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Ex1.xml" ContentType="application/vnd.ms-office.chartex+xml"/>
  <Override PartName="/ppt/charts/style4.xml" ContentType="application/vnd.ms-office.chartstyle+xml"/>
  <Override PartName="/ppt/charts/colors4.xml" ContentType="application/vnd.ms-office.chartcolorstyl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3.xml" ContentType="application/vnd.openxmlformats-officedocument.themeOverride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4.xml" ContentType="application/vnd.openxmlformats-officedocument.themeOverride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5.xml" ContentType="application/vnd.openxmlformats-officedocument.themeOverr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heme/themeOverride6.xml" ContentType="application/vnd.openxmlformats-officedocument.themeOverride+xml"/>
  <Override PartName="/ppt/drawings/drawing2.xml" ContentType="application/vnd.openxmlformats-officedocument.drawingml.chartshape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7.xml" ContentType="application/vnd.openxmlformats-officedocument.themeOverride+xml"/>
  <Override PartName="/ppt/notesSlides/notesSlide8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8.xml" ContentType="application/vnd.openxmlformats-officedocument.themeOverride+xml"/>
  <Override PartName="/ppt/drawings/drawing3.xml" ContentType="application/vnd.openxmlformats-officedocument.drawingml.chartshapes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0.xml" ContentType="application/vnd.openxmlformats-officedocument.drawingml.chart+xml"/>
  <Override PartName="/ppt/theme/themeOverride9.xml" ContentType="application/vnd.openxmlformats-officedocument.themeOverride+xml"/>
  <Override PartName="/ppt/charts/chart11.xml" ContentType="application/vnd.openxmlformats-officedocument.drawingml.chart+xml"/>
  <Override PartName="/ppt/theme/themeOverride10.xml" ContentType="application/vnd.openxmlformats-officedocument.themeOverride+xml"/>
  <Override PartName="/ppt/drawings/drawing4.xml" ContentType="application/vnd.openxmlformats-officedocument.drawingml.chartshapes+xml"/>
  <Override PartName="/ppt/charts/chart12.xml" ContentType="application/vnd.openxmlformats-officedocument.drawingml.chart+xml"/>
  <Override PartName="/ppt/theme/themeOverride11.xml" ContentType="application/vnd.openxmlformats-officedocument.themeOverride+xml"/>
  <Override PartName="/ppt/charts/chart13.xml" ContentType="application/vnd.openxmlformats-officedocument.drawingml.chart+xml"/>
  <Override PartName="/ppt/theme/themeOverride12.xml" ContentType="application/vnd.openxmlformats-officedocument.themeOverride+xml"/>
  <Override PartName="/ppt/drawings/drawing5.xml" ContentType="application/vnd.openxmlformats-officedocument.drawingml.chartshapes+xml"/>
  <Override PartName="/ppt/charts/chart1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13.xml" ContentType="application/vnd.openxmlformats-officedocument.themeOverride+xml"/>
  <Override PartName="/ppt/tags/tag8.xml" ContentType="application/vnd.openxmlformats-officedocument.presentationml.tags+xml"/>
  <Override PartName="/ppt/charts/chart15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4.xml" ContentType="application/vnd.openxmlformats-officedocument.themeOverride+xml"/>
  <Override PartName="/ppt/notesSlides/notesSlide10.xml" ContentType="application/vnd.openxmlformats-officedocument.presentationml.notesSlide+xml"/>
  <Override PartName="/ppt/charts/chart16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drawings/drawing6.xml" ContentType="application/vnd.openxmlformats-officedocument.drawingml.chartshapes+xml"/>
  <Override PartName="/ppt/notesSlides/notesSlide11.xml" ContentType="application/vnd.openxmlformats-officedocument.presentationml.notesSlide+xml"/>
  <Override PartName="/ppt/charts/chart17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drawings/drawing7.xml" ContentType="application/vnd.openxmlformats-officedocument.drawingml.chartshapes+xml"/>
  <Override PartName="/ppt/tags/tag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8.xml" ContentType="application/vnd.openxmlformats-officedocument.drawingml.chart+xml"/>
  <Override PartName="/ppt/theme/themeOverride15.xml" ContentType="application/vnd.openxmlformats-officedocument.themeOverride+xml"/>
  <Override PartName="/ppt/charts/chart19.xml" ContentType="application/vnd.openxmlformats-officedocument.drawingml.chart+xml"/>
  <Override PartName="/ppt/theme/themeOverride16.xml" ContentType="application/vnd.openxmlformats-officedocument.themeOverride+xml"/>
  <Override PartName="/ppt/notesSlides/notesSlide13.xml" ContentType="application/vnd.openxmlformats-officedocument.presentationml.notesSlide+xml"/>
  <Override PartName="/ppt/charts/chart20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17.xml" ContentType="application/vnd.openxmlformats-officedocument.themeOverride+xml"/>
  <Override PartName="/ppt/charts/chart21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18.xml" ContentType="application/vnd.openxmlformats-officedocument.themeOverride+xml"/>
  <Override PartName="/ppt/drawings/drawing8.xml" ContentType="application/vnd.openxmlformats-officedocument.drawingml.chartshapes+xml"/>
  <Override PartName="/ppt/notesSlides/notesSlide14.xml" ContentType="application/vnd.openxmlformats-officedocument.presentationml.notesSlide+xml"/>
  <Override PartName="/ppt/charts/chart22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19.xml" ContentType="application/vnd.openxmlformats-officedocument.themeOverride+xml"/>
  <Override PartName="/ppt/charts/chart23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20.xml" ContentType="application/vnd.openxmlformats-officedocument.themeOverride+xml"/>
  <Override PartName="/ppt/notesSlides/notesSlide15.xml" ContentType="application/vnd.openxmlformats-officedocument.presentationml.notesSlide+xml"/>
  <Override PartName="/ppt/charts/chart24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heme/themeOverride21.xml" ContentType="application/vnd.openxmlformats-officedocument.themeOverr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905" r:id="rId4"/>
  </p:sldMasterIdLst>
  <p:notesMasterIdLst>
    <p:notesMasterId r:id="rId40"/>
  </p:notesMasterIdLst>
  <p:handoutMasterIdLst>
    <p:handoutMasterId r:id="rId41"/>
  </p:handoutMasterIdLst>
  <p:sldIdLst>
    <p:sldId id="2147473058" r:id="rId5"/>
    <p:sldId id="301" r:id="rId6"/>
    <p:sldId id="268" r:id="rId7"/>
    <p:sldId id="336" r:id="rId8"/>
    <p:sldId id="2147473064" r:id="rId9"/>
    <p:sldId id="2147373383" r:id="rId10"/>
    <p:sldId id="321" r:id="rId11"/>
    <p:sldId id="326" r:id="rId12"/>
    <p:sldId id="331" r:id="rId13"/>
    <p:sldId id="2147373458" r:id="rId14"/>
    <p:sldId id="2147473052" r:id="rId15"/>
    <p:sldId id="262" r:id="rId16"/>
    <p:sldId id="298" r:id="rId17"/>
    <p:sldId id="2147473065" r:id="rId18"/>
    <p:sldId id="2147473062" r:id="rId19"/>
    <p:sldId id="2147373390" r:id="rId20"/>
    <p:sldId id="304" r:id="rId21"/>
    <p:sldId id="317" r:id="rId22"/>
    <p:sldId id="332" r:id="rId23"/>
    <p:sldId id="2147473070" r:id="rId24"/>
    <p:sldId id="2147473075" r:id="rId25"/>
    <p:sldId id="2147473059" r:id="rId26"/>
    <p:sldId id="299" r:id="rId27"/>
    <p:sldId id="295" r:id="rId28"/>
    <p:sldId id="2147473106" r:id="rId29"/>
    <p:sldId id="285" r:id="rId30"/>
    <p:sldId id="302" r:id="rId31"/>
    <p:sldId id="2147373450" r:id="rId32"/>
    <p:sldId id="2145705757" r:id="rId33"/>
    <p:sldId id="2147473061" r:id="rId34"/>
    <p:sldId id="2147473063" r:id="rId35"/>
    <p:sldId id="258" r:id="rId36"/>
    <p:sldId id="305" r:id="rId37"/>
    <p:sldId id="256" r:id="rId38"/>
    <p:sldId id="411" r:id="rId39"/>
  </p:sldIdLst>
  <p:sldSz cx="12192000" cy="6858000"/>
  <p:notesSz cx="7099300" cy="9385300"/>
  <p:embeddedFontLst>
    <p:embeddedFont>
      <p:font typeface="Aktiv Grotesk" panose="020B0504020202020204" pitchFamily="34" charset="0"/>
      <p:regular r:id="rId42"/>
      <p:bold r:id="rId43"/>
    </p:embeddedFont>
    <p:embeddedFont>
      <p:font typeface="Aktiv Grotesk Medium" panose="020B0504020202020204" pitchFamily="34" charset="0"/>
      <p:regular r:id="rId44"/>
    </p:embeddedFont>
  </p:embeddedFontLst>
  <p:custDataLst>
    <p:tags r:id="rId4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DE36450-86CE-4498-892D-57CD68CD0EA6}">
          <p14:sldIdLst>
            <p14:sldId id="2147473058"/>
            <p14:sldId id="301"/>
            <p14:sldId id="268"/>
            <p14:sldId id="336"/>
            <p14:sldId id="2147473064"/>
            <p14:sldId id="2147373383"/>
            <p14:sldId id="321"/>
            <p14:sldId id="326"/>
            <p14:sldId id="331"/>
            <p14:sldId id="2147373458"/>
            <p14:sldId id="2147473052"/>
            <p14:sldId id="262"/>
            <p14:sldId id="298"/>
            <p14:sldId id="2147473065"/>
            <p14:sldId id="2147473062"/>
            <p14:sldId id="2147373390"/>
            <p14:sldId id="304"/>
            <p14:sldId id="317"/>
            <p14:sldId id="332"/>
            <p14:sldId id="2147473070"/>
            <p14:sldId id="2147473075"/>
            <p14:sldId id="2147473059"/>
            <p14:sldId id="299"/>
            <p14:sldId id="295"/>
            <p14:sldId id="2147473106"/>
            <p14:sldId id="285"/>
            <p14:sldId id="302"/>
            <p14:sldId id="2147373450"/>
            <p14:sldId id="2145705757"/>
            <p14:sldId id="2147473061"/>
            <p14:sldId id="2147473063"/>
            <p14:sldId id="258"/>
            <p14:sldId id="305"/>
            <p14:sldId id="256"/>
            <p14:sldId id="411"/>
          </p14:sldIdLst>
        </p14:section>
        <p14:section name="Backup Slides" id="{817CA947-7069-4E6C-9E4E-36CB4473741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440" userDrawn="1">
          <p15:clr>
            <a:srgbClr val="9FCC3B"/>
          </p15:clr>
        </p15:guide>
        <p15:guide id="2" pos="7061" userDrawn="1">
          <p15:clr>
            <a:srgbClr val="9FCC3B"/>
          </p15:clr>
        </p15:guide>
        <p15:guide id="3" orient="horz" pos="3192" userDrawn="1">
          <p15:clr>
            <a:srgbClr val="9FCC3B"/>
          </p15:clr>
        </p15:guide>
        <p15:guide id="4" pos="756" userDrawn="1">
          <p15:clr>
            <a:srgbClr val="9FCC3B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6B30147-E300-6DB6-A068-76722FD88101}" name="Paulos Ashebir Lakew" initials="PAL" userId="S::lakewp@iata.org::7ba378e9-6f11-416a-9c48-dfe9fedcaa6c" providerId="AD"/>
  <p188:author id="{0B5A9F7E-7353-DC88-42A6-577EAF605DE4}" name="Preeti Jain" initials="PJ" userId="S::jainp@iata.org::db8680ae-a8f4-4620-8633-5908e685deb9" providerId="AD"/>
  <p188:author id="{08E1538A-EA9D-E051-59D3-DA6780CE6769}" name="Bartek Otrebski" initials="BO" userId="S::otrebskib@iata.org::436d6483-895a-4083-aeb2-d85c87468d11" providerId="AD"/>
  <p188:author id="{810E36CD-99DE-0A4F-701D-BAC347DC3018}" name="Rachel Yuting Fan" initials="RYF" userId="S::fany@iata.org::807ec0a0-57c9-434a-8f68-ae8f7184f4f8" providerId="AD"/>
  <p188:author id="{6F2C37CD-7F55-CC68-D104-F7AB7914FDB9}" name="Kyu-Bin Lim" initials="KBL" userId="S::limk@iata.org::34841a95-becb-4cfd-a3a5-453eb4332339" providerId="AD"/>
  <p188:author id="{3AEAFFDC-F3D6-7114-F4A5-067901A711BE}" name="Stefano Meneto" initials="SM" userId="S::menetos@iata.org::858b7e04-f57a-4a78-9150-ded8c320bf0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32FA"/>
    <a:srgbClr val="FF00FF"/>
    <a:srgbClr val="FAC832"/>
    <a:srgbClr val="F046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52"/>
      </p:cViewPr>
      <p:guideLst>
        <p:guide orient="horz" pos="1440"/>
        <p:guide pos="7061"/>
        <p:guide orient="horz" pos="3192"/>
        <p:guide pos="756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font" Target="fonts/font1.fntdata"/><Relationship Id="rId47" Type="http://schemas.openxmlformats.org/officeDocument/2006/relationships/viewProps" Target="viewProps.xml"/><Relationship Id="rId50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font" Target="fonts/font3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font" Target="fonts/font2.fntdata"/><Relationship Id="rId48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https://iataonline-my.sharepoint.com/personal/wardejnm_iata_org/Documents/Documents/Global%20GDP.xlsx" TargetMode="Externa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oleObject" Target="https://iataonline.sharepoint.com/teams/AENVIRO-MER/Shared%20Documents/4.%20Industry%20Analysis/09_Industry%20finance/03_Historical_data/03_Fleet_data/2025_04_01_Fleet%20data%20global,%20monthly.xlsx" TargetMode="External"/><Relationship Id="rId1" Type="http://schemas.openxmlformats.org/officeDocument/2006/relationships/themeOverride" Target="../theme/themeOverrid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4.xml"/><Relationship Id="rId2" Type="http://schemas.openxmlformats.org/officeDocument/2006/relationships/oleObject" Target="https://iataonline.sharepoint.com/teams/AENVIRO-MER/Shared%20Documents/4.%20Industry%20Analysis/08_Financial_forecast/2025_05/2025_04_25_Global%20Outlook%20Model%20June%202025.xlsx" TargetMode="External"/><Relationship Id="rId1" Type="http://schemas.openxmlformats.org/officeDocument/2006/relationships/themeOverride" Target="../theme/themeOverride10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oleObject" Target="https://iataonline.sharepoint.com/teams/AENVIRO-MER/Shared%20Documents/4.%20Industry%20Analysis/Industry%20analysis/Financial%20forecast/June%202025/Global%20Model%20June%202025.xlsx" TargetMode="External"/><Relationship Id="rId1" Type="http://schemas.openxmlformats.org/officeDocument/2006/relationships/themeOverride" Target="../theme/themeOverride1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5.xml"/><Relationship Id="rId2" Type="http://schemas.openxmlformats.org/officeDocument/2006/relationships/oleObject" Target="file:///C:\Users\wardejnm\Downloads\Worldtotalfleet.xlsx" TargetMode="External"/><Relationship Id="rId1" Type="http://schemas.openxmlformats.org/officeDocument/2006/relationships/themeOverride" Target="../theme/themeOverrid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oleObject" Target="file:///C:\Users\otrebskib\Downloads\Averageagebyregion.xlsx" TargetMode="Externa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oleObject" Target="Book1" TargetMode="Externa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https://iataonline.sharepoint.com/teams/AENVIRO-MER/Shared%20Documents/4.%20Industry%20Analysis/05_Presentations/2025_05_SP%20workshop_Q1%202025/Workbook.xlsx" TargetMode="Externa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chartUserShapes" Target="../drawings/drawing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https://iataonline.sharepoint.com/teams/AENVIRO-MER/Shared%20Documents/4.%20Industry%20Analysis/02_Publications/03_Global_Outlook/2025_06/03_Draft_production_materials/Global_Outlook_Charts_DRAFT.xlsx" TargetMode="Externa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chartUserShapes" Target="../drawings/drawing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oleObject" Target="https://iataonline.sharepoint.com/teams/AENVIRO-MER/Shared%20Documents/4.%20Industry%20Analysis/08_Financial_forecast/2025_05/2025_04_25_Global%20Outlook%20Model%20June%202025.xlsx" TargetMode="External"/><Relationship Id="rId1" Type="http://schemas.openxmlformats.org/officeDocument/2006/relationships/themeOverride" Target="../theme/themeOverride15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oleObject" Target="https://iataonline.sharepoint.com/teams/AENVIRO-MER/Shared%20Documents/4.%20Industry%20Analysis/08_Financial_forecast/2025_05/2025_04_25_Global%20Outlook%20Model%20June%202025.xlsx" TargetMode="External"/><Relationship Id="rId1" Type="http://schemas.openxmlformats.org/officeDocument/2006/relationships/themeOverride" Target="../theme/themeOverride16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iataonline-my.sharepoint.com/personal/fany_iata_org/Documents/References/Macro%20Stat/world_GDP.xlsx" TargetMode="Externa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7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oleObject" Target="https://iataonline.sharepoint.com/teams/AENVIRO-MER/Shared%20Documents/4.%20Industry%20Analysis/08_Financial_forecast/2025_05/2025_04_25_Global%20Outlook%20Model%20June%202025.xlsx" TargetMode="Externa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8.xml"/><Relationship Id="rId2" Type="http://schemas.microsoft.com/office/2011/relationships/chartColorStyle" Target="colors15.xml"/><Relationship Id="rId1" Type="http://schemas.microsoft.com/office/2011/relationships/chartStyle" Target="style15.xml"/><Relationship Id="rId5" Type="http://schemas.openxmlformats.org/officeDocument/2006/relationships/chartUserShapes" Target="../drawings/drawing8.xml"/><Relationship Id="rId4" Type="http://schemas.openxmlformats.org/officeDocument/2006/relationships/oleObject" Target="https://iataonline.sharepoint.com/teams/AENVIRO-MER/Shared%20Documents/4.%20Industry%20Analysis/05_Presentations/2025_05_27_Africa/Africa_Workbook.xlsx" TargetMode="Externa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9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oleObject" Target="https://iataonline.sharepoint.com/teams/AENVIRO-MER/Shared%20Documents/4.%20Industry%20Analysis/05_Presentations/2025_05_27_Africa/Africa_Workbook.xlsx" TargetMode="Externa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0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package" Target="../embeddings/Microsoft_Excel_Worksheet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1.xml"/><Relationship Id="rId2" Type="http://schemas.microsoft.com/office/2011/relationships/chartColorStyle" Target="colors18.xml"/><Relationship Id="rId1" Type="http://schemas.microsoft.com/office/2011/relationships/chartStyle" Target="style18.xml"/><Relationship Id="rId4" Type="http://schemas.openxmlformats.org/officeDocument/2006/relationships/oleObject" Target="https://iataonline.sharepoint.com/teams/AENVIRO-MER/Shared%20Documents/4.%20Industry%20Analysis/08_Financial_forecast/2025_05/2025_04_25_Global%20Outlook%20Model%20June%202025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iataonline-my.sharepoint.com/personal/fany_iata_org/Documents/References/MonthlyUpdate/Dashboard/MacroDashboard_Live_yf.xlsm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C:\Users\wardejnm\Downloads\USimportsfromChina2023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https://iataonline.sharepoint.com/teams/AENVIRO-MER/Shared%20Documents/4.%20Industry%20Analysis/05_Presentations/2025_05_27_Africa/Africa_Workbook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https://iataonline.sharepoint.com/teams/AENVIRO-MER/Shared%20Documents/4.%20Industry%20Analysis/05_Presentations/2025_05_27_Africa/Africa_Workbook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https://iataonline.sharepoint.com/teams/AENVIRO-MER/Shared%20Documents/4.%20Industry%20Analysis/09_Industry%20finance/02_Jet_fuel/IA%20Jet%20Fuel%20Price%20Monitor.xlsx" TargetMode="External"/><Relationship Id="rId1" Type="http://schemas.openxmlformats.org/officeDocument/2006/relationships/themeOverride" Target="../theme/themeOverrid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https://iataonline.sharepoint.com/teams/AENVIRO-MER/Shared%20Documents/4.%20Industry%20Analysis/05_Presentations/2025_05_27_Africa/Jet%20Fuel%20Price%20Monitor_v02Jan2025%20-%20wMEAsplit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9.xml"/><Relationship Id="rId1" Type="http://schemas.microsoft.com/office/2011/relationships/chartStyle" Target="style9.xml"/><Relationship Id="rId5" Type="http://schemas.openxmlformats.org/officeDocument/2006/relationships/chartUserShapes" Target="../drawings/drawing3.xml"/><Relationship Id="rId4" Type="http://schemas.openxmlformats.org/officeDocument/2006/relationships/oleObject" Target="Book1" TargetMode="Externa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oleObject" Target="https://iataonline.sharepoint.com/teams/AENVIRO-MER/Shared%20Documents/4.%20Industry%20Analysis/05_Presentations/2025_05_27_Africa/Africa_Workbook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4116972878390206E-2"/>
          <c:y val="0.14407551778799926"/>
          <c:w val="0.87000148731408578"/>
          <c:h val="0.67113874379563943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G$4</c:f>
              <c:strCache>
                <c:ptCount val="1"/>
                <c:pt idx="0">
                  <c:v>Global RPK (LHS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40"/>
              <c:layout>
                <c:manualLayout>
                  <c:x val="-2.0388451443569553E-3"/>
                  <c:y val="0.19956360332294923"/>
                </c:manualLayout>
              </c:layout>
              <c:spPr>
                <a:solidFill>
                  <a:srgbClr val="FFFFFF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A44-4B20-8507-467C434524E8}"/>
                </c:ext>
              </c:extLst>
            </c:dLbl>
            <c:dLbl>
              <c:idx val="41"/>
              <c:layout>
                <c:manualLayout>
                  <c:x val="-7.6610673665793404E-3"/>
                  <c:y val="0.14087575686702528"/>
                </c:manualLayout>
              </c:layout>
              <c:spPr>
                <a:solidFill>
                  <a:srgbClr val="FFFFFF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A44-4B20-8507-467C434524E8}"/>
                </c:ext>
              </c:extLst>
            </c:dLbl>
            <c:dLbl>
              <c:idx val="42"/>
              <c:layout>
                <c:manualLayout>
                  <c:x val="-2.105511811023785E-3"/>
                  <c:y val="0.1628263298770822"/>
                </c:manualLayout>
              </c:layout>
              <c:spPr>
                <a:solidFill>
                  <a:srgbClr val="FFFFFF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A44-4B20-8507-467C434524E8}"/>
                </c:ext>
              </c:extLst>
            </c:dLbl>
            <c:dLbl>
              <c:idx val="43"/>
              <c:layout>
                <c:manualLayout>
                  <c:x val="3.4499562554680665E-3"/>
                  <c:y val="0.16612328161950055"/>
                </c:manualLayout>
              </c:layout>
              <c:spPr>
                <a:solidFill>
                  <a:srgbClr val="FFFFFF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A44-4B20-8507-467C434524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E$5:$E$54</c:f>
              <c:numCache>
                <c:formatCode>m/d/yyyy</c:formatCode>
                <c:ptCount val="50"/>
                <c:pt idx="0">
                  <c:v>29221</c:v>
                </c:pt>
                <c:pt idx="1">
                  <c:v>29587</c:v>
                </c:pt>
                <c:pt idx="2">
                  <c:v>29952</c:v>
                </c:pt>
                <c:pt idx="3">
                  <c:v>30317</c:v>
                </c:pt>
                <c:pt idx="4">
                  <c:v>30682</c:v>
                </c:pt>
                <c:pt idx="5">
                  <c:v>31048</c:v>
                </c:pt>
                <c:pt idx="6">
                  <c:v>31413</c:v>
                </c:pt>
                <c:pt idx="7">
                  <c:v>31778</c:v>
                </c:pt>
                <c:pt idx="8">
                  <c:v>32143</c:v>
                </c:pt>
                <c:pt idx="9">
                  <c:v>32509</c:v>
                </c:pt>
                <c:pt idx="10">
                  <c:v>32874</c:v>
                </c:pt>
                <c:pt idx="11">
                  <c:v>33239</c:v>
                </c:pt>
                <c:pt idx="12">
                  <c:v>33604</c:v>
                </c:pt>
                <c:pt idx="13">
                  <c:v>33970</c:v>
                </c:pt>
                <c:pt idx="14">
                  <c:v>34335</c:v>
                </c:pt>
                <c:pt idx="15">
                  <c:v>34700</c:v>
                </c:pt>
                <c:pt idx="16">
                  <c:v>35065</c:v>
                </c:pt>
                <c:pt idx="17">
                  <c:v>35431</c:v>
                </c:pt>
                <c:pt idx="18">
                  <c:v>35796</c:v>
                </c:pt>
                <c:pt idx="19">
                  <c:v>36161</c:v>
                </c:pt>
                <c:pt idx="20">
                  <c:v>36526</c:v>
                </c:pt>
                <c:pt idx="21">
                  <c:v>36892</c:v>
                </c:pt>
                <c:pt idx="22">
                  <c:v>37257</c:v>
                </c:pt>
                <c:pt idx="23">
                  <c:v>37622</c:v>
                </c:pt>
                <c:pt idx="24">
                  <c:v>37987</c:v>
                </c:pt>
                <c:pt idx="25">
                  <c:v>38353</c:v>
                </c:pt>
                <c:pt idx="26">
                  <c:v>38718</c:v>
                </c:pt>
                <c:pt idx="27">
                  <c:v>39083</c:v>
                </c:pt>
                <c:pt idx="28">
                  <c:v>39448</c:v>
                </c:pt>
                <c:pt idx="29">
                  <c:v>39814</c:v>
                </c:pt>
                <c:pt idx="30">
                  <c:v>40179</c:v>
                </c:pt>
                <c:pt idx="31">
                  <c:v>40544</c:v>
                </c:pt>
                <c:pt idx="32">
                  <c:v>40909</c:v>
                </c:pt>
                <c:pt idx="33">
                  <c:v>41275</c:v>
                </c:pt>
                <c:pt idx="34">
                  <c:v>41640</c:v>
                </c:pt>
                <c:pt idx="35">
                  <c:v>42005</c:v>
                </c:pt>
                <c:pt idx="36">
                  <c:v>42370</c:v>
                </c:pt>
                <c:pt idx="37">
                  <c:v>42736</c:v>
                </c:pt>
                <c:pt idx="38">
                  <c:v>43101</c:v>
                </c:pt>
                <c:pt idx="39">
                  <c:v>43466</c:v>
                </c:pt>
                <c:pt idx="40">
                  <c:v>43831</c:v>
                </c:pt>
                <c:pt idx="41">
                  <c:v>44197</c:v>
                </c:pt>
                <c:pt idx="42">
                  <c:v>44562</c:v>
                </c:pt>
                <c:pt idx="43">
                  <c:v>44927</c:v>
                </c:pt>
                <c:pt idx="44">
                  <c:v>45292</c:v>
                </c:pt>
                <c:pt idx="45">
                  <c:v>45658</c:v>
                </c:pt>
                <c:pt idx="46">
                  <c:v>46023</c:v>
                </c:pt>
                <c:pt idx="47">
                  <c:v>46388</c:v>
                </c:pt>
                <c:pt idx="48">
                  <c:v>46753</c:v>
                </c:pt>
                <c:pt idx="49">
                  <c:v>47119</c:v>
                </c:pt>
              </c:numCache>
            </c:numRef>
          </c:cat>
          <c:val>
            <c:numRef>
              <c:f>Sheet1!$G$5:$G$54</c:f>
              <c:numCache>
                <c:formatCode>0</c:formatCode>
                <c:ptCount val="50"/>
                <c:pt idx="0">
                  <c:v>2.7358490566037785</c:v>
                </c:pt>
                <c:pt idx="1">
                  <c:v>2.5711662075298403</c:v>
                </c:pt>
                <c:pt idx="2">
                  <c:v>1.7905102954342</c:v>
                </c:pt>
                <c:pt idx="3">
                  <c:v>4.3975373790677175</c:v>
                </c:pt>
                <c:pt idx="4">
                  <c:v>6.6554338668913138</c:v>
                </c:pt>
                <c:pt idx="5">
                  <c:v>7.4249605055292101</c:v>
                </c:pt>
                <c:pt idx="6">
                  <c:v>6.0294117647058831</c:v>
                </c:pt>
                <c:pt idx="7">
                  <c:v>10.332871012482659</c:v>
                </c:pt>
                <c:pt idx="8">
                  <c:v>6.5996228786926459</c:v>
                </c:pt>
                <c:pt idx="9">
                  <c:v>4.8349056603773644</c:v>
                </c:pt>
                <c:pt idx="10">
                  <c:v>6.9073420236752447</c:v>
                </c:pt>
                <c:pt idx="11">
                  <c:v>-4.5835978811147298</c:v>
                </c:pt>
                <c:pt idx="12">
                  <c:v>6.0792995369859595</c:v>
                </c:pt>
                <c:pt idx="13">
                  <c:v>-0.134989678892072</c:v>
                </c:pt>
                <c:pt idx="14">
                  <c:v>8.7069315982718098</c:v>
                </c:pt>
                <c:pt idx="15">
                  <c:v>7.2129591397771504</c:v>
                </c:pt>
                <c:pt idx="16">
                  <c:v>8.8128935318442192</c:v>
                </c:pt>
                <c:pt idx="17">
                  <c:v>7.7110342955344997</c:v>
                </c:pt>
                <c:pt idx="18">
                  <c:v>4.3093107648120501</c:v>
                </c:pt>
                <c:pt idx="19">
                  <c:v>6.1374152996522202</c:v>
                </c:pt>
                <c:pt idx="20">
                  <c:v>7.8186631593099003</c:v>
                </c:pt>
                <c:pt idx="21">
                  <c:v>-2.8766595519747797</c:v>
                </c:pt>
                <c:pt idx="22">
                  <c:v>1.4028442950644799</c:v>
                </c:pt>
                <c:pt idx="23">
                  <c:v>0.59971507992115902</c:v>
                </c:pt>
                <c:pt idx="24">
                  <c:v>14.846490940022001</c:v>
                </c:pt>
                <c:pt idx="25">
                  <c:v>8.8956477191384202</c:v>
                </c:pt>
                <c:pt idx="26">
                  <c:v>6.8547441251042702</c:v>
                </c:pt>
                <c:pt idx="27">
                  <c:v>7.9463419012417509</c:v>
                </c:pt>
                <c:pt idx="28">
                  <c:v>2.4311499876423102</c:v>
                </c:pt>
                <c:pt idx="29">
                  <c:v>-1.22304537087002</c:v>
                </c:pt>
                <c:pt idx="30">
                  <c:v>8.0137488569893591</c:v>
                </c:pt>
                <c:pt idx="31">
                  <c:v>6.3230608583847898</c:v>
                </c:pt>
                <c:pt idx="32">
                  <c:v>5.8818729512868799</c:v>
                </c:pt>
                <c:pt idx="33">
                  <c:v>5.7744767134629598</c:v>
                </c:pt>
                <c:pt idx="34">
                  <c:v>6.3022079044856794</c:v>
                </c:pt>
                <c:pt idx="35">
                  <c:v>7.0310694301850596</c:v>
                </c:pt>
                <c:pt idx="36">
                  <c:v>7.4684270789714802</c:v>
                </c:pt>
                <c:pt idx="37">
                  <c:v>8.05152083920626</c:v>
                </c:pt>
                <c:pt idx="38">
                  <c:v>7.3439213284788103</c:v>
                </c:pt>
                <c:pt idx="39">
                  <c:v>4.1449525697226699</c:v>
                </c:pt>
                <c:pt idx="40">
                  <c:v>-65.775465289565503</c:v>
                </c:pt>
                <c:pt idx="41">
                  <c:v>21.8236466744033</c:v>
                </c:pt>
                <c:pt idx="42">
                  <c:v>64.900000000000006</c:v>
                </c:pt>
                <c:pt idx="43">
                  <c:v>36.799999999999997</c:v>
                </c:pt>
                <c:pt idx="44">
                  <c:v>10.6</c:v>
                </c:pt>
                <c:pt idx="45">
                  <c:v>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A44-4B20-8507-467C434524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6916279"/>
        <c:axId val="106918439"/>
      </c:barChart>
      <c:lineChart>
        <c:grouping val="standard"/>
        <c:varyColors val="0"/>
        <c:ser>
          <c:idx val="0"/>
          <c:order val="0"/>
          <c:tx>
            <c:strRef>
              <c:f>Sheet1!$F$4</c:f>
              <c:strCache>
                <c:ptCount val="1"/>
                <c:pt idx="0">
                  <c:v>Global GDP (RHS)</c:v>
                </c:pt>
              </c:strCache>
            </c:strRef>
          </c:tx>
          <c:spPr>
            <a:ln w="254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E$5:$E$54</c:f>
              <c:numCache>
                <c:formatCode>m/d/yyyy</c:formatCode>
                <c:ptCount val="50"/>
                <c:pt idx="0">
                  <c:v>29221</c:v>
                </c:pt>
                <c:pt idx="1">
                  <c:v>29587</c:v>
                </c:pt>
                <c:pt idx="2">
                  <c:v>29952</c:v>
                </c:pt>
                <c:pt idx="3">
                  <c:v>30317</c:v>
                </c:pt>
                <c:pt idx="4">
                  <c:v>30682</c:v>
                </c:pt>
                <c:pt idx="5">
                  <c:v>31048</c:v>
                </c:pt>
                <c:pt idx="6">
                  <c:v>31413</c:v>
                </c:pt>
                <c:pt idx="7">
                  <c:v>31778</c:v>
                </c:pt>
                <c:pt idx="8">
                  <c:v>32143</c:v>
                </c:pt>
                <c:pt idx="9">
                  <c:v>32509</c:v>
                </c:pt>
                <c:pt idx="10">
                  <c:v>32874</c:v>
                </c:pt>
                <c:pt idx="11">
                  <c:v>33239</c:v>
                </c:pt>
                <c:pt idx="12">
                  <c:v>33604</c:v>
                </c:pt>
                <c:pt idx="13">
                  <c:v>33970</c:v>
                </c:pt>
                <c:pt idx="14">
                  <c:v>34335</c:v>
                </c:pt>
                <c:pt idx="15">
                  <c:v>34700</c:v>
                </c:pt>
                <c:pt idx="16">
                  <c:v>35065</c:v>
                </c:pt>
                <c:pt idx="17">
                  <c:v>35431</c:v>
                </c:pt>
                <c:pt idx="18">
                  <c:v>35796</c:v>
                </c:pt>
                <c:pt idx="19">
                  <c:v>36161</c:v>
                </c:pt>
                <c:pt idx="20">
                  <c:v>36526</c:v>
                </c:pt>
                <c:pt idx="21">
                  <c:v>36892</c:v>
                </c:pt>
                <c:pt idx="22">
                  <c:v>37257</c:v>
                </c:pt>
                <c:pt idx="23">
                  <c:v>37622</c:v>
                </c:pt>
                <c:pt idx="24">
                  <c:v>37987</c:v>
                </c:pt>
                <c:pt idx="25">
                  <c:v>38353</c:v>
                </c:pt>
                <c:pt idx="26">
                  <c:v>38718</c:v>
                </c:pt>
                <c:pt idx="27">
                  <c:v>39083</c:v>
                </c:pt>
                <c:pt idx="28">
                  <c:v>39448</c:v>
                </c:pt>
                <c:pt idx="29">
                  <c:v>39814</c:v>
                </c:pt>
                <c:pt idx="30">
                  <c:v>40179</c:v>
                </c:pt>
                <c:pt idx="31">
                  <c:v>40544</c:v>
                </c:pt>
                <c:pt idx="32">
                  <c:v>40909</c:v>
                </c:pt>
                <c:pt idx="33">
                  <c:v>41275</c:v>
                </c:pt>
                <c:pt idx="34">
                  <c:v>41640</c:v>
                </c:pt>
                <c:pt idx="35">
                  <c:v>42005</c:v>
                </c:pt>
                <c:pt idx="36">
                  <c:v>42370</c:v>
                </c:pt>
                <c:pt idx="37">
                  <c:v>42736</c:v>
                </c:pt>
                <c:pt idx="38">
                  <c:v>43101</c:v>
                </c:pt>
                <c:pt idx="39">
                  <c:v>43466</c:v>
                </c:pt>
                <c:pt idx="40">
                  <c:v>43831</c:v>
                </c:pt>
                <c:pt idx="41">
                  <c:v>44197</c:v>
                </c:pt>
                <c:pt idx="42">
                  <c:v>44562</c:v>
                </c:pt>
                <c:pt idx="43">
                  <c:v>44927</c:v>
                </c:pt>
                <c:pt idx="44">
                  <c:v>45292</c:v>
                </c:pt>
                <c:pt idx="45">
                  <c:v>45658</c:v>
                </c:pt>
                <c:pt idx="46">
                  <c:v>46023</c:v>
                </c:pt>
                <c:pt idx="47">
                  <c:v>46388</c:v>
                </c:pt>
                <c:pt idx="48">
                  <c:v>46753</c:v>
                </c:pt>
                <c:pt idx="49">
                  <c:v>47119</c:v>
                </c:pt>
              </c:numCache>
            </c:numRef>
          </c:cat>
          <c:val>
            <c:numRef>
              <c:f>Sheet1!$F$5:$F$54</c:f>
              <c:numCache>
                <c:formatCode>0</c:formatCode>
                <c:ptCount val="50"/>
                <c:pt idx="0">
                  <c:v>2.2280000000000002</c:v>
                </c:pt>
                <c:pt idx="1">
                  <c:v>2.0099999999999998</c:v>
                </c:pt>
                <c:pt idx="2">
                  <c:v>0.747</c:v>
                </c:pt>
                <c:pt idx="3">
                  <c:v>2.7170000000000001</c:v>
                </c:pt>
                <c:pt idx="4">
                  <c:v>4.6319999999999997</c:v>
                </c:pt>
                <c:pt idx="5">
                  <c:v>3.6560000000000001</c:v>
                </c:pt>
                <c:pt idx="6">
                  <c:v>3.3769999999999998</c:v>
                </c:pt>
                <c:pt idx="7">
                  <c:v>3.9470000000000001</c:v>
                </c:pt>
                <c:pt idx="8">
                  <c:v>4.524</c:v>
                </c:pt>
                <c:pt idx="9">
                  <c:v>3.73</c:v>
                </c:pt>
                <c:pt idx="10">
                  <c:v>3.226</c:v>
                </c:pt>
                <c:pt idx="11">
                  <c:v>2.427</c:v>
                </c:pt>
                <c:pt idx="12">
                  <c:v>2.1800000000000002</c:v>
                </c:pt>
                <c:pt idx="13">
                  <c:v>1.9490000000000001</c:v>
                </c:pt>
                <c:pt idx="14">
                  <c:v>3.1539999999999999</c:v>
                </c:pt>
                <c:pt idx="15">
                  <c:v>3.294</c:v>
                </c:pt>
                <c:pt idx="16">
                  <c:v>3.8580000000000001</c:v>
                </c:pt>
                <c:pt idx="17">
                  <c:v>4.0140000000000002</c:v>
                </c:pt>
                <c:pt idx="18">
                  <c:v>2.645</c:v>
                </c:pt>
                <c:pt idx="19">
                  <c:v>3.5779999999999998</c:v>
                </c:pt>
                <c:pt idx="20">
                  <c:v>4.7699999999999996</c:v>
                </c:pt>
                <c:pt idx="21">
                  <c:v>2.4740000000000002</c:v>
                </c:pt>
                <c:pt idx="22" formatCode="0.000">
                  <c:v>2.7869999999999999</c:v>
                </c:pt>
                <c:pt idx="23" formatCode="0.000">
                  <c:v>3.7829999999999999</c:v>
                </c:pt>
                <c:pt idx="24" formatCode="0.000">
                  <c:v>5.2539999999999996</c:v>
                </c:pt>
                <c:pt idx="25" formatCode="0.000">
                  <c:v>4.6849999999999996</c:v>
                </c:pt>
                <c:pt idx="26" formatCode="0.000">
                  <c:v>5.266</c:v>
                </c:pt>
                <c:pt idx="27" formatCode="0.000">
                  <c:v>5.3259999999999996</c:v>
                </c:pt>
                <c:pt idx="28" formatCode="0.000">
                  <c:v>2.895</c:v>
                </c:pt>
                <c:pt idx="29" formatCode="0.000">
                  <c:v>-0.379</c:v>
                </c:pt>
                <c:pt idx="30" formatCode="0.000">
                  <c:v>5.2080000000000002</c:v>
                </c:pt>
                <c:pt idx="31" formatCode="0.000">
                  <c:v>4.048</c:v>
                </c:pt>
                <c:pt idx="32" formatCode="0.000">
                  <c:v>3.3439999999999999</c:v>
                </c:pt>
                <c:pt idx="33" formatCode="0.000">
                  <c:v>3.3580000000000001</c:v>
                </c:pt>
                <c:pt idx="34" formatCode="0.000">
                  <c:v>3.508</c:v>
                </c:pt>
                <c:pt idx="35" formatCode="0.000">
                  <c:v>3.431</c:v>
                </c:pt>
                <c:pt idx="36" formatCode="0.000">
                  <c:v>3.2570000000000001</c:v>
                </c:pt>
                <c:pt idx="37" formatCode="0.000">
                  <c:v>3.8370000000000002</c:v>
                </c:pt>
                <c:pt idx="38" formatCode="0.000">
                  <c:v>3.633</c:v>
                </c:pt>
                <c:pt idx="39" formatCode="0.000">
                  <c:v>2.9129999999999998</c:v>
                </c:pt>
                <c:pt idx="40" formatCode="0.000">
                  <c:v>-2.6869999999999998</c:v>
                </c:pt>
                <c:pt idx="41" formatCode="0.000">
                  <c:v>6.5730000000000004</c:v>
                </c:pt>
                <c:pt idx="42" formatCode="0.000">
                  <c:v>3.5510000000000002</c:v>
                </c:pt>
                <c:pt idx="43" formatCode="0.000">
                  <c:v>3.3250000000000002</c:v>
                </c:pt>
                <c:pt idx="44" formatCode="0.000">
                  <c:v>3.2919999999999998</c:v>
                </c:pt>
                <c:pt idx="45" formatCode="0.000">
                  <c:v>2.7850000000000001</c:v>
                </c:pt>
                <c:pt idx="46" formatCode="0.000">
                  <c:v>2.9630000000000001</c:v>
                </c:pt>
                <c:pt idx="47" formatCode="0.000">
                  <c:v>3.2160000000000002</c:v>
                </c:pt>
                <c:pt idx="48" formatCode="0.000">
                  <c:v>3.2160000000000002</c:v>
                </c:pt>
                <c:pt idx="49" formatCode="0.000">
                  <c:v>3.178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A44-4B20-8507-467C434524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5786624"/>
        <c:axId val="965786264"/>
      </c:lineChart>
      <c:dateAx>
        <c:axId val="106916279"/>
        <c:scaling>
          <c:orientation val="minMax"/>
        </c:scaling>
        <c:delete val="0"/>
        <c:axPos val="b"/>
        <c:numFmt formatCode="yyyy" sourceLinked="0"/>
        <c:majorTickMark val="out"/>
        <c:minorTickMark val="none"/>
        <c:tickLblPos val="low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8439"/>
        <c:crosses val="autoZero"/>
        <c:auto val="1"/>
        <c:lblOffset val="100"/>
        <c:baseTimeUnit val="years"/>
        <c:majorUnit val="5"/>
        <c:majorTimeUnit val="years"/>
      </c:dateAx>
      <c:valAx>
        <c:axId val="106918439"/>
        <c:scaling>
          <c:orientation val="minMax"/>
          <c:max val="20"/>
          <c:min val="-10"/>
        </c:scaling>
        <c:delete val="0"/>
        <c:axPos val="l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l-PL"/>
                  <a:t>%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7.0665966754155735E-2"/>
              <c:y val="2.813232504352798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8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9525"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6279"/>
        <c:crosses val="autoZero"/>
        <c:crossBetween val="midCat"/>
      </c:valAx>
      <c:valAx>
        <c:axId val="965786264"/>
        <c:scaling>
          <c:orientation val="minMax"/>
          <c:max val="10"/>
          <c:min val="-4"/>
        </c:scaling>
        <c:delete val="0"/>
        <c:axPos val="r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l-PL"/>
                  <a:t>%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0.94151662292213478"/>
              <c:y val="3.283880356539591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8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out"/>
        <c:minorTickMark val="none"/>
        <c:tickLblPos val="nextTo"/>
        <c:spPr>
          <a:noFill/>
          <a:ln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5786624"/>
        <c:crosses val="max"/>
        <c:crossBetween val="between"/>
      </c:valAx>
      <c:dateAx>
        <c:axId val="965786624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965786264"/>
        <c:crosses val="autoZero"/>
        <c:auto val="1"/>
        <c:lblOffset val="100"/>
        <c:baseTimeUnit val="year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49175925925926"/>
          <c:y val="4.8781481481481474E-2"/>
          <c:w val="0.80276759259259256"/>
          <c:h val="0.1132917964693665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5784112095271786E-2"/>
          <c:y val="0.1345404984423676"/>
          <c:w val="0.86788582677165349"/>
          <c:h val="0.68434345794392526"/>
        </c:manualLayout>
      </c:layout>
      <c:areaChart>
        <c:grouping val="stacked"/>
        <c:varyColors val="0"/>
        <c:ser>
          <c:idx val="1"/>
          <c:order val="0"/>
          <c:tx>
            <c:strRef>
              <c:f>'Annual May 2025'!$A$53</c:f>
              <c:strCache>
                <c:ptCount val="1"/>
                <c:pt idx="0">
                  <c:v>Africa</c:v>
                </c:pt>
              </c:strCache>
            </c:strRef>
          </c:tx>
          <c:spPr>
            <a:solidFill>
              <a:srgbClr val="1E32FA"/>
            </a:solidFill>
            <a:ln w="28575" cap="rnd">
              <a:noFill/>
              <a:round/>
            </a:ln>
            <a:effectLst/>
          </c:spPr>
          <c:cat>
            <c:strRef>
              <c:f>'Annual May 2025'!$C$52:$K$52</c:f>
              <c:strCache>
                <c:ptCount val="9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f</c:v>
                </c:pt>
                <c:pt idx="8">
                  <c:v>2026f</c:v>
                </c:pt>
              </c:strCache>
            </c:strRef>
          </c:cat>
          <c:val>
            <c:numRef>
              <c:f>'Annual May 2025'!$C$53:$K$53</c:f>
              <c:numCache>
                <c:formatCode>General</c:formatCode>
                <c:ptCount val="9"/>
                <c:pt idx="0">
                  <c:v>32</c:v>
                </c:pt>
                <c:pt idx="1">
                  <c:v>48</c:v>
                </c:pt>
                <c:pt idx="2">
                  <c:v>27</c:v>
                </c:pt>
                <c:pt idx="3">
                  <c:v>22</c:v>
                </c:pt>
                <c:pt idx="4">
                  <c:v>22</c:v>
                </c:pt>
                <c:pt idx="5">
                  <c:v>26</c:v>
                </c:pt>
                <c:pt idx="6">
                  <c:v>21</c:v>
                </c:pt>
                <c:pt idx="7">
                  <c:v>36</c:v>
                </c:pt>
                <c:pt idx="8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9B-45CF-8E1C-5CAED7932D98}"/>
            </c:ext>
          </c:extLst>
        </c:ser>
        <c:ser>
          <c:idx val="2"/>
          <c:order val="1"/>
          <c:tx>
            <c:strRef>
              <c:f>'Annual May 2025'!$A$54</c:f>
              <c:strCache>
                <c:ptCount val="1"/>
                <c:pt idx="0">
                  <c:v>Asia Pacific</c:v>
                </c:pt>
              </c:strCache>
            </c:strRef>
          </c:tx>
          <c:spPr>
            <a:solidFill>
              <a:srgbClr val="F04632"/>
            </a:solidFill>
          </c:spPr>
          <c:cat>
            <c:strRef>
              <c:f>'Annual May 2025'!$C$52:$K$52</c:f>
              <c:strCache>
                <c:ptCount val="9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f</c:v>
                </c:pt>
                <c:pt idx="8">
                  <c:v>2026f</c:v>
                </c:pt>
              </c:strCache>
            </c:strRef>
          </c:cat>
          <c:val>
            <c:numRef>
              <c:f>'Annual May 2025'!$C$54:$K$54</c:f>
              <c:numCache>
                <c:formatCode>General</c:formatCode>
                <c:ptCount val="9"/>
                <c:pt idx="0">
                  <c:v>794</c:v>
                </c:pt>
                <c:pt idx="1">
                  <c:v>551</c:v>
                </c:pt>
                <c:pt idx="2">
                  <c:v>270</c:v>
                </c:pt>
                <c:pt idx="3">
                  <c:v>335</c:v>
                </c:pt>
                <c:pt idx="4">
                  <c:v>350</c:v>
                </c:pt>
                <c:pt idx="5">
                  <c:v>363</c:v>
                </c:pt>
                <c:pt idx="6">
                  <c:v>454</c:v>
                </c:pt>
                <c:pt idx="7">
                  <c:v>563</c:v>
                </c:pt>
                <c:pt idx="8">
                  <c:v>6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9B-45CF-8E1C-5CAED7932D98}"/>
            </c:ext>
          </c:extLst>
        </c:ser>
        <c:ser>
          <c:idx val="3"/>
          <c:order val="2"/>
          <c:tx>
            <c:strRef>
              <c:f>'Annual May 2025'!$A$56</c:f>
              <c:strCache>
                <c:ptCount val="1"/>
                <c:pt idx="0">
                  <c:v>Latin America</c:v>
                </c:pt>
              </c:strCache>
            </c:strRef>
          </c:tx>
          <c:spPr>
            <a:solidFill>
              <a:srgbClr val="FAC832"/>
            </a:solidFill>
          </c:spPr>
          <c:cat>
            <c:strRef>
              <c:f>'Annual May 2025'!$C$52:$K$52</c:f>
              <c:strCache>
                <c:ptCount val="9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f</c:v>
                </c:pt>
                <c:pt idx="8">
                  <c:v>2026f</c:v>
                </c:pt>
              </c:strCache>
            </c:strRef>
          </c:cat>
          <c:val>
            <c:numRef>
              <c:f>'Annual May 2025'!$C$55:$K$55</c:f>
              <c:numCache>
                <c:formatCode>General</c:formatCode>
                <c:ptCount val="9"/>
                <c:pt idx="0">
                  <c:v>435</c:v>
                </c:pt>
                <c:pt idx="1">
                  <c:v>315</c:v>
                </c:pt>
                <c:pt idx="2">
                  <c:v>200</c:v>
                </c:pt>
                <c:pt idx="3">
                  <c:v>276</c:v>
                </c:pt>
                <c:pt idx="4">
                  <c:v>314</c:v>
                </c:pt>
                <c:pt idx="5">
                  <c:v>347</c:v>
                </c:pt>
                <c:pt idx="6">
                  <c:v>337</c:v>
                </c:pt>
                <c:pt idx="7">
                  <c:v>377</c:v>
                </c:pt>
                <c:pt idx="8">
                  <c:v>4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39B-45CF-8E1C-5CAED7932D98}"/>
            </c:ext>
          </c:extLst>
        </c:ser>
        <c:ser>
          <c:idx val="4"/>
          <c:order val="3"/>
          <c:tx>
            <c:strRef>
              <c:f>'Annual May 2025'!$A$56</c:f>
              <c:strCache>
                <c:ptCount val="1"/>
                <c:pt idx="0">
                  <c:v>Latin America</c:v>
                </c:pt>
              </c:strCache>
            </c:strRef>
          </c:tx>
          <c:spPr>
            <a:solidFill>
              <a:srgbClr val="FFFFFF">
                <a:lumMod val="85000"/>
              </a:srgbClr>
            </a:solidFill>
          </c:spPr>
          <c:cat>
            <c:strRef>
              <c:f>'Annual May 2025'!$C$52:$K$52</c:f>
              <c:strCache>
                <c:ptCount val="9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f</c:v>
                </c:pt>
                <c:pt idx="8">
                  <c:v>2026f</c:v>
                </c:pt>
              </c:strCache>
            </c:strRef>
          </c:cat>
          <c:val>
            <c:numRef>
              <c:f>'Annual May 2025'!$C$56:$K$56</c:f>
              <c:numCache>
                <c:formatCode>General</c:formatCode>
                <c:ptCount val="9"/>
                <c:pt idx="0">
                  <c:v>91</c:v>
                </c:pt>
                <c:pt idx="1">
                  <c:v>102</c:v>
                </c:pt>
                <c:pt idx="2">
                  <c:v>31</c:v>
                </c:pt>
                <c:pt idx="3">
                  <c:v>84</c:v>
                </c:pt>
                <c:pt idx="4">
                  <c:v>111</c:v>
                </c:pt>
                <c:pt idx="5">
                  <c:v>92</c:v>
                </c:pt>
                <c:pt idx="6">
                  <c:v>95</c:v>
                </c:pt>
                <c:pt idx="7">
                  <c:v>113</c:v>
                </c:pt>
                <c:pt idx="8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39B-45CF-8E1C-5CAED7932D98}"/>
            </c:ext>
          </c:extLst>
        </c:ser>
        <c:ser>
          <c:idx val="5"/>
          <c:order val="4"/>
          <c:tx>
            <c:strRef>
              <c:f>'Annual May 2025'!$A$57</c:f>
              <c:strCache>
                <c:ptCount val="1"/>
                <c:pt idx="0">
                  <c:v>Middle East</c:v>
                </c:pt>
              </c:strCache>
            </c:strRef>
          </c:tx>
          <c:spPr>
            <a:solidFill>
              <a:sysClr val="windowText" lastClr="000000"/>
            </a:solidFill>
          </c:spPr>
          <c:cat>
            <c:strRef>
              <c:f>'Annual May 2025'!$C$52:$K$52</c:f>
              <c:strCache>
                <c:ptCount val="9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f</c:v>
                </c:pt>
                <c:pt idx="8">
                  <c:v>2026f</c:v>
                </c:pt>
              </c:strCache>
            </c:strRef>
          </c:cat>
          <c:val>
            <c:numRef>
              <c:f>'Annual May 2025'!$C$57:$K$57</c:f>
              <c:numCache>
                <c:formatCode>General</c:formatCode>
                <c:ptCount val="9"/>
                <c:pt idx="0">
                  <c:v>112</c:v>
                </c:pt>
                <c:pt idx="1">
                  <c:v>85</c:v>
                </c:pt>
                <c:pt idx="2">
                  <c:v>47</c:v>
                </c:pt>
                <c:pt idx="3">
                  <c:v>49</c:v>
                </c:pt>
                <c:pt idx="4">
                  <c:v>55</c:v>
                </c:pt>
                <c:pt idx="5">
                  <c:v>96</c:v>
                </c:pt>
                <c:pt idx="6">
                  <c:v>42</c:v>
                </c:pt>
                <c:pt idx="7">
                  <c:v>117</c:v>
                </c:pt>
                <c:pt idx="8">
                  <c:v>1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39B-45CF-8E1C-5CAED7932D98}"/>
            </c:ext>
          </c:extLst>
        </c:ser>
        <c:ser>
          <c:idx val="6"/>
          <c:order val="5"/>
          <c:tx>
            <c:strRef>
              <c:f>'Annual May 2025'!$A$58</c:f>
              <c:strCache>
                <c:ptCount val="1"/>
                <c:pt idx="0">
                  <c:v>North America</c:v>
                </c:pt>
              </c:strCache>
            </c:strRef>
          </c:tx>
          <c:spPr>
            <a:solidFill>
              <a:srgbClr val="289632"/>
            </a:solidFill>
          </c:spPr>
          <c:cat>
            <c:strRef>
              <c:f>'Annual May 2025'!$C$52:$K$52</c:f>
              <c:strCache>
                <c:ptCount val="9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f</c:v>
                </c:pt>
                <c:pt idx="8">
                  <c:v>2026f</c:v>
                </c:pt>
              </c:strCache>
            </c:strRef>
          </c:cat>
          <c:val>
            <c:numRef>
              <c:f>'Annual May 2025'!$C$58:$K$58</c:f>
              <c:numCache>
                <c:formatCode>General</c:formatCode>
                <c:ptCount val="9"/>
                <c:pt idx="0">
                  <c:v>349</c:v>
                </c:pt>
                <c:pt idx="1">
                  <c:v>306</c:v>
                </c:pt>
                <c:pt idx="2">
                  <c:v>231</c:v>
                </c:pt>
                <c:pt idx="3">
                  <c:v>274</c:v>
                </c:pt>
                <c:pt idx="4">
                  <c:v>386</c:v>
                </c:pt>
                <c:pt idx="5">
                  <c:v>453</c:v>
                </c:pt>
                <c:pt idx="6">
                  <c:v>317</c:v>
                </c:pt>
                <c:pt idx="7">
                  <c:v>446</c:v>
                </c:pt>
                <c:pt idx="8">
                  <c:v>4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39B-45CF-8E1C-5CAED7932D98}"/>
            </c:ext>
          </c:extLst>
        </c:ser>
        <c:ser>
          <c:idx val="7"/>
          <c:order val="6"/>
          <c:tx>
            <c:strRef>
              <c:f>'Annual May 2025'!$A$59</c:f>
              <c:strCache>
                <c:ptCount val="1"/>
                <c:pt idx="0">
                  <c:v>Unassigned</c:v>
                </c:pt>
              </c:strCache>
            </c:strRef>
          </c:tx>
          <c:spPr>
            <a:solidFill>
              <a:srgbClr val="F046C8"/>
            </a:solidFill>
          </c:spPr>
          <c:cat>
            <c:strRef>
              <c:f>'Annual May 2025'!$C$52:$K$52</c:f>
              <c:strCache>
                <c:ptCount val="9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f</c:v>
                </c:pt>
                <c:pt idx="8">
                  <c:v>2026f</c:v>
                </c:pt>
              </c:strCache>
            </c:strRef>
          </c:cat>
          <c:val>
            <c:numRef>
              <c:f>'Annual May 2025'!$C$59:$K$59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40</c:v>
                </c:pt>
                <c:pt idx="8">
                  <c:v>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39B-45CF-8E1C-5CAED7932D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6916279"/>
        <c:axId val="106918439"/>
      </c:areaChart>
      <c:lineChart>
        <c:grouping val="standard"/>
        <c:varyColors val="0"/>
        <c:ser>
          <c:idx val="0"/>
          <c:order val="7"/>
          <c:tx>
            <c:v>Total</c:v>
          </c:tx>
          <c:spPr>
            <a:ln>
              <a:noFill/>
            </a:ln>
          </c:spPr>
          <c:marker>
            <c:symbol val="none"/>
          </c:marker>
          <c:dLbls>
            <c:dLbl>
              <c:idx val="0"/>
              <c:layout>
                <c:manualLayout>
                  <c:x val="3.5084125942632469E-3"/>
                  <c:y val="-4.40326331086699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39B-45CF-8E1C-5CAED7932D9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'Annual May 2025'!$C$60:$K$60</c:f>
              <c:numCache>
                <c:formatCode>General</c:formatCode>
                <c:ptCount val="9"/>
                <c:pt idx="0">
                  <c:v>1813</c:v>
                </c:pt>
                <c:pt idx="1">
                  <c:v>1407</c:v>
                </c:pt>
                <c:pt idx="2">
                  <c:v>806</c:v>
                </c:pt>
                <c:pt idx="3">
                  <c:v>1040</c:v>
                </c:pt>
                <c:pt idx="4">
                  <c:v>1238</c:v>
                </c:pt>
                <c:pt idx="5">
                  <c:v>1377</c:v>
                </c:pt>
                <c:pt idx="6">
                  <c:v>1266</c:v>
                </c:pt>
                <c:pt idx="7">
                  <c:v>1692</c:v>
                </c:pt>
                <c:pt idx="8">
                  <c:v>18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539B-45CF-8E1C-5CAED7932D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916279"/>
        <c:axId val="106918439"/>
      </c:lineChart>
      <c:catAx>
        <c:axId val="10691627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06918439"/>
        <c:crosses val="autoZero"/>
        <c:auto val="1"/>
        <c:lblAlgn val="ctr"/>
        <c:lblOffset val="100"/>
        <c:noMultiLvlLbl val="0"/>
      </c:catAx>
      <c:valAx>
        <c:axId val="106918439"/>
        <c:scaling>
          <c:orientation val="minMax"/>
        </c:scaling>
        <c:delete val="0"/>
        <c:axPos val="l"/>
        <c:title>
          <c:tx>
            <c:rich>
              <a:bodyPr rot="0"/>
              <a:lstStyle/>
              <a:p>
                <a:pPr>
                  <a:defRPr/>
                </a:pPr>
                <a:r>
                  <a:rPr lang="pl-PL"/>
                  <a:t>No of aircraft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2.7203849518810153E-2"/>
              <c:y val="2.6167979002624672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9525">
            <a:solidFill>
              <a:sysClr val="windowText" lastClr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0691627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egendEntry>
        <c:idx val="7"/>
        <c:delete val="1"/>
      </c:legendEntry>
      <c:layout>
        <c:manualLayout>
          <c:xMode val="edge"/>
          <c:yMode val="edge"/>
          <c:x val="0.22323647711940206"/>
          <c:y val="4.6001403091864311E-2"/>
          <c:w val="0.63069675056248131"/>
          <c:h val="0.18502388369678088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  <c:extLst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 b="0">
          <a:solidFill>
            <a:sysClr val="windowText" lastClr="000000"/>
          </a:solidFill>
        </a:defRPr>
      </a:pPr>
      <a:endParaRPr lang="en-US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4469466316710415E-2"/>
          <c:y val="0.14278786933811491"/>
          <c:w val="0.86901793525809279"/>
          <c:h val="0.67415399807697307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'Charts, capacity'!$E$30</c:f>
              <c:strCache>
                <c:ptCount val="1"/>
                <c:pt idx="0">
                  <c:v> May 2024</c:v>
                </c:pt>
              </c:strCache>
            </c:strRef>
          </c:tx>
          <c:spPr>
            <a:solidFill>
              <a:srgbClr val="28963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Charts, capacity'!$AS$22:$AT$22</c:f>
              <c:strCache>
                <c:ptCount val="2"/>
                <c:pt idx="0">
                  <c:v> 2025f </c:v>
                </c:pt>
                <c:pt idx="1">
                  <c:v> 2026f </c:v>
                </c:pt>
              </c:strCache>
            </c:strRef>
          </c:cat>
          <c:val>
            <c:numRef>
              <c:f>'Charts, capacity'!$AS$30:$AT$30</c:f>
              <c:numCache>
                <c:formatCode>General</c:formatCode>
                <c:ptCount val="2"/>
                <c:pt idx="0" formatCode="#,##0">
                  <c:v>22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1C-4219-B328-555B9CC6CEF8}"/>
            </c:ext>
          </c:extLst>
        </c:ser>
        <c:ser>
          <c:idx val="4"/>
          <c:order val="1"/>
          <c:tx>
            <c:strRef>
              <c:f>'Charts, capacity'!$E$26</c:f>
              <c:strCache>
                <c:ptCount val="1"/>
                <c:pt idx="0">
                  <c:v> November 2024</c:v>
                </c:pt>
              </c:strCache>
            </c:strRef>
          </c:tx>
          <c:spPr>
            <a:solidFill>
              <a:srgbClr val="F046C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Charts, capacity'!$AS$22:$AT$22</c:f>
              <c:strCache>
                <c:ptCount val="2"/>
                <c:pt idx="0">
                  <c:v> 2025f </c:v>
                </c:pt>
                <c:pt idx="1">
                  <c:v> 2026f </c:v>
                </c:pt>
              </c:strCache>
            </c:strRef>
          </c:cat>
          <c:val>
            <c:numRef>
              <c:f>'Charts, capacity'!$AS$26:$AT$26</c:f>
              <c:numCache>
                <c:formatCode>#,##0</c:formatCode>
                <c:ptCount val="2"/>
                <c:pt idx="0">
                  <c:v>1802</c:v>
                </c:pt>
                <c:pt idx="1">
                  <c:v>20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1C-4219-B328-555B9CC6CEF8}"/>
            </c:ext>
          </c:extLst>
        </c:ser>
        <c:ser>
          <c:idx val="5"/>
          <c:order val="2"/>
          <c:tx>
            <c:strRef>
              <c:f>'Charts, capacity'!$E$25</c:f>
              <c:strCache>
                <c:ptCount val="1"/>
                <c:pt idx="0">
                  <c:v> February 2025</c:v>
                </c:pt>
              </c:strCache>
            </c:strRef>
          </c:tx>
          <c:spPr>
            <a:solidFill>
              <a:srgbClr val="F0463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Charts, capacity'!$AS$22:$AT$22</c:f>
              <c:strCache>
                <c:ptCount val="2"/>
                <c:pt idx="0">
                  <c:v> 2025f </c:v>
                </c:pt>
                <c:pt idx="1">
                  <c:v> 2026f </c:v>
                </c:pt>
              </c:strCache>
            </c:strRef>
          </c:cat>
          <c:val>
            <c:numRef>
              <c:f>'Charts, capacity'!$AS$25:$AT$25</c:f>
              <c:numCache>
                <c:formatCode>#,##0</c:formatCode>
                <c:ptCount val="2"/>
                <c:pt idx="0">
                  <c:v>1728</c:v>
                </c:pt>
                <c:pt idx="1">
                  <c:v>20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1C-4219-B328-555B9CC6CEF8}"/>
            </c:ext>
          </c:extLst>
        </c:ser>
        <c:ser>
          <c:idx val="6"/>
          <c:order val="3"/>
          <c:tx>
            <c:strRef>
              <c:f>'Charts, capacity'!$E$24</c:f>
              <c:strCache>
                <c:ptCount val="1"/>
                <c:pt idx="0">
                  <c:v> March 2025</c:v>
                </c:pt>
              </c:strCache>
            </c:strRef>
          </c:tx>
          <c:spPr>
            <a:solidFill>
              <a:srgbClr val="FAC83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Charts, capacity'!$AS$22:$AT$22</c:f>
              <c:strCache>
                <c:ptCount val="2"/>
                <c:pt idx="0">
                  <c:v> 2025f </c:v>
                </c:pt>
                <c:pt idx="1">
                  <c:v> 2026f </c:v>
                </c:pt>
              </c:strCache>
            </c:strRef>
          </c:cat>
          <c:val>
            <c:numRef>
              <c:f>'Charts, capacity'!$AS$24:$AT$24</c:f>
              <c:numCache>
                <c:formatCode>#,##0</c:formatCode>
                <c:ptCount val="2"/>
                <c:pt idx="0">
                  <c:v>1624</c:v>
                </c:pt>
                <c:pt idx="1">
                  <c:v>1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91C-4219-B328-555B9CC6CEF8}"/>
            </c:ext>
          </c:extLst>
        </c:ser>
        <c:ser>
          <c:idx val="0"/>
          <c:order val="4"/>
          <c:tx>
            <c:strRef>
              <c:f>'Charts, capacity'!$E$23</c:f>
              <c:strCache>
                <c:ptCount val="1"/>
                <c:pt idx="0">
                  <c:v> April 2025</c:v>
                </c:pt>
              </c:strCache>
            </c:strRef>
          </c:tx>
          <c:spPr>
            <a:solidFill>
              <a:srgbClr val="1E32F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'Charts, capacity'!$AS$23:$AT$23</c:f>
              <c:numCache>
                <c:formatCode>#,##0</c:formatCode>
                <c:ptCount val="2"/>
                <c:pt idx="0">
                  <c:v>1692</c:v>
                </c:pt>
                <c:pt idx="1">
                  <c:v>18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1C-4219-B328-555B9CC6CE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28270400"/>
        <c:axId val="1328266080"/>
      </c:barChart>
      <c:catAx>
        <c:axId val="13282704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328266080"/>
        <c:crosses val="autoZero"/>
        <c:auto val="1"/>
        <c:lblAlgn val="ctr"/>
        <c:lblOffset val="100"/>
        <c:noMultiLvlLbl val="0"/>
      </c:catAx>
      <c:valAx>
        <c:axId val="1328266080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spPr>
          <a:noFill/>
          <a:ln w="9525">
            <a:solidFill>
              <a:sysClr val="windowText" lastClr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32827040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5682793209876544"/>
          <c:y val="5.2570833333333351E-2"/>
          <c:w val="0.66936388888888887"/>
          <c:h val="9.4882870370370367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  <c:extLst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>
          <a:solidFill>
            <a:sysClr val="windowText" lastClr="000000"/>
          </a:solidFill>
        </a:defRPr>
      </a:pPr>
      <a:endParaRPr lang="en-US"/>
    </a:p>
  </c:txPr>
  <c:externalData r:id="rId2">
    <c:autoUpdate val="0"/>
  </c:externalData>
  <c:userShapes r:id="rId3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4765004374453196E-2"/>
          <c:y val="0.14447493568254463"/>
          <c:w val="0.86903219597550307"/>
          <c:h val="0.6744089290818845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Charts, capacity'!$E$8</c:f>
              <c:strCache>
                <c:ptCount val="1"/>
                <c:pt idx="0">
                  <c:v> Backlog (RHS)</c:v>
                </c:pt>
              </c:strCache>
            </c:strRef>
          </c:tx>
          <c:spPr>
            <a:solidFill>
              <a:schemeClr val="accent1"/>
            </a:solidFill>
            <a:ln w="15875">
              <a:noFill/>
            </a:ln>
            <a:effectLst/>
          </c:spPr>
          <c:invertIfNegative val="0"/>
          <c:cat>
            <c:numRef>
              <c:f>'Charts, capacity'!$AG$5:$AR$5</c:f>
              <c:numCache>
                <c:formatCode>###0_);\(###0\);"-  ";" "@" "</c:formatCode>
                <c:ptCount val="12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  <c:pt idx="11">
                  <c:v>2024</c:v>
                </c:pt>
              </c:numCache>
            </c:numRef>
          </c:cat>
          <c:val>
            <c:numRef>
              <c:f>'Charts, capacity'!$F$8:$AR$8</c:f>
              <c:numCache>
                <c:formatCode>#,##0</c:formatCode>
                <c:ptCount val="12"/>
                <c:pt idx="0">
                  <c:v>8950</c:v>
                </c:pt>
                <c:pt idx="1">
                  <c:v>10079</c:v>
                </c:pt>
                <c:pt idx="2">
                  <c:v>10493</c:v>
                </c:pt>
                <c:pt idx="3">
                  <c:v>10495</c:v>
                </c:pt>
                <c:pt idx="4">
                  <c:v>10839</c:v>
                </c:pt>
                <c:pt idx="5">
                  <c:v>11072</c:v>
                </c:pt>
                <c:pt idx="6">
                  <c:v>11656</c:v>
                </c:pt>
                <c:pt idx="7">
                  <c:v>11630</c:v>
                </c:pt>
                <c:pt idx="8">
                  <c:v>12488</c:v>
                </c:pt>
                <c:pt idx="9">
                  <c:v>13659</c:v>
                </c:pt>
                <c:pt idx="10">
                  <c:v>16305</c:v>
                </c:pt>
                <c:pt idx="11">
                  <c:v>170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BF-4501-B6BF-4743820AD6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-50"/>
        <c:axId val="106916279"/>
        <c:axId val="106918439"/>
      </c:barChart>
      <c:catAx>
        <c:axId val="106916279"/>
        <c:scaling>
          <c:orientation val="minMax"/>
        </c:scaling>
        <c:delete val="0"/>
        <c:axPos val="b"/>
        <c:numFmt formatCode="###0_);\(###0\);&quot;-  &quot;;&quot; &quot;@&quot; &quot;" sourceLinked="1"/>
        <c:majorTickMark val="out"/>
        <c:minorTickMark val="none"/>
        <c:tickLblPos val="low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06918439"/>
        <c:crosses val="autoZero"/>
        <c:auto val="1"/>
        <c:lblAlgn val="ctr"/>
        <c:lblOffset val="100"/>
        <c:noMultiLvlLbl val="0"/>
      </c:catAx>
      <c:valAx>
        <c:axId val="106918439"/>
        <c:scaling>
          <c:orientation val="minMax"/>
        </c:scaling>
        <c:delete val="0"/>
        <c:axPos val="l"/>
        <c:title>
          <c:tx>
            <c:rich>
              <a:bodyPr rot="0"/>
              <a:lstStyle/>
              <a:p>
                <a:pPr>
                  <a:defRPr b="0"/>
                </a:pPr>
                <a:r>
                  <a:rPr lang="pl-PL" b="0"/>
                  <a:t>No of aircraft</a:t>
                </a:r>
                <a:endParaRPr lang="en-US" b="0"/>
              </a:p>
            </c:rich>
          </c:tx>
          <c:layout>
            <c:manualLayout>
              <c:xMode val="edge"/>
              <c:yMode val="edge"/>
              <c:x val="2.7203849518810153E-2"/>
              <c:y val="2.6167979002624672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" sourceLinked="1"/>
        <c:majorTickMark val="out"/>
        <c:minorTickMark val="none"/>
        <c:tickLblPos val="nextTo"/>
        <c:spPr>
          <a:noFill/>
          <a:ln w="9525">
            <a:solidFill>
              <a:sysClr val="windowText" lastClr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069162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en-US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4325109361329836E-2"/>
          <c:y val="0.14520854447649489"/>
          <c:w val="0.85458775153105859"/>
          <c:h val="0.6736755801564408"/>
        </c:manualLayout>
      </c:layout>
      <c:barChart>
        <c:barDir val="col"/>
        <c:grouping val="clustered"/>
        <c:varyColors val="0"/>
        <c:ser>
          <c:idx val="1"/>
          <c:order val="0"/>
          <c:tx>
            <c:v>Average age (LHS)</c:v>
          </c:tx>
          <c:spPr>
            <a:ln w="15875"/>
          </c:spPr>
          <c:invertIfNegative val="0"/>
          <c:cat>
            <c:numRef>
              <c:f>'Aircraft Trend'!$C$1:$AK$1</c:f>
              <c:numCache>
                <c:formatCode>General</c:formatCode>
                <c:ptCount val="35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</c:numCache>
            </c:numRef>
          </c:cat>
          <c:val>
            <c:numRef>
              <c:f>'Aircraft Trend'!$C$8:$AK$8</c:f>
              <c:numCache>
                <c:formatCode>0.00</c:formatCode>
                <c:ptCount val="35"/>
                <c:pt idx="0">
                  <c:v>12.4</c:v>
                </c:pt>
                <c:pt idx="1">
                  <c:v>12.4</c:v>
                </c:pt>
                <c:pt idx="2">
                  <c:v>12.2</c:v>
                </c:pt>
                <c:pt idx="3">
                  <c:v>12.5</c:v>
                </c:pt>
                <c:pt idx="4">
                  <c:v>12.8</c:v>
                </c:pt>
                <c:pt idx="5">
                  <c:v>13.2</c:v>
                </c:pt>
                <c:pt idx="6">
                  <c:v>13.5</c:v>
                </c:pt>
                <c:pt idx="7">
                  <c:v>13.7</c:v>
                </c:pt>
                <c:pt idx="8">
                  <c:v>13.7</c:v>
                </c:pt>
                <c:pt idx="9">
                  <c:v>13.7</c:v>
                </c:pt>
                <c:pt idx="10">
                  <c:v>13.7</c:v>
                </c:pt>
                <c:pt idx="11">
                  <c:v>13.7</c:v>
                </c:pt>
                <c:pt idx="12">
                  <c:v>13.8</c:v>
                </c:pt>
                <c:pt idx="13">
                  <c:v>14</c:v>
                </c:pt>
                <c:pt idx="14">
                  <c:v>14.2</c:v>
                </c:pt>
                <c:pt idx="15">
                  <c:v>14.3</c:v>
                </c:pt>
                <c:pt idx="16">
                  <c:v>14.3</c:v>
                </c:pt>
                <c:pt idx="17">
                  <c:v>14.3</c:v>
                </c:pt>
                <c:pt idx="18">
                  <c:v>14.2</c:v>
                </c:pt>
                <c:pt idx="19">
                  <c:v>14.1</c:v>
                </c:pt>
                <c:pt idx="20">
                  <c:v>14</c:v>
                </c:pt>
                <c:pt idx="21">
                  <c:v>13.9</c:v>
                </c:pt>
                <c:pt idx="22">
                  <c:v>13.7</c:v>
                </c:pt>
                <c:pt idx="23">
                  <c:v>13.5</c:v>
                </c:pt>
                <c:pt idx="24">
                  <c:v>13.3</c:v>
                </c:pt>
                <c:pt idx="25">
                  <c:v>13.2</c:v>
                </c:pt>
                <c:pt idx="26">
                  <c:v>13</c:v>
                </c:pt>
                <c:pt idx="27">
                  <c:v>13</c:v>
                </c:pt>
                <c:pt idx="28">
                  <c:v>13</c:v>
                </c:pt>
                <c:pt idx="29">
                  <c:v>13</c:v>
                </c:pt>
                <c:pt idx="30">
                  <c:v>13.4</c:v>
                </c:pt>
                <c:pt idx="31">
                  <c:v>13.8</c:v>
                </c:pt>
                <c:pt idx="32">
                  <c:v>14.2</c:v>
                </c:pt>
                <c:pt idx="33">
                  <c:v>14.5</c:v>
                </c:pt>
                <c:pt idx="34">
                  <c:v>1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D8-4EDD-8D96-F274138E2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106916279"/>
        <c:axId val="106918439"/>
      </c:barChart>
      <c:lineChart>
        <c:grouping val="standard"/>
        <c:varyColors val="0"/>
        <c:ser>
          <c:idx val="0"/>
          <c:order val="1"/>
          <c:tx>
            <c:v>Fuel consumption per ATK (RHS)</c:v>
          </c:tx>
          <c:spPr>
            <a:effectLst/>
          </c:spPr>
          <c:marker>
            <c:symbol val="none"/>
          </c:marker>
          <c:cat>
            <c:numRef>
              <c:f>'Aircraft Trend'!$C$1:$AK$1</c:f>
              <c:numCache>
                <c:formatCode>General</c:formatCode>
                <c:ptCount val="35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</c:numCache>
            </c:numRef>
          </c:cat>
          <c:val>
            <c:numRef>
              <c:f>'Aircraft Trend'!$C$12:$AK$12</c:f>
              <c:numCache>
                <c:formatCode>General</c:formatCode>
                <c:ptCount val="35"/>
                <c:pt idx="0">
                  <c:v>0.44167803081880719</c:v>
                </c:pt>
                <c:pt idx="1">
                  <c:v>0.43247536174714152</c:v>
                </c:pt>
                <c:pt idx="2">
                  <c:v>0.42608942628986018</c:v>
                </c:pt>
                <c:pt idx="3">
                  <c:v>0.42506553004627512</c:v>
                </c:pt>
                <c:pt idx="4">
                  <c:v>0.41673083364081803</c:v>
                </c:pt>
                <c:pt idx="5">
                  <c:v>0.39610394946298877</c:v>
                </c:pt>
                <c:pt idx="6">
                  <c:v>0.38466668952890909</c:v>
                </c:pt>
                <c:pt idx="7">
                  <c:v>0.36985003492508256</c:v>
                </c:pt>
                <c:pt idx="8">
                  <c:v>0.35914617430664947</c:v>
                </c:pt>
                <c:pt idx="9">
                  <c:v>0.35185362597140579</c:v>
                </c:pt>
                <c:pt idx="10">
                  <c:v>0.34671134752575933</c:v>
                </c:pt>
                <c:pt idx="11">
                  <c:v>0.3367259875203043</c:v>
                </c:pt>
                <c:pt idx="12">
                  <c:v>0.3320200764307889</c:v>
                </c:pt>
                <c:pt idx="13">
                  <c:v>0.32701574676665152</c:v>
                </c:pt>
                <c:pt idx="14">
                  <c:v>0.312287982430411</c:v>
                </c:pt>
                <c:pt idx="15">
                  <c:v>0.3021457762814958</c:v>
                </c:pt>
                <c:pt idx="16">
                  <c:v>0.29279414466119491</c:v>
                </c:pt>
                <c:pt idx="17">
                  <c:v>0.28479186105350091</c:v>
                </c:pt>
                <c:pt idx="18">
                  <c:v>0.27740849607578133</c:v>
                </c:pt>
                <c:pt idx="19">
                  <c:v>0.27345084092623478</c:v>
                </c:pt>
                <c:pt idx="20">
                  <c:v>0.2718168448501469</c:v>
                </c:pt>
                <c:pt idx="21">
                  <c:v>0.26421132202082642</c:v>
                </c:pt>
                <c:pt idx="22">
                  <c:v>0.25873630272710613</c:v>
                </c:pt>
                <c:pt idx="23">
                  <c:v>0.25108599213354937</c:v>
                </c:pt>
                <c:pt idx="24">
                  <c:v>0.24705375039585847</c:v>
                </c:pt>
                <c:pt idx="25">
                  <c:v>0.24543728010649138</c:v>
                </c:pt>
                <c:pt idx="26">
                  <c:v>0.24167065268866231</c:v>
                </c:pt>
                <c:pt idx="27">
                  <c:v>0.24125447338805392</c:v>
                </c:pt>
                <c:pt idx="28">
                  <c:v>0.23747841226869798</c:v>
                </c:pt>
                <c:pt idx="29">
                  <c:v>0.23595926813396445</c:v>
                </c:pt>
                <c:pt idx="30">
                  <c:v>0.22969896870195905</c:v>
                </c:pt>
                <c:pt idx="31">
                  <c:v>0.23655289036122334</c:v>
                </c:pt>
                <c:pt idx="32">
                  <c:v>0.23810843092822978</c:v>
                </c:pt>
                <c:pt idx="33">
                  <c:v>0.23392204729849903</c:v>
                </c:pt>
                <c:pt idx="34">
                  <c:v>0.233688125251200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D8-4EDD-8D96-F274138E2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0670639"/>
        <c:axId val="380678919"/>
      </c:lineChart>
      <c:catAx>
        <c:axId val="10691627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1020000" vert="horz"/>
          <a:lstStyle/>
          <a:p>
            <a:pPr>
              <a:defRPr/>
            </a:pPr>
            <a:endParaRPr lang="en-US"/>
          </a:p>
        </c:txPr>
        <c:crossAx val="106918439"/>
        <c:crosses val="autoZero"/>
        <c:auto val="1"/>
        <c:lblAlgn val="ctr"/>
        <c:lblOffset val="100"/>
        <c:noMultiLvlLbl val="0"/>
      </c:catAx>
      <c:valAx>
        <c:axId val="106918439"/>
        <c:scaling>
          <c:orientation val="minMax"/>
        </c:scaling>
        <c:delete val="0"/>
        <c:axPos val="l"/>
        <c:title>
          <c:tx>
            <c:rich>
              <a:bodyPr rot="0"/>
              <a:lstStyle/>
              <a:p>
                <a:pPr>
                  <a:defRPr b="0"/>
                </a:pPr>
                <a:r>
                  <a:rPr lang="pl-PL" b="0"/>
                  <a:t>years</a:t>
                </a:r>
                <a:endParaRPr lang="en-US" b="0"/>
              </a:p>
            </c:rich>
          </c:tx>
          <c:layout>
            <c:manualLayout>
              <c:xMode val="edge"/>
              <c:yMode val="edge"/>
              <c:x val="3.7203849518810145E-2"/>
              <c:y val="1.9521582079467789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" sourceLinked="0"/>
        <c:majorTickMark val="out"/>
        <c:minorTickMark val="none"/>
        <c:tickLblPos val="nextTo"/>
        <c:spPr>
          <a:noFill/>
          <a:ln w="9525">
            <a:solidFill>
              <a:sysClr val="windowText" lastClr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06916279"/>
        <c:crosses val="autoZero"/>
        <c:crossBetween val="between"/>
      </c:valAx>
      <c:valAx>
        <c:axId val="380678919"/>
        <c:scaling>
          <c:orientation val="minMax"/>
        </c:scaling>
        <c:delete val="0"/>
        <c:axPos val="r"/>
        <c:title>
          <c:tx>
            <c:rich>
              <a:bodyPr rot="0" vert="horz"/>
              <a:lstStyle/>
              <a:p>
                <a:pPr>
                  <a:defRPr b="0"/>
                </a:pPr>
                <a:r>
                  <a:rPr lang="pl-PL" b="0"/>
                  <a:t>USD cents</a:t>
                </a:r>
                <a:endParaRPr lang="en-US" b="0"/>
              </a:p>
            </c:rich>
          </c:tx>
          <c:layout>
            <c:manualLayout>
              <c:xMode val="edge"/>
              <c:yMode val="edge"/>
              <c:x val="0.88694444444444442"/>
              <c:y val="1.9546269587588681E-2"/>
            </c:manualLayout>
          </c:layout>
          <c:overlay val="0"/>
        </c:title>
        <c:numFmt formatCode="#,##0.0" sourceLinked="0"/>
        <c:majorTickMark val="out"/>
        <c:minorTickMark val="none"/>
        <c:tickLblPos val="nextTo"/>
        <c:crossAx val="380670639"/>
        <c:crosses val="max"/>
        <c:crossBetween val="between"/>
      </c:valAx>
      <c:catAx>
        <c:axId val="3806706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80678919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15322222222222223"/>
          <c:y val="7.5592738407699034E-2"/>
          <c:w val="0.84677777777777774"/>
          <c:h val="8.6444298629338001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 b="0"/>
          </a:pPr>
          <a:endParaRPr lang="en-US"/>
        </a:p>
      </c:txPr>
    </c:legend>
    <c:plotVisOnly val="1"/>
    <c:dispBlanksAs val="gap"/>
    <c:showDLblsOverMax val="0"/>
    <c:extLst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en-US"/>
    </a:p>
  </c:txPr>
  <c:externalData r:id="rId2">
    <c:autoUpdate val="0"/>
  </c:externalData>
  <c:userShapes r:id="rId3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0163597318930172E-2"/>
          <c:y val="0.10816468253968252"/>
          <c:w val="0.87237083794277781"/>
          <c:h val="0.76347112860892397"/>
        </c:manualLayout>
      </c:layout>
      <c:lineChart>
        <c:grouping val="standard"/>
        <c:varyColors val="0"/>
        <c:ser>
          <c:idx val="0"/>
          <c:order val="0"/>
          <c:tx>
            <c:strRef>
              <c:f>'Fleet age'!$B$19</c:f>
              <c:strCache>
                <c:ptCount val="1"/>
                <c:pt idx="0">
                  <c:v>Industry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Fleet age'!$C$1:$Q$1</c:f>
              <c:numCache>
                <c:formatCode>General</c:formatCod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numCache>
            </c:numRef>
          </c:cat>
          <c:val>
            <c:numRef>
              <c:f>'Fleet age'!$C$19:$Q$19</c:f>
              <c:numCache>
                <c:formatCode>_(* #,##0.0_);_(* \(#,##0.0\);_(* "-"??_);_(@_)</c:formatCode>
                <c:ptCount val="15"/>
                <c:pt idx="0">
                  <c:v>13.911713901306369</c:v>
                </c:pt>
                <c:pt idx="1">
                  <c:v>13.836961929255025</c:v>
                </c:pt>
                <c:pt idx="2">
                  <c:v>13.636702238962126</c:v>
                </c:pt>
                <c:pt idx="3">
                  <c:v>13.410608532506732</c:v>
                </c:pt>
                <c:pt idx="4">
                  <c:v>13.216454086700839</c:v>
                </c:pt>
                <c:pt idx="5">
                  <c:v>13.065048169556841</c:v>
                </c:pt>
                <c:pt idx="6">
                  <c:v>12.934024927233375</c:v>
                </c:pt>
                <c:pt idx="7">
                  <c:v>12.875542064180399</c:v>
                </c:pt>
                <c:pt idx="8">
                  <c:v>12.890041623309054</c:v>
                </c:pt>
                <c:pt idx="9">
                  <c:v>12.927961690610035</c:v>
                </c:pt>
                <c:pt idx="10">
                  <c:v>13.277421636677129</c:v>
                </c:pt>
                <c:pt idx="11">
                  <c:v>13.780323219766132</c:v>
                </c:pt>
                <c:pt idx="12">
                  <c:v>14.139537897582109</c:v>
                </c:pt>
                <c:pt idx="13">
                  <c:v>14.364834938101788</c:v>
                </c:pt>
                <c:pt idx="14">
                  <c:v>14.6642309122249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F29-4CC5-9BCB-25878D60E859}"/>
            </c:ext>
          </c:extLst>
        </c:ser>
        <c:ser>
          <c:idx val="1"/>
          <c:order val="1"/>
          <c:tx>
            <c:strRef>
              <c:f>'Fleet age'!$B$20</c:f>
              <c:strCache>
                <c:ptCount val="1"/>
                <c:pt idx="0">
                  <c:v>Afric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Fleet age'!$C$1:$Q$1</c:f>
              <c:numCache>
                <c:formatCode>General</c:formatCod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numCache>
            </c:numRef>
          </c:cat>
          <c:val>
            <c:numRef>
              <c:f>'Fleet age'!$C$20:$Q$20</c:f>
              <c:numCache>
                <c:formatCode>0.00</c:formatCode>
                <c:ptCount val="15"/>
                <c:pt idx="0">
                  <c:v>17.600000000000001</c:v>
                </c:pt>
                <c:pt idx="1">
                  <c:v>17.3</c:v>
                </c:pt>
                <c:pt idx="2">
                  <c:v>16.8</c:v>
                </c:pt>
                <c:pt idx="3">
                  <c:v>16.899999999999999</c:v>
                </c:pt>
                <c:pt idx="4">
                  <c:v>17.100000000000001</c:v>
                </c:pt>
                <c:pt idx="5">
                  <c:v>16.899999999999999</c:v>
                </c:pt>
                <c:pt idx="6">
                  <c:v>17</c:v>
                </c:pt>
                <c:pt idx="7">
                  <c:v>17.100000000000001</c:v>
                </c:pt>
                <c:pt idx="8">
                  <c:v>17.3</c:v>
                </c:pt>
                <c:pt idx="9">
                  <c:v>17.399999999999999</c:v>
                </c:pt>
                <c:pt idx="10">
                  <c:v>17.899999999999999</c:v>
                </c:pt>
                <c:pt idx="11">
                  <c:v>18.600000000000001</c:v>
                </c:pt>
                <c:pt idx="12">
                  <c:v>18.899999999999999</c:v>
                </c:pt>
                <c:pt idx="13">
                  <c:v>19.100000000000001</c:v>
                </c:pt>
                <c:pt idx="14">
                  <c:v>19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F29-4CC5-9BCB-25878D60E8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6916279"/>
        <c:axId val="106918439"/>
      </c:lineChart>
      <c:catAx>
        <c:axId val="10691627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8439"/>
        <c:crosses val="autoZero"/>
        <c:auto val="1"/>
        <c:lblAlgn val="ctr"/>
        <c:lblOffset val="100"/>
        <c:noMultiLvlLbl val="0"/>
      </c:catAx>
      <c:valAx>
        <c:axId val="106918439"/>
        <c:scaling>
          <c:orientation val="minMax"/>
        </c:scaling>
        <c:delete val="0"/>
        <c:axPos val="l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Years</a:t>
                </a:r>
              </a:p>
            </c:rich>
          </c:tx>
          <c:layout>
            <c:manualLayout>
              <c:xMode val="edge"/>
              <c:yMode val="edge"/>
              <c:x val="1.7813376776178837E-3"/>
              <c:y val="2.4367869857851937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8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627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9723240740740741"/>
          <c:y val="0.12521666666666667"/>
          <c:w val="0.80276759259259256"/>
          <c:h val="7.99819444444444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4242694663167098E-2"/>
          <c:y val="0.10816468253968252"/>
          <c:w val="0.84078678915135607"/>
          <c:h val="0.8467204450343538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C$2</c:f>
              <c:strCache>
                <c:ptCount val="1"/>
                <c:pt idx="0">
                  <c:v>RPK</c:v>
                </c:pt>
              </c:strCache>
            </c:strRef>
          </c:tx>
          <c:spPr>
            <a:solidFill>
              <a:schemeClr val="accent1"/>
            </a:solidFill>
            <a:ln w="15875">
              <a:noFill/>
            </a:ln>
            <a:effectLst/>
          </c:spPr>
          <c:invertIfNegative val="0"/>
          <c:cat>
            <c:strRef>
              <c:f>Sheet1!$B$3:$B$9</c:f>
              <c:strCache>
                <c:ptCount val="7"/>
                <c:pt idx="0">
                  <c:v>Industry</c:v>
                </c:pt>
                <c:pt idx="1">
                  <c:v>Africa</c:v>
                </c:pt>
                <c:pt idx="2">
                  <c:v>Asia Pacific</c:v>
                </c:pt>
                <c:pt idx="3">
                  <c:v>Europe</c:v>
                </c:pt>
                <c:pt idx="4">
                  <c:v>Latin America</c:v>
                </c:pt>
                <c:pt idx="5">
                  <c:v>Middle East</c:v>
                </c:pt>
                <c:pt idx="6">
                  <c:v>North America</c:v>
                </c:pt>
              </c:strCache>
            </c:strRef>
          </c:cat>
          <c:val>
            <c:numRef>
              <c:f>Sheet1!$C$3:$C$9</c:f>
              <c:numCache>
                <c:formatCode>0.0%</c:formatCode>
                <c:ptCount val="7"/>
                <c:pt idx="0">
                  <c:v>5.8369249679874224E-2</c:v>
                </c:pt>
                <c:pt idx="1">
                  <c:v>8.0400000000000027E-2</c:v>
                </c:pt>
                <c:pt idx="2">
                  <c:v>9.0449999999999919E-2</c:v>
                </c:pt>
                <c:pt idx="3">
                  <c:v>6.0449999999999893E-2</c:v>
                </c:pt>
                <c:pt idx="4">
                  <c:v>5.8450000000000113E-2</c:v>
                </c:pt>
                <c:pt idx="5">
                  <c:v>6.4400000000000013E-2</c:v>
                </c:pt>
                <c:pt idx="6">
                  <c:v>4.45000000000006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11-4358-A312-26D3CB8C4F98}"/>
            </c:ext>
          </c:extLst>
        </c:ser>
        <c:ser>
          <c:idx val="2"/>
          <c:order val="2"/>
          <c:tx>
            <c:strRef>
              <c:f>Sheet1!$E$2</c:f>
              <c:strCache>
                <c:ptCount val="1"/>
                <c:pt idx="0">
                  <c:v>CT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B$3:$B$9</c:f>
              <c:strCache>
                <c:ptCount val="7"/>
                <c:pt idx="0">
                  <c:v>Industry</c:v>
                </c:pt>
                <c:pt idx="1">
                  <c:v>Africa</c:v>
                </c:pt>
                <c:pt idx="2">
                  <c:v>Asia Pacific</c:v>
                </c:pt>
                <c:pt idx="3">
                  <c:v>Europe</c:v>
                </c:pt>
                <c:pt idx="4">
                  <c:v>Latin America</c:v>
                </c:pt>
                <c:pt idx="5">
                  <c:v>Middle East</c:v>
                </c:pt>
                <c:pt idx="6">
                  <c:v>North America</c:v>
                </c:pt>
              </c:strCache>
            </c:strRef>
          </c:cat>
          <c:val>
            <c:numRef>
              <c:f>Sheet1!$E$3:$E$9</c:f>
              <c:numCache>
                <c:formatCode>0.0%</c:formatCode>
                <c:ptCount val="7"/>
                <c:pt idx="0">
                  <c:v>7.4837679874371066E-3</c:v>
                </c:pt>
                <c:pt idx="1">
                  <c:v>9.7375664615779733E-3</c:v>
                </c:pt>
                <c:pt idx="2">
                  <c:v>3.8480088780815214E-2</c:v>
                </c:pt>
                <c:pt idx="3">
                  <c:v>2.0000000000000018E-3</c:v>
                </c:pt>
                <c:pt idx="4">
                  <c:v>2.1455195699301877E-2</c:v>
                </c:pt>
                <c:pt idx="5">
                  <c:v>-2.3625281518676045E-2</c:v>
                </c:pt>
                <c:pt idx="6">
                  <c:v>-1.449999999999984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11-4358-A312-26D3CB8C4F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06916279"/>
        <c:axId val="106918439"/>
      </c:barChart>
      <c:lineChart>
        <c:grouping val="standard"/>
        <c:varyColors val="0"/>
        <c:ser>
          <c:idx val="1"/>
          <c:order val="1"/>
          <c:tx>
            <c:strRef>
              <c:f>Sheet1!$D$2</c:f>
              <c:strCache>
                <c:ptCount val="1"/>
                <c:pt idx="0">
                  <c:v>PLF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8"/>
            <c:spPr>
              <a:solidFill>
                <a:srgbClr val="0000FF"/>
              </a:solidFill>
              <a:ln w="9525">
                <a:solidFill>
                  <a:srgbClr val="0F9ED5">
                    <a:lumMod val="20000"/>
                    <a:lumOff val="80000"/>
                  </a:srgbClr>
                </a:solidFill>
              </a:ln>
              <a:effectLst/>
            </c:spPr>
          </c:marker>
          <c:cat>
            <c:strRef>
              <c:f>Sheet1!$B$3:$B$9</c:f>
              <c:strCache>
                <c:ptCount val="7"/>
                <c:pt idx="0">
                  <c:v>Industry</c:v>
                </c:pt>
                <c:pt idx="1">
                  <c:v>Africa</c:v>
                </c:pt>
                <c:pt idx="2">
                  <c:v>Asia Pacific</c:v>
                </c:pt>
                <c:pt idx="3">
                  <c:v>Europe</c:v>
                </c:pt>
                <c:pt idx="4">
                  <c:v>Latin America</c:v>
                </c:pt>
                <c:pt idx="5">
                  <c:v>Middle East</c:v>
                </c:pt>
                <c:pt idx="6">
                  <c:v>North America</c:v>
                </c:pt>
              </c:strCache>
            </c:strRef>
          </c:cat>
          <c:val>
            <c:numRef>
              <c:f>Sheet1!$D$3:$D$9</c:f>
              <c:numCache>
                <c:formatCode>0%</c:formatCode>
                <c:ptCount val="7"/>
                <c:pt idx="0">
                  <c:v>0.84029438313293303</c:v>
                </c:pt>
                <c:pt idx="1">
                  <c:v>0.75493353783577255</c:v>
                </c:pt>
                <c:pt idx="2">
                  <c:v>0.85028838538830642</c:v>
                </c:pt>
                <c:pt idx="3">
                  <c:v>0.84954112184321051</c:v>
                </c:pt>
                <c:pt idx="4">
                  <c:v>0.82245526902817134</c:v>
                </c:pt>
                <c:pt idx="5">
                  <c:v>0.82153403873862985</c:v>
                </c:pt>
                <c:pt idx="6">
                  <c:v>0.835810891642601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11-4358-A312-26D3CB8C4F98}"/>
            </c:ext>
          </c:extLst>
        </c:ser>
        <c:ser>
          <c:idx val="3"/>
          <c:order val="3"/>
          <c:tx>
            <c:strRef>
              <c:f>Sheet1!$F$2</c:f>
              <c:strCache>
                <c:ptCount val="1"/>
                <c:pt idx="0">
                  <c:v>CLF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7"/>
            <c:spPr>
              <a:solidFill>
                <a:srgbClr val="FFC000"/>
              </a:solidFill>
              <a:ln w="9525">
                <a:solidFill>
                  <a:srgbClr val="E97132"/>
                </a:solidFill>
              </a:ln>
              <a:effectLst/>
            </c:spPr>
          </c:marker>
          <c:cat>
            <c:strRef>
              <c:f>Sheet1!$B$3:$B$9</c:f>
              <c:strCache>
                <c:ptCount val="7"/>
                <c:pt idx="0">
                  <c:v>Industry</c:v>
                </c:pt>
                <c:pt idx="1">
                  <c:v>Africa</c:v>
                </c:pt>
                <c:pt idx="2">
                  <c:v>Asia Pacific</c:v>
                </c:pt>
                <c:pt idx="3">
                  <c:v>Europe</c:v>
                </c:pt>
                <c:pt idx="4">
                  <c:v>Latin America</c:v>
                </c:pt>
                <c:pt idx="5">
                  <c:v>Middle East</c:v>
                </c:pt>
                <c:pt idx="6">
                  <c:v>North America</c:v>
                </c:pt>
              </c:strCache>
            </c:strRef>
          </c:cat>
          <c:val>
            <c:numRef>
              <c:f>Sheet1!$F$3:$F$9</c:f>
              <c:numCache>
                <c:formatCode>0%</c:formatCode>
                <c:ptCount val="7"/>
                <c:pt idx="0">
                  <c:v>0.45071584236692525</c:v>
                </c:pt>
                <c:pt idx="1">
                  <c:v>0.39850714352040179</c:v>
                </c:pt>
                <c:pt idx="2">
                  <c:v>0.46212389747968385</c:v>
                </c:pt>
                <c:pt idx="3">
                  <c:v>0.53233641216771432</c:v>
                </c:pt>
                <c:pt idx="4">
                  <c:v>0.36493508313334067</c:v>
                </c:pt>
                <c:pt idx="5">
                  <c:v>0.45444646443323855</c:v>
                </c:pt>
                <c:pt idx="6">
                  <c:v>0.398447571770985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11-4358-A312-26D3CB8C4F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0091183"/>
        <c:axId val="70092623"/>
      </c:lineChart>
      <c:catAx>
        <c:axId val="10691627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8439"/>
        <c:crosses val="autoZero"/>
        <c:auto val="1"/>
        <c:lblAlgn val="ctr"/>
        <c:lblOffset val="100"/>
        <c:noMultiLvlLbl val="0"/>
      </c:catAx>
      <c:valAx>
        <c:axId val="106918439"/>
        <c:scaling>
          <c:orientation val="minMax"/>
        </c:scaling>
        <c:delete val="0"/>
        <c:axPos val="l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Growth, %</a:t>
                </a:r>
              </a:p>
            </c:rich>
          </c:tx>
          <c:layout>
            <c:manualLayout>
              <c:xMode val="edge"/>
              <c:yMode val="edge"/>
              <c:x val="1.2296587926509188E-2"/>
              <c:y val="1.6098853979886188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8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6279"/>
        <c:crosses val="autoZero"/>
        <c:crossBetween val="between"/>
      </c:valAx>
      <c:valAx>
        <c:axId val="70092623"/>
        <c:scaling>
          <c:orientation val="minMax"/>
        </c:scaling>
        <c:delete val="0"/>
        <c:axPos val="r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Load factor, %</a:t>
                </a:r>
              </a:p>
            </c:rich>
          </c:tx>
          <c:layout>
            <c:manualLayout>
              <c:xMode val="edge"/>
              <c:yMode val="edge"/>
              <c:x val="0.93826638477801272"/>
              <c:y val="2.2868740197790052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8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 w="6350"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091183"/>
        <c:crosses val="max"/>
        <c:crossBetween val="between"/>
      </c:valAx>
      <c:catAx>
        <c:axId val="7009118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009262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5784422968297133"/>
          <c:y val="3.9155343133658115E-2"/>
          <c:w val="0.46474132422980646"/>
          <c:h val="5.01429111240191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659317585301832E-2"/>
          <c:y val="0.1427855305215561"/>
          <c:w val="0.86948705161854767"/>
          <c:h val="0.67145006626646908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'Passenger load factor)'!$I$2</c:f>
              <c:strCache>
                <c:ptCount val="1"/>
                <c:pt idx="0">
                  <c:v>Q1 - 20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1.076136669357005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E99-4B29-9EBD-009D1B2BDDB4}"/>
                </c:ext>
              </c:extLst>
            </c:dLbl>
            <c:dLbl>
              <c:idx val="1"/>
              <c:layout>
                <c:manualLayout>
                  <c:x val="0"/>
                  <c:y val="1.076136669357008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E99-4B29-9EBD-009D1B2BDDB4}"/>
                </c:ext>
              </c:extLst>
            </c:dLbl>
            <c:dLbl>
              <c:idx val="2"/>
              <c:layout>
                <c:manualLayout>
                  <c:x val="0"/>
                  <c:y val="1.614205004035509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E99-4B29-9EBD-009D1B2BDDB4}"/>
                </c:ext>
              </c:extLst>
            </c:dLbl>
            <c:dLbl>
              <c:idx val="3"/>
              <c:layout>
                <c:manualLayout>
                  <c:x val="0"/>
                  <c:y val="1.614205004035512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E99-4B29-9EBD-009D1B2BDDB4}"/>
                </c:ext>
              </c:extLst>
            </c:dLbl>
            <c:dLbl>
              <c:idx val="4"/>
              <c:layout>
                <c:manualLayout>
                  <c:x val="0"/>
                  <c:y val="1.345170836696260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E99-4B29-9EBD-009D1B2BDDB4}"/>
                </c:ext>
              </c:extLst>
            </c:dLbl>
            <c:dLbl>
              <c:idx val="5"/>
              <c:layout>
                <c:manualLayout>
                  <c:x val="0"/>
                  <c:y val="2.15227333871401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E99-4B29-9EBD-009D1B2BDDB4}"/>
                </c:ext>
              </c:extLst>
            </c:dLbl>
            <c:dLbl>
              <c:idx val="6"/>
              <c:layout>
                <c:manualLayout>
                  <c:x val="0"/>
                  <c:y val="8.071025020177537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E99-4B29-9EBD-009D1B2BDDB4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assenger load factor)'!$G$3:$G$9</c:f>
              <c:strCache>
                <c:ptCount val="7"/>
                <c:pt idx="0">
                  <c:v>Industry</c:v>
                </c:pt>
                <c:pt idx="1">
                  <c:v>Africa</c:v>
                </c:pt>
                <c:pt idx="2">
                  <c:v>Asia  Pacific</c:v>
                </c:pt>
                <c:pt idx="3">
                  <c:v>Europe</c:v>
                </c:pt>
                <c:pt idx="4">
                  <c:v>Latin America &amp; Caribbean</c:v>
                </c:pt>
                <c:pt idx="5">
                  <c:v>Middle East</c:v>
                </c:pt>
                <c:pt idx="6">
                  <c:v>North America</c:v>
                </c:pt>
              </c:strCache>
            </c:strRef>
          </c:cat>
          <c:val>
            <c:numRef>
              <c:f>'Passenger load factor)'!$I$3:$I$9</c:f>
              <c:numCache>
                <c:formatCode>General</c:formatCode>
                <c:ptCount val="7"/>
                <c:pt idx="0">
                  <c:v>80.930000000000007</c:v>
                </c:pt>
                <c:pt idx="1">
                  <c:v>73.2</c:v>
                </c:pt>
                <c:pt idx="2">
                  <c:v>82.75</c:v>
                </c:pt>
                <c:pt idx="3">
                  <c:v>78.56</c:v>
                </c:pt>
                <c:pt idx="4">
                  <c:v>83.37</c:v>
                </c:pt>
                <c:pt idx="5">
                  <c:v>79.27</c:v>
                </c:pt>
                <c:pt idx="6">
                  <c:v>81.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E99-4B29-9EBD-009D1B2BDDB4}"/>
            </c:ext>
          </c:extLst>
        </c:ser>
        <c:ser>
          <c:idx val="0"/>
          <c:order val="1"/>
          <c:tx>
            <c:strRef>
              <c:f>'Passenger load factor)'!$H$2</c:f>
              <c:strCache>
                <c:ptCount val="1"/>
                <c:pt idx="0">
                  <c:v>Q1 - 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2.42130750605326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E99-4B29-9EBD-009D1B2BDDB4}"/>
                </c:ext>
              </c:extLst>
            </c:dLbl>
            <c:dLbl>
              <c:idx val="1"/>
              <c:layout>
                <c:manualLayout>
                  <c:x val="0"/>
                  <c:y val="-1.61420500403551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E99-4B29-9EBD-009D1B2BDDB4}"/>
                </c:ext>
              </c:extLst>
            </c:dLbl>
            <c:dLbl>
              <c:idx val="3"/>
              <c:layout>
                <c:manualLayout>
                  <c:x val="-9.5227266855086434E-17"/>
                  <c:y val="-2.69034167339252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E99-4B29-9EBD-009D1B2BDDB4}"/>
                </c:ext>
              </c:extLst>
            </c:dLbl>
            <c:dLbl>
              <c:idx val="4"/>
              <c:layout>
                <c:manualLayout>
                  <c:x val="-9.5227266855086434E-17"/>
                  <c:y val="2.42130750605326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E99-4B29-9EBD-009D1B2BDDB4}"/>
                </c:ext>
              </c:extLst>
            </c:dLbl>
            <c:dLbl>
              <c:idx val="6"/>
              <c:layout>
                <c:manualLayout>
                  <c:x val="2.5971372798706972E-3"/>
                  <c:y val="1.34517083669626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E99-4B29-9EBD-009D1B2BDDB4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Passenger load factor)'!$G$3:$G$9</c:f>
              <c:strCache>
                <c:ptCount val="7"/>
                <c:pt idx="0">
                  <c:v>Industry</c:v>
                </c:pt>
                <c:pt idx="1">
                  <c:v>Africa</c:v>
                </c:pt>
                <c:pt idx="2">
                  <c:v>Asia  Pacific</c:v>
                </c:pt>
                <c:pt idx="3">
                  <c:v>Europe</c:v>
                </c:pt>
                <c:pt idx="4">
                  <c:v>Latin America &amp; Caribbean</c:v>
                </c:pt>
                <c:pt idx="5">
                  <c:v>Middle East</c:v>
                </c:pt>
                <c:pt idx="6">
                  <c:v>North America</c:v>
                </c:pt>
              </c:strCache>
            </c:strRef>
          </c:cat>
          <c:val>
            <c:numRef>
              <c:f>'Passenger load factor)'!$H$3:$H$9</c:f>
              <c:numCache>
                <c:formatCode>General</c:formatCode>
                <c:ptCount val="7"/>
                <c:pt idx="0">
                  <c:v>81.23</c:v>
                </c:pt>
                <c:pt idx="1">
                  <c:v>74.3</c:v>
                </c:pt>
                <c:pt idx="2">
                  <c:v>84.42</c:v>
                </c:pt>
                <c:pt idx="3">
                  <c:v>78.709999999999994</c:v>
                </c:pt>
                <c:pt idx="4">
                  <c:v>81.95</c:v>
                </c:pt>
                <c:pt idx="5">
                  <c:v>80.23</c:v>
                </c:pt>
                <c:pt idx="6">
                  <c:v>80.01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9E99-4B29-9EBD-009D1B2BDD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83428719"/>
        <c:axId val="1723684208"/>
      </c:barChart>
      <c:catAx>
        <c:axId val="58342871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23684208"/>
        <c:crosses val="autoZero"/>
        <c:auto val="1"/>
        <c:lblAlgn val="ctr"/>
        <c:lblOffset val="100"/>
        <c:noMultiLvlLbl val="0"/>
      </c:catAx>
      <c:valAx>
        <c:axId val="1723684208"/>
        <c:scaling>
          <c:orientation val="minMax"/>
          <c:max val="85"/>
          <c:min val="60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3428719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65733613298337712"/>
          <c:y val="0"/>
          <c:w val="0.27421662292213472"/>
          <c:h val="9.50809490397858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264916885389327E-2"/>
          <c:y val="9.412541254125413E-2"/>
          <c:w val="0.89661303587051622"/>
          <c:h val="0.4796715262077389"/>
        </c:manualLayout>
      </c:layout>
      <c:barChart>
        <c:barDir val="col"/>
        <c:grouping val="stacked"/>
        <c:varyColors val="0"/>
        <c:ser>
          <c:idx val="0"/>
          <c:order val="0"/>
          <c:tx>
            <c:v>Domestic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Chart 7'!$A$2:$A$19</c:f>
              <c:strCache>
                <c:ptCount val="18"/>
                <c:pt idx="0">
                  <c:v>Central Asia</c:v>
                </c:pt>
                <c:pt idx="1">
                  <c:v>Northern Africa</c:v>
                </c:pt>
                <c:pt idx="2">
                  <c:v>Southeast Asia</c:v>
                </c:pt>
                <c:pt idx="3">
                  <c:v>South Asia</c:v>
                </c:pt>
                <c:pt idx="4">
                  <c:v>Middle East</c:v>
                </c:pt>
                <c:pt idx="5">
                  <c:v>Eastern/Central Europe</c:v>
                </c:pt>
                <c:pt idx="6">
                  <c:v>Northeast Asia</c:v>
                </c:pt>
                <c:pt idx="7">
                  <c:v>Western Europe</c:v>
                </c:pt>
                <c:pt idx="8">
                  <c:v>Industry</c:v>
                </c:pt>
                <c:pt idx="9">
                  <c:v>Central/Western Africa</c:v>
                </c:pt>
                <c:pt idx="10">
                  <c:v>Central America</c:v>
                </c:pt>
                <c:pt idx="11">
                  <c:v>North America</c:v>
                </c:pt>
                <c:pt idx="12">
                  <c:v>Southwest Pacific</c:v>
                </c:pt>
                <c:pt idx="13">
                  <c:v>Caribbean</c:v>
                </c:pt>
                <c:pt idx="14">
                  <c:v>Lower South America</c:v>
                </c:pt>
                <c:pt idx="15">
                  <c:v>Eastern Africa</c:v>
                </c:pt>
                <c:pt idx="16">
                  <c:v>Upper South America</c:v>
                </c:pt>
                <c:pt idx="17">
                  <c:v>Southern Africa</c:v>
                </c:pt>
              </c:strCache>
            </c:strRef>
          </c:cat>
          <c:val>
            <c:numRef>
              <c:f>'Chart 7'!$B$2:$B$19</c:f>
              <c:numCache>
                <c:formatCode>0.0%</c:formatCode>
                <c:ptCount val="18"/>
                <c:pt idx="0">
                  <c:v>0.17332081764151505</c:v>
                </c:pt>
                <c:pt idx="1">
                  <c:v>2.4693453422988666E-2</c:v>
                </c:pt>
                <c:pt idx="2">
                  <c:v>7.1396434654517962E-2</c:v>
                </c:pt>
                <c:pt idx="3">
                  <c:v>5.528024649843627E-2</c:v>
                </c:pt>
                <c:pt idx="4">
                  <c:v>1.5853582945222246E-2</c:v>
                </c:pt>
                <c:pt idx="5">
                  <c:v>1.3715049285440904E-2</c:v>
                </c:pt>
                <c:pt idx="6">
                  <c:v>4.271746564273865E-2</c:v>
                </c:pt>
                <c:pt idx="7">
                  <c:v>1.1231643362914863E-2</c:v>
                </c:pt>
                <c:pt idx="8">
                  <c:v>3.1792560790100378E-2</c:v>
                </c:pt>
                <c:pt idx="9">
                  <c:v>2.1454928763604244E-2</c:v>
                </c:pt>
                <c:pt idx="10">
                  <c:v>1.8332239139356707E-2</c:v>
                </c:pt>
                <c:pt idx="11">
                  <c:v>2.3465806725278291E-2</c:v>
                </c:pt>
                <c:pt idx="12">
                  <c:v>1.3148694790178415E-2</c:v>
                </c:pt>
                <c:pt idx="13">
                  <c:v>2.0900965596137942E-4</c:v>
                </c:pt>
                <c:pt idx="14">
                  <c:v>3.6618325989341734E-3</c:v>
                </c:pt>
                <c:pt idx="15">
                  <c:v>-3.0530223941162352E-3</c:v>
                </c:pt>
                <c:pt idx="16">
                  <c:v>-9.0049727250773939E-3</c:v>
                </c:pt>
                <c:pt idx="17">
                  <c:v>-2.876079955695760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BF-4A66-9806-2967EDAB9FF0}"/>
            </c:ext>
          </c:extLst>
        </c:ser>
        <c:ser>
          <c:idx val="1"/>
          <c:order val="1"/>
          <c:tx>
            <c:v>International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Chart 7'!$A$2:$A$19</c:f>
              <c:strCache>
                <c:ptCount val="18"/>
                <c:pt idx="0">
                  <c:v>Central Asia</c:v>
                </c:pt>
                <c:pt idx="1">
                  <c:v>Northern Africa</c:v>
                </c:pt>
                <c:pt idx="2">
                  <c:v>Southeast Asia</c:v>
                </c:pt>
                <c:pt idx="3">
                  <c:v>South Asia</c:v>
                </c:pt>
                <c:pt idx="4">
                  <c:v>Middle East</c:v>
                </c:pt>
                <c:pt idx="5">
                  <c:v>Eastern/Central Europe</c:v>
                </c:pt>
                <c:pt idx="6">
                  <c:v>Northeast Asia</c:v>
                </c:pt>
                <c:pt idx="7">
                  <c:v>Western Europe</c:v>
                </c:pt>
                <c:pt idx="8">
                  <c:v>Industry</c:v>
                </c:pt>
                <c:pt idx="9">
                  <c:v>Central/Western Africa</c:v>
                </c:pt>
                <c:pt idx="10">
                  <c:v>Central America</c:v>
                </c:pt>
                <c:pt idx="11">
                  <c:v>North America</c:v>
                </c:pt>
                <c:pt idx="12">
                  <c:v>Southwest Pacific</c:v>
                </c:pt>
                <c:pt idx="13">
                  <c:v>Caribbean</c:v>
                </c:pt>
                <c:pt idx="14">
                  <c:v>Lower South America</c:v>
                </c:pt>
                <c:pt idx="15">
                  <c:v>Eastern Africa</c:v>
                </c:pt>
                <c:pt idx="16">
                  <c:v>Upper South America</c:v>
                </c:pt>
                <c:pt idx="17">
                  <c:v>Southern Africa</c:v>
                </c:pt>
              </c:strCache>
            </c:strRef>
          </c:cat>
          <c:val>
            <c:numRef>
              <c:f>'Chart 7'!$C$2:$C$19</c:f>
              <c:numCache>
                <c:formatCode>0.0%</c:formatCode>
                <c:ptCount val="18"/>
                <c:pt idx="0">
                  <c:v>0.16852186805986905</c:v>
                </c:pt>
                <c:pt idx="1">
                  <c:v>0.15563162684143184</c:v>
                </c:pt>
                <c:pt idx="2">
                  <c:v>5.1992767821716454E-2</c:v>
                </c:pt>
                <c:pt idx="3">
                  <c:v>1.832336532006967E-2</c:v>
                </c:pt>
                <c:pt idx="4">
                  <c:v>5.1628408040476935E-2</c:v>
                </c:pt>
                <c:pt idx="5">
                  <c:v>4.7992405447780127E-2</c:v>
                </c:pt>
                <c:pt idx="6">
                  <c:v>1.3452825589655605E-2</c:v>
                </c:pt>
                <c:pt idx="7">
                  <c:v>4.4035875519285853E-2</c:v>
                </c:pt>
                <c:pt idx="8">
                  <c:v>2.2466342120942357E-2</c:v>
                </c:pt>
                <c:pt idx="9">
                  <c:v>2.6083689098235753E-2</c:v>
                </c:pt>
                <c:pt idx="10">
                  <c:v>1.6183394070072923E-2</c:v>
                </c:pt>
                <c:pt idx="11">
                  <c:v>7.162993296932289E-3</c:v>
                </c:pt>
                <c:pt idx="12">
                  <c:v>6.9071143102059883E-3</c:v>
                </c:pt>
                <c:pt idx="13">
                  <c:v>5.2172587269599937E-3</c:v>
                </c:pt>
                <c:pt idx="14">
                  <c:v>1.0126994847729882E-3</c:v>
                </c:pt>
                <c:pt idx="15">
                  <c:v>-4.6551464652640692E-3</c:v>
                </c:pt>
                <c:pt idx="16">
                  <c:v>-2.2606317787753276E-3</c:v>
                </c:pt>
                <c:pt idx="17">
                  <c:v>-1.940313166890099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BF-4A66-9806-2967EDAB9F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23966511"/>
        <c:axId val="323967951"/>
      </c:barChart>
      <c:scatterChart>
        <c:scatterStyle val="lineMarker"/>
        <c:varyColors val="0"/>
        <c:ser>
          <c:idx val="2"/>
          <c:order val="2"/>
          <c:tx>
            <c:v>Total</c:v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9"/>
            <c:spPr>
              <a:solidFill>
                <a:schemeClr val="accent3"/>
              </a:solidFill>
              <a:ln w="9525">
                <a:solidFill>
                  <a:schemeClr val="tx1">
                    <a:alpha val="93000"/>
                  </a:schemeClr>
                </a:solidFill>
              </a:ln>
              <a:effectLst/>
            </c:spPr>
          </c:marker>
          <c:yVal>
            <c:numRef>
              <c:f>'Chart 7'!$D$2:$D$19</c:f>
              <c:numCache>
                <c:formatCode>0.0%</c:formatCode>
                <c:ptCount val="18"/>
                <c:pt idx="0">
                  <c:v>0.3418426857013841</c:v>
                </c:pt>
                <c:pt idx="1">
                  <c:v>0.18032508026442051</c:v>
                </c:pt>
                <c:pt idx="2">
                  <c:v>0.12338920247623442</c:v>
                </c:pt>
                <c:pt idx="3">
                  <c:v>7.3603611818505943E-2</c:v>
                </c:pt>
                <c:pt idx="4">
                  <c:v>6.7481990985699181E-2</c:v>
                </c:pt>
                <c:pt idx="5">
                  <c:v>6.1707454733221034E-2</c:v>
                </c:pt>
                <c:pt idx="6">
                  <c:v>5.6170291232394254E-2</c:v>
                </c:pt>
                <c:pt idx="7">
                  <c:v>5.5267518882200717E-2</c:v>
                </c:pt>
                <c:pt idx="8">
                  <c:v>5.4258902911042739E-2</c:v>
                </c:pt>
                <c:pt idx="9">
                  <c:v>4.7538617861839993E-2</c:v>
                </c:pt>
                <c:pt idx="10">
                  <c:v>3.451563320942963E-2</c:v>
                </c:pt>
                <c:pt idx="11">
                  <c:v>3.0628800022210578E-2</c:v>
                </c:pt>
                <c:pt idx="12">
                  <c:v>2.0055809100384403E-2</c:v>
                </c:pt>
                <c:pt idx="13">
                  <c:v>5.4262683829213731E-3</c:v>
                </c:pt>
                <c:pt idx="14">
                  <c:v>4.6745320837071613E-3</c:v>
                </c:pt>
                <c:pt idx="15">
                  <c:v>-7.7081688593803044E-3</c:v>
                </c:pt>
                <c:pt idx="16">
                  <c:v>-1.1265604503852722E-2</c:v>
                </c:pt>
                <c:pt idx="17">
                  <c:v>-4.8163931225858603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85BF-4A66-9806-2967EDAB9F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3966511"/>
        <c:axId val="323967951"/>
      </c:scatterChart>
      <c:catAx>
        <c:axId val="32396651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3967951"/>
        <c:crosses val="autoZero"/>
        <c:auto val="1"/>
        <c:lblAlgn val="ctr"/>
        <c:lblOffset val="100"/>
        <c:noMultiLvlLbl val="0"/>
      </c:catAx>
      <c:valAx>
        <c:axId val="323967951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3966511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4037182852143483E-2"/>
          <c:y val="0.14418908032535538"/>
          <c:w val="0.87004050743657046"/>
          <c:h val="0.67262077388841246"/>
        </c:manualLayout>
      </c:layout>
      <c:areaChart>
        <c:grouping val="stacked"/>
        <c:varyColors val="0"/>
        <c:ser>
          <c:idx val="2"/>
          <c:order val="0"/>
          <c:tx>
            <c:strRef>
              <c:f>'Charts, key'!$E$42</c:f>
              <c:strCache>
                <c:ptCount val="1"/>
                <c:pt idx="0">
                  <c:v> Cargo revenue</c:v>
                </c:pt>
              </c:strCache>
            </c:strRef>
          </c:tx>
          <c:spPr>
            <a:solidFill>
              <a:srgbClr val="1E32FA"/>
            </a:solidFill>
            <a:ln w="15875"/>
          </c:spPr>
          <c:cat>
            <c:strRef>
              <c:f>'Charts, key'!$AF$39:$AS$39</c:f>
              <c:strCache>
                <c:ptCount val="14"/>
                <c:pt idx="0">
                  <c:v>2012 </c:v>
                </c:pt>
                <c:pt idx="1">
                  <c:v>2013 </c:v>
                </c:pt>
                <c:pt idx="2">
                  <c:v>2014 </c:v>
                </c:pt>
                <c:pt idx="3">
                  <c:v>2015 </c:v>
                </c:pt>
                <c:pt idx="4">
                  <c:v>2016 </c:v>
                </c:pt>
                <c:pt idx="5">
                  <c:v>2017 </c:v>
                </c:pt>
                <c:pt idx="6">
                  <c:v>2018 </c:v>
                </c:pt>
                <c:pt idx="7">
                  <c:v>2019 </c:v>
                </c:pt>
                <c:pt idx="8">
                  <c:v>2020 </c:v>
                </c:pt>
                <c:pt idx="9">
                  <c:v>2021 </c:v>
                </c:pt>
                <c:pt idx="10">
                  <c:v>2022 </c:v>
                </c:pt>
                <c:pt idx="11">
                  <c:v>2023 </c:v>
                </c:pt>
                <c:pt idx="12">
                  <c:v> 2024e </c:v>
                </c:pt>
                <c:pt idx="13">
                  <c:v> 2025f </c:v>
                </c:pt>
              </c:strCache>
            </c:strRef>
          </c:cat>
          <c:val>
            <c:numRef>
              <c:f>'Charts, key'!$AF$42:$AS$42</c:f>
              <c:numCache>
                <c:formatCode>#,##0_);\(#,##0\);"-  ";" "@</c:formatCode>
                <c:ptCount val="14"/>
                <c:pt idx="0">
                  <c:v>95.061590110340646</c:v>
                </c:pt>
                <c:pt idx="1">
                  <c:v>92.116848221382369</c:v>
                </c:pt>
                <c:pt idx="2">
                  <c:v>92.91426203666218</c:v>
                </c:pt>
                <c:pt idx="3">
                  <c:v>83.764476772570376</c:v>
                </c:pt>
                <c:pt idx="4">
                  <c:v>80.794971458443996</c:v>
                </c:pt>
                <c:pt idx="5">
                  <c:v>95.850000000000009</c:v>
                </c:pt>
                <c:pt idx="6">
                  <c:v>113.37988049673601</c:v>
                </c:pt>
                <c:pt idx="7">
                  <c:v>100.78585809363713</c:v>
                </c:pt>
                <c:pt idx="8">
                  <c:v>140.40335078475186</c:v>
                </c:pt>
                <c:pt idx="9">
                  <c:v>210.01999999999998</c:v>
                </c:pt>
                <c:pt idx="10">
                  <c:v>206.47214303689245</c:v>
                </c:pt>
                <c:pt idx="11">
                  <c:v>138.54068624599225</c:v>
                </c:pt>
                <c:pt idx="12">
                  <c:v>148.52964119148854</c:v>
                </c:pt>
                <c:pt idx="13">
                  <c:v>141.875391653844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FF-4279-B4BA-B8816419E25D}"/>
            </c:ext>
          </c:extLst>
        </c:ser>
        <c:ser>
          <c:idx val="1"/>
          <c:order val="1"/>
          <c:tx>
            <c:strRef>
              <c:f>'Charts, key'!$E$40</c:f>
              <c:strCache>
                <c:ptCount val="1"/>
                <c:pt idx="0">
                  <c:v> Passenger revenue</c:v>
                </c:pt>
              </c:strCache>
            </c:strRef>
          </c:tx>
          <c:spPr>
            <a:solidFill>
              <a:schemeClr val="accent2"/>
            </a:solidFill>
            <a:ln w="15875">
              <a:noFill/>
            </a:ln>
            <a:effectLst/>
          </c:spPr>
          <c:cat>
            <c:strRef>
              <c:f>'Charts, key'!$AF$39:$AS$39</c:f>
              <c:strCache>
                <c:ptCount val="14"/>
                <c:pt idx="0">
                  <c:v>2012 </c:v>
                </c:pt>
                <c:pt idx="1">
                  <c:v>2013 </c:v>
                </c:pt>
                <c:pt idx="2">
                  <c:v>2014 </c:v>
                </c:pt>
                <c:pt idx="3">
                  <c:v>2015 </c:v>
                </c:pt>
                <c:pt idx="4">
                  <c:v>2016 </c:v>
                </c:pt>
                <c:pt idx="5">
                  <c:v>2017 </c:v>
                </c:pt>
                <c:pt idx="6">
                  <c:v>2018 </c:v>
                </c:pt>
                <c:pt idx="7">
                  <c:v>2019 </c:v>
                </c:pt>
                <c:pt idx="8">
                  <c:v>2020 </c:v>
                </c:pt>
                <c:pt idx="9">
                  <c:v>2021 </c:v>
                </c:pt>
                <c:pt idx="10">
                  <c:v>2022 </c:v>
                </c:pt>
                <c:pt idx="11">
                  <c:v>2023 </c:v>
                </c:pt>
                <c:pt idx="12">
                  <c:v> 2024e </c:v>
                </c:pt>
                <c:pt idx="13">
                  <c:v> 2025f </c:v>
                </c:pt>
              </c:strCache>
            </c:strRef>
          </c:cat>
          <c:val>
            <c:numRef>
              <c:f>'Charts, key'!$AF$40:$AS$40</c:f>
              <c:numCache>
                <c:formatCode>#,##0_);\(#,##0\);"-  ";" "@</c:formatCode>
                <c:ptCount val="14"/>
                <c:pt idx="0">
                  <c:v>547.64050283200004</c:v>
                </c:pt>
                <c:pt idx="1">
                  <c:v>554.44667764799999</c:v>
                </c:pt>
                <c:pt idx="2">
                  <c:v>565.92148646599992</c:v>
                </c:pt>
                <c:pt idx="3">
                  <c:v>545.17639395829644</c:v>
                </c:pt>
                <c:pt idx="4">
                  <c:v>544.77035054053147</c:v>
                </c:pt>
                <c:pt idx="5">
                  <c:v>581.17215772905104</c:v>
                </c:pt>
                <c:pt idx="6">
                  <c:v>605.34082391162804</c:v>
                </c:pt>
                <c:pt idx="7">
                  <c:v>607.32802805314429</c:v>
                </c:pt>
                <c:pt idx="8">
                  <c:v>188.89</c:v>
                </c:pt>
                <c:pt idx="9">
                  <c:v>241.5</c:v>
                </c:pt>
                <c:pt idx="10">
                  <c:v>436.92402512815363</c:v>
                </c:pt>
                <c:pt idx="11">
                  <c:v>648.0693952987358</c:v>
                </c:pt>
                <c:pt idx="12">
                  <c:v>682.20265829011601</c:v>
                </c:pt>
                <c:pt idx="13">
                  <c:v>693.141422960760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FF-4279-B4BA-B8816419E25D}"/>
            </c:ext>
          </c:extLst>
        </c:ser>
        <c:ser>
          <c:idx val="0"/>
          <c:order val="2"/>
          <c:tx>
            <c:strRef>
              <c:f>'Charts, key'!$E$41</c:f>
              <c:strCache>
                <c:ptCount val="1"/>
                <c:pt idx="0">
                  <c:v> Ancillary and other revenue</c:v>
                </c:pt>
              </c:strCache>
            </c:strRef>
          </c:tx>
          <c:spPr>
            <a:solidFill>
              <a:srgbClr val="FAC832"/>
            </a:solidFill>
            <a:ln w="15875">
              <a:noFill/>
            </a:ln>
            <a:effectLst/>
          </c:spPr>
          <c:cat>
            <c:strRef>
              <c:f>'Charts, key'!$AF$39:$AS$39</c:f>
              <c:strCache>
                <c:ptCount val="14"/>
                <c:pt idx="0">
                  <c:v>2012 </c:v>
                </c:pt>
                <c:pt idx="1">
                  <c:v>2013 </c:v>
                </c:pt>
                <c:pt idx="2">
                  <c:v>2014 </c:v>
                </c:pt>
                <c:pt idx="3">
                  <c:v>2015 </c:v>
                </c:pt>
                <c:pt idx="4">
                  <c:v>2016 </c:v>
                </c:pt>
                <c:pt idx="5">
                  <c:v>2017 </c:v>
                </c:pt>
                <c:pt idx="6">
                  <c:v>2018 </c:v>
                </c:pt>
                <c:pt idx="7">
                  <c:v>2019 </c:v>
                </c:pt>
                <c:pt idx="8">
                  <c:v>2020 </c:v>
                </c:pt>
                <c:pt idx="9">
                  <c:v>2021 </c:v>
                </c:pt>
                <c:pt idx="10">
                  <c:v>2022 </c:v>
                </c:pt>
                <c:pt idx="11">
                  <c:v>2023 </c:v>
                </c:pt>
                <c:pt idx="12">
                  <c:v> 2024e </c:v>
                </c:pt>
                <c:pt idx="13">
                  <c:v> 2025f </c:v>
                </c:pt>
              </c:strCache>
            </c:strRef>
          </c:cat>
          <c:val>
            <c:numRef>
              <c:f>'Charts, key'!$AF$41:$AS$41</c:f>
              <c:numCache>
                <c:formatCode>#,##0_);\(#,##0\);"-  ";" "@</c:formatCode>
                <c:ptCount val="14"/>
                <c:pt idx="0">
                  <c:v>62.797907057659337</c:v>
                </c:pt>
                <c:pt idx="1">
                  <c:v>73.636474130617671</c:v>
                </c:pt>
                <c:pt idx="2">
                  <c:v>108.06425149733784</c:v>
                </c:pt>
                <c:pt idx="3">
                  <c:v>91.559129269133237</c:v>
                </c:pt>
                <c:pt idx="4">
                  <c:v>83.434678001024551</c:v>
                </c:pt>
                <c:pt idx="5">
                  <c:v>78.004842270948927</c:v>
                </c:pt>
                <c:pt idx="6">
                  <c:v>93.483445357179178</c:v>
                </c:pt>
                <c:pt idx="7">
                  <c:v>129.86240566004165</c:v>
                </c:pt>
                <c:pt idx="8">
                  <c:v>55</c:v>
                </c:pt>
                <c:pt idx="9">
                  <c:v>61</c:v>
                </c:pt>
                <c:pt idx="10">
                  <c:v>95.000009999999989</c:v>
                </c:pt>
                <c:pt idx="11">
                  <c:v>122.39367036552774</c:v>
                </c:pt>
                <c:pt idx="12">
                  <c:v>134.78804411055685</c:v>
                </c:pt>
                <c:pt idx="13">
                  <c:v>143.517463966963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FF-4279-B4BA-B8816419E2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95439408"/>
        <c:axId val="1095438328"/>
      </c:areaChart>
      <c:catAx>
        <c:axId val="10954394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vert="horz"/>
          <a:lstStyle/>
          <a:p>
            <a:pPr>
              <a:defRPr sz="1700"/>
            </a:pPr>
            <a:endParaRPr lang="en-US"/>
          </a:p>
        </c:txPr>
        <c:crossAx val="1095438328"/>
        <c:crosses val="autoZero"/>
        <c:auto val="1"/>
        <c:lblAlgn val="ctr"/>
        <c:lblOffset val="100"/>
        <c:noMultiLvlLbl val="0"/>
      </c:catAx>
      <c:valAx>
        <c:axId val="1095438328"/>
        <c:scaling>
          <c:orientation val="minMax"/>
          <c:max val="1100"/>
          <c:min val="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title>
          <c:tx>
            <c:rich>
              <a:bodyPr rot="0"/>
              <a:lstStyle/>
              <a:p>
                <a:pPr>
                  <a:defRPr/>
                </a:pPr>
                <a:r>
                  <a:rPr lang="en-US"/>
                  <a:t>USD billion</a:t>
                </a:r>
              </a:p>
            </c:rich>
          </c:tx>
          <c:layout>
            <c:manualLayout>
              <c:xMode val="edge"/>
              <c:yMode val="edge"/>
              <c:x val="3.1101049868766405E-2"/>
              <c:y val="2.4921909513786023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6350">
            <a:solidFill>
              <a:sysClr val="windowText" lastClr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095439408"/>
        <c:crosses val="autoZero"/>
        <c:crossBetween val="midCat"/>
      </c:valAx>
    </c:plotArea>
    <c:legend>
      <c:legendPos val="b"/>
      <c:layout>
        <c:manualLayout>
          <c:xMode val="edge"/>
          <c:yMode val="edge"/>
          <c:x val="0.18960516185476817"/>
          <c:y val="7.7443673501208371E-2"/>
          <c:w val="0.68881417322834659"/>
          <c:h val="8.1328174603174597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zero"/>
    <c:showDLblsOverMax val="0"/>
    <c:extLst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 b="0">
          <a:solidFill>
            <a:sysClr val="windowText" lastClr="000000"/>
          </a:solidFill>
        </a:defRPr>
      </a:pPr>
      <a:endParaRPr lang="en-US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0177515310586174E-2"/>
          <c:y val="0.12254177386242562"/>
          <c:w val="0.9284274715660541"/>
          <c:h val="0.72542605441646524"/>
        </c:manualLayout>
      </c:layout>
      <c:areaChart>
        <c:grouping val="stacked"/>
        <c:varyColors val="0"/>
        <c:ser>
          <c:idx val="2"/>
          <c:order val="0"/>
          <c:tx>
            <c:strRef>
              <c:f>'Charts, key'!$E$42</c:f>
              <c:strCache>
                <c:ptCount val="1"/>
                <c:pt idx="0">
                  <c:v> Cargo revenue</c:v>
                </c:pt>
              </c:strCache>
            </c:strRef>
          </c:tx>
          <c:spPr>
            <a:noFill/>
            <a:ln w="25400">
              <a:noFill/>
            </a:ln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057-4551-8448-6464B6DFF21B}"/>
                </c:ext>
              </c:extLst>
            </c:dLbl>
            <c:dLbl>
              <c:idx val="8"/>
              <c:layout>
                <c:manualLayout>
                  <c:x val="5.8663633197395173E-3"/>
                  <c:y val="5.91350910889935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057-4551-8448-6464B6DFF21B}"/>
                </c:ext>
              </c:extLst>
            </c:dLbl>
            <c:dLbl>
              <c:idx val="9"/>
              <c:layout>
                <c:manualLayout>
                  <c:x val="0"/>
                  <c:y val="5.91350910889936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057-4551-8448-6464B6DFF21B}"/>
                </c:ext>
              </c:extLst>
            </c:dLbl>
            <c:dLbl>
              <c:idx val="12"/>
              <c:layout>
                <c:manualLayout>
                  <c:x val="-1.0000000000000163E-2"/>
                  <c:y val="1.3201320132013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5057-4551-8448-6464B6DFF21B}"/>
                </c:ext>
              </c:extLst>
            </c:dLbl>
            <c:dLbl>
              <c:idx val="13"/>
              <c:layout>
                <c:manualLayout>
                  <c:x val="-3.1421959755030621E-2"/>
                  <c:y val="-6.600660066006600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057-4551-8448-6464B6DFF21B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Charts, key'!$AF$39:$AS$39</c:f>
              <c:strCache>
                <c:ptCount val="14"/>
                <c:pt idx="0">
                  <c:v>2012 </c:v>
                </c:pt>
                <c:pt idx="1">
                  <c:v>2013 </c:v>
                </c:pt>
                <c:pt idx="2">
                  <c:v>2014 </c:v>
                </c:pt>
                <c:pt idx="3">
                  <c:v>2015 </c:v>
                </c:pt>
                <c:pt idx="4">
                  <c:v>2016 </c:v>
                </c:pt>
                <c:pt idx="5">
                  <c:v>2017 </c:v>
                </c:pt>
                <c:pt idx="6">
                  <c:v>2018 </c:v>
                </c:pt>
                <c:pt idx="7">
                  <c:v>2019 </c:v>
                </c:pt>
                <c:pt idx="8">
                  <c:v>2020 </c:v>
                </c:pt>
                <c:pt idx="9">
                  <c:v>2021 </c:v>
                </c:pt>
                <c:pt idx="10">
                  <c:v>2022 </c:v>
                </c:pt>
                <c:pt idx="11">
                  <c:v>2023 </c:v>
                </c:pt>
                <c:pt idx="12">
                  <c:v> 2024e </c:v>
                </c:pt>
                <c:pt idx="13">
                  <c:v> 2025f </c:v>
                </c:pt>
              </c:strCache>
            </c:strRef>
          </c:cat>
          <c:val>
            <c:numRef>
              <c:f>'Charts, key'!$AF$51:$AS$51</c:f>
              <c:numCache>
                <c:formatCode>0.0_)%_);\-0.0_)%_);"-  "</c:formatCode>
                <c:ptCount val="14"/>
                <c:pt idx="0">
                  <c:v>0.13474357209119864</c:v>
                </c:pt>
                <c:pt idx="1">
                  <c:v>0.12790453793582665</c:v>
                </c:pt>
                <c:pt idx="2">
                  <c:v>0.12115564224365913</c:v>
                </c:pt>
                <c:pt idx="3">
                  <c:v>0.11625881578427533</c:v>
                </c:pt>
                <c:pt idx="4">
                  <c:v>0.11395623618962482</c:v>
                </c:pt>
                <c:pt idx="5">
                  <c:v>0.1269491024824278</c:v>
                </c:pt>
                <c:pt idx="6">
                  <c:v>0.1395952982134665</c:v>
                </c:pt>
                <c:pt idx="7">
                  <c:v>0.12027292308750794</c:v>
                </c:pt>
                <c:pt idx="8">
                  <c:v>0.36535461906389782</c:v>
                </c:pt>
                <c:pt idx="9">
                  <c:v>0.40977913057051429</c:v>
                </c:pt>
                <c:pt idx="10">
                  <c:v>0.27962244272442843</c:v>
                </c:pt>
                <c:pt idx="11">
                  <c:v>0.1524093667983783</c:v>
                </c:pt>
                <c:pt idx="12">
                  <c:v>0.15383377696516759</c:v>
                </c:pt>
                <c:pt idx="13">
                  <c:v>0.144987656292939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057-4551-8448-6464B6DFF21B}"/>
            </c:ext>
          </c:extLst>
        </c:ser>
        <c:ser>
          <c:idx val="0"/>
          <c:order val="1"/>
          <c:tx>
            <c:strRef>
              <c:f>'Charts, key'!$E$41</c:f>
              <c:strCache>
                <c:ptCount val="1"/>
                <c:pt idx="0">
                  <c:v> Ancillary and other revenue</c:v>
                </c:pt>
              </c:strCache>
            </c:strRef>
          </c:tx>
          <c:spPr>
            <a:noFill/>
            <a:ln w="25400">
              <a:noFill/>
            </a:ln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057-4551-8448-6464B6DFF21B}"/>
                </c:ext>
              </c:extLst>
            </c:dLbl>
            <c:dLbl>
              <c:idx val="8"/>
              <c:layout>
                <c:manualLayout>
                  <c:x val="-7.1699167855245144E-17"/>
                  <c:y val="0.2069728188114776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057-4551-8448-6464B6DFF21B}"/>
                </c:ext>
              </c:extLst>
            </c:dLbl>
            <c:dLbl>
              <c:idx val="9"/>
              <c:layout>
                <c:manualLayout>
                  <c:x val="0"/>
                  <c:y val="0.1872611217818132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057-4551-8448-6464B6DFF21B}"/>
                </c:ext>
              </c:extLst>
            </c:dLbl>
            <c:dLbl>
              <c:idx val="10"/>
              <c:layout>
                <c:manualLayout>
                  <c:x val="0"/>
                  <c:y val="9.36305608909066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057-4551-8448-6464B6DFF21B}"/>
                </c:ext>
              </c:extLst>
            </c:dLbl>
            <c:dLbl>
              <c:idx val="13"/>
              <c:layout>
                <c:manualLayout>
                  <c:x val="-3.0044006999125111E-2"/>
                  <c:y val="-5.43876198643486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057-4551-8448-6464B6DFF21B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Charts, key'!$AF$39:$AS$39</c:f>
              <c:strCache>
                <c:ptCount val="14"/>
                <c:pt idx="0">
                  <c:v>2012 </c:v>
                </c:pt>
                <c:pt idx="1">
                  <c:v>2013 </c:v>
                </c:pt>
                <c:pt idx="2">
                  <c:v>2014 </c:v>
                </c:pt>
                <c:pt idx="3">
                  <c:v>2015 </c:v>
                </c:pt>
                <c:pt idx="4">
                  <c:v>2016 </c:v>
                </c:pt>
                <c:pt idx="5">
                  <c:v>2017 </c:v>
                </c:pt>
                <c:pt idx="6">
                  <c:v>2018 </c:v>
                </c:pt>
                <c:pt idx="7">
                  <c:v>2019 </c:v>
                </c:pt>
                <c:pt idx="8">
                  <c:v>2020 </c:v>
                </c:pt>
                <c:pt idx="9">
                  <c:v>2021 </c:v>
                </c:pt>
                <c:pt idx="10">
                  <c:v>2022 </c:v>
                </c:pt>
                <c:pt idx="11">
                  <c:v>2023 </c:v>
                </c:pt>
                <c:pt idx="12">
                  <c:v> 2024e </c:v>
                </c:pt>
                <c:pt idx="13">
                  <c:v> 2025f </c:v>
                </c:pt>
              </c:strCache>
            </c:strRef>
          </c:cat>
          <c:val>
            <c:numRef>
              <c:f>'Charts, key'!$AF$49:$AS$49</c:f>
              <c:numCache>
                <c:formatCode>0.0_)%_);\-0.0_)%_);"-  "</c:formatCode>
                <c:ptCount val="14"/>
                <c:pt idx="0">
                  <c:v>0.77624451145570528</c:v>
                </c:pt>
                <c:pt idx="1">
                  <c:v>0.76985098257150786</c:v>
                </c:pt>
                <c:pt idx="2">
                  <c:v>0.73793387203807526</c:v>
                </c:pt>
                <c:pt idx="3">
                  <c:v>0.75666397495946769</c:v>
                </c:pt>
                <c:pt idx="4">
                  <c:v>0.76836438722218825</c:v>
                </c:pt>
                <c:pt idx="5">
                  <c:v>0.76973692030755336</c:v>
                </c:pt>
                <c:pt idx="6">
                  <c:v>0.74530624361666975</c:v>
                </c:pt>
                <c:pt idx="7">
                  <c:v>0.72475562135969163</c:v>
                </c:pt>
                <c:pt idx="8">
                  <c:v>0.491525548423553</c:v>
                </c:pt>
                <c:pt idx="9">
                  <c:v>0.47120112385858115</c:v>
                </c:pt>
                <c:pt idx="10">
                  <c:v>0.59172032311154854</c:v>
                </c:pt>
                <c:pt idx="11">
                  <c:v>0.71294468690236878</c:v>
                </c:pt>
                <c:pt idx="12">
                  <c:v>0.70656476874637497</c:v>
                </c:pt>
                <c:pt idx="13">
                  <c:v>0.70834659360681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057-4551-8448-6464B6DFF21B}"/>
            </c:ext>
          </c:extLst>
        </c:ser>
        <c:ser>
          <c:idx val="1"/>
          <c:order val="2"/>
          <c:tx>
            <c:strRef>
              <c:f>'Charts, key'!$E$40</c:f>
              <c:strCache>
                <c:ptCount val="1"/>
                <c:pt idx="0">
                  <c:v> Passenger revenue</c:v>
                </c:pt>
              </c:strCache>
            </c:strRef>
          </c:tx>
          <c:spPr>
            <a:noFill/>
            <a:ln w="25400">
              <a:noFill/>
            </a:ln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5057-4551-8448-6464B6DFF21B}"/>
                </c:ext>
              </c:extLst>
            </c:dLbl>
            <c:dLbl>
              <c:idx val="1"/>
              <c:layout>
                <c:manualLayout>
                  <c:x val="0"/>
                  <c:y val="0.137981879207651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5057-4551-8448-6464B6DFF21B}"/>
                </c:ext>
              </c:extLst>
            </c:dLbl>
            <c:dLbl>
              <c:idx val="2"/>
              <c:layout>
                <c:manualLayout>
                  <c:x val="0"/>
                  <c:y val="0.1330539549502357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5057-4551-8448-6464B6DFF21B}"/>
                </c:ext>
              </c:extLst>
            </c:dLbl>
            <c:dLbl>
              <c:idx val="3"/>
              <c:layout>
                <c:manualLayout>
                  <c:x val="0"/>
                  <c:y val="0.1330539549502357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5057-4551-8448-6464B6DFF21B}"/>
                </c:ext>
              </c:extLst>
            </c:dLbl>
            <c:dLbl>
              <c:idx val="4"/>
              <c:layout>
                <c:manualLayout>
                  <c:x val="-3.5849583927622572E-17"/>
                  <c:y val="0.1478377277224841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5057-4551-8448-6464B6DFF21B}"/>
                </c:ext>
              </c:extLst>
            </c:dLbl>
            <c:dLbl>
              <c:idx val="5"/>
              <c:layout>
                <c:manualLayout>
                  <c:x val="-7.1699167855245144E-17"/>
                  <c:y val="0.123198106435403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5057-4551-8448-6464B6DFF21B}"/>
                </c:ext>
              </c:extLst>
            </c:dLbl>
            <c:dLbl>
              <c:idx val="6"/>
              <c:layout>
                <c:manualLayout>
                  <c:x val="0"/>
                  <c:y val="8.870263663349048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5057-4551-8448-6464B6DFF21B}"/>
                </c:ext>
              </c:extLst>
            </c:dLbl>
            <c:dLbl>
              <c:idx val="7"/>
              <c:layout>
                <c:manualLayout>
                  <c:x val="-5.8663633197396604E-3"/>
                  <c:y val="6.40630153464097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5057-4551-8448-6464B6DFF21B}"/>
                </c:ext>
              </c:extLst>
            </c:dLbl>
            <c:dLbl>
              <c:idx val="8"/>
              <c:layout>
                <c:manualLayout>
                  <c:x val="-5.8223097112860079E-3"/>
                  <c:y val="0.256342350770510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5057-4551-8448-6464B6DFF21B}"/>
                </c:ext>
              </c:extLst>
            </c:dLbl>
            <c:dLbl>
              <c:idx val="9"/>
              <c:layout>
                <c:manualLayout>
                  <c:x val="0"/>
                  <c:y val="0.2416940827941061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5057-4551-8448-6464B6DFF21B}"/>
                </c:ext>
              </c:extLst>
            </c:dLbl>
            <c:dLbl>
              <c:idx val="10"/>
              <c:layout>
                <c:manualLayout>
                  <c:x val="3.9109361329833772E-3"/>
                  <c:y val="0.103170395779735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5057-4551-8448-6464B6DFF21B}"/>
                </c:ext>
              </c:extLst>
            </c:dLbl>
            <c:dLbl>
              <c:idx val="11"/>
              <c:layout>
                <c:manualLayout>
                  <c:x val="0"/>
                  <c:y val="6.374834333827083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5057-4551-8448-6464B6DFF21B}"/>
                </c:ext>
              </c:extLst>
            </c:dLbl>
            <c:dLbl>
              <c:idx val="12"/>
              <c:layout>
                <c:manualLayout>
                  <c:x val="-1.4339833571049029E-16"/>
                  <c:y val="-1.47837727722484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5057-4551-8448-6464B6DFF21B}"/>
                </c:ext>
              </c:extLst>
            </c:dLbl>
            <c:dLbl>
              <c:idx val="13"/>
              <c:layout>
                <c:manualLayout>
                  <c:x val="-5.8663633197395893E-3"/>
                  <c:y val="-2.95675455444968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5057-4551-8448-6464B6DFF21B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Charts, key'!$AF$39:$AS$39</c:f>
              <c:strCache>
                <c:ptCount val="14"/>
                <c:pt idx="0">
                  <c:v>2012 </c:v>
                </c:pt>
                <c:pt idx="1">
                  <c:v>2013 </c:v>
                </c:pt>
                <c:pt idx="2">
                  <c:v>2014 </c:v>
                </c:pt>
                <c:pt idx="3">
                  <c:v>2015 </c:v>
                </c:pt>
                <c:pt idx="4">
                  <c:v>2016 </c:v>
                </c:pt>
                <c:pt idx="5">
                  <c:v>2017 </c:v>
                </c:pt>
                <c:pt idx="6">
                  <c:v>2018 </c:v>
                </c:pt>
                <c:pt idx="7">
                  <c:v>2019 </c:v>
                </c:pt>
                <c:pt idx="8">
                  <c:v>2020 </c:v>
                </c:pt>
                <c:pt idx="9">
                  <c:v>2021 </c:v>
                </c:pt>
                <c:pt idx="10">
                  <c:v>2022 </c:v>
                </c:pt>
                <c:pt idx="11">
                  <c:v>2023 </c:v>
                </c:pt>
                <c:pt idx="12">
                  <c:v> 2024e </c:v>
                </c:pt>
                <c:pt idx="13">
                  <c:v> 2025f </c:v>
                </c:pt>
              </c:strCache>
            </c:strRef>
          </c:cat>
          <c:val>
            <c:numRef>
              <c:f>'Charts, key'!$AF$50:$AS$50</c:f>
              <c:numCache>
                <c:formatCode>0.0_)%_);\-0.0_)%_);"-  "</c:formatCode>
                <c:ptCount val="14"/>
                <c:pt idx="0">
                  <c:v>8.9011916453096154E-2</c:v>
                </c:pt>
                <c:pt idx="1">
                  <c:v>0.10224447949266546</c:v>
                </c:pt>
                <c:pt idx="2">
                  <c:v>0.14091048571826553</c:v>
                </c:pt>
                <c:pt idx="3">
                  <c:v>0.1270772092562571</c:v>
                </c:pt>
                <c:pt idx="4">
                  <c:v>0.11767937658818696</c:v>
                </c:pt>
                <c:pt idx="5">
                  <c:v>0.10331397721001889</c:v>
                </c:pt>
                <c:pt idx="6">
                  <c:v>0.11509845816986382</c:v>
                </c:pt>
                <c:pt idx="7">
                  <c:v>0.15497145555280048</c:v>
                </c:pt>
                <c:pt idx="8">
                  <c:v>0.1431198325125492</c:v>
                </c:pt>
                <c:pt idx="9">
                  <c:v>0.11901974557090456</c:v>
                </c:pt>
                <c:pt idx="10">
                  <c:v>0.128657234164023</c:v>
                </c:pt>
                <c:pt idx="11">
                  <c:v>0.13464594629925294</c:v>
                </c:pt>
                <c:pt idx="12">
                  <c:v>0.13960145428845747</c:v>
                </c:pt>
                <c:pt idx="13">
                  <c:v>0.146665750100240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5057-4551-8448-6464B6DFF2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95439408"/>
        <c:axId val="1095438328"/>
      </c:areaChart>
      <c:catAx>
        <c:axId val="1095439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95438328"/>
        <c:crosses val="autoZero"/>
        <c:auto val="1"/>
        <c:lblAlgn val="ctr"/>
        <c:lblOffset val="100"/>
        <c:noMultiLvlLbl val="0"/>
      </c:catAx>
      <c:valAx>
        <c:axId val="1095438328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crossAx val="1095439408"/>
        <c:crosses val="autoZero"/>
        <c:crossBetween val="midCat"/>
      </c:valAx>
      <c:spPr>
        <a:noFill/>
      </c:spPr>
    </c:plotArea>
    <c:plotVisOnly val="1"/>
    <c:dispBlanksAs val="zero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400">
          <a:solidFill>
            <a:sysClr val="windowText" lastClr="000000"/>
          </a:solidFill>
        </a:defRPr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4637795275590552E-2"/>
          <c:y val="0.14447493568254463"/>
          <c:w val="0.69680997375328091"/>
          <c:h val="0.67440892908188455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[world_GDP.xlsx]Sheet5!$E$2</c:f>
              <c:strCache>
                <c:ptCount val="1"/>
                <c:pt idx="0">
                  <c:v>Services</c:v>
                </c:pt>
              </c:strCache>
            </c:strRef>
          </c:tx>
          <c:spPr>
            <a:solidFill>
              <a:srgbClr val="0000FF"/>
            </a:solidFill>
            <a:ln w="15875">
              <a:noFill/>
            </a:ln>
            <a:effectLst/>
          </c:spPr>
          <c:invertIfNegative val="0"/>
          <c:cat>
            <c:numRef>
              <c:f>[world_GDP.xlsx]Sheet5!$B$3:$B$55</c:f>
              <c:numCache>
                <c:formatCode>m/d/yyyy</c:formatCode>
                <c:ptCount val="53"/>
                <c:pt idx="0">
                  <c:v>25569</c:v>
                </c:pt>
                <c:pt idx="1">
                  <c:v>25934</c:v>
                </c:pt>
                <c:pt idx="2">
                  <c:v>26299</c:v>
                </c:pt>
                <c:pt idx="3">
                  <c:v>26665</c:v>
                </c:pt>
                <c:pt idx="4">
                  <c:v>27030</c:v>
                </c:pt>
                <c:pt idx="5">
                  <c:v>27395</c:v>
                </c:pt>
                <c:pt idx="6">
                  <c:v>27760</c:v>
                </c:pt>
                <c:pt idx="7">
                  <c:v>28126</c:v>
                </c:pt>
                <c:pt idx="8">
                  <c:v>28491</c:v>
                </c:pt>
                <c:pt idx="9">
                  <c:v>28856</c:v>
                </c:pt>
                <c:pt idx="10">
                  <c:v>29221</c:v>
                </c:pt>
                <c:pt idx="11">
                  <c:v>29587</c:v>
                </c:pt>
                <c:pt idx="12">
                  <c:v>29952</c:v>
                </c:pt>
                <c:pt idx="13">
                  <c:v>30317</c:v>
                </c:pt>
                <c:pt idx="14">
                  <c:v>30682</c:v>
                </c:pt>
                <c:pt idx="15">
                  <c:v>31048</c:v>
                </c:pt>
                <c:pt idx="16">
                  <c:v>31413</c:v>
                </c:pt>
                <c:pt idx="17">
                  <c:v>31778</c:v>
                </c:pt>
                <c:pt idx="18">
                  <c:v>32143</c:v>
                </c:pt>
                <c:pt idx="19">
                  <c:v>32509</c:v>
                </c:pt>
                <c:pt idx="20">
                  <c:v>32874</c:v>
                </c:pt>
                <c:pt idx="21">
                  <c:v>33239</c:v>
                </c:pt>
                <c:pt idx="22">
                  <c:v>33604</c:v>
                </c:pt>
                <c:pt idx="23">
                  <c:v>33970</c:v>
                </c:pt>
                <c:pt idx="24">
                  <c:v>34335</c:v>
                </c:pt>
                <c:pt idx="25">
                  <c:v>34700</c:v>
                </c:pt>
                <c:pt idx="26">
                  <c:v>35065</c:v>
                </c:pt>
                <c:pt idx="27">
                  <c:v>35431</c:v>
                </c:pt>
                <c:pt idx="28">
                  <c:v>35796</c:v>
                </c:pt>
                <c:pt idx="29">
                  <c:v>36161</c:v>
                </c:pt>
                <c:pt idx="30">
                  <c:v>36526</c:v>
                </c:pt>
                <c:pt idx="31">
                  <c:v>36892</c:v>
                </c:pt>
                <c:pt idx="32">
                  <c:v>37257</c:v>
                </c:pt>
                <c:pt idx="33">
                  <c:v>37622</c:v>
                </c:pt>
                <c:pt idx="34">
                  <c:v>37987</c:v>
                </c:pt>
                <c:pt idx="35">
                  <c:v>38353</c:v>
                </c:pt>
                <c:pt idx="36">
                  <c:v>38718</c:v>
                </c:pt>
                <c:pt idx="37">
                  <c:v>39083</c:v>
                </c:pt>
                <c:pt idx="38">
                  <c:v>39448</c:v>
                </c:pt>
                <c:pt idx="39">
                  <c:v>39814</c:v>
                </c:pt>
                <c:pt idx="40">
                  <c:v>40179</c:v>
                </c:pt>
                <c:pt idx="41">
                  <c:v>40544</c:v>
                </c:pt>
                <c:pt idx="42">
                  <c:v>40909</c:v>
                </c:pt>
                <c:pt idx="43">
                  <c:v>41275</c:v>
                </c:pt>
                <c:pt idx="44">
                  <c:v>41640</c:v>
                </c:pt>
                <c:pt idx="45">
                  <c:v>42005</c:v>
                </c:pt>
                <c:pt idx="46">
                  <c:v>42370</c:v>
                </c:pt>
                <c:pt idx="47">
                  <c:v>42736</c:v>
                </c:pt>
                <c:pt idx="48">
                  <c:v>43101</c:v>
                </c:pt>
                <c:pt idx="49">
                  <c:v>43466</c:v>
                </c:pt>
                <c:pt idx="50">
                  <c:v>43831</c:v>
                </c:pt>
                <c:pt idx="51">
                  <c:v>44197</c:v>
                </c:pt>
                <c:pt idx="52">
                  <c:v>44562</c:v>
                </c:pt>
              </c:numCache>
            </c:numRef>
          </c:cat>
          <c:val>
            <c:numRef>
              <c:f>[world_GDP.xlsx]Sheet5!$E$3:$E$55</c:f>
              <c:numCache>
                <c:formatCode>General</c:formatCode>
                <c:ptCount val="53"/>
                <c:pt idx="0">
                  <c:v>53.39</c:v>
                </c:pt>
                <c:pt idx="1">
                  <c:v>53.99</c:v>
                </c:pt>
                <c:pt idx="2">
                  <c:v>54.16</c:v>
                </c:pt>
                <c:pt idx="3">
                  <c:v>53.34</c:v>
                </c:pt>
                <c:pt idx="4">
                  <c:v>53.17</c:v>
                </c:pt>
                <c:pt idx="5">
                  <c:v>54.42</c:v>
                </c:pt>
                <c:pt idx="6">
                  <c:v>54.54</c:v>
                </c:pt>
                <c:pt idx="7">
                  <c:v>54.88</c:v>
                </c:pt>
                <c:pt idx="8">
                  <c:v>55.26</c:v>
                </c:pt>
                <c:pt idx="9">
                  <c:v>55.22</c:v>
                </c:pt>
                <c:pt idx="10">
                  <c:v>55.62</c:v>
                </c:pt>
                <c:pt idx="11">
                  <c:v>56.34</c:v>
                </c:pt>
                <c:pt idx="12">
                  <c:v>57.35</c:v>
                </c:pt>
                <c:pt idx="13">
                  <c:v>58.12</c:v>
                </c:pt>
                <c:pt idx="14">
                  <c:v>58.48</c:v>
                </c:pt>
                <c:pt idx="15">
                  <c:v>59.38</c:v>
                </c:pt>
                <c:pt idx="16">
                  <c:v>60.6</c:v>
                </c:pt>
                <c:pt idx="17">
                  <c:v>61.26</c:v>
                </c:pt>
                <c:pt idx="18">
                  <c:v>61.34</c:v>
                </c:pt>
                <c:pt idx="19">
                  <c:v>61.7</c:v>
                </c:pt>
                <c:pt idx="20">
                  <c:v>62.53</c:v>
                </c:pt>
                <c:pt idx="21">
                  <c:v>63.3</c:v>
                </c:pt>
                <c:pt idx="22">
                  <c:v>64.62</c:v>
                </c:pt>
                <c:pt idx="23">
                  <c:v>65.150000000000006</c:v>
                </c:pt>
                <c:pt idx="24">
                  <c:v>65.430000000000007</c:v>
                </c:pt>
                <c:pt idx="25">
                  <c:v>65.72</c:v>
                </c:pt>
                <c:pt idx="26">
                  <c:v>65.88</c:v>
                </c:pt>
                <c:pt idx="27">
                  <c:v>66.44</c:v>
                </c:pt>
                <c:pt idx="28">
                  <c:v>67.53</c:v>
                </c:pt>
                <c:pt idx="29">
                  <c:v>67.84</c:v>
                </c:pt>
                <c:pt idx="30">
                  <c:v>67.62</c:v>
                </c:pt>
                <c:pt idx="31">
                  <c:v>68.62</c:v>
                </c:pt>
                <c:pt idx="32">
                  <c:v>69.11</c:v>
                </c:pt>
                <c:pt idx="33">
                  <c:v>69.010000000000005</c:v>
                </c:pt>
                <c:pt idx="34">
                  <c:v>68.42</c:v>
                </c:pt>
                <c:pt idx="35">
                  <c:v>67.95</c:v>
                </c:pt>
                <c:pt idx="36">
                  <c:v>67.38</c:v>
                </c:pt>
                <c:pt idx="37">
                  <c:v>67.040000000000006</c:v>
                </c:pt>
                <c:pt idx="38">
                  <c:v>66.39</c:v>
                </c:pt>
                <c:pt idx="39">
                  <c:v>68.2</c:v>
                </c:pt>
                <c:pt idx="40">
                  <c:v>66.819999999999993</c:v>
                </c:pt>
                <c:pt idx="41">
                  <c:v>65.95</c:v>
                </c:pt>
                <c:pt idx="42">
                  <c:v>66.03</c:v>
                </c:pt>
                <c:pt idx="43">
                  <c:v>66.14</c:v>
                </c:pt>
                <c:pt idx="44">
                  <c:v>66.53</c:v>
                </c:pt>
                <c:pt idx="45">
                  <c:v>67.52</c:v>
                </c:pt>
                <c:pt idx="46">
                  <c:v>68.180000000000007</c:v>
                </c:pt>
                <c:pt idx="47">
                  <c:v>67.819999999999993</c:v>
                </c:pt>
                <c:pt idx="48">
                  <c:v>67.5</c:v>
                </c:pt>
                <c:pt idx="49">
                  <c:v>68.069999999999993</c:v>
                </c:pt>
                <c:pt idx="50">
                  <c:v>68.400000000000006</c:v>
                </c:pt>
                <c:pt idx="51">
                  <c:v>67.31</c:v>
                </c:pt>
                <c:pt idx="52">
                  <c:v>66.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54-40C4-B98F-40124866538A}"/>
            </c:ext>
          </c:extLst>
        </c:ser>
        <c:ser>
          <c:idx val="1"/>
          <c:order val="1"/>
          <c:tx>
            <c:strRef>
              <c:f>[world_GDP.xlsx]Sheet5!$D$2</c:f>
              <c:strCache>
                <c:ptCount val="1"/>
                <c:pt idx="0">
                  <c:v>Industry</c:v>
                </c:pt>
              </c:strCache>
            </c:strRef>
          </c:tx>
          <c:spPr>
            <a:solidFill>
              <a:srgbClr val="FF0000"/>
            </a:solidFill>
            <a:ln w="15875">
              <a:noFill/>
            </a:ln>
            <a:effectLst/>
          </c:spPr>
          <c:invertIfNegative val="0"/>
          <c:cat>
            <c:numRef>
              <c:f>[world_GDP.xlsx]Sheet5!$B$3:$B$55</c:f>
              <c:numCache>
                <c:formatCode>m/d/yyyy</c:formatCode>
                <c:ptCount val="53"/>
                <c:pt idx="0">
                  <c:v>25569</c:v>
                </c:pt>
                <c:pt idx="1">
                  <c:v>25934</c:v>
                </c:pt>
                <c:pt idx="2">
                  <c:v>26299</c:v>
                </c:pt>
                <c:pt idx="3">
                  <c:v>26665</c:v>
                </c:pt>
                <c:pt idx="4">
                  <c:v>27030</c:v>
                </c:pt>
                <c:pt idx="5">
                  <c:v>27395</c:v>
                </c:pt>
                <c:pt idx="6">
                  <c:v>27760</c:v>
                </c:pt>
                <c:pt idx="7">
                  <c:v>28126</c:v>
                </c:pt>
                <c:pt idx="8">
                  <c:v>28491</c:v>
                </c:pt>
                <c:pt idx="9">
                  <c:v>28856</c:v>
                </c:pt>
                <c:pt idx="10">
                  <c:v>29221</c:v>
                </c:pt>
                <c:pt idx="11">
                  <c:v>29587</c:v>
                </c:pt>
                <c:pt idx="12">
                  <c:v>29952</c:v>
                </c:pt>
                <c:pt idx="13">
                  <c:v>30317</c:v>
                </c:pt>
                <c:pt idx="14">
                  <c:v>30682</c:v>
                </c:pt>
                <c:pt idx="15">
                  <c:v>31048</c:v>
                </c:pt>
                <c:pt idx="16">
                  <c:v>31413</c:v>
                </c:pt>
                <c:pt idx="17">
                  <c:v>31778</c:v>
                </c:pt>
                <c:pt idx="18">
                  <c:v>32143</c:v>
                </c:pt>
                <c:pt idx="19">
                  <c:v>32509</c:v>
                </c:pt>
                <c:pt idx="20">
                  <c:v>32874</c:v>
                </c:pt>
                <c:pt idx="21">
                  <c:v>33239</c:v>
                </c:pt>
                <c:pt idx="22">
                  <c:v>33604</c:v>
                </c:pt>
                <c:pt idx="23">
                  <c:v>33970</c:v>
                </c:pt>
                <c:pt idx="24">
                  <c:v>34335</c:v>
                </c:pt>
                <c:pt idx="25">
                  <c:v>34700</c:v>
                </c:pt>
                <c:pt idx="26">
                  <c:v>35065</c:v>
                </c:pt>
                <c:pt idx="27">
                  <c:v>35431</c:v>
                </c:pt>
                <c:pt idx="28">
                  <c:v>35796</c:v>
                </c:pt>
                <c:pt idx="29">
                  <c:v>36161</c:v>
                </c:pt>
                <c:pt idx="30">
                  <c:v>36526</c:v>
                </c:pt>
                <c:pt idx="31">
                  <c:v>36892</c:v>
                </c:pt>
                <c:pt idx="32">
                  <c:v>37257</c:v>
                </c:pt>
                <c:pt idx="33">
                  <c:v>37622</c:v>
                </c:pt>
                <c:pt idx="34">
                  <c:v>37987</c:v>
                </c:pt>
                <c:pt idx="35">
                  <c:v>38353</c:v>
                </c:pt>
                <c:pt idx="36">
                  <c:v>38718</c:v>
                </c:pt>
                <c:pt idx="37">
                  <c:v>39083</c:v>
                </c:pt>
                <c:pt idx="38">
                  <c:v>39448</c:v>
                </c:pt>
                <c:pt idx="39">
                  <c:v>39814</c:v>
                </c:pt>
                <c:pt idx="40">
                  <c:v>40179</c:v>
                </c:pt>
                <c:pt idx="41">
                  <c:v>40544</c:v>
                </c:pt>
                <c:pt idx="42">
                  <c:v>40909</c:v>
                </c:pt>
                <c:pt idx="43">
                  <c:v>41275</c:v>
                </c:pt>
                <c:pt idx="44">
                  <c:v>41640</c:v>
                </c:pt>
                <c:pt idx="45">
                  <c:v>42005</c:v>
                </c:pt>
                <c:pt idx="46">
                  <c:v>42370</c:v>
                </c:pt>
                <c:pt idx="47">
                  <c:v>42736</c:v>
                </c:pt>
                <c:pt idx="48">
                  <c:v>43101</c:v>
                </c:pt>
                <c:pt idx="49">
                  <c:v>43466</c:v>
                </c:pt>
                <c:pt idx="50">
                  <c:v>43831</c:v>
                </c:pt>
                <c:pt idx="51">
                  <c:v>44197</c:v>
                </c:pt>
                <c:pt idx="52">
                  <c:v>44562</c:v>
                </c:pt>
              </c:numCache>
            </c:numRef>
          </c:cat>
          <c:val>
            <c:numRef>
              <c:f>[world_GDP.xlsx]Sheet5!$D$3:$D$55</c:f>
              <c:numCache>
                <c:formatCode>General</c:formatCode>
                <c:ptCount val="53"/>
                <c:pt idx="0">
                  <c:v>37.340000000000003</c:v>
                </c:pt>
                <c:pt idx="1">
                  <c:v>37.159999999999997</c:v>
                </c:pt>
                <c:pt idx="2">
                  <c:v>37.29</c:v>
                </c:pt>
                <c:pt idx="3">
                  <c:v>37.619999999999997</c:v>
                </c:pt>
                <c:pt idx="4">
                  <c:v>38.35</c:v>
                </c:pt>
                <c:pt idx="5">
                  <c:v>37.47</c:v>
                </c:pt>
                <c:pt idx="6">
                  <c:v>37.659999999999997</c:v>
                </c:pt>
                <c:pt idx="7">
                  <c:v>37.49</c:v>
                </c:pt>
                <c:pt idx="8">
                  <c:v>37.35</c:v>
                </c:pt>
                <c:pt idx="9">
                  <c:v>37.619999999999997</c:v>
                </c:pt>
                <c:pt idx="10">
                  <c:v>37.799999999999997</c:v>
                </c:pt>
                <c:pt idx="11">
                  <c:v>37.119999999999997</c:v>
                </c:pt>
                <c:pt idx="12">
                  <c:v>36.03</c:v>
                </c:pt>
                <c:pt idx="13">
                  <c:v>35.340000000000003</c:v>
                </c:pt>
                <c:pt idx="14">
                  <c:v>34.99</c:v>
                </c:pt>
                <c:pt idx="15">
                  <c:v>34.49</c:v>
                </c:pt>
                <c:pt idx="16">
                  <c:v>33.67</c:v>
                </c:pt>
                <c:pt idx="17">
                  <c:v>33.46</c:v>
                </c:pt>
                <c:pt idx="18">
                  <c:v>33.409999999999997</c:v>
                </c:pt>
                <c:pt idx="19">
                  <c:v>33.07</c:v>
                </c:pt>
                <c:pt idx="20">
                  <c:v>32.47</c:v>
                </c:pt>
                <c:pt idx="21">
                  <c:v>32.090000000000003</c:v>
                </c:pt>
                <c:pt idx="22">
                  <c:v>31.22</c:v>
                </c:pt>
                <c:pt idx="23">
                  <c:v>30.69</c:v>
                </c:pt>
                <c:pt idx="24">
                  <c:v>30.51</c:v>
                </c:pt>
                <c:pt idx="25">
                  <c:v>30.33</c:v>
                </c:pt>
                <c:pt idx="26">
                  <c:v>30.03</c:v>
                </c:pt>
                <c:pt idx="27">
                  <c:v>29.58</c:v>
                </c:pt>
                <c:pt idx="28">
                  <c:v>28.63</c:v>
                </c:pt>
                <c:pt idx="29">
                  <c:v>28.56</c:v>
                </c:pt>
                <c:pt idx="30">
                  <c:v>28.95</c:v>
                </c:pt>
                <c:pt idx="31">
                  <c:v>27.96</c:v>
                </c:pt>
                <c:pt idx="32">
                  <c:v>27.48</c:v>
                </c:pt>
                <c:pt idx="33">
                  <c:v>27.58</c:v>
                </c:pt>
                <c:pt idx="34">
                  <c:v>28.1</c:v>
                </c:pt>
                <c:pt idx="35">
                  <c:v>28.7</c:v>
                </c:pt>
                <c:pt idx="36">
                  <c:v>29.29</c:v>
                </c:pt>
                <c:pt idx="37">
                  <c:v>29.42</c:v>
                </c:pt>
                <c:pt idx="38">
                  <c:v>29.87</c:v>
                </c:pt>
                <c:pt idx="39">
                  <c:v>27.96</c:v>
                </c:pt>
                <c:pt idx="40">
                  <c:v>29.11</c:v>
                </c:pt>
                <c:pt idx="41">
                  <c:v>29.79</c:v>
                </c:pt>
                <c:pt idx="42">
                  <c:v>29.67</c:v>
                </c:pt>
                <c:pt idx="43">
                  <c:v>29.39</c:v>
                </c:pt>
                <c:pt idx="44">
                  <c:v>29.07</c:v>
                </c:pt>
                <c:pt idx="45">
                  <c:v>28.06</c:v>
                </c:pt>
                <c:pt idx="46">
                  <c:v>27.46</c:v>
                </c:pt>
                <c:pt idx="47">
                  <c:v>27.85</c:v>
                </c:pt>
                <c:pt idx="48">
                  <c:v>28.37</c:v>
                </c:pt>
                <c:pt idx="49">
                  <c:v>27.75</c:v>
                </c:pt>
                <c:pt idx="50">
                  <c:v>27.09</c:v>
                </c:pt>
                <c:pt idx="51">
                  <c:v>28.18</c:v>
                </c:pt>
                <c:pt idx="52">
                  <c:v>28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754-40C4-B98F-40124866538A}"/>
            </c:ext>
          </c:extLst>
        </c:ser>
        <c:ser>
          <c:idx val="0"/>
          <c:order val="2"/>
          <c:tx>
            <c:strRef>
              <c:f>[world_GDP.xlsx]Sheet5!$C$2</c:f>
              <c:strCache>
                <c:ptCount val="1"/>
                <c:pt idx="0">
                  <c:v>Agriculture</c:v>
                </c:pt>
              </c:strCache>
            </c:strRef>
          </c:tx>
          <c:spPr>
            <a:solidFill>
              <a:srgbClr val="FAC832"/>
            </a:solidFill>
            <a:ln w="15875">
              <a:noFill/>
            </a:ln>
            <a:effectLst/>
          </c:spPr>
          <c:invertIfNegative val="0"/>
          <c:cat>
            <c:numRef>
              <c:f>[world_GDP.xlsx]Sheet5!$B$3:$B$55</c:f>
              <c:numCache>
                <c:formatCode>m/d/yyyy</c:formatCode>
                <c:ptCount val="53"/>
                <c:pt idx="0">
                  <c:v>25569</c:v>
                </c:pt>
                <c:pt idx="1">
                  <c:v>25934</c:v>
                </c:pt>
                <c:pt idx="2">
                  <c:v>26299</c:v>
                </c:pt>
                <c:pt idx="3">
                  <c:v>26665</c:v>
                </c:pt>
                <c:pt idx="4">
                  <c:v>27030</c:v>
                </c:pt>
                <c:pt idx="5">
                  <c:v>27395</c:v>
                </c:pt>
                <c:pt idx="6">
                  <c:v>27760</c:v>
                </c:pt>
                <c:pt idx="7">
                  <c:v>28126</c:v>
                </c:pt>
                <c:pt idx="8">
                  <c:v>28491</c:v>
                </c:pt>
                <c:pt idx="9">
                  <c:v>28856</c:v>
                </c:pt>
                <c:pt idx="10">
                  <c:v>29221</c:v>
                </c:pt>
                <c:pt idx="11">
                  <c:v>29587</c:v>
                </c:pt>
                <c:pt idx="12">
                  <c:v>29952</c:v>
                </c:pt>
                <c:pt idx="13">
                  <c:v>30317</c:v>
                </c:pt>
                <c:pt idx="14">
                  <c:v>30682</c:v>
                </c:pt>
                <c:pt idx="15">
                  <c:v>31048</c:v>
                </c:pt>
                <c:pt idx="16">
                  <c:v>31413</c:v>
                </c:pt>
                <c:pt idx="17">
                  <c:v>31778</c:v>
                </c:pt>
                <c:pt idx="18">
                  <c:v>32143</c:v>
                </c:pt>
                <c:pt idx="19">
                  <c:v>32509</c:v>
                </c:pt>
                <c:pt idx="20">
                  <c:v>32874</c:v>
                </c:pt>
                <c:pt idx="21">
                  <c:v>33239</c:v>
                </c:pt>
                <c:pt idx="22">
                  <c:v>33604</c:v>
                </c:pt>
                <c:pt idx="23">
                  <c:v>33970</c:v>
                </c:pt>
                <c:pt idx="24">
                  <c:v>34335</c:v>
                </c:pt>
                <c:pt idx="25">
                  <c:v>34700</c:v>
                </c:pt>
                <c:pt idx="26">
                  <c:v>35065</c:v>
                </c:pt>
                <c:pt idx="27">
                  <c:v>35431</c:v>
                </c:pt>
                <c:pt idx="28">
                  <c:v>35796</c:v>
                </c:pt>
                <c:pt idx="29">
                  <c:v>36161</c:v>
                </c:pt>
                <c:pt idx="30">
                  <c:v>36526</c:v>
                </c:pt>
                <c:pt idx="31">
                  <c:v>36892</c:v>
                </c:pt>
                <c:pt idx="32">
                  <c:v>37257</c:v>
                </c:pt>
                <c:pt idx="33">
                  <c:v>37622</c:v>
                </c:pt>
                <c:pt idx="34">
                  <c:v>37987</c:v>
                </c:pt>
                <c:pt idx="35">
                  <c:v>38353</c:v>
                </c:pt>
                <c:pt idx="36">
                  <c:v>38718</c:v>
                </c:pt>
                <c:pt idx="37">
                  <c:v>39083</c:v>
                </c:pt>
                <c:pt idx="38">
                  <c:v>39448</c:v>
                </c:pt>
                <c:pt idx="39">
                  <c:v>39814</c:v>
                </c:pt>
                <c:pt idx="40">
                  <c:v>40179</c:v>
                </c:pt>
                <c:pt idx="41">
                  <c:v>40544</c:v>
                </c:pt>
                <c:pt idx="42">
                  <c:v>40909</c:v>
                </c:pt>
                <c:pt idx="43">
                  <c:v>41275</c:v>
                </c:pt>
                <c:pt idx="44">
                  <c:v>41640</c:v>
                </c:pt>
                <c:pt idx="45">
                  <c:v>42005</c:v>
                </c:pt>
                <c:pt idx="46">
                  <c:v>42370</c:v>
                </c:pt>
                <c:pt idx="47">
                  <c:v>42736</c:v>
                </c:pt>
                <c:pt idx="48">
                  <c:v>43101</c:v>
                </c:pt>
                <c:pt idx="49">
                  <c:v>43466</c:v>
                </c:pt>
                <c:pt idx="50">
                  <c:v>43831</c:v>
                </c:pt>
                <c:pt idx="51">
                  <c:v>44197</c:v>
                </c:pt>
                <c:pt idx="52">
                  <c:v>44562</c:v>
                </c:pt>
              </c:numCache>
            </c:numRef>
          </c:cat>
          <c:val>
            <c:numRef>
              <c:f>[world_GDP.xlsx]Sheet5!$C$3:$C$55</c:f>
              <c:numCache>
                <c:formatCode>General</c:formatCode>
                <c:ptCount val="53"/>
                <c:pt idx="0">
                  <c:v>9.44</c:v>
                </c:pt>
                <c:pt idx="1">
                  <c:v>9.0299999999999994</c:v>
                </c:pt>
                <c:pt idx="2">
                  <c:v>8.7200000000000006</c:v>
                </c:pt>
                <c:pt idx="3">
                  <c:v>9.19</c:v>
                </c:pt>
                <c:pt idx="4">
                  <c:v>8.65</c:v>
                </c:pt>
                <c:pt idx="5">
                  <c:v>8.3000000000000007</c:v>
                </c:pt>
                <c:pt idx="6">
                  <c:v>7.97</c:v>
                </c:pt>
                <c:pt idx="7">
                  <c:v>7.77</c:v>
                </c:pt>
                <c:pt idx="8">
                  <c:v>7.54</c:v>
                </c:pt>
                <c:pt idx="9">
                  <c:v>7.34</c:v>
                </c:pt>
                <c:pt idx="10">
                  <c:v>6.84</c:v>
                </c:pt>
                <c:pt idx="11">
                  <c:v>6.8</c:v>
                </c:pt>
                <c:pt idx="12">
                  <c:v>6.83</c:v>
                </c:pt>
                <c:pt idx="13">
                  <c:v>6.94</c:v>
                </c:pt>
                <c:pt idx="14">
                  <c:v>6.85</c:v>
                </c:pt>
                <c:pt idx="15">
                  <c:v>6.42</c:v>
                </c:pt>
                <c:pt idx="16">
                  <c:v>5.88</c:v>
                </c:pt>
                <c:pt idx="17">
                  <c:v>5.46</c:v>
                </c:pt>
                <c:pt idx="18">
                  <c:v>5.4</c:v>
                </c:pt>
                <c:pt idx="19">
                  <c:v>5.39</c:v>
                </c:pt>
                <c:pt idx="20">
                  <c:v>5.17</c:v>
                </c:pt>
                <c:pt idx="21">
                  <c:v>4.76</c:v>
                </c:pt>
                <c:pt idx="22">
                  <c:v>4.3099999999999996</c:v>
                </c:pt>
                <c:pt idx="23">
                  <c:v>4.16</c:v>
                </c:pt>
                <c:pt idx="24">
                  <c:v>4.0599999999999996</c:v>
                </c:pt>
                <c:pt idx="25">
                  <c:v>3.95</c:v>
                </c:pt>
                <c:pt idx="26">
                  <c:v>4.09</c:v>
                </c:pt>
                <c:pt idx="27">
                  <c:v>3.97</c:v>
                </c:pt>
                <c:pt idx="28">
                  <c:v>3.84</c:v>
                </c:pt>
                <c:pt idx="29">
                  <c:v>3.6</c:v>
                </c:pt>
                <c:pt idx="30">
                  <c:v>3.44</c:v>
                </c:pt>
                <c:pt idx="31">
                  <c:v>3.42</c:v>
                </c:pt>
                <c:pt idx="32">
                  <c:v>3.41</c:v>
                </c:pt>
                <c:pt idx="33">
                  <c:v>3.41</c:v>
                </c:pt>
                <c:pt idx="34">
                  <c:v>3.48</c:v>
                </c:pt>
                <c:pt idx="35">
                  <c:v>3.34</c:v>
                </c:pt>
                <c:pt idx="36">
                  <c:v>3.34</c:v>
                </c:pt>
                <c:pt idx="37">
                  <c:v>3.55</c:v>
                </c:pt>
                <c:pt idx="38">
                  <c:v>3.74</c:v>
                </c:pt>
                <c:pt idx="39">
                  <c:v>3.84</c:v>
                </c:pt>
                <c:pt idx="40">
                  <c:v>4.07</c:v>
                </c:pt>
                <c:pt idx="41">
                  <c:v>4.26</c:v>
                </c:pt>
                <c:pt idx="42">
                  <c:v>4.3</c:v>
                </c:pt>
                <c:pt idx="43">
                  <c:v>4.46</c:v>
                </c:pt>
                <c:pt idx="44">
                  <c:v>4.4000000000000004</c:v>
                </c:pt>
                <c:pt idx="45">
                  <c:v>4.42</c:v>
                </c:pt>
                <c:pt idx="46">
                  <c:v>4.3600000000000003</c:v>
                </c:pt>
                <c:pt idx="47">
                  <c:v>4.33</c:v>
                </c:pt>
                <c:pt idx="48">
                  <c:v>4.12</c:v>
                </c:pt>
                <c:pt idx="49">
                  <c:v>4.18</c:v>
                </c:pt>
                <c:pt idx="50">
                  <c:v>4.5</c:v>
                </c:pt>
                <c:pt idx="51">
                  <c:v>4.51</c:v>
                </c:pt>
                <c:pt idx="52">
                  <c:v>4.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754-40C4-B98F-4012486653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6916279"/>
        <c:axId val="106918439"/>
      </c:barChart>
      <c:dateAx>
        <c:axId val="106916279"/>
        <c:scaling>
          <c:orientation val="minMax"/>
        </c:scaling>
        <c:delete val="0"/>
        <c:axPos val="b"/>
        <c:numFmt formatCode="yyyy" sourceLinked="0"/>
        <c:majorTickMark val="out"/>
        <c:minorTickMark val="none"/>
        <c:tickLblPos val="low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8439"/>
        <c:crosses val="autoZero"/>
        <c:auto val="1"/>
        <c:lblOffset val="100"/>
        <c:baseTimeUnit val="years"/>
        <c:majorUnit val="5"/>
        <c:majorTimeUnit val="years"/>
      </c:dateAx>
      <c:valAx>
        <c:axId val="106918439"/>
        <c:scaling>
          <c:orientation val="minMax"/>
          <c:max val="100"/>
        </c:scaling>
        <c:delete val="0"/>
        <c:axPos val="l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%</a:t>
                </a:r>
              </a:p>
            </c:rich>
          </c:tx>
          <c:layout>
            <c:manualLayout>
              <c:xMode val="edge"/>
              <c:yMode val="edge"/>
              <c:x val="7.1648293963254603E-2"/>
              <c:y val="3.2722902211480991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8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62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2973333333333334"/>
          <c:y val="2.4620981783217692E-2"/>
          <c:w val="0.54053324584426943"/>
          <c:h val="8.64442986293380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16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pl-PL" b="1" dirty="0"/>
              <a:t>2025</a:t>
            </a:r>
          </a:p>
          <a:p>
            <a:pPr>
              <a:defRPr/>
            </a:pPr>
            <a:r>
              <a:rPr lang="pl-PL" dirty="0"/>
              <a:t>USD billion</a:t>
            </a:r>
            <a:endParaRPr lang="en-US" dirty="0"/>
          </a:p>
        </c:rich>
      </c:tx>
      <c:layout>
        <c:manualLayout>
          <c:xMode val="edge"/>
          <c:yMode val="edge"/>
          <c:x val="0.45037875622690021"/>
          <c:y val="0.403195245929818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8443258878354494"/>
          <c:y val="8.9484075338260929E-2"/>
          <c:w val="0.55002330065884619"/>
          <c:h val="0.84050659332563904"/>
        </c:manualLayout>
      </c:layout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135-4476-A843-2D0AB718FB2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135-4476-A843-2D0AB718FB2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135-4476-A843-2D0AB718FB2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135-4476-A843-2D0AB718FB2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135-4476-A843-2D0AB718FB2B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5135-4476-A843-2D0AB718FB2B}"/>
              </c:ext>
            </c:extLst>
          </c:dPt>
          <c:dLbls>
            <c:dLbl>
              <c:idx val="0"/>
              <c:layout>
                <c:manualLayout>
                  <c:x val="-7.4829067541015462E-17"/>
                  <c:y val="-0.11850796846990645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135-4476-A843-2D0AB718FB2B}"/>
                </c:ext>
              </c:extLst>
            </c:dLbl>
            <c:dLbl>
              <c:idx val="1"/>
              <c:layout>
                <c:manualLayout>
                  <c:x val="0.20710412984091259"/>
                  <c:y val="-2.11037123572170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627145164546741"/>
                      <c:h val="0.2377788161993769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5135-4476-A843-2D0AB718FB2B}"/>
                </c:ext>
              </c:extLst>
            </c:dLbl>
            <c:dLbl>
              <c:idx val="2"/>
              <c:layout>
                <c:manualLayout>
                  <c:x val="0.10243303721650178"/>
                  <c:y val="0.12858255451713396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135-4476-A843-2D0AB718FB2B}"/>
                </c:ext>
              </c:extLst>
            </c:dLbl>
            <c:dLbl>
              <c:idx val="3"/>
              <c:layout>
                <c:manualLayout>
                  <c:x val="0.23640141410895066"/>
                  <c:y val="5.689364732460771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834393296991719"/>
                      <c:h val="0.1817300103842159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5135-4476-A843-2D0AB718FB2B}"/>
                </c:ext>
              </c:extLst>
            </c:dLbl>
            <c:dLbl>
              <c:idx val="4"/>
              <c:layout>
                <c:manualLayout>
                  <c:x val="-0.19665244969378828"/>
                  <c:y val="7.583073727933541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31623931623929"/>
                      <c:h val="0.1618161993769470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5135-4476-A843-2D0AB718FB2B}"/>
                </c:ext>
              </c:extLst>
            </c:dLbl>
            <c:dLbl>
              <c:idx val="5"/>
              <c:layout>
                <c:manualLayout>
                  <c:x val="-0.19698208259681826"/>
                  <c:y val="0.1384735202492211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304467298730511"/>
                      <c:h val="0.2441090342679127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5135-4476-A843-2D0AB718FB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Tables!$E$14:$E$19</c:f>
              <c:strCache>
                <c:ptCount val="6"/>
                <c:pt idx="0">
                  <c:v> Africa</c:v>
                </c:pt>
                <c:pt idx="1">
                  <c:v> Asia Pacific</c:v>
                </c:pt>
                <c:pt idx="2">
                  <c:v> Europe</c:v>
                </c:pt>
                <c:pt idx="3">
                  <c:v> Latin America</c:v>
                </c:pt>
                <c:pt idx="4">
                  <c:v> Middle East</c:v>
                </c:pt>
                <c:pt idx="5">
                  <c:v> North America</c:v>
                </c:pt>
              </c:strCache>
            </c:strRef>
          </c:cat>
          <c:val>
            <c:numRef>
              <c:f>Tables!$AS$14:$AS$19</c:f>
              <c:numCache>
                <c:formatCode>#,##0.0</c:formatCode>
                <c:ptCount val="6"/>
                <c:pt idx="0">
                  <c:v>0.17917647943666201</c:v>
                </c:pt>
                <c:pt idx="1">
                  <c:v>4.8729542749195387</c:v>
                </c:pt>
                <c:pt idx="2">
                  <c:v>11.289216801415824</c:v>
                </c:pt>
                <c:pt idx="3">
                  <c:v>1.1279761070067458</c:v>
                </c:pt>
                <c:pt idx="4">
                  <c:v>6.1817419293587061</c:v>
                </c:pt>
                <c:pt idx="5">
                  <c:v>12.6527257226900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F38-4A30-BA86-22DA504EFB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6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800">
          <a:solidFill>
            <a:schemeClr val="bg1"/>
          </a:solidFill>
        </a:defRPr>
      </a:pPr>
      <a:endParaRPr lang="en-US"/>
    </a:p>
  </c:txPr>
  <c:externalData r:id="rId4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0163597318930172E-2"/>
          <c:y val="0.10816468253968252"/>
          <c:w val="0.87237083794277781"/>
          <c:h val="0.76347112860892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Unit cost'!$B$19</c:f>
              <c:strCache>
                <c:ptCount val="1"/>
                <c:pt idx="0">
                  <c:v>Africa</c:v>
                </c:pt>
              </c:strCache>
            </c:strRef>
          </c:tx>
          <c:spPr>
            <a:solidFill>
              <a:schemeClr val="accent1"/>
            </a:solidFill>
            <a:ln w="15875">
              <a:noFill/>
            </a:ln>
            <a:effectLst/>
          </c:spPr>
          <c:invertIfNegative val="0"/>
          <c:cat>
            <c:strRef>
              <c:f>'Unit cost'!$A$20:$A$22</c:f>
              <c:strCache>
                <c:ptCount val="3"/>
                <c:pt idx="0">
                  <c:v>CATK</c:v>
                </c:pt>
                <c:pt idx="1">
                  <c:v>fuel CATK</c:v>
                </c:pt>
                <c:pt idx="2">
                  <c:v>non-fuel CATK</c:v>
                </c:pt>
              </c:strCache>
            </c:strRef>
          </c:cat>
          <c:val>
            <c:numRef>
              <c:f>'Unit cost'!$B$20:$B$22</c:f>
              <c:numCache>
                <c:formatCode>_(* #,##0_);_(* \(#,##0\);_(* "-"??_);_(@_)</c:formatCode>
                <c:ptCount val="3"/>
                <c:pt idx="0">
                  <c:v>157.59933054805225</c:v>
                </c:pt>
                <c:pt idx="1">
                  <c:v>31.249495440124416</c:v>
                </c:pt>
                <c:pt idx="2">
                  <c:v>126.349839580323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E9E-4D61-AB34-4E79E2FEF290}"/>
            </c:ext>
          </c:extLst>
        </c:ser>
        <c:ser>
          <c:idx val="2"/>
          <c:order val="1"/>
          <c:tx>
            <c:strRef>
              <c:f>'Unit cost'!$C$19</c:f>
              <c:strCache>
                <c:ptCount val="1"/>
                <c:pt idx="0">
                  <c:v>Europe</c:v>
                </c:pt>
              </c:strCache>
            </c:strRef>
          </c:tx>
          <c:spPr>
            <a:solidFill>
              <a:schemeClr val="accent3"/>
            </a:solidFill>
            <a:ln w="15875">
              <a:noFill/>
            </a:ln>
            <a:effectLst/>
          </c:spPr>
          <c:invertIfNegative val="0"/>
          <c:cat>
            <c:strRef>
              <c:f>'Unit cost'!$A$20:$A$22</c:f>
              <c:strCache>
                <c:ptCount val="3"/>
                <c:pt idx="0">
                  <c:v>CATK</c:v>
                </c:pt>
                <c:pt idx="1">
                  <c:v>fuel CATK</c:v>
                </c:pt>
                <c:pt idx="2">
                  <c:v>non-fuel CATK</c:v>
                </c:pt>
              </c:strCache>
            </c:strRef>
          </c:cat>
          <c:val>
            <c:numRef>
              <c:f>'Unit cost'!$C$20:$C$22</c:f>
              <c:numCache>
                <c:formatCode>_(* #,##0_);_(* \(#,##0\);_(* "-"??_);_(@_)</c:formatCode>
                <c:ptCount val="3"/>
                <c:pt idx="0">
                  <c:v>94.213389603073239</c:v>
                </c:pt>
                <c:pt idx="1">
                  <c:v>21.458894690541594</c:v>
                </c:pt>
                <c:pt idx="2">
                  <c:v>72.7546171737397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E9E-4D61-AB34-4E79E2FEF290}"/>
            </c:ext>
          </c:extLst>
        </c:ser>
        <c:ser>
          <c:idx val="4"/>
          <c:order val="2"/>
          <c:tx>
            <c:strRef>
              <c:f>'Unit cost'!$D$19</c:f>
              <c:strCache>
                <c:ptCount val="1"/>
                <c:pt idx="0">
                  <c:v>Middle East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Unit cost'!$A$20:$A$22</c:f>
              <c:strCache>
                <c:ptCount val="3"/>
                <c:pt idx="0">
                  <c:v>CATK</c:v>
                </c:pt>
                <c:pt idx="1">
                  <c:v>fuel CATK</c:v>
                </c:pt>
                <c:pt idx="2">
                  <c:v>non-fuel CATK</c:v>
                </c:pt>
              </c:strCache>
            </c:strRef>
          </c:cat>
          <c:val>
            <c:numRef>
              <c:f>'Unit cost'!$D$20:$D$22</c:f>
              <c:numCache>
                <c:formatCode>_(* #,##0_);_(* \(#,##0\);_(* "-"??_);_(@_)</c:formatCode>
                <c:ptCount val="3"/>
                <c:pt idx="0">
                  <c:v>78.317510380040389</c:v>
                </c:pt>
                <c:pt idx="1">
                  <c:v>22.324104263245644</c:v>
                </c:pt>
                <c:pt idx="2">
                  <c:v>55.9933987211808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E9E-4D61-AB34-4E79E2FEF290}"/>
            </c:ext>
          </c:extLst>
        </c:ser>
        <c:ser>
          <c:idx val="1"/>
          <c:order val="3"/>
          <c:tx>
            <c:strRef>
              <c:f>'Unit cost'!$E$19</c:f>
              <c:strCache>
                <c:ptCount val="1"/>
                <c:pt idx="0">
                  <c:v>Asia &amp; Pacific</c:v>
                </c:pt>
              </c:strCache>
            </c:strRef>
          </c:tx>
          <c:spPr>
            <a:solidFill>
              <a:schemeClr val="accent2"/>
            </a:solidFill>
            <a:ln w="15875">
              <a:noFill/>
            </a:ln>
            <a:effectLst/>
          </c:spPr>
          <c:invertIfNegative val="0"/>
          <c:cat>
            <c:strRef>
              <c:f>'Unit cost'!$A$20:$A$22</c:f>
              <c:strCache>
                <c:ptCount val="3"/>
                <c:pt idx="0">
                  <c:v>CATK</c:v>
                </c:pt>
                <c:pt idx="1">
                  <c:v>fuel CATK</c:v>
                </c:pt>
                <c:pt idx="2">
                  <c:v>non-fuel CATK</c:v>
                </c:pt>
              </c:strCache>
            </c:strRef>
          </c:cat>
          <c:val>
            <c:numRef>
              <c:f>'Unit cost'!$E$20:$E$22</c:f>
              <c:numCache>
                <c:formatCode>_(* #,##0_);_(* \(#,##0\);_(* "-"??_);_(@_)</c:formatCode>
                <c:ptCount val="3"/>
                <c:pt idx="0">
                  <c:v>73.33636621717973</c:v>
                </c:pt>
                <c:pt idx="1">
                  <c:v>21.548492063964378</c:v>
                </c:pt>
                <c:pt idx="2">
                  <c:v>51.7878677791552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E9E-4D61-AB34-4E79E2FEF290}"/>
            </c:ext>
          </c:extLst>
        </c:ser>
        <c:ser>
          <c:idx val="3"/>
          <c:order val="4"/>
          <c:tx>
            <c:strRef>
              <c:f>'Unit cost'!$F$19</c:f>
              <c:strCache>
                <c:ptCount val="1"/>
                <c:pt idx="0">
                  <c:v>Latin Americ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Unit cost'!$A$20:$A$22</c:f>
              <c:strCache>
                <c:ptCount val="3"/>
                <c:pt idx="0">
                  <c:v>CATK</c:v>
                </c:pt>
                <c:pt idx="1">
                  <c:v>fuel CATK</c:v>
                </c:pt>
                <c:pt idx="2">
                  <c:v>non-fuel CATK</c:v>
                </c:pt>
              </c:strCache>
            </c:strRef>
          </c:cat>
          <c:val>
            <c:numRef>
              <c:f>'Unit cost'!$F$20:$F$22</c:f>
              <c:numCache>
                <c:formatCode>_(* #,##0_);_(* \(#,##0\);_(* "-"??_);_(@_)</c:formatCode>
                <c:ptCount val="3"/>
                <c:pt idx="0">
                  <c:v>70.601895388812537</c:v>
                </c:pt>
                <c:pt idx="1">
                  <c:v>20.6377808786259</c:v>
                </c:pt>
                <c:pt idx="2">
                  <c:v>49.9641145101866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E9E-4D61-AB34-4E79E2FEF290}"/>
            </c:ext>
          </c:extLst>
        </c:ser>
        <c:ser>
          <c:idx val="5"/>
          <c:order val="5"/>
          <c:tx>
            <c:strRef>
              <c:f>'Unit cost'!$G$19</c:f>
              <c:strCache>
                <c:ptCount val="1"/>
                <c:pt idx="0">
                  <c:v>North America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Unit cost'!$A$20:$A$22</c:f>
              <c:strCache>
                <c:ptCount val="3"/>
                <c:pt idx="0">
                  <c:v>CATK</c:v>
                </c:pt>
                <c:pt idx="1">
                  <c:v>fuel CATK</c:v>
                </c:pt>
                <c:pt idx="2">
                  <c:v>non-fuel CATK</c:v>
                </c:pt>
              </c:strCache>
            </c:strRef>
          </c:cat>
          <c:val>
            <c:numRef>
              <c:f>'Unit cost'!$G$20:$G$22</c:f>
              <c:numCache>
                <c:formatCode>_(* #,##0_);_(* \(#,##0\);_(* "-"??_);_(@_)</c:formatCode>
                <c:ptCount val="3"/>
                <c:pt idx="0">
                  <c:v>67.572115580881984</c:v>
                </c:pt>
                <c:pt idx="1">
                  <c:v>18.145534133065944</c:v>
                </c:pt>
                <c:pt idx="2">
                  <c:v>51.0891283316836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E9E-4D61-AB34-4E79E2FEF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9"/>
        <c:axId val="106916279"/>
        <c:axId val="106918439"/>
      </c:barChart>
      <c:catAx>
        <c:axId val="10691627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8439"/>
        <c:crosses val="autoZero"/>
        <c:auto val="1"/>
        <c:lblAlgn val="ctr"/>
        <c:lblOffset val="100"/>
        <c:noMultiLvlLbl val="0"/>
      </c:catAx>
      <c:valAx>
        <c:axId val="106918439"/>
        <c:scaling>
          <c:orientation val="minMax"/>
        </c:scaling>
        <c:delete val="0"/>
        <c:axPos val="l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USDc/ATK</a:t>
                </a:r>
              </a:p>
            </c:rich>
          </c:tx>
          <c:layout>
            <c:manualLayout>
              <c:xMode val="edge"/>
              <c:yMode val="edge"/>
              <c:x val="1.916553534256495E-3"/>
              <c:y val="2.28676489696213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5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_);_(* \(#,##0\);_(* &quot;-&quot;??_);_(@_)" sourceLinked="1"/>
        <c:majorTickMark val="out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62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993425648948103"/>
          <c:y val="9.5550045808145856E-2"/>
          <c:w val="0.80276759259259256"/>
          <c:h val="0.150537499999999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050"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  <c:userShapes r:id="rId5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1830271216097988E-2"/>
          <c:y val="0.10816468253968252"/>
          <c:w val="0.89070402449693786"/>
          <c:h val="0.7103376076347862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 w="15875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04632"/>
              </a:solidFill>
              <a:ln w="158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67-491A-BBE7-C0A105E5DF1D}"/>
              </c:ext>
            </c:extLst>
          </c:dPt>
          <c:dPt>
            <c:idx val="1"/>
            <c:invertIfNegative val="0"/>
            <c:bubble3D val="0"/>
            <c:spPr>
              <a:solidFill>
                <a:srgbClr val="FAC832"/>
              </a:solidFill>
              <a:ln w="158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67-491A-BBE7-C0A105E5DF1D}"/>
              </c:ext>
            </c:extLst>
          </c:dPt>
          <c:dPt>
            <c:idx val="2"/>
            <c:invertIfNegative val="0"/>
            <c:bubble3D val="0"/>
            <c:spPr>
              <a:solidFill>
                <a:srgbClr val="FAC832"/>
              </a:solidFill>
              <a:ln w="158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67-491A-BBE7-C0A105E5DF1D}"/>
              </c:ext>
            </c:extLst>
          </c:dPt>
          <c:dPt>
            <c:idx val="3"/>
            <c:invertIfNegative val="0"/>
            <c:bubble3D val="0"/>
            <c:spPr>
              <a:solidFill>
                <a:srgbClr val="FAC832"/>
              </a:solidFill>
              <a:ln w="158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B67-491A-BBE7-C0A105E5DF1D}"/>
              </c:ext>
            </c:extLst>
          </c:dPt>
          <c:dPt>
            <c:idx val="4"/>
            <c:invertIfNegative val="0"/>
            <c:bubble3D val="0"/>
            <c:spPr>
              <a:solidFill>
                <a:srgbClr val="FAC832"/>
              </a:solidFill>
              <a:ln w="158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B67-491A-BBE7-C0A105E5DF1D}"/>
              </c:ext>
            </c:extLst>
          </c:dPt>
          <c:dPt>
            <c:idx val="5"/>
            <c:invertIfNegative val="0"/>
            <c:bubble3D val="0"/>
            <c:spPr>
              <a:solidFill>
                <a:srgbClr val="FAC832"/>
              </a:solidFill>
              <a:ln w="158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B67-491A-BBE7-C0A105E5DF1D}"/>
              </c:ext>
            </c:extLst>
          </c:dPt>
          <c:dPt>
            <c:idx val="6"/>
            <c:invertIfNegative val="0"/>
            <c:bubble3D val="0"/>
            <c:spPr>
              <a:solidFill>
                <a:srgbClr val="FAC832"/>
              </a:solidFill>
              <a:ln w="158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4B67-491A-BBE7-C0A105E5DF1D}"/>
              </c:ext>
            </c:extLst>
          </c:dPt>
          <c:dPt>
            <c:idx val="9"/>
            <c:invertIfNegative val="0"/>
            <c:bubble3D val="0"/>
            <c:spPr>
              <a:solidFill>
                <a:srgbClr val="289632"/>
              </a:solidFill>
              <a:ln w="158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4B67-491A-BBE7-C0A105E5DF1D}"/>
              </c:ext>
            </c:extLst>
          </c:dPt>
          <c:dLbls>
            <c:dLbl>
              <c:idx val="9"/>
              <c:layout>
                <c:manualLayout>
                  <c:x val="0"/>
                  <c:y val="2.97029702970297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B67-491A-BBE7-C0A105E5DF1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:$B$12</c:f>
              <c:strCache>
                <c:ptCount val="10"/>
                <c:pt idx="0">
                  <c:v>Egypt</c:v>
                </c:pt>
                <c:pt idx="1">
                  <c:v>Nigeria</c:v>
                </c:pt>
                <c:pt idx="2">
                  <c:v>Zambia</c:v>
                </c:pt>
                <c:pt idx="3">
                  <c:v>Uganda</c:v>
                </c:pt>
                <c:pt idx="4">
                  <c:v>Kenya</c:v>
                </c:pt>
                <c:pt idx="5">
                  <c:v>Botswana*</c:v>
                </c:pt>
                <c:pt idx="6">
                  <c:v>South Africa</c:v>
                </c:pt>
                <c:pt idx="7">
                  <c:v>Namibia</c:v>
                </c:pt>
                <c:pt idx="8">
                  <c:v>Cote d'Ivoire</c:v>
                </c:pt>
                <c:pt idx="9">
                  <c:v>Morocco</c:v>
                </c:pt>
              </c:strCache>
            </c:strRef>
          </c:cat>
          <c:val>
            <c:numRef>
              <c:f>Sheet1!$C$3:$C$12</c:f>
              <c:numCache>
                <c:formatCode>General</c:formatCode>
                <c:ptCount val="10"/>
                <c:pt idx="0">
                  <c:v>20.99</c:v>
                </c:pt>
                <c:pt idx="1">
                  <c:v>19.399999999999999</c:v>
                </c:pt>
                <c:pt idx="2">
                  <c:v>19.010000000000002</c:v>
                </c:pt>
                <c:pt idx="3">
                  <c:v>17.75</c:v>
                </c:pt>
                <c:pt idx="4">
                  <c:v>13.71</c:v>
                </c:pt>
                <c:pt idx="5">
                  <c:v>11.01</c:v>
                </c:pt>
                <c:pt idx="6">
                  <c:v>10.11</c:v>
                </c:pt>
                <c:pt idx="7">
                  <c:v>9.5399999999999991</c:v>
                </c:pt>
                <c:pt idx="8">
                  <c:v>7.01</c:v>
                </c:pt>
                <c:pt idx="9">
                  <c:v>2.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4B67-491A-BBE7-C0A105E5DF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06916279"/>
        <c:axId val="106918439"/>
      </c:barChart>
      <c:lineChart>
        <c:grouping val="standard"/>
        <c:varyColors val="0"/>
        <c:ser>
          <c:idx val="1"/>
          <c:order val="1"/>
          <c:tx>
            <c:v>USA - 10y yield</c:v>
          </c:tx>
          <c:spPr>
            <a:ln w="28575" cap="rnd">
              <a:solidFill>
                <a:sysClr val="windowText" lastClr="00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B$3:$B$12</c:f>
              <c:strCache>
                <c:ptCount val="10"/>
                <c:pt idx="0">
                  <c:v>Egypt</c:v>
                </c:pt>
                <c:pt idx="1">
                  <c:v>Nigeria</c:v>
                </c:pt>
                <c:pt idx="2">
                  <c:v>Zambia</c:v>
                </c:pt>
                <c:pt idx="3">
                  <c:v>Uganda</c:v>
                </c:pt>
                <c:pt idx="4">
                  <c:v>Kenya</c:v>
                </c:pt>
                <c:pt idx="5">
                  <c:v>Botswana*</c:v>
                </c:pt>
                <c:pt idx="6">
                  <c:v>South Africa</c:v>
                </c:pt>
                <c:pt idx="7">
                  <c:v>Namibia</c:v>
                </c:pt>
                <c:pt idx="8">
                  <c:v>Cote d'Ivoire</c:v>
                </c:pt>
                <c:pt idx="9">
                  <c:v>Morocco</c:v>
                </c:pt>
              </c:strCache>
            </c:strRef>
          </c:cat>
          <c:val>
            <c:numRef>
              <c:f>Sheet1!$D$3:$D$12</c:f>
              <c:numCache>
                <c:formatCode>General</c:formatCode>
                <c:ptCount val="10"/>
                <c:pt idx="0">
                  <c:v>4.46</c:v>
                </c:pt>
                <c:pt idx="1">
                  <c:v>4.46</c:v>
                </c:pt>
                <c:pt idx="2">
                  <c:v>4.46</c:v>
                </c:pt>
                <c:pt idx="3">
                  <c:v>4.46</c:v>
                </c:pt>
                <c:pt idx="4">
                  <c:v>4.46</c:v>
                </c:pt>
                <c:pt idx="5">
                  <c:v>4.46</c:v>
                </c:pt>
                <c:pt idx="6">
                  <c:v>4.46</c:v>
                </c:pt>
                <c:pt idx="7">
                  <c:v>4.46</c:v>
                </c:pt>
                <c:pt idx="8">
                  <c:v>4.46</c:v>
                </c:pt>
                <c:pt idx="9">
                  <c:v>4.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4B67-491A-BBE7-C0A105E5DF1D}"/>
            </c:ext>
          </c:extLst>
        </c:ser>
        <c:ser>
          <c:idx val="2"/>
          <c:order val="2"/>
          <c:tx>
            <c:v>Inflation</c:v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ysClr val="windowText" lastClr="000000"/>
              </a:solidFill>
              <a:ln w="15875">
                <a:solidFill>
                  <a:srgbClr val="FFFFFF"/>
                </a:solidFill>
              </a:ln>
              <a:effectLst/>
            </c:spPr>
          </c:marker>
          <c:cat>
            <c:strRef>
              <c:f>Sheet1!$B$3:$B$12</c:f>
              <c:strCache>
                <c:ptCount val="10"/>
                <c:pt idx="0">
                  <c:v>Egypt</c:v>
                </c:pt>
                <c:pt idx="1">
                  <c:v>Nigeria</c:v>
                </c:pt>
                <c:pt idx="2">
                  <c:v>Zambia</c:v>
                </c:pt>
                <c:pt idx="3">
                  <c:v>Uganda</c:v>
                </c:pt>
                <c:pt idx="4">
                  <c:v>Kenya</c:v>
                </c:pt>
                <c:pt idx="5">
                  <c:v>Botswana*</c:v>
                </c:pt>
                <c:pt idx="6">
                  <c:v>South Africa</c:v>
                </c:pt>
                <c:pt idx="7">
                  <c:v>Namibia</c:v>
                </c:pt>
                <c:pt idx="8">
                  <c:v>Cote d'Ivoire</c:v>
                </c:pt>
                <c:pt idx="9">
                  <c:v>Morocco</c:v>
                </c:pt>
              </c:strCache>
            </c:strRef>
          </c:cat>
          <c:val>
            <c:numRef>
              <c:f>Sheet1!$E$3:$E$12</c:f>
              <c:numCache>
                <c:formatCode>General</c:formatCode>
                <c:ptCount val="10"/>
                <c:pt idx="0">
                  <c:v>16.8</c:v>
                </c:pt>
                <c:pt idx="1">
                  <c:v>23.71</c:v>
                </c:pt>
                <c:pt idx="2">
                  <c:v>15.3</c:v>
                </c:pt>
                <c:pt idx="3">
                  <c:v>3.8</c:v>
                </c:pt>
                <c:pt idx="4">
                  <c:v>3.8</c:v>
                </c:pt>
                <c:pt idx="5">
                  <c:v>2.2999999999999998</c:v>
                </c:pt>
                <c:pt idx="6">
                  <c:v>2.8</c:v>
                </c:pt>
                <c:pt idx="7">
                  <c:v>3.6</c:v>
                </c:pt>
                <c:pt idx="8">
                  <c:v>0.5</c:v>
                </c:pt>
                <c:pt idx="9">
                  <c:v>0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4B67-491A-BBE7-C0A105E5DF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916279"/>
        <c:axId val="106918439"/>
      </c:lineChart>
      <c:catAx>
        <c:axId val="10691627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8439"/>
        <c:crosses val="autoZero"/>
        <c:auto val="1"/>
        <c:lblAlgn val="ctr"/>
        <c:lblOffset val="100"/>
        <c:noMultiLvlLbl val="0"/>
      </c:catAx>
      <c:valAx>
        <c:axId val="106918439"/>
        <c:scaling>
          <c:orientation val="minMax"/>
        </c:scaling>
        <c:delete val="0"/>
        <c:axPos val="l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%</a:t>
                </a:r>
              </a:p>
            </c:rich>
          </c:tx>
          <c:layout>
            <c:manualLayout>
              <c:xMode val="edge"/>
              <c:yMode val="edge"/>
              <c:x val="2.8314960629921261E-2"/>
              <c:y val="3.0656687716015697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8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62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.38582648418984189"/>
          <c:y val="6.3251210448522027E-2"/>
          <c:w val="0.41184401352798794"/>
          <c:h val="5.815700281485609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1268941382327214E-2"/>
          <c:y val="9.8455341597151844E-2"/>
          <c:w val="0.87650883639545052"/>
          <c:h val="0.705687482134040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EF5-40E6-8B53-DA0A4C3E874B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EF5-40E6-8B53-DA0A4C3E874B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EF5-40E6-8B53-DA0A4C3E874B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EF5-40E6-8B53-DA0A4C3E874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ktiv Grotesk" panose="020B0504020202020204" pitchFamily="34" charset="0"/>
                    <a:ea typeface="Aktiv Grotesk" panose="020B0504020202020204" pitchFamily="34" charset="0"/>
                    <a:cs typeface="Aktiv Grotesk" panose="020B05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I$48:$I$62</c:f>
              <c:strCache>
                <c:ptCount val="15"/>
                <c:pt idx="0">
                  <c:v>Germany</c:v>
                </c:pt>
                <c:pt idx="1">
                  <c:v>Nigeria</c:v>
                </c:pt>
                <c:pt idx="2">
                  <c:v>Ghana</c:v>
                </c:pt>
                <c:pt idx="3">
                  <c:v>Tanzania</c:v>
                </c:pt>
                <c:pt idx="4">
                  <c:v>Egypt</c:v>
                </c:pt>
                <c:pt idx="5">
                  <c:v>Kenya</c:v>
                </c:pt>
                <c:pt idx="6">
                  <c:v>Rwanda</c:v>
                </c:pt>
                <c:pt idx="7">
                  <c:v>Qatar</c:v>
                </c:pt>
                <c:pt idx="8">
                  <c:v>UAE</c:v>
                </c:pt>
                <c:pt idx="9">
                  <c:v>Ethiopia</c:v>
                </c:pt>
                <c:pt idx="10">
                  <c:v>US</c:v>
                </c:pt>
                <c:pt idx="11">
                  <c:v>Sth Africa</c:v>
                </c:pt>
                <c:pt idx="12">
                  <c:v>Morocco</c:v>
                </c:pt>
                <c:pt idx="13">
                  <c:v>Algeria</c:v>
                </c:pt>
                <c:pt idx="14">
                  <c:v>Tunisia</c:v>
                </c:pt>
              </c:strCache>
            </c:strRef>
          </c:cat>
          <c:val>
            <c:numRef>
              <c:f>Sheet1!$J$48:$J$62</c:f>
              <c:numCache>
                <c:formatCode>0</c:formatCode>
                <c:ptCount val="15"/>
                <c:pt idx="0">
                  <c:v>130.728391088</c:v>
                </c:pt>
                <c:pt idx="1">
                  <c:v>120</c:v>
                </c:pt>
                <c:pt idx="2">
                  <c:v>111.5</c:v>
                </c:pt>
                <c:pt idx="3">
                  <c:v>54</c:v>
                </c:pt>
                <c:pt idx="4">
                  <c:v>53.85434772</c:v>
                </c:pt>
                <c:pt idx="5">
                  <c:v>50</c:v>
                </c:pt>
                <c:pt idx="6">
                  <c:v>50</c:v>
                </c:pt>
                <c:pt idx="7">
                  <c:v>37.714285100000005</c:v>
                </c:pt>
                <c:pt idx="8">
                  <c:v>34.036760000000001</c:v>
                </c:pt>
                <c:pt idx="9">
                  <c:v>30.086678500000001</c:v>
                </c:pt>
                <c:pt idx="10">
                  <c:v>27.6</c:v>
                </c:pt>
                <c:pt idx="11">
                  <c:v>26.577478680749998</c:v>
                </c:pt>
                <c:pt idx="12">
                  <c:v>24.365523160000002</c:v>
                </c:pt>
                <c:pt idx="13">
                  <c:v>20.220479999999998</c:v>
                </c:pt>
                <c:pt idx="14">
                  <c:v>15.12136942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EF5-40E6-8B53-DA0A4C3E87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30"/>
        <c:axId val="429714896"/>
        <c:axId val="429715976"/>
      </c:barChart>
      <c:catAx>
        <c:axId val="4297148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alpha val="98000"/>
              </a:schemeClr>
            </a:solidFill>
            <a:round/>
          </a:ln>
          <a:effectLst/>
        </c:spPr>
        <c:txPr>
          <a:bodyPr rot="-174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defRPr>
            </a:pPr>
            <a:endParaRPr lang="en-US"/>
          </a:p>
        </c:txPr>
        <c:crossAx val="429715976"/>
        <c:crossesAt val="0"/>
        <c:auto val="1"/>
        <c:lblAlgn val="ctr"/>
        <c:lblOffset val="100"/>
        <c:noMultiLvlLbl val="0"/>
      </c:catAx>
      <c:valAx>
        <c:axId val="429715976"/>
        <c:scaling>
          <c:orientation val="minMax"/>
          <c:max val="150"/>
          <c:min val="0"/>
        </c:scaling>
        <c:delete val="0"/>
        <c:axPos val="l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chemeClr val="tx1"/>
                    </a:solidFill>
                    <a:latin typeface="Aktiv Grotesk" panose="020B0504020202020204" pitchFamily="34" charset="0"/>
                    <a:ea typeface="Aktiv Grotesk" panose="020B0504020202020204" pitchFamily="34" charset="0"/>
                    <a:cs typeface="Aktiv Grotesk" panose="020B0504020202020204" pitchFamily="34" charset="0"/>
                  </a:rPr>
                  <a:t>USD</a:t>
                </a:r>
              </a:p>
            </c:rich>
          </c:tx>
          <c:layout>
            <c:manualLayout>
              <c:xMode val="edge"/>
              <c:yMode val="edge"/>
              <c:x val="5.1871566054243222E-2"/>
              <c:y val="4.5243106987863987E-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defRPr>
            </a:pPr>
            <a:endParaRPr lang="en-US"/>
          </a:p>
        </c:txPr>
        <c:crossAx val="429714896"/>
        <c:crosses val="autoZero"/>
        <c:crossBetween val="between"/>
        <c:majorUnit val="2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4637795275590552E-2"/>
          <c:y val="0.14440814947636499"/>
          <c:w val="0.86903219597550307"/>
          <c:h val="0.6744759751565707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Charts, key'!$AM$166</c:f>
              <c:strCache>
                <c:ptCount val="1"/>
                <c:pt idx="0">
                  <c:v>2019</c:v>
                </c:pt>
              </c:strCache>
            </c:strRef>
          </c:tx>
          <c:spPr>
            <a:noFill/>
            <a:ln w="22225">
              <a:solidFill>
                <a:sysClr val="windowText" lastClr="000000"/>
              </a:solidFill>
              <a:prstDash val="dash"/>
            </a:ln>
            <a:effectLst/>
          </c:spPr>
          <c:invertIfNegative val="0"/>
          <c:cat>
            <c:strRef>
              <c:f>'Charts, key'!$E$167:$E$172</c:f>
              <c:strCache>
                <c:ptCount val="6"/>
                <c:pt idx="0">
                  <c:v> Africa</c:v>
                </c:pt>
                <c:pt idx="1">
                  <c:v> Asia Pacific</c:v>
                </c:pt>
                <c:pt idx="2">
                  <c:v> Europe</c:v>
                </c:pt>
                <c:pt idx="3">
                  <c:v> Latin America</c:v>
                </c:pt>
                <c:pt idx="4">
                  <c:v> Middle East</c:v>
                </c:pt>
                <c:pt idx="5">
                  <c:v> North America</c:v>
                </c:pt>
              </c:strCache>
            </c:strRef>
          </c:cat>
          <c:val>
            <c:numRef>
              <c:f>'Charts, key'!$AM$167:$AM$172</c:f>
              <c:numCache>
                <c:formatCode>0.0_)%_);\-0.0_)%_);"-  "</c:formatCode>
                <c:ptCount val="6"/>
                <c:pt idx="0">
                  <c:v>-1.8224263797854117E-2</c:v>
                </c:pt>
                <c:pt idx="1">
                  <c:v>1.9258444800142896E-2</c:v>
                </c:pt>
                <c:pt idx="2">
                  <c:v>2.9371345180989633E-2</c:v>
                </c:pt>
                <c:pt idx="3">
                  <c:v>-1.7960875795875048E-2</c:v>
                </c:pt>
                <c:pt idx="4">
                  <c:v>-2.5751470859401202E-2</c:v>
                </c:pt>
                <c:pt idx="5">
                  <c:v>6.7520722613023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E5-40C1-B0EC-25BCBD7D55FC}"/>
            </c:ext>
          </c:extLst>
        </c:ser>
        <c:ser>
          <c:idx val="4"/>
          <c:order val="1"/>
          <c:tx>
            <c:strRef>
              <c:f>'Charts, key'!$AQ$158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FAC832"/>
            </a:solidFill>
            <a:ln>
              <a:noFill/>
            </a:ln>
            <a:effectLst/>
          </c:spPr>
          <c:invertIfNegative val="0"/>
          <c:cat>
            <c:strRef>
              <c:f>'Charts, key'!$E$167:$E$172</c:f>
              <c:strCache>
                <c:ptCount val="6"/>
                <c:pt idx="0">
                  <c:v> Africa</c:v>
                </c:pt>
                <c:pt idx="1">
                  <c:v> Asia Pacific</c:v>
                </c:pt>
                <c:pt idx="2">
                  <c:v> Europe</c:v>
                </c:pt>
                <c:pt idx="3">
                  <c:v> Latin America</c:v>
                </c:pt>
                <c:pt idx="4">
                  <c:v> Middle East</c:v>
                </c:pt>
                <c:pt idx="5">
                  <c:v> North America</c:v>
                </c:pt>
              </c:strCache>
            </c:strRef>
          </c:cat>
          <c:val>
            <c:numRef>
              <c:f>'Charts, key'!$AQ$167:$AQ$172</c:f>
              <c:numCache>
                <c:formatCode>0.0_)%_);\-0.0_)%_);"-  "</c:formatCode>
                <c:ptCount val="6"/>
                <c:pt idx="0">
                  <c:v>4.836261252072825E-3</c:v>
                </c:pt>
                <c:pt idx="1">
                  <c:v>1.8780896483849258E-2</c:v>
                </c:pt>
                <c:pt idx="2">
                  <c:v>4.6415284693164666E-2</c:v>
                </c:pt>
                <c:pt idx="3">
                  <c:v>2.3592510083387634E-2</c:v>
                </c:pt>
                <c:pt idx="4">
                  <c:v>9.3325101560914794E-2</c:v>
                </c:pt>
                <c:pt idx="5">
                  <c:v>4.63651253916677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5E5-40C1-B0EC-25BCBD7D55FC}"/>
            </c:ext>
          </c:extLst>
        </c:ser>
        <c:ser>
          <c:idx val="5"/>
          <c:order val="2"/>
          <c:tx>
            <c:strRef>
              <c:f>'Charts, key'!$AR$158</c:f>
              <c:strCache>
                <c:ptCount val="1"/>
                <c:pt idx="0">
                  <c:v>2024e</c:v>
                </c:pt>
              </c:strCache>
            </c:strRef>
          </c:tx>
          <c:spPr>
            <a:solidFill>
              <a:srgbClr val="F04632"/>
            </a:solidFill>
            <a:ln>
              <a:noFill/>
            </a:ln>
            <a:effectLst/>
          </c:spPr>
          <c:invertIfNegative val="0"/>
          <c:cat>
            <c:strRef>
              <c:f>'Charts, key'!$E$167:$E$172</c:f>
              <c:strCache>
                <c:ptCount val="6"/>
                <c:pt idx="0">
                  <c:v> Africa</c:v>
                </c:pt>
                <c:pt idx="1">
                  <c:v> Asia Pacific</c:v>
                </c:pt>
                <c:pt idx="2">
                  <c:v> Europe</c:v>
                </c:pt>
                <c:pt idx="3">
                  <c:v> Latin America</c:v>
                </c:pt>
                <c:pt idx="4">
                  <c:v> Middle East</c:v>
                </c:pt>
                <c:pt idx="5">
                  <c:v> North America</c:v>
                </c:pt>
              </c:strCache>
            </c:strRef>
          </c:cat>
          <c:val>
            <c:numRef>
              <c:f>'Charts, key'!$AR$167:$AR$172</c:f>
              <c:numCache>
                <c:formatCode>0.0_)%_);\-0.0_)%_);"-  "</c:formatCode>
                <c:ptCount val="6"/>
                <c:pt idx="0">
                  <c:v>1.0222949063179641E-2</c:v>
                </c:pt>
                <c:pt idx="1">
                  <c:v>1.5730616506932752E-2</c:v>
                </c:pt>
                <c:pt idx="2">
                  <c:v>3.8084890834715918E-2</c:v>
                </c:pt>
                <c:pt idx="3">
                  <c:v>2.7656742016268908E-2</c:v>
                </c:pt>
                <c:pt idx="4">
                  <c:v>8.8743310958850657E-2</c:v>
                </c:pt>
                <c:pt idx="5">
                  <c:v>3.51545570781237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5E5-40C1-B0EC-25BCBD7D55FC}"/>
            </c:ext>
          </c:extLst>
        </c:ser>
        <c:ser>
          <c:idx val="6"/>
          <c:order val="3"/>
          <c:tx>
            <c:strRef>
              <c:f>'Charts, key'!$AS$158</c:f>
              <c:strCache>
                <c:ptCount val="1"/>
                <c:pt idx="0">
                  <c:v>2025f</c:v>
                </c:pt>
              </c:strCache>
            </c:strRef>
          </c:tx>
          <c:spPr>
            <a:solidFill>
              <a:srgbClr val="1E32F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harts, key'!$E$167:$E$172</c:f>
              <c:strCache>
                <c:ptCount val="6"/>
                <c:pt idx="0">
                  <c:v> Africa</c:v>
                </c:pt>
                <c:pt idx="1">
                  <c:v> Asia Pacific</c:v>
                </c:pt>
                <c:pt idx="2">
                  <c:v> Europe</c:v>
                </c:pt>
                <c:pt idx="3">
                  <c:v> Latin America</c:v>
                </c:pt>
                <c:pt idx="4">
                  <c:v> Middle East</c:v>
                </c:pt>
                <c:pt idx="5">
                  <c:v> North America</c:v>
                </c:pt>
              </c:strCache>
            </c:strRef>
          </c:cat>
          <c:val>
            <c:numRef>
              <c:f>'Charts, key'!$AS$167:$AS$172</c:f>
              <c:numCache>
                <c:formatCode>0.0_)%_);\-0.0_)%_);"-  "</c:formatCode>
                <c:ptCount val="6"/>
                <c:pt idx="0">
                  <c:v>1.075726146847902E-2</c:v>
                </c:pt>
                <c:pt idx="1">
                  <c:v>1.8513774519968478E-2</c:v>
                </c:pt>
                <c:pt idx="2">
                  <c:v>4.3133037840636802E-2</c:v>
                </c:pt>
                <c:pt idx="3">
                  <c:v>2.43469024070379E-2</c:v>
                </c:pt>
                <c:pt idx="4">
                  <c:v>8.6949304083148798E-2</c:v>
                </c:pt>
                <c:pt idx="5">
                  <c:v>3.960218860719283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5E5-40C1-B0EC-25BCBD7D55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-50"/>
        <c:axId val="106916279"/>
        <c:axId val="106918439"/>
      </c:barChart>
      <c:catAx>
        <c:axId val="10691627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8439"/>
        <c:crosses val="autoZero"/>
        <c:auto val="1"/>
        <c:lblAlgn val="ctr"/>
        <c:lblOffset val="100"/>
        <c:noMultiLvlLbl val="0"/>
      </c:catAx>
      <c:valAx>
        <c:axId val="106918439"/>
        <c:scaling>
          <c:orientation val="minMax"/>
        </c:scaling>
        <c:delete val="0"/>
        <c:axPos val="l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l-PL"/>
                  <a:t>% of revenue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2.7203849518810153E-2"/>
              <c:y val="2.616797900262467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8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 w="9525"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62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9383893263342084"/>
          <c:y val="5.480574829136458E-2"/>
          <c:w val="0.80500316455696186"/>
          <c:h val="6.156126687435098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214698162729654E-2"/>
          <c:y val="0.14285491541280115"/>
          <c:w val="0.86910839895013103"/>
          <c:h val="0.4550897845690081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00FF"/>
            </a:solidFill>
            <a:ln>
              <a:noFill/>
            </a:ln>
            <a:effectLst/>
          </c:spPr>
          <c:invertIfNegative val="0"/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9D5-4979-931E-F351AA57543E}"/>
              </c:ext>
            </c:extLst>
          </c:dPt>
          <c:dLbls>
            <c:dLbl>
              <c:idx val="1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9D5-4979-931E-F351AA57543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ysClr val="windowText" lastClr="000000"/>
                    </a:solidFill>
                    <a:latin typeface="Aktiv Grotesk" panose="020B0504020202020204" pitchFamily="34" charset="0"/>
                    <a:ea typeface="Aktiv Grotesk" panose="020B0504020202020204" pitchFamily="34" charset="0"/>
                    <a:cs typeface="Aktiv Grotesk" panose="020B05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ervices in GDP'!$T$20:$T$37</c:f>
              <c:strCache>
                <c:ptCount val="18"/>
                <c:pt idx="0">
                  <c:v>United States</c:v>
                </c:pt>
                <c:pt idx="1">
                  <c:v>United Kingdom</c:v>
                </c:pt>
                <c:pt idx="2">
                  <c:v>Switzerland</c:v>
                </c:pt>
                <c:pt idx="3">
                  <c:v>Japan</c:v>
                </c:pt>
                <c:pt idx="4">
                  <c:v>Singapore</c:v>
                </c:pt>
                <c:pt idx="5">
                  <c:v>France</c:v>
                </c:pt>
                <c:pt idx="6">
                  <c:v>Emirate of Dubai</c:v>
                </c:pt>
                <c:pt idx="7">
                  <c:v>Australia</c:v>
                </c:pt>
                <c:pt idx="8">
                  <c:v>Germany</c:v>
                </c:pt>
                <c:pt idx="9">
                  <c:v>South Africa</c:v>
                </c:pt>
                <c:pt idx="10">
                  <c:v>World</c:v>
                </c:pt>
                <c:pt idx="11">
                  <c:v>Brazil</c:v>
                </c:pt>
                <c:pt idx="12">
                  <c:v>China</c:v>
                </c:pt>
                <c:pt idx="13">
                  <c:v>Turkey</c:v>
                </c:pt>
                <c:pt idx="14">
                  <c:v>Egypt</c:v>
                </c:pt>
                <c:pt idx="15">
                  <c:v>India</c:v>
                </c:pt>
                <c:pt idx="16">
                  <c:v>United Arab Emirates</c:v>
                </c:pt>
                <c:pt idx="17">
                  <c:v>Saudi Arabia</c:v>
                </c:pt>
              </c:strCache>
            </c:strRef>
          </c:cat>
          <c:val>
            <c:numRef>
              <c:f>'Services in GDP'!$U$20:$U$37</c:f>
              <c:numCache>
                <c:formatCode>General</c:formatCode>
                <c:ptCount val="18"/>
                <c:pt idx="0">
                  <c:v>77.599209999999999</c:v>
                </c:pt>
                <c:pt idx="1">
                  <c:v>72.174473000000006</c:v>
                </c:pt>
                <c:pt idx="2">
                  <c:v>71.789133000000007</c:v>
                </c:pt>
                <c:pt idx="3">
                  <c:v>71.388509999999997</c:v>
                </c:pt>
                <c:pt idx="4">
                  <c:v>70.853309999999993</c:v>
                </c:pt>
                <c:pt idx="5">
                  <c:v>70.733645999999993</c:v>
                </c:pt>
                <c:pt idx="6">
                  <c:v>69.400000000000006</c:v>
                </c:pt>
                <c:pt idx="7">
                  <c:v>63.303519000000001</c:v>
                </c:pt>
                <c:pt idx="8">
                  <c:v>62.706400000000002</c:v>
                </c:pt>
                <c:pt idx="9">
                  <c:v>62.296664</c:v>
                </c:pt>
                <c:pt idx="10">
                  <c:v>61.701104999999998</c:v>
                </c:pt>
                <c:pt idx="11">
                  <c:v>58.909984000000001</c:v>
                </c:pt>
                <c:pt idx="12">
                  <c:v>52.775888000000002</c:v>
                </c:pt>
                <c:pt idx="13">
                  <c:v>51.737614999999998</c:v>
                </c:pt>
                <c:pt idx="14">
                  <c:v>51.428849999999997</c:v>
                </c:pt>
                <c:pt idx="15">
                  <c:v>48.443962999999997</c:v>
                </c:pt>
                <c:pt idx="16">
                  <c:v>47.711796999999997</c:v>
                </c:pt>
                <c:pt idx="17">
                  <c:v>39.765838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9D5-4979-931E-F351AA5754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221341719"/>
        <c:axId val="221336319"/>
      </c:barChart>
      <c:catAx>
        <c:axId val="22134171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defRPr>
            </a:pPr>
            <a:endParaRPr lang="en-US"/>
          </a:p>
        </c:txPr>
        <c:crossAx val="221336319"/>
        <c:crosses val="autoZero"/>
        <c:auto val="1"/>
        <c:lblAlgn val="ctr"/>
        <c:lblOffset val="100"/>
        <c:noMultiLvlLbl val="0"/>
      </c:catAx>
      <c:valAx>
        <c:axId val="221336319"/>
        <c:scaling>
          <c:orientation val="minMax"/>
          <c:max val="9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defRPr>
            </a:pPr>
            <a:endParaRPr lang="en-US"/>
          </a:p>
        </c:txPr>
        <c:crossAx val="221341719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2000">
          <a:solidFill>
            <a:sysClr val="windowText" lastClr="000000"/>
          </a:solidFill>
          <a:latin typeface="Aktiv Grotesk" panose="020B0504020202020204" pitchFamily="34" charset="0"/>
          <a:ea typeface="Aktiv Grotesk" panose="020B0504020202020204" pitchFamily="34" charset="0"/>
          <a:cs typeface="Aktiv Grotesk" panose="020B0504020202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4181714785651771E-2"/>
          <c:y val="0.14434396195525065"/>
          <c:w val="0.86744558180227471"/>
          <c:h val="0.38610535069254964"/>
        </c:manualLayout>
      </c:layout>
      <c:barChart>
        <c:barDir val="col"/>
        <c:grouping val="clustered"/>
        <c:varyColors val="0"/>
        <c:ser>
          <c:idx val="0"/>
          <c:order val="0"/>
          <c:tx>
            <c:v>Share of value transported by air (LHS)</c:v>
          </c:tx>
          <c:spPr>
            <a:solidFill>
              <a:schemeClr val="accent1"/>
            </a:solidFill>
            <a:ln w="15875">
              <a:noFill/>
            </a:ln>
            <a:effectLst/>
          </c:spPr>
          <c:invertIfNegative val="0"/>
          <c:cat>
            <c:strRef>
              <c:f>Sheet1!$B$3:$B$19</c:f>
              <c:strCache>
                <c:ptCount val="16"/>
                <c:pt idx="0">
                  <c:v>Misc edible goods</c:v>
                </c:pt>
                <c:pt idx="1">
                  <c:v>Feathers, artificial flowers</c:v>
                </c:pt>
                <c:pt idx="2">
                  <c:v>Electronics</c:v>
                </c:pt>
                <c:pt idx="3">
                  <c:v>Clocks and watches</c:v>
                </c:pt>
                <c:pt idx="4">
                  <c:v>Precious metals, jewelry</c:v>
                </c:pt>
                <c:pt idx="5">
                  <c:v>Optical instruments</c:v>
                </c:pt>
                <c:pt idx="6">
                  <c:v>Silk</c:v>
                </c:pt>
                <c:pt idx="7">
                  <c:v>Knitted apparel</c:v>
                </c:pt>
                <c:pt idx="8">
                  <c:v>Wool</c:v>
                </c:pt>
                <c:pt idx="9">
                  <c:v>Tools and cutlery</c:v>
                </c:pt>
                <c:pt idx="10">
                  <c:v>Knitted fabrics</c:v>
                </c:pt>
                <c:pt idx="11">
                  <c:v>Industrial plants</c:v>
                </c:pt>
                <c:pt idx="12">
                  <c:v>Art </c:v>
                </c:pt>
                <c:pt idx="13">
                  <c:v>Mechanical machinery</c:v>
                </c:pt>
                <c:pt idx="14">
                  <c:v>Zinc products</c:v>
                </c:pt>
                <c:pt idx="15">
                  <c:v>Ores and slag</c:v>
                </c:pt>
              </c:strCache>
            </c:strRef>
          </c:cat>
          <c:val>
            <c:numRef>
              <c:f>Sheet1!$C$3:$C$19</c:f>
              <c:numCache>
                <c:formatCode>0</c:formatCode>
                <c:ptCount val="16"/>
                <c:pt idx="0">
                  <c:v>6.8977098476079162</c:v>
                </c:pt>
                <c:pt idx="1">
                  <c:v>19.655675049128877</c:v>
                </c:pt>
                <c:pt idx="2">
                  <c:v>51.904036813942625</c:v>
                </c:pt>
                <c:pt idx="3">
                  <c:v>49.152658166848603</c:v>
                </c:pt>
                <c:pt idx="4">
                  <c:v>58.948870886778224</c:v>
                </c:pt>
                <c:pt idx="5">
                  <c:v>40.188307532464307</c:v>
                </c:pt>
                <c:pt idx="6">
                  <c:v>68.018996036438466</c:v>
                </c:pt>
                <c:pt idx="7">
                  <c:v>9.9559117956814127</c:v>
                </c:pt>
                <c:pt idx="8">
                  <c:v>37.338752022354107</c:v>
                </c:pt>
                <c:pt idx="9">
                  <c:v>6.2117270083250453</c:v>
                </c:pt>
                <c:pt idx="10">
                  <c:v>2.9432932488553489</c:v>
                </c:pt>
                <c:pt idx="11">
                  <c:v>56.091465107743097</c:v>
                </c:pt>
                <c:pt idx="12">
                  <c:v>66.632912720992465</c:v>
                </c:pt>
                <c:pt idx="13">
                  <c:v>36.376204748314677</c:v>
                </c:pt>
                <c:pt idx="14">
                  <c:v>6.9702025060476789</c:v>
                </c:pt>
                <c:pt idx="15">
                  <c:v>5.13914965571787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DF-471F-943C-818220CCC0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6916279"/>
        <c:axId val="106918439"/>
      </c:barChart>
      <c:lineChart>
        <c:grouping val="standard"/>
        <c:varyColors val="0"/>
        <c:ser>
          <c:idx val="1"/>
          <c:order val="1"/>
          <c:tx>
            <c:v>Value transported by air (RHS)</c:v>
          </c:tx>
          <c:spPr>
            <a:ln w="28575" cap="rnd">
              <a:noFill/>
              <a:round/>
            </a:ln>
            <a:effectLst/>
          </c:spPr>
          <c:marker>
            <c:symbol val="squar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B$3:$B$19</c:f>
              <c:strCache>
                <c:ptCount val="16"/>
                <c:pt idx="0">
                  <c:v>Misc edible goods</c:v>
                </c:pt>
                <c:pt idx="1">
                  <c:v>Feathers, artificial flowers</c:v>
                </c:pt>
                <c:pt idx="2">
                  <c:v>Electronics</c:v>
                </c:pt>
                <c:pt idx="3">
                  <c:v>Clocks and watches</c:v>
                </c:pt>
                <c:pt idx="4">
                  <c:v>Precious metals, jewelry</c:v>
                </c:pt>
                <c:pt idx="5">
                  <c:v>Optical instruments</c:v>
                </c:pt>
                <c:pt idx="6">
                  <c:v>Silk</c:v>
                </c:pt>
                <c:pt idx="7">
                  <c:v>Knitted apparel</c:v>
                </c:pt>
                <c:pt idx="8">
                  <c:v>Wool</c:v>
                </c:pt>
                <c:pt idx="9">
                  <c:v>Tools and cutlery</c:v>
                </c:pt>
                <c:pt idx="10">
                  <c:v>Knitted fabrics</c:v>
                </c:pt>
                <c:pt idx="11">
                  <c:v>Industrial plants</c:v>
                </c:pt>
                <c:pt idx="12">
                  <c:v>Art </c:v>
                </c:pt>
                <c:pt idx="13">
                  <c:v>Mechanical machinery</c:v>
                </c:pt>
                <c:pt idx="14">
                  <c:v>Zinc products</c:v>
                </c:pt>
                <c:pt idx="15">
                  <c:v>Ores and slag</c:v>
                </c:pt>
              </c:strCache>
            </c:strRef>
          </c:cat>
          <c:val>
            <c:numRef>
              <c:f>Sheet1!$E$3:$E$19</c:f>
              <c:numCache>
                <c:formatCode>#,##0_);\(#,##0\);"-  ";" "@" "</c:formatCode>
                <c:ptCount val="16"/>
                <c:pt idx="0">
                  <c:v>8533191550.3704844</c:v>
                </c:pt>
                <c:pt idx="1">
                  <c:v>6199887788.7230043</c:v>
                </c:pt>
                <c:pt idx="2">
                  <c:v>5572156951.3831968</c:v>
                </c:pt>
                <c:pt idx="3">
                  <c:v>2551512216.0628834</c:v>
                </c:pt>
                <c:pt idx="4">
                  <c:v>2393796041.3566899</c:v>
                </c:pt>
                <c:pt idx="5">
                  <c:v>1062713256.5321847</c:v>
                </c:pt>
                <c:pt idx="6">
                  <c:v>855138725.18123674</c:v>
                </c:pt>
                <c:pt idx="7">
                  <c:v>807589091.32637417</c:v>
                </c:pt>
                <c:pt idx="8">
                  <c:v>629982258.87921202</c:v>
                </c:pt>
                <c:pt idx="9">
                  <c:v>591715149.91896999</c:v>
                </c:pt>
                <c:pt idx="10">
                  <c:v>535167013.78139657</c:v>
                </c:pt>
                <c:pt idx="11">
                  <c:v>504271700.8548097</c:v>
                </c:pt>
                <c:pt idx="12">
                  <c:v>497179210.74966538</c:v>
                </c:pt>
                <c:pt idx="13">
                  <c:v>425248493.91836214</c:v>
                </c:pt>
                <c:pt idx="14">
                  <c:v>413420592.33970696</c:v>
                </c:pt>
                <c:pt idx="15">
                  <c:v>240128366.350092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4DF-471F-943C-818220CCC0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47146152"/>
        <c:axId val="1547143272"/>
      </c:lineChart>
      <c:catAx>
        <c:axId val="10691627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8439"/>
        <c:crosses val="autoZero"/>
        <c:auto val="1"/>
        <c:lblAlgn val="ctr"/>
        <c:lblOffset val="100"/>
        <c:noMultiLvlLbl val="0"/>
      </c:catAx>
      <c:valAx>
        <c:axId val="106918439"/>
        <c:scaling>
          <c:orientation val="minMax"/>
        </c:scaling>
        <c:delete val="0"/>
        <c:axPos val="l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l-PL"/>
                  <a:t>%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5.8932808398950133E-2"/>
              <c:y val="2.228528364647488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8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out"/>
        <c:minorTickMark val="none"/>
        <c:tickLblPos val="nextTo"/>
        <c:spPr>
          <a:noFill/>
          <a:ln w="9525"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6279"/>
        <c:crosses val="autoZero"/>
        <c:crossBetween val="between"/>
        <c:majorUnit val="20"/>
      </c:valAx>
      <c:valAx>
        <c:axId val="1547143272"/>
        <c:scaling>
          <c:orientation val="minMax"/>
        </c:scaling>
        <c:delete val="0"/>
        <c:axPos val="r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l-PL"/>
                  <a:t>USD billion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0.89473333333333338"/>
              <c:y val="1.8033055274031339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8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9525"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47146152"/>
        <c:crosses val="max"/>
        <c:crossBetween val="between"/>
        <c:dispUnits>
          <c:builtInUnit val="b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catAx>
        <c:axId val="15471461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4714327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491758530183727"/>
          <c:y val="4.2429690830956664E-2"/>
          <c:w val="0.80276759259259256"/>
          <c:h val="0.136370662000583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1886841251503589E-2"/>
          <c:y val="0.10816468253968252"/>
          <c:w val="0.8768155491960854"/>
          <c:h val="0.72320780351141434"/>
        </c:manualLayout>
      </c:layout>
      <c:lineChart>
        <c:grouping val="standard"/>
        <c:varyColors val="0"/>
        <c:ser>
          <c:idx val="0"/>
          <c:order val="0"/>
          <c:tx>
            <c:strRef>
              <c:f>FXHC!$T$11</c:f>
              <c:strCache>
                <c:ptCount val="1"/>
                <c:pt idx="0">
                  <c:v>Egypt</c:v>
                </c:pt>
              </c:strCache>
            </c:strRef>
          </c:tx>
          <c:spPr>
            <a:ln w="158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FXHC!$S$12:$S$1258</c:f>
              <c:numCache>
                <c:formatCode>m/d/yyyy</c:formatCode>
                <c:ptCount val="1247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  <c:pt idx="243">
                  <c:v>44805</c:v>
                </c:pt>
                <c:pt idx="244">
                  <c:v>44806</c:v>
                </c:pt>
                <c:pt idx="245">
                  <c:v>44807</c:v>
                </c:pt>
                <c:pt idx="246">
                  <c:v>44808</c:v>
                </c:pt>
                <c:pt idx="247">
                  <c:v>44809</c:v>
                </c:pt>
                <c:pt idx="248">
                  <c:v>44810</c:v>
                </c:pt>
                <c:pt idx="249">
                  <c:v>44811</c:v>
                </c:pt>
                <c:pt idx="250">
                  <c:v>44812</c:v>
                </c:pt>
                <c:pt idx="251">
                  <c:v>44813</c:v>
                </c:pt>
                <c:pt idx="252">
                  <c:v>44814</c:v>
                </c:pt>
                <c:pt idx="253">
                  <c:v>44815</c:v>
                </c:pt>
                <c:pt idx="254">
                  <c:v>44816</c:v>
                </c:pt>
                <c:pt idx="255">
                  <c:v>44817</c:v>
                </c:pt>
                <c:pt idx="256">
                  <c:v>44818</c:v>
                </c:pt>
                <c:pt idx="257">
                  <c:v>44819</c:v>
                </c:pt>
                <c:pt idx="258">
                  <c:v>44820</c:v>
                </c:pt>
                <c:pt idx="259">
                  <c:v>44821</c:v>
                </c:pt>
                <c:pt idx="260">
                  <c:v>44822</c:v>
                </c:pt>
                <c:pt idx="261">
                  <c:v>44823</c:v>
                </c:pt>
                <c:pt idx="262">
                  <c:v>44824</c:v>
                </c:pt>
                <c:pt idx="263">
                  <c:v>44825</c:v>
                </c:pt>
                <c:pt idx="264">
                  <c:v>44826</c:v>
                </c:pt>
                <c:pt idx="265">
                  <c:v>44827</c:v>
                </c:pt>
                <c:pt idx="266">
                  <c:v>44828</c:v>
                </c:pt>
                <c:pt idx="267">
                  <c:v>44829</c:v>
                </c:pt>
                <c:pt idx="268">
                  <c:v>44830</c:v>
                </c:pt>
                <c:pt idx="269">
                  <c:v>44831</c:v>
                </c:pt>
                <c:pt idx="270">
                  <c:v>44832</c:v>
                </c:pt>
                <c:pt idx="271">
                  <c:v>44833</c:v>
                </c:pt>
                <c:pt idx="272">
                  <c:v>44834</c:v>
                </c:pt>
                <c:pt idx="273">
                  <c:v>44835</c:v>
                </c:pt>
                <c:pt idx="274">
                  <c:v>44836</c:v>
                </c:pt>
                <c:pt idx="275">
                  <c:v>44837</c:v>
                </c:pt>
                <c:pt idx="276">
                  <c:v>44838</c:v>
                </c:pt>
                <c:pt idx="277">
                  <c:v>44839</c:v>
                </c:pt>
                <c:pt idx="278">
                  <c:v>44840</c:v>
                </c:pt>
                <c:pt idx="279">
                  <c:v>44841</c:v>
                </c:pt>
                <c:pt idx="280">
                  <c:v>44842</c:v>
                </c:pt>
                <c:pt idx="281">
                  <c:v>44843</c:v>
                </c:pt>
                <c:pt idx="282">
                  <c:v>44844</c:v>
                </c:pt>
                <c:pt idx="283">
                  <c:v>44845</c:v>
                </c:pt>
                <c:pt idx="284">
                  <c:v>44846</c:v>
                </c:pt>
                <c:pt idx="285">
                  <c:v>44847</c:v>
                </c:pt>
                <c:pt idx="286">
                  <c:v>44848</c:v>
                </c:pt>
                <c:pt idx="287">
                  <c:v>44849</c:v>
                </c:pt>
                <c:pt idx="288">
                  <c:v>44850</c:v>
                </c:pt>
                <c:pt idx="289">
                  <c:v>44851</c:v>
                </c:pt>
                <c:pt idx="290">
                  <c:v>44852</c:v>
                </c:pt>
                <c:pt idx="291">
                  <c:v>44853</c:v>
                </c:pt>
                <c:pt idx="292">
                  <c:v>44854</c:v>
                </c:pt>
                <c:pt idx="293">
                  <c:v>44855</c:v>
                </c:pt>
                <c:pt idx="294">
                  <c:v>44856</c:v>
                </c:pt>
                <c:pt idx="295">
                  <c:v>44857</c:v>
                </c:pt>
                <c:pt idx="296">
                  <c:v>44858</c:v>
                </c:pt>
                <c:pt idx="297">
                  <c:v>44859</c:v>
                </c:pt>
                <c:pt idx="298">
                  <c:v>44860</c:v>
                </c:pt>
                <c:pt idx="299">
                  <c:v>44861</c:v>
                </c:pt>
                <c:pt idx="300">
                  <c:v>44862</c:v>
                </c:pt>
                <c:pt idx="301">
                  <c:v>44863</c:v>
                </c:pt>
                <c:pt idx="302">
                  <c:v>44864</c:v>
                </c:pt>
                <c:pt idx="303">
                  <c:v>44865</c:v>
                </c:pt>
                <c:pt idx="304">
                  <c:v>44866</c:v>
                </c:pt>
                <c:pt idx="305">
                  <c:v>44867</c:v>
                </c:pt>
                <c:pt idx="306">
                  <c:v>44868</c:v>
                </c:pt>
                <c:pt idx="307">
                  <c:v>44869</c:v>
                </c:pt>
                <c:pt idx="308">
                  <c:v>44870</c:v>
                </c:pt>
                <c:pt idx="309">
                  <c:v>44871</c:v>
                </c:pt>
                <c:pt idx="310">
                  <c:v>44872</c:v>
                </c:pt>
                <c:pt idx="311">
                  <c:v>44873</c:v>
                </c:pt>
                <c:pt idx="312">
                  <c:v>44874</c:v>
                </c:pt>
                <c:pt idx="313">
                  <c:v>44875</c:v>
                </c:pt>
                <c:pt idx="314">
                  <c:v>44876</c:v>
                </c:pt>
                <c:pt idx="315">
                  <c:v>44877</c:v>
                </c:pt>
                <c:pt idx="316">
                  <c:v>44878</c:v>
                </c:pt>
                <c:pt idx="317">
                  <c:v>44879</c:v>
                </c:pt>
                <c:pt idx="318">
                  <c:v>44880</c:v>
                </c:pt>
                <c:pt idx="319">
                  <c:v>44881</c:v>
                </c:pt>
                <c:pt idx="320">
                  <c:v>44882</c:v>
                </c:pt>
                <c:pt idx="321">
                  <c:v>44883</c:v>
                </c:pt>
                <c:pt idx="322">
                  <c:v>44884</c:v>
                </c:pt>
                <c:pt idx="323">
                  <c:v>44885</c:v>
                </c:pt>
                <c:pt idx="324">
                  <c:v>44886</c:v>
                </c:pt>
                <c:pt idx="325">
                  <c:v>44887</c:v>
                </c:pt>
                <c:pt idx="326">
                  <c:v>44888</c:v>
                </c:pt>
                <c:pt idx="327">
                  <c:v>44889</c:v>
                </c:pt>
                <c:pt idx="328">
                  <c:v>44890</c:v>
                </c:pt>
                <c:pt idx="329">
                  <c:v>44891</c:v>
                </c:pt>
                <c:pt idx="330">
                  <c:v>44892</c:v>
                </c:pt>
                <c:pt idx="331">
                  <c:v>44893</c:v>
                </c:pt>
                <c:pt idx="332">
                  <c:v>44894</c:v>
                </c:pt>
                <c:pt idx="333">
                  <c:v>44895</c:v>
                </c:pt>
                <c:pt idx="334">
                  <c:v>44896</c:v>
                </c:pt>
                <c:pt idx="335">
                  <c:v>44897</c:v>
                </c:pt>
                <c:pt idx="336">
                  <c:v>44898</c:v>
                </c:pt>
                <c:pt idx="337">
                  <c:v>44899</c:v>
                </c:pt>
                <c:pt idx="338">
                  <c:v>44900</c:v>
                </c:pt>
                <c:pt idx="339">
                  <c:v>44901</c:v>
                </c:pt>
                <c:pt idx="340">
                  <c:v>44902</c:v>
                </c:pt>
                <c:pt idx="341">
                  <c:v>44903</c:v>
                </c:pt>
                <c:pt idx="342">
                  <c:v>44904</c:v>
                </c:pt>
                <c:pt idx="343">
                  <c:v>44905</c:v>
                </c:pt>
                <c:pt idx="344">
                  <c:v>44906</c:v>
                </c:pt>
                <c:pt idx="345">
                  <c:v>44907</c:v>
                </c:pt>
                <c:pt idx="346">
                  <c:v>44908</c:v>
                </c:pt>
                <c:pt idx="347">
                  <c:v>44909</c:v>
                </c:pt>
                <c:pt idx="348">
                  <c:v>44910</c:v>
                </c:pt>
                <c:pt idx="349">
                  <c:v>44911</c:v>
                </c:pt>
                <c:pt idx="350">
                  <c:v>44912</c:v>
                </c:pt>
                <c:pt idx="351">
                  <c:v>44913</c:v>
                </c:pt>
                <c:pt idx="352">
                  <c:v>44914</c:v>
                </c:pt>
                <c:pt idx="353">
                  <c:v>44915</c:v>
                </c:pt>
                <c:pt idx="354">
                  <c:v>44916</c:v>
                </c:pt>
                <c:pt idx="355">
                  <c:v>44917</c:v>
                </c:pt>
                <c:pt idx="356">
                  <c:v>44918</c:v>
                </c:pt>
                <c:pt idx="357">
                  <c:v>44919</c:v>
                </c:pt>
                <c:pt idx="358">
                  <c:v>44920</c:v>
                </c:pt>
                <c:pt idx="359">
                  <c:v>44921</c:v>
                </c:pt>
                <c:pt idx="360">
                  <c:v>44922</c:v>
                </c:pt>
                <c:pt idx="361">
                  <c:v>44923</c:v>
                </c:pt>
                <c:pt idx="362">
                  <c:v>44924</c:v>
                </c:pt>
                <c:pt idx="363">
                  <c:v>44925</c:v>
                </c:pt>
                <c:pt idx="364">
                  <c:v>44926</c:v>
                </c:pt>
                <c:pt idx="365">
                  <c:v>44927</c:v>
                </c:pt>
                <c:pt idx="366">
                  <c:v>44928</c:v>
                </c:pt>
                <c:pt idx="367">
                  <c:v>44929</c:v>
                </c:pt>
                <c:pt idx="368">
                  <c:v>44930</c:v>
                </c:pt>
                <c:pt idx="369">
                  <c:v>44931</c:v>
                </c:pt>
                <c:pt idx="370">
                  <c:v>44932</c:v>
                </c:pt>
                <c:pt idx="371">
                  <c:v>44933</c:v>
                </c:pt>
                <c:pt idx="372">
                  <c:v>44934</c:v>
                </c:pt>
                <c:pt idx="373">
                  <c:v>44935</c:v>
                </c:pt>
                <c:pt idx="374">
                  <c:v>44936</c:v>
                </c:pt>
                <c:pt idx="375">
                  <c:v>44937</c:v>
                </c:pt>
                <c:pt idx="376">
                  <c:v>44938</c:v>
                </c:pt>
                <c:pt idx="377">
                  <c:v>44939</c:v>
                </c:pt>
                <c:pt idx="378">
                  <c:v>44940</c:v>
                </c:pt>
                <c:pt idx="379">
                  <c:v>44941</c:v>
                </c:pt>
                <c:pt idx="380">
                  <c:v>44942</c:v>
                </c:pt>
                <c:pt idx="381">
                  <c:v>44943</c:v>
                </c:pt>
                <c:pt idx="382">
                  <c:v>44944</c:v>
                </c:pt>
                <c:pt idx="383">
                  <c:v>44945</c:v>
                </c:pt>
                <c:pt idx="384">
                  <c:v>44946</c:v>
                </c:pt>
                <c:pt idx="385">
                  <c:v>44947</c:v>
                </c:pt>
                <c:pt idx="386">
                  <c:v>44948</c:v>
                </c:pt>
                <c:pt idx="387">
                  <c:v>44949</c:v>
                </c:pt>
                <c:pt idx="388">
                  <c:v>44950</c:v>
                </c:pt>
                <c:pt idx="389">
                  <c:v>44951</c:v>
                </c:pt>
                <c:pt idx="390">
                  <c:v>44952</c:v>
                </c:pt>
                <c:pt idx="391">
                  <c:v>44953</c:v>
                </c:pt>
                <c:pt idx="392">
                  <c:v>44954</c:v>
                </c:pt>
                <c:pt idx="393">
                  <c:v>44955</c:v>
                </c:pt>
                <c:pt idx="394">
                  <c:v>44956</c:v>
                </c:pt>
                <c:pt idx="395">
                  <c:v>44957</c:v>
                </c:pt>
                <c:pt idx="396">
                  <c:v>44958</c:v>
                </c:pt>
                <c:pt idx="397">
                  <c:v>44959</c:v>
                </c:pt>
                <c:pt idx="398">
                  <c:v>44960</c:v>
                </c:pt>
                <c:pt idx="399">
                  <c:v>44961</c:v>
                </c:pt>
                <c:pt idx="400">
                  <c:v>44962</c:v>
                </c:pt>
                <c:pt idx="401">
                  <c:v>44963</c:v>
                </c:pt>
                <c:pt idx="402">
                  <c:v>44964</c:v>
                </c:pt>
                <c:pt idx="403">
                  <c:v>44965</c:v>
                </c:pt>
                <c:pt idx="404">
                  <c:v>44966</c:v>
                </c:pt>
                <c:pt idx="405">
                  <c:v>44967</c:v>
                </c:pt>
                <c:pt idx="406">
                  <c:v>44968</c:v>
                </c:pt>
                <c:pt idx="407">
                  <c:v>44969</c:v>
                </c:pt>
                <c:pt idx="408">
                  <c:v>44970</c:v>
                </c:pt>
                <c:pt idx="409">
                  <c:v>44971</c:v>
                </c:pt>
                <c:pt idx="410">
                  <c:v>44972</c:v>
                </c:pt>
                <c:pt idx="411">
                  <c:v>44973</c:v>
                </c:pt>
                <c:pt idx="412">
                  <c:v>44974</c:v>
                </c:pt>
                <c:pt idx="413">
                  <c:v>44975</c:v>
                </c:pt>
                <c:pt idx="414">
                  <c:v>44976</c:v>
                </c:pt>
                <c:pt idx="415">
                  <c:v>44977</c:v>
                </c:pt>
                <c:pt idx="416">
                  <c:v>44978</c:v>
                </c:pt>
                <c:pt idx="417">
                  <c:v>44979</c:v>
                </c:pt>
                <c:pt idx="418">
                  <c:v>44980</c:v>
                </c:pt>
                <c:pt idx="419">
                  <c:v>44981</c:v>
                </c:pt>
                <c:pt idx="420">
                  <c:v>44982</c:v>
                </c:pt>
                <c:pt idx="421">
                  <c:v>44983</c:v>
                </c:pt>
                <c:pt idx="422">
                  <c:v>44984</c:v>
                </c:pt>
                <c:pt idx="423">
                  <c:v>44985</c:v>
                </c:pt>
                <c:pt idx="424">
                  <c:v>44986</c:v>
                </c:pt>
                <c:pt idx="425">
                  <c:v>44987</c:v>
                </c:pt>
                <c:pt idx="426">
                  <c:v>44988</c:v>
                </c:pt>
                <c:pt idx="427">
                  <c:v>44989</c:v>
                </c:pt>
                <c:pt idx="428">
                  <c:v>44990</c:v>
                </c:pt>
                <c:pt idx="429">
                  <c:v>44991</c:v>
                </c:pt>
                <c:pt idx="430">
                  <c:v>44992</c:v>
                </c:pt>
                <c:pt idx="431">
                  <c:v>44993</c:v>
                </c:pt>
                <c:pt idx="432">
                  <c:v>44994</c:v>
                </c:pt>
                <c:pt idx="433">
                  <c:v>44995</c:v>
                </c:pt>
                <c:pt idx="434">
                  <c:v>44996</c:v>
                </c:pt>
                <c:pt idx="435">
                  <c:v>44997</c:v>
                </c:pt>
                <c:pt idx="436">
                  <c:v>44998</c:v>
                </c:pt>
                <c:pt idx="437">
                  <c:v>44999</c:v>
                </c:pt>
                <c:pt idx="438">
                  <c:v>45000</c:v>
                </c:pt>
                <c:pt idx="439">
                  <c:v>45001</c:v>
                </c:pt>
                <c:pt idx="440">
                  <c:v>45002</c:v>
                </c:pt>
                <c:pt idx="441">
                  <c:v>45003</c:v>
                </c:pt>
                <c:pt idx="442">
                  <c:v>45004</c:v>
                </c:pt>
                <c:pt idx="443">
                  <c:v>45005</c:v>
                </c:pt>
                <c:pt idx="444">
                  <c:v>45006</c:v>
                </c:pt>
                <c:pt idx="445">
                  <c:v>45007</c:v>
                </c:pt>
                <c:pt idx="446">
                  <c:v>45008</c:v>
                </c:pt>
                <c:pt idx="447">
                  <c:v>45009</c:v>
                </c:pt>
                <c:pt idx="448">
                  <c:v>45010</c:v>
                </c:pt>
                <c:pt idx="449">
                  <c:v>45011</c:v>
                </c:pt>
                <c:pt idx="450">
                  <c:v>45012</c:v>
                </c:pt>
                <c:pt idx="451">
                  <c:v>45013</c:v>
                </c:pt>
                <c:pt idx="452">
                  <c:v>45014</c:v>
                </c:pt>
                <c:pt idx="453">
                  <c:v>45015</c:v>
                </c:pt>
                <c:pt idx="454">
                  <c:v>45016</c:v>
                </c:pt>
                <c:pt idx="455">
                  <c:v>45017</c:v>
                </c:pt>
                <c:pt idx="456">
                  <c:v>45018</c:v>
                </c:pt>
                <c:pt idx="457">
                  <c:v>45019</c:v>
                </c:pt>
                <c:pt idx="458">
                  <c:v>45020</c:v>
                </c:pt>
                <c:pt idx="459">
                  <c:v>45021</c:v>
                </c:pt>
                <c:pt idx="460">
                  <c:v>45022</c:v>
                </c:pt>
                <c:pt idx="461">
                  <c:v>45023</c:v>
                </c:pt>
                <c:pt idx="462">
                  <c:v>45024</c:v>
                </c:pt>
                <c:pt idx="463">
                  <c:v>45025</c:v>
                </c:pt>
                <c:pt idx="464">
                  <c:v>45026</c:v>
                </c:pt>
                <c:pt idx="465">
                  <c:v>45027</c:v>
                </c:pt>
                <c:pt idx="466">
                  <c:v>45028</c:v>
                </c:pt>
                <c:pt idx="467">
                  <c:v>45029</c:v>
                </c:pt>
                <c:pt idx="468">
                  <c:v>45030</c:v>
                </c:pt>
                <c:pt idx="469">
                  <c:v>45031</c:v>
                </c:pt>
                <c:pt idx="470">
                  <c:v>45032</c:v>
                </c:pt>
                <c:pt idx="471">
                  <c:v>45033</c:v>
                </c:pt>
                <c:pt idx="472">
                  <c:v>45034</c:v>
                </c:pt>
                <c:pt idx="473">
                  <c:v>45035</c:v>
                </c:pt>
                <c:pt idx="474">
                  <c:v>45036</c:v>
                </c:pt>
                <c:pt idx="475">
                  <c:v>45037</c:v>
                </c:pt>
                <c:pt idx="476">
                  <c:v>45038</c:v>
                </c:pt>
                <c:pt idx="477">
                  <c:v>45039</c:v>
                </c:pt>
                <c:pt idx="478">
                  <c:v>45040</c:v>
                </c:pt>
                <c:pt idx="479">
                  <c:v>45041</c:v>
                </c:pt>
                <c:pt idx="480">
                  <c:v>45042</c:v>
                </c:pt>
                <c:pt idx="481">
                  <c:v>45043</c:v>
                </c:pt>
                <c:pt idx="482">
                  <c:v>45044</c:v>
                </c:pt>
                <c:pt idx="483">
                  <c:v>45045</c:v>
                </c:pt>
                <c:pt idx="484">
                  <c:v>45046</c:v>
                </c:pt>
                <c:pt idx="485">
                  <c:v>45047</c:v>
                </c:pt>
                <c:pt idx="486">
                  <c:v>45048</c:v>
                </c:pt>
                <c:pt idx="487">
                  <c:v>45049</c:v>
                </c:pt>
                <c:pt idx="488">
                  <c:v>45050</c:v>
                </c:pt>
                <c:pt idx="489">
                  <c:v>45051</c:v>
                </c:pt>
                <c:pt idx="490">
                  <c:v>45052</c:v>
                </c:pt>
                <c:pt idx="491">
                  <c:v>45053</c:v>
                </c:pt>
                <c:pt idx="492">
                  <c:v>45054</c:v>
                </c:pt>
                <c:pt idx="493">
                  <c:v>45055</c:v>
                </c:pt>
                <c:pt idx="494">
                  <c:v>45056</c:v>
                </c:pt>
                <c:pt idx="495">
                  <c:v>45057</c:v>
                </c:pt>
                <c:pt idx="496">
                  <c:v>45058</c:v>
                </c:pt>
                <c:pt idx="497">
                  <c:v>45059</c:v>
                </c:pt>
                <c:pt idx="498">
                  <c:v>45060</c:v>
                </c:pt>
                <c:pt idx="499">
                  <c:v>45061</c:v>
                </c:pt>
                <c:pt idx="500">
                  <c:v>45062</c:v>
                </c:pt>
                <c:pt idx="501">
                  <c:v>45063</c:v>
                </c:pt>
                <c:pt idx="502">
                  <c:v>45064</c:v>
                </c:pt>
                <c:pt idx="503">
                  <c:v>45065</c:v>
                </c:pt>
                <c:pt idx="504">
                  <c:v>45066</c:v>
                </c:pt>
                <c:pt idx="505">
                  <c:v>45067</c:v>
                </c:pt>
                <c:pt idx="506">
                  <c:v>45068</c:v>
                </c:pt>
                <c:pt idx="507">
                  <c:v>45069</c:v>
                </c:pt>
                <c:pt idx="508">
                  <c:v>45070</c:v>
                </c:pt>
                <c:pt idx="509">
                  <c:v>45071</c:v>
                </c:pt>
                <c:pt idx="510">
                  <c:v>45072</c:v>
                </c:pt>
                <c:pt idx="511">
                  <c:v>45073</c:v>
                </c:pt>
                <c:pt idx="512">
                  <c:v>45074</c:v>
                </c:pt>
                <c:pt idx="513">
                  <c:v>45075</c:v>
                </c:pt>
                <c:pt idx="514">
                  <c:v>45076</c:v>
                </c:pt>
                <c:pt idx="515">
                  <c:v>45077</c:v>
                </c:pt>
                <c:pt idx="516">
                  <c:v>45078</c:v>
                </c:pt>
                <c:pt idx="517">
                  <c:v>45079</c:v>
                </c:pt>
                <c:pt idx="518">
                  <c:v>45080</c:v>
                </c:pt>
                <c:pt idx="519">
                  <c:v>45081</c:v>
                </c:pt>
                <c:pt idx="520">
                  <c:v>45082</c:v>
                </c:pt>
                <c:pt idx="521">
                  <c:v>45083</c:v>
                </c:pt>
                <c:pt idx="522">
                  <c:v>45084</c:v>
                </c:pt>
                <c:pt idx="523">
                  <c:v>45085</c:v>
                </c:pt>
                <c:pt idx="524">
                  <c:v>45086</c:v>
                </c:pt>
                <c:pt idx="525">
                  <c:v>45087</c:v>
                </c:pt>
                <c:pt idx="526">
                  <c:v>45088</c:v>
                </c:pt>
                <c:pt idx="527">
                  <c:v>45089</c:v>
                </c:pt>
                <c:pt idx="528">
                  <c:v>45090</c:v>
                </c:pt>
                <c:pt idx="529">
                  <c:v>45091</c:v>
                </c:pt>
                <c:pt idx="530">
                  <c:v>45092</c:v>
                </c:pt>
                <c:pt idx="531">
                  <c:v>45093</c:v>
                </c:pt>
                <c:pt idx="532">
                  <c:v>45094</c:v>
                </c:pt>
                <c:pt idx="533">
                  <c:v>45095</c:v>
                </c:pt>
                <c:pt idx="534">
                  <c:v>45096</c:v>
                </c:pt>
                <c:pt idx="535">
                  <c:v>45097</c:v>
                </c:pt>
                <c:pt idx="536">
                  <c:v>45098</c:v>
                </c:pt>
                <c:pt idx="537">
                  <c:v>45099</c:v>
                </c:pt>
                <c:pt idx="538">
                  <c:v>45100</c:v>
                </c:pt>
                <c:pt idx="539">
                  <c:v>45101</c:v>
                </c:pt>
                <c:pt idx="540">
                  <c:v>45102</c:v>
                </c:pt>
                <c:pt idx="541">
                  <c:v>45103</c:v>
                </c:pt>
                <c:pt idx="542">
                  <c:v>45104</c:v>
                </c:pt>
                <c:pt idx="543">
                  <c:v>45105</c:v>
                </c:pt>
                <c:pt idx="544">
                  <c:v>45106</c:v>
                </c:pt>
                <c:pt idx="545">
                  <c:v>45107</c:v>
                </c:pt>
                <c:pt idx="546">
                  <c:v>45108</c:v>
                </c:pt>
                <c:pt idx="547">
                  <c:v>45109</c:v>
                </c:pt>
                <c:pt idx="548">
                  <c:v>45110</c:v>
                </c:pt>
                <c:pt idx="549">
                  <c:v>45111</c:v>
                </c:pt>
                <c:pt idx="550">
                  <c:v>45112</c:v>
                </c:pt>
                <c:pt idx="551">
                  <c:v>45113</c:v>
                </c:pt>
                <c:pt idx="552">
                  <c:v>45114</c:v>
                </c:pt>
                <c:pt idx="553">
                  <c:v>45115</c:v>
                </c:pt>
                <c:pt idx="554">
                  <c:v>45116</c:v>
                </c:pt>
                <c:pt idx="555">
                  <c:v>45117</c:v>
                </c:pt>
                <c:pt idx="556">
                  <c:v>45118</c:v>
                </c:pt>
                <c:pt idx="557">
                  <c:v>45119</c:v>
                </c:pt>
                <c:pt idx="558">
                  <c:v>45120</c:v>
                </c:pt>
                <c:pt idx="559">
                  <c:v>45121</c:v>
                </c:pt>
                <c:pt idx="560">
                  <c:v>45122</c:v>
                </c:pt>
                <c:pt idx="561">
                  <c:v>45123</c:v>
                </c:pt>
                <c:pt idx="562">
                  <c:v>45124</c:v>
                </c:pt>
                <c:pt idx="563">
                  <c:v>45125</c:v>
                </c:pt>
                <c:pt idx="564">
                  <c:v>45126</c:v>
                </c:pt>
                <c:pt idx="565">
                  <c:v>45127</c:v>
                </c:pt>
                <c:pt idx="566">
                  <c:v>45128</c:v>
                </c:pt>
                <c:pt idx="567">
                  <c:v>45129</c:v>
                </c:pt>
                <c:pt idx="568">
                  <c:v>45130</c:v>
                </c:pt>
                <c:pt idx="569">
                  <c:v>45131</c:v>
                </c:pt>
                <c:pt idx="570">
                  <c:v>45132</c:v>
                </c:pt>
                <c:pt idx="571">
                  <c:v>45133</c:v>
                </c:pt>
                <c:pt idx="572">
                  <c:v>45134</c:v>
                </c:pt>
                <c:pt idx="573">
                  <c:v>45135</c:v>
                </c:pt>
                <c:pt idx="574">
                  <c:v>45136</c:v>
                </c:pt>
                <c:pt idx="575">
                  <c:v>45137</c:v>
                </c:pt>
                <c:pt idx="576">
                  <c:v>45138</c:v>
                </c:pt>
                <c:pt idx="577">
                  <c:v>45139</c:v>
                </c:pt>
                <c:pt idx="578">
                  <c:v>45140</c:v>
                </c:pt>
                <c:pt idx="579">
                  <c:v>45141</c:v>
                </c:pt>
                <c:pt idx="580">
                  <c:v>45142</c:v>
                </c:pt>
                <c:pt idx="581">
                  <c:v>45143</c:v>
                </c:pt>
                <c:pt idx="582">
                  <c:v>45144</c:v>
                </c:pt>
                <c:pt idx="583">
                  <c:v>45145</c:v>
                </c:pt>
                <c:pt idx="584">
                  <c:v>45146</c:v>
                </c:pt>
                <c:pt idx="585">
                  <c:v>45147</c:v>
                </c:pt>
                <c:pt idx="586">
                  <c:v>45148</c:v>
                </c:pt>
                <c:pt idx="587">
                  <c:v>45149</c:v>
                </c:pt>
                <c:pt idx="588">
                  <c:v>45150</c:v>
                </c:pt>
                <c:pt idx="589">
                  <c:v>45151</c:v>
                </c:pt>
                <c:pt idx="590">
                  <c:v>45152</c:v>
                </c:pt>
                <c:pt idx="591">
                  <c:v>45153</c:v>
                </c:pt>
                <c:pt idx="592">
                  <c:v>45154</c:v>
                </c:pt>
                <c:pt idx="593">
                  <c:v>45155</c:v>
                </c:pt>
                <c:pt idx="594">
                  <c:v>45156</c:v>
                </c:pt>
                <c:pt idx="595">
                  <c:v>45157</c:v>
                </c:pt>
                <c:pt idx="596">
                  <c:v>45158</c:v>
                </c:pt>
                <c:pt idx="597">
                  <c:v>45159</c:v>
                </c:pt>
                <c:pt idx="598">
                  <c:v>45160</c:v>
                </c:pt>
                <c:pt idx="599">
                  <c:v>45161</c:v>
                </c:pt>
                <c:pt idx="600">
                  <c:v>45162</c:v>
                </c:pt>
                <c:pt idx="601">
                  <c:v>45163</c:v>
                </c:pt>
                <c:pt idx="602">
                  <c:v>45164</c:v>
                </c:pt>
                <c:pt idx="603">
                  <c:v>45165</c:v>
                </c:pt>
                <c:pt idx="604">
                  <c:v>45166</c:v>
                </c:pt>
                <c:pt idx="605">
                  <c:v>45167</c:v>
                </c:pt>
                <c:pt idx="606">
                  <c:v>45168</c:v>
                </c:pt>
                <c:pt idx="607">
                  <c:v>45169</c:v>
                </c:pt>
                <c:pt idx="608">
                  <c:v>45170</c:v>
                </c:pt>
                <c:pt idx="609">
                  <c:v>45171</c:v>
                </c:pt>
                <c:pt idx="610">
                  <c:v>45172</c:v>
                </c:pt>
                <c:pt idx="611">
                  <c:v>45173</c:v>
                </c:pt>
                <c:pt idx="612">
                  <c:v>45174</c:v>
                </c:pt>
                <c:pt idx="613">
                  <c:v>45175</c:v>
                </c:pt>
                <c:pt idx="614">
                  <c:v>45176</c:v>
                </c:pt>
                <c:pt idx="615">
                  <c:v>45177</c:v>
                </c:pt>
                <c:pt idx="616">
                  <c:v>45178</c:v>
                </c:pt>
                <c:pt idx="617">
                  <c:v>45179</c:v>
                </c:pt>
                <c:pt idx="618">
                  <c:v>45180</c:v>
                </c:pt>
                <c:pt idx="619">
                  <c:v>45181</c:v>
                </c:pt>
                <c:pt idx="620">
                  <c:v>45182</c:v>
                </c:pt>
                <c:pt idx="621">
                  <c:v>45183</c:v>
                </c:pt>
                <c:pt idx="622">
                  <c:v>45184</c:v>
                </c:pt>
                <c:pt idx="623">
                  <c:v>45185</c:v>
                </c:pt>
                <c:pt idx="624">
                  <c:v>45186</c:v>
                </c:pt>
                <c:pt idx="625">
                  <c:v>45187</c:v>
                </c:pt>
                <c:pt idx="626">
                  <c:v>45188</c:v>
                </c:pt>
                <c:pt idx="627">
                  <c:v>45189</c:v>
                </c:pt>
                <c:pt idx="628">
                  <c:v>45190</c:v>
                </c:pt>
                <c:pt idx="629">
                  <c:v>45191</c:v>
                </c:pt>
                <c:pt idx="630">
                  <c:v>45192</c:v>
                </c:pt>
                <c:pt idx="631">
                  <c:v>45193</c:v>
                </c:pt>
                <c:pt idx="632">
                  <c:v>45194</c:v>
                </c:pt>
                <c:pt idx="633">
                  <c:v>45195</c:v>
                </c:pt>
                <c:pt idx="634">
                  <c:v>45196</c:v>
                </c:pt>
                <c:pt idx="635">
                  <c:v>45197</c:v>
                </c:pt>
                <c:pt idx="636">
                  <c:v>45198</c:v>
                </c:pt>
                <c:pt idx="637">
                  <c:v>45199</c:v>
                </c:pt>
                <c:pt idx="638">
                  <c:v>45200</c:v>
                </c:pt>
                <c:pt idx="639">
                  <c:v>45201</c:v>
                </c:pt>
                <c:pt idx="640">
                  <c:v>45202</c:v>
                </c:pt>
                <c:pt idx="641">
                  <c:v>45203</c:v>
                </c:pt>
                <c:pt idx="642">
                  <c:v>45204</c:v>
                </c:pt>
                <c:pt idx="643">
                  <c:v>45205</c:v>
                </c:pt>
                <c:pt idx="644">
                  <c:v>45206</c:v>
                </c:pt>
                <c:pt idx="645">
                  <c:v>45207</c:v>
                </c:pt>
                <c:pt idx="646">
                  <c:v>45208</c:v>
                </c:pt>
                <c:pt idx="647">
                  <c:v>45209</c:v>
                </c:pt>
                <c:pt idx="648">
                  <c:v>45210</c:v>
                </c:pt>
                <c:pt idx="649">
                  <c:v>45211</c:v>
                </c:pt>
                <c:pt idx="650">
                  <c:v>45212</c:v>
                </c:pt>
                <c:pt idx="651">
                  <c:v>45213</c:v>
                </c:pt>
                <c:pt idx="652">
                  <c:v>45214</c:v>
                </c:pt>
                <c:pt idx="653">
                  <c:v>45215</c:v>
                </c:pt>
                <c:pt idx="654">
                  <c:v>45216</c:v>
                </c:pt>
                <c:pt idx="655">
                  <c:v>45217</c:v>
                </c:pt>
                <c:pt idx="656">
                  <c:v>45218</c:v>
                </c:pt>
                <c:pt idx="657">
                  <c:v>45219</c:v>
                </c:pt>
                <c:pt idx="658">
                  <c:v>45220</c:v>
                </c:pt>
                <c:pt idx="659">
                  <c:v>45221</c:v>
                </c:pt>
                <c:pt idx="660">
                  <c:v>45222</c:v>
                </c:pt>
                <c:pt idx="661">
                  <c:v>45223</c:v>
                </c:pt>
                <c:pt idx="662">
                  <c:v>45224</c:v>
                </c:pt>
                <c:pt idx="663">
                  <c:v>45225</c:v>
                </c:pt>
                <c:pt idx="664">
                  <c:v>45226</c:v>
                </c:pt>
                <c:pt idx="665">
                  <c:v>45227</c:v>
                </c:pt>
                <c:pt idx="666">
                  <c:v>45228</c:v>
                </c:pt>
                <c:pt idx="667">
                  <c:v>45229</c:v>
                </c:pt>
                <c:pt idx="668">
                  <c:v>45230</c:v>
                </c:pt>
                <c:pt idx="669">
                  <c:v>45231</c:v>
                </c:pt>
                <c:pt idx="670">
                  <c:v>45232</c:v>
                </c:pt>
                <c:pt idx="671">
                  <c:v>45233</c:v>
                </c:pt>
                <c:pt idx="672">
                  <c:v>45234</c:v>
                </c:pt>
                <c:pt idx="673">
                  <c:v>45235</c:v>
                </c:pt>
                <c:pt idx="674">
                  <c:v>45236</c:v>
                </c:pt>
                <c:pt idx="675">
                  <c:v>45237</c:v>
                </c:pt>
                <c:pt idx="676">
                  <c:v>45238</c:v>
                </c:pt>
                <c:pt idx="677">
                  <c:v>45239</c:v>
                </c:pt>
                <c:pt idx="678">
                  <c:v>45240</c:v>
                </c:pt>
                <c:pt idx="679">
                  <c:v>45241</c:v>
                </c:pt>
                <c:pt idx="680">
                  <c:v>45242</c:v>
                </c:pt>
                <c:pt idx="681">
                  <c:v>45243</c:v>
                </c:pt>
                <c:pt idx="682">
                  <c:v>45244</c:v>
                </c:pt>
                <c:pt idx="683">
                  <c:v>45245</c:v>
                </c:pt>
                <c:pt idx="684">
                  <c:v>45246</c:v>
                </c:pt>
                <c:pt idx="685">
                  <c:v>45247</c:v>
                </c:pt>
                <c:pt idx="686">
                  <c:v>45248</c:v>
                </c:pt>
                <c:pt idx="687">
                  <c:v>45249</c:v>
                </c:pt>
                <c:pt idx="688">
                  <c:v>45250</c:v>
                </c:pt>
                <c:pt idx="689">
                  <c:v>45251</c:v>
                </c:pt>
                <c:pt idx="690">
                  <c:v>45252</c:v>
                </c:pt>
                <c:pt idx="691">
                  <c:v>45253</c:v>
                </c:pt>
                <c:pt idx="692">
                  <c:v>45254</c:v>
                </c:pt>
                <c:pt idx="693">
                  <c:v>45255</c:v>
                </c:pt>
                <c:pt idx="694">
                  <c:v>45256</c:v>
                </c:pt>
                <c:pt idx="695">
                  <c:v>45257</c:v>
                </c:pt>
                <c:pt idx="696">
                  <c:v>45258</c:v>
                </c:pt>
                <c:pt idx="697">
                  <c:v>45259</c:v>
                </c:pt>
                <c:pt idx="698">
                  <c:v>45260</c:v>
                </c:pt>
                <c:pt idx="699">
                  <c:v>45261</c:v>
                </c:pt>
                <c:pt idx="700">
                  <c:v>45262</c:v>
                </c:pt>
                <c:pt idx="701">
                  <c:v>45263</c:v>
                </c:pt>
                <c:pt idx="702">
                  <c:v>45264</c:v>
                </c:pt>
                <c:pt idx="703">
                  <c:v>45265</c:v>
                </c:pt>
                <c:pt idx="704">
                  <c:v>45266</c:v>
                </c:pt>
                <c:pt idx="705">
                  <c:v>45267</c:v>
                </c:pt>
                <c:pt idx="706">
                  <c:v>45268</c:v>
                </c:pt>
                <c:pt idx="707">
                  <c:v>45269</c:v>
                </c:pt>
                <c:pt idx="708">
                  <c:v>45270</c:v>
                </c:pt>
                <c:pt idx="709">
                  <c:v>45271</c:v>
                </c:pt>
                <c:pt idx="710">
                  <c:v>45272</c:v>
                </c:pt>
                <c:pt idx="711">
                  <c:v>45273</c:v>
                </c:pt>
                <c:pt idx="712">
                  <c:v>45274</c:v>
                </c:pt>
                <c:pt idx="713">
                  <c:v>45275</c:v>
                </c:pt>
                <c:pt idx="714">
                  <c:v>45276</c:v>
                </c:pt>
                <c:pt idx="715">
                  <c:v>45277</c:v>
                </c:pt>
                <c:pt idx="716">
                  <c:v>45278</c:v>
                </c:pt>
                <c:pt idx="717">
                  <c:v>45279</c:v>
                </c:pt>
                <c:pt idx="718">
                  <c:v>45280</c:v>
                </c:pt>
                <c:pt idx="719">
                  <c:v>45281</c:v>
                </c:pt>
                <c:pt idx="720">
                  <c:v>45282</c:v>
                </c:pt>
                <c:pt idx="721">
                  <c:v>45283</c:v>
                </c:pt>
                <c:pt idx="722">
                  <c:v>45284</c:v>
                </c:pt>
                <c:pt idx="723">
                  <c:v>45285</c:v>
                </c:pt>
                <c:pt idx="724">
                  <c:v>45286</c:v>
                </c:pt>
                <c:pt idx="725">
                  <c:v>45287</c:v>
                </c:pt>
                <c:pt idx="726">
                  <c:v>45288</c:v>
                </c:pt>
                <c:pt idx="727">
                  <c:v>45289</c:v>
                </c:pt>
                <c:pt idx="728">
                  <c:v>45290</c:v>
                </c:pt>
                <c:pt idx="729">
                  <c:v>45291</c:v>
                </c:pt>
                <c:pt idx="730">
                  <c:v>45292</c:v>
                </c:pt>
                <c:pt idx="731">
                  <c:v>45293</c:v>
                </c:pt>
                <c:pt idx="732">
                  <c:v>45294</c:v>
                </c:pt>
                <c:pt idx="733">
                  <c:v>45295</c:v>
                </c:pt>
                <c:pt idx="734">
                  <c:v>45296</c:v>
                </c:pt>
                <c:pt idx="735">
                  <c:v>45297</c:v>
                </c:pt>
                <c:pt idx="736">
                  <c:v>45298</c:v>
                </c:pt>
                <c:pt idx="737">
                  <c:v>45299</c:v>
                </c:pt>
                <c:pt idx="738">
                  <c:v>45300</c:v>
                </c:pt>
                <c:pt idx="739">
                  <c:v>45301</c:v>
                </c:pt>
                <c:pt idx="740">
                  <c:v>45302</c:v>
                </c:pt>
                <c:pt idx="741">
                  <c:v>45303</c:v>
                </c:pt>
                <c:pt idx="742">
                  <c:v>45304</c:v>
                </c:pt>
                <c:pt idx="743">
                  <c:v>45305</c:v>
                </c:pt>
                <c:pt idx="744">
                  <c:v>45306</c:v>
                </c:pt>
                <c:pt idx="745">
                  <c:v>45307</c:v>
                </c:pt>
                <c:pt idx="746">
                  <c:v>45308</c:v>
                </c:pt>
                <c:pt idx="747">
                  <c:v>45309</c:v>
                </c:pt>
                <c:pt idx="748">
                  <c:v>45310</c:v>
                </c:pt>
                <c:pt idx="749">
                  <c:v>45311</c:v>
                </c:pt>
                <c:pt idx="750">
                  <c:v>45312</c:v>
                </c:pt>
                <c:pt idx="751">
                  <c:v>45313</c:v>
                </c:pt>
                <c:pt idx="752">
                  <c:v>45314</c:v>
                </c:pt>
                <c:pt idx="753">
                  <c:v>45315</c:v>
                </c:pt>
                <c:pt idx="754">
                  <c:v>45316</c:v>
                </c:pt>
                <c:pt idx="755">
                  <c:v>45317</c:v>
                </c:pt>
                <c:pt idx="756">
                  <c:v>45318</c:v>
                </c:pt>
                <c:pt idx="757">
                  <c:v>45319</c:v>
                </c:pt>
                <c:pt idx="758">
                  <c:v>45320</c:v>
                </c:pt>
                <c:pt idx="759">
                  <c:v>45321</c:v>
                </c:pt>
                <c:pt idx="760">
                  <c:v>45322</c:v>
                </c:pt>
                <c:pt idx="761">
                  <c:v>45323</c:v>
                </c:pt>
                <c:pt idx="762">
                  <c:v>45324</c:v>
                </c:pt>
                <c:pt idx="763">
                  <c:v>45325</c:v>
                </c:pt>
                <c:pt idx="764">
                  <c:v>45326</c:v>
                </c:pt>
                <c:pt idx="765">
                  <c:v>45327</c:v>
                </c:pt>
                <c:pt idx="766">
                  <c:v>45328</c:v>
                </c:pt>
                <c:pt idx="767">
                  <c:v>45329</c:v>
                </c:pt>
                <c:pt idx="768">
                  <c:v>45330</c:v>
                </c:pt>
                <c:pt idx="769">
                  <c:v>45331</c:v>
                </c:pt>
                <c:pt idx="770">
                  <c:v>45332</c:v>
                </c:pt>
                <c:pt idx="771">
                  <c:v>45333</c:v>
                </c:pt>
                <c:pt idx="772">
                  <c:v>45334</c:v>
                </c:pt>
                <c:pt idx="773">
                  <c:v>45335</c:v>
                </c:pt>
                <c:pt idx="774">
                  <c:v>45336</c:v>
                </c:pt>
                <c:pt idx="775">
                  <c:v>45337</c:v>
                </c:pt>
                <c:pt idx="776">
                  <c:v>45338</c:v>
                </c:pt>
                <c:pt idx="777">
                  <c:v>45339</c:v>
                </c:pt>
                <c:pt idx="778">
                  <c:v>45340</c:v>
                </c:pt>
                <c:pt idx="779">
                  <c:v>45341</c:v>
                </c:pt>
                <c:pt idx="780">
                  <c:v>45342</c:v>
                </c:pt>
                <c:pt idx="781">
                  <c:v>45343</c:v>
                </c:pt>
                <c:pt idx="782">
                  <c:v>45344</c:v>
                </c:pt>
                <c:pt idx="783">
                  <c:v>45345</c:v>
                </c:pt>
                <c:pt idx="784">
                  <c:v>45346</c:v>
                </c:pt>
                <c:pt idx="785">
                  <c:v>45347</c:v>
                </c:pt>
                <c:pt idx="786">
                  <c:v>45348</c:v>
                </c:pt>
                <c:pt idx="787">
                  <c:v>45349</c:v>
                </c:pt>
                <c:pt idx="788">
                  <c:v>45350</c:v>
                </c:pt>
                <c:pt idx="789">
                  <c:v>45351</c:v>
                </c:pt>
                <c:pt idx="790">
                  <c:v>45352</c:v>
                </c:pt>
                <c:pt idx="791">
                  <c:v>45353</c:v>
                </c:pt>
                <c:pt idx="792">
                  <c:v>45354</c:v>
                </c:pt>
                <c:pt idx="793">
                  <c:v>45355</c:v>
                </c:pt>
                <c:pt idx="794">
                  <c:v>45356</c:v>
                </c:pt>
                <c:pt idx="795">
                  <c:v>45357</c:v>
                </c:pt>
                <c:pt idx="796">
                  <c:v>45358</c:v>
                </c:pt>
                <c:pt idx="797">
                  <c:v>45359</c:v>
                </c:pt>
                <c:pt idx="798">
                  <c:v>45360</c:v>
                </c:pt>
                <c:pt idx="799">
                  <c:v>45361</c:v>
                </c:pt>
                <c:pt idx="800">
                  <c:v>45362</c:v>
                </c:pt>
                <c:pt idx="801">
                  <c:v>45363</c:v>
                </c:pt>
                <c:pt idx="802">
                  <c:v>45364</c:v>
                </c:pt>
                <c:pt idx="803">
                  <c:v>45365</c:v>
                </c:pt>
                <c:pt idx="804">
                  <c:v>45366</c:v>
                </c:pt>
                <c:pt idx="805">
                  <c:v>45367</c:v>
                </c:pt>
                <c:pt idx="806">
                  <c:v>45368</c:v>
                </c:pt>
                <c:pt idx="807">
                  <c:v>45369</c:v>
                </c:pt>
                <c:pt idx="808">
                  <c:v>45370</c:v>
                </c:pt>
                <c:pt idx="809">
                  <c:v>45371</c:v>
                </c:pt>
                <c:pt idx="810">
                  <c:v>45372</c:v>
                </c:pt>
                <c:pt idx="811">
                  <c:v>45373</c:v>
                </c:pt>
                <c:pt idx="812">
                  <c:v>45374</c:v>
                </c:pt>
                <c:pt idx="813">
                  <c:v>45375</c:v>
                </c:pt>
                <c:pt idx="814">
                  <c:v>45376</c:v>
                </c:pt>
                <c:pt idx="815">
                  <c:v>45377</c:v>
                </c:pt>
                <c:pt idx="816">
                  <c:v>45378</c:v>
                </c:pt>
                <c:pt idx="817">
                  <c:v>45379</c:v>
                </c:pt>
                <c:pt idx="818">
                  <c:v>45380</c:v>
                </c:pt>
                <c:pt idx="819">
                  <c:v>45381</c:v>
                </c:pt>
                <c:pt idx="820">
                  <c:v>45382</c:v>
                </c:pt>
                <c:pt idx="821">
                  <c:v>45383</c:v>
                </c:pt>
                <c:pt idx="822">
                  <c:v>45384</c:v>
                </c:pt>
                <c:pt idx="823">
                  <c:v>45385</c:v>
                </c:pt>
                <c:pt idx="824">
                  <c:v>45386</c:v>
                </c:pt>
                <c:pt idx="825">
                  <c:v>45387</c:v>
                </c:pt>
                <c:pt idx="826">
                  <c:v>45388</c:v>
                </c:pt>
                <c:pt idx="827">
                  <c:v>45389</c:v>
                </c:pt>
                <c:pt idx="828">
                  <c:v>45390</c:v>
                </c:pt>
                <c:pt idx="829">
                  <c:v>45391</c:v>
                </c:pt>
                <c:pt idx="830">
                  <c:v>45392</c:v>
                </c:pt>
                <c:pt idx="831">
                  <c:v>45393</c:v>
                </c:pt>
                <c:pt idx="832">
                  <c:v>45394</c:v>
                </c:pt>
                <c:pt idx="833">
                  <c:v>45395</c:v>
                </c:pt>
                <c:pt idx="834">
                  <c:v>45396</c:v>
                </c:pt>
                <c:pt idx="835">
                  <c:v>45397</c:v>
                </c:pt>
                <c:pt idx="836">
                  <c:v>45398</c:v>
                </c:pt>
                <c:pt idx="837">
                  <c:v>45399</c:v>
                </c:pt>
                <c:pt idx="838">
                  <c:v>45400</c:v>
                </c:pt>
                <c:pt idx="839">
                  <c:v>45401</c:v>
                </c:pt>
                <c:pt idx="840">
                  <c:v>45402</c:v>
                </c:pt>
                <c:pt idx="841">
                  <c:v>45403</c:v>
                </c:pt>
                <c:pt idx="842">
                  <c:v>45404</c:v>
                </c:pt>
                <c:pt idx="843">
                  <c:v>45405</c:v>
                </c:pt>
                <c:pt idx="844">
                  <c:v>45406</c:v>
                </c:pt>
                <c:pt idx="845">
                  <c:v>45407</c:v>
                </c:pt>
                <c:pt idx="846">
                  <c:v>45408</c:v>
                </c:pt>
                <c:pt idx="847">
                  <c:v>45409</c:v>
                </c:pt>
                <c:pt idx="848">
                  <c:v>45410</c:v>
                </c:pt>
                <c:pt idx="849">
                  <c:v>45411</c:v>
                </c:pt>
                <c:pt idx="850">
                  <c:v>45412</c:v>
                </c:pt>
                <c:pt idx="851">
                  <c:v>45413</c:v>
                </c:pt>
                <c:pt idx="852">
                  <c:v>45414</c:v>
                </c:pt>
                <c:pt idx="853">
                  <c:v>45415</c:v>
                </c:pt>
                <c:pt idx="854">
                  <c:v>45416</c:v>
                </c:pt>
                <c:pt idx="855">
                  <c:v>45417</c:v>
                </c:pt>
                <c:pt idx="856">
                  <c:v>45418</c:v>
                </c:pt>
                <c:pt idx="857">
                  <c:v>45419</c:v>
                </c:pt>
                <c:pt idx="858">
                  <c:v>45420</c:v>
                </c:pt>
                <c:pt idx="859">
                  <c:v>45421</c:v>
                </c:pt>
                <c:pt idx="860">
                  <c:v>45422</c:v>
                </c:pt>
                <c:pt idx="861">
                  <c:v>45423</c:v>
                </c:pt>
                <c:pt idx="862">
                  <c:v>45424</c:v>
                </c:pt>
                <c:pt idx="863">
                  <c:v>45425</c:v>
                </c:pt>
                <c:pt idx="864">
                  <c:v>45426</c:v>
                </c:pt>
                <c:pt idx="865">
                  <c:v>45427</c:v>
                </c:pt>
                <c:pt idx="866">
                  <c:v>45428</c:v>
                </c:pt>
                <c:pt idx="867">
                  <c:v>45429</c:v>
                </c:pt>
                <c:pt idx="868">
                  <c:v>45430</c:v>
                </c:pt>
                <c:pt idx="869">
                  <c:v>45431</c:v>
                </c:pt>
                <c:pt idx="870">
                  <c:v>45432</c:v>
                </c:pt>
                <c:pt idx="871">
                  <c:v>45433</c:v>
                </c:pt>
                <c:pt idx="872">
                  <c:v>45434</c:v>
                </c:pt>
                <c:pt idx="873">
                  <c:v>45435</c:v>
                </c:pt>
                <c:pt idx="874">
                  <c:v>45436</c:v>
                </c:pt>
                <c:pt idx="875">
                  <c:v>45437</c:v>
                </c:pt>
                <c:pt idx="876">
                  <c:v>45438</c:v>
                </c:pt>
                <c:pt idx="877">
                  <c:v>45439</c:v>
                </c:pt>
                <c:pt idx="878">
                  <c:v>45440</c:v>
                </c:pt>
                <c:pt idx="879">
                  <c:v>45441</c:v>
                </c:pt>
                <c:pt idx="880">
                  <c:v>45442</c:v>
                </c:pt>
                <c:pt idx="881">
                  <c:v>45443</c:v>
                </c:pt>
                <c:pt idx="882">
                  <c:v>45444</c:v>
                </c:pt>
                <c:pt idx="883">
                  <c:v>45445</c:v>
                </c:pt>
                <c:pt idx="884">
                  <c:v>45446</c:v>
                </c:pt>
                <c:pt idx="885">
                  <c:v>45447</c:v>
                </c:pt>
                <c:pt idx="886">
                  <c:v>45448</c:v>
                </c:pt>
                <c:pt idx="887">
                  <c:v>45449</c:v>
                </c:pt>
                <c:pt idx="888">
                  <c:v>45450</c:v>
                </c:pt>
                <c:pt idx="889">
                  <c:v>45451</c:v>
                </c:pt>
                <c:pt idx="890">
                  <c:v>45452</c:v>
                </c:pt>
                <c:pt idx="891">
                  <c:v>45453</c:v>
                </c:pt>
                <c:pt idx="892">
                  <c:v>45454</c:v>
                </c:pt>
                <c:pt idx="893">
                  <c:v>45455</c:v>
                </c:pt>
                <c:pt idx="894">
                  <c:v>45456</c:v>
                </c:pt>
                <c:pt idx="895">
                  <c:v>45457</c:v>
                </c:pt>
                <c:pt idx="896">
                  <c:v>45458</c:v>
                </c:pt>
                <c:pt idx="897">
                  <c:v>45459</c:v>
                </c:pt>
                <c:pt idx="898">
                  <c:v>45460</c:v>
                </c:pt>
                <c:pt idx="899">
                  <c:v>45461</c:v>
                </c:pt>
                <c:pt idx="900">
                  <c:v>45462</c:v>
                </c:pt>
                <c:pt idx="901">
                  <c:v>45463</c:v>
                </c:pt>
                <c:pt idx="902">
                  <c:v>45464</c:v>
                </c:pt>
                <c:pt idx="903">
                  <c:v>45465</c:v>
                </c:pt>
                <c:pt idx="904">
                  <c:v>45466</c:v>
                </c:pt>
                <c:pt idx="905">
                  <c:v>45467</c:v>
                </c:pt>
                <c:pt idx="906">
                  <c:v>45468</c:v>
                </c:pt>
                <c:pt idx="907">
                  <c:v>45469</c:v>
                </c:pt>
                <c:pt idx="908">
                  <c:v>45470</c:v>
                </c:pt>
                <c:pt idx="909">
                  <c:v>45471</c:v>
                </c:pt>
                <c:pt idx="910">
                  <c:v>45472</c:v>
                </c:pt>
                <c:pt idx="911">
                  <c:v>45473</c:v>
                </c:pt>
                <c:pt idx="912">
                  <c:v>45474</c:v>
                </c:pt>
                <c:pt idx="913">
                  <c:v>45475</c:v>
                </c:pt>
                <c:pt idx="914">
                  <c:v>45476</c:v>
                </c:pt>
                <c:pt idx="915">
                  <c:v>45477</c:v>
                </c:pt>
                <c:pt idx="916">
                  <c:v>45478</c:v>
                </c:pt>
                <c:pt idx="917">
                  <c:v>45479</c:v>
                </c:pt>
                <c:pt idx="918">
                  <c:v>45480</c:v>
                </c:pt>
                <c:pt idx="919">
                  <c:v>45481</c:v>
                </c:pt>
                <c:pt idx="920">
                  <c:v>45482</c:v>
                </c:pt>
                <c:pt idx="921">
                  <c:v>45483</c:v>
                </c:pt>
                <c:pt idx="922">
                  <c:v>45484</c:v>
                </c:pt>
                <c:pt idx="923">
                  <c:v>45485</c:v>
                </c:pt>
                <c:pt idx="924">
                  <c:v>45486</c:v>
                </c:pt>
                <c:pt idx="925">
                  <c:v>45487</c:v>
                </c:pt>
                <c:pt idx="926">
                  <c:v>45488</c:v>
                </c:pt>
                <c:pt idx="927">
                  <c:v>45489</c:v>
                </c:pt>
                <c:pt idx="928">
                  <c:v>45490</c:v>
                </c:pt>
                <c:pt idx="929">
                  <c:v>45491</c:v>
                </c:pt>
                <c:pt idx="930">
                  <c:v>45492</c:v>
                </c:pt>
                <c:pt idx="931">
                  <c:v>45493</c:v>
                </c:pt>
                <c:pt idx="932">
                  <c:v>45494</c:v>
                </c:pt>
                <c:pt idx="933">
                  <c:v>45495</c:v>
                </c:pt>
                <c:pt idx="934">
                  <c:v>45496</c:v>
                </c:pt>
                <c:pt idx="935">
                  <c:v>45497</c:v>
                </c:pt>
                <c:pt idx="936">
                  <c:v>45498</c:v>
                </c:pt>
                <c:pt idx="937">
                  <c:v>45499</c:v>
                </c:pt>
                <c:pt idx="938">
                  <c:v>45500</c:v>
                </c:pt>
                <c:pt idx="939">
                  <c:v>45501</c:v>
                </c:pt>
                <c:pt idx="940">
                  <c:v>45502</c:v>
                </c:pt>
                <c:pt idx="941">
                  <c:v>45503</c:v>
                </c:pt>
                <c:pt idx="942">
                  <c:v>45504</c:v>
                </c:pt>
                <c:pt idx="943">
                  <c:v>45505</c:v>
                </c:pt>
                <c:pt idx="944">
                  <c:v>45506</c:v>
                </c:pt>
                <c:pt idx="945">
                  <c:v>45507</c:v>
                </c:pt>
                <c:pt idx="946">
                  <c:v>45508</c:v>
                </c:pt>
                <c:pt idx="947">
                  <c:v>45509</c:v>
                </c:pt>
                <c:pt idx="948">
                  <c:v>45510</c:v>
                </c:pt>
                <c:pt idx="949">
                  <c:v>45511</c:v>
                </c:pt>
                <c:pt idx="950">
                  <c:v>45512</c:v>
                </c:pt>
                <c:pt idx="951">
                  <c:v>45513</c:v>
                </c:pt>
                <c:pt idx="952">
                  <c:v>45514</c:v>
                </c:pt>
                <c:pt idx="953">
                  <c:v>45515</c:v>
                </c:pt>
                <c:pt idx="954">
                  <c:v>45516</c:v>
                </c:pt>
                <c:pt idx="955">
                  <c:v>45517</c:v>
                </c:pt>
                <c:pt idx="956">
                  <c:v>45518</c:v>
                </c:pt>
                <c:pt idx="957">
                  <c:v>45519</c:v>
                </c:pt>
                <c:pt idx="958">
                  <c:v>45520</c:v>
                </c:pt>
                <c:pt idx="959">
                  <c:v>45521</c:v>
                </c:pt>
                <c:pt idx="960">
                  <c:v>45522</c:v>
                </c:pt>
                <c:pt idx="961">
                  <c:v>45523</c:v>
                </c:pt>
                <c:pt idx="962">
                  <c:v>45524</c:v>
                </c:pt>
                <c:pt idx="963">
                  <c:v>45525</c:v>
                </c:pt>
                <c:pt idx="964">
                  <c:v>45526</c:v>
                </c:pt>
                <c:pt idx="965">
                  <c:v>45527</c:v>
                </c:pt>
                <c:pt idx="966">
                  <c:v>45528</c:v>
                </c:pt>
                <c:pt idx="967">
                  <c:v>45529</c:v>
                </c:pt>
                <c:pt idx="968">
                  <c:v>45530</c:v>
                </c:pt>
                <c:pt idx="969">
                  <c:v>45531</c:v>
                </c:pt>
                <c:pt idx="970">
                  <c:v>45532</c:v>
                </c:pt>
                <c:pt idx="971">
                  <c:v>45533</c:v>
                </c:pt>
                <c:pt idx="972">
                  <c:v>45534</c:v>
                </c:pt>
                <c:pt idx="973">
                  <c:v>45535</c:v>
                </c:pt>
                <c:pt idx="974">
                  <c:v>45536</c:v>
                </c:pt>
                <c:pt idx="975">
                  <c:v>45537</c:v>
                </c:pt>
                <c:pt idx="976">
                  <c:v>45538</c:v>
                </c:pt>
                <c:pt idx="977">
                  <c:v>45539</c:v>
                </c:pt>
                <c:pt idx="978">
                  <c:v>45540</c:v>
                </c:pt>
                <c:pt idx="979">
                  <c:v>45541</c:v>
                </c:pt>
                <c:pt idx="980">
                  <c:v>45542</c:v>
                </c:pt>
                <c:pt idx="981">
                  <c:v>45543</c:v>
                </c:pt>
                <c:pt idx="982">
                  <c:v>45544</c:v>
                </c:pt>
                <c:pt idx="983">
                  <c:v>45545</c:v>
                </c:pt>
                <c:pt idx="984">
                  <c:v>45546</c:v>
                </c:pt>
                <c:pt idx="985">
                  <c:v>45547</c:v>
                </c:pt>
                <c:pt idx="986">
                  <c:v>45548</c:v>
                </c:pt>
                <c:pt idx="987">
                  <c:v>45549</c:v>
                </c:pt>
                <c:pt idx="988">
                  <c:v>45550</c:v>
                </c:pt>
                <c:pt idx="989">
                  <c:v>45551</c:v>
                </c:pt>
                <c:pt idx="990">
                  <c:v>45552</c:v>
                </c:pt>
                <c:pt idx="991">
                  <c:v>45553</c:v>
                </c:pt>
                <c:pt idx="992">
                  <c:v>45554</c:v>
                </c:pt>
                <c:pt idx="993">
                  <c:v>45555</c:v>
                </c:pt>
                <c:pt idx="994">
                  <c:v>45556</c:v>
                </c:pt>
                <c:pt idx="995">
                  <c:v>45557</c:v>
                </c:pt>
                <c:pt idx="996">
                  <c:v>45558</c:v>
                </c:pt>
                <c:pt idx="997">
                  <c:v>45559</c:v>
                </c:pt>
                <c:pt idx="998">
                  <c:v>45560</c:v>
                </c:pt>
                <c:pt idx="999">
                  <c:v>45561</c:v>
                </c:pt>
                <c:pt idx="1000">
                  <c:v>45562</c:v>
                </c:pt>
                <c:pt idx="1001">
                  <c:v>45563</c:v>
                </c:pt>
                <c:pt idx="1002">
                  <c:v>45564</c:v>
                </c:pt>
                <c:pt idx="1003">
                  <c:v>45565</c:v>
                </c:pt>
                <c:pt idx="1004">
                  <c:v>45566</c:v>
                </c:pt>
                <c:pt idx="1005">
                  <c:v>45567</c:v>
                </c:pt>
                <c:pt idx="1006">
                  <c:v>45568</c:v>
                </c:pt>
                <c:pt idx="1007">
                  <c:v>45569</c:v>
                </c:pt>
                <c:pt idx="1008">
                  <c:v>45570</c:v>
                </c:pt>
                <c:pt idx="1009">
                  <c:v>45571</c:v>
                </c:pt>
                <c:pt idx="1010">
                  <c:v>45572</c:v>
                </c:pt>
                <c:pt idx="1011">
                  <c:v>45573</c:v>
                </c:pt>
                <c:pt idx="1012">
                  <c:v>45574</c:v>
                </c:pt>
                <c:pt idx="1013">
                  <c:v>45575</c:v>
                </c:pt>
                <c:pt idx="1014">
                  <c:v>45576</c:v>
                </c:pt>
                <c:pt idx="1015">
                  <c:v>45577</c:v>
                </c:pt>
                <c:pt idx="1016">
                  <c:v>45578</c:v>
                </c:pt>
                <c:pt idx="1017">
                  <c:v>45579</c:v>
                </c:pt>
                <c:pt idx="1018">
                  <c:v>45580</c:v>
                </c:pt>
                <c:pt idx="1019">
                  <c:v>45581</c:v>
                </c:pt>
                <c:pt idx="1020">
                  <c:v>45582</c:v>
                </c:pt>
                <c:pt idx="1021">
                  <c:v>45583</c:v>
                </c:pt>
                <c:pt idx="1022">
                  <c:v>45584</c:v>
                </c:pt>
                <c:pt idx="1023">
                  <c:v>45585</c:v>
                </c:pt>
                <c:pt idx="1024">
                  <c:v>45586</c:v>
                </c:pt>
                <c:pt idx="1025">
                  <c:v>45587</c:v>
                </c:pt>
                <c:pt idx="1026">
                  <c:v>45588</c:v>
                </c:pt>
                <c:pt idx="1027">
                  <c:v>45589</c:v>
                </c:pt>
                <c:pt idx="1028">
                  <c:v>45590</c:v>
                </c:pt>
                <c:pt idx="1029">
                  <c:v>45591</c:v>
                </c:pt>
                <c:pt idx="1030">
                  <c:v>45592</c:v>
                </c:pt>
                <c:pt idx="1031">
                  <c:v>45593</c:v>
                </c:pt>
                <c:pt idx="1032">
                  <c:v>45594</c:v>
                </c:pt>
                <c:pt idx="1033">
                  <c:v>45595</c:v>
                </c:pt>
                <c:pt idx="1034">
                  <c:v>45596</c:v>
                </c:pt>
                <c:pt idx="1035">
                  <c:v>45597</c:v>
                </c:pt>
                <c:pt idx="1036">
                  <c:v>45598</c:v>
                </c:pt>
                <c:pt idx="1037">
                  <c:v>45599</c:v>
                </c:pt>
                <c:pt idx="1038">
                  <c:v>45600</c:v>
                </c:pt>
                <c:pt idx="1039">
                  <c:v>45601</c:v>
                </c:pt>
                <c:pt idx="1040">
                  <c:v>45602</c:v>
                </c:pt>
                <c:pt idx="1041">
                  <c:v>45603</c:v>
                </c:pt>
                <c:pt idx="1042">
                  <c:v>45604</c:v>
                </c:pt>
                <c:pt idx="1043">
                  <c:v>45605</c:v>
                </c:pt>
                <c:pt idx="1044">
                  <c:v>45606</c:v>
                </c:pt>
                <c:pt idx="1045">
                  <c:v>45607</c:v>
                </c:pt>
                <c:pt idx="1046">
                  <c:v>45608</c:v>
                </c:pt>
                <c:pt idx="1047">
                  <c:v>45609</c:v>
                </c:pt>
                <c:pt idx="1048">
                  <c:v>45610</c:v>
                </c:pt>
                <c:pt idx="1049">
                  <c:v>45611</c:v>
                </c:pt>
                <c:pt idx="1050">
                  <c:v>45612</c:v>
                </c:pt>
                <c:pt idx="1051">
                  <c:v>45613</c:v>
                </c:pt>
                <c:pt idx="1052">
                  <c:v>45614</c:v>
                </c:pt>
                <c:pt idx="1053">
                  <c:v>45615</c:v>
                </c:pt>
                <c:pt idx="1054">
                  <c:v>45616</c:v>
                </c:pt>
                <c:pt idx="1055">
                  <c:v>45617</c:v>
                </c:pt>
                <c:pt idx="1056">
                  <c:v>45618</c:v>
                </c:pt>
                <c:pt idx="1057">
                  <c:v>45619</c:v>
                </c:pt>
                <c:pt idx="1058">
                  <c:v>45620</c:v>
                </c:pt>
                <c:pt idx="1059">
                  <c:v>45621</c:v>
                </c:pt>
                <c:pt idx="1060">
                  <c:v>45622</c:v>
                </c:pt>
                <c:pt idx="1061">
                  <c:v>45623</c:v>
                </c:pt>
                <c:pt idx="1062">
                  <c:v>45624</c:v>
                </c:pt>
                <c:pt idx="1063">
                  <c:v>45625</c:v>
                </c:pt>
                <c:pt idx="1064">
                  <c:v>45626</c:v>
                </c:pt>
                <c:pt idx="1065">
                  <c:v>45627</c:v>
                </c:pt>
                <c:pt idx="1066">
                  <c:v>45628</c:v>
                </c:pt>
                <c:pt idx="1067">
                  <c:v>45629</c:v>
                </c:pt>
                <c:pt idx="1068">
                  <c:v>45630</c:v>
                </c:pt>
                <c:pt idx="1069">
                  <c:v>45631</c:v>
                </c:pt>
                <c:pt idx="1070">
                  <c:v>45632</c:v>
                </c:pt>
                <c:pt idx="1071">
                  <c:v>45633</c:v>
                </c:pt>
                <c:pt idx="1072">
                  <c:v>45634</c:v>
                </c:pt>
                <c:pt idx="1073">
                  <c:v>45635</c:v>
                </c:pt>
                <c:pt idx="1074">
                  <c:v>45636</c:v>
                </c:pt>
                <c:pt idx="1075">
                  <c:v>45637</c:v>
                </c:pt>
                <c:pt idx="1076">
                  <c:v>45638</c:v>
                </c:pt>
                <c:pt idx="1077">
                  <c:v>45639</c:v>
                </c:pt>
                <c:pt idx="1078">
                  <c:v>45640</c:v>
                </c:pt>
                <c:pt idx="1079">
                  <c:v>45641</c:v>
                </c:pt>
                <c:pt idx="1080">
                  <c:v>45642</c:v>
                </c:pt>
                <c:pt idx="1081">
                  <c:v>45643</c:v>
                </c:pt>
                <c:pt idx="1082">
                  <c:v>45644</c:v>
                </c:pt>
                <c:pt idx="1083">
                  <c:v>45645</c:v>
                </c:pt>
                <c:pt idx="1084">
                  <c:v>45646</c:v>
                </c:pt>
                <c:pt idx="1085">
                  <c:v>45647</c:v>
                </c:pt>
                <c:pt idx="1086">
                  <c:v>45648</c:v>
                </c:pt>
                <c:pt idx="1087">
                  <c:v>45649</c:v>
                </c:pt>
                <c:pt idx="1088">
                  <c:v>45650</c:v>
                </c:pt>
                <c:pt idx="1089">
                  <c:v>45651</c:v>
                </c:pt>
                <c:pt idx="1090">
                  <c:v>45652</c:v>
                </c:pt>
                <c:pt idx="1091">
                  <c:v>45653</c:v>
                </c:pt>
                <c:pt idx="1092">
                  <c:v>45654</c:v>
                </c:pt>
                <c:pt idx="1093">
                  <c:v>45655</c:v>
                </c:pt>
                <c:pt idx="1094">
                  <c:v>45656</c:v>
                </c:pt>
                <c:pt idx="1095">
                  <c:v>45657</c:v>
                </c:pt>
                <c:pt idx="1096">
                  <c:v>45658</c:v>
                </c:pt>
                <c:pt idx="1097">
                  <c:v>45659</c:v>
                </c:pt>
                <c:pt idx="1098">
                  <c:v>45660</c:v>
                </c:pt>
                <c:pt idx="1099">
                  <c:v>45661</c:v>
                </c:pt>
                <c:pt idx="1100">
                  <c:v>45662</c:v>
                </c:pt>
                <c:pt idx="1101">
                  <c:v>45663</c:v>
                </c:pt>
                <c:pt idx="1102">
                  <c:v>45664</c:v>
                </c:pt>
                <c:pt idx="1103">
                  <c:v>45665</c:v>
                </c:pt>
                <c:pt idx="1104">
                  <c:v>45666</c:v>
                </c:pt>
                <c:pt idx="1105">
                  <c:v>45667</c:v>
                </c:pt>
                <c:pt idx="1106">
                  <c:v>45668</c:v>
                </c:pt>
                <c:pt idx="1107">
                  <c:v>45669</c:v>
                </c:pt>
                <c:pt idx="1108">
                  <c:v>45670</c:v>
                </c:pt>
                <c:pt idx="1109">
                  <c:v>45671</c:v>
                </c:pt>
                <c:pt idx="1110">
                  <c:v>45672</c:v>
                </c:pt>
                <c:pt idx="1111">
                  <c:v>45673</c:v>
                </c:pt>
                <c:pt idx="1112">
                  <c:v>45674</c:v>
                </c:pt>
                <c:pt idx="1113">
                  <c:v>45675</c:v>
                </c:pt>
                <c:pt idx="1114">
                  <c:v>45676</c:v>
                </c:pt>
                <c:pt idx="1115">
                  <c:v>45677</c:v>
                </c:pt>
                <c:pt idx="1116">
                  <c:v>45678</c:v>
                </c:pt>
                <c:pt idx="1117">
                  <c:v>45679</c:v>
                </c:pt>
                <c:pt idx="1118">
                  <c:v>45680</c:v>
                </c:pt>
                <c:pt idx="1119">
                  <c:v>45681</c:v>
                </c:pt>
                <c:pt idx="1120">
                  <c:v>45682</c:v>
                </c:pt>
                <c:pt idx="1121">
                  <c:v>45683</c:v>
                </c:pt>
                <c:pt idx="1122">
                  <c:v>45684</c:v>
                </c:pt>
                <c:pt idx="1123">
                  <c:v>45685</c:v>
                </c:pt>
                <c:pt idx="1124">
                  <c:v>45686</c:v>
                </c:pt>
                <c:pt idx="1125">
                  <c:v>45687</c:v>
                </c:pt>
                <c:pt idx="1126">
                  <c:v>45688</c:v>
                </c:pt>
                <c:pt idx="1127">
                  <c:v>45689</c:v>
                </c:pt>
                <c:pt idx="1128">
                  <c:v>45690</c:v>
                </c:pt>
                <c:pt idx="1129">
                  <c:v>45691</c:v>
                </c:pt>
                <c:pt idx="1130">
                  <c:v>45692</c:v>
                </c:pt>
                <c:pt idx="1131">
                  <c:v>45693</c:v>
                </c:pt>
                <c:pt idx="1132">
                  <c:v>45694</c:v>
                </c:pt>
                <c:pt idx="1133">
                  <c:v>45695</c:v>
                </c:pt>
                <c:pt idx="1134">
                  <c:v>45696</c:v>
                </c:pt>
                <c:pt idx="1135">
                  <c:v>45697</c:v>
                </c:pt>
                <c:pt idx="1136">
                  <c:v>45698</c:v>
                </c:pt>
                <c:pt idx="1137">
                  <c:v>45699</c:v>
                </c:pt>
                <c:pt idx="1138">
                  <c:v>45700</c:v>
                </c:pt>
                <c:pt idx="1139">
                  <c:v>45701</c:v>
                </c:pt>
                <c:pt idx="1140">
                  <c:v>45702</c:v>
                </c:pt>
                <c:pt idx="1141">
                  <c:v>45703</c:v>
                </c:pt>
                <c:pt idx="1142">
                  <c:v>45704</c:v>
                </c:pt>
                <c:pt idx="1143">
                  <c:v>45705</c:v>
                </c:pt>
                <c:pt idx="1144">
                  <c:v>45706</c:v>
                </c:pt>
                <c:pt idx="1145">
                  <c:v>45707</c:v>
                </c:pt>
                <c:pt idx="1146">
                  <c:v>45708</c:v>
                </c:pt>
                <c:pt idx="1147">
                  <c:v>45709</c:v>
                </c:pt>
                <c:pt idx="1148">
                  <c:v>45710</c:v>
                </c:pt>
                <c:pt idx="1149">
                  <c:v>45711</c:v>
                </c:pt>
                <c:pt idx="1150">
                  <c:v>45712</c:v>
                </c:pt>
                <c:pt idx="1151">
                  <c:v>45713</c:v>
                </c:pt>
                <c:pt idx="1152">
                  <c:v>45714</c:v>
                </c:pt>
                <c:pt idx="1153">
                  <c:v>45715</c:v>
                </c:pt>
                <c:pt idx="1154">
                  <c:v>45716</c:v>
                </c:pt>
                <c:pt idx="1155">
                  <c:v>45717</c:v>
                </c:pt>
                <c:pt idx="1156">
                  <c:v>45718</c:v>
                </c:pt>
                <c:pt idx="1157">
                  <c:v>45719</c:v>
                </c:pt>
                <c:pt idx="1158">
                  <c:v>45720</c:v>
                </c:pt>
                <c:pt idx="1159">
                  <c:v>45721</c:v>
                </c:pt>
                <c:pt idx="1160">
                  <c:v>45722</c:v>
                </c:pt>
                <c:pt idx="1161">
                  <c:v>45723</c:v>
                </c:pt>
                <c:pt idx="1162">
                  <c:v>45724</c:v>
                </c:pt>
                <c:pt idx="1163">
                  <c:v>45725</c:v>
                </c:pt>
                <c:pt idx="1164">
                  <c:v>45726</c:v>
                </c:pt>
                <c:pt idx="1165">
                  <c:v>45727</c:v>
                </c:pt>
                <c:pt idx="1166">
                  <c:v>45728</c:v>
                </c:pt>
                <c:pt idx="1167">
                  <c:v>45729</c:v>
                </c:pt>
                <c:pt idx="1168">
                  <c:v>45730</c:v>
                </c:pt>
                <c:pt idx="1169">
                  <c:v>45731</c:v>
                </c:pt>
                <c:pt idx="1170">
                  <c:v>45732</c:v>
                </c:pt>
                <c:pt idx="1171">
                  <c:v>45733</c:v>
                </c:pt>
                <c:pt idx="1172">
                  <c:v>45734</c:v>
                </c:pt>
                <c:pt idx="1173">
                  <c:v>45735</c:v>
                </c:pt>
                <c:pt idx="1174">
                  <c:v>45736</c:v>
                </c:pt>
                <c:pt idx="1175">
                  <c:v>45737</c:v>
                </c:pt>
                <c:pt idx="1176">
                  <c:v>45738</c:v>
                </c:pt>
                <c:pt idx="1177">
                  <c:v>45739</c:v>
                </c:pt>
                <c:pt idx="1178">
                  <c:v>45740</c:v>
                </c:pt>
                <c:pt idx="1179">
                  <c:v>45741</c:v>
                </c:pt>
                <c:pt idx="1180">
                  <c:v>45742</c:v>
                </c:pt>
                <c:pt idx="1181">
                  <c:v>45743</c:v>
                </c:pt>
                <c:pt idx="1182">
                  <c:v>45744</c:v>
                </c:pt>
                <c:pt idx="1183">
                  <c:v>45745</c:v>
                </c:pt>
                <c:pt idx="1184">
                  <c:v>45746</c:v>
                </c:pt>
                <c:pt idx="1185">
                  <c:v>45747</c:v>
                </c:pt>
                <c:pt idx="1186">
                  <c:v>45748</c:v>
                </c:pt>
                <c:pt idx="1187">
                  <c:v>45749</c:v>
                </c:pt>
                <c:pt idx="1188">
                  <c:v>45750</c:v>
                </c:pt>
                <c:pt idx="1189">
                  <c:v>45751</c:v>
                </c:pt>
                <c:pt idx="1190">
                  <c:v>45752</c:v>
                </c:pt>
                <c:pt idx="1191">
                  <c:v>45753</c:v>
                </c:pt>
                <c:pt idx="1192">
                  <c:v>45754</c:v>
                </c:pt>
                <c:pt idx="1193">
                  <c:v>45755</c:v>
                </c:pt>
                <c:pt idx="1194">
                  <c:v>45756</c:v>
                </c:pt>
                <c:pt idx="1195">
                  <c:v>45757</c:v>
                </c:pt>
                <c:pt idx="1196">
                  <c:v>45758</c:v>
                </c:pt>
                <c:pt idx="1197">
                  <c:v>45759</c:v>
                </c:pt>
                <c:pt idx="1198">
                  <c:v>45760</c:v>
                </c:pt>
                <c:pt idx="1199">
                  <c:v>45761</c:v>
                </c:pt>
                <c:pt idx="1200">
                  <c:v>45762</c:v>
                </c:pt>
                <c:pt idx="1201">
                  <c:v>45763</c:v>
                </c:pt>
                <c:pt idx="1202">
                  <c:v>45764</c:v>
                </c:pt>
                <c:pt idx="1203">
                  <c:v>45765</c:v>
                </c:pt>
                <c:pt idx="1204">
                  <c:v>45766</c:v>
                </c:pt>
                <c:pt idx="1205">
                  <c:v>45767</c:v>
                </c:pt>
                <c:pt idx="1206">
                  <c:v>45768</c:v>
                </c:pt>
                <c:pt idx="1207">
                  <c:v>45769</c:v>
                </c:pt>
                <c:pt idx="1208">
                  <c:v>45770</c:v>
                </c:pt>
                <c:pt idx="1209">
                  <c:v>45771</c:v>
                </c:pt>
                <c:pt idx="1210">
                  <c:v>45772</c:v>
                </c:pt>
                <c:pt idx="1211">
                  <c:v>45773</c:v>
                </c:pt>
                <c:pt idx="1212">
                  <c:v>45774</c:v>
                </c:pt>
                <c:pt idx="1213">
                  <c:v>45775</c:v>
                </c:pt>
                <c:pt idx="1214">
                  <c:v>45776</c:v>
                </c:pt>
                <c:pt idx="1215">
                  <c:v>45777</c:v>
                </c:pt>
                <c:pt idx="1216">
                  <c:v>45778</c:v>
                </c:pt>
                <c:pt idx="1217">
                  <c:v>45779</c:v>
                </c:pt>
                <c:pt idx="1218">
                  <c:v>45780</c:v>
                </c:pt>
                <c:pt idx="1219">
                  <c:v>45781</c:v>
                </c:pt>
                <c:pt idx="1220">
                  <c:v>45782</c:v>
                </c:pt>
                <c:pt idx="1221">
                  <c:v>45783</c:v>
                </c:pt>
                <c:pt idx="1222">
                  <c:v>45784</c:v>
                </c:pt>
                <c:pt idx="1223">
                  <c:v>45785</c:v>
                </c:pt>
                <c:pt idx="1224">
                  <c:v>45786</c:v>
                </c:pt>
                <c:pt idx="1225">
                  <c:v>45787</c:v>
                </c:pt>
                <c:pt idx="1226">
                  <c:v>45788</c:v>
                </c:pt>
                <c:pt idx="1227">
                  <c:v>45789</c:v>
                </c:pt>
                <c:pt idx="1228">
                  <c:v>45790</c:v>
                </c:pt>
                <c:pt idx="1229">
                  <c:v>45791</c:v>
                </c:pt>
                <c:pt idx="1230">
                  <c:v>45792</c:v>
                </c:pt>
                <c:pt idx="1231">
                  <c:v>45793</c:v>
                </c:pt>
                <c:pt idx="1232">
                  <c:v>45794</c:v>
                </c:pt>
                <c:pt idx="1233">
                  <c:v>45795</c:v>
                </c:pt>
                <c:pt idx="1234">
                  <c:v>45796</c:v>
                </c:pt>
                <c:pt idx="1235">
                  <c:v>45797</c:v>
                </c:pt>
                <c:pt idx="1236">
                  <c:v>45798</c:v>
                </c:pt>
                <c:pt idx="1237">
                  <c:v>45799</c:v>
                </c:pt>
                <c:pt idx="1238">
                  <c:v>45800</c:v>
                </c:pt>
                <c:pt idx="1239">
                  <c:v>45801</c:v>
                </c:pt>
                <c:pt idx="1240">
                  <c:v>45802</c:v>
                </c:pt>
                <c:pt idx="1241">
                  <c:v>45803</c:v>
                </c:pt>
                <c:pt idx="1242">
                  <c:v>45804</c:v>
                </c:pt>
                <c:pt idx="1243">
                  <c:v>45805</c:v>
                </c:pt>
                <c:pt idx="1244">
                  <c:v>45806</c:v>
                </c:pt>
                <c:pt idx="1245">
                  <c:v>45807</c:v>
                </c:pt>
                <c:pt idx="1246">
                  <c:v>45808</c:v>
                </c:pt>
              </c:numCache>
            </c:numRef>
          </c:cat>
          <c:val>
            <c:numRef>
              <c:f>FXHC!$T$12:$T$1258</c:f>
              <c:numCache>
                <c:formatCode>_(* #,##0.0_);_(* \(#,##0.0\);_(* "-"??_);_(@_)</c:formatCode>
                <c:ptCount val="1247"/>
                <c:pt idx="0" formatCode="General">
                  <c:v>100</c:v>
                </c:pt>
                <c:pt idx="1">
                  <c:v>100</c:v>
                </c:pt>
                <c:pt idx="2">
                  <c:v>100.00382112060731</c:v>
                </c:pt>
                <c:pt idx="3">
                  <c:v>100.00191052380193</c:v>
                </c:pt>
                <c:pt idx="4">
                  <c:v>100.00573179042024</c:v>
                </c:pt>
                <c:pt idx="5">
                  <c:v>100.00573179042024</c:v>
                </c:pt>
                <c:pt idx="6">
                  <c:v>100.00573179042024</c:v>
                </c:pt>
                <c:pt idx="7">
                  <c:v>100.00573179042024</c:v>
                </c:pt>
                <c:pt idx="8">
                  <c:v>100.00573179042024</c:v>
                </c:pt>
                <c:pt idx="9">
                  <c:v>100.00573179042024</c:v>
                </c:pt>
                <c:pt idx="10">
                  <c:v>100.00573179042024</c:v>
                </c:pt>
                <c:pt idx="11">
                  <c:v>100.00573179042024</c:v>
                </c:pt>
                <c:pt idx="12">
                  <c:v>100.00573179042024</c:v>
                </c:pt>
                <c:pt idx="13">
                  <c:v>100.00573179042024</c:v>
                </c:pt>
                <c:pt idx="14">
                  <c:v>100.00573179042024</c:v>
                </c:pt>
                <c:pt idx="15">
                  <c:v>100.00573179042024</c:v>
                </c:pt>
                <c:pt idx="16">
                  <c:v>100.00573179042024</c:v>
                </c:pt>
                <c:pt idx="17">
                  <c:v>100.00573179042024</c:v>
                </c:pt>
                <c:pt idx="18">
                  <c:v>100.00573179042024</c:v>
                </c:pt>
                <c:pt idx="19">
                  <c:v>100.00445800243278</c:v>
                </c:pt>
                <c:pt idx="20">
                  <c:v>100.00445800243278</c:v>
                </c:pt>
                <c:pt idx="21">
                  <c:v>100.00445800243278</c:v>
                </c:pt>
                <c:pt idx="22">
                  <c:v>100.00445800243278</c:v>
                </c:pt>
                <c:pt idx="23">
                  <c:v>100.00445800243278</c:v>
                </c:pt>
                <c:pt idx="24">
                  <c:v>100.00445800243278</c:v>
                </c:pt>
                <c:pt idx="25">
                  <c:v>100.00445800243278</c:v>
                </c:pt>
                <c:pt idx="26">
                  <c:v>100.00445800243278</c:v>
                </c:pt>
                <c:pt idx="27">
                  <c:v>100.00445800243278</c:v>
                </c:pt>
                <c:pt idx="28">
                  <c:v>100.00445800243278</c:v>
                </c:pt>
                <c:pt idx="29">
                  <c:v>100.00445800243278</c:v>
                </c:pt>
                <c:pt idx="30">
                  <c:v>100.00445800243278</c:v>
                </c:pt>
                <c:pt idx="31">
                  <c:v>100.00445800243278</c:v>
                </c:pt>
                <c:pt idx="32">
                  <c:v>100.00445800243278</c:v>
                </c:pt>
                <c:pt idx="33">
                  <c:v>100.00445800243278</c:v>
                </c:pt>
                <c:pt idx="34">
                  <c:v>100.00445800243278</c:v>
                </c:pt>
                <c:pt idx="35">
                  <c:v>100.00445800243278</c:v>
                </c:pt>
                <c:pt idx="36">
                  <c:v>100.00445800243278</c:v>
                </c:pt>
                <c:pt idx="37">
                  <c:v>100.00445800243278</c:v>
                </c:pt>
                <c:pt idx="38">
                  <c:v>100.00445800243278</c:v>
                </c:pt>
                <c:pt idx="39">
                  <c:v>100.00445800243278</c:v>
                </c:pt>
                <c:pt idx="40">
                  <c:v>100.00573179042024</c:v>
                </c:pt>
                <c:pt idx="41">
                  <c:v>100.00573179042024</c:v>
                </c:pt>
                <c:pt idx="42">
                  <c:v>100.00573179042024</c:v>
                </c:pt>
                <c:pt idx="43">
                  <c:v>100.00573179042024</c:v>
                </c:pt>
                <c:pt idx="44">
                  <c:v>100.00573179042024</c:v>
                </c:pt>
                <c:pt idx="45">
                  <c:v>100.00573179042024</c:v>
                </c:pt>
                <c:pt idx="46">
                  <c:v>100.00636869658253</c:v>
                </c:pt>
                <c:pt idx="47">
                  <c:v>99.994905626735232</c:v>
                </c:pt>
                <c:pt idx="48">
                  <c:v>99.994905626735232</c:v>
                </c:pt>
                <c:pt idx="49">
                  <c:v>99.994905626735232</c:v>
                </c:pt>
                <c:pt idx="50">
                  <c:v>99.994905626735232</c:v>
                </c:pt>
                <c:pt idx="51">
                  <c:v>99.994905626735232</c:v>
                </c:pt>
                <c:pt idx="52">
                  <c:v>99.994905626735232</c:v>
                </c:pt>
                <c:pt idx="53">
                  <c:v>99.994905626735232</c:v>
                </c:pt>
                <c:pt idx="54">
                  <c:v>99.994905626735232</c:v>
                </c:pt>
                <c:pt idx="55">
                  <c:v>99.994905626735232</c:v>
                </c:pt>
                <c:pt idx="56">
                  <c:v>99.994905626735232</c:v>
                </c:pt>
                <c:pt idx="57">
                  <c:v>99.994905626735232</c:v>
                </c:pt>
                <c:pt idx="58">
                  <c:v>99.994905626735232</c:v>
                </c:pt>
                <c:pt idx="59">
                  <c:v>99.994905626735232</c:v>
                </c:pt>
                <c:pt idx="60">
                  <c:v>99.994905626735232</c:v>
                </c:pt>
                <c:pt idx="61">
                  <c:v>99.994905626735232</c:v>
                </c:pt>
                <c:pt idx="62">
                  <c:v>99.994905626735232</c:v>
                </c:pt>
                <c:pt idx="63">
                  <c:v>99.994905626735232</c:v>
                </c:pt>
                <c:pt idx="64">
                  <c:v>99.994905626735232</c:v>
                </c:pt>
                <c:pt idx="65">
                  <c:v>99.936357619265792</c:v>
                </c:pt>
                <c:pt idx="66">
                  <c:v>99.996815955881843</c:v>
                </c:pt>
                <c:pt idx="67">
                  <c:v>100.00063683315602</c:v>
                </c:pt>
                <c:pt idx="68">
                  <c:v>100.00063683315602</c:v>
                </c:pt>
                <c:pt idx="69">
                  <c:v>100.00063683315602</c:v>
                </c:pt>
                <c:pt idx="70">
                  <c:v>100.00063683315602</c:v>
                </c:pt>
                <c:pt idx="71">
                  <c:v>100.00063683315602</c:v>
                </c:pt>
                <c:pt idx="72">
                  <c:v>100.00063683315602</c:v>
                </c:pt>
                <c:pt idx="73">
                  <c:v>100.00063683315602</c:v>
                </c:pt>
                <c:pt idx="74">
                  <c:v>100.00254738129198</c:v>
                </c:pt>
                <c:pt idx="75">
                  <c:v>100.00254738129198</c:v>
                </c:pt>
                <c:pt idx="76">
                  <c:v>100.00254738129198</c:v>
                </c:pt>
                <c:pt idx="77">
                  <c:v>100.00254738129198</c:v>
                </c:pt>
                <c:pt idx="78">
                  <c:v>100.00254738129198</c:v>
                </c:pt>
                <c:pt idx="79">
                  <c:v>100.00254738129198</c:v>
                </c:pt>
                <c:pt idx="80">
                  <c:v>100.00254738129198</c:v>
                </c:pt>
                <c:pt idx="81">
                  <c:v>85.48346707023633</c:v>
                </c:pt>
                <c:pt idx="82">
                  <c:v>85.728948287910498</c:v>
                </c:pt>
                <c:pt idx="83">
                  <c:v>85.728948287910498</c:v>
                </c:pt>
                <c:pt idx="84">
                  <c:v>85.728948287910498</c:v>
                </c:pt>
                <c:pt idx="85">
                  <c:v>85.727544207325337</c:v>
                </c:pt>
                <c:pt idx="86">
                  <c:v>85.727544207325337</c:v>
                </c:pt>
                <c:pt idx="87">
                  <c:v>85.727544207325337</c:v>
                </c:pt>
                <c:pt idx="88">
                  <c:v>85.727544207325337</c:v>
                </c:pt>
                <c:pt idx="89">
                  <c:v>85.727544207325337</c:v>
                </c:pt>
                <c:pt idx="90">
                  <c:v>85.727544207325337</c:v>
                </c:pt>
                <c:pt idx="91">
                  <c:v>85.727544207325337</c:v>
                </c:pt>
                <c:pt idx="92">
                  <c:v>85.95513613522651</c:v>
                </c:pt>
                <c:pt idx="93">
                  <c:v>85.95513613522651</c:v>
                </c:pt>
                <c:pt idx="94">
                  <c:v>85.932087449038178</c:v>
                </c:pt>
                <c:pt idx="95">
                  <c:v>85.891194713984035</c:v>
                </c:pt>
                <c:pt idx="96">
                  <c:v>85.661604259404683</c:v>
                </c:pt>
                <c:pt idx="97">
                  <c:v>85.661604259404683</c:v>
                </c:pt>
                <c:pt idx="98">
                  <c:v>85.661604259404683</c:v>
                </c:pt>
                <c:pt idx="99">
                  <c:v>85.615833378768826</c:v>
                </c:pt>
                <c:pt idx="100">
                  <c:v>85.287999348233399</c:v>
                </c:pt>
                <c:pt idx="101">
                  <c:v>84.87220093288721</c:v>
                </c:pt>
                <c:pt idx="102">
                  <c:v>85.276420115129753</c:v>
                </c:pt>
                <c:pt idx="103">
                  <c:v>85.410932825673058</c:v>
                </c:pt>
                <c:pt idx="104">
                  <c:v>85.410932825673058</c:v>
                </c:pt>
                <c:pt idx="105">
                  <c:v>85.410932825673058</c:v>
                </c:pt>
                <c:pt idx="106">
                  <c:v>85.410932825673058</c:v>
                </c:pt>
                <c:pt idx="107">
                  <c:v>85.347334322533612</c:v>
                </c:pt>
                <c:pt idx="108">
                  <c:v>85.090195780929065</c:v>
                </c:pt>
                <c:pt idx="109">
                  <c:v>84.988417657119314</c:v>
                </c:pt>
                <c:pt idx="110">
                  <c:v>84.616545242919301</c:v>
                </c:pt>
                <c:pt idx="111">
                  <c:v>84.616545242919301</c:v>
                </c:pt>
                <c:pt idx="112">
                  <c:v>84.616545242919301</c:v>
                </c:pt>
                <c:pt idx="113">
                  <c:v>84.616545242919301</c:v>
                </c:pt>
                <c:pt idx="114">
                  <c:v>84.616545242919301</c:v>
                </c:pt>
                <c:pt idx="115">
                  <c:v>84.820396478150442</c:v>
                </c:pt>
                <c:pt idx="116">
                  <c:v>84.904323941453455</c:v>
                </c:pt>
                <c:pt idx="117">
                  <c:v>84.904323941453455</c:v>
                </c:pt>
                <c:pt idx="118">
                  <c:v>84.904323941453455</c:v>
                </c:pt>
                <c:pt idx="119">
                  <c:v>84.904323941453455</c:v>
                </c:pt>
                <c:pt idx="120">
                  <c:v>84.904323941453455</c:v>
                </c:pt>
                <c:pt idx="121">
                  <c:v>84.904323941453455</c:v>
                </c:pt>
                <c:pt idx="122">
                  <c:v>84.904323941453455</c:v>
                </c:pt>
                <c:pt idx="123">
                  <c:v>84.904323941453455</c:v>
                </c:pt>
                <c:pt idx="124">
                  <c:v>84.904323941453455</c:v>
                </c:pt>
                <c:pt idx="125">
                  <c:v>84.904323941453455</c:v>
                </c:pt>
                <c:pt idx="126">
                  <c:v>84.904323941453455</c:v>
                </c:pt>
                <c:pt idx="127">
                  <c:v>84.904323941453455</c:v>
                </c:pt>
                <c:pt idx="128">
                  <c:v>84.904323941453455</c:v>
                </c:pt>
                <c:pt idx="129">
                  <c:v>84.904323941453455</c:v>
                </c:pt>
                <c:pt idx="130">
                  <c:v>85.109565801811343</c:v>
                </c:pt>
                <c:pt idx="131">
                  <c:v>85.535618960464504</c:v>
                </c:pt>
                <c:pt idx="132">
                  <c:v>85.535618960464504</c:v>
                </c:pt>
                <c:pt idx="133">
                  <c:v>85.535618960464504</c:v>
                </c:pt>
                <c:pt idx="134">
                  <c:v>85.535618960464504</c:v>
                </c:pt>
                <c:pt idx="135">
                  <c:v>85.927855360504267</c:v>
                </c:pt>
                <c:pt idx="136">
                  <c:v>85.97490199513804</c:v>
                </c:pt>
                <c:pt idx="137">
                  <c:v>85.97490199513804</c:v>
                </c:pt>
                <c:pt idx="138">
                  <c:v>85.97490199513804</c:v>
                </c:pt>
                <c:pt idx="139">
                  <c:v>85.97490199513804</c:v>
                </c:pt>
                <c:pt idx="140">
                  <c:v>85.97490199513804</c:v>
                </c:pt>
                <c:pt idx="141">
                  <c:v>85.97490199513804</c:v>
                </c:pt>
                <c:pt idx="142">
                  <c:v>85.361716932309847</c:v>
                </c:pt>
                <c:pt idx="143">
                  <c:v>84.854772905352405</c:v>
                </c:pt>
                <c:pt idx="144">
                  <c:v>84.583728346117312</c:v>
                </c:pt>
                <c:pt idx="145">
                  <c:v>84.488157625714209</c:v>
                </c:pt>
                <c:pt idx="146">
                  <c:v>84.488157625714209</c:v>
                </c:pt>
                <c:pt idx="147">
                  <c:v>84.488157625714209</c:v>
                </c:pt>
                <c:pt idx="148">
                  <c:v>84.488157625714209</c:v>
                </c:pt>
                <c:pt idx="149">
                  <c:v>84.485884764584611</c:v>
                </c:pt>
                <c:pt idx="150">
                  <c:v>84.485884764584611</c:v>
                </c:pt>
                <c:pt idx="151">
                  <c:v>84.350642723234131</c:v>
                </c:pt>
                <c:pt idx="152">
                  <c:v>84.257406085841325</c:v>
                </c:pt>
                <c:pt idx="153">
                  <c:v>84.257406085841325</c:v>
                </c:pt>
                <c:pt idx="154">
                  <c:v>84.257406085841325</c:v>
                </c:pt>
                <c:pt idx="155">
                  <c:v>84.257406085841325</c:v>
                </c:pt>
                <c:pt idx="156">
                  <c:v>84.258310305046493</c:v>
                </c:pt>
                <c:pt idx="157">
                  <c:v>84.14768769090611</c:v>
                </c:pt>
                <c:pt idx="158">
                  <c:v>84.028361204013322</c:v>
                </c:pt>
                <c:pt idx="159">
                  <c:v>84.027911556326075</c:v>
                </c:pt>
                <c:pt idx="160">
                  <c:v>84.027911556326075</c:v>
                </c:pt>
                <c:pt idx="161">
                  <c:v>84.027911556326075</c:v>
                </c:pt>
                <c:pt idx="162">
                  <c:v>84.027911556326075</c:v>
                </c:pt>
                <c:pt idx="163">
                  <c:v>83.935835279905433</c:v>
                </c:pt>
                <c:pt idx="164">
                  <c:v>83.803241593151711</c:v>
                </c:pt>
                <c:pt idx="165">
                  <c:v>83.760774942391336</c:v>
                </c:pt>
                <c:pt idx="166">
                  <c:v>83.760774942391336</c:v>
                </c:pt>
                <c:pt idx="167">
                  <c:v>83.760774942391336</c:v>
                </c:pt>
                <c:pt idx="168">
                  <c:v>83.760774942391336</c:v>
                </c:pt>
                <c:pt idx="169">
                  <c:v>83.760774942391336</c:v>
                </c:pt>
                <c:pt idx="170">
                  <c:v>83.760774942391336</c:v>
                </c:pt>
                <c:pt idx="171">
                  <c:v>83.760774942391336</c:v>
                </c:pt>
                <c:pt idx="172">
                  <c:v>83.761221735628396</c:v>
                </c:pt>
                <c:pt idx="173">
                  <c:v>83.765243089266022</c:v>
                </c:pt>
                <c:pt idx="174">
                  <c:v>83.765243089266022</c:v>
                </c:pt>
                <c:pt idx="175">
                  <c:v>83.765243089266022</c:v>
                </c:pt>
                <c:pt idx="176">
                  <c:v>83.765243089266022</c:v>
                </c:pt>
                <c:pt idx="177">
                  <c:v>83.763455773313495</c:v>
                </c:pt>
                <c:pt idx="178">
                  <c:v>83.675078864353239</c:v>
                </c:pt>
                <c:pt idx="179">
                  <c:v>83.541529229001242</c:v>
                </c:pt>
                <c:pt idx="180">
                  <c:v>83.541529229001242</c:v>
                </c:pt>
                <c:pt idx="181">
                  <c:v>83.541529229001242</c:v>
                </c:pt>
                <c:pt idx="182">
                  <c:v>83.541529229001242</c:v>
                </c:pt>
                <c:pt idx="183">
                  <c:v>83.541529229001242</c:v>
                </c:pt>
                <c:pt idx="184">
                  <c:v>83.318122970477674</c:v>
                </c:pt>
                <c:pt idx="185">
                  <c:v>83.318122970477674</c:v>
                </c:pt>
                <c:pt idx="186">
                  <c:v>83.318122970477674</c:v>
                </c:pt>
                <c:pt idx="187">
                  <c:v>83.231123949858173</c:v>
                </c:pt>
                <c:pt idx="188">
                  <c:v>83.231123949858173</c:v>
                </c:pt>
                <c:pt idx="189">
                  <c:v>83.231123949858173</c:v>
                </c:pt>
                <c:pt idx="190">
                  <c:v>83.231123949858173</c:v>
                </c:pt>
                <c:pt idx="191">
                  <c:v>83.231123949858173</c:v>
                </c:pt>
                <c:pt idx="192">
                  <c:v>83.231123949858173</c:v>
                </c:pt>
                <c:pt idx="193">
                  <c:v>83.231123949858173</c:v>
                </c:pt>
                <c:pt idx="194">
                  <c:v>83.231123949858173</c:v>
                </c:pt>
                <c:pt idx="195">
                  <c:v>83.231123949858173</c:v>
                </c:pt>
                <c:pt idx="196">
                  <c:v>83.231123949858173</c:v>
                </c:pt>
                <c:pt idx="197">
                  <c:v>83.231123949858173</c:v>
                </c:pt>
                <c:pt idx="198">
                  <c:v>83.143425957302568</c:v>
                </c:pt>
                <c:pt idx="199">
                  <c:v>83.010689024454663</c:v>
                </c:pt>
                <c:pt idx="200">
                  <c:v>83.010689024454663</c:v>
                </c:pt>
                <c:pt idx="201">
                  <c:v>82.994455690448817</c:v>
                </c:pt>
                <c:pt idx="202">
                  <c:v>82.994455690448817</c:v>
                </c:pt>
                <c:pt idx="203">
                  <c:v>82.994455690448817</c:v>
                </c:pt>
                <c:pt idx="204">
                  <c:v>82.994455690448817</c:v>
                </c:pt>
                <c:pt idx="205">
                  <c:v>82.994455690448817</c:v>
                </c:pt>
                <c:pt idx="206">
                  <c:v>82.994455690448817</c:v>
                </c:pt>
                <c:pt idx="207">
                  <c:v>82.963323013197737</c:v>
                </c:pt>
                <c:pt idx="208">
                  <c:v>82.967268116133397</c:v>
                </c:pt>
                <c:pt idx="209">
                  <c:v>82.967268116133397</c:v>
                </c:pt>
                <c:pt idx="210">
                  <c:v>82.967268116133397</c:v>
                </c:pt>
                <c:pt idx="211">
                  <c:v>82.883187213985167</c:v>
                </c:pt>
                <c:pt idx="212">
                  <c:v>82.881437340666338</c:v>
                </c:pt>
                <c:pt idx="213">
                  <c:v>82.528603938592781</c:v>
                </c:pt>
                <c:pt idx="214">
                  <c:v>82.270469643942349</c:v>
                </c:pt>
                <c:pt idx="215">
                  <c:v>82.140932891839086</c:v>
                </c:pt>
                <c:pt idx="216">
                  <c:v>82.140932891839086</c:v>
                </c:pt>
                <c:pt idx="217">
                  <c:v>82.140932891839086</c:v>
                </c:pt>
                <c:pt idx="218">
                  <c:v>82.140932891839086</c:v>
                </c:pt>
                <c:pt idx="219">
                  <c:v>82.055944859876504</c:v>
                </c:pt>
                <c:pt idx="220">
                  <c:v>82.055944859876504</c:v>
                </c:pt>
                <c:pt idx="221">
                  <c:v>82.055944859876504</c:v>
                </c:pt>
                <c:pt idx="222">
                  <c:v>82.053372210290831</c:v>
                </c:pt>
                <c:pt idx="223">
                  <c:v>82.053372210290831</c:v>
                </c:pt>
                <c:pt idx="224">
                  <c:v>82.053372210290831</c:v>
                </c:pt>
                <c:pt idx="225">
                  <c:v>82.053372210290831</c:v>
                </c:pt>
                <c:pt idx="226">
                  <c:v>82.053800974019126</c:v>
                </c:pt>
                <c:pt idx="227">
                  <c:v>82.053800974019126</c:v>
                </c:pt>
                <c:pt idx="228">
                  <c:v>82.053800974019126</c:v>
                </c:pt>
                <c:pt idx="229">
                  <c:v>82.053800974019126</c:v>
                </c:pt>
                <c:pt idx="230">
                  <c:v>82.053800974019126</c:v>
                </c:pt>
                <c:pt idx="231">
                  <c:v>82.053800974019126</c:v>
                </c:pt>
                <c:pt idx="232">
                  <c:v>82.053800974019126</c:v>
                </c:pt>
                <c:pt idx="233">
                  <c:v>82.051228458861459</c:v>
                </c:pt>
                <c:pt idx="234">
                  <c:v>82.014373459240318</c:v>
                </c:pt>
                <c:pt idx="235">
                  <c:v>81.942045472335082</c:v>
                </c:pt>
                <c:pt idx="236">
                  <c:v>81.882225339333431</c:v>
                </c:pt>
                <c:pt idx="237">
                  <c:v>81.882225339333431</c:v>
                </c:pt>
                <c:pt idx="238">
                  <c:v>81.882225339333431</c:v>
                </c:pt>
                <c:pt idx="239">
                  <c:v>81.882225339333431</c:v>
                </c:pt>
                <c:pt idx="240">
                  <c:v>81.882225339333431</c:v>
                </c:pt>
                <c:pt idx="241">
                  <c:v>81.882225339333431</c:v>
                </c:pt>
                <c:pt idx="242">
                  <c:v>81.715192672963283</c:v>
                </c:pt>
                <c:pt idx="243">
                  <c:v>81.715617909702075</c:v>
                </c:pt>
                <c:pt idx="244">
                  <c:v>81.715617909702075</c:v>
                </c:pt>
                <c:pt idx="245">
                  <c:v>81.715617909702075</c:v>
                </c:pt>
                <c:pt idx="246">
                  <c:v>81.716468396457117</c:v>
                </c:pt>
                <c:pt idx="247">
                  <c:v>81.714342212762816</c:v>
                </c:pt>
                <c:pt idx="248">
                  <c:v>81.691386477023798</c:v>
                </c:pt>
                <c:pt idx="249">
                  <c:v>81.5424880044866</c:v>
                </c:pt>
                <c:pt idx="250">
                  <c:v>81.44056676676361</c:v>
                </c:pt>
                <c:pt idx="251">
                  <c:v>81.44056676676361</c:v>
                </c:pt>
                <c:pt idx="252">
                  <c:v>81.44056676676361</c:v>
                </c:pt>
                <c:pt idx="253">
                  <c:v>81.44056676676361</c:v>
                </c:pt>
                <c:pt idx="254">
                  <c:v>81.161487729744223</c:v>
                </c:pt>
                <c:pt idx="255">
                  <c:v>81.162746222987167</c:v>
                </c:pt>
                <c:pt idx="256">
                  <c:v>81.101125916744124</c:v>
                </c:pt>
                <c:pt idx="257">
                  <c:v>80.913906465774858</c:v>
                </c:pt>
                <c:pt idx="258">
                  <c:v>80.913906465774858</c:v>
                </c:pt>
                <c:pt idx="259">
                  <c:v>80.913906465774858</c:v>
                </c:pt>
                <c:pt idx="260">
                  <c:v>80.913906465774858</c:v>
                </c:pt>
                <c:pt idx="261">
                  <c:v>80.913072602669104</c:v>
                </c:pt>
                <c:pt idx="262">
                  <c:v>80.828940866414072</c:v>
                </c:pt>
                <c:pt idx="263">
                  <c:v>80.621858490226955</c:v>
                </c:pt>
                <c:pt idx="264">
                  <c:v>80.624342155931473</c:v>
                </c:pt>
                <c:pt idx="265">
                  <c:v>80.624342155931473</c:v>
                </c:pt>
                <c:pt idx="266">
                  <c:v>80.624342155931473</c:v>
                </c:pt>
                <c:pt idx="267">
                  <c:v>80.624342155931473</c:v>
                </c:pt>
                <c:pt idx="268">
                  <c:v>80.542461903027714</c:v>
                </c:pt>
                <c:pt idx="269">
                  <c:v>80.541635678198602</c:v>
                </c:pt>
                <c:pt idx="270">
                  <c:v>80.45992324364758</c:v>
                </c:pt>
                <c:pt idx="271">
                  <c:v>80.45992324364758</c:v>
                </c:pt>
                <c:pt idx="272">
                  <c:v>80.45992324364758</c:v>
                </c:pt>
                <c:pt idx="273">
                  <c:v>80.45992324364758</c:v>
                </c:pt>
                <c:pt idx="274">
                  <c:v>80.45992324364758</c:v>
                </c:pt>
                <c:pt idx="275">
                  <c:v>80.45992324364758</c:v>
                </c:pt>
                <c:pt idx="276">
                  <c:v>79.924263631782793</c:v>
                </c:pt>
                <c:pt idx="277">
                  <c:v>79.924263631782793</c:v>
                </c:pt>
                <c:pt idx="278">
                  <c:v>79.924263631782793</c:v>
                </c:pt>
                <c:pt idx="279">
                  <c:v>79.924263631782793</c:v>
                </c:pt>
                <c:pt idx="280">
                  <c:v>79.924263631782793</c:v>
                </c:pt>
                <c:pt idx="281">
                  <c:v>79.924670433144996</c:v>
                </c:pt>
                <c:pt idx="282">
                  <c:v>79.932807330109412</c:v>
                </c:pt>
                <c:pt idx="283">
                  <c:v>79.845828418012417</c:v>
                </c:pt>
                <c:pt idx="284">
                  <c:v>79.845828418012417</c:v>
                </c:pt>
                <c:pt idx="285">
                  <c:v>79.845828418012417</c:v>
                </c:pt>
                <c:pt idx="286">
                  <c:v>79.845828418012417</c:v>
                </c:pt>
                <c:pt idx="287">
                  <c:v>79.845828418012417</c:v>
                </c:pt>
                <c:pt idx="288">
                  <c:v>79.845828418012417</c:v>
                </c:pt>
                <c:pt idx="289">
                  <c:v>79.845828418012417</c:v>
                </c:pt>
                <c:pt idx="290">
                  <c:v>79.845828418012417</c:v>
                </c:pt>
                <c:pt idx="291">
                  <c:v>79.840956700359953</c:v>
                </c:pt>
                <c:pt idx="292">
                  <c:v>79.840956700359953</c:v>
                </c:pt>
                <c:pt idx="293">
                  <c:v>79.840956700359953</c:v>
                </c:pt>
                <c:pt idx="294">
                  <c:v>79.840956700359953</c:v>
                </c:pt>
                <c:pt idx="295">
                  <c:v>79.840956700359953</c:v>
                </c:pt>
                <c:pt idx="296">
                  <c:v>79.840956700359953</c:v>
                </c:pt>
                <c:pt idx="297">
                  <c:v>79.801598796582851</c:v>
                </c:pt>
                <c:pt idx="298">
                  <c:v>79.720975570131785</c:v>
                </c:pt>
                <c:pt idx="299">
                  <c:v>68.748905467409173</c:v>
                </c:pt>
                <c:pt idx="300">
                  <c:v>68.748905467409173</c:v>
                </c:pt>
                <c:pt idx="301">
                  <c:v>68.748905467409173</c:v>
                </c:pt>
                <c:pt idx="302">
                  <c:v>68.748905467409173</c:v>
                </c:pt>
                <c:pt idx="303">
                  <c:v>65.329522430656951</c:v>
                </c:pt>
                <c:pt idx="304">
                  <c:v>65.143871759981394</c:v>
                </c:pt>
                <c:pt idx="305">
                  <c:v>64.865891994828161</c:v>
                </c:pt>
                <c:pt idx="306">
                  <c:v>64.88760330578512</c:v>
                </c:pt>
                <c:pt idx="307">
                  <c:v>64.88760330578512</c:v>
                </c:pt>
                <c:pt idx="308">
                  <c:v>64.88760330578512</c:v>
                </c:pt>
                <c:pt idx="309">
                  <c:v>64.88760330578512</c:v>
                </c:pt>
                <c:pt idx="310">
                  <c:v>64.659957504982458</c:v>
                </c:pt>
                <c:pt idx="311">
                  <c:v>64.527635093486737</c:v>
                </c:pt>
                <c:pt idx="312">
                  <c:v>64.487885010266922</c:v>
                </c:pt>
                <c:pt idx="313">
                  <c:v>64.448183870305755</c:v>
                </c:pt>
                <c:pt idx="314">
                  <c:v>64.448183870305755</c:v>
                </c:pt>
                <c:pt idx="315">
                  <c:v>64.448183870305755</c:v>
                </c:pt>
                <c:pt idx="316">
                  <c:v>64.448183870305755</c:v>
                </c:pt>
                <c:pt idx="317">
                  <c:v>64.421743589743571</c:v>
                </c:pt>
                <c:pt idx="318">
                  <c:v>64.304873604075453</c:v>
                </c:pt>
                <c:pt idx="319">
                  <c:v>64.203386226945057</c:v>
                </c:pt>
                <c:pt idx="320">
                  <c:v>64.171900988561433</c:v>
                </c:pt>
                <c:pt idx="321">
                  <c:v>64.171900988561433</c:v>
                </c:pt>
                <c:pt idx="322">
                  <c:v>64.171900988561433</c:v>
                </c:pt>
                <c:pt idx="323">
                  <c:v>64.171900988561433</c:v>
                </c:pt>
                <c:pt idx="324">
                  <c:v>64.158529111338069</c:v>
                </c:pt>
                <c:pt idx="325">
                  <c:v>64.132325913824758</c:v>
                </c:pt>
                <c:pt idx="326">
                  <c:v>64.079983676800609</c:v>
                </c:pt>
                <c:pt idx="327">
                  <c:v>64.011805422504452</c:v>
                </c:pt>
                <c:pt idx="328">
                  <c:v>64.011805422504452</c:v>
                </c:pt>
                <c:pt idx="329">
                  <c:v>64.011805422504452</c:v>
                </c:pt>
                <c:pt idx="330">
                  <c:v>64.011805422504452</c:v>
                </c:pt>
                <c:pt idx="331">
                  <c:v>63.960441207618445</c:v>
                </c:pt>
                <c:pt idx="332">
                  <c:v>63.959399133239877</c:v>
                </c:pt>
                <c:pt idx="333">
                  <c:v>63.930755388360929</c:v>
                </c:pt>
                <c:pt idx="334">
                  <c:v>63.934659842756879</c:v>
                </c:pt>
                <c:pt idx="335">
                  <c:v>63.934659842756879</c:v>
                </c:pt>
                <c:pt idx="336">
                  <c:v>63.934659842756879</c:v>
                </c:pt>
                <c:pt idx="337">
                  <c:v>63.934659842756879</c:v>
                </c:pt>
                <c:pt idx="338">
                  <c:v>63.930495108357064</c:v>
                </c:pt>
                <c:pt idx="339">
                  <c:v>63.923468349277378</c:v>
                </c:pt>
                <c:pt idx="340">
                  <c:v>63.853025971755109</c:v>
                </c:pt>
                <c:pt idx="341">
                  <c:v>63.884458909682621</c:v>
                </c:pt>
                <c:pt idx="342">
                  <c:v>63.884458909682621</c:v>
                </c:pt>
                <c:pt idx="343">
                  <c:v>63.884458909682621</c:v>
                </c:pt>
                <c:pt idx="344">
                  <c:v>63.884458909682621</c:v>
                </c:pt>
                <c:pt idx="345">
                  <c:v>63.765903101231586</c:v>
                </c:pt>
                <c:pt idx="346">
                  <c:v>63.806582689963378</c:v>
                </c:pt>
                <c:pt idx="347">
                  <c:v>63.664301642002783</c:v>
                </c:pt>
                <c:pt idx="348">
                  <c:v>63.662752983912753</c:v>
                </c:pt>
                <c:pt idx="349">
                  <c:v>63.662752983912753</c:v>
                </c:pt>
                <c:pt idx="350">
                  <c:v>63.662752983912753</c:v>
                </c:pt>
                <c:pt idx="351">
                  <c:v>63.662752983912753</c:v>
                </c:pt>
                <c:pt idx="352">
                  <c:v>63.585673503269767</c:v>
                </c:pt>
                <c:pt idx="353">
                  <c:v>63.535504754197795</c:v>
                </c:pt>
                <c:pt idx="354">
                  <c:v>63.535504754197795</c:v>
                </c:pt>
                <c:pt idx="355">
                  <c:v>63.585673503269774</c:v>
                </c:pt>
                <c:pt idx="356">
                  <c:v>63.585673503269774</c:v>
                </c:pt>
                <c:pt idx="357">
                  <c:v>63.585673503269774</c:v>
                </c:pt>
                <c:pt idx="358">
                  <c:v>63.585673503269774</c:v>
                </c:pt>
                <c:pt idx="359">
                  <c:v>63.587475905858675</c:v>
                </c:pt>
                <c:pt idx="360">
                  <c:v>63.586960923263774</c:v>
                </c:pt>
                <c:pt idx="361">
                  <c:v>63.612720275470885</c:v>
                </c:pt>
                <c:pt idx="362">
                  <c:v>63.540389510016894</c:v>
                </c:pt>
                <c:pt idx="363">
                  <c:v>63.540389510016894</c:v>
                </c:pt>
                <c:pt idx="364">
                  <c:v>63.540389510016894</c:v>
                </c:pt>
                <c:pt idx="365">
                  <c:v>63.540389510016894</c:v>
                </c:pt>
                <c:pt idx="366">
                  <c:v>63.484131797048668</c:v>
                </c:pt>
                <c:pt idx="367">
                  <c:v>63.524966523862062</c:v>
                </c:pt>
                <c:pt idx="368">
                  <c:v>59.763273073263512</c:v>
                </c:pt>
                <c:pt idx="369">
                  <c:v>58.21241890639476</c:v>
                </c:pt>
                <c:pt idx="370">
                  <c:v>58.21241890639476</c:v>
                </c:pt>
                <c:pt idx="371">
                  <c:v>58.21241890639476</c:v>
                </c:pt>
                <c:pt idx="372">
                  <c:v>58.21241890639476</c:v>
                </c:pt>
                <c:pt idx="373">
                  <c:v>57.257247037374611</c:v>
                </c:pt>
                <c:pt idx="374">
                  <c:v>56.958177663317457</c:v>
                </c:pt>
                <c:pt idx="375">
                  <c:v>52.738203190596096</c:v>
                </c:pt>
                <c:pt idx="376">
                  <c:v>53.143359956680605</c:v>
                </c:pt>
                <c:pt idx="377">
                  <c:v>53.143359956680605</c:v>
                </c:pt>
                <c:pt idx="378">
                  <c:v>53.143359956680605</c:v>
                </c:pt>
                <c:pt idx="379">
                  <c:v>53.143359956680605</c:v>
                </c:pt>
                <c:pt idx="380">
                  <c:v>53.148756134709707</c:v>
                </c:pt>
                <c:pt idx="381">
                  <c:v>53.212333571672985</c:v>
                </c:pt>
                <c:pt idx="382">
                  <c:v>53.139763113367117</c:v>
                </c:pt>
                <c:pt idx="383">
                  <c:v>52.800268997982457</c:v>
                </c:pt>
                <c:pt idx="384">
                  <c:v>52.800268997982457</c:v>
                </c:pt>
                <c:pt idx="385">
                  <c:v>52.800268997982457</c:v>
                </c:pt>
                <c:pt idx="386">
                  <c:v>52.800268997982457</c:v>
                </c:pt>
                <c:pt idx="387">
                  <c:v>52.658618376928182</c:v>
                </c:pt>
                <c:pt idx="388">
                  <c:v>52.636554093689718</c:v>
                </c:pt>
                <c:pt idx="389">
                  <c:v>52.711648204095283</c:v>
                </c:pt>
                <c:pt idx="390">
                  <c:v>52.711648204095283</c:v>
                </c:pt>
                <c:pt idx="391">
                  <c:v>52.711648204095283</c:v>
                </c:pt>
                <c:pt idx="392">
                  <c:v>52.711648204095283</c:v>
                </c:pt>
                <c:pt idx="393">
                  <c:v>52.711648204095283</c:v>
                </c:pt>
                <c:pt idx="394">
                  <c:v>52.388943566817289</c:v>
                </c:pt>
                <c:pt idx="395">
                  <c:v>52.20345744680845</c:v>
                </c:pt>
                <c:pt idx="396">
                  <c:v>52.095214398274805</c:v>
                </c:pt>
                <c:pt idx="397">
                  <c:v>52.030483764082113</c:v>
                </c:pt>
                <c:pt idx="398">
                  <c:v>52.030483764082113</c:v>
                </c:pt>
                <c:pt idx="399">
                  <c:v>52.030483764082113</c:v>
                </c:pt>
                <c:pt idx="400">
                  <c:v>52.030483764082113</c:v>
                </c:pt>
                <c:pt idx="401">
                  <c:v>51.9160894648967</c:v>
                </c:pt>
                <c:pt idx="402">
                  <c:v>51.904077214206559</c:v>
                </c:pt>
                <c:pt idx="403">
                  <c:v>51.785796732470111</c:v>
                </c:pt>
                <c:pt idx="404">
                  <c:v>51.653947368420994</c:v>
                </c:pt>
                <c:pt idx="405">
                  <c:v>51.653947368420994</c:v>
                </c:pt>
                <c:pt idx="406">
                  <c:v>51.653947368420994</c:v>
                </c:pt>
                <c:pt idx="407">
                  <c:v>51.653947368420994</c:v>
                </c:pt>
                <c:pt idx="408">
                  <c:v>51.569129720853809</c:v>
                </c:pt>
                <c:pt idx="409">
                  <c:v>51.450851900393133</c:v>
                </c:pt>
                <c:pt idx="410">
                  <c:v>51.447817625434887</c:v>
                </c:pt>
                <c:pt idx="411">
                  <c:v>51.446469173661434</c:v>
                </c:pt>
                <c:pt idx="412">
                  <c:v>51.446469173661434</c:v>
                </c:pt>
                <c:pt idx="413">
                  <c:v>51.446469173661434</c:v>
                </c:pt>
                <c:pt idx="414">
                  <c:v>51.446469173661434</c:v>
                </c:pt>
                <c:pt idx="415">
                  <c:v>51.450851900393133</c:v>
                </c:pt>
                <c:pt idx="416">
                  <c:v>51.399654341677966</c:v>
                </c:pt>
                <c:pt idx="417">
                  <c:v>51.348726484351197</c:v>
                </c:pt>
                <c:pt idx="418">
                  <c:v>51.349901896664441</c:v>
                </c:pt>
                <c:pt idx="419">
                  <c:v>51.349901896664441</c:v>
                </c:pt>
                <c:pt idx="420">
                  <c:v>51.349901896664441</c:v>
                </c:pt>
                <c:pt idx="421">
                  <c:v>51.349901896664441</c:v>
                </c:pt>
                <c:pt idx="422">
                  <c:v>51.350741509834975</c:v>
                </c:pt>
                <c:pt idx="423">
                  <c:v>51.433999344906603</c:v>
                </c:pt>
                <c:pt idx="424">
                  <c:v>51.347719030911009</c:v>
                </c:pt>
                <c:pt idx="425">
                  <c:v>51.282821685173047</c:v>
                </c:pt>
                <c:pt idx="426">
                  <c:v>51.282821685173047</c:v>
                </c:pt>
                <c:pt idx="427">
                  <c:v>51.282821685173047</c:v>
                </c:pt>
                <c:pt idx="428">
                  <c:v>51.282821685173047</c:v>
                </c:pt>
                <c:pt idx="429">
                  <c:v>51.182529335071663</c:v>
                </c:pt>
                <c:pt idx="430">
                  <c:v>51.099251545720747</c:v>
                </c:pt>
                <c:pt idx="431">
                  <c:v>50.933506325008068</c:v>
                </c:pt>
                <c:pt idx="432">
                  <c:v>50.901641204176386</c:v>
                </c:pt>
                <c:pt idx="433">
                  <c:v>50.901641204176386</c:v>
                </c:pt>
                <c:pt idx="434">
                  <c:v>50.901641204176386</c:v>
                </c:pt>
                <c:pt idx="435">
                  <c:v>50.901971208236169</c:v>
                </c:pt>
                <c:pt idx="436">
                  <c:v>50.824373223891563</c:v>
                </c:pt>
                <c:pt idx="437">
                  <c:v>50.824044225217129</c:v>
                </c:pt>
                <c:pt idx="438">
                  <c:v>50.861412788230716</c:v>
                </c:pt>
                <c:pt idx="439">
                  <c:v>50.899826258330478</c:v>
                </c:pt>
                <c:pt idx="440">
                  <c:v>50.899826258330478</c:v>
                </c:pt>
                <c:pt idx="441">
                  <c:v>50.899826258330478</c:v>
                </c:pt>
                <c:pt idx="442">
                  <c:v>50.81960315996254</c:v>
                </c:pt>
                <c:pt idx="443">
                  <c:v>50.818451899365002</c:v>
                </c:pt>
                <c:pt idx="444">
                  <c:v>50.983116883116836</c:v>
                </c:pt>
                <c:pt idx="445">
                  <c:v>50.900486223662845</c:v>
                </c:pt>
                <c:pt idx="446">
                  <c:v>50.903126256142905</c:v>
                </c:pt>
                <c:pt idx="447">
                  <c:v>50.903126256142905</c:v>
                </c:pt>
                <c:pt idx="448">
                  <c:v>50.903126256142905</c:v>
                </c:pt>
                <c:pt idx="449">
                  <c:v>50.903126256142905</c:v>
                </c:pt>
                <c:pt idx="450">
                  <c:v>50.983116883116843</c:v>
                </c:pt>
                <c:pt idx="451">
                  <c:v>50.83029592847474</c:v>
                </c:pt>
                <c:pt idx="452">
                  <c:v>50.903126256142897</c:v>
                </c:pt>
                <c:pt idx="453">
                  <c:v>50.901971208236169</c:v>
                </c:pt>
                <c:pt idx="454">
                  <c:v>50.901971208236169</c:v>
                </c:pt>
                <c:pt idx="455">
                  <c:v>50.901971208236169</c:v>
                </c:pt>
                <c:pt idx="456">
                  <c:v>50.906591714403305</c:v>
                </c:pt>
                <c:pt idx="457">
                  <c:v>50.902961246089717</c:v>
                </c:pt>
                <c:pt idx="458">
                  <c:v>50.900486223662845</c:v>
                </c:pt>
                <c:pt idx="459">
                  <c:v>50.833093241051529</c:v>
                </c:pt>
                <c:pt idx="460">
                  <c:v>50.904446375082621</c:v>
                </c:pt>
                <c:pt idx="461">
                  <c:v>50.904446375082621</c:v>
                </c:pt>
                <c:pt idx="462">
                  <c:v>50.904446375082621</c:v>
                </c:pt>
                <c:pt idx="463">
                  <c:v>50.904446375082621</c:v>
                </c:pt>
                <c:pt idx="464">
                  <c:v>50.822070322614017</c:v>
                </c:pt>
                <c:pt idx="465">
                  <c:v>50.904446375082628</c:v>
                </c:pt>
                <c:pt idx="466">
                  <c:v>50.822234808641447</c:v>
                </c:pt>
                <c:pt idx="467">
                  <c:v>50.833422356890551</c:v>
                </c:pt>
                <c:pt idx="468">
                  <c:v>50.833422356890551</c:v>
                </c:pt>
                <c:pt idx="469">
                  <c:v>50.833422356890551</c:v>
                </c:pt>
                <c:pt idx="470">
                  <c:v>50.833422356890551</c:v>
                </c:pt>
                <c:pt idx="471">
                  <c:v>50.833422356890551</c:v>
                </c:pt>
                <c:pt idx="472">
                  <c:v>50.903291267265907</c:v>
                </c:pt>
                <c:pt idx="473">
                  <c:v>50.98311688311685</c:v>
                </c:pt>
                <c:pt idx="474">
                  <c:v>50.98311688311685</c:v>
                </c:pt>
                <c:pt idx="475">
                  <c:v>50.98311688311685</c:v>
                </c:pt>
                <c:pt idx="476">
                  <c:v>50.98311688311685</c:v>
                </c:pt>
                <c:pt idx="477">
                  <c:v>50.98311688311685</c:v>
                </c:pt>
                <c:pt idx="478">
                  <c:v>50.98311688311685</c:v>
                </c:pt>
                <c:pt idx="479">
                  <c:v>50.98311688311685</c:v>
                </c:pt>
                <c:pt idx="480">
                  <c:v>50.98311688311685</c:v>
                </c:pt>
                <c:pt idx="481">
                  <c:v>50.818122977346256</c:v>
                </c:pt>
                <c:pt idx="482">
                  <c:v>50.818122977346256</c:v>
                </c:pt>
                <c:pt idx="483">
                  <c:v>50.818122977346256</c:v>
                </c:pt>
                <c:pt idx="484">
                  <c:v>50.818122977346256</c:v>
                </c:pt>
                <c:pt idx="485">
                  <c:v>50.902796237106344</c:v>
                </c:pt>
                <c:pt idx="486">
                  <c:v>50.903786307053913</c:v>
                </c:pt>
                <c:pt idx="487">
                  <c:v>50.904446375082628</c:v>
                </c:pt>
                <c:pt idx="488">
                  <c:v>50.904446375082628</c:v>
                </c:pt>
                <c:pt idx="489">
                  <c:v>50.904446375082628</c:v>
                </c:pt>
                <c:pt idx="490">
                  <c:v>50.904446375082628</c:v>
                </c:pt>
                <c:pt idx="491">
                  <c:v>50.904446375082628</c:v>
                </c:pt>
                <c:pt idx="492">
                  <c:v>50.830789549499357</c:v>
                </c:pt>
                <c:pt idx="493">
                  <c:v>50.98311688311685</c:v>
                </c:pt>
                <c:pt idx="494">
                  <c:v>50.903291267265914</c:v>
                </c:pt>
                <c:pt idx="495">
                  <c:v>50.900486223662853</c:v>
                </c:pt>
                <c:pt idx="496">
                  <c:v>50.900486223662853</c:v>
                </c:pt>
                <c:pt idx="497">
                  <c:v>50.900486223662853</c:v>
                </c:pt>
                <c:pt idx="498">
                  <c:v>50.900486223662853</c:v>
                </c:pt>
                <c:pt idx="499">
                  <c:v>50.903291267265914</c:v>
                </c:pt>
                <c:pt idx="500">
                  <c:v>50.900486223662853</c:v>
                </c:pt>
                <c:pt idx="501">
                  <c:v>50.903291267265914</c:v>
                </c:pt>
                <c:pt idx="502">
                  <c:v>50.833093241051543</c:v>
                </c:pt>
                <c:pt idx="503">
                  <c:v>50.833093241051543</c:v>
                </c:pt>
                <c:pt idx="504">
                  <c:v>50.833093241051543</c:v>
                </c:pt>
                <c:pt idx="505">
                  <c:v>50.833093241051543</c:v>
                </c:pt>
                <c:pt idx="506">
                  <c:v>50.906756747994876</c:v>
                </c:pt>
                <c:pt idx="507">
                  <c:v>50.906756747994876</c:v>
                </c:pt>
                <c:pt idx="508">
                  <c:v>50.906756747994876</c:v>
                </c:pt>
                <c:pt idx="509">
                  <c:v>50.983116883116857</c:v>
                </c:pt>
                <c:pt idx="510">
                  <c:v>50.983116883116857</c:v>
                </c:pt>
                <c:pt idx="511">
                  <c:v>50.983116883116857</c:v>
                </c:pt>
                <c:pt idx="512">
                  <c:v>50.983116883116857</c:v>
                </c:pt>
                <c:pt idx="513">
                  <c:v>50.90576656249592</c:v>
                </c:pt>
                <c:pt idx="514">
                  <c:v>50.90576656249592</c:v>
                </c:pt>
                <c:pt idx="515">
                  <c:v>50.90048622366286</c:v>
                </c:pt>
                <c:pt idx="516">
                  <c:v>50.90048622366286</c:v>
                </c:pt>
                <c:pt idx="517">
                  <c:v>50.90048622366286</c:v>
                </c:pt>
                <c:pt idx="518">
                  <c:v>50.90048622366286</c:v>
                </c:pt>
                <c:pt idx="519">
                  <c:v>50.90048622366286</c:v>
                </c:pt>
                <c:pt idx="520">
                  <c:v>50.90048622366286</c:v>
                </c:pt>
                <c:pt idx="521">
                  <c:v>50.903126256142919</c:v>
                </c:pt>
                <c:pt idx="522">
                  <c:v>50.9016412041764</c:v>
                </c:pt>
                <c:pt idx="523">
                  <c:v>50.9016412041764</c:v>
                </c:pt>
                <c:pt idx="524">
                  <c:v>50.9016412041764</c:v>
                </c:pt>
                <c:pt idx="525">
                  <c:v>50.9016412041764</c:v>
                </c:pt>
                <c:pt idx="526">
                  <c:v>50.9016412041764</c:v>
                </c:pt>
                <c:pt idx="527">
                  <c:v>50.902796237106358</c:v>
                </c:pt>
                <c:pt idx="528">
                  <c:v>50.90048622366286</c:v>
                </c:pt>
                <c:pt idx="529">
                  <c:v>50.90048622366286</c:v>
                </c:pt>
                <c:pt idx="530">
                  <c:v>50.903126256142919</c:v>
                </c:pt>
                <c:pt idx="531">
                  <c:v>50.903126256142919</c:v>
                </c:pt>
                <c:pt idx="532">
                  <c:v>50.903126256142919</c:v>
                </c:pt>
                <c:pt idx="533">
                  <c:v>50.903126256142919</c:v>
                </c:pt>
                <c:pt idx="534">
                  <c:v>50.820425520897359</c:v>
                </c:pt>
                <c:pt idx="535">
                  <c:v>50.9016412041764</c:v>
                </c:pt>
                <c:pt idx="536">
                  <c:v>50.9016412041764</c:v>
                </c:pt>
                <c:pt idx="537">
                  <c:v>50.819274223040622</c:v>
                </c:pt>
                <c:pt idx="538">
                  <c:v>50.819274223040622</c:v>
                </c:pt>
                <c:pt idx="539">
                  <c:v>50.819274223040622</c:v>
                </c:pt>
                <c:pt idx="540">
                  <c:v>50.819274223040622</c:v>
                </c:pt>
                <c:pt idx="541">
                  <c:v>50.820589996278102</c:v>
                </c:pt>
                <c:pt idx="542">
                  <c:v>50.820589996278102</c:v>
                </c:pt>
                <c:pt idx="543">
                  <c:v>50.820589996278102</c:v>
                </c:pt>
                <c:pt idx="544">
                  <c:v>50.820589996278102</c:v>
                </c:pt>
                <c:pt idx="545">
                  <c:v>50.820589996278102</c:v>
                </c:pt>
                <c:pt idx="546">
                  <c:v>50.820589996278102</c:v>
                </c:pt>
                <c:pt idx="547">
                  <c:v>50.820589996278102</c:v>
                </c:pt>
                <c:pt idx="548">
                  <c:v>50.820589996278102</c:v>
                </c:pt>
                <c:pt idx="549">
                  <c:v>50.900486223662845</c:v>
                </c:pt>
                <c:pt idx="550">
                  <c:v>50.823879727477184</c:v>
                </c:pt>
                <c:pt idx="551">
                  <c:v>50.902796237106337</c:v>
                </c:pt>
                <c:pt idx="552">
                  <c:v>50.902796237106337</c:v>
                </c:pt>
                <c:pt idx="553">
                  <c:v>50.902796237106337</c:v>
                </c:pt>
                <c:pt idx="554">
                  <c:v>50.902796237106337</c:v>
                </c:pt>
                <c:pt idx="555">
                  <c:v>50.902796237106337</c:v>
                </c:pt>
                <c:pt idx="556">
                  <c:v>50.901641204176386</c:v>
                </c:pt>
                <c:pt idx="557">
                  <c:v>50.902796237106344</c:v>
                </c:pt>
                <c:pt idx="558">
                  <c:v>50.904446375082628</c:v>
                </c:pt>
                <c:pt idx="559">
                  <c:v>50.904446375082628</c:v>
                </c:pt>
                <c:pt idx="560">
                  <c:v>50.904446375082628</c:v>
                </c:pt>
                <c:pt idx="561">
                  <c:v>50.904446375082628</c:v>
                </c:pt>
                <c:pt idx="562">
                  <c:v>50.818122977346256</c:v>
                </c:pt>
                <c:pt idx="563">
                  <c:v>50.902796237106344</c:v>
                </c:pt>
                <c:pt idx="564">
                  <c:v>50.902796237106344</c:v>
                </c:pt>
                <c:pt idx="565">
                  <c:v>50.902796237106344</c:v>
                </c:pt>
                <c:pt idx="566">
                  <c:v>50.902796237106344</c:v>
                </c:pt>
                <c:pt idx="567">
                  <c:v>50.902796237106344</c:v>
                </c:pt>
                <c:pt idx="568">
                  <c:v>50.902796237106344</c:v>
                </c:pt>
                <c:pt idx="569">
                  <c:v>50.900486223662845</c:v>
                </c:pt>
                <c:pt idx="570">
                  <c:v>50.902796237106337</c:v>
                </c:pt>
                <c:pt idx="571">
                  <c:v>50.829966853117831</c:v>
                </c:pt>
                <c:pt idx="572">
                  <c:v>50.820425520897345</c:v>
                </c:pt>
                <c:pt idx="573">
                  <c:v>50.820425520897345</c:v>
                </c:pt>
                <c:pt idx="574">
                  <c:v>50.820425520897345</c:v>
                </c:pt>
                <c:pt idx="575">
                  <c:v>50.820425520897345</c:v>
                </c:pt>
                <c:pt idx="576">
                  <c:v>50.904116338928503</c:v>
                </c:pt>
                <c:pt idx="577">
                  <c:v>50.904116338928503</c:v>
                </c:pt>
                <c:pt idx="578">
                  <c:v>50.904116338928503</c:v>
                </c:pt>
                <c:pt idx="579">
                  <c:v>50.902961246089717</c:v>
                </c:pt>
                <c:pt idx="580">
                  <c:v>50.902961246089717</c:v>
                </c:pt>
                <c:pt idx="581">
                  <c:v>50.902961246089717</c:v>
                </c:pt>
                <c:pt idx="582">
                  <c:v>50.902961246089717</c:v>
                </c:pt>
                <c:pt idx="583">
                  <c:v>50.983116883116836</c:v>
                </c:pt>
                <c:pt idx="584">
                  <c:v>50.832435022158293</c:v>
                </c:pt>
                <c:pt idx="585">
                  <c:v>50.904446375082614</c:v>
                </c:pt>
                <c:pt idx="586">
                  <c:v>50.82207032261401</c:v>
                </c:pt>
                <c:pt idx="587">
                  <c:v>50.82207032261401</c:v>
                </c:pt>
                <c:pt idx="588">
                  <c:v>50.82207032261401</c:v>
                </c:pt>
                <c:pt idx="589">
                  <c:v>50.82207032261401</c:v>
                </c:pt>
                <c:pt idx="590">
                  <c:v>50.905271484191339</c:v>
                </c:pt>
                <c:pt idx="591">
                  <c:v>50.905271484191339</c:v>
                </c:pt>
                <c:pt idx="592">
                  <c:v>50.908737234559851</c:v>
                </c:pt>
                <c:pt idx="593">
                  <c:v>50.900486223662838</c:v>
                </c:pt>
                <c:pt idx="594">
                  <c:v>50.900486223662838</c:v>
                </c:pt>
                <c:pt idx="595">
                  <c:v>50.900486223662838</c:v>
                </c:pt>
                <c:pt idx="596">
                  <c:v>50.900486223662838</c:v>
                </c:pt>
                <c:pt idx="597">
                  <c:v>50.905271484191339</c:v>
                </c:pt>
                <c:pt idx="598">
                  <c:v>50.905271484191339</c:v>
                </c:pt>
                <c:pt idx="599">
                  <c:v>50.904116338928496</c:v>
                </c:pt>
                <c:pt idx="600">
                  <c:v>50.904116338928496</c:v>
                </c:pt>
                <c:pt idx="601">
                  <c:v>50.904116338928496</c:v>
                </c:pt>
                <c:pt idx="602">
                  <c:v>50.904116338928496</c:v>
                </c:pt>
                <c:pt idx="603">
                  <c:v>50.904116338928496</c:v>
                </c:pt>
                <c:pt idx="604">
                  <c:v>50.832435022158293</c:v>
                </c:pt>
                <c:pt idx="605">
                  <c:v>50.822892763398471</c:v>
                </c:pt>
                <c:pt idx="606">
                  <c:v>50.822892763398471</c:v>
                </c:pt>
                <c:pt idx="607">
                  <c:v>50.822892763398471</c:v>
                </c:pt>
                <c:pt idx="608">
                  <c:v>50.822892763398471</c:v>
                </c:pt>
                <c:pt idx="609">
                  <c:v>50.822892763398471</c:v>
                </c:pt>
                <c:pt idx="610">
                  <c:v>50.822892763398471</c:v>
                </c:pt>
                <c:pt idx="611">
                  <c:v>50.822892763398471</c:v>
                </c:pt>
                <c:pt idx="612">
                  <c:v>50.983116883116836</c:v>
                </c:pt>
                <c:pt idx="613">
                  <c:v>50.835561713727003</c:v>
                </c:pt>
                <c:pt idx="614">
                  <c:v>50.905766562495906</c:v>
                </c:pt>
                <c:pt idx="615">
                  <c:v>50.905766562495906</c:v>
                </c:pt>
                <c:pt idx="616">
                  <c:v>50.905766562495906</c:v>
                </c:pt>
                <c:pt idx="617">
                  <c:v>50.905766562495906</c:v>
                </c:pt>
                <c:pt idx="618">
                  <c:v>50.835726287096143</c:v>
                </c:pt>
                <c:pt idx="619">
                  <c:v>50.82223480864144</c:v>
                </c:pt>
                <c:pt idx="620">
                  <c:v>50.82223480864144</c:v>
                </c:pt>
                <c:pt idx="621">
                  <c:v>50.983116883116836</c:v>
                </c:pt>
                <c:pt idx="622">
                  <c:v>50.983116883116836</c:v>
                </c:pt>
                <c:pt idx="623">
                  <c:v>50.983116883116836</c:v>
                </c:pt>
                <c:pt idx="624">
                  <c:v>50.983116883116836</c:v>
                </c:pt>
                <c:pt idx="625">
                  <c:v>50.900486223662845</c:v>
                </c:pt>
                <c:pt idx="626">
                  <c:v>50.835726287096143</c:v>
                </c:pt>
                <c:pt idx="627">
                  <c:v>50.905766562495906</c:v>
                </c:pt>
                <c:pt idx="628">
                  <c:v>50.818122977346249</c:v>
                </c:pt>
                <c:pt idx="629">
                  <c:v>50.818122977346249</c:v>
                </c:pt>
                <c:pt idx="630">
                  <c:v>50.818122977346249</c:v>
                </c:pt>
                <c:pt idx="631">
                  <c:v>50.818122977346249</c:v>
                </c:pt>
                <c:pt idx="632">
                  <c:v>50.905931590737389</c:v>
                </c:pt>
                <c:pt idx="633">
                  <c:v>50.905931590737389</c:v>
                </c:pt>
                <c:pt idx="634">
                  <c:v>50.905931590737389</c:v>
                </c:pt>
                <c:pt idx="635">
                  <c:v>50.905931590737389</c:v>
                </c:pt>
                <c:pt idx="636">
                  <c:v>50.905931590737389</c:v>
                </c:pt>
                <c:pt idx="637">
                  <c:v>50.905931590737389</c:v>
                </c:pt>
                <c:pt idx="638">
                  <c:v>50.905931590737389</c:v>
                </c:pt>
                <c:pt idx="639">
                  <c:v>50.905931590737389</c:v>
                </c:pt>
                <c:pt idx="640">
                  <c:v>50.823550735191752</c:v>
                </c:pt>
                <c:pt idx="641">
                  <c:v>50.908242098472009</c:v>
                </c:pt>
                <c:pt idx="642">
                  <c:v>50.908242098472009</c:v>
                </c:pt>
                <c:pt idx="643">
                  <c:v>50.908242098472009</c:v>
                </c:pt>
                <c:pt idx="644">
                  <c:v>50.908242098472009</c:v>
                </c:pt>
                <c:pt idx="645">
                  <c:v>50.908242098472009</c:v>
                </c:pt>
                <c:pt idx="646">
                  <c:v>50.823879727477184</c:v>
                </c:pt>
                <c:pt idx="647">
                  <c:v>50.83671374968835</c:v>
                </c:pt>
                <c:pt idx="648">
                  <c:v>50.90972753563041</c:v>
                </c:pt>
                <c:pt idx="649">
                  <c:v>50.900486223662838</c:v>
                </c:pt>
                <c:pt idx="650">
                  <c:v>50.900486223662838</c:v>
                </c:pt>
                <c:pt idx="651">
                  <c:v>50.900486223662838</c:v>
                </c:pt>
                <c:pt idx="652">
                  <c:v>50.900486223662838</c:v>
                </c:pt>
                <c:pt idx="653">
                  <c:v>50.823715230802044</c:v>
                </c:pt>
                <c:pt idx="654">
                  <c:v>50.823715230802044</c:v>
                </c:pt>
                <c:pt idx="655">
                  <c:v>50.823715230802044</c:v>
                </c:pt>
                <c:pt idx="656">
                  <c:v>50.823715230802044</c:v>
                </c:pt>
                <c:pt idx="657">
                  <c:v>50.823715230802044</c:v>
                </c:pt>
                <c:pt idx="658">
                  <c:v>50.823715230802044</c:v>
                </c:pt>
                <c:pt idx="659">
                  <c:v>50.823715230802044</c:v>
                </c:pt>
                <c:pt idx="660">
                  <c:v>50.906096620048842</c:v>
                </c:pt>
                <c:pt idx="661">
                  <c:v>50.906096620048842</c:v>
                </c:pt>
                <c:pt idx="662">
                  <c:v>50.906096620048842</c:v>
                </c:pt>
                <c:pt idx="663">
                  <c:v>50.906096620048842</c:v>
                </c:pt>
                <c:pt idx="664">
                  <c:v>50.906096620048842</c:v>
                </c:pt>
                <c:pt idx="665">
                  <c:v>50.906096620048842</c:v>
                </c:pt>
                <c:pt idx="666">
                  <c:v>50.906096620048842</c:v>
                </c:pt>
                <c:pt idx="667">
                  <c:v>50.823715230802051</c:v>
                </c:pt>
                <c:pt idx="668">
                  <c:v>50.823715230802051</c:v>
                </c:pt>
                <c:pt idx="669">
                  <c:v>50.906096620048849</c:v>
                </c:pt>
                <c:pt idx="670">
                  <c:v>50.906096620048849</c:v>
                </c:pt>
                <c:pt idx="671">
                  <c:v>50.906096620048849</c:v>
                </c:pt>
                <c:pt idx="672">
                  <c:v>50.906096620048849</c:v>
                </c:pt>
                <c:pt idx="673">
                  <c:v>50.906096620048849</c:v>
                </c:pt>
                <c:pt idx="674">
                  <c:v>50.823715230802058</c:v>
                </c:pt>
                <c:pt idx="675">
                  <c:v>50.822563783890459</c:v>
                </c:pt>
                <c:pt idx="676">
                  <c:v>50.823715230802058</c:v>
                </c:pt>
                <c:pt idx="677">
                  <c:v>50.822563783890459</c:v>
                </c:pt>
                <c:pt idx="678">
                  <c:v>50.822563783890459</c:v>
                </c:pt>
                <c:pt idx="679">
                  <c:v>50.822563783890459</c:v>
                </c:pt>
                <c:pt idx="680">
                  <c:v>50.822563783890459</c:v>
                </c:pt>
                <c:pt idx="681">
                  <c:v>50.904941437338067</c:v>
                </c:pt>
                <c:pt idx="682">
                  <c:v>50.904941437338067</c:v>
                </c:pt>
                <c:pt idx="683">
                  <c:v>50.822563783890452</c:v>
                </c:pt>
                <c:pt idx="684">
                  <c:v>50.818122977346242</c:v>
                </c:pt>
                <c:pt idx="685">
                  <c:v>50.818122977346242</c:v>
                </c:pt>
                <c:pt idx="686">
                  <c:v>50.818122977346242</c:v>
                </c:pt>
                <c:pt idx="687">
                  <c:v>50.818122977346242</c:v>
                </c:pt>
                <c:pt idx="688">
                  <c:v>50.834080601353776</c:v>
                </c:pt>
                <c:pt idx="689">
                  <c:v>50.834080601353776</c:v>
                </c:pt>
                <c:pt idx="690">
                  <c:v>50.908572188127081</c:v>
                </c:pt>
                <c:pt idx="691">
                  <c:v>50.822563783890452</c:v>
                </c:pt>
                <c:pt idx="692">
                  <c:v>50.822563783890452</c:v>
                </c:pt>
                <c:pt idx="693">
                  <c:v>50.822563783890452</c:v>
                </c:pt>
                <c:pt idx="694">
                  <c:v>50.822563783890452</c:v>
                </c:pt>
                <c:pt idx="695">
                  <c:v>50.90494143733806</c:v>
                </c:pt>
                <c:pt idx="696">
                  <c:v>50.818122977346235</c:v>
                </c:pt>
                <c:pt idx="697">
                  <c:v>50.90494143733806</c:v>
                </c:pt>
                <c:pt idx="698">
                  <c:v>50.90494143733806</c:v>
                </c:pt>
                <c:pt idx="699">
                  <c:v>50.90494143733806</c:v>
                </c:pt>
                <c:pt idx="700">
                  <c:v>50.90494143733806</c:v>
                </c:pt>
                <c:pt idx="701">
                  <c:v>50.90494143733806</c:v>
                </c:pt>
                <c:pt idx="702">
                  <c:v>50.906096620048842</c:v>
                </c:pt>
                <c:pt idx="703">
                  <c:v>50.983116883116828</c:v>
                </c:pt>
                <c:pt idx="704">
                  <c:v>50.823715230802044</c:v>
                </c:pt>
                <c:pt idx="705">
                  <c:v>50.900486223662831</c:v>
                </c:pt>
                <c:pt idx="706">
                  <c:v>50.900486223662831</c:v>
                </c:pt>
                <c:pt idx="707">
                  <c:v>50.900486223662831</c:v>
                </c:pt>
                <c:pt idx="708">
                  <c:v>50.900486223662831</c:v>
                </c:pt>
                <c:pt idx="709">
                  <c:v>50.900486223662831</c:v>
                </c:pt>
                <c:pt idx="710">
                  <c:v>50.900486223662831</c:v>
                </c:pt>
                <c:pt idx="711">
                  <c:v>50.827334403645914</c:v>
                </c:pt>
                <c:pt idx="712">
                  <c:v>50.836549169925618</c:v>
                </c:pt>
                <c:pt idx="713">
                  <c:v>50.836549169925618</c:v>
                </c:pt>
                <c:pt idx="714">
                  <c:v>50.836549169925618</c:v>
                </c:pt>
                <c:pt idx="715">
                  <c:v>50.836549169925618</c:v>
                </c:pt>
                <c:pt idx="716">
                  <c:v>50.823715230802044</c:v>
                </c:pt>
                <c:pt idx="717">
                  <c:v>50.826018281156898</c:v>
                </c:pt>
                <c:pt idx="718">
                  <c:v>50.818122977346235</c:v>
                </c:pt>
                <c:pt idx="719">
                  <c:v>50.906096620048842</c:v>
                </c:pt>
                <c:pt idx="720">
                  <c:v>50.906096620048842</c:v>
                </c:pt>
                <c:pt idx="721">
                  <c:v>50.906096620048842</c:v>
                </c:pt>
                <c:pt idx="722">
                  <c:v>50.906096620048842</c:v>
                </c:pt>
                <c:pt idx="723">
                  <c:v>50.818122977346235</c:v>
                </c:pt>
                <c:pt idx="724">
                  <c:v>50.906096620048842</c:v>
                </c:pt>
                <c:pt idx="725">
                  <c:v>50.823715230802051</c:v>
                </c:pt>
                <c:pt idx="726">
                  <c:v>50.828486066738485</c:v>
                </c:pt>
                <c:pt idx="727">
                  <c:v>50.828486066738485</c:v>
                </c:pt>
                <c:pt idx="728">
                  <c:v>50.828486066738485</c:v>
                </c:pt>
                <c:pt idx="729">
                  <c:v>50.828486066738485</c:v>
                </c:pt>
                <c:pt idx="730">
                  <c:v>50.828486066738485</c:v>
                </c:pt>
                <c:pt idx="731">
                  <c:v>50.908407142764467</c:v>
                </c:pt>
                <c:pt idx="732">
                  <c:v>50.908407142764467</c:v>
                </c:pt>
                <c:pt idx="733">
                  <c:v>50.90642668188179</c:v>
                </c:pt>
                <c:pt idx="734">
                  <c:v>50.90642668188179</c:v>
                </c:pt>
                <c:pt idx="735">
                  <c:v>50.90642668188179</c:v>
                </c:pt>
                <c:pt idx="736">
                  <c:v>50.90642668188179</c:v>
                </c:pt>
                <c:pt idx="737">
                  <c:v>50.836878330516711</c:v>
                </c:pt>
                <c:pt idx="738">
                  <c:v>50.906426681881797</c:v>
                </c:pt>
                <c:pt idx="739">
                  <c:v>50.906426681881797</c:v>
                </c:pt>
                <c:pt idx="740">
                  <c:v>50.906426681881797</c:v>
                </c:pt>
                <c:pt idx="741">
                  <c:v>50.906426681881797</c:v>
                </c:pt>
                <c:pt idx="742">
                  <c:v>50.906426681881797</c:v>
                </c:pt>
                <c:pt idx="743">
                  <c:v>50.906426681881797</c:v>
                </c:pt>
                <c:pt idx="744">
                  <c:v>50.836878330516718</c:v>
                </c:pt>
                <c:pt idx="745">
                  <c:v>50.823879727477184</c:v>
                </c:pt>
                <c:pt idx="746">
                  <c:v>50.836878330516718</c:v>
                </c:pt>
                <c:pt idx="747">
                  <c:v>50.906426681881804</c:v>
                </c:pt>
                <c:pt idx="748">
                  <c:v>50.906426681881804</c:v>
                </c:pt>
                <c:pt idx="749">
                  <c:v>50.906426681881804</c:v>
                </c:pt>
                <c:pt idx="750">
                  <c:v>50.906426681881804</c:v>
                </c:pt>
                <c:pt idx="751">
                  <c:v>50.836878330516726</c:v>
                </c:pt>
                <c:pt idx="752">
                  <c:v>50.906426681881811</c:v>
                </c:pt>
                <c:pt idx="753">
                  <c:v>50.823879727477198</c:v>
                </c:pt>
                <c:pt idx="754">
                  <c:v>50.823879727477198</c:v>
                </c:pt>
                <c:pt idx="755">
                  <c:v>50.823879727477198</c:v>
                </c:pt>
                <c:pt idx="756">
                  <c:v>50.823879727477198</c:v>
                </c:pt>
                <c:pt idx="757">
                  <c:v>50.823879727477198</c:v>
                </c:pt>
                <c:pt idx="758">
                  <c:v>50.818122977346263</c:v>
                </c:pt>
                <c:pt idx="759">
                  <c:v>50.836878330516733</c:v>
                </c:pt>
                <c:pt idx="760">
                  <c:v>50.906426681881818</c:v>
                </c:pt>
                <c:pt idx="761">
                  <c:v>50.83687833051674</c:v>
                </c:pt>
                <c:pt idx="762">
                  <c:v>50.83687833051674</c:v>
                </c:pt>
                <c:pt idx="763">
                  <c:v>50.83687833051674</c:v>
                </c:pt>
                <c:pt idx="764">
                  <c:v>50.83687833051674</c:v>
                </c:pt>
                <c:pt idx="765">
                  <c:v>50.906426681881825</c:v>
                </c:pt>
                <c:pt idx="766">
                  <c:v>50.836878330516747</c:v>
                </c:pt>
                <c:pt idx="767">
                  <c:v>50.836878330516747</c:v>
                </c:pt>
                <c:pt idx="768">
                  <c:v>50.823879727477212</c:v>
                </c:pt>
                <c:pt idx="769">
                  <c:v>50.823879727477212</c:v>
                </c:pt>
                <c:pt idx="770">
                  <c:v>50.823879727477212</c:v>
                </c:pt>
                <c:pt idx="771">
                  <c:v>50.823879727477212</c:v>
                </c:pt>
                <c:pt idx="772">
                  <c:v>50.836878330516747</c:v>
                </c:pt>
                <c:pt idx="773">
                  <c:v>50.906426681881833</c:v>
                </c:pt>
                <c:pt idx="774">
                  <c:v>50.82387972747722</c:v>
                </c:pt>
                <c:pt idx="775">
                  <c:v>50.818122977346285</c:v>
                </c:pt>
                <c:pt idx="776">
                  <c:v>50.818122977346285</c:v>
                </c:pt>
                <c:pt idx="777">
                  <c:v>50.818122977346285</c:v>
                </c:pt>
                <c:pt idx="778">
                  <c:v>50.818122977346285</c:v>
                </c:pt>
                <c:pt idx="779">
                  <c:v>50.818122977346285</c:v>
                </c:pt>
                <c:pt idx="780">
                  <c:v>50.818122977346285</c:v>
                </c:pt>
                <c:pt idx="781">
                  <c:v>50.823879727477227</c:v>
                </c:pt>
                <c:pt idx="782">
                  <c:v>50.823879727477227</c:v>
                </c:pt>
                <c:pt idx="783">
                  <c:v>50.823879727477227</c:v>
                </c:pt>
                <c:pt idx="784">
                  <c:v>50.823879727477227</c:v>
                </c:pt>
                <c:pt idx="785">
                  <c:v>50.823879727477227</c:v>
                </c:pt>
                <c:pt idx="786">
                  <c:v>50.835726287096186</c:v>
                </c:pt>
                <c:pt idx="787">
                  <c:v>50.905106460229788</c:v>
                </c:pt>
                <c:pt idx="788">
                  <c:v>50.983116883116892</c:v>
                </c:pt>
                <c:pt idx="789">
                  <c:v>50.905106460229788</c:v>
                </c:pt>
                <c:pt idx="790">
                  <c:v>50.905106460229788</c:v>
                </c:pt>
                <c:pt idx="791">
                  <c:v>50.905106460229788</c:v>
                </c:pt>
                <c:pt idx="792">
                  <c:v>50.905106460229788</c:v>
                </c:pt>
                <c:pt idx="793">
                  <c:v>50.900651217670088</c:v>
                </c:pt>
                <c:pt idx="794">
                  <c:v>50.904281356470669</c:v>
                </c:pt>
                <c:pt idx="795">
                  <c:v>31.347419189983398</c:v>
                </c:pt>
                <c:pt idx="796">
                  <c:v>31.802817186661404</c:v>
                </c:pt>
                <c:pt idx="797">
                  <c:v>31.802817186661404</c:v>
                </c:pt>
                <c:pt idx="798">
                  <c:v>31.802817186661404</c:v>
                </c:pt>
                <c:pt idx="799">
                  <c:v>31.946778426545688</c:v>
                </c:pt>
                <c:pt idx="800">
                  <c:v>32.010274077320588</c:v>
                </c:pt>
                <c:pt idx="801">
                  <c:v>32.176352344049363</c:v>
                </c:pt>
                <c:pt idx="802">
                  <c:v>32.410319917440667</c:v>
                </c:pt>
                <c:pt idx="803">
                  <c:v>32.825431201175654</c:v>
                </c:pt>
                <c:pt idx="804">
                  <c:v>32.825431201175654</c:v>
                </c:pt>
                <c:pt idx="805">
                  <c:v>32.825431201175654</c:v>
                </c:pt>
                <c:pt idx="806">
                  <c:v>33.191291481716341</c:v>
                </c:pt>
                <c:pt idx="807">
                  <c:v>33.292626044184374</c:v>
                </c:pt>
                <c:pt idx="808">
                  <c:v>33.341189410008639</c:v>
                </c:pt>
                <c:pt idx="809">
                  <c:v>33.428420586532226</c:v>
                </c:pt>
                <c:pt idx="810">
                  <c:v>33.643858626718306</c:v>
                </c:pt>
                <c:pt idx="811">
                  <c:v>33.643858626718306</c:v>
                </c:pt>
                <c:pt idx="812">
                  <c:v>33.643858626718306</c:v>
                </c:pt>
                <c:pt idx="813">
                  <c:v>33.714069786415422</c:v>
                </c:pt>
                <c:pt idx="814">
                  <c:v>33.128270042194075</c:v>
                </c:pt>
                <c:pt idx="815">
                  <c:v>32.857920066959601</c:v>
                </c:pt>
                <c:pt idx="816">
                  <c:v>33.212351945854472</c:v>
                </c:pt>
                <c:pt idx="817">
                  <c:v>33.128270042194082</c:v>
                </c:pt>
                <c:pt idx="818">
                  <c:v>33.128270042194082</c:v>
                </c:pt>
                <c:pt idx="819">
                  <c:v>33.128270042194082</c:v>
                </c:pt>
                <c:pt idx="820">
                  <c:v>33.262653971212799</c:v>
                </c:pt>
                <c:pt idx="821">
                  <c:v>33.271463683362988</c:v>
                </c:pt>
                <c:pt idx="822">
                  <c:v>33.293473098581977</c:v>
                </c:pt>
                <c:pt idx="823">
                  <c:v>33.121282429867108</c:v>
                </c:pt>
                <c:pt idx="824">
                  <c:v>33.144982385633256</c:v>
                </c:pt>
                <c:pt idx="825">
                  <c:v>33.144982385633256</c:v>
                </c:pt>
                <c:pt idx="826">
                  <c:v>33.144982385633256</c:v>
                </c:pt>
                <c:pt idx="827">
                  <c:v>33.019736814436932</c:v>
                </c:pt>
                <c:pt idx="828">
                  <c:v>32.999474624356402</c:v>
                </c:pt>
                <c:pt idx="829">
                  <c:v>32.999474624356402</c:v>
                </c:pt>
                <c:pt idx="830">
                  <c:v>32.999474624356402</c:v>
                </c:pt>
                <c:pt idx="831">
                  <c:v>32.999474624356402</c:v>
                </c:pt>
                <c:pt idx="832">
                  <c:v>32.999474624356402</c:v>
                </c:pt>
                <c:pt idx="833">
                  <c:v>32.999474624356402</c:v>
                </c:pt>
                <c:pt idx="834">
                  <c:v>32.999474624356402</c:v>
                </c:pt>
                <c:pt idx="835">
                  <c:v>32.468219900917212</c:v>
                </c:pt>
                <c:pt idx="836">
                  <c:v>32.343563336766209</c:v>
                </c:pt>
                <c:pt idx="837">
                  <c:v>32.372902321362297</c:v>
                </c:pt>
                <c:pt idx="838">
                  <c:v>32.488305261132489</c:v>
                </c:pt>
                <c:pt idx="839">
                  <c:v>32.488305261132489</c:v>
                </c:pt>
                <c:pt idx="840">
                  <c:v>32.488305261132489</c:v>
                </c:pt>
                <c:pt idx="841">
                  <c:v>32.459427782382832</c:v>
                </c:pt>
                <c:pt idx="842">
                  <c:v>32.609882978392008</c:v>
                </c:pt>
                <c:pt idx="843">
                  <c:v>32.676248603183382</c:v>
                </c:pt>
                <c:pt idx="844">
                  <c:v>32.796979038739472</c:v>
                </c:pt>
                <c:pt idx="845">
                  <c:v>32.796979038739472</c:v>
                </c:pt>
                <c:pt idx="846">
                  <c:v>32.796979038739472</c:v>
                </c:pt>
                <c:pt idx="847">
                  <c:v>32.796979038739472</c:v>
                </c:pt>
                <c:pt idx="848">
                  <c:v>32.796979038739472</c:v>
                </c:pt>
                <c:pt idx="849">
                  <c:v>32.782463465553221</c:v>
                </c:pt>
                <c:pt idx="850">
                  <c:v>32.814730141746878</c:v>
                </c:pt>
                <c:pt idx="851">
                  <c:v>32.798623121203747</c:v>
                </c:pt>
                <c:pt idx="852">
                  <c:v>32.744045608284203</c:v>
                </c:pt>
                <c:pt idx="853">
                  <c:v>32.744045608284203</c:v>
                </c:pt>
                <c:pt idx="854">
                  <c:v>32.744045608284203</c:v>
                </c:pt>
                <c:pt idx="855">
                  <c:v>32.744045608284203</c:v>
                </c:pt>
                <c:pt idx="856">
                  <c:v>32.744045608284203</c:v>
                </c:pt>
                <c:pt idx="857">
                  <c:v>32.906119027661333</c:v>
                </c:pt>
                <c:pt idx="858">
                  <c:v>33.02029229313424</c:v>
                </c:pt>
                <c:pt idx="859">
                  <c:v>33.167174998521453</c:v>
                </c:pt>
                <c:pt idx="860">
                  <c:v>33.167174998521453</c:v>
                </c:pt>
                <c:pt idx="861">
                  <c:v>33.167174998521453</c:v>
                </c:pt>
                <c:pt idx="862">
                  <c:v>33.167174998521453</c:v>
                </c:pt>
                <c:pt idx="863">
                  <c:v>33.365630604213926</c:v>
                </c:pt>
                <c:pt idx="864">
                  <c:v>33.492590285894657</c:v>
                </c:pt>
                <c:pt idx="865">
                  <c:v>33.511674708745829</c:v>
                </c:pt>
                <c:pt idx="866">
                  <c:v>33.47659614384267</c:v>
                </c:pt>
                <c:pt idx="867">
                  <c:v>33.47659614384267</c:v>
                </c:pt>
                <c:pt idx="868">
                  <c:v>33.47659614384267</c:v>
                </c:pt>
                <c:pt idx="869">
                  <c:v>33.47659614384267</c:v>
                </c:pt>
                <c:pt idx="870">
                  <c:v>33.673438753146932</c:v>
                </c:pt>
                <c:pt idx="871">
                  <c:v>33.662177747480058</c:v>
                </c:pt>
                <c:pt idx="872">
                  <c:v>33.552848064751849</c:v>
                </c:pt>
                <c:pt idx="873">
                  <c:v>33.314098049032992</c:v>
                </c:pt>
                <c:pt idx="874">
                  <c:v>33.314098049032992</c:v>
                </c:pt>
                <c:pt idx="875">
                  <c:v>33.314098049032992</c:v>
                </c:pt>
                <c:pt idx="876">
                  <c:v>33.314098049032992</c:v>
                </c:pt>
                <c:pt idx="877">
                  <c:v>33.286909554183325</c:v>
                </c:pt>
                <c:pt idx="878">
                  <c:v>33.048437845289321</c:v>
                </c:pt>
                <c:pt idx="879">
                  <c:v>33.181051715175606</c:v>
                </c:pt>
                <c:pt idx="880">
                  <c:v>33.215864621893161</c:v>
                </c:pt>
                <c:pt idx="881">
                  <c:v>33.215864621893161</c:v>
                </c:pt>
                <c:pt idx="882">
                  <c:v>33.215864621893161</c:v>
                </c:pt>
                <c:pt idx="883">
                  <c:v>33.215864621893161</c:v>
                </c:pt>
                <c:pt idx="884">
                  <c:v>33.307102480618497</c:v>
                </c:pt>
                <c:pt idx="885">
                  <c:v>33.114297764656243</c:v>
                </c:pt>
                <c:pt idx="886">
                  <c:v>32.972658571257568</c:v>
                </c:pt>
                <c:pt idx="887">
                  <c:v>33.035644784980498</c:v>
                </c:pt>
                <c:pt idx="888">
                  <c:v>33.035644784980498</c:v>
                </c:pt>
                <c:pt idx="889">
                  <c:v>33.035644784980498</c:v>
                </c:pt>
                <c:pt idx="890">
                  <c:v>33.035644784980498</c:v>
                </c:pt>
                <c:pt idx="891">
                  <c:v>32.914533891732574</c:v>
                </c:pt>
                <c:pt idx="892">
                  <c:v>33.018487055696653</c:v>
                </c:pt>
                <c:pt idx="893">
                  <c:v>32.919571073678455</c:v>
                </c:pt>
                <c:pt idx="894">
                  <c:v>32.913361070646289</c:v>
                </c:pt>
                <c:pt idx="895">
                  <c:v>32.913361070646289</c:v>
                </c:pt>
                <c:pt idx="896">
                  <c:v>32.913361070646289</c:v>
                </c:pt>
                <c:pt idx="897">
                  <c:v>32.913361070646289</c:v>
                </c:pt>
                <c:pt idx="898">
                  <c:v>32.913361070646289</c:v>
                </c:pt>
                <c:pt idx="899">
                  <c:v>32.913361070646289</c:v>
                </c:pt>
                <c:pt idx="900">
                  <c:v>32.913361070646289</c:v>
                </c:pt>
                <c:pt idx="901">
                  <c:v>32.913361070646289</c:v>
                </c:pt>
                <c:pt idx="902">
                  <c:v>32.913361070646289</c:v>
                </c:pt>
                <c:pt idx="903">
                  <c:v>32.913361070646289</c:v>
                </c:pt>
                <c:pt idx="904">
                  <c:v>32.913361070646289</c:v>
                </c:pt>
                <c:pt idx="905">
                  <c:v>32.497785577695154</c:v>
                </c:pt>
                <c:pt idx="906">
                  <c:v>32.463655458710257</c:v>
                </c:pt>
                <c:pt idx="907">
                  <c:v>32.668634756974107</c:v>
                </c:pt>
                <c:pt idx="908">
                  <c:v>32.66068479531431</c:v>
                </c:pt>
                <c:pt idx="909">
                  <c:v>32.66068479531431</c:v>
                </c:pt>
                <c:pt idx="910">
                  <c:v>32.66068479531431</c:v>
                </c:pt>
                <c:pt idx="911">
                  <c:v>32.66068479531431</c:v>
                </c:pt>
                <c:pt idx="912">
                  <c:v>32.616385461086416</c:v>
                </c:pt>
                <c:pt idx="913">
                  <c:v>32.600404837286526</c:v>
                </c:pt>
                <c:pt idx="914">
                  <c:v>32.613269364570002</c:v>
                </c:pt>
                <c:pt idx="915">
                  <c:v>32.714575598861622</c:v>
                </c:pt>
                <c:pt idx="916">
                  <c:v>32.714575598861622</c:v>
                </c:pt>
                <c:pt idx="917">
                  <c:v>32.714575598861622</c:v>
                </c:pt>
                <c:pt idx="918">
                  <c:v>32.714575598861622</c:v>
                </c:pt>
                <c:pt idx="919">
                  <c:v>32.763790157175521</c:v>
                </c:pt>
                <c:pt idx="920">
                  <c:v>32.666527980029095</c:v>
                </c:pt>
                <c:pt idx="921">
                  <c:v>32.714166666666628</c:v>
                </c:pt>
                <c:pt idx="922">
                  <c:v>32.714166666666628</c:v>
                </c:pt>
                <c:pt idx="923">
                  <c:v>32.714166666666628</c:v>
                </c:pt>
                <c:pt idx="924">
                  <c:v>32.714166666666628</c:v>
                </c:pt>
                <c:pt idx="925">
                  <c:v>32.714166666666628</c:v>
                </c:pt>
                <c:pt idx="926">
                  <c:v>32.745001543119734</c:v>
                </c:pt>
                <c:pt idx="927">
                  <c:v>32.686927560366321</c:v>
                </c:pt>
                <c:pt idx="928">
                  <c:v>32.569638894074174</c:v>
                </c:pt>
                <c:pt idx="929">
                  <c:v>32.544056173045441</c:v>
                </c:pt>
                <c:pt idx="930">
                  <c:v>32.544056173045441</c:v>
                </c:pt>
                <c:pt idx="931">
                  <c:v>32.544056173045441</c:v>
                </c:pt>
                <c:pt idx="932">
                  <c:v>32.544056173045441</c:v>
                </c:pt>
                <c:pt idx="933">
                  <c:v>32.426851253373719</c:v>
                </c:pt>
                <c:pt idx="934">
                  <c:v>32.468354168648155</c:v>
                </c:pt>
                <c:pt idx="935">
                  <c:v>32.478696119798101</c:v>
                </c:pt>
                <c:pt idx="936">
                  <c:v>32.478696119798101</c:v>
                </c:pt>
                <c:pt idx="937">
                  <c:v>32.478696119798101</c:v>
                </c:pt>
                <c:pt idx="938">
                  <c:v>32.478696119798101</c:v>
                </c:pt>
                <c:pt idx="939">
                  <c:v>32.478696119798101</c:v>
                </c:pt>
                <c:pt idx="940">
                  <c:v>32.500005174237238</c:v>
                </c:pt>
                <c:pt idx="941">
                  <c:v>32.446147965245387</c:v>
                </c:pt>
                <c:pt idx="942">
                  <c:v>32.331110365317549</c:v>
                </c:pt>
                <c:pt idx="943">
                  <c:v>32.256991021008467</c:v>
                </c:pt>
                <c:pt idx="944">
                  <c:v>32.256991021008467</c:v>
                </c:pt>
                <c:pt idx="945">
                  <c:v>32.256991021008467</c:v>
                </c:pt>
                <c:pt idx="946">
                  <c:v>32.256991021008467</c:v>
                </c:pt>
                <c:pt idx="947">
                  <c:v>31.881721630834861</c:v>
                </c:pt>
                <c:pt idx="948">
                  <c:v>31.916389904023976</c:v>
                </c:pt>
                <c:pt idx="949">
                  <c:v>31.906791886960352</c:v>
                </c:pt>
                <c:pt idx="950">
                  <c:v>31.874408804699499</c:v>
                </c:pt>
                <c:pt idx="951">
                  <c:v>31.874408804699499</c:v>
                </c:pt>
                <c:pt idx="952">
                  <c:v>31.874408804699499</c:v>
                </c:pt>
                <c:pt idx="953">
                  <c:v>31.874408804699499</c:v>
                </c:pt>
                <c:pt idx="954">
                  <c:v>31.849001803102773</c:v>
                </c:pt>
                <c:pt idx="955">
                  <c:v>31.81435077880608</c:v>
                </c:pt>
                <c:pt idx="956">
                  <c:v>31.979894953576299</c:v>
                </c:pt>
                <c:pt idx="957">
                  <c:v>32.110555127263936</c:v>
                </c:pt>
                <c:pt idx="958">
                  <c:v>32.110555127263936</c:v>
                </c:pt>
                <c:pt idx="959">
                  <c:v>32.110555127263936</c:v>
                </c:pt>
                <c:pt idx="960">
                  <c:v>32.110555127263936</c:v>
                </c:pt>
                <c:pt idx="961">
                  <c:v>32.171276377791422</c:v>
                </c:pt>
                <c:pt idx="962">
                  <c:v>32.136578617227443</c:v>
                </c:pt>
                <c:pt idx="963">
                  <c:v>32.181495865312677</c:v>
                </c:pt>
                <c:pt idx="964">
                  <c:v>32.186179218404739</c:v>
                </c:pt>
                <c:pt idx="965">
                  <c:v>32.186179218404739</c:v>
                </c:pt>
                <c:pt idx="966">
                  <c:v>32.186179218404739</c:v>
                </c:pt>
                <c:pt idx="967">
                  <c:v>32.186179218404739</c:v>
                </c:pt>
                <c:pt idx="968">
                  <c:v>32.219529760817764</c:v>
                </c:pt>
                <c:pt idx="969">
                  <c:v>32.243942505133454</c:v>
                </c:pt>
                <c:pt idx="970">
                  <c:v>32.275488978960936</c:v>
                </c:pt>
                <c:pt idx="971">
                  <c:v>32.296664986991061</c:v>
                </c:pt>
                <c:pt idx="972">
                  <c:v>32.296664986991061</c:v>
                </c:pt>
                <c:pt idx="973">
                  <c:v>32.296664986991061</c:v>
                </c:pt>
                <c:pt idx="974">
                  <c:v>32.296664986991061</c:v>
                </c:pt>
                <c:pt idx="975">
                  <c:v>32.353026013787733</c:v>
                </c:pt>
                <c:pt idx="976">
                  <c:v>32.377374518807464</c:v>
                </c:pt>
                <c:pt idx="977">
                  <c:v>32.385454305466155</c:v>
                </c:pt>
                <c:pt idx="978">
                  <c:v>32.416676128446213</c:v>
                </c:pt>
                <c:pt idx="979">
                  <c:v>32.416676128446213</c:v>
                </c:pt>
                <c:pt idx="980">
                  <c:v>32.416676128446213</c:v>
                </c:pt>
                <c:pt idx="981">
                  <c:v>32.416676128446213</c:v>
                </c:pt>
                <c:pt idx="982">
                  <c:v>32.467884236448086</c:v>
                </c:pt>
                <c:pt idx="983">
                  <c:v>32.473054238942495</c:v>
                </c:pt>
                <c:pt idx="984">
                  <c:v>32.460635577541225</c:v>
                </c:pt>
                <c:pt idx="985">
                  <c:v>32.421695951107694</c:v>
                </c:pt>
                <c:pt idx="986">
                  <c:v>32.421695951107694</c:v>
                </c:pt>
                <c:pt idx="987">
                  <c:v>32.421695951107694</c:v>
                </c:pt>
                <c:pt idx="988">
                  <c:v>32.421695951107694</c:v>
                </c:pt>
                <c:pt idx="989">
                  <c:v>32.427453928184939</c:v>
                </c:pt>
                <c:pt idx="990">
                  <c:v>32.433749870907754</c:v>
                </c:pt>
                <c:pt idx="991">
                  <c:v>32.347560975609738</c:v>
                </c:pt>
                <c:pt idx="992">
                  <c:v>32.367297132397781</c:v>
                </c:pt>
                <c:pt idx="993">
                  <c:v>32.367297132397781</c:v>
                </c:pt>
                <c:pt idx="994">
                  <c:v>32.367297132397781</c:v>
                </c:pt>
                <c:pt idx="995">
                  <c:v>32.367297132397781</c:v>
                </c:pt>
                <c:pt idx="996">
                  <c:v>32.283717105263136</c:v>
                </c:pt>
                <c:pt idx="997">
                  <c:v>32.259575482163818</c:v>
                </c:pt>
                <c:pt idx="998">
                  <c:v>32.303641226085148</c:v>
                </c:pt>
                <c:pt idx="999">
                  <c:v>32.465467657134795</c:v>
                </c:pt>
                <c:pt idx="1000">
                  <c:v>32.465467657134795</c:v>
                </c:pt>
                <c:pt idx="1001">
                  <c:v>32.465467657134795</c:v>
                </c:pt>
                <c:pt idx="1002">
                  <c:v>32.465467657134795</c:v>
                </c:pt>
                <c:pt idx="1003">
                  <c:v>32.503907018143025</c:v>
                </c:pt>
                <c:pt idx="1004">
                  <c:v>32.541021315749084</c:v>
                </c:pt>
                <c:pt idx="1005">
                  <c:v>32.460568475452163</c:v>
                </c:pt>
                <c:pt idx="1006">
                  <c:v>32.483533578260975</c:v>
                </c:pt>
                <c:pt idx="1007">
                  <c:v>32.483533578260975</c:v>
                </c:pt>
                <c:pt idx="1008">
                  <c:v>32.483533578260975</c:v>
                </c:pt>
                <c:pt idx="1009">
                  <c:v>32.483533578260975</c:v>
                </c:pt>
                <c:pt idx="1010">
                  <c:v>32.443801652892525</c:v>
                </c:pt>
                <c:pt idx="1011">
                  <c:v>32.343563336766181</c:v>
                </c:pt>
                <c:pt idx="1012">
                  <c:v>32.37356973507881</c:v>
                </c:pt>
                <c:pt idx="1013">
                  <c:v>32.332308629951633</c:v>
                </c:pt>
                <c:pt idx="1014">
                  <c:v>32.332308629951633</c:v>
                </c:pt>
                <c:pt idx="1015">
                  <c:v>32.332308629951633</c:v>
                </c:pt>
                <c:pt idx="1016">
                  <c:v>32.332308629951633</c:v>
                </c:pt>
                <c:pt idx="1017">
                  <c:v>32.309024955814444</c:v>
                </c:pt>
                <c:pt idx="1018">
                  <c:v>32.350226617222866</c:v>
                </c:pt>
                <c:pt idx="1019">
                  <c:v>32.309024955814436</c:v>
                </c:pt>
                <c:pt idx="1020">
                  <c:v>32.29035574748093</c:v>
                </c:pt>
                <c:pt idx="1021">
                  <c:v>32.29035574748093</c:v>
                </c:pt>
                <c:pt idx="1022">
                  <c:v>32.29035574748093</c:v>
                </c:pt>
                <c:pt idx="1023">
                  <c:v>32.29035574748093</c:v>
                </c:pt>
                <c:pt idx="1024">
                  <c:v>32.279337096528799</c:v>
                </c:pt>
                <c:pt idx="1025">
                  <c:v>32.258979031293805</c:v>
                </c:pt>
                <c:pt idx="1026">
                  <c:v>32.259111574025525</c:v>
                </c:pt>
                <c:pt idx="1027">
                  <c:v>32.186311163583852</c:v>
                </c:pt>
                <c:pt idx="1028">
                  <c:v>32.186311163583852</c:v>
                </c:pt>
                <c:pt idx="1029">
                  <c:v>32.186311163583852</c:v>
                </c:pt>
                <c:pt idx="1030">
                  <c:v>32.186311163583852</c:v>
                </c:pt>
                <c:pt idx="1031">
                  <c:v>32.247054643877298</c:v>
                </c:pt>
                <c:pt idx="1032">
                  <c:v>32.243942505133433</c:v>
                </c:pt>
                <c:pt idx="1033">
                  <c:v>32.224091935152849</c:v>
                </c:pt>
                <c:pt idx="1034">
                  <c:v>32.082410532595603</c:v>
                </c:pt>
                <c:pt idx="1035">
                  <c:v>32.082410532595603</c:v>
                </c:pt>
                <c:pt idx="1036">
                  <c:v>32.082410532595603</c:v>
                </c:pt>
                <c:pt idx="1037">
                  <c:v>32.082410532595603</c:v>
                </c:pt>
                <c:pt idx="1038">
                  <c:v>31.997554763117641</c:v>
                </c:pt>
                <c:pt idx="1039">
                  <c:v>31.960433118944849</c:v>
                </c:pt>
                <c:pt idx="1040">
                  <c:v>31.904847046584923</c:v>
                </c:pt>
                <c:pt idx="1041">
                  <c:v>31.85998713654131</c:v>
                </c:pt>
                <c:pt idx="1042">
                  <c:v>31.85998713654131</c:v>
                </c:pt>
                <c:pt idx="1043">
                  <c:v>31.85998713654131</c:v>
                </c:pt>
                <c:pt idx="1044">
                  <c:v>31.85998713654131</c:v>
                </c:pt>
                <c:pt idx="1045">
                  <c:v>31.915027671695562</c:v>
                </c:pt>
                <c:pt idx="1046">
                  <c:v>31.916260162601581</c:v>
                </c:pt>
                <c:pt idx="1047">
                  <c:v>31.848872608971625</c:v>
                </c:pt>
                <c:pt idx="1048">
                  <c:v>31.809710562992208</c:v>
                </c:pt>
                <c:pt idx="1049">
                  <c:v>31.809710562992208</c:v>
                </c:pt>
                <c:pt idx="1050">
                  <c:v>31.809710562992208</c:v>
                </c:pt>
                <c:pt idx="1051">
                  <c:v>31.809710562992208</c:v>
                </c:pt>
                <c:pt idx="1052">
                  <c:v>31.775980832584562</c:v>
                </c:pt>
                <c:pt idx="1053">
                  <c:v>31.708671482025149</c:v>
                </c:pt>
                <c:pt idx="1054">
                  <c:v>31.57992116482982</c:v>
                </c:pt>
                <c:pt idx="1055">
                  <c:v>31.612535658419972</c:v>
                </c:pt>
                <c:pt idx="1056">
                  <c:v>31.612535658419972</c:v>
                </c:pt>
                <c:pt idx="1057">
                  <c:v>31.612535658419972</c:v>
                </c:pt>
                <c:pt idx="1058">
                  <c:v>31.612535658419972</c:v>
                </c:pt>
                <c:pt idx="1059">
                  <c:v>31.653318873503995</c:v>
                </c:pt>
                <c:pt idx="1060">
                  <c:v>31.666596084931964</c:v>
                </c:pt>
                <c:pt idx="1061">
                  <c:v>31.626988922457155</c:v>
                </c:pt>
                <c:pt idx="1062">
                  <c:v>31.663020355490094</c:v>
                </c:pt>
                <c:pt idx="1063">
                  <c:v>31.663020355490094</c:v>
                </c:pt>
                <c:pt idx="1064">
                  <c:v>31.663020355490094</c:v>
                </c:pt>
                <c:pt idx="1065">
                  <c:v>31.663020355490094</c:v>
                </c:pt>
                <c:pt idx="1066">
                  <c:v>31.59014965428026</c:v>
                </c:pt>
                <c:pt idx="1067">
                  <c:v>31.582652349068837</c:v>
                </c:pt>
                <c:pt idx="1068">
                  <c:v>31.522042424716862</c:v>
                </c:pt>
                <c:pt idx="1069">
                  <c:v>31.411128358591075</c:v>
                </c:pt>
                <c:pt idx="1070">
                  <c:v>31.411128358591075</c:v>
                </c:pt>
                <c:pt idx="1071">
                  <c:v>31.411128358591075</c:v>
                </c:pt>
                <c:pt idx="1072">
                  <c:v>31.411128358591075</c:v>
                </c:pt>
                <c:pt idx="1073">
                  <c:v>31.088497327261891</c:v>
                </c:pt>
                <c:pt idx="1074">
                  <c:v>31.12213955295168</c:v>
                </c:pt>
                <c:pt idx="1075">
                  <c:v>31.004280592016901</c:v>
                </c:pt>
                <c:pt idx="1076">
                  <c:v>30.891685913148816</c:v>
                </c:pt>
                <c:pt idx="1077">
                  <c:v>30.891685913148816</c:v>
                </c:pt>
                <c:pt idx="1078">
                  <c:v>30.891685913148816</c:v>
                </c:pt>
                <c:pt idx="1079">
                  <c:v>30.891685913148816</c:v>
                </c:pt>
                <c:pt idx="1080">
                  <c:v>30.91102362204721</c:v>
                </c:pt>
                <c:pt idx="1081">
                  <c:v>30.918814189402028</c:v>
                </c:pt>
                <c:pt idx="1082">
                  <c:v>30.880629301868208</c:v>
                </c:pt>
                <c:pt idx="1083">
                  <c:v>30.855689894696688</c:v>
                </c:pt>
                <c:pt idx="1084">
                  <c:v>30.855689894696688</c:v>
                </c:pt>
                <c:pt idx="1085">
                  <c:v>30.855689894696688</c:v>
                </c:pt>
                <c:pt idx="1086">
                  <c:v>30.855689894696688</c:v>
                </c:pt>
                <c:pt idx="1087">
                  <c:v>30.751936830726059</c:v>
                </c:pt>
                <c:pt idx="1088">
                  <c:v>30.85029469548131</c:v>
                </c:pt>
                <c:pt idx="1089">
                  <c:v>30.848415911801027</c:v>
                </c:pt>
                <c:pt idx="1090">
                  <c:v>30.868488303518749</c:v>
                </c:pt>
                <c:pt idx="1091">
                  <c:v>30.868488303518749</c:v>
                </c:pt>
                <c:pt idx="1092">
                  <c:v>30.868488303518749</c:v>
                </c:pt>
                <c:pt idx="1093">
                  <c:v>30.868488303518749</c:v>
                </c:pt>
                <c:pt idx="1094">
                  <c:v>30.889255209911095</c:v>
                </c:pt>
                <c:pt idx="1095">
                  <c:v>30.88797924383184</c:v>
                </c:pt>
                <c:pt idx="1096">
                  <c:v>30.88797924383184</c:v>
                </c:pt>
                <c:pt idx="1097">
                  <c:v>30.928679758129611</c:v>
                </c:pt>
                <c:pt idx="1098">
                  <c:v>30.928679758129611</c:v>
                </c:pt>
                <c:pt idx="1099">
                  <c:v>30.928679758129611</c:v>
                </c:pt>
                <c:pt idx="1100">
                  <c:v>30.928679758129611</c:v>
                </c:pt>
                <c:pt idx="1101">
                  <c:v>30.999690058375602</c:v>
                </c:pt>
                <c:pt idx="1102">
                  <c:v>30.999690058375602</c:v>
                </c:pt>
                <c:pt idx="1103">
                  <c:v>31.032956261215304</c:v>
                </c:pt>
                <c:pt idx="1104">
                  <c:v>31.053392423136756</c:v>
                </c:pt>
                <c:pt idx="1105">
                  <c:v>31.053392423136756</c:v>
                </c:pt>
                <c:pt idx="1106">
                  <c:v>31.053392423136756</c:v>
                </c:pt>
                <c:pt idx="1107">
                  <c:v>31.053392423136756</c:v>
                </c:pt>
                <c:pt idx="1108">
                  <c:v>31.085420172226051</c:v>
                </c:pt>
                <c:pt idx="1109">
                  <c:v>31.123126503851022</c:v>
                </c:pt>
                <c:pt idx="1110">
                  <c:v>31.135406938586918</c:v>
                </c:pt>
                <c:pt idx="1111">
                  <c:v>31.15616375299351</c:v>
                </c:pt>
                <c:pt idx="1112">
                  <c:v>31.15616375299351</c:v>
                </c:pt>
                <c:pt idx="1113">
                  <c:v>31.15616375299351</c:v>
                </c:pt>
                <c:pt idx="1114">
                  <c:v>31.15616375299351</c:v>
                </c:pt>
                <c:pt idx="1115">
                  <c:v>31.209355572162217</c:v>
                </c:pt>
                <c:pt idx="1116">
                  <c:v>31.222014554419982</c:v>
                </c:pt>
                <c:pt idx="1117">
                  <c:v>31.208177071843487</c:v>
                </c:pt>
                <c:pt idx="1118">
                  <c:v>31.227975276626516</c:v>
                </c:pt>
                <c:pt idx="1119">
                  <c:v>31.227975276626516</c:v>
                </c:pt>
                <c:pt idx="1120">
                  <c:v>31.227975276626516</c:v>
                </c:pt>
                <c:pt idx="1121">
                  <c:v>31.227975276626516</c:v>
                </c:pt>
                <c:pt idx="1122">
                  <c:v>31.248482629339652</c:v>
                </c:pt>
                <c:pt idx="1123">
                  <c:v>31.26802070888089</c:v>
                </c:pt>
                <c:pt idx="1124">
                  <c:v>31.260053192336446</c:v>
                </c:pt>
                <c:pt idx="1125">
                  <c:v>31.261795739597812</c:v>
                </c:pt>
                <c:pt idx="1126">
                  <c:v>31.261795739597812</c:v>
                </c:pt>
                <c:pt idx="1127">
                  <c:v>31.261795739597812</c:v>
                </c:pt>
                <c:pt idx="1128">
                  <c:v>31.261795739597812</c:v>
                </c:pt>
                <c:pt idx="1129">
                  <c:v>31.190696103844477</c:v>
                </c:pt>
                <c:pt idx="1130">
                  <c:v>31.212519355268274</c:v>
                </c:pt>
                <c:pt idx="1131">
                  <c:v>31.20916948724723</c:v>
                </c:pt>
                <c:pt idx="1132">
                  <c:v>31.218290258449269</c:v>
                </c:pt>
                <c:pt idx="1133">
                  <c:v>31.218290258449269</c:v>
                </c:pt>
                <c:pt idx="1134">
                  <c:v>31.218290258449269</c:v>
                </c:pt>
                <c:pt idx="1135">
                  <c:v>31.218290258449269</c:v>
                </c:pt>
                <c:pt idx="1136">
                  <c:v>31.230708035003943</c:v>
                </c:pt>
                <c:pt idx="1137">
                  <c:v>31.12547076313178</c:v>
                </c:pt>
                <c:pt idx="1138">
                  <c:v>31.023943447706284</c:v>
                </c:pt>
                <c:pt idx="1139">
                  <c:v>31.014813351767689</c:v>
                </c:pt>
                <c:pt idx="1140">
                  <c:v>31.014813351767689</c:v>
                </c:pt>
                <c:pt idx="1141">
                  <c:v>31.014813351767689</c:v>
                </c:pt>
                <c:pt idx="1142">
                  <c:v>31.014813351767689</c:v>
                </c:pt>
                <c:pt idx="1143">
                  <c:v>31.029154300031976</c:v>
                </c:pt>
                <c:pt idx="1144">
                  <c:v>31.008688783570268</c:v>
                </c:pt>
                <c:pt idx="1145">
                  <c:v>31.036268405968936</c:v>
                </c:pt>
                <c:pt idx="1146">
                  <c:v>31.057753164556924</c:v>
                </c:pt>
                <c:pt idx="1147">
                  <c:v>31.057753164556924</c:v>
                </c:pt>
                <c:pt idx="1148">
                  <c:v>31.057753164556924</c:v>
                </c:pt>
                <c:pt idx="1149">
                  <c:v>31.057753164556924</c:v>
                </c:pt>
                <c:pt idx="1150">
                  <c:v>31.026456699136517</c:v>
                </c:pt>
                <c:pt idx="1151">
                  <c:v>31.042403874666373</c:v>
                </c:pt>
                <c:pt idx="1152">
                  <c:v>31.0353482948425</c:v>
                </c:pt>
                <c:pt idx="1153">
                  <c:v>30.999016894412851</c:v>
                </c:pt>
                <c:pt idx="1154">
                  <c:v>30.999016894412851</c:v>
                </c:pt>
                <c:pt idx="1155">
                  <c:v>30.999016894412851</c:v>
                </c:pt>
                <c:pt idx="1156">
                  <c:v>30.999016894412851</c:v>
                </c:pt>
                <c:pt idx="1157">
                  <c:v>31.000608056351794</c:v>
                </c:pt>
                <c:pt idx="1158">
                  <c:v>31.00881125122924</c:v>
                </c:pt>
                <c:pt idx="1159">
                  <c:v>30.991675186212913</c:v>
                </c:pt>
                <c:pt idx="1160">
                  <c:v>30.98421468034725</c:v>
                </c:pt>
                <c:pt idx="1161">
                  <c:v>30.98421468034725</c:v>
                </c:pt>
                <c:pt idx="1162">
                  <c:v>30.98421468034725</c:v>
                </c:pt>
                <c:pt idx="1163">
                  <c:v>31.011750765280908</c:v>
                </c:pt>
                <c:pt idx="1164">
                  <c:v>31.03013536211834</c:v>
                </c:pt>
                <c:pt idx="1165">
                  <c:v>31.030441956742948</c:v>
                </c:pt>
                <c:pt idx="1166">
                  <c:v>30.987271830291039</c:v>
                </c:pt>
                <c:pt idx="1167">
                  <c:v>31.00207696620781</c:v>
                </c:pt>
                <c:pt idx="1168">
                  <c:v>31.00207696620781</c:v>
                </c:pt>
                <c:pt idx="1169">
                  <c:v>31.00207696620781</c:v>
                </c:pt>
                <c:pt idx="1170">
                  <c:v>31.023943447706284</c:v>
                </c:pt>
                <c:pt idx="1171">
                  <c:v>31.088497327261898</c:v>
                </c:pt>
                <c:pt idx="1172">
                  <c:v>31.113136516742586</c:v>
                </c:pt>
                <c:pt idx="1173">
                  <c:v>31.00256663376107</c:v>
                </c:pt>
                <c:pt idx="1174">
                  <c:v>31.05161162744707</c:v>
                </c:pt>
                <c:pt idx="1175">
                  <c:v>31.05161162744707</c:v>
                </c:pt>
                <c:pt idx="1176">
                  <c:v>31.05161162744707</c:v>
                </c:pt>
                <c:pt idx="1177">
                  <c:v>31.004158160142445</c:v>
                </c:pt>
                <c:pt idx="1178">
                  <c:v>31.027069749061418</c:v>
                </c:pt>
                <c:pt idx="1179">
                  <c:v>31.047436769427854</c:v>
                </c:pt>
                <c:pt idx="1180">
                  <c:v>31.063897131552892</c:v>
                </c:pt>
                <c:pt idx="1181">
                  <c:v>31.051611627447073</c:v>
                </c:pt>
                <c:pt idx="1182">
                  <c:v>31.051611627447073</c:v>
                </c:pt>
                <c:pt idx="1183">
                  <c:v>31.051611627447073</c:v>
                </c:pt>
                <c:pt idx="1184">
                  <c:v>31.051611627447073</c:v>
                </c:pt>
                <c:pt idx="1185">
                  <c:v>31.051611627447073</c:v>
                </c:pt>
                <c:pt idx="1186">
                  <c:v>31.051611627447073</c:v>
                </c:pt>
                <c:pt idx="1187">
                  <c:v>31.051611627447073</c:v>
                </c:pt>
                <c:pt idx="1188">
                  <c:v>31.040931140956019</c:v>
                </c:pt>
                <c:pt idx="1189">
                  <c:v>31.040931140956019</c:v>
                </c:pt>
                <c:pt idx="1190">
                  <c:v>31.040931140956019</c:v>
                </c:pt>
                <c:pt idx="1191">
                  <c:v>30.716025233507725</c:v>
                </c:pt>
                <c:pt idx="1192">
                  <c:v>30.556139326717236</c:v>
                </c:pt>
                <c:pt idx="1193">
                  <c:v>30.62974847122387</c:v>
                </c:pt>
                <c:pt idx="1194">
                  <c:v>30.386850451754455</c:v>
                </c:pt>
                <c:pt idx="1195">
                  <c:v>30.591856614065826</c:v>
                </c:pt>
                <c:pt idx="1196">
                  <c:v>30.591856614065826</c:v>
                </c:pt>
                <c:pt idx="1197">
                  <c:v>30.591856614065826</c:v>
                </c:pt>
                <c:pt idx="1198">
                  <c:v>30.640745705694428</c:v>
                </c:pt>
                <c:pt idx="1199">
                  <c:v>30.78708741385562</c:v>
                </c:pt>
                <c:pt idx="1200">
                  <c:v>30.801883091408374</c:v>
                </c:pt>
                <c:pt idx="1201">
                  <c:v>30.741581832419712</c:v>
                </c:pt>
                <c:pt idx="1202">
                  <c:v>30.717527386541448</c:v>
                </c:pt>
                <c:pt idx="1203">
                  <c:v>30.717527386541448</c:v>
                </c:pt>
                <c:pt idx="1204">
                  <c:v>30.717527386541448</c:v>
                </c:pt>
                <c:pt idx="1205">
                  <c:v>30.717527386541448</c:v>
                </c:pt>
                <c:pt idx="1206">
                  <c:v>30.717527386541448</c:v>
                </c:pt>
                <c:pt idx="1207">
                  <c:v>30.76748241471871</c:v>
                </c:pt>
                <c:pt idx="1208">
                  <c:v>30.813971742543149</c:v>
                </c:pt>
                <c:pt idx="1209">
                  <c:v>30.813971742543149</c:v>
                </c:pt>
                <c:pt idx="1210">
                  <c:v>30.813971742543149</c:v>
                </c:pt>
                <c:pt idx="1211">
                  <c:v>30.813971742543149</c:v>
                </c:pt>
                <c:pt idx="1212">
                  <c:v>30.813971742543149</c:v>
                </c:pt>
                <c:pt idx="1213">
                  <c:v>30.892779854416659</c:v>
                </c:pt>
                <c:pt idx="1214">
                  <c:v>30.911023622047221</c:v>
                </c:pt>
                <c:pt idx="1215">
                  <c:v>30.917109667257311</c:v>
                </c:pt>
                <c:pt idx="1216">
                  <c:v>30.917109667257311</c:v>
                </c:pt>
                <c:pt idx="1217">
                  <c:v>30.917109667257311</c:v>
                </c:pt>
                <c:pt idx="1218">
                  <c:v>30.917109667257311</c:v>
                </c:pt>
                <c:pt idx="1219">
                  <c:v>30.917109667257311</c:v>
                </c:pt>
                <c:pt idx="1220">
                  <c:v>30.984214680347254</c:v>
                </c:pt>
                <c:pt idx="1221">
                  <c:v>31.002566633761084</c:v>
                </c:pt>
                <c:pt idx="1222">
                  <c:v>31.008688783570278</c:v>
                </c:pt>
                <c:pt idx="1223">
                  <c:v>31.020940339786627</c:v>
                </c:pt>
                <c:pt idx="1224">
                  <c:v>31.020940339786627</c:v>
                </c:pt>
                <c:pt idx="1225">
                  <c:v>31.020940339786627</c:v>
                </c:pt>
                <c:pt idx="1226">
                  <c:v>31.020940339786627</c:v>
                </c:pt>
                <c:pt idx="1227">
                  <c:v>31.091698214823122</c:v>
                </c:pt>
                <c:pt idx="1228">
                  <c:v>31.119302417756622</c:v>
                </c:pt>
                <c:pt idx="1229">
                  <c:v>31.150168617337815</c:v>
                </c:pt>
                <c:pt idx="1230">
                  <c:v>31.309105337350267</c:v>
                </c:pt>
                <c:pt idx="1231">
                  <c:v>31.309105337350267</c:v>
                </c:pt>
                <c:pt idx="1232">
                  <c:v>31.309105337350267</c:v>
                </c:pt>
                <c:pt idx="1233">
                  <c:v>31.309105337350267</c:v>
                </c:pt>
                <c:pt idx="1234">
                  <c:v>31.380495603517172</c:v>
                </c:pt>
                <c:pt idx="1235">
                  <c:v>31.462232017631717</c:v>
                </c:pt>
                <c:pt idx="1236">
                  <c:v>31.500100300902687</c:v>
                </c:pt>
                <c:pt idx="1237">
                  <c:v>31.468537074148276</c:v>
                </c:pt>
                <c:pt idx="1238">
                  <c:v>31.468537074148276</c:v>
                </c:pt>
                <c:pt idx="1239">
                  <c:v>31.468537074148276</c:v>
                </c:pt>
                <c:pt idx="1240">
                  <c:v>31.468537074148276</c:v>
                </c:pt>
                <c:pt idx="1241">
                  <c:v>31.506420545746366</c:v>
                </c:pt>
                <c:pt idx="1242">
                  <c:v>31.525396506725532</c:v>
                </c:pt>
                <c:pt idx="1243">
                  <c:v>31.530903811747862</c:v>
                </c:pt>
                <c:pt idx="1244">
                  <c:v>31.557073954983899</c:v>
                </c:pt>
                <c:pt idx="1245">
                  <c:v>31.557073954983899</c:v>
                </c:pt>
                <c:pt idx="1246">
                  <c:v>31.557073954983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04F-4E1F-B06E-48D36AF55A46}"/>
            </c:ext>
          </c:extLst>
        </c:ser>
        <c:ser>
          <c:idx val="1"/>
          <c:order val="1"/>
          <c:tx>
            <c:strRef>
              <c:f>FXHC!$U$11</c:f>
              <c:strCache>
                <c:ptCount val="1"/>
                <c:pt idx="0">
                  <c:v>South Africa</c:v>
                </c:pt>
              </c:strCache>
            </c:strRef>
          </c:tx>
          <c:spPr>
            <a:ln w="158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FXHC!$S$12:$S$1258</c:f>
              <c:numCache>
                <c:formatCode>m/d/yyyy</c:formatCode>
                <c:ptCount val="1247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  <c:pt idx="243">
                  <c:v>44805</c:v>
                </c:pt>
                <c:pt idx="244">
                  <c:v>44806</c:v>
                </c:pt>
                <c:pt idx="245">
                  <c:v>44807</c:v>
                </c:pt>
                <c:pt idx="246">
                  <c:v>44808</c:v>
                </c:pt>
                <c:pt idx="247">
                  <c:v>44809</c:v>
                </c:pt>
                <c:pt idx="248">
                  <c:v>44810</c:v>
                </c:pt>
                <c:pt idx="249">
                  <c:v>44811</c:v>
                </c:pt>
                <c:pt idx="250">
                  <c:v>44812</c:v>
                </c:pt>
                <c:pt idx="251">
                  <c:v>44813</c:v>
                </c:pt>
                <c:pt idx="252">
                  <c:v>44814</c:v>
                </c:pt>
                <c:pt idx="253">
                  <c:v>44815</c:v>
                </c:pt>
                <c:pt idx="254">
                  <c:v>44816</c:v>
                </c:pt>
                <c:pt idx="255">
                  <c:v>44817</c:v>
                </c:pt>
                <c:pt idx="256">
                  <c:v>44818</c:v>
                </c:pt>
                <c:pt idx="257">
                  <c:v>44819</c:v>
                </c:pt>
                <c:pt idx="258">
                  <c:v>44820</c:v>
                </c:pt>
                <c:pt idx="259">
                  <c:v>44821</c:v>
                </c:pt>
                <c:pt idx="260">
                  <c:v>44822</c:v>
                </c:pt>
                <c:pt idx="261">
                  <c:v>44823</c:v>
                </c:pt>
                <c:pt idx="262">
                  <c:v>44824</c:v>
                </c:pt>
                <c:pt idx="263">
                  <c:v>44825</c:v>
                </c:pt>
                <c:pt idx="264">
                  <c:v>44826</c:v>
                </c:pt>
                <c:pt idx="265">
                  <c:v>44827</c:v>
                </c:pt>
                <c:pt idx="266">
                  <c:v>44828</c:v>
                </c:pt>
                <c:pt idx="267">
                  <c:v>44829</c:v>
                </c:pt>
                <c:pt idx="268">
                  <c:v>44830</c:v>
                </c:pt>
                <c:pt idx="269">
                  <c:v>44831</c:v>
                </c:pt>
                <c:pt idx="270">
                  <c:v>44832</c:v>
                </c:pt>
                <c:pt idx="271">
                  <c:v>44833</c:v>
                </c:pt>
                <c:pt idx="272">
                  <c:v>44834</c:v>
                </c:pt>
                <c:pt idx="273">
                  <c:v>44835</c:v>
                </c:pt>
                <c:pt idx="274">
                  <c:v>44836</c:v>
                </c:pt>
                <c:pt idx="275">
                  <c:v>44837</c:v>
                </c:pt>
                <c:pt idx="276">
                  <c:v>44838</c:v>
                </c:pt>
                <c:pt idx="277">
                  <c:v>44839</c:v>
                </c:pt>
                <c:pt idx="278">
                  <c:v>44840</c:v>
                </c:pt>
                <c:pt idx="279">
                  <c:v>44841</c:v>
                </c:pt>
                <c:pt idx="280">
                  <c:v>44842</c:v>
                </c:pt>
                <c:pt idx="281">
                  <c:v>44843</c:v>
                </c:pt>
                <c:pt idx="282">
                  <c:v>44844</c:v>
                </c:pt>
                <c:pt idx="283">
                  <c:v>44845</c:v>
                </c:pt>
                <c:pt idx="284">
                  <c:v>44846</c:v>
                </c:pt>
                <c:pt idx="285">
                  <c:v>44847</c:v>
                </c:pt>
                <c:pt idx="286">
                  <c:v>44848</c:v>
                </c:pt>
                <c:pt idx="287">
                  <c:v>44849</c:v>
                </c:pt>
                <c:pt idx="288">
                  <c:v>44850</c:v>
                </c:pt>
                <c:pt idx="289">
                  <c:v>44851</c:v>
                </c:pt>
                <c:pt idx="290">
                  <c:v>44852</c:v>
                </c:pt>
                <c:pt idx="291">
                  <c:v>44853</c:v>
                </c:pt>
                <c:pt idx="292">
                  <c:v>44854</c:v>
                </c:pt>
                <c:pt idx="293">
                  <c:v>44855</c:v>
                </c:pt>
                <c:pt idx="294">
                  <c:v>44856</c:v>
                </c:pt>
                <c:pt idx="295">
                  <c:v>44857</c:v>
                </c:pt>
                <c:pt idx="296">
                  <c:v>44858</c:v>
                </c:pt>
                <c:pt idx="297">
                  <c:v>44859</c:v>
                </c:pt>
                <c:pt idx="298">
                  <c:v>44860</c:v>
                </c:pt>
                <c:pt idx="299">
                  <c:v>44861</c:v>
                </c:pt>
                <c:pt idx="300">
                  <c:v>44862</c:v>
                </c:pt>
                <c:pt idx="301">
                  <c:v>44863</c:v>
                </c:pt>
                <c:pt idx="302">
                  <c:v>44864</c:v>
                </c:pt>
                <c:pt idx="303">
                  <c:v>44865</c:v>
                </c:pt>
                <c:pt idx="304">
                  <c:v>44866</c:v>
                </c:pt>
                <c:pt idx="305">
                  <c:v>44867</c:v>
                </c:pt>
                <c:pt idx="306">
                  <c:v>44868</c:v>
                </c:pt>
                <c:pt idx="307">
                  <c:v>44869</c:v>
                </c:pt>
                <c:pt idx="308">
                  <c:v>44870</c:v>
                </c:pt>
                <c:pt idx="309">
                  <c:v>44871</c:v>
                </c:pt>
                <c:pt idx="310">
                  <c:v>44872</c:v>
                </c:pt>
                <c:pt idx="311">
                  <c:v>44873</c:v>
                </c:pt>
                <c:pt idx="312">
                  <c:v>44874</c:v>
                </c:pt>
                <c:pt idx="313">
                  <c:v>44875</c:v>
                </c:pt>
                <c:pt idx="314">
                  <c:v>44876</c:v>
                </c:pt>
                <c:pt idx="315">
                  <c:v>44877</c:v>
                </c:pt>
                <c:pt idx="316">
                  <c:v>44878</c:v>
                </c:pt>
                <c:pt idx="317">
                  <c:v>44879</c:v>
                </c:pt>
                <c:pt idx="318">
                  <c:v>44880</c:v>
                </c:pt>
                <c:pt idx="319">
                  <c:v>44881</c:v>
                </c:pt>
                <c:pt idx="320">
                  <c:v>44882</c:v>
                </c:pt>
                <c:pt idx="321">
                  <c:v>44883</c:v>
                </c:pt>
                <c:pt idx="322">
                  <c:v>44884</c:v>
                </c:pt>
                <c:pt idx="323">
                  <c:v>44885</c:v>
                </c:pt>
                <c:pt idx="324">
                  <c:v>44886</c:v>
                </c:pt>
                <c:pt idx="325">
                  <c:v>44887</c:v>
                </c:pt>
                <c:pt idx="326">
                  <c:v>44888</c:v>
                </c:pt>
                <c:pt idx="327">
                  <c:v>44889</c:v>
                </c:pt>
                <c:pt idx="328">
                  <c:v>44890</c:v>
                </c:pt>
                <c:pt idx="329">
                  <c:v>44891</c:v>
                </c:pt>
                <c:pt idx="330">
                  <c:v>44892</c:v>
                </c:pt>
                <c:pt idx="331">
                  <c:v>44893</c:v>
                </c:pt>
                <c:pt idx="332">
                  <c:v>44894</c:v>
                </c:pt>
                <c:pt idx="333">
                  <c:v>44895</c:v>
                </c:pt>
                <c:pt idx="334">
                  <c:v>44896</c:v>
                </c:pt>
                <c:pt idx="335">
                  <c:v>44897</c:v>
                </c:pt>
                <c:pt idx="336">
                  <c:v>44898</c:v>
                </c:pt>
                <c:pt idx="337">
                  <c:v>44899</c:v>
                </c:pt>
                <c:pt idx="338">
                  <c:v>44900</c:v>
                </c:pt>
                <c:pt idx="339">
                  <c:v>44901</c:v>
                </c:pt>
                <c:pt idx="340">
                  <c:v>44902</c:v>
                </c:pt>
                <c:pt idx="341">
                  <c:v>44903</c:v>
                </c:pt>
                <c:pt idx="342">
                  <c:v>44904</c:v>
                </c:pt>
                <c:pt idx="343">
                  <c:v>44905</c:v>
                </c:pt>
                <c:pt idx="344">
                  <c:v>44906</c:v>
                </c:pt>
                <c:pt idx="345">
                  <c:v>44907</c:v>
                </c:pt>
                <c:pt idx="346">
                  <c:v>44908</c:v>
                </c:pt>
                <c:pt idx="347">
                  <c:v>44909</c:v>
                </c:pt>
                <c:pt idx="348">
                  <c:v>44910</c:v>
                </c:pt>
                <c:pt idx="349">
                  <c:v>44911</c:v>
                </c:pt>
                <c:pt idx="350">
                  <c:v>44912</c:v>
                </c:pt>
                <c:pt idx="351">
                  <c:v>44913</c:v>
                </c:pt>
                <c:pt idx="352">
                  <c:v>44914</c:v>
                </c:pt>
                <c:pt idx="353">
                  <c:v>44915</c:v>
                </c:pt>
                <c:pt idx="354">
                  <c:v>44916</c:v>
                </c:pt>
                <c:pt idx="355">
                  <c:v>44917</c:v>
                </c:pt>
                <c:pt idx="356">
                  <c:v>44918</c:v>
                </c:pt>
                <c:pt idx="357">
                  <c:v>44919</c:v>
                </c:pt>
                <c:pt idx="358">
                  <c:v>44920</c:v>
                </c:pt>
                <c:pt idx="359">
                  <c:v>44921</c:v>
                </c:pt>
                <c:pt idx="360">
                  <c:v>44922</c:v>
                </c:pt>
                <c:pt idx="361">
                  <c:v>44923</c:v>
                </c:pt>
                <c:pt idx="362">
                  <c:v>44924</c:v>
                </c:pt>
                <c:pt idx="363">
                  <c:v>44925</c:v>
                </c:pt>
                <c:pt idx="364">
                  <c:v>44926</c:v>
                </c:pt>
                <c:pt idx="365">
                  <c:v>44927</c:v>
                </c:pt>
                <c:pt idx="366">
                  <c:v>44928</c:v>
                </c:pt>
                <c:pt idx="367">
                  <c:v>44929</c:v>
                </c:pt>
                <c:pt idx="368">
                  <c:v>44930</c:v>
                </c:pt>
                <c:pt idx="369">
                  <c:v>44931</c:v>
                </c:pt>
                <c:pt idx="370">
                  <c:v>44932</c:v>
                </c:pt>
                <c:pt idx="371">
                  <c:v>44933</c:v>
                </c:pt>
                <c:pt idx="372">
                  <c:v>44934</c:v>
                </c:pt>
                <c:pt idx="373">
                  <c:v>44935</c:v>
                </c:pt>
                <c:pt idx="374">
                  <c:v>44936</c:v>
                </c:pt>
                <c:pt idx="375">
                  <c:v>44937</c:v>
                </c:pt>
                <c:pt idx="376">
                  <c:v>44938</c:v>
                </c:pt>
                <c:pt idx="377">
                  <c:v>44939</c:v>
                </c:pt>
                <c:pt idx="378">
                  <c:v>44940</c:v>
                </c:pt>
                <c:pt idx="379">
                  <c:v>44941</c:v>
                </c:pt>
                <c:pt idx="380">
                  <c:v>44942</c:v>
                </c:pt>
                <c:pt idx="381">
                  <c:v>44943</c:v>
                </c:pt>
                <c:pt idx="382">
                  <c:v>44944</c:v>
                </c:pt>
                <c:pt idx="383">
                  <c:v>44945</c:v>
                </c:pt>
                <c:pt idx="384">
                  <c:v>44946</c:v>
                </c:pt>
                <c:pt idx="385">
                  <c:v>44947</c:v>
                </c:pt>
                <c:pt idx="386">
                  <c:v>44948</c:v>
                </c:pt>
                <c:pt idx="387">
                  <c:v>44949</c:v>
                </c:pt>
                <c:pt idx="388">
                  <c:v>44950</c:v>
                </c:pt>
                <c:pt idx="389">
                  <c:v>44951</c:v>
                </c:pt>
                <c:pt idx="390">
                  <c:v>44952</c:v>
                </c:pt>
                <c:pt idx="391">
                  <c:v>44953</c:v>
                </c:pt>
                <c:pt idx="392">
                  <c:v>44954</c:v>
                </c:pt>
                <c:pt idx="393">
                  <c:v>44955</c:v>
                </c:pt>
                <c:pt idx="394">
                  <c:v>44956</c:v>
                </c:pt>
                <c:pt idx="395">
                  <c:v>44957</c:v>
                </c:pt>
                <c:pt idx="396">
                  <c:v>44958</c:v>
                </c:pt>
                <c:pt idx="397">
                  <c:v>44959</c:v>
                </c:pt>
                <c:pt idx="398">
                  <c:v>44960</c:v>
                </c:pt>
                <c:pt idx="399">
                  <c:v>44961</c:v>
                </c:pt>
                <c:pt idx="400">
                  <c:v>44962</c:v>
                </c:pt>
                <c:pt idx="401">
                  <c:v>44963</c:v>
                </c:pt>
                <c:pt idx="402">
                  <c:v>44964</c:v>
                </c:pt>
                <c:pt idx="403">
                  <c:v>44965</c:v>
                </c:pt>
                <c:pt idx="404">
                  <c:v>44966</c:v>
                </c:pt>
                <c:pt idx="405">
                  <c:v>44967</c:v>
                </c:pt>
                <c:pt idx="406">
                  <c:v>44968</c:v>
                </c:pt>
                <c:pt idx="407">
                  <c:v>44969</c:v>
                </c:pt>
                <c:pt idx="408">
                  <c:v>44970</c:v>
                </c:pt>
                <c:pt idx="409">
                  <c:v>44971</c:v>
                </c:pt>
                <c:pt idx="410">
                  <c:v>44972</c:v>
                </c:pt>
                <c:pt idx="411">
                  <c:v>44973</c:v>
                </c:pt>
                <c:pt idx="412">
                  <c:v>44974</c:v>
                </c:pt>
                <c:pt idx="413">
                  <c:v>44975</c:v>
                </c:pt>
                <c:pt idx="414">
                  <c:v>44976</c:v>
                </c:pt>
                <c:pt idx="415">
                  <c:v>44977</c:v>
                </c:pt>
                <c:pt idx="416">
                  <c:v>44978</c:v>
                </c:pt>
                <c:pt idx="417">
                  <c:v>44979</c:v>
                </c:pt>
                <c:pt idx="418">
                  <c:v>44980</c:v>
                </c:pt>
                <c:pt idx="419">
                  <c:v>44981</c:v>
                </c:pt>
                <c:pt idx="420">
                  <c:v>44982</c:v>
                </c:pt>
                <c:pt idx="421">
                  <c:v>44983</c:v>
                </c:pt>
                <c:pt idx="422">
                  <c:v>44984</c:v>
                </c:pt>
                <c:pt idx="423">
                  <c:v>44985</c:v>
                </c:pt>
                <c:pt idx="424">
                  <c:v>44986</c:v>
                </c:pt>
                <c:pt idx="425">
                  <c:v>44987</c:v>
                </c:pt>
                <c:pt idx="426">
                  <c:v>44988</c:v>
                </c:pt>
                <c:pt idx="427">
                  <c:v>44989</c:v>
                </c:pt>
                <c:pt idx="428">
                  <c:v>44990</c:v>
                </c:pt>
                <c:pt idx="429">
                  <c:v>44991</c:v>
                </c:pt>
                <c:pt idx="430">
                  <c:v>44992</c:v>
                </c:pt>
                <c:pt idx="431">
                  <c:v>44993</c:v>
                </c:pt>
                <c:pt idx="432">
                  <c:v>44994</c:v>
                </c:pt>
                <c:pt idx="433">
                  <c:v>44995</c:v>
                </c:pt>
                <c:pt idx="434">
                  <c:v>44996</c:v>
                </c:pt>
                <c:pt idx="435">
                  <c:v>44997</c:v>
                </c:pt>
                <c:pt idx="436">
                  <c:v>44998</c:v>
                </c:pt>
                <c:pt idx="437">
                  <c:v>44999</c:v>
                </c:pt>
                <c:pt idx="438">
                  <c:v>45000</c:v>
                </c:pt>
                <c:pt idx="439">
                  <c:v>45001</c:v>
                </c:pt>
                <c:pt idx="440">
                  <c:v>45002</c:v>
                </c:pt>
                <c:pt idx="441">
                  <c:v>45003</c:v>
                </c:pt>
                <c:pt idx="442">
                  <c:v>45004</c:v>
                </c:pt>
                <c:pt idx="443">
                  <c:v>45005</c:v>
                </c:pt>
                <c:pt idx="444">
                  <c:v>45006</c:v>
                </c:pt>
                <c:pt idx="445">
                  <c:v>45007</c:v>
                </c:pt>
                <c:pt idx="446">
                  <c:v>45008</c:v>
                </c:pt>
                <c:pt idx="447">
                  <c:v>45009</c:v>
                </c:pt>
                <c:pt idx="448">
                  <c:v>45010</c:v>
                </c:pt>
                <c:pt idx="449">
                  <c:v>45011</c:v>
                </c:pt>
                <c:pt idx="450">
                  <c:v>45012</c:v>
                </c:pt>
                <c:pt idx="451">
                  <c:v>45013</c:v>
                </c:pt>
                <c:pt idx="452">
                  <c:v>45014</c:v>
                </c:pt>
                <c:pt idx="453">
                  <c:v>45015</c:v>
                </c:pt>
                <c:pt idx="454">
                  <c:v>45016</c:v>
                </c:pt>
                <c:pt idx="455">
                  <c:v>45017</c:v>
                </c:pt>
                <c:pt idx="456">
                  <c:v>45018</c:v>
                </c:pt>
                <c:pt idx="457">
                  <c:v>45019</c:v>
                </c:pt>
                <c:pt idx="458">
                  <c:v>45020</c:v>
                </c:pt>
                <c:pt idx="459">
                  <c:v>45021</c:v>
                </c:pt>
                <c:pt idx="460">
                  <c:v>45022</c:v>
                </c:pt>
                <c:pt idx="461">
                  <c:v>45023</c:v>
                </c:pt>
                <c:pt idx="462">
                  <c:v>45024</c:v>
                </c:pt>
                <c:pt idx="463">
                  <c:v>45025</c:v>
                </c:pt>
                <c:pt idx="464">
                  <c:v>45026</c:v>
                </c:pt>
                <c:pt idx="465">
                  <c:v>45027</c:v>
                </c:pt>
                <c:pt idx="466">
                  <c:v>45028</c:v>
                </c:pt>
                <c:pt idx="467">
                  <c:v>45029</c:v>
                </c:pt>
                <c:pt idx="468">
                  <c:v>45030</c:v>
                </c:pt>
                <c:pt idx="469">
                  <c:v>45031</c:v>
                </c:pt>
                <c:pt idx="470">
                  <c:v>45032</c:v>
                </c:pt>
                <c:pt idx="471">
                  <c:v>45033</c:v>
                </c:pt>
                <c:pt idx="472">
                  <c:v>45034</c:v>
                </c:pt>
                <c:pt idx="473">
                  <c:v>45035</c:v>
                </c:pt>
                <c:pt idx="474">
                  <c:v>45036</c:v>
                </c:pt>
                <c:pt idx="475">
                  <c:v>45037</c:v>
                </c:pt>
                <c:pt idx="476">
                  <c:v>45038</c:v>
                </c:pt>
                <c:pt idx="477">
                  <c:v>45039</c:v>
                </c:pt>
                <c:pt idx="478">
                  <c:v>45040</c:v>
                </c:pt>
                <c:pt idx="479">
                  <c:v>45041</c:v>
                </c:pt>
                <c:pt idx="480">
                  <c:v>45042</c:v>
                </c:pt>
                <c:pt idx="481">
                  <c:v>45043</c:v>
                </c:pt>
                <c:pt idx="482">
                  <c:v>45044</c:v>
                </c:pt>
                <c:pt idx="483">
                  <c:v>45045</c:v>
                </c:pt>
                <c:pt idx="484">
                  <c:v>45046</c:v>
                </c:pt>
                <c:pt idx="485">
                  <c:v>45047</c:v>
                </c:pt>
                <c:pt idx="486">
                  <c:v>45048</c:v>
                </c:pt>
                <c:pt idx="487">
                  <c:v>45049</c:v>
                </c:pt>
                <c:pt idx="488">
                  <c:v>45050</c:v>
                </c:pt>
                <c:pt idx="489">
                  <c:v>45051</c:v>
                </c:pt>
                <c:pt idx="490">
                  <c:v>45052</c:v>
                </c:pt>
                <c:pt idx="491">
                  <c:v>45053</c:v>
                </c:pt>
                <c:pt idx="492">
                  <c:v>45054</c:v>
                </c:pt>
                <c:pt idx="493">
                  <c:v>45055</c:v>
                </c:pt>
                <c:pt idx="494">
                  <c:v>45056</c:v>
                </c:pt>
                <c:pt idx="495">
                  <c:v>45057</c:v>
                </c:pt>
                <c:pt idx="496">
                  <c:v>45058</c:v>
                </c:pt>
                <c:pt idx="497">
                  <c:v>45059</c:v>
                </c:pt>
                <c:pt idx="498">
                  <c:v>45060</c:v>
                </c:pt>
                <c:pt idx="499">
                  <c:v>45061</c:v>
                </c:pt>
                <c:pt idx="500">
                  <c:v>45062</c:v>
                </c:pt>
                <c:pt idx="501">
                  <c:v>45063</c:v>
                </c:pt>
                <c:pt idx="502">
                  <c:v>45064</c:v>
                </c:pt>
                <c:pt idx="503">
                  <c:v>45065</c:v>
                </c:pt>
                <c:pt idx="504">
                  <c:v>45066</c:v>
                </c:pt>
                <c:pt idx="505">
                  <c:v>45067</c:v>
                </c:pt>
                <c:pt idx="506">
                  <c:v>45068</c:v>
                </c:pt>
                <c:pt idx="507">
                  <c:v>45069</c:v>
                </c:pt>
                <c:pt idx="508">
                  <c:v>45070</c:v>
                </c:pt>
                <c:pt idx="509">
                  <c:v>45071</c:v>
                </c:pt>
                <c:pt idx="510">
                  <c:v>45072</c:v>
                </c:pt>
                <c:pt idx="511">
                  <c:v>45073</c:v>
                </c:pt>
                <c:pt idx="512">
                  <c:v>45074</c:v>
                </c:pt>
                <c:pt idx="513">
                  <c:v>45075</c:v>
                </c:pt>
                <c:pt idx="514">
                  <c:v>45076</c:v>
                </c:pt>
                <c:pt idx="515">
                  <c:v>45077</c:v>
                </c:pt>
                <c:pt idx="516">
                  <c:v>45078</c:v>
                </c:pt>
                <c:pt idx="517">
                  <c:v>45079</c:v>
                </c:pt>
                <c:pt idx="518">
                  <c:v>45080</c:v>
                </c:pt>
                <c:pt idx="519">
                  <c:v>45081</c:v>
                </c:pt>
                <c:pt idx="520">
                  <c:v>45082</c:v>
                </c:pt>
                <c:pt idx="521">
                  <c:v>45083</c:v>
                </c:pt>
                <c:pt idx="522">
                  <c:v>45084</c:v>
                </c:pt>
                <c:pt idx="523">
                  <c:v>45085</c:v>
                </c:pt>
                <c:pt idx="524">
                  <c:v>45086</c:v>
                </c:pt>
                <c:pt idx="525">
                  <c:v>45087</c:v>
                </c:pt>
                <c:pt idx="526">
                  <c:v>45088</c:v>
                </c:pt>
                <c:pt idx="527">
                  <c:v>45089</c:v>
                </c:pt>
                <c:pt idx="528">
                  <c:v>45090</c:v>
                </c:pt>
                <c:pt idx="529">
                  <c:v>45091</c:v>
                </c:pt>
                <c:pt idx="530">
                  <c:v>45092</c:v>
                </c:pt>
                <c:pt idx="531">
                  <c:v>45093</c:v>
                </c:pt>
                <c:pt idx="532">
                  <c:v>45094</c:v>
                </c:pt>
                <c:pt idx="533">
                  <c:v>45095</c:v>
                </c:pt>
                <c:pt idx="534">
                  <c:v>45096</c:v>
                </c:pt>
                <c:pt idx="535">
                  <c:v>45097</c:v>
                </c:pt>
                <c:pt idx="536">
                  <c:v>45098</c:v>
                </c:pt>
                <c:pt idx="537">
                  <c:v>45099</c:v>
                </c:pt>
                <c:pt idx="538">
                  <c:v>45100</c:v>
                </c:pt>
                <c:pt idx="539">
                  <c:v>45101</c:v>
                </c:pt>
                <c:pt idx="540">
                  <c:v>45102</c:v>
                </c:pt>
                <c:pt idx="541">
                  <c:v>45103</c:v>
                </c:pt>
                <c:pt idx="542">
                  <c:v>45104</c:v>
                </c:pt>
                <c:pt idx="543">
                  <c:v>45105</c:v>
                </c:pt>
                <c:pt idx="544">
                  <c:v>45106</c:v>
                </c:pt>
                <c:pt idx="545">
                  <c:v>45107</c:v>
                </c:pt>
                <c:pt idx="546">
                  <c:v>45108</c:v>
                </c:pt>
                <c:pt idx="547">
                  <c:v>45109</c:v>
                </c:pt>
                <c:pt idx="548">
                  <c:v>45110</c:v>
                </c:pt>
                <c:pt idx="549">
                  <c:v>45111</c:v>
                </c:pt>
                <c:pt idx="550">
                  <c:v>45112</c:v>
                </c:pt>
                <c:pt idx="551">
                  <c:v>45113</c:v>
                </c:pt>
                <c:pt idx="552">
                  <c:v>45114</c:v>
                </c:pt>
                <c:pt idx="553">
                  <c:v>45115</c:v>
                </c:pt>
                <c:pt idx="554">
                  <c:v>45116</c:v>
                </c:pt>
                <c:pt idx="555">
                  <c:v>45117</c:v>
                </c:pt>
                <c:pt idx="556">
                  <c:v>45118</c:v>
                </c:pt>
                <c:pt idx="557">
                  <c:v>45119</c:v>
                </c:pt>
                <c:pt idx="558">
                  <c:v>45120</c:v>
                </c:pt>
                <c:pt idx="559">
                  <c:v>45121</c:v>
                </c:pt>
                <c:pt idx="560">
                  <c:v>45122</c:v>
                </c:pt>
                <c:pt idx="561">
                  <c:v>45123</c:v>
                </c:pt>
                <c:pt idx="562">
                  <c:v>45124</c:v>
                </c:pt>
                <c:pt idx="563">
                  <c:v>45125</c:v>
                </c:pt>
                <c:pt idx="564">
                  <c:v>45126</c:v>
                </c:pt>
                <c:pt idx="565">
                  <c:v>45127</c:v>
                </c:pt>
                <c:pt idx="566">
                  <c:v>45128</c:v>
                </c:pt>
                <c:pt idx="567">
                  <c:v>45129</c:v>
                </c:pt>
                <c:pt idx="568">
                  <c:v>45130</c:v>
                </c:pt>
                <c:pt idx="569">
                  <c:v>45131</c:v>
                </c:pt>
                <c:pt idx="570">
                  <c:v>45132</c:v>
                </c:pt>
                <c:pt idx="571">
                  <c:v>45133</c:v>
                </c:pt>
                <c:pt idx="572">
                  <c:v>45134</c:v>
                </c:pt>
                <c:pt idx="573">
                  <c:v>45135</c:v>
                </c:pt>
                <c:pt idx="574">
                  <c:v>45136</c:v>
                </c:pt>
                <c:pt idx="575">
                  <c:v>45137</c:v>
                </c:pt>
                <c:pt idx="576">
                  <c:v>45138</c:v>
                </c:pt>
                <c:pt idx="577">
                  <c:v>45139</c:v>
                </c:pt>
                <c:pt idx="578">
                  <c:v>45140</c:v>
                </c:pt>
                <c:pt idx="579">
                  <c:v>45141</c:v>
                </c:pt>
                <c:pt idx="580">
                  <c:v>45142</c:v>
                </c:pt>
                <c:pt idx="581">
                  <c:v>45143</c:v>
                </c:pt>
                <c:pt idx="582">
                  <c:v>45144</c:v>
                </c:pt>
                <c:pt idx="583">
                  <c:v>45145</c:v>
                </c:pt>
                <c:pt idx="584">
                  <c:v>45146</c:v>
                </c:pt>
                <c:pt idx="585">
                  <c:v>45147</c:v>
                </c:pt>
                <c:pt idx="586">
                  <c:v>45148</c:v>
                </c:pt>
                <c:pt idx="587">
                  <c:v>45149</c:v>
                </c:pt>
                <c:pt idx="588">
                  <c:v>45150</c:v>
                </c:pt>
                <c:pt idx="589">
                  <c:v>45151</c:v>
                </c:pt>
                <c:pt idx="590">
                  <c:v>45152</c:v>
                </c:pt>
                <c:pt idx="591">
                  <c:v>45153</c:v>
                </c:pt>
                <c:pt idx="592">
                  <c:v>45154</c:v>
                </c:pt>
                <c:pt idx="593">
                  <c:v>45155</c:v>
                </c:pt>
                <c:pt idx="594">
                  <c:v>45156</c:v>
                </c:pt>
                <c:pt idx="595">
                  <c:v>45157</c:v>
                </c:pt>
                <c:pt idx="596">
                  <c:v>45158</c:v>
                </c:pt>
                <c:pt idx="597">
                  <c:v>45159</c:v>
                </c:pt>
                <c:pt idx="598">
                  <c:v>45160</c:v>
                </c:pt>
                <c:pt idx="599">
                  <c:v>45161</c:v>
                </c:pt>
                <c:pt idx="600">
                  <c:v>45162</c:v>
                </c:pt>
                <c:pt idx="601">
                  <c:v>45163</c:v>
                </c:pt>
                <c:pt idx="602">
                  <c:v>45164</c:v>
                </c:pt>
                <c:pt idx="603">
                  <c:v>45165</c:v>
                </c:pt>
                <c:pt idx="604">
                  <c:v>45166</c:v>
                </c:pt>
                <c:pt idx="605">
                  <c:v>45167</c:v>
                </c:pt>
                <c:pt idx="606">
                  <c:v>45168</c:v>
                </c:pt>
                <c:pt idx="607">
                  <c:v>45169</c:v>
                </c:pt>
                <c:pt idx="608">
                  <c:v>45170</c:v>
                </c:pt>
                <c:pt idx="609">
                  <c:v>45171</c:v>
                </c:pt>
                <c:pt idx="610">
                  <c:v>45172</c:v>
                </c:pt>
                <c:pt idx="611">
                  <c:v>45173</c:v>
                </c:pt>
                <c:pt idx="612">
                  <c:v>45174</c:v>
                </c:pt>
                <c:pt idx="613">
                  <c:v>45175</c:v>
                </c:pt>
                <c:pt idx="614">
                  <c:v>45176</c:v>
                </c:pt>
                <c:pt idx="615">
                  <c:v>45177</c:v>
                </c:pt>
                <c:pt idx="616">
                  <c:v>45178</c:v>
                </c:pt>
                <c:pt idx="617">
                  <c:v>45179</c:v>
                </c:pt>
                <c:pt idx="618">
                  <c:v>45180</c:v>
                </c:pt>
                <c:pt idx="619">
                  <c:v>45181</c:v>
                </c:pt>
                <c:pt idx="620">
                  <c:v>45182</c:v>
                </c:pt>
                <c:pt idx="621">
                  <c:v>45183</c:v>
                </c:pt>
                <c:pt idx="622">
                  <c:v>45184</c:v>
                </c:pt>
                <c:pt idx="623">
                  <c:v>45185</c:v>
                </c:pt>
                <c:pt idx="624">
                  <c:v>45186</c:v>
                </c:pt>
                <c:pt idx="625">
                  <c:v>45187</c:v>
                </c:pt>
                <c:pt idx="626">
                  <c:v>45188</c:v>
                </c:pt>
                <c:pt idx="627">
                  <c:v>45189</c:v>
                </c:pt>
                <c:pt idx="628">
                  <c:v>45190</c:v>
                </c:pt>
                <c:pt idx="629">
                  <c:v>45191</c:v>
                </c:pt>
                <c:pt idx="630">
                  <c:v>45192</c:v>
                </c:pt>
                <c:pt idx="631">
                  <c:v>45193</c:v>
                </c:pt>
                <c:pt idx="632">
                  <c:v>45194</c:v>
                </c:pt>
                <c:pt idx="633">
                  <c:v>45195</c:v>
                </c:pt>
                <c:pt idx="634">
                  <c:v>45196</c:v>
                </c:pt>
                <c:pt idx="635">
                  <c:v>45197</c:v>
                </c:pt>
                <c:pt idx="636">
                  <c:v>45198</c:v>
                </c:pt>
                <c:pt idx="637">
                  <c:v>45199</c:v>
                </c:pt>
                <c:pt idx="638">
                  <c:v>45200</c:v>
                </c:pt>
                <c:pt idx="639">
                  <c:v>45201</c:v>
                </c:pt>
                <c:pt idx="640">
                  <c:v>45202</c:v>
                </c:pt>
                <c:pt idx="641">
                  <c:v>45203</c:v>
                </c:pt>
                <c:pt idx="642">
                  <c:v>45204</c:v>
                </c:pt>
                <c:pt idx="643">
                  <c:v>45205</c:v>
                </c:pt>
                <c:pt idx="644">
                  <c:v>45206</c:v>
                </c:pt>
                <c:pt idx="645">
                  <c:v>45207</c:v>
                </c:pt>
                <c:pt idx="646">
                  <c:v>45208</c:v>
                </c:pt>
                <c:pt idx="647">
                  <c:v>45209</c:v>
                </c:pt>
                <c:pt idx="648">
                  <c:v>45210</c:v>
                </c:pt>
                <c:pt idx="649">
                  <c:v>45211</c:v>
                </c:pt>
                <c:pt idx="650">
                  <c:v>45212</c:v>
                </c:pt>
                <c:pt idx="651">
                  <c:v>45213</c:v>
                </c:pt>
                <c:pt idx="652">
                  <c:v>45214</c:v>
                </c:pt>
                <c:pt idx="653">
                  <c:v>45215</c:v>
                </c:pt>
                <c:pt idx="654">
                  <c:v>45216</c:v>
                </c:pt>
                <c:pt idx="655">
                  <c:v>45217</c:v>
                </c:pt>
                <c:pt idx="656">
                  <c:v>45218</c:v>
                </c:pt>
                <c:pt idx="657">
                  <c:v>45219</c:v>
                </c:pt>
                <c:pt idx="658">
                  <c:v>45220</c:v>
                </c:pt>
                <c:pt idx="659">
                  <c:v>45221</c:v>
                </c:pt>
                <c:pt idx="660">
                  <c:v>45222</c:v>
                </c:pt>
                <c:pt idx="661">
                  <c:v>45223</c:v>
                </c:pt>
                <c:pt idx="662">
                  <c:v>45224</c:v>
                </c:pt>
                <c:pt idx="663">
                  <c:v>45225</c:v>
                </c:pt>
                <c:pt idx="664">
                  <c:v>45226</c:v>
                </c:pt>
                <c:pt idx="665">
                  <c:v>45227</c:v>
                </c:pt>
                <c:pt idx="666">
                  <c:v>45228</c:v>
                </c:pt>
                <c:pt idx="667">
                  <c:v>45229</c:v>
                </c:pt>
                <c:pt idx="668">
                  <c:v>45230</c:v>
                </c:pt>
                <c:pt idx="669">
                  <c:v>45231</c:v>
                </c:pt>
                <c:pt idx="670">
                  <c:v>45232</c:v>
                </c:pt>
                <c:pt idx="671">
                  <c:v>45233</c:v>
                </c:pt>
                <c:pt idx="672">
                  <c:v>45234</c:v>
                </c:pt>
                <c:pt idx="673">
                  <c:v>45235</c:v>
                </c:pt>
                <c:pt idx="674">
                  <c:v>45236</c:v>
                </c:pt>
                <c:pt idx="675">
                  <c:v>45237</c:v>
                </c:pt>
                <c:pt idx="676">
                  <c:v>45238</c:v>
                </c:pt>
                <c:pt idx="677">
                  <c:v>45239</c:v>
                </c:pt>
                <c:pt idx="678">
                  <c:v>45240</c:v>
                </c:pt>
                <c:pt idx="679">
                  <c:v>45241</c:v>
                </c:pt>
                <c:pt idx="680">
                  <c:v>45242</c:v>
                </c:pt>
                <c:pt idx="681">
                  <c:v>45243</c:v>
                </c:pt>
                <c:pt idx="682">
                  <c:v>45244</c:v>
                </c:pt>
                <c:pt idx="683">
                  <c:v>45245</c:v>
                </c:pt>
                <c:pt idx="684">
                  <c:v>45246</c:v>
                </c:pt>
                <c:pt idx="685">
                  <c:v>45247</c:v>
                </c:pt>
                <c:pt idx="686">
                  <c:v>45248</c:v>
                </c:pt>
                <c:pt idx="687">
                  <c:v>45249</c:v>
                </c:pt>
                <c:pt idx="688">
                  <c:v>45250</c:v>
                </c:pt>
                <c:pt idx="689">
                  <c:v>45251</c:v>
                </c:pt>
                <c:pt idx="690">
                  <c:v>45252</c:v>
                </c:pt>
                <c:pt idx="691">
                  <c:v>45253</c:v>
                </c:pt>
                <c:pt idx="692">
                  <c:v>45254</c:v>
                </c:pt>
                <c:pt idx="693">
                  <c:v>45255</c:v>
                </c:pt>
                <c:pt idx="694">
                  <c:v>45256</c:v>
                </c:pt>
                <c:pt idx="695">
                  <c:v>45257</c:v>
                </c:pt>
                <c:pt idx="696">
                  <c:v>45258</c:v>
                </c:pt>
                <c:pt idx="697">
                  <c:v>45259</c:v>
                </c:pt>
                <c:pt idx="698">
                  <c:v>45260</c:v>
                </c:pt>
                <c:pt idx="699">
                  <c:v>45261</c:v>
                </c:pt>
                <c:pt idx="700">
                  <c:v>45262</c:v>
                </c:pt>
                <c:pt idx="701">
                  <c:v>45263</c:v>
                </c:pt>
                <c:pt idx="702">
                  <c:v>45264</c:v>
                </c:pt>
                <c:pt idx="703">
                  <c:v>45265</c:v>
                </c:pt>
                <c:pt idx="704">
                  <c:v>45266</c:v>
                </c:pt>
                <c:pt idx="705">
                  <c:v>45267</c:v>
                </c:pt>
                <c:pt idx="706">
                  <c:v>45268</c:v>
                </c:pt>
                <c:pt idx="707">
                  <c:v>45269</c:v>
                </c:pt>
                <c:pt idx="708">
                  <c:v>45270</c:v>
                </c:pt>
                <c:pt idx="709">
                  <c:v>45271</c:v>
                </c:pt>
                <c:pt idx="710">
                  <c:v>45272</c:v>
                </c:pt>
                <c:pt idx="711">
                  <c:v>45273</c:v>
                </c:pt>
                <c:pt idx="712">
                  <c:v>45274</c:v>
                </c:pt>
                <c:pt idx="713">
                  <c:v>45275</c:v>
                </c:pt>
                <c:pt idx="714">
                  <c:v>45276</c:v>
                </c:pt>
                <c:pt idx="715">
                  <c:v>45277</c:v>
                </c:pt>
                <c:pt idx="716">
                  <c:v>45278</c:v>
                </c:pt>
                <c:pt idx="717">
                  <c:v>45279</c:v>
                </c:pt>
                <c:pt idx="718">
                  <c:v>45280</c:v>
                </c:pt>
                <c:pt idx="719">
                  <c:v>45281</c:v>
                </c:pt>
                <c:pt idx="720">
                  <c:v>45282</c:v>
                </c:pt>
                <c:pt idx="721">
                  <c:v>45283</c:v>
                </c:pt>
                <c:pt idx="722">
                  <c:v>45284</c:v>
                </c:pt>
                <c:pt idx="723">
                  <c:v>45285</c:v>
                </c:pt>
                <c:pt idx="724">
                  <c:v>45286</c:v>
                </c:pt>
                <c:pt idx="725">
                  <c:v>45287</c:v>
                </c:pt>
                <c:pt idx="726">
                  <c:v>45288</c:v>
                </c:pt>
                <c:pt idx="727">
                  <c:v>45289</c:v>
                </c:pt>
                <c:pt idx="728">
                  <c:v>45290</c:v>
                </c:pt>
                <c:pt idx="729">
                  <c:v>45291</c:v>
                </c:pt>
                <c:pt idx="730">
                  <c:v>45292</c:v>
                </c:pt>
                <c:pt idx="731">
                  <c:v>45293</c:v>
                </c:pt>
                <c:pt idx="732">
                  <c:v>45294</c:v>
                </c:pt>
                <c:pt idx="733">
                  <c:v>45295</c:v>
                </c:pt>
                <c:pt idx="734">
                  <c:v>45296</c:v>
                </c:pt>
                <c:pt idx="735">
                  <c:v>45297</c:v>
                </c:pt>
                <c:pt idx="736">
                  <c:v>45298</c:v>
                </c:pt>
                <c:pt idx="737">
                  <c:v>45299</c:v>
                </c:pt>
                <c:pt idx="738">
                  <c:v>45300</c:v>
                </c:pt>
                <c:pt idx="739">
                  <c:v>45301</c:v>
                </c:pt>
                <c:pt idx="740">
                  <c:v>45302</c:v>
                </c:pt>
                <c:pt idx="741">
                  <c:v>45303</c:v>
                </c:pt>
                <c:pt idx="742">
                  <c:v>45304</c:v>
                </c:pt>
                <c:pt idx="743">
                  <c:v>45305</c:v>
                </c:pt>
                <c:pt idx="744">
                  <c:v>45306</c:v>
                </c:pt>
                <c:pt idx="745">
                  <c:v>45307</c:v>
                </c:pt>
                <c:pt idx="746">
                  <c:v>45308</c:v>
                </c:pt>
                <c:pt idx="747">
                  <c:v>45309</c:v>
                </c:pt>
                <c:pt idx="748">
                  <c:v>45310</c:v>
                </c:pt>
                <c:pt idx="749">
                  <c:v>45311</c:v>
                </c:pt>
                <c:pt idx="750">
                  <c:v>45312</c:v>
                </c:pt>
                <c:pt idx="751">
                  <c:v>45313</c:v>
                </c:pt>
                <c:pt idx="752">
                  <c:v>45314</c:v>
                </c:pt>
                <c:pt idx="753">
                  <c:v>45315</c:v>
                </c:pt>
                <c:pt idx="754">
                  <c:v>45316</c:v>
                </c:pt>
                <c:pt idx="755">
                  <c:v>45317</c:v>
                </c:pt>
                <c:pt idx="756">
                  <c:v>45318</c:v>
                </c:pt>
                <c:pt idx="757">
                  <c:v>45319</c:v>
                </c:pt>
                <c:pt idx="758">
                  <c:v>45320</c:v>
                </c:pt>
                <c:pt idx="759">
                  <c:v>45321</c:v>
                </c:pt>
                <c:pt idx="760">
                  <c:v>45322</c:v>
                </c:pt>
                <c:pt idx="761">
                  <c:v>45323</c:v>
                </c:pt>
                <c:pt idx="762">
                  <c:v>45324</c:v>
                </c:pt>
                <c:pt idx="763">
                  <c:v>45325</c:v>
                </c:pt>
                <c:pt idx="764">
                  <c:v>45326</c:v>
                </c:pt>
                <c:pt idx="765">
                  <c:v>45327</c:v>
                </c:pt>
                <c:pt idx="766">
                  <c:v>45328</c:v>
                </c:pt>
                <c:pt idx="767">
                  <c:v>45329</c:v>
                </c:pt>
                <c:pt idx="768">
                  <c:v>45330</c:v>
                </c:pt>
                <c:pt idx="769">
                  <c:v>45331</c:v>
                </c:pt>
                <c:pt idx="770">
                  <c:v>45332</c:v>
                </c:pt>
                <c:pt idx="771">
                  <c:v>45333</c:v>
                </c:pt>
                <c:pt idx="772">
                  <c:v>45334</c:v>
                </c:pt>
                <c:pt idx="773">
                  <c:v>45335</c:v>
                </c:pt>
                <c:pt idx="774">
                  <c:v>45336</c:v>
                </c:pt>
                <c:pt idx="775">
                  <c:v>45337</c:v>
                </c:pt>
                <c:pt idx="776">
                  <c:v>45338</c:v>
                </c:pt>
                <c:pt idx="777">
                  <c:v>45339</c:v>
                </c:pt>
                <c:pt idx="778">
                  <c:v>45340</c:v>
                </c:pt>
                <c:pt idx="779">
                  <c:v>45341</c:v>
                </c:pt>
                <c:pt idx="780">
                  <c:v>45342</c:v>
                </c:pt>
                <c:pt idx="781">
                  <c:v>45343</c:v>
                </c:pt>
                <c:pt idx="782">
                  <c:v>45344</c:v>
                </c:pt>
                <c:pt idx="783">
                  <c:v>45345</c:v>
                </c:pt>
                <c:pt idx="784">
                  <c:v>45346</c:v>
                </c:pt>
                <c:pt idx="785">
                  <c:v>45347</c:v>
                </c:pt>
                <c:pt idx="786">
                  <c:v>45348</c:v>
                </c:pt>
                <c:pt idx="787">
                  <c:v>45349</c:v>
                </c:pt>
                <c:pt idx="788">
                  <c:v>45350</c:v>
                </c:pt>
                <c:pt idx="789">
                  <c:v>45351</c:v>
                </c:pt>
                <c:pt idx="790">
                  <c:v>45352</c:v>
                </c:pt>
                <c:pt idx="791">
                  <c:v>45353</c:v>
                </c:pt>
                <c:pt idx="792">
                  <c:v>45354</c:v>
                </c:pt>
                <c:pt idx="793">
                  <c:v>45355</c:v>
                </c:pt>
                <c:pt idx="794">
                  <c:v>45356</c:v>
                </c:pt>
                <c:pt idx="795">
                  <c:v>45357</c:v>
                </c:pt>
                <c:pt idx="796">
                  <c:v>45358</c:v>
                </c:pt>
                <c:pt idx="797">
                  <c:v>45359</c:v>
                </c:pt>
                <c:pt idx="798">
                  <c:v>45360</c:v>
                </c:pt>
                <c:pt idx="799">
                  <c:v>45361</c:v>
                </c:pt>
                <c:pt idx="800">
                  <c:v>45362</c:v>
                </c:pt>
                <c:pt idx="801">
                  <c:v>45363</c:v>
                </c:pt>
                <c:pt idx="802">
                  <c:v>45364</c:v>
                </c:pt>
                <c:pt idx="803">
                  <c:v>45365</c:v>
                </c:pt>
                <c:pt idx="804">
                  <c:v>45366</c:v>
                </c:pt>
                <c:pt idx="805">
                  <c:v>45367</c:v>
                </c:pt>
                <c:pt idx="806">
                  <c:v>45368</c:v>
                </c:pt>
                <c:pt idx="807">
                  <c:v>45369</c:v>
                </c:pt>
                <c:pt idx="808">
                  <c:v>45370</c:v>
                </c:pt>
                <c:pt idx="809">
                  <c:v>45371</c:v>
                </c:pt>
                <c:pt idx="810">
                  <c:v>45372</c:v>
                </c:pt>
                <c:pt idx="811">
                  <c:v>45373</c:v>
                </c:pt>
                <c:pt idx="812">
                  <c:v>45374</c:v>
                </c:pt>
                <c:pt idx="813">
                  <c:v>45375</c:v>
                </c:pt>
                <c:pt idx="814">
                  <c:v>45376</c:v>
                </c:pt>
                <c:pt idx="815">
                  <c:v>45377</c:v>
                </c:pt>
                <c:pt idx="816">
                  <c:v>45378</c:v>
                </c:pt>
                <c:pt idx="817">
                  <c:v>45379</c:v>
                </c:pt>
                <c:pt idx="818">
                  <c:v>45380</c:v>
                </c:pt>
                <c:pt idx="819">
                  <c:v>45381</c:v>
                </c:pt>
                <c:pt idx="820">
                  <c:v>45382</c:v>
                </c:pt>
                <c:pt idx="821">
                  <c:v>45383</c:v>
                </c:pt>
                <c:pt idx="822">
                  <c:v>45384</c:v>
                </c:pt>
                <c:pt idx="823">
                  <c:v>45385</c:v>
                </c:pt>
                <c:pt idx="824">
                  <c:v>45386</c:v>
                </c:pt>
                <c:pt idx="825">
                  <c:v>45387</c:v>
                </c:pt>
                <c:pt idx="826">
                  <c:v>45388</c:v>
                </c:pt>
                <c:pt idx="827">
                  <c:v>45389</c:v>
                </c:pt>
                <c:pt idx="828">
                  <c:v>45390</c:v>
                </c:pt>
                <c:pt idx="829">
                  <c:v>45391</c:v>
                </c:pt>
                <c:pt idx="830">
                  <c:v>45392</c:v>
                </c:pt>
                <c:pt idx="831">
                  <c:v>45393</c:v>
                </c:pt>
                <c:pt idx="832">
                  <c:v>45394</c:v>
                </c:pt>
                <c:pt idx="833">
                  <c:v>45395</c:v>
                </c:pt>
                <c:pt idx="834">
                  <c:v>45396</c:v>
                </c:pt>
                <c:pt idx="835">
                  <c:v>45397</c:v>
                </c:pt>
                <c:pt idx="836">
                  <c:v>45398</c:v>
                </c:pt>
                <c:pt idx="837">
                  <c:v>45399</c:v>
                </c:pt>
                <c:pt idx="838">
                  <c:v>45400</c:v>
                </c:pt>
                <c:pt idx="839">
                  <c:v>45401</c:v>
                </c:pt>
                <c:pt idx="840">
                  <c:v>45402</c:v>
                </c:pt>
                <c:pt idx="841">
                  <c:v>45403</c:v>
                </c:pt>
                <c:pt idx="842">
                  <c:v>45404</c:v>
                </c:pt>
                <c:pt idx="843">
                  <c:v>45405</c:v>
                </c:pt>
                <c:pt idx="844">
                  <c:v>45406</c:v>
                </c:pt>
                <c:pt idx="845">
                  <c:v>45407</c:v>
                </c:pt>
                <c:pt idx="846">
                  <c:v>45408</c:v>
                </c:pt>
                <c:pt idx="847">
                  <c:v>45409</c:v>
                </c:pt>
                <c:pt idx="848">
                  <c:v>45410</c:v>
                </c:pt>
                <c:pt idx="849">
                  <c:v>45411</c:v>
                </c:pt>
                <c:pt idx="850">
                  <c:v>45412</c:v>
                </c:pt>
                <c:pt idx="851">
                  <c:v>45413</c:v>
                </c:pt>
                <c:pt idx="852">
                  <c:v>45414</c:v>
                </c:pt>
                <c:pt idx="853">
                  <c:v>45415</c:v>
                </c:pt>
                <c:pt idx="854">
                  <c:v>45416</c:v>
                </c:pt>
                <c:pt idx="855">
                  <c:v>45417</c:v>
                </c:pt>
                <c:pt idx="856">
                  <c:v>45418</c:v>
                </c:pt>
                <c:pt idx="857">
                  <c:v>45419</c:v>
                </c:pt>
                <c:pt idx="858">
                  <c:v>45420</c:v>
                </c:pt>
                <c:pt idx="859">
                  <c:v>45421</c:v>
                </c:pt>
                <c:pt idx="860">
                  <c:v>45422</c:v>
                </c:pt>
                <c:pt idx="861">
                  <c:v>45423</c:v>
                </c:pt>
                <c:pt idx="862">
                  <c:v>45424</c:v>
                </c:pt>
                <c:pt idx="863">
                  <c:v>45425</c:v>
                </c:pt>
                <c:pt idx="864">
                  <c:v>45426</c:v>
                </c:pt>
                <c:pt idx="865">
                  <c:v>45427</c:v>
                </c:pt>
                <c:pt idx="866">
                  <c:v>45428</c:v>
                </c:pt>
                <c:pt idx="867">
                  <c:v>45429</c:v>
                </c:pt>
                <c:pt idx="868">
                  <c:v>45430</c:v>
                </c:pt>
                <c:pt idx="869">
                  <c:v>45431</c:v>
                </c:pt>
                <c:pt idx="870">
                  <c:v>45432</c:v>
                </c:pt>
                <c:pt idx="871">
                  <c:v>45433</c:v>
                </c:pt>
                <c:pt idx="872">
                  <c:v>45434</c:v>
                </c:pt>
                <c:pt idx="873">
                  <c:v>45435</c:v>
                </c:pt>
                <c:pt idx="874">
                  <c:v>45436</c:v>
                </c:pt>
                <c:pt idx="875">
                  <c:v>45437</c:v>
                </c:pt>
                <c:pt idx="876">
                  <c:v>45438</c:v>
                </c:pt>
                <c:pt idx="877">
                  <c:v>45439</c:v>
                </c:pt>
                <c:pt idx="878">
                  <c:v>45440</c:v>
                </c:pt>
                <c:pt idx="879">
                  <c:v>45441</c:v>
                </c:pt>
                <c:pt idx="880">
                  <c:v>45442</c:v>
                </c:pt>
                <c:pt idx="881">
                  <c:v>45443</c:v>
                </c:pt>
                <c:pt idx="882">
                  <c:v>45444</c:v>
                </c:pt>
                <c:pt idx="883">
                  <c:v>45445</c:v>
                </c:pt>
                <c:pt idx="884">
                  <c:v>45446</c:v>
                </c:pt>
                <c:pt idx="885">
                  <c:v>45447</c:v>
                </c:pt>
                <c:pt idx="886">
                  <c:v>45448</c:v>
                </c:pt>
                <c:pt idx="887">
                  <c:v>45449</c:v>
                </c:pt>
                <c:pt idx="888">
                  <c:v>45450</c:v>
                </c:pt>
                <c:pt idx="889">
                  <c:v>45451</c:v>
                </c:pt>
                <c:pt idx="890">
                  <c:v>45452</c:v>
                </c:pt>
                <c:pt idx="891">
                  <c:v>45453</c:v>
                </c:pt>
                <c:pt idx="892">
                  <c:v>45454</c:v>
                </c:pt>
                <c:pt idx="893">
                  <c:v>45455</c:v>
                </c:pt>
                <c:pt idx="894">
                  <c:v>45456</c:v>
                </c:pt>
                <c:pt idx="895">
                  <c:v>45457</c:v>
                </c:pt>
                <c:pt idx="896">
                  <c:v>45458</c:v>
                </c:pt>
                <c:pt idx="897">
                  <c:v>45459</c:v>
                </c:pt>
                <c:pt idx="898">
                  <c:v>45460</c:v>
                </c:pt>
                <c:pt idx="899">
                  <c:v>45461</c:v>
                </c:pt>
                <c:pt idx="900">
                  <c:v>45462</c:v>
                </c:pt>
                <c:pt idx="901">
                  <c:v>45463</c:v>
                </c:pt>
                <c:pt idx="902">
                  <c:v>45464</c:v>
                </c:pt>
                <c:pt idx="903">
                  <c:v>45465</c:v>
                </c:pt>
                <c:pt idx="904">
                  <c:v>45466</c:v>
                </c:pt>
                <c:pt idx="905">
                  <c:v>45467</c:v>
                </c:pt>
                <c:pt idx="906">
                  <c:v>45468</c:v>
                </c:pt>
                <c:pt idx="907">
                  <c:v>45469</c:v>
                </c:pt>
                <c:pt idx="908">
                  <c:v>45470</c:v>
                </c:pt>
                <c:pt idx="909">
                  <c:v>45471</c:v>
                </c:pt>
                <c:pt idx="910">
                  <c:v>45472</c:v>
                </c:pt>
                <c:pt idx="911">
                  <c:v>45473</c:v>
                </c:pt>
                <c:pt idx="912">
                  <c:v>45474</c:v>
                </c:pt>
                <c:pt idx="913">
                  <c:v>45475</c:v>
                </c:pt>
                <c:pt idx="914">
                  <c:v>45476</c:v>
                </c:pt>
                <c:pt idx="915">
                  <c:v>45477</c:v>
                </c:pt>
                <c:pt idx="916">
                  <c:v>45478</c:v>
                </c:pt>
                <c:pt idx="917">
                  <c:v>45479</c:v>
                </c:pt>
                <c:pt idx="918">
                  <c:v>45480</c:v>
                </c:pt>
                <c:pt idx="919">
                  <c:v>45481</c:v>
                </c:pt>
                <c:pt idx="920">
                  <c:v>45482</c:v>
                </c:pt>
                <c:pt idx="921">
                  <c:v>45483</c:v>
                </c:pt>
                <c:pt idx="922">
                  <c:v>45484</c:v>
                </c:pt>
                <c:pt idx="923">
                  <c:v>45485</c:v>
                </c:pt>
                <c:pt idx="924">
                  <c:v>45486</c:v>
                </c:pt>
                <c:pt idx="925">
                  <c:v>45487</c:v>
                </c:pt>
                <c:pt idx="926">
                  <c:v>45488</c:v>
                </c:pt>
                <c:pt idx="927">
                  <c:v>45489</c:v>
                </c:pt>
                <c:pt idx="928">
                  <c:v>45490</c:v>
                </c:pt>
                <c:pt idx="929">
                  <c:v>45491</c:v>
                </c:pt>
                <c:pt idx="930">
                  <c:v>45492</c:v>
                </c:pt>
                <c:pt idx="931">
                  <c:v>45493</c:v>
                </c:pt>
                <c:pt idx="932">
                  <c:v>45494</c:v>
                </c:pt>
                <c:pt idx="933">
                  <c:v>45495</c:v>
                </c:pt>
                <c:pt idx="934">
                  <c:v>45496</c:v>
                </c:pt>
                <c:pt idx="935">
                  <c:v>45497</c:v>
                </c:pt>
                <c:pt idx="936">
                  <c:v>45498</c:v>
                </c:pt>
                <c:pt idx="937">
                  <c:v>45499</c:v>
                </c:pt>
                <c:pt idx="938">
                  <c:v>45500</c:v>
                </c:pt>
                <c:pt idx="939">
                  <c:v>45501</c:v>
                </c:pt>
                <c:pt idx="940">
                  <c:v>45502</c:v>
                </c:pt>
                <c:pt idx="941">
                  <c:v>45503</c:v>
                </c:pt>
                <c:pt idx="942">
                  <c:v>45504</c:v>
                </c:pt>
                <c:pt idx="943">
                  <c:v>45505</c:v>
                </c:pt>
                <c:pt idx="944">
                  <c:v>45506</c:v>
                </c:pt>
                <c:pt idx="945">
                  <c:v>45507</c:v>
                </c:pt>
                <c:pt idx="946">
                  <c:v>45508</c:v>
                </c:pt>
                <c:pt idx="947">
                  <c:v>45509</c:v>
                </c:pt>
                <c:pt idx="948">
                  <c:v>45510</c:v>
                </c:pt>
                <c:pt idx="949">
                  <c:v>45511</c:v>
                </c:pt>
                <c:pt idx="950">
                  <c:v>45512</c:v>
                </c:pt>
                <c:pt idx="951">
                  <c:v>45513</c:v>
                </c:pt>
                <c:pt idx="952">
                  <c:v>45514</c:v>
                </c:pt>
                <c:pt idx="953">
                  <c:v>45515</c:v>
                </c:pt>
                <c:pt idx="954">
                  <c:v>45516</c:v>
                </c:pt>
                <c:pt idx="955">
                  <c:v>45517</c:v>
                </c:pt>
                <c:pt idx="956">
                  <c:v>45518</c:v>
                </c:pt>
                <c:pt idx="957">
                  <c:v>45519</c:v>
                </c:pt>
                <c:pt idx="958">
                  <c:v>45520</c:v>
                </c:pt>
                <c:pt idx="959">
                  <c:v>45521</c:v>
                </c:pt>
                <c:pt idx="960">
                  <c:v>45522</c:v>
                </c:pt>
                <c:pt idx="961">
                  <c:v>45523</c:v>
                </c:pt>
                <c:pt idx="962">
                  <c:v>45524</c:v>
                </c:pt>
                <c:pt idx="963">
                  <c:v>45525</c:v>
                </c:pt>
                <c:pt idx="964">
                  <c:v>45526</c:v>
                </c:pt>
                <c:pt idx="965">
                  <c:v>45527</c:v>
                </c:pt>
                <c:pt idx="966">
                  <c:v>45528</c:v>
                </c:pt>
                <c:pt idx="967">
                  <c:v>45529</c:v>
                </c:pt>
                <c:pt idx="968">
                  <c:v>45530</c:v>
                </c:pt>
                <c:pt idx="969">
                  <c:v>45531</c:v>
                </c:pt>
                <c:pt idx="970">
                  <c:v>45532</c:v>
                </c:pt>
                <c:pt idx="971">
                  <c:v>45533</c:v>
                </c:pt>
                <c:pt idx="972">
                  <c:v>45534</c:v>
                </c:pt>
                <c:pt idx="973">
                  <c:v>45535</c:v>
                </c:pt>
                <c:pt idx="974">
                  <c:v>45536</c:v>
                </c:pt>
                <c:pt idx="975">
                  <c:v>45537</c:v>
                </c:pt>
                <c:pt idx="976">
                  <c:v>45538</c:v>
                </c:pt>
                <c:pt idx="977">
                  <c:v>45539</c:v>
                </c:pt>
                <c:pt idx="978">
                  <c:v>45540</c:v>
                </c:pt>
                <c:pt idx="979">
                  <c:v>45541</c:v>
                </c:pt>
                <c:pt idx="980">
                  <c:v>45542</c:v>
                </c:pt>
                <c:pt idx="981">
                  <c:v>45543</c:v>
                </c:pt>
                <c:pt idx="982">
                  <c:v>45544</c:v>
                </c:pt>
                <c:pt idx="983">
                  <c:v>45545</c:v>
                </c:pt>
                <c:pt idx="984">
                  <c:v>45546</c:v>
                </c:pt>
                <c:pt idx="985">
                  <c:v>45547</c:v>
                </c:pt>
                <c:pt idx="986">
                  <c:v>45548</c:v>
                </c:pt>
                <c:pt idx="987">
                  <c:v>45549</c:v>
                </c:pt>
                <c:pt idx="988">
                  <c:v>45550</c:v>
                </c:pt>
                <c:pt idx="989">
                  <c:v>45551</c:v>
                </c:pt>
                <c:pt idx="990">
                  <c:v>45552</c:v>
                </c:pt>
                <c:pt idx="991">
                  <c:v>45553</c:v>
                </c:pt>
                <c:pt idx="992">
                  <c:v>45554</c:v>
                </c:pt>
                <c:pt idx="993">
                  <c:v>45555</c:v>
                </c:pt>
                <c:pt idx="994">
                  <c:v>45556</c:v>
                </c:pt>
                <c:pt idx="995">
                  <c:v>45557</c:v>
                </c:pt>
                <c:pt idx="996">
                  <c:v>45558</c:v>
                </c:pt>
                <c:pt idx="997">
                  <c:v>45559</c:v>
                </c:pt>
                <c:pt idx="998">
                  <c:v>45560</c:v>
                </c:pt>
                <c:pt idx="999">
                  <c:v>45561</c:v>
                </c:pt>
                <c:pt idx="1000">
                  <c:v>45562</c:v>
                </c:pt>
                <c:pt idx="1001">
                  <c:v>45563</c:v>
                </c:pt>
                <c:pt idx="1002">
                  <c:v>45564</c:v>
                </c:pt>
                <c:pt idx="1003">
                  <c:v>45565</c:v>
                </c:pt>
                <c:pt idx="1004">
                  <c:v>45566</c:v>
                </c:pt>
                <c:pt idx="1005">
                  <c:v>45567</c:v>
                </c:pt>
                <c:pt idx="1006">
                  <c:v>45568</c:v>
                </c:pt>
                <c:pt idx="1007">
                  <c:v>45569</c:v>
                </c:pt>
                <c:pt idx="1008">
                  <c:v>45570</c:v>
                </c:pt>
                <c:pt idx="1009">
                  <c:v>45571</c:v>
                </c:pt>
                <c:pt idx="1010">
                  <c:v>45572</c:v>
                </c:pt>
                <c:pt idx="1011">
                  <c:v>45573</c:v>
                </c:pt>
                <c:pt idx="1012">
                  <c:v>45574</c:v>
                </c:pt>
                <c:pt idx="1013">
                  <c:v>45575</c:v>
                </c:pt>
                <c:pt idx="1014">
                  <c:v>45576</c:v>
                </c:pt>
                <c:pt idx="1015">
                  <c:v>45577</c:v>
                </c:pt>
                <c:pt idx="1016">
                  <c:v>45578</c:v>
                </c:pt>
                <c:pt idx="1017">
                  <c:v>45579</c:v>
                </c:pt>
                <c:pt idx="1018">
                  <c:v>45580</c:v>
                </c:pt>
                <c:pt idx="1019">
                  <c:v>45581</c:v>
                </c:pt>
                <c:pt idx="1020">
                  <c:v>45582</c:v>
                </c:pt>
                <c:pt idx="1021">
                  <c:v>45583</c:v>
                </c:pt>
                <c:pt idx="1022">
                  <c:v>45584</c:v>
                </c:pt>
                <c:pt idx="1023">
                  <c:v>45585</c:v>
                </c:pt>
                <c:pt idx="1024">
                  <c:v>45586</c:v>
                </c:pt>
                <c:pt idx="1025">
                  <c:v>45587</c:v>
                </c:pt>
                <c:pt idx="1026">
                  <c:v>45588</c:v>
                </c:pt>
                <c:pt idx="1027">
                  <c:v>45589</c:v>
                </c:pt>
                <c:pt idx="1028">
                  <c:v>45590</c:v>
                </c:pt>
                <c:pt idx="1029">
                  <c:v>45591</c:v>
                </c:pt>
                <c:pt idx="1030">
                  <c:v>45592</c:v>
                </c:pt>
                <c:pt idx="1031">
                  <c:v>45593</c:v>
                </c:pt>
                <c:pt idx="1032">
                  <c:v>45594</c:v>
                </c:pt>
                <c:pt idx="1033">
                  <c:v>45595</c:v>
                </c:pt>
                <c:pt idx="1034">
                  <c:v>45596</c:v>
                </c:pt>
                <c:pt idx="1035">
                  <c:v>45597</c:v>
                </c:pt>
                <c:pt idx="1036">
                  <c:v>45598</c:v>
                </c:pt>
                <c:pt idx="1037">
                  <c:v>45599</c:v>
                </c:pt>
                <c:pt idx="1038">
                  <c:v>45600</c:v>
                </c:pt>
                <c:pt idx="1039">
                  <c:v>45601</c:v>
                </c:pt>
                <c:pt idx="1040">
                  <c:v>45602</c:v>
                </c:pt>
                <c:pt idx="1041">
                  <c:v>45603</c:v>
                </c:pt>
                <c:pt idx="1042">
                  <c:v>45604</c:v>
                </c:pt>
                <c:pt idx="1043">
                  <c:v>45605</c:v>
                </c:pt>
                <c:pt idx="1044">
                  <c:v>45606</c:v>
                </c:pt>
                <c:pt idx="1045">
                  <c:v>45607</c:v>
                </c:pt>
                <c:pt idx="1046">
                  <c:v>45608</c:v>
                </c:pt>
                <c:pt idx="1047">
                  <c:v>45609</c:v>
                </c:pt>
                <c:pt idx="1048">
                  <c:v>45610</c:v>
                </c:pt>
                <c:pt idx="1049">
                  <c:v>45611</c:v>
                </c:pt>
                <c:pt idx="1050">
                  <c:v>45612</c:v>
                </c:pt>
                <c:pt idx="1051">
                  <c:v>45613</c:v>
                </c:pt>
                <c:pt idx="1052">
                  <c:v>45614</c:v>
                </c:pt>
                <c:pt idx="1053">
                  <c:v>45615</c:v>
                </c:pt>
                <c:pt idx="1054">
                  <c:v>45616</c:v>
                </c:pt>
                <c:pt idx="1055">
                  <c:v>45617</c:v>
                </c:pt>
                <c:pt idx="1056">
                  <c:v>45618</c:v>
                </c:pt>
                <c:pt idx="1057">
                  <c:v>45619</c:v>
                </c:pt>
                <c:pt idx="1058">
                  <c:v>45620</c:v>
                </c:pt>
                <c:pt idx="1059">
                  <c:v>45621</c:v>
                </c:pt>
                <c:pt idx="1060">
                  <c:v>45622</c:v>
                </c:pt>
                <c:pt idx="1061">
                  <c:v>45623</c:v>
                </c:pt>
                <c:pt idx="1062">
                  <c:v>45624</c:v>
                </c:pt>
                <c:pt idx="1063">
                  <c:v>45625</c:v>
                </c:pt>
                <c:pt idx="1064">
                  <c:v>45626</c:v>
                </c:pt>
                <c:pt idx="1065">
                  <c:v>45627</c:v>
                </c:pt>
                <c:pt idx="1066">
                  <c:v>45628</c:v>
                </c:pt>
                <c:pt idx="1067">
                  <c:v>45629</c:v>
                </c:pt>
                <c:pt idx="1068">
                  <c:v>45630</c:v>
                </c:pt>
                <c:pt idx="1069">
                  <c:v>45631</c:v>
                </c:pt>
                <c:pt idx="1070">
                  <c:v>45632</c:v>
                </c:pt>
                <c:pt idx="1071">
                  <c:v>45633</c:v>
                </c:pt>
                <c:pt idx="1072">
                  <c:v>45634</c:v>
                </c:pt>
                <c:pt idx="1073">
                  <c:v>45635</c:v>
                </c:pt>
                <c:pt idx="1074">
                  <c:v>45636</c:v>
                </c:pt>
                <c:pt idx="1075">
                  <c:v>45637</c:v>
                </c:pt>
                <c:pt idx="1076">
                  <c:v>45638</c:v>
                </c:pt>
                <c:pt idx="1077">
                  <c:v>45639</c:v>
                </c:pt>
                <c:pt idx="1078">
                  <c:v>45640</c:v>
                </c:pt>
                <c:pt idx="1079">
                  <c:v>45641</c:v>
                </c:pt>
                <c:pt idx="1080">
                  <c:v>45642</c:v>
                </c:pt>
                <c:pt idx="1081">
                  <c:v>45643</c:v>
                </c:pt>
                <c:pt idx="1082">
                  <c:v>45644</c:v>
                </c:pt>
                <c:pt idx="1083">
                  <c:v>45645</c:v>
                </c:pt>
                <c:pt idx="1084">
                  <c:v>45646</c:v>
                </c:pt>
                <c:pt idx="1085">
                  <c:v>45647</c:v>
                </c:pt>
                <c:pt idx="1086">
                  <c:v>45648</c:v>
                </c:pt>
                <c:pt idx="1087">
                  <c:v>45649</c:v>
                </c:pt>
                <c:pt idx="1088">
                  <c:v>45650</c:v>
                </c:pt>
                <c:pt idx="1089">
                  <c:v>45651</c:v>
                </c:pt>
                <c:pt idx="1090">
                  <c:v>45652</c:v>
                </c:pt>
                <c:pt idx="1091">
                  <c:v>45653</c:v>
                </c:pt>
                <c:pt idx="1092">
                  <c:v>45654</c:v>
                </c:pt>
                <c:pt idx="1093">
                  <c:v>45655</c:v>
                </c:pt>
                <c:pt idx="1094">
                  <c:v>45656</c:v>
                </c:pt>
                <c:pt idx="1095">
                  <c:v>45657</c:v>
                </c:pt>
                <c:pt idx="1096">
                  <c:v>45658</c:v>
                </c:pt>
                <c:pt idx="1097">
                  <c:v>45659</c:v>
                </c:pt>
                <c:pt idx="1098">
                  <c:v>45660</c:v>
                </c:pt>
                <c:pt idx="1099">
                  <c:v>45661</c:v>
                </c:pt>
                <c:pt idx="1100">
                  <c:v>45662</c:v>
                </c:pt>
                <c:pt idx="1101">
                  <c:v>45663</c:v>
                </c:pt>
                <c:pt idx="1102">
                  <c:v>45664</c:v>
                </c:pt>
                <c:pt idx="1103">
                  <c:v>45665</c:v>
                </c:pt>
                <c:pt idx="1104">
                  <c:v>45666</c:v>
                </c:pt>
                <c:pt idx="1105">
                  <c:v>45667</c:v>
                </c:pt>
                <c:pt idx="1106">
                  <c:v>45668</c:v>
                </c:pt>
                <c:pt idx="1107">
                  <c:v>45669</c:v>
                </c:pt>
                <c:pt idx="1108">
                  <c:v>45670</c:v>
                </c:pt>
                <c:pt idx="1109">
                  <c:v>45671</c:v>
                </c:pt>
                <c:pt idx="1110">
                  <c:v>45672</c:v>
                </c:pt>
                <c:pt idx="1111">
                  <c:v>45673</c:v>
                </c:pt>
                <c:pt idx="1112">
                  <c:v>45674</c:v>
                </c:pt>
                <c:pt idx="1113">
                  <c:v>45675</c:v>
                </c:pt>
                <c:pt idx="1114">
                  <c:v>45676</c:v>
                </c:pt>
                <c:pt idx="1115">
                  <c:v>45677</c:v>
                </c:pt>
                <c:pt idx="1116">
                  <c:v>45678</c:v>
                </c:pt>
                <c:pt idx="1117">
                  <c:v>45679</c:v>
                </c:pt>
                <c:pt idx="1118">
                  <c:v>45680</c:v>
                </c:pt>
                <c:pt idx="1119">
                  <c:v>45681</c:v>
                </c:pt>
                <c:pt idx="1120">
                  <c:v>45682</c:v>
                </c:pt>
                <c:pt idx="1121">
                  <c:v>45683</c:v>
                </c:pt>
                <c:pt idx="1122">
                  <c:v>45684</c:v>
                </c:pt>
                <c:pt idx="1123">
                  <c:v>45685</c:v>
                </c:pt>
                <c:pt idx="1124">
                  <c:v>45686</c:v>
                </c:pt>
                <c:pt idx="1125">
                  <c:v>45687</c:v>
                </c:pt>
                <c:pt idx="1126">
                  <c:v>45688</c:v>
                </c:pt>
                <c:pt idx="1127">
                  <c:v>45689</c:v>
                </c:pt>
                <c:pt idx="1128">
                  <c:v>45690</c:v>
                </c:pt>
                <c:pt idx="1129">
                  <c:v>45691</c:v>
                </c:pt>
                <c:pt idx="1130">
                  <c:v>45692</c:v>
                </c:pt>
                <c:pt idx="1131">
                  <c:v>45693</c:v>
                </c:pt>
                <c:pt idx="1132">
                  <c:v>45694</c:v>
                </c:pt>
                <c:pt idx="1133">
                  <c:v>45695</c:v>
                </c:pt>
                <c:pt idx="1134">
                  <c:v>45696</c:v>
                </c:pt>
                <c:pt idx="1135">
                  <c:v>45697</c:v>
                </c:pt>
                <c:pt idx="1136">
                  <c:v>45698</c:v>
                </c:pt>
                <c:pt idx="1137">
                  <c:v>45699</c:v>
                </c:pt>
                <c:pt idx="1138">
                  <c:v>45700</c:v>
                </c:pt>
                <c:pt idx="1139">
                  <c:v>45701</c:v>
                </c:pt>
                <c:pt idx="1140">
                  <c:v>45702</c:v>
                </c:pt>
                <c:pt idx="1141">
                  <c:v>45703</c:v>
                </c:pt>
                <c:pt idx="1142">
                  <c:v>45704</c:v>
                </c:pt>
                <c:pt idx="1143">
                  <c:v>45705</c:v>
                </c:pt>
                <c:pt idx="1144">
                  <c:v>45706</c:v>
                </c:pt>
                <c:pt idx="1145">
                  <c:v>45707</c:v>
                </c:pt>
                <c:pt idx="1146">
                  <c:v>45708</c:v>
                </c:pt>
                <c:pt idx="1147">
                  <c:v>45709</c:v>
                </c:pt>
                <c:pt idx="1148">
                  <c:v>45710</c:v>
                </c:pt>
                <c:pt idx="1149">
                  <c:v>45711</c:v>
                </c:pt>
                <c:pt idx="1150">
                  <c:v>45712</c:v>
                </c:pt>
                <c:pt idx="1151">
                  <c:v>45713</c:v>
                </c:pt>
                <c:pt idx="1152">
                  <c:v>45714</c:v>
                </c:pt>
                <c:pt idx="1153">
                  <c:v>45715</c:v>
                </c:pt>
                <c:pt idx="1154">
                  <c:v>45716</c:v>
                </c:pt>
                <c:pt idx="1155">
                  <c:v>45717</c:v>
                </c:pt>
                <c:pt idx="1156">
                  <c:v>45718</c:v>
                </c:pt>
                <c:pt idx="1157">
                  <c:v>45719</c:v>
                </c:pt>
                <c:pt idx="1158">
                  <c:v>45720</c:v>
                </c:pt>
                <c:pt idx="1159">
                  <c:v>45721</c:v>
                </c:pt>
                <c:pt idx="1160">
                  <c:v>45722</c:v>
                </c:pt>
                <c:pt idx="1161">
                  <c:v>45723</c:v>
                </c:pt>
                <c:pt idx="1162">
                  <c:v>45724</c:v>
                </c:pt>
                <c:pt idx="1163">
                  <c:v>45725</c:v>
                </c:pt>
                <c:pt idx="1164">
                  <c:v>45726</c:v>
                </c:pt>
                <c:pt idx="1165">
                  <c:v>45727</c:v>
                </c:pt>
                <c:pt idx="1166">
                  <c:v>45728</c:v>
                </c:pt>
                <c:pt idx="1167">
                  <c:v>45729</c:v>
                </c:pt>
                <c:pt idx="1168">
                  <c:v>45730</c:v>
                </c:pt>
                <c:pt idx="1169">
                  <c:v>45731</c:v>
                </c:pt>
                <c:pt idx="1170">
                  <c:v>45732</c:v>
                </c:pt>
                <c:pt idx="1171">
                  <c:v>45733</c:v>
                </c:pt>
                <c:pt idx="1172">
                  <c:v>45734</c:v>
                </c:pt>
                <c:pt idx="1173">
                  <c:v>45735</c:v>
                </c:pt>
                <c:pt idx="1174">
                  <c:v>45736</c:v>
                </c:pt>
                <c:pt idx="1175">
                  <c:v>45737</c:v>
                </c:pt>
                <c:pt idx="1176">
                  <c:v>45738</c:v>
                </c:pt>
                <c:pt idx="1177">
                  <c:v>45739</c:v>
                </c:pt>
                <c:pt idx="1178">
                  <c:v>45740</c:v>
                </c:pt>
                <c:pt idx="1179">
                  <c:v>45741</c:v>
                </c:pt>
                <c:pt idx="1180">
                  <c:v>45742</c:v>
                </c:pt>
                <c:pt idx="1181">
                  <c:v>45743</c:v>
                </c:pt>
                <c:pt idx="1182">
                  <c:v>45744</c:v>
                </c:pt>
                <c:pt idx="1183">
                  <c:v>45745</c:v>
                </c:pt>
                <c:pt idx="1184">
                  <c:v>45746</c:v>
                </c:pt>
                <c:pt idx="1185">
                  <c:v>45747</c:v>
                </c:pt>
                <c:pt idx="1186">
                  <c:v>45748</c:v>
                </c:pt>
                <c:pt idx="1187">
                  <c:v>45749</c:v>
                </c:pt>
                <c:pt idx="1188">
                  <c:v>45750</c:v>
                </c:pt>
                <c:pt idx="1189">
                  <c:v>45751</c:v>
                </c:pt>
                <c:pt idx="1190">
                  <c:v>45752</c:v>
                </c:pt>
                <c:pt idx="1191">
                  <c:v>45753</c:v>
                </c:pt>
                <c:pt idx="1192">
                  <c:v>45754</c:v>
                </c:pt>
                <c:pt idx="1193">
                  <c:v>45755</c:v>
                </c:pt>
                <c:pt idx="1194">
                  <c:v>45756</c:v>
                </c:pt>
                <c:pt idx="1195">
                  <c:v>45757</c:v>
                </c:pt>
                <c:pt idx="1196">
                  <c:v>45758</c:v>
                </c:pt>
                <c:pt idx="1197">
                  <c:v>45759</c:v>
                </c:pt>
                <c:pt idx="1198">
                  <c:v>45760</c:v>
                </c:pt>
                <c:pt idx="1199">
                  <c:v>45761</c:v>
                </c:pt>
                <c:pt idx="1200">
                  <c:v>45762</c:v>
                </c:pt>
                <c:pt idx="1201">
                  <c:v>45763</c:v>
                </c:pt>
                <c:pt idx="1202">
                  <c:v>45764</c:v>
                </c:pt>
                <c:pt idx="1203">
                  <c:v>45765</c:v>
                </c:pt>
                <c:pt idx="1204">
                  <c:v>45766</c:v>
                </c:pt>
                <c:pt idx="1205">
                  <c:v>45767</c:v>
                </c:pt>
                <c:pt idx="1206">
                  <c:v>45768</c:v>
                </c:pt>
                <c:pt idx="1207">
                  <c:v>45769</c:v>
                </c:pt>
                <c:pt idx="1208">
                  <c:v>45770</c:v>
                </c:pt>
                <c:pt idx="1209">
                  <c:v>45771</c:v>
                </c:pt>
                <c:pt idx="1210">
                  <c:v>45772</c:v>
                </c:pt>
                <c:pt idx="1211">
                  <c:v>45773</c:v>
                </c:pt>
                <c:pt idx="1212">
                  <c:v>45774</c:v>
                </c:pt>
                <c:pt idx="1213">
                  <c:v>45775</c:v>
                </c:pt>
                <c:pt idx="1214">
                  <c:v>45776</c:v>
                </c:pt>
                <c:pt idx="1215">
                  <c:v>45777</c:v>
                </c:pt>
                <c:pt idx="1216">
                  <c:v>45778</c:v>
                </c:pt>
                <c:pt idx="1217">
                  <c:v>45779</c:v>
                </c:pt>
                <c:pt idx="1218">
                  <c:v>45780</c:v>
                </c:pt>
                <c:pt idx="1219">
                  <c:v>45781</c:v>
                </c:pt>
                <c:pt idx="1220">
                  <c:v>45782</c:v>
                </c:pt>
                <c:pt idx="1221">
                  <c:v>45783</c:v>
                </c:pt>
                <c:pt idx="1222">
                  <c:v>45784</c:v>
                </c:pt>
                <c:pt idx="1223">
                  <c:v>45785</c:v>
                </c:pt>
                <c:pt idx="1224">
                  <c:v>45786</c:v>
                </c:pt>
                <c:pt idx="1225">
                  <c:v>45787</c:v>
                </c:pt>
                <c:pt idx="1226">
                  <c:v>45788</c:v>
                </c:pt>
                <c:pt idx="1227">
                  <c:v>45789</c:v>
                </c:pt>
                <c:pt idx="1228">
                  <c:v>45790</c:v>
                </c:pt>
                <c:pt idx="1229">
                  <c:v>45791</c:v>
                </c:pt>
                <c:pt idx="1230">
                  <c:v>45792</c:v>
                </c:pt>
                <c:pt idx="1231">
                  <c:v>45793</c:v>
                </c:pt>
                <c:pt idx="1232">
                  <c:v>45794</c:v>
                </c:pt>
                <c:pt idx="1233">
                  <c:v>45795</c:v>
                </c:pt>
                <c:pt idx="1234">
                  <c:v>45796</c:v>
                </c:pt>
                <c:pt idx="1235">
                  <c:v>45797</c:v>
                </c:pt>
                <c:pt idx="1236">
                  <c:v>45798</c:v>
                </c:pt>
                <c:pt idx="1237">
                  <c:v>45799</c:v>
                </c:pt>
                <c:pt idx="1238">
                  <c:v>45800</c:v>
                </c:pt>
                <c:pt idx="1239">
                  <c:v>45801</c:v>
                </c:pt>
                <c:pt idx="1240">
                  <c:v>45802</c:v>
                </c:pt>
                <c:pt idx="1241">
                  <c:v>45803</c:v>
                </c:pt>
                <c:pt idx="1242">
                  <c:v>45804</c:v>
                </c:pt>
                <c:pt idx="1243">
                  <c:v>45805</c:v>
                </c:pt>
                <c:pt idx="1244">
                  <c:v>45806</c:v>
                </c:pt>
                <c:pt idx="1245">
                  <c:v>45807</c:v>
                </c:pt>
                <c:pt idx="1246">
                  <c:v>45808</c:v>
                </c:pt>
              </c:numCache>
            </c:numRef>
          </c:cat>
          <c:val>
            <c:numRef>
              <c:f>FXHC!$U$12:$U$1258</c:f>
              <c:numCache>
                <c:formatCode>_(* #,##0.0_);_(* \(#,##0.0\);_(* "-"??_);_(@_)</c:formatCode>
                <c:ptCount val="1247"/>
                <c:pt idx="0" formatCode="General">
                  <c:v>100</c:v>
                </c:pt>
                <c:pt idx="1">
                  <c:v>100</c:v>
                </c:pt>
                <c:pt idx="2">
                  <c:v>100.38991389139105</c:v>
                </c:pt>
                <c:pt idx="3">
                  <c:v>99.626179908732894</c:v>
                </c:pt>
                <c:pt idx="4">
                  <c:v>100.218204684798</c:v>
                </c:pt>
                <c:pt idx="5">
                  <c:v>101.24128117496092</c:v>
                </c:pt>
                <c:pt idx="6">
                  <c:v>102.28874369408108</c:v>
                </c:pt>
                <c:pt idx="7">
                  <c:v>102.28874369408108</c:v>
                </c:pt>
                <c:pt idx="8">
                  <c:v>102.28874369408108</c:v>
                </c:pt>
                <c:pt idx="9">
                  <c:v>101.66883564265481</c:v>
                </c:pt>
                <c:pt idx="10">
                  <c:v>102.65507246376808</c:v>
                </c:pt>
                <c:pt idx="11">
                  <c:v>104.10754879673901</c:v>
                </c:pt>
                <c:pt idx="12">
                  <c:v>103.45270783431671</c:v>
                </c:pt>
                <c:pt idx="13">
                  <c:v>103.55622843553235</c:v>
                </c:pt>
                <c:pt idx="14">
                  <c:v>103.55622843553235</c:v>
                </c:pt>
                <c:pt idx="15">
                  <c:v>103.55622843553235</c:v>
                </c:pt>
                <c:pt idx="16">
                  <c:v>103.58584381398066</c:v>
                </c:pt>
                <c:pt idx="17">
                  <c:v>102.68218982146652</c:v>
                </c:pt>
                <c:pt idx="18">
                  <c:v>103.94729976519695</c:v>
                </c:pt>
                <c:pt idx="19">
                  <c:v>104.72529422201193</c:v>
                </c:pt>
                <c:pt idx="20">
                  <c:v>105.51502231167487</c:v>
                </c:pt>
                <c:pt idx="21">
                  <c:v>105.51502231167487</c:v>
                </c:pt>
                <c:pt idx="22">
                  <c:v>105.51502231167487</c:v>
                </c:pt>
                <c:pt idx="23">
                  <c:v>104.42816517488563</c:v>
                </c:pt>
                <c:pt idx="24">
                  <c:v>104.62972689075627</c:v>
                </c:pt>
                <c:pt idx="25">
                  <c:v>103.90324999185053</c:v>
                </c:pt>
                <c:pt idx="26">
                  <c:v>103.07600765768093</c:v>
                </c:pt>
                <c:pt idx="27">
                  <c:v>102.16219334739323</c:v>
                </c:pt>
                <c:pt idx="28">
                  <c:v>102.16219334739323</c:v>
                </c:pt>
                <c:pt idx="29">
                  <c:v>102.16219334739323</c:v>
                </c:pt>
                <c:pt idx="30">
                  <c:v>103.57843838144876</c:v>
                </c:pt>
                <c:pt idx="31">
                  <c:v>104.41516578983573</c:v>
                </c:pt>
                <c:pt idx="32">
                  <c:v>103.90460481278886</c:v>
                </c:pt>
                <c:pt idx="33">
                  <c:v>104.43706135608544</c:v>
                </c:pt>
                <c:pt idx="34">
                  <c:v>103.07200786434009</c:v>
                </c:pt>
                <c:pt idx="35">
                  <c:v>103.07200786434009</c:v>
                </c:pt>
                <c:pt idx="36">
                  <c:v>103.07200786434009</c:v>
                </c:pt>
                <c:pt idx="37">
                  <c:v>102.77688210181466</c:v>
                </c:pt>
                <c:pt idx="38">
                  <c:v>103.8227016885553</c:v>
                </c:pt>
                <c:pt idx="39">
                  <c:v>104.763156856816</c:v>
                </c:pt>
                <c:pt idx="40">
                  <c:v>105.05735003295972</c:v>
                </c:pt>
                <c:pt idx="41">
                  <c:v>104.76728898238227</c:v>
                </c:pt>
                <c:pt idx="42">
                  <c:v>104.76728898238227</c:v>
                </c:pt>
                <c:pt idx="43">
                  <c:v>104.76728898238227</c:v>
                </c:pt>
                <c:pt idx="44">
                  <c:v>105.32743819021742</c:v>
                </c:pt>
                <c:pt idx="45">
                  <c:v>105.48219923356424</c:v>
                </c:pt>
                <c:pt idx="46">
                  <c:v>106.30682310878677</c:v>
                </c:pt>
                <c:pt idx="47">
                  <c:v>106.29831453554674</c:v>
                </c:pt>
                <c:pt idx="48">
                  <c:v>105.3030803589126</c:v>
                </c:pt>
                <c:pt idx="49">
                  <c:v>105.3030803589126</c:v>
                </c:pt>
                <c:pt idx="50">
                  <c:v>105.3030803589126</c:v>
                </c:pt>
                <c:pt idx="51">
                  <c:v>105.19465089569765</c:v>
                </c:pt>
                <c:pt idx="52">
                  <c:v>105.72501359939488</c:v>
                </c:pt>
                <c:pt idx="53">
                  <c:v>105.29403603353607</c:v>
                </c:pt>
                <c:pt idx="54">
                  <c:v>103.84028981352367</c:v>
                </c:pt>
                <c:pt idx="55">
                  <c:v>105.15231289958619</c:v>
                </c:pt>
                <c:pt idx="56">
                  <c:v>105.15231289958619</c:v>
                </c:pt>
                <c:pt idx="57">
                  <c:v>105.15231289958619</c:v>
                </c:pt>
                <c:pt idx="58">
                  <c:v>103.65254038866766</c:v>
                </c:pt>
                <c:pt idx="59">
                  <c:v>103.34939399638138</c:v>
                </c:pt>
                <c:pt idx="60">
                  <c:v>104.04502010758856</c:v>
                </c:pt>
                <c:pt idx="61">
                  <c:v>104.86103800400033</c:v>
                </c:pt>
                <c:pt idx="62">
                  <c:v>103.55353696809019</c:v>
                </c:pt>
                <c:pt idx="63">
                  <c:v>103.55353696809019</c:v>
                </c:pt>
                <c:pt idx="64">
                  <c:v>103.55353696809019</c:v>
                </c:pt>
                <c:pt idx="65">
                  <c:v>103.77673013309708</c:v>
                </c:pt>
                <c:pt idx="66">
                  <c:v>104.16062115211159</c:v>
                </c:pt>
                <c:pt idx="67">
                  <c:v>106.24729168472201</c:v>
                </c:pt>
                <c:pt idx="68">
                  <c:v>105.93302580327814</c:v>
                </c:pt>
                <c:pt idx="69">
                  <c:v>105.95697151822981</c:v>
                </c:pt>
                <c:pt idx="70">
                  <c:v>105.95697151822981</c:v>
                </c:pt>
                <c:pt idx="71">
                  <c:v>105.95697151822981</c:v>
                </c:pt>
                <c:pt idx="72">
                  <c:v>105.34762893139954</c:v>
                </c:pt>
                <c:pt idx="73">
                  <c:v>105.47661436031149</c:v>
                </c:pt>
                <c:pt idx="74">
                  <c:v>106.82413818527918</c:v>
                </c:pt>
                <c:pt idx="75">
                  <c:v>106.80123037333377</c:v>
                </c:pt>
                <c:pt idx="76">
                  <c:v>106.46518898553039</c:v>
                </c:pt>
                <c:pt idx="77">
                  <c:v>106.46518898553039</c:v>
                </c:pt>
                <c:pt idx="78">
                  <c:v>106.46518898553039</c:v>
                </c:pt>
                <c:pt idx="79">
                  <c:v>106.89076982923972</c:v>
                </c:pt>
                <c:pt idx="80">
                  <c:v>107.61325347576239</c:v>
                </c:pt>
                <c:pt idx="81">
                  <c:v>107.96244360443838</c:v>
                </c:pt>
                <c:pt idx="82">
                  <c:v>109.72028116458856</c:v>
                </c:pt>
                <c:pt idx="83">
                  <c:v>109.59653960678587</c:v>
                </c:pt>
                <c:pt idx="84">
                  <c:v>109.59653960678587</c:v>
                </c:pt>
                <c:pt idx="85">
                  <c:v>109.59653960678587</c:v>
                </c:pt>
                <c:pt idx="86">
                  <c:v>108.47979089807632</c:v>
                </c:pt>
                <c:pt idx="87">
                  <c:v>109.63499030034521</c:v>
                </c:pt>
                <c:pt idx="88">
                  <c:v>110.10307569016486</c:v>
                </c:pt>
                <c:pt idx="89">
                  <c:v>109.07299045272548</c:v>
                </c:pt>
                <c:pt idx="90">
                  <c:v>108.67655883476068</c:v>
                </c:pt>
                <c:pt idx="91">
                  <c:v>108.67655883476068</c:v>
                </c:pt>
                <c:pt idx="92">
                  <c:v>108.67655883476068</c:v>
                </c:pt>
                <c:pt idx="93">
                  <c:v>109.25618701583592</c:v>
                </c:pt>
                <c:pt idx="94">
                  <c:v>108.61730549043116</c:v>
                </c:pt>
                <c:pt idx="95">
                  <c:v>108.66988960636031</c:v>
                </c:pt>
                <c:pt idx="96">
                  <c:v>108.09498294186658</c:v>
                </c:pt>
                <c:pt idx="97">
                  <c:v>108.81828796165416</c:v>
                </c:pt>
                <c:pt idx="98">
                  <c:v>108.81828796165416</c:v>
                </c:pt>
                <c:pt idx="99">
                  <c:v>108.81828796165416</c:v>
                </c:pt>
                <c:pt idx="100">
                  <c:v>109.38516657744091</c:v>
                </c:pt>
                <c:pt idx="101">
                  <c:v>109.83900314274676</c:v>
                </c:pt>
                <c:pt idx="102">
                  <c:v>109.4264743242036</c:v>
                </c:pt>
                <c:pt idx="103">
                  <c:v>108.68989974766409</c:v>
                </c:pt>
                <c:pt idx="104">
                  <c:v>108.96932733463687</c:v>
                </c:pt>
                <c:pt idx="105">
                  <c:v>108.96932733463687</c:v>
                </c:pt>
                <c:pt idx="106">
                  <c:v>108.96932733463687</c:v>
                </c:pt>
                <c:pt idx="107">
                  <c:v>108.7581378209064</c:v>
                </c:pt>
                <c:pt idx="108">
                  <c:v>106.34867674732068</c:v>
                </c:pt>
                <c:pt idx="109">
                  <c:v>106.01406230251899</c:v>
                </c:pt>
                <c:pt idx="110">
                  <c:v>103.62153938180245</c:v>
                </c:pt>
                <c:pt idx="111">
                  <c:v>102.10786637792943</c:v>
                </c:pt>
                <c:pt idx="112">
                  <c:v>102.10786637792943</c:v>
                </c:pt>
                <c:pt idx="113">
                  <c:v>102.10786637792943</c:v>
                </c:pt>
                <c:pt idx="114">
                  <c:v>101.66559284515907</c:v>
                </c:pt>
                <c:pt idx="115">
                  <c:v>100.55777093533884</c:v>
                </c:pt>
                <c:pt idx="116">
                  <c:v>100.28883728832747</c:v>
                </c:pt>
                <c:pt idx="117">
                  <c:v>99.403102370750034</c:v>
                </c:pt>
                <c:pt idx="118">
                  <c:v>100.93734958072595</c:v>
                </c:pt>
                <c:pt idx="119">
                  <c:v>100.93734958072595</c:v>
                </c:pt>
                <c:pt idx="120">
                  <c:v>100.93734958072595</c:v>
                </c:pt>
                <c:pt idx="121">
                  <c:v>98.907113998994504</c:v>
                </c:pt>
                <c:pt idx="122">
                  <c:v>101.01156069364151</c:v>
                </c:pt>
                <c:pt idx="123">
                  <c:v>103.10868425990013</c:v>
                </c:pt>
                <c:pt idx="124">
                  <c:v>99.673533716086808</c:v>
                </c:pt>
                <c:pt idx="125">
                  <c:v>99.630539562273682</c:v>
                </c:pt>
                <c:pt idx="126">
                  <c:v>99.630539562273682</c:v>
                </c:pt>
                <c:pt idx="127">
                  <c:v>99.630539562273682</c:v>
                </c:pt>
                <c:pt idx="128">
                  <c:v>98.442190569137736</c:v>
                </c:pt>
                <c:pt idx="129">
                  <c:v>98.842704573363491</c:v>
                </c:pt>
                <c:pt idx="130">
                  <c:v>99.05588255402715</c:v>
                </c:pt>
                <c:pt idx="131">
                  <c:v>99.044801720226829</c:v>
                </c:pt>
                <c:pt idx="132">
                  <c:v>98.589562764456872</c:v>
                </c:pt>
                <c:pt idx="133">
                  <c:v>98.589562764456872</c:v>
                </c:pt>
                <c:pt idx="134">
                  <c:v>98.589562764456872</c:v>
                </c:pt>
                <c:pt idx="135">
                  <c:v>98.697019990586725</c:v>
                </c:pt>
                <c:pt idx="136">
                  <c:v>100.16403642739962</c:v>
                </c:pt>
                <c:pt idx="137">
                  <c:v>99.408682634730411</c:v>
                </c:pt>
                <c:pt idx="138">
                  <c:v>100.69500606550736</c:v>
                </c:pt>
                <c:pt idx="139">
                  <c:v>100.60283934173719</c:v>
                </c:pt>
                <c:pt idx="140">
                  <c:v>100.60283934173719</c:v>
                </c:pt>
                <c:pt idx="141">
                  <c:v>100.60283934173719</c:v>
                </c:pt>
                <c:pt idx="142">
                  <c:v>101.18471677269424</c:v>
                </c:pt>
                <c:pt idx="143">
                  <c:v>101.88006213602149</c:v>
                </c:pt>
                <c:pt idx="144">
                  <c:v>101.24706973552958</c:v>
                </c:pt>
                <c:pt idx="145">
                  <c:v>101.46494260557314</c:v>
                </c:pt>
                <c:pt idx="146">
                  <c:v>102.22510150542311</c:v>
                </c:pt>
                <c:pt idx="147">
                  <c:v>102.22510150542311</c:v>
                </c:pt>
                <c:pt idx="148">
                  <c:v>102.22510150542311</c:v>
                </c:pt>
                <c:pt idx="149">
                  <c:v>102.86046211436671</c:v>
                </c:pt>
                <c:pt idx="150">
                  <c:v>101.89699817780749</c:v>
                </c:pt>
                <c:pt idx="151">
                  <c:v>102.37284651652759</c:v>
                </c:pt>
                <c:pt idx="152">
                  <c:v>103.04268552881682</c:v>
                </c:pt>
                <c:pt idx="153">
                  <c:v>102.50189732573534</c:v>
                </c:pt>
                <c:pt idx="154">
                  <c:v>102.50189732573534</c:v>
                </c:pt>
                <c:pt idx="155">
                  <c:v>102.50189732573534</c:v>
                </c:pt>
                <c:pt idx="156">
                  <c:v>103.24294209864856</c:v>
                </c:pt>
                <c:pt idx="157">
                  <c:v>103.62356062133033</c:v>
                </c:pt>
                <c:pt idx="158">
                  <c:v>104.23351362664232</c:v>
                </c:pt>
                <c:pt idx="159">
                  <c:v>102.74110366168117</c:v>
                </c:pt>
                <c:pt idx="160">
                  <c:v>100.50767183588</c:v>
                </c:pt>
                <c:pt idx="161">
                  <c:v>100.50767183588</c:v>
                </c:pt>
                <c:pt idx="162">
                  <c:v>100.50767183588</c:v>
                </c:pt>
                <c:pt idx="163">
                  <c:v>98.883180701362406</c:v>
                </c:pt>
                <c:pt idx="164">
                  <c:v>99.359721694025396</c:v>
                </c:pt>
                <c:pt idx="165">
                  <c:v>101.0237263639647</c:v>
                </c:pt>
                <c:pt idx="166">
                  <c:v>99.554611612580672</c:v>
                </c:pt>
                <c:pt idx="167">
                  <c:v>99.494946341950538</c:v>
                </c:pt>
                <c:pt idx="168">
                  <c:v>99.494946341950538</c:v>
                </c:pt>
                <c:pt idx="169">
                  <c:v>99.494946341950538</c:v>
                </c:pt>
                <c:pt idx="170">
                  <c:v>99.38760492410529</c:v>
                </c:pt>
                <c:pt idx="171">
                  <c:v>100.09798010250213</c:v>
                </c:pt>
                <c:pt idx="172">
                  <c:v>100.14074949103966</c:v>
                </c:pt>
                <c:pt idx="173">
                  <c:v>99.845882043378438</c:v>
                </c:pt>
                <c:pt idx="174">
                  <c:v>100.85622615001982</c:v>
                </c:pt>
                <c:pt idx="175">
                  <c:v>100.85622615001982</c:v>
                </c:pt>
                <c:pt idx="176">
                  <c:v>100.85622615001982</c:v>
                </c:pt>
                <c:pt idx="177">
                  <c:v>100.46395521823536</c:v>
                </c:pt>
                <c:pt idx="178">
                  <c:v>99.058345298252704</c:v>
                </c:pt>
                <c:pt idx="179">
                  <c:v>98.155413353698634</c:v>
                </c:pt>
                <c:pt idx="180">
                  <c:v>97.905173790713874</c:v>
                </c:pt>
                <c:pt idx="181">
                  <c:v>97.086881830476159</c:v>
                </c:pt>
                <c:pt idx="182">
                  <c:v>97.086881830476159</c:v>
                </c:pt>
                <c:pt idx="183">
                  <c:v>97.086881830476159</c:v>
                </c:pt>
                <c:pt idx="184">
                  <c:v>97.52951183839312</c:v>
                </c:pt>
                <c:pt idx="185">
                  <c:v>96.390468126285143</c:v>
                </c:pt>
                <c:pt idx="186">
                  <c:v>94.799393272462211</c:v>
                </c:pt>
                <c:pt idx="187">
                  <c:v>95.315331479321685</c:v>
                </c:pt>
                <c:pt idx="188">
                  <c:v>94.456100423171193</c:v>
                </c:pt>
                <c:pt idx="189">
                  <c:v>94.456100423171193</c:v>
                </c:pt>
                <c:pt idx="190">
                  <c:v>94.456100423171193</c:v>
                </c:pt>
                <c:pt idx="191">
                  <c:v>93.159685282392317</c:v>
                </c:pt>
                <c:pt idx="192">
                  <c:v>93.58968335995479</c:v>
                </c:pt>
                <c:pt idx="193">
                  <c:v>94.2510925940162</c:v>
                </c:pt>
                <c:pt idx="194">
                  <c:v>92.875749576041429</c:v>
                </c:pt>
                <c:pt idx="195">
                  <c:v>93.335910185006142</c:v>
                </c:pt>
                <c:pt idx="196">
                  <c:v>93.335910185006142</c:v>
                </c:pt>
                <c:pt idx="197">
                  <c:v>93.335910185006142</c:v>
                </c:pt>
                <c:pt idx="198">
                  <c:v>93.077529566359971</c:v>
                </c:pt>
                <c:pt idx="199">
                  <c:v>93.220715714603159</c:v>
                </c:pt>
                <c:pt idx="200">
                  <c:v>92.910943730615784</c:v>
                </c:pt>
                <c:pt idx="201">
                  <c:v>93.443170824660598</c:v>
                </c:pt>
                <c:pt idx="202">
                  <c:v>94.709255682662246</c:v>
                </c:pt>
                <c:pt idx="203">
                  <c:v>94.709255682662246</c:v>
                </c:pt>
                <c:pt idx="204">
                  <c:v>94.709255682662246</c:v>
                </c:pt>
                <c:pt idx="205">
                  <c:v>94.900438262195053</c:v>
                </c:pt>
                <c:pt idx="206">
                  <c:v>94.039203653657736</c:v>
                </c:pt>
                <c:pt idx="207">
                  <c:v>95.488370420965538</c:v>
                </c:pt>
                <c:pt idx="208">
                  <c:v>96.685190128369968</c:v>
                </c:pt>
                <c:pt idx="209">
                  <c:v>95.870353772024217</c:v>
                </c:pt>
                <c:pt idx="210">
                  <c:v>95.870353772024217</c:v>
                </c:pt>
                <c:pt idx="211">
                  <c:v>95.870353772024217</c:v>
                </c:pt>
                <c:pt idx="212">
                  <c:v>96.497272292424725</c:v>
                </c:pt>
                <c:pt idx="213">
                  <c:v>94.744726892254945</c:v>
                </c:pt>
                <c:pt idx="214">
                  <c:v>95.15200726004818</c:v>
                </c:pt>
                <c:pt idx="215">
                  <c:v>95.939031291009954</c:v>
                </c:pt>
                <c:pt idx="216">
                  <c:v>94.995469934671618</c:v>
                </c:pt>
                <c:pt idx="217">
                  <c:v>94.995469934671618</c:v>
                </c:pt>
                <c:pt idx="218">
                  <c:v>94.995469934671618</c:v>
                </c:pt>
                <c:pt idx="219">
                  <c:v>95.476929344244567</c:v>
                </c:pt>
                <c:pt idx="220">
                  <c:v>96.14333544475609</c:v>
                </c:pt>
                <c:pt idx="221">
                  <c:v>98.331646881709787</c:v>
                </c:pt>
                <c:pt idx="222">
                  <c:v>98.168110085865962</c:v>
                </c:pt>
                <c:pt idx="223">
                  <c:v>98.57005022141955</c:v>
                </c:pt>
                <c:pt idx="224">
                  <c:v>98.57005022141955</c:v>
                </c:pt>
                <c:pt idx="225">
                  <c:v>98.57005022141955</c:v>
                </c:pt>
                <c:pt idx="226">
                  <c:v>96.965198345096127</c:v>
                </c:pt>
                <c:pt idx="227">
                  <c:v>97.260482970322414</c:v>
                </c:pt>
                <c:pt idx="228">
                  <c:v>95.717194284787652</c:v>
                </c:pt>
                <c:pt idx="229">
                  <c:v>94.504829843630475</c:v>
                </c:pt>
                <c:pt idx="230">
                  <c:v>93.730040639170042</c:v>
                </c:pt>
                <c:pt idx="231">
                  <c:v>93.730040639170042</c:v>
                </c:pt>
                <c:pt idx="232">
                  <c:v>93.730040639170042</c:v>
                </c:pt>
                <c:pt idx="233">
                  <c:v>93.762575452716291</c:v>
                </c:pt>
                <c:pt idx="234">
                  <c:v>93.775264635100683</c:v>
                </c:pt>
                <c:pt idx="235">
                  <c:v>94.096947511365613</c:v>
                </c:pt>
                <c:pt idx="236">
                  <c:v>95.150871075978799</c:v>
                </c:pt>
                <c:pt idx="237">
                  <c:v>94.38729278823088</c:v>
                </c:pt>
                <c:pt idx="238">
                  <c:v>94.38729278823088</c:v>
                </c:pt>
                <c:pt idx="239">
                  <c:v>94.38729278823088</c:v>
                </c:pt>
                <c:pt idx="240">
                  <c:v>94.709255682662288</c:v>
                </c:pt>
                <c:pt idx="241">
                  <c:v>93.854788082941212</c:v>
                </c:pt>
                <c:pt idx="242">
                  <c:v>93.097103201724394</c:v>
                </c:pt>
                <c:pt idx="243">
                  <c:v>92.25212292410724</c:v>
                </c:pt>
                <c:pt idx="244">
                  <c:v>92.095926032938436</c:v>
                </c:pt>
                <c:pt idx="245">
                  <c:v>92.095926032938436</c:v>
                </c:pt>
                <c:pt idx="246">
                  <c:v>92.095926032938436</c:v>
                </c:pt>
                <c:pt idx="247">
                  <c:v>92.844368063848961</c:v>
                </c:pt>
                <c:pt idx="248">
                  <c:v>92.119880928296837</c:v>
                </c:pt>
                <c:pt idx="249">
                  <c:v>92.288983600481785</c:v>
                </c:pt>
                <c:pt idx="250">
                  <c:v>90.974580866864912</c:v>
                </c:pt>
                <c:pt idx="251">
                  <c:v>92.088475939536806</c:v>
                </c:pt>
                <c:pt idx="252">
                  <c:v>92.088475939536806</c:v>
                </c:pt>
                <c:pt idx="253">
                  <c:v>92.088475939536806</c:v>
                </c:pt>
                <c:pt idx="254">
                  <c:v>93.053617408871418</c:v>
                </c:pt>
                <c:pt idx="255">
                  <c:v>91.294036776078343</c:v>
                </c:pt>
                <c:pt idx="256">
                  <c:v>91.156703825936731</c:v>
                </c:pt>
                <c:pt idx="257">
                  <c:v>90.731673991756409</c:v>
                </c:pt>
                <c:pt idx="258">
                  <c:v>90.499310062860943</c:v>
                </c:pt>
                <c:pt idx="259">
                  <c:v>90.499310062860943</c:v>
                </c:pt>
                <c:pt idx="260">
                  <c:v>90.499310062860943</c:v>
                </c:pt>
                <c:pt idx="261">
                  <c:v>90.168033946251754</c:v>
                </c:pt>
                <c:pt idx="262">
                  <c:v>90.090558614374046</c:v>
                </c:pt>
                <c:pt idx="263">
                  <c:v>89.823477692359717</c:v>
                </c:pt>
                <c:pt idx="264">
                  <c:v>90.561534702412743</c:v>
                </c:pt>
                <c:pt idx="265">
                  <c:v>88.786629526462391</c:v>
                </c:pt>
                <c:pt idx="266">
                  <c:v>88.786629526462391</c:v>
                </c:pt>
                <c:pt idx="267">
                  <c:v>88.786629526462391</c:v>
                </c:pt>
                <c:pt idx="268">
                  <c:v>88.099502487562177</c:v>
                </c:pt>
                <c:pt idx="269">
                  <c:v>88.45793069763053</c:v>
                </c:pt>
                <c:pt idx="270">
                  <c:v>89.258531175966525</c:v>
                </c:pt>
                <c:pt idx="271">
                  <c:v>88.468242425588116</c:v>
                </c:pt>
                <c:pt idx="272">
                  <c:v>88.121423239611829</c:v>
                </c:pt>
                <c:pt idx="273">
                  <c:v>88.121423239611829</c:v>
                </c:pt>
                <c:pt idx="274">
                  <c:v>88.121423239611829</c:v>
                </c:pt>
                <c:pt idx="275">
                  <c:v>89.31555675112223</c:v>
                </c:pt>
                <c:pt idx="276">
                  <c:v>90.403825536477001</c:v>
                </c:pt>
                <c:pt idx="277">
                  <c:v>89.617904237073674</c:v>
                </c:pt>
                <c:pt idx="278">
                  <c:v>88.533605906240084</c:v>
                </c:pt>
                <c:pt idx="279">
                  <c:v>88.070291777188316</c:v>
                </c:pt>
                <c:pt idx="280">
                  <c:v>88.070291777188316</c:v>
                </c:pt>
                <c:pt idx="281">
                  <c:v>88.070291777188316</c:v>
                </c:pt>
                <c:pt idx="282">
                  <c:v>88.070291777188316</c:v>
                </c:pt>
                <c:pt idx="283">
                  <c:v>87.652759292054839</c:v>
                </c:pt>
                <c:pt idx="284">
                  <c:v>87.118992434512577</c:v>
                </c:pt>
                <c:pt idx="285">
                  <c:v>87.248718959400847</c:v>
                </c:pt>
                <c:pt idx="286">
                  <c:v>86.806758390797057</c:v>
                </c:pt>
                <c:pt idx="287">
                  <c:v>86.806758390797057</c:v>
                </c:pt>
                <c:pt idx="288">
                  <c:v>86.806758390797057</c:v>
                </c:pt>
                <c:pt idx="289">
                  <c:v>88.198964005844033</c:v>
                </c:pt>
                <c:pt idx="290">
                  <c:v>87.992491166077727</c:v>
                </c:pt>
                <c:pt idx="291">
                  <c:v>87.120421137793613</c:v>
                </c:pt>
                <c:pt idx="292">
                  <c:v>87.106136213332732</c:v>
                </c:pt>
                <c:pt idx="293">
                  <c:v>88.103398713044228</c:v>
                </c:pt>
                <c:pt idx="294">
                  <c:v>88.103398713044228</c:v>
                </c:pt>
                <c:pt idx="295">
                  <c:v>88.103398713044228</c:v>
                </c:pt>
                <c:pt idx="296">
                  <c:v>86.555945385225314</c:v>
                </c:pt>
                <c:pt idx="297">
                  <c:v>87.55500618046969</c:v>
                </c:pt>
                <c:pt idx="298">
                  <c:v>88.874265989304178</c:v>
                </c:pt>
                <c:pt idx="299">
                  <c:v>88.642431253893349</c:v>
                </c:pt>
                <c:pt idx="300">
                  <c:v>87.885254851357345</c:v>
                </c:pt>
                <c:pt idx="301">
                  <c:v>87.885254851357345</c:v>
                </c:pt>
                <c:pt idx="302">
                  <c:v>87.885254851357345</c:v>
                </c:pt>
                <c:pt idx="303">
                  <c:v>86.829932714048283</c:v>
                </c:pt>
                <c:pt idx="304">
                  <c:v>87.432521395654987</c:v>
                </c:pt>
                <c:pt idx="305">
                  <c:v>87.296987889112216</c:v>
                </c:pt>
                <c:pt idx="306">
                  <c:v>86.588864258703836</c:v>
                </c:pt>
                <c:pt idx="307">
                  <c:v>89.015739675376139</c:v>
                </c:pt>
                <c:pt idx="308">
                  <c:v>89.015739675376139</c:v>
                </c:pt>
                <c:pt idx="309">
                  <c:v>89.015739675376139</c:v>
                </c:pt>
                <c:pt idx="310">
                  <c:v>89.883762245571248</c:v>
                </c:pt>
                <c:pt idx="311">
                  <c:v>89.97713479181364</c:v>
                </c:pt>
                <c:pt idx="312">
                  <c:v>89.568545463741913</c:v>
                </c:pt>
                <c:pt idx="313">
                  <c:v>91.788814080597078</c:v>
                </c:pt>
                <c:pt idx="314">
                  <c:v>92.444764120025241</c:v>
                </c:pt>
                <c:pt idx="315">
                  <c:v>92.444764120025241</c:v>
                </c:pt>
                <c:pt idx="316">
                  <c:v>92.444764120025241</c:v>
                </c:pt>
                <c:pt idx="317">
                  <c:v>92.149176062445733</c:v>
                </c:pt>
                <c:pt idx="318">
                  <c:v>92.038485082987748</c:v>
                </c:pt>
                <c:pt idx="319">
                  <c:v>92.294328171509918</c:v>
                </c:pt>
                <c:pt idx="320">
                  <c:v>91.716974074180598</c:v>
                </c:pt>
                <c:pt idx="321">
                  <c:v>92.357976112517989</c:v>
                </c:pt>
                <c:pt idx="322">
                  <c:v>92.357976112517989</c:v>
                </c:pt>
                <c:pt idx="323">
                  <c:v>92.357976112517989</c:v>
                </c:pt>
                <c:pt idx="324">
                  <c:v>91.931771641506884</c:v>
                </c:pt>
                <c:pt idx="325">
                  <c:v>92.460853875741833</c:v>
                </c:pt>
                <c:pt idx="326">
                  <c:v>93.926142458067588</c:v>
                </c:pt>
                <c:pt idx="327">
                  <c:v>93.636972538513021</c:v>
                </c:pt>
                <c:pt idx="328">
                  <c:v>93.302032046741132</c:v>
                </c:pt>
                <c:pt idx="329">
                  <c:v>93.302032046741132</c:v>
                </c:pt>
                <c:pt idx="330">
                  <c:v>93.302032046741132</c:v>
                </c:pt>
                <c:pt idx="331">
                  <c:v>92.908235541020261</c:v>
                </c:pt>
                <c:pt idx="332">
                  <c:v>93.748235294117606</c:v>
                </c:pt>
                <c:pt idx="333">
                  <c:v>92.641442530706641</c:v>
                </c:pt>
                <c:pt idx="334">
                  <c:v>90.257908865404843</c:v>
                </c:pt>
                <c:pt idx="335">
                  <c:v>91.042661609121822</c:v>
                </c:pt>
                <c:pt idx="336">
                  <c:v>91.042661609121822</c:v>
                </c:pt>
                <c:pt idx="337">
                  <c:v>91.042661609121822</c:v>
                </c:pt>
                <c:pt idx="338">
                  <c:v>91.46746709978818</c:v>
                </c:pt>
                <c:pt idx="339">
                  <c:v>91.928589969140205</c:v>
                </c:pt>
                <c:pt idx="340">
                  <c:v>92.862220461246181</c:v>
                </c:pt>
                <c:pt idx="341">
                  <c:v>92.842204603312325</c:v>
                </c:pt>
                <c:pt idx="342">
                  <c:v>91.834829608970693</c:v>
                </c:pt>
                <c:pt idx="343">
                  <c:v>91.834829608970693</c:v>
                </c:pt>
                <c:pt idx="344">
                  <c:v>91.834829608970693</c:v>
                </c:pt>
                <c:pt idx="345">
                  <c:v>90.658899956198425</c:v>
                </c:pt>
                <c:pt idx="346">
                  <c:v>92.315177914607887</c:v>
                </c:pt>
                <c:pt idx="347">
                  <c:v>92.832470278488032</c:v>
                </c:pt>
                <c:pt idx="348">
                  <c:v>91.091055618744917</c:v>
                </c:pt>
                <c:pt idx="349">
                  <c:v>90.125711829805468</c:v>
                </c:pt>
                <c:pt idx="350">
                  <c:v>90.125711829805468</c:v>
                </c:pt>
                <c:pt idx="351">
                  <c:v>90.125711829805468</c:v>
                </c:pt>
                <c:pt idx="352">
                  <c:v>92.117751099653731</c:v>
                </c:pt>
                <c:pt idx="353">
                  <c:v>92.091136548806986</c:v>
                </c:pt>
                <c:pt idx="354">
                  <c:v>92.677537158940197</c:v>
                </c:pt>
                <c:pt idx="355">
                  <c:v>92.870337457096696</c:v>
                </c:pt>
                <c:pt idx="356">
                  <c:v>93.628720985565437</c:v>
                </c:pt>
                <c:pt idx="357">
                  <c:v>93.628720985565437</c:v>
                </c:pt>
                <c:pt idx="358">
                  <c:v>93.628720985565437</c:v>
                </c:pt>
                <c:pt idx="359">
                  <c:v>93.719017012343159</c:v>
                </c:pt>
                <c:pt idx="360">
                  <c:v>92.611833618074613</c:v>
                </c:pt>
                <c:pt idx="361">
                  <c:v>93.120493613639752</c:v>
                </c:pt>
                <c:pt idx="362">
                  <c:v>93.949951366168477</c:v>
                </c:pt>
                <c:pt idx="363">
                  <c:v>93.54244192188942</c:v>
                </c:pt>
                <c:pt idx="364">
                  <c:v>93.54244192188942</c:v>
                </c:pt>
                <c:pt idx="365">
                  <c:v>93.54244192188942</c:v>
                </c:pt>
                <c:pt idx="366">
                  <c:v>93.771402346462011</c:v>
                </c:pt>
                <c:pt idx="367">
                  <c:v>93.676049632342071</c:v>
                </c:pt>
                <c:pt idx="368">
                  <c:v>94.392883160881013</c:v>
                </c:pt>
                <c:pt idx="369">
                  <c:v>92.838959601549476</c:v>
                </c:pt>
                <c:pt idx="370">
                  <c:v>93.161863564622621</c:v>
                </c:pt>
                <c:pt idx="371">
                  <c:v>93.161863564622621</c:v>
                </c:pt>
                <c:pt idx="372">
                  <c:v>93.161863564622621</c:v>
                </c:pt>
                <c:pt idx="373">
                  <c:v>94.150312511076677</c:v>
                </c:pt>
                <c:pt idx="374">
                  <c:v>93.668341708542656</c:v>
                </c:pt>
                <c:pt idx="375">
                  <c:v>94.203181245899273</c:v>
                </c:pt>
                <c:pt idx="376">
                  <c:v>95.127585280687583</c:v>
                </c:pt>
                <c:pt idx="377">
                  <c:v>94.702502272902791</c:v>
                </c:pt>
                <c:pt idx="378">
                  <c:v>94.702502272902791</c:v>
                </c:pt>
                <c:pt idx="379">
                  <c:v>94.702502272902791</c:v>
                </c:pt>
                <c:pt idx="380">
                  <c:v>93.633121632816071</c:v>
                </c:pt>
                <c:pt idx="381">
                  <c:v>93.476603282226904</c:v>
                </c:pt>
                <c:pt idx="382">
                  <c:v>93.165131178973894</c:v>
                </c:pt>
                <c:pt idx="383">
                  <c:v>92.248385080224992</c:v>
                </c:pt>
                <c:pt idx="384">
                  <c:v>93.034605146406321</c:v>
                </c:pt>
                <c:pt idx="385">
                  <c:v>93.034605146406321</c:v>
                </c:pt>
                <c:pt idx="386">
                  <c:v>93.034605146406321</c:v>
                </c:pt>
                <c:pt idx="387">
                  <c:v>92.726066769842959</c:v>
                </c:pt>
                <c:pt idx="388">
                  <c:v>92.668914990115056</c:v>
                </c:pt>
                <c:pt idx="389">
                  <c:v>93.143351412006652</c:v>
                </c:pt>
                <c:pt idx="390">
                  <c:v>92.721211521790877</c:v>
                </c:pt>
                <c:pt idx="391">
                  <c:v>92.724987781889169</c:v>
                </c:pt>
                <c:pt idx="392">
                  <c:v>92.724987781889169</c:v>
                </c:pt>
                <c:pt idx="393">
                  <c:v>92.724987781889169</c:v>
                </c:pt>
                <c:pt idx="394">
                  <c:v>91.591524284063951</c:v>
                </c:pt>
                <c:pt idx="395">
                  <c:v>91.550485118996221</c:v>
                </c:pt>
                <c:pt idx="396">
                  <c:v>93.506767817224826</c:v>
                </c:pt>
                <c:pt idx="397">
                  <c:v>93.362702253049065</c:v>
                </c:pt>
                <c:pt idx="398">
                  <c:v>91.196868777037594</c:v>
                </c:pt>
                <c:pt idx="399">
                  <c:v>91.196868777037594</c:v>
                </c:pt>
                <c:pt idx="400">
                  <c:v>91.196868777037594</c:v>
                </c:pt>
                <c:pt idx="401">
                  <c:v>90.225206354238523</c:v>
                </c:pt>
                <c:pt idx="402">
                  <c:v>90.730640919079448</c:v>
                </c:pt>
                <c:pt idx="403">
                  <c:v>89.689520690179023</c:v>
                </c:pt>
                <c:pt idx="404">
                  <c:v>89.746593084806747</c:v>
                </c:pt>
                <c:pt idx="405">
                  <c:v>89.243036812220609</c:v>
                </c:pt>
                <c:pt idx="406">
                  <c:v>89.243036812220609</c:v>
                </c:pt>
                <c:pt idx="407">
                  <c:v>89.243036812220609</c:v>
                </c:pt>
                <c:pt idx="408">
                  <c:v>89.253532406292422</c:v>
                </c:pt>
                <c:pt idx="409">
                  <c:v>89.040606074150119</c:v>
                </c:pt>
                <c:pt idx="410">
                  <c:v>88.386796219885454</c:v>
                </c:pt>
                <c:pt idx="411">
                  <c:v>87.729960035670558</c:v>
                </c:pt>
                <c:pt idx="412">
                  <c:v>88.265396544084965</c:v>
                </c:pt>
                <c:pt idx="413">
                  <c:v>88.265396544084965</c:v>
                </c:pt>
                <c:pt idx="414">
                  <c:v>88.265396544084965</c:v>
                </c:pt>
                <c:pt idx="415">
                  <c:v>88.097554504046258</c:v>
                </c:pt>
                <c:pt idx="416">
                  <c:v>87.296987889112174</c:v>
                </c:pt>
                <c:pt idx="417">
                  <c:v>87.380269643454284</c:v>
                </c:pt>
                <c:pt idx="418">
                  <c:v>87.46563050529322</c:v>
                </c:pt>
                <c:pt idx="419">
                  <c:v>86.490182670704215</c:v>
                </c:pt>
                <c:pt idx="420">
                  <c:v>86.490182670704215</c:v>
                </c:pt>
                <c:pt idx="421">
                  <c:v>86.490182670704215</c:v>
                </c:pt>
                <c:pt idx="422">
                  <c:v>86.558295903237465</c:v>
                </c:pt>
                <c:pt idx="423">
                  <c:v>86.818107533910691</c:v>
                </c:pt>
                <c:pt idx="424">
                  <c:v>87.938597701276166</c:v>
                </c:pt>
                <c:pt idx="425">
                  <c:v>87.547310770650469</c:v>
                </c:pt>
                <c:pt idx="426">
                  <c:v>87.848437577514687</c:v>
                </c:pt>
                <c:pt idx="427">
                  <c:v>87.848437577514687</c:v>
                </c:pt>
                <c:pt idx="428">
                  <c:v>87.848437577514687</c:v>
                </c:pt>
                <c:pt idx="429">
                  <c:v>87.335258626830893</c:v>
                </c:pt>
                <c:pt idx="430">
                  <c:v>86.107464138098607</c:v>
                </c:pt>
                <c:pt idx="431">
                  <c:v>85.652557129651427</c:v>
                </c:pt>
                <c:pt idx="432">
                  <c:v>85.82922691655213</c:v>
                </c:pt>
                <c:pt idx="433">
                  <c:v>87.006272758539637</c:v>
                </c:pt>
                <c:pt idx="434">
                  <c:v>87.006272758539637</c:v>
                </c:pt>
                <c:pt idx="435">
                  <c:v>87.006272758539637</c:v>
                </c:pt>
                <c:pt idx="436">
                  <c:v>87.577138021419941</c:v>
                </c:pt>
                <c:pt idx="437">
                  <c:v>87.91143325224634</c:v>
                </c:pt>
                <c:pt idx="438">
                  <c:v>86.440457336254852</c:v>
                </c:pt>
                <c:pt idx="439">
                  <c:v>86.620395784530473</c:v>
                </c:pt>
                <c:pt idx="440">
                  <c:v>86.268268918479905</c:v>
                </c:pt>
                <c:pt idx="441">
                  <c:v>86.268268918479905</c:v>
                </c:pt>
                <c:pt idx="442">
                  <c:v>86.268268918479905</c:v>
                </c:pt>
                <c:pt idx="443">
                  <c:v>86.055854338106528</c:v>
                </c:pt>
                <c:pt idx="444">
                  <c:v>85.873623975558772</c:v>
                </c:pt>
                <c:pt idx="445">
                  <c:v>87.181422827603072</c:v>
                </c:pt>
                <c:pt idx="446">
                  <c:v>88.056180209846886</c:v>
                </c:pt>
                <c:pt idx="447">
                  <c:v>87.774412072478825</c:v>
                </c:pt>
                <c:pt idx="448">
                  <c:v>87.774412072478825</c:v>
                </c:pt>
                <c:pt idx="449">
                  <c:v>87.774412072478825</c:v>
                </c:pt>
                <c:pt idx="450">
                  <c:v>87.048092416090796</c:v>
                </c:pt>
                <c:pt idx="451">
                  <c:v>87.820844859318598</c:v>
                </c:pt>
                <c:pt idx="452">
                  <c:v>88.044018694686514</c:v>
                </c:pt>
                <c:pt idx="453">
                  <c:v>89.432837831012876</c:v>
                </c:pt>
                <c:pt idx="454">
                  <c:v>89.553949719603011</c:v>
                </c:pt>
                <c:pt idx="455">
                  <c:v>89.553949719603011</c:v>
                </c:pt>
                <c:pt idx="456">
                  <c:v>89.553949719603011</c:v>
                </c:pt>
                <c:pt idx="457">
                  <c:v>89.288035318109436</c:v>
                </c:pt>
                <c:pt idx="458">
                  <c:v>88.8831878642536</c:v>
                </c:pt>
                <c:pt idx="459">
                  <c:v>88.334377199740544</c:v>
                </c:pt>
                <c:pt idx="460">
                  <c:v>87.327123287671157</c:v>
                </c:pt>
                <c:pt idx="461">
                  <c:v>87.591577859729853</c:v>
                </c:pt>
                <c:pt idx="462">
                  <c:v>87.591577859729853</c:v>
                </c:pt>
                <c:pt idx="463">
                  <c:v>87.591577859729853</c:v>
                </c:pt>
                <c:pt idx="464">
                  <c:v>86.089788951129705</c:v>
                </c:pt>
                <c:pt idx="465">
                  <c:v>86.633109011643626</c:v>
                </c:pt>
                <c:pt idx="466">
                  <c:v>86.525400263856454</c:v>
                </c:pt>
                <c:pt idx="467">
                  <c:v>88.30843565760884</c:v>
                </c:pt>
                <c:pt idx="468">
                  <c:v>88.118987061815687</c:v>
                </c:pt>
                <c:pt idx="469">
                  <c:v>88.118987061815687</c:v>
                </c:pt>
                <c:pt idx="470">
                  <c:v>88.118987061815687</c:v>
                </c:pt>
                <c:pt idx="471">
                  <c:v>87.004372819731657</c:v>
                </c:pt>
                <c:pt idx="472">
                  <c:v>87.744450317124659</c:v>
                </c:pt>
                <c:pt idx="473">
                  <c:v>87.575213069352557</c:v>
                </c:pt>
                <c:pt idx="474">
                  <c:v>88.372093023255758</c:v>
                </c:pt>
                <c:pt idx="475">
                  <c:v>88.012900518008749</c:v>
                </c:pt>
                <c:pt idx="476">
                  <c:v>88.012900518008749</c:v>
                </c:pt>
                <c:pt idx="477">
                  <c:v>88.012900518008749</c:v>
                </c:pt>
                <c:pt idx="478">
                  <c:v>87.883800952885068</c:v>
                </c:pt>
                <c:pt idx="479">
                  <c:v>86.932710769767795</c:v>
                </c:pt>
                <c:pt idx="480">
                  <c:v>86.618983434062301</c:v>
                </c:pt>
                <c:pt idx="481">
                  <c:v>87.074725863114537</c:v>
                </c:pt>
                <c:pt idx="482">
                  <c:v>87.13518714940237</c:v>
                </c:pt>
                <c:pt idx="483">
                  <c:v>87.13518714940237</c:v>
                </c:pt>
                <c:pt idx="484">
                  <c:v>87.13518714940237</c:v>
                </c:pt>
                <c:pt idx="485">
                  <c:v>86.605803716987225</c:v>
                </c:pt>
                <c:pt idx="486">
                  <c:v>86.269669854982979</c:v>
                </c:pt>
                <c:pt idx="487">
                  <c:v>87.136139967195135</c:v>
                </c:pt>
                <c:pt idx="488">
                  <c:v>87.149005047218523</c:v>
                </c:pt>
                <c:pt idx="489">
                  <c:v>86.580397014244227</c:v>
                </c:pt>
                <c:pt idx="490">
                  <c:v>86.580397014244227</c:v>
                </c:pt>
                <c:pt idx="491">
                  <c:v>86.580397014244227</c:v>
                </c:pt>
                <c:pt idx="492">
                  <c:v>86.941247067808575</c:v>
                </c:pt>
                <c:pt idx="493">
                  <c:v>85.527071336957462</c:v>
                </c:pt>
                <c:pt idx="494">
                  <c:v>84.453841629175031</c:v>
                </c:pt>
                <c:pt idx="495">
                  <c:v>82.98420731993059</c:v>
                </c:pt>
                <c:pt idx="496">
                  <c:v>82.399412658856079</c:v>
                </c:pt>
                <c:pt idx="497">
                  <c:v>82.399412658856079</c:v>
                </c:pt>
                <c:pt idx="498">
                  <c:v>82.399412658856079</c:v>
                </c:pt>
                <c:pt idx="499">
                  <c:v>83.749086953551512</c:v>
                </c:pt>
                <c:pt idx="500">
                  <c:v>83.547568621694666</c:v>
                </c:pt>
                <c:pt idx="501">
                  <c:v>82.781618628617082</c:v>
                </c:pt>
                <c:pt idx="502">
                  <c:v>82.436067201853788</c:v>
                </c:pt>
                <c:pt idx="503">
                  <c:v>81.932170452968052</c:v>
                </c:pt>
                <c:pt idx="504">
                  <c:v>81.932170452968052</c:v>
                </c:pt>
                <c:pt idx="505">
                  <c:v>81.932170452968052</c:v>
                </c:pt>
                <c:pt idx="506">
                  <c:v>82.899171902958614</c:v>
                </c:pt>
                <c:pt idx="507">
                  <c:v>82.99760441620657</c:v>
                </c:pt>
                <c:pt idx="508">
                  <c:v>82.80355380059224</c:v>
                </c:pt>
                <c:pt idx="509">
                  <c:v>80.480747380381217</c:v>
                </c:pt>
                <c:pt idx="510">
                  <c:v>81.093375532364135</c:v>
                </c:pt>
                <c:pt idx="511">
                  <c:v>81.093375532364135</c:v>
                </c:pt>
                <c:pt idx="512">
                  <c:v>81.093375532364135</c:v>
                </c:pt>
                <c:pt idx="513">
                  <c:v>81.033588578052985</c:v>
                </c:pt>
                <c:pt idx="514">
                  <c:v>80.906063436624265</c:v>
                </c:pt>
                <c:pt idx="515">
                  <c:v>80.794910141694729</c:v>
                </c:pt>
                <c:pt idx="516">
                  <c:v>81.198732384319854</c:v>
                </c:pt>
                <c:pt idx="517">
                  <c:v>81.60786522607404</c:v>
                </c:pt>
                <c:pt idx="518">
                  <c:v>81.60786522607404</c:v>
                </c:pt>
                <c:pt idx="519">
                  <c:v>81.60786522607404</c:v>
                </c:pt>
                <c:pt idx="520">
                  <c:v>82.676405590197447</c:v>
                </c:pt>
                <c:pt idx="521">
                  <c:v>82.995443301653438</c:v>
                </c:pt>
                <c:pt idx="522">
                  <c:v>83.476675850365083</c:v>
                </c:pt>
                <c:pt idx="523">
                  <c:v>84.611668268235334</c:v>
                </c:pt>
                <c:pt idx="524">
                  <c:v>84.969397112452285</c:v>
                </c:pt>
                <c:pt idx="525">
                  <c:v>84.969397112452285</c:v>
                </c:pt>
                <c:pt idx="526">
                  <c:v>84.969397112452285</c:v>
                </c:pt>
                <c:pt idx="527">
                  <c:v>85.821369721381586</c:v>
                </c:pt>
                <c:pt idx="528">
                  <c:v>85.55278202753847</c:v>
                </c:pt>
                <c:pt idx="529">
                  <c:v>86.869688925711756</c:v>
                </c:pt>
                <c:pt idx="530">
                  <c:v>87.459870598113312</c:v>
                </c:pt>
                <c:pt idx="531">
                  <c:v>87.63107105742111</c:v>
                </c:pt>
                <c:pt idx="532">
                  <c:v>87.63107105742111</c:v>
                </c:pt>
                <c:pt idx="533">
                  <c:v>87.63107105742111</c:v>
                </c:pt>
                <c:pt idx="534">
                  <c:v>87.591577859729938</c:v>
                </c:pt>
                <c:pt idx="535">
                  <c:v>86.718903036238999</c:v>
                </c:pt>
                <c:pt idx="536">
                  <c:v>87.012923197877285</c:v>
                </c:pt>
                <c:pt idx="537">
                  <c:v>86.043309956106981</c:v>
                </c:pt>
                <c:pt idx="538">
                  <c:v>84.97936462232461</c:v>
                </c:pt>
                <c:pt idx="539">
                  <c:v>84.97936462232461</c:v>
                </c:pt>
                <c:pt idx="540">
                  <c:v>84.97936462232461</c:v>
                </c:pt>
                <c:pt idx="541">
                  <c:v>85.450948221782582</c:v>
                </c:pt>
                <c:pt idx="542">
                  <c:v>86.055854338106684</c:v>
                </c:pt>
                <c:pt idx="543">
                  <c:v>85.427130291221587</c:v>
                </c:pt>
                <c:pt idx="544">
                  <c:v>84.931360845839052</c:v>
                </c:pt>
                <c:pt idx="545">
                  <c:v>84.554208557710197</c:v>
                </c:pt>
                <c:pt idx="546">
                  <c:v>84.554208557710197</c:v>
                </c:pt>
                <c:pt idx="547">
                  <c:v>84.554208557710197</c:v>
                </c:pt>
                <c:pt idx="548">
                  <c:v>85.03740382255333</c:v>
                </c:pt>
                <c:pt idx="549">
                  <c:v>85.467445340026117</c:v>
                </c:pt>
                <c:pt idx="550">
                  <c:v>84.8856718278127</c:v>
                </c:pt>
                <c:pt idx="551">
                  <c:v>83.401974995944329</c:v>
                </c:pt>
                <c:pt idx="552">
                  <c:v>84.471299093655617</c:v>
                </c:pt>
                <c:pt idx="553">
                  <c:v>84.471299093655617</c:v>
                </c:pt>
                <c:pt idx="554">
                  <c:v>84.471299093655617</c:v>
                </c:pt>
                <c:pt idx="555">
                  <c:v>84.79579458148001</c:v>
                </c:pt>
                <c:pt idx="556">
                  <c:v>86.192685855209803</c:v>
                </c:pt>
                <c:pt idx="557">
                  <c:v>87.880893300248147</c:v>
                </c:pt>
                <c:pt idx="558">
                  <c:v>88.894590644905804</c:v>
                </c:pt>
                <c:pt idx="559">
                  <c:v>88.013386570354058</c:v>
                </c:pt>
                <c:pt idx="560">
                  <c:v>88.013386570354058</c:v>
                </c:pt>
                <c:pt idx="561">
                  <c:v>88.013386570354058</c:v>
                </c:pt>
                <c:pt idx="562">
                  <c:v>88.365233205438145</c:v>
                </c:pt>
                <c:pt idx="563">
                  <c:v>89.248534196482083</c:v>
                </c:pt>
                <c:pt idx="564">
                  <c:v>89.193091637657957</c:v>
                </c:pt>
                <c:pt idx="565">
                  <c:v>88.913436433018688</c:v>
                </c:pt>
                <c:pt idx="566">
                  <c:v>88.737193763919819</c:v>
                </c:pt>
                <c:pt idx="567">
                  <c:v>88.737193763919819</c:v>
                </c:pt>
                <c:pt idx="568">
                  <c:v>88.737193763919819</c:v>
                </c:pt>
                <c:pt idx="569">
                  <c:v>89.813859913100814</c:v>
                </c:pt>
                <c:pt idx="570">
                  <c:v>90.818018634071279</c:v>
                </c:pt>
                <c:pt idx="571">
                  <c:v>90.47721776253789</c:v>
                </c:pt>
                <c:pt idx="572">
                  <c:v>89.327571421365022</c:v>
                </c:pt>
                <c:pt idx="573">
                  <c:v>90.392032306365991</c:v>
                </c:pt>
                <c:pt idx="574">
                  <c:v>90.392032306365991</c:v>
                </c:pt>
                <c:pt idx="575">
                  <c:v>90.392032306365991</c:v>
                </c:pt>
                <c:pt idx="576">
                  <c:v>89.293538247768666</c:v>
                </c:pt>
                <c:pt idx="577">
                  <c:v>87.078531971740944</c:v>
                </c:pt>
                <c:pt idx="578">
                  <c:v>86.317328783816706</c:v>
                </c:pt>
                <c:pt idx="579">
                  <c:v>85.193322321471513</c:v>
                </c:pt>
                <c:pt idx="580">
                  <c:v>86.345388053636725</c:v>
                </c:pt>
                <c:pt idx="581">
                  <c:v>86.345388053636725</c:v>
                </c:pt>
                <c:pt idx="582">
                  <c:v>86.345388053636725</c:v>
                </c:pt>
                <c:pt idx="583">
                  <c:v>85.220199773276576</c:v>
                </c:pt>
                <c:pt idx="584">
                  <c:v>84.216867469879517</c:v>
                </c:pt>
                <c:pt idx="585">
                  <c:v>83.956002275744353</c:v>
                </c:pt>
                <c:pt idx="586">
                  <c:v>84.547031580734313</c:v>
                </c:pt>
                <c:pt idx="587">
                  <c:v>84.097768959621746</c:v>
                </c:pt>
                <c:pt idx="588">
                  <c:v>84.097768959621746</c:v>
                </c:pt>
                <c:pt idx="589">
                  <c:v>84.097768959621746</c:v>
                </c:pt>
                <c:pt idx="590">
                  <c:v>83.515608214684349</c:v>
                </c:pt>
                <c:pt idx="591">
                  <c:v>83.228191844919763</c:v>
                </c:pt>
                <c:pt idx="592">
                  <c:v>83.128778355597035</c:v>
                </c:pt>
                <c:pt idx="593">
                  <c:v>83.586128768330269</c:v>
                </c:pt>
                <c:pt idx="594">
                  <c:v>83.891479886721328</c:v>
                </c:pt>
                <c:pt idx="595">
                  <c:v>83.891479886721328</c:v>
                </c:pt>
                <c:pt idx="596">
                  <c:v>83.891479886721328</c:v>
                </c:pt>
                <c:pt idx="597">
                  <c:v>84.033914749119432</c:v>
                </c:pt>
                <c:pt idx="598">
                  <c:v>84.771438601716994</c:v>
                </c:pt>
                <c:pt idx="599">
                  <c:v>86.300034656038818</c:v>
                </c:pt>
                <c:pt idx="600">
                  <c:v>84.697554287171954</c:v>
                </c:pt>
                <c:pt idx="601">
                  <c:v>85.558293472483925</c:v>
                </c:pt>
                <c:pt idx="602">
                  <c:v>85.558293472483925</c:v>
                </c:pt>
                <c:pt idx="603">
                  <c:v>85.558293472483925</c:v>
                </c:pt>
                <c:pt idx="604">
                  <c:v>85.583563350481697</c:v>
                </c:pt>
                <c:pt idx="605">
                  <c:v>86.237926463028614</c:v>
                </c:pt>
                <c:pt idx="606">
                  <c:v>85.31097942862651</c:v>
                </c:pt>
                <c:pt idx="607">
                  <c:v>84.431918117377819</c:v>
                </c:pt>
                <c:pt idx="608">
                  <c:v>84.583826471852646</c:v>
                </c:pt>
                <c:pt idx="609">
                  <c:v>84.583826471852646</c:v>
                </c:pt>
                <c:pt idx="610">
                  <c:v>84.583826471852646</c:v>
                </c:pt>
                <c:pt idx="611">
                  <c:v>83.53618265874141</c:v>
                </c:pt>
                <c:pt idx="612">
                  <c:v>82.984207319930647</c:v>
                </c:pt>
                <c:pt idx="613">
                  <c:v>83.010573467368104</c:v>
                </c:pt>
                <c:pt idx="614">
                  <c:v>83.107103933419225</c:v>
                </c:pt>
                <c:pt idx="615">
                  <c:v>83.306500512262957</c:v>
                </c:pt>
                <c:pt idx="616">
                  <c:v>83.306500512262957</c:v>
                </c:pt>
                <c:pt idx="617">
                  <c:v>83.306500512262957</c:v>
                </c:pt>
                <c:pt idx="618">
                  <c:v>84.44310216019457</c:v>
                </c:pt>
                <c:pt idx="619">
                  <c:v>84.247140168735342</c:v>
                </c:pt>
                <c:pt idx="620">
                  <c:v>84.693953468598238</c:v>
                </c:pt>
                <c:pt idx="621">
                  <c:v>83.797525593231939</c:v>
                </c:pt>
                <c:pt idx="622">
                  <c:v>83.837198903717606</c:v>
                </c:pt>
                <c:pt idx="623">
                  <c:v>83.837198903717606</c:v>
                </c:pt>
                <c:pt idx="624">
                  <c:v>83.837198903717606</c:v>
                </c:pt>
                <c:pt idx="625">
                  <c:v>83.829261236619956</c:v>
                </c:pt>
                <c:pt idx="626">
                  <c:v>84.151943649477801</c:v>
                </c:pt>
                <c:pt idx="627">
                  <c:v>84.587866886046399</c:v>
                </c:pt>
                <c:pt idx="628">
                  <c:v>84.084457997868526</c:v>
                </c:pt>
                <c:pt idx="629">
                  <c:v>84.974380575090819</c:v>
                </c:pt>
                <c:pt idx="630">
                  <c:v>84.974380575090819</c:v>
                </c:pt>
                <c:pt idx="631">
                  <c:v>84.974380575090819</c:v>
                </c:pt>
                <c:pt idx="632">
                  <c:v>84.888384653489126</c:v>
                </c:pt>
                <c:pt idx="633">
                  <c:v>83.53837202597802</c:v>
                </c:pt>
                <c:pt idx="634">
                  <c:v>82.965631409622418</c:v>
                </c:pt>
                <c:pt idx="635">
                  <c:v>83.960867572451406</c:v>
                </c:pt>
                <c:pt idx="636">
                  <c:v>84.223098305729707</c:v>
                </c:pt>
                <c:pt idx="637">
                  <c:v>84.223098305729707</c:v>
                </c:pt>
                <c:pt idx="638">
                  <c:v>84.223098305729707</c:v>
                </c:pt>
                <c:pt idx="639">
                  <c:v>82.934977753493143</c:v>
                </c:pt>
                <c:pt idx="640">
                  <c:v>82.375987884363951</c:v>
                </c:pt>
                <c:pt idx="641">
                  <c:v>82.43393523092287</c:v>
                </c:pt>
                <c:pt idx="642">
                  <c:v>81.65553141779732</c:v>
                </c:pt>
                <c:pt idx="643">
                  <c:v>82.57616580310885</c:v>
                </c:pt>
                <c:pt idx="644">
                  <c:v>82.57616580310885</c:v>
                </c:pt>
                <c:pt idx="645">
                  <c:v>82.57616580310885</c:v>
                </c:pt>
                <c:pt idx="646">
                  <c:v>82.421571973810828</c:v>
                </c:pt>
                <c:pt idx="647">
                  <c:v>83.80016931239193</c:v>
                </c:pt>
                <c:pt idx="648">
                  <c:v>84.651217141430664</c:v>
                </c:pt>
                <c:pt idx="649">
                  <c:v>83.805016564126888</c:v>
                </c:pt>
                <c:pt idx="650">
                  <c:v>83.870288703413337</c:v>
                </c:pt>
                <c:pt idx="651">
                  <c:v>83.870288703413337</c:v>
                </c:pt>
                <c:pt idx="652">
                  <c:v>83.870288703413337</c:v>
                </c:pt>
                <c:pt idx="653">
                  <c:v>84.903308294709973</c:v>
                </c:pt>
                <c:pt idx="654">
                  <c:v>84.762872232357083</c:v>
                </c:pt>
                <c:pt idx="655">
                  <c:v>83.914007255572059</c:v>
                </c:pt>
                <c:pt idx="656">
                  <c:v>83.775501085488159</c:v>
                </c:pt>
                <c:pt idx="657">
                  <c:v>83.834111854563901</c:v>
                </c:pt>
                <c:pt idx="658">
                  <c:v>83.834111854563901</c:v>
                </c:pt>
                <c:pt idx="659">
                  <c:v>83.834111854563901</c:v>
                </c:pt>
                <c:pt idx="660">
                  <c:v>84.048982691516699</c:v>
                </c:pt>
                <c:pt idx="661">
                  <c:v>83.692792437967782</c:v>
                </c:pt>
                <c:pt idx="662">
                  <c:v>83.329586154610411</c:v>
                </c:pt>
                <c:pt idx="663">
                  <c:v>84.03790279630681</c:v>
                </c:pt>
                <c:pt idx="664">
                  <c:v>84.594152742096497</c:v>
                </c:pt>
                <c:pt idx="665">
                  <c:v>84.594152742096497</c:v>
                </c:pt>
                <c:pt idx="666">
                  <c:v>84.594152742096497</c:v>
                </c:pt>
                <c:pt idx="667">
                  <c:v>84.513853904282172</c:v>
                </c:pt>
                <c:pt idx="668">
                  <c:v>85.459654240487396</c:v>
                </c:pt>
                <c:pt idx="669">
                  <c:v>86.076769771699929</c:v>
                </c:pt>
                <c:pt idx="670">
                  <c:v>86.516006101698679</c:v>
                </c:pt>
                <c:pt idx="671">
                  <c:v>87.277387132812066</c:v>
                </c:pt>
                <c:pt idx="672">
                  <c:v>87.277387132812066</c:v>
                </c:pt>
                <c:pt idx="673">
                  <c:v>87.277387132812066</c:v>
                </c:pt>
                <c:pt idx="674">
                  <c:v>87.12375496102257</c:v>
                </c:pt>
                <c:pt idx="675">
                  <c:v>86.905216319675517</c:v>
                </c:pt>
                <c:pt idx="676">
                  <c:v>86.272004850269653</c:v>
                </c:pt>
                <c:pt idx="677">
                  <c:v>85.408360128617431</c:v>
                </c:pt>
                <c:pt idx="678">
                  <c:v>85.102792759117918</c:v>
                </c:pt>
                <c:pt idx="679">
                  <c:v>85.102792759117918</c:v>
                </c:pt>
                <c:pt idx="680">
                  <c:v>85.102792759117918</c:v>
                </c:pt>
                <c:pt idx="681">
                  <c:v>85.104610553971426</c:v>
                </c:pt>
                <c:pt idx="682">
                  <c:v>87.447873227689826</c:v>
                </c:pt>
                <c:pt idx="683">
                  <c:v>87.657098227299542</c:v>
                </c:pt>
                <c:pt idx="684">
                  <c:v>86.742030468456662</c:v>
                </c:pt>
                <c:pt idx="685">
                  <c:v>86.80864970858984</c:v>
                </c:pt>
                <c:pt idx="686">
                  <c:v>86.80864970858984</c:v>
                </c:pt>
                <c:pt idx="687">
                  <c:v>86.80864970858984</c:v>
                </c:pt>
                <c:pt idx="688">
                  <c:v>86.895265720501456</c:v>
                </c:pt>
                <c:pt idx="689">
                  <c:v>85.502752234514048</c:v>
                </c:pt>
                <c:pt idx="690">
                  <c:v>84.38542427804434</c:v>
                </c:pt>
                <c:pt idx="691">
                  <c:v>84.708358580221386</c:v>
                </c:pt>
                <c:pt idx="692">
                  <c:v>84.866686901928261</c:v>
                </c:pt>
                <c:pt idx="693">
                  <c:v>84.866686901928261</c:v>
                </c:pt>
                <c:pt idx="694">
                  <c:v>84.866686901928261</c:v>
                </c:pt>
                <c:pt idx="695">
                  <c:v>85.43445747093169</c:v>
                </c:pt>
                <c:pt idx="696">
                  <c:v>85.670974261939122</c:v>
                </c:pt>
                <c:pt idx="697">
                  <c:v>84.994773556328312</c:v>
                </c:pt>
                <c:pt idx="698">
                  <c:v>84.527301174785904</c:v>
                </c:pt>
                <c:pt idx="699">
                  <c:v>85.444534395590878</c:v>
                </c:pt>
                <c:pt idx="700">
                  <c:v>85.444534395590878</c:v>
                </c:pt>
                <c:pt idx="701">
                  <c:v>85.444534395590878</c:v>
                </c:pt>
                <c:pt idx="702">
                  <c:v>84.766929770440214</c:v>
                </c:pt>
                <c:pt idx="703">
                  <c:v>84.087119853111915</c:v>
                </c:pt>
                <c:pt idx="704">
                  <c:v>84.053415467701825</c:v>
                </c:pt>
                <c:pt idx="705">
                  <c:v>84.929550444439755</c:v>
                </c:pt>
                <c:pt idx="706">
                  <c:v>84.075142831519514</c:v>
                </c:pt>
                <c:pt idx="707">
                  <c:v>84.075142831519514</c:v>
                </c:pt>
                <c:pt idx="708">
                  <c:v>84.075142831519514</c:v>
                </c:pt>
                <c:pt idx="709">
                  <c:v>83.505106024008043</c:v>
                </c:pt>
                <c:pt idx="710">
                  <c:v>84.0259397901619</c:v>
                </c:pt>
                <c:pt idx="711">
                  <c:v>85.305956408170289</c:v>
                </c:pt>
                <c:pt idx="712">
                  <c:v>86.927494968337371</c:v>
                </c:pt>
                <c:pt idx="713">
                  <c:v>87.031930056411426</c:v>
                </c:pt>
                <c:pt idx="714">
                  <c:v>87.031930056411426</c:v>
                </c:pt>
                <c:pt idx="715">
                  <c:v>87.031930056411426</c:v>
                </c:pt>
                <c:pt idx="716">
                  <c:v>85.750719647036689</c:v>
                </c:pt>
                <c:pt idx="717">
                  <c:v>86.98347896802224</c:v>
                </c:pt>
                <c:pt idx="718">
                  <c:v>86.960222622360462</c:v>
                </c:pt>
                <c:pt idx="719">
                  <c:v>86.799193943684983</c:v>
                </c:pt>
                <c:pt idx="720">
                  <c:v>86.468127587310718</c:v>
                </c:pt>
                <c:pt idx="721">
                  <c:v>86.468127587310718</c:v>
                </c:pt>
                <c:pt idx="722">
                  <c:v>86.468127587310718</c:v>
                </c:pt>
                <c:pt idx="723">
                  <c:v>86.179635537771077</c:v>
                </c:pt>
                <c:pt idx="724">
                  <c:v>85.49678928366427</c:v>
                </c:pt>
                <c:pt idx="725">
                  <c:v>86.626987362413388</c:v>
                </c:pt>
                <c:pt idx="726">
                  <c:v>85.96626552815971</c:v>
                </c:pt>
                <c:pt idx="727">
                  <c:v>86.793994150995815</c:v>
                </c:pt>
                <c:pt idx="728">
                  <c:v>86.793994150995815</c:v>
                </c:pt>
                <c:pt idx="729">
                  <c:v>86.793994150995815</c:v>
                </c:pt>
                <c:pt idx="730">
                  <c:v>86.793994150995815</c:v>
                </c:pt>
                <c:pt idx="731">
                  <c:v>85.826915827454386</c:v>
                </c:pt>
                <c:pt idx="732">
                  <c:v>85.138253771528724</c:v>
                </c:pt>
                <c:pt idx="733">
                  <c:v>85.206075608282632</c:v>
                </c:pt>
                <c:pt idx="734">
                  <c:v>85.293173206602063</c:v>
                </c:pt>
                <c:pt idx="735">
                  <c:v>85.293173206602063</c:v>
                </c:pt>
                <c:pt idx="736">
                  <c:v>85.293173206602063</c:v>
                </c:pt>
                <c:pt idx="737">
                  <c:v>85.405613967396604</c:v>
                </c:pt>
                <c:pt idx="738">
                  <c:v>85.239799111082633</c:v>
                </c:pt>
                <c:pt idx="739">
                  <c:v>85.253022360115608</c:v>
                </c:pt>
                <c:pt idx="740">
                  <c:v>85.489451408892734</c:v>
                </c:pt>
                <c:pt idx="741">
                  <c:v>85.437205487383252</c:v>
                </c:pt>
                <c:pt idx="742">
                  <c:v>85.437205487383252</c:v>
                </c:pt>
                <c:pt idx="743">
                  <c:v>85.437205487383252</c:v>
                </c:pt>
                <c:pt idx="744">
                  <c:v>85.338845099383192</c:v>
                </c:pt>
                <c:pt idx="745">
                  <c:v>84.007337437800516</c:v>
                </c:pt>
                <c:pt idx="746">
                  <c:v>83.632623503111915</c:v>
                </c:pt>
                <c:pt idx="747">
                  <c:v>84.152387992713329</c:v>
                </c:pt>
                <c:pt idx="748">
                  <c:v>83.744246169367628</c:v>
                </c:pt>
                <c:pt idx="749">
                  <c:v>83.744246169367628</c:v>
                </c:pt>
                <c:pt idx="750">
                  <c:v>83.744246169367628</c:v>
                </c:pt>
                <c:pt idx="751">
                  <c:v>82.995875515560627</c:v>
                </c:pt>
                <c:pt idx="752">
                  <c:v>83.698945964256339</c:v>
                </c:pt>
                <c:pt idx="753">
                  <c:v>84.376935742610499</c:v>
                </c:pt>
                <c:pt idx="754">
                  <c:v>84.439970329553958</c:v>
                </c:pt>
                <c:pt idx="755">
                  <c:v>84.825130533363918</c:v>
                </c:pt>
                <c:pt idx="756">
                  <c:v>84.825130533363918</c:v>
                </c:pt>
                <c:pt idx="757">
                  <c:v>84.825130533363918</c:v>
                </c:pt>
                <c:pt idx="758">
                  <c:v>84.719615983669811</c:v>
                </c:pt>
                <c:pt idx="759">
                  <c:v>84.774595069017849</c:v>
                </c:pt>
                <c:pt idx="760">
                  <c:v>85.294542652088111</c:v>
                </c:pt>
                <c:pt idx="761">
                  <c:v>85.688938593142652</c:v>
                </c:pt>
                <c:pt idx="762">
                  <c:v>84.326040371438438</c:v>
                </c:pt>
                <c:pt idx="763">
                  <c:v>84.326040371438438</c:v>
                </c:pt>
                <c:pt idx="764">
                  <c:v>84.326040371438438</c:v>
                </c:pt>
                <c:pt idx="765">
                  <c:v>83.586567156351165</c:v>
                </c:pt>
                <c:pt idx="766">
                  <c:v>84.650317892824745</c:v>
                </c:pt>
                <c:pt idx="767">
                  <c:v>84.317117689072347</c:v>
                </c:pt>
                <c:pt idx="768">
                  <c:v>84.014865969055634</c:v>
                </c:pt>
                <c:pt idx="769">
                  <c:v>83.774179983179181</c:v>
                </c:pt>
                <c:pt idx="770">
                  <c:v>83.774179983179181</c:v>
                </c:pt>
                <c:pt idx="771">
                  <c:v>83.774179983179181</c:v>
                </c:pt>
                <c:pt idx="772">
                  <c:v>84.308196894754985</c:v>
                </c:pt>
                <c:pt idx="773">
                  <c:v>83.325665049355919</c:v>
                </c:pt>
                <c:pt idx="774">
                  <c:v>83.67697323861583</c:v>
                </c:pt>
                <c:pt idx="775">
                  <c:v>84.125291639834074</c:v>
                </c:pt>
                <c:pt idx="776">
                  <c:v>84.396596006079349</c:v>
                </c:pt>
                <c:pt idx="777">
                  <c:v>84.396596006079349</c:v>
                </c:pt>
                <c:pt idx="778">
                  <c:v>84.396596006079349</c:v>
                </c:pt>
                <c:pt idx="779">
                  <c:v>84.051642301120211</c:v>
                </c:pt>
                <c:pt idx="780">
                  <c:v>84.272086973074764</c:v>
                </c:pt>
                <c:pt idx="781">
                  <c:v>84.232891482209709</c:v>
                </c:pt>
                <c:pt idx="782">
                  <c:v>83.164348892425735</c:v>
                </c:pt>
                <c:pt idx="783">
                  <c:v>82.51502772557123</c:v>
                </c:pt>
                <c:pt idx="784">
                  <c:v>82.51502772557123</c:v>
                </c:pt>
                <c:pt idx="785">
                  <c:v>82.51502772557123</c:v>
                </c:pt>
                <c:pt idx="786">
                  <c:v>82.613406043138653</c:v>
                </c:pt>
                <c:pt idx="787">
                  <c:v>83.453945645913009</c:v>
                </c:pt>
                <c:pt idx="788">
                  <c:v>82.68326848249032</c:v>
                </c:pt>
                <c:pt idx="789">
                  <c:v>82.988960633201458</c:v>
                </c:pt>
                <c:pt idx="790">
                  <c:v>83.390628679067632</c:v>
                </c:pt>
                <c:pt idx="791">
                  <c:v>83.390628679067632</c:v>
                </c:pt>
                <c:pt idx="792">
                  <c:v>83.390628679067632</c:v>
                </c:pt>
                <c:pt idx="793">
                  <c:v>83.697187721555608</c:v>
                </c:pt>
                <c:pt idx="794">
                  <c:v>83.992284422333086</c:v>
                </c:pt>
                <c:pt idx="795">
                  <c:v>84.633235798607672</c:v>
                </c:pt>
                <c:pt idx="796">
                  <c:v>85.310066108181971</c:v>
                </c:pt>
                <c:pt idx="797">
                  <c:v>85.092341945507926</c:v>
                </c:pt>
                <c:pt idx="798">
                  <c:v>85.092341945507926</c:v>
                </c:pt>
                <c:pt idx="799">
                  <c:v>85.092341945507926</c:v>
                </c:pt>
                <c:pt idx="800">
                  <c:v>85.320570474110312</c:v>
                </c:pt>
                <c:pt idx="801">
                  <c:v>85.363528264898491</c:v>
                </c:pt>
                <c:pt idx="802">
                  <c:v>85.784413990591219</c:v>
                </c:pt>
                <c:pt idx="803">
                  <c:v>85.070993914807389</c:v>
                </c:pt>
                <c:pt idx="804">
                  <c:v>84.892906414961786</c:v>
                </c:pt>
                <c:pt idx="805">
                  <c:v>84.892906414961786</c:v>
                </c:pt>
                <c:pt idx="806">
                  <c:v>84.892906414961786</c:v>
                </c:pt>
                <c:pt idx="807">
                  <c:v>84.119075266547128</c:v>
                </c:pt>
                <c:pt idx="808">
                  <c:v>84.303737205427382</c:v>
                </c:pt>
                <c:pt idx="809">
                  <c:v>85.210175689981611</c:v>
                </c:pt>
                <c:pt idx="810">
                  <c:v>84.673704567551738</c:v>
                </c:pt>
                <c:pt idx="811">
                  <c:v>83.749967156257497</c:v>
                </c:pt>
                <c:pt idx="812">
                  <c:v>83.749967156257497</c:v>
                </c:pt>
                <c:pt idx="813">
                  <c:v>83.749967156257497</c:v>
                </c:pt>
                <c:pt idx="814">
                  <c:v>84.392126959920049</c:v>
                </c:pt>
                <c:pt idx="815">
                  <c:v>83.96484868920183</c:v>
                </c:pt>
                <c:pt idx="816">
                  <c:v>84.283674440742615</c:v>
                </c:pt>
                <c:pt idx="817">
                  <c:v>84.146167614401449</c:v>
                </c:pt>
                <c:pt idx="818">
                  <c:v>84.408664795296957</c:v>
                </c:pt>
                <c:pt idx="819">
                  <c:v>84.408664795296957</c:v>
                </c:pt>
                <c:pt idx="820">
                  <c:v>84.408664795296957</c:v>
                </c:pt>
                <c:pt idx="821">
                  <c:v>84.140392372183499</c:v>
                </c:pt>
                <c:pt idx="822">
                  <c:v>84.881150836977284</c:v>
                </c:pt>
                <c:pt idx="823">
                  <c:v>85.35255620655316</c:v>
                </c:pt>
                <c:pt idx="824">
                  <c:v>85.166006701188039</c:v>
                </c:pt>
                <c:pt idx="825">
                  <c:v>85.216554379210862</c:v>
                </c:pt>
                <c:pt idx="826">
                  <c:v>85.216554379210862</c:v>
                </c:pt>
                <c:pt idx="827">
                  <c:v>85.216554379210862</c:v>
                </c:pt>
                <c:pt idx="828">
                  <c:v>85.495871980430238</c:v>
                </c:pt>
                <c:pt idx="829">
                  <c:v>86.330888486831526</c:v>
                </c:pt>
                <c:pt idx="830">
                  <c:v>84.877534391027268</c:v>
                </c:pt>
                <c:pt idx="831">
                  <c:v>85.076443457465075</c:v>
                </c:pt>
                <c:pt idx="832">
                  <c:v>84.483837109445503</c:v>
                </c:pt>
                <c:pt idx="833">
                  <c:v>84.483837109445503</c:v>
                </c:pt>
                <c:pt idx="834">
                  <c:v>84.483837109445503</c:v>
                </c:pt>
                <c:pt idx="835">
                  <c:v>83.938757129991089</c:v>
                </c:pt>
                <c:pt idx="836">
                  <c:v>83.643157795295522</c:v>
                </c:pt>
                <c:pt idx="837">
                  <c:v>83.758330004835187</c:v>
                </c:pt>
                <c:pt idx="838">
                  <c:v>83.207768815099172</c:v>
                </c:pt>
                <c:pt idx="839">
                  <c:v>83.426423706898916</c:v>
                </c:pt>
                <c:pt idx="840">
                  <c:v>83.426423706898916</c:v>
                </c:pt>
                <c:pt idx="841">
                  <c:v>83.426423706898916</c:v>
                </c:pt>
                <c:pt idx="842">
                  <c:v>83.032197561738172</c:v>
                </c:pt>
                <c:pt idx="843">
                  <c:v>83.375795845126177</c:v>
                </c:pt>
                <c:pt idx="844">
                  <c:v>82.887099794046179</c:v>
                </c:pt>
                <c:pt idx="845">
                  <c:v>83.738965952080818</c:v>
                </c:pt>
                <c:pt idx="846">
                  <c:v>84.730425906333679</c:v>
                </c:pt>
                <c:pt idx="847">
                  <c:v>84.730425906333679</c:v>
                </c:pt>
                <c:pt idx="848">
                  <c:v>84.730425906333679</c:v>
                </c:pt>
                <c:pt idx="849">
                  <c:v>85.54359786371819</c:v>
                </c:pt>
                <c:pt idx="850">
                  <c:v>84.853131438976575</c:v>
                </c:pt>
                <c:pt idx="851">
                  <c:v>85.751181034575637</c:v>
                </c:pt>
                <c:pt idx="852">
                  <c:v>85.917603803896739</c:v>
                </c:pt>
                <c:pt idx="853">
                  <c:v>86.099555920519606</c:v>
                </c:pt>
                <c:pt idx="854">
                  <c:v>86.099555920519606</c:v>
                </c:pt>
                <c:pt idx="855">
                  <c:v>86.099555920519606</c:v>
                </c:pt>
                <c:pt idx="856">
                  <c:v>86.25472887767981</c:v>
                </c:pt>
                <c:pt idx="857">
                  <c:v>86.071191328721298</c:v>
                </c:pt>
                <c:pt idx="858">
                  <c:v>85.818134823837411</c:v>
                </c:pt>
                <c:pt idx="859">
                  <c:v>86.209470643601435</c:v>
                </c:pt>
                <c:pt idx="860">
                  <c:v>86.399219342947106</c:v>
                </c:pt>
                <c:pt idx="861">
                  <c:v>86.399219342947106</c:v>
                </c:pt>
                <c:pt idx="862">
                  <c:v>86.399219342947106</c:v>
                </c:pt>
                <c:pt idx="863">
                  <c:v>86.75714075743484</c:v>
                </c:pt>
                <c:pt idx="864">
                  <c:v>86.667971808927305</c:v>
                </c:pt>
                <c:pt idx="865">
                  <c:v>87.219592283486236</c:v>
                </c:pt>
                <c:pt idx="866">
                  <c:v>87.625771121301227</c:v>
                </c:pt>
                <c:pt idx="867">
                  <c:v>87.728511270745756</c:v>
                </c:pt>
                <c:pt idx="868">
                  <c:v>87.728511270745756</c:v>
                </c:pt>
                <c:pt idx="869">
                  <c:v>87.728511270745756</c:v>
                </c:pt>
                <c:pt idx="870">
                  <c:v>87.565108459154899</c:v>
                </c:pt>
                <c:pt idx="871">
                  <c:v>88.151643039277118</c:v>
                </c:pt>
                <c:pt idx="872">
                  <c:v>87.249674261751366</c:v>
                </c:pt>
                <c:pt idx="873">
                  <c:v>86.243059839605351</c:v>
                </c:pt>
                <c:pt idx="874">
                  <c:v>86.533386905860908</c:v>
                </c:pt>
                <c:pt idx="875">
                  <c:v>86.533386905860908</c:v>
                </c:pt>
                <c:pt idx="876">
                  <c:v>86.533386905860908</c:v>
                </c:pt>
                <c:pt idx="877">
                  <c:v>86.794466833678399</c:v>
                </c:pt>
                <c:pt idx="878">
                  <c:v>87.196209526519226</c:v>
                </c:pt>
                <c:pt idx="879">
                  <c:v>86.631225335116412</c:v>
                </c:pt>
                <c:pt idx="880">
                  <c:v>84.975286722011759</c:v>
                </c:pt>
                <c:pt idx="881">
                  <c:v>84.803916351833266</c:v>
                </c:pt>
                <c:pt idx="882">
                  <c:v>84.803916351833266</c:v>
                </c:pt>
                <c:pt idx="883">
                  <c:v>84.803916351833266</c:v>
                </c:pt>
                <c:pt idx="884">
                  <c:v>86.076769771699986</c:v>
                </c:pt>
                <c:pt idx="885">
                  <c:v>85.167827197571825</c:v>
                </c:pt>
                <c:pt idx="886">
                  <c:v>84.150610647925831</c:v>
                </c:pt>
                <c:pt idx="887">
                  <c:v>84.00468063125281</c:v>
                </c:pt>
                <c:pt idx="888">
                  <c:v>84.308196894755056</c:v>
                </c:pt>
                <c:pt idx="889">
                  <c:v>84.308196894755056</c:v>
                </c:pt>
                <c:pt idx="890">
                  <c:v>84.308196894755056</c:v>
                </c:pt>
                <c:pt idx="891">
                  <c:v>85.12643015094713</c:v>
                </c:pt>
                <c:pt idx="892">
                  <c:v>85.689399316085016</c:v>
                </c:pt>
                <c:pt idx="893">
                  <c:v>86.693901530193301</c:v>
                </c:pt>
                <c:pt idx="894">
                  <c:v>86.458276823592087</c:v>
                </c:pt>
                <c:pt idx="895">
                  <c:v>86.680699006314683</c:v>
                </c:pt>
                <c:pt idx="896">
                  <c:v>86.680699006314683</c:v>
                </c:pt>
                <c:pt idx="897">
                  <c:v>86.680699006314683</c:v>
                </c:pt>
                <c:pt idx="898">
                  <c:v>87.27021832339473</c:v>
                </c:pt>
                <c:pt idx="899">
                  <c:v>88.336825301805987</c:v>
                </c:pt>
                <c:pt idx="900">
                  <c:v>88.761904761904901</c:v>
                </c:pt>
                <c:pt idx="901">
                  <c:v>88.649334178820681</c:v>
                </c:pt>
                <c:pt idx="902">
                  <c:v>88.692255037815031</c:v>
                </c:pt>
                <c:pt idx="903">
                  <c:v>88.692255037815031</c:v>
                </c:pt>
                <c:pt idx="904">
                  <c:v>88.692255037815031</c:v>
                </c:pt>
                <c:pt idx="905">
                  <c:v>88.030888030888164</c:v>
                </c:pt>
                <c:pt idx="906">
                  <c:v>87.337173044569624</c:v>
                </c:pt>
                <c:pt idx="907">
                  <c:v>87.671564447720769</c:v>
                </c:pt>
                <c:pt idx="908">
                  <c:v>86.27527405602936</c:v>
                </c:pt>
                <c:pt idx="909">
                  <c:v>87.599281054014526</c:v>
                </c:pt>
                <c:pt idx="910">
                  <c:v>87.599281054014526</c:v>
                </c:pt>
                <c:pt idx="911">
                  <c:v>87.599281054014526</c:v>
                </c:pt>
                <c:pt idx="912">
                  <c:v>86.758085325291233</c:v>
                </c:pt>
                <c:pt idx="913">
                  <c:v>85.65485883813561</c:v>
                </c:pt>
                <c:pt idx="914">
                  <c:v>86.542784843120558</c:v>
                </c:pt>
                <c:pt idx="915">
                  <c:v>87.285513207402644</c:v>
                </c:pt>
                <c:pt idx="916">
                  <c:v>87.64986690718716</c:v>
                </c:pt>
                <c:pt idx="917">
                  <c:v>87.64986690718716</c:v>
                </c:pt>
                <c:pt idx="918">
                  <c:v>87.64986690718716</c:v>
                </c:pt>
                <c:pt idx="919">
                  <c:v>87.966264475035189</c:v>
                </c:pt>
                <c:pt idx="920">
                  <c:v>87.829556476501324</c:v>
                </c:pt>
                <c:pt idx="921">
                  <c:v>87.927923951603702</c:v>
                </c:pt>
                <c:pt idx="922">
                  <c:v>88.515904003910194</c:v>
                </c:pt>
                <c:pt idx="923">
                  <c:v>88.763387859446425</c:v>
                </c:pt>
                <c:pt idx="924">
                  <c:v>88.763387859446425</c:v>
                </c:pt>
                <c:pt idx="925">
                  <c:v>88.763387859446425</c:v>
                </c:pt>
                <c:pt idx="926">
                  <c:v>87.526636058083227</c:v>
                </c:pt>
                <c:pt idx="927">
                  <c:v>88.244381322569552</c:v>
                </c:pt>
                <c:pt idx="928">
                  <c:v>87.572806998263786</c:v>
                </c:pt>
                <c:pt idx="929">
                  <c:v>87.286947377645504</c:v>
                </c:pt>
                <c:pt idx="930">
                  <c:v>87.251107254501719</c:v>
                </c:pt>
                <c:pt idx="931">
                  <c:v>87.251107254501719</c:v>
                </c:pt>
                <c:pt idx="932">
                  <c:v>87.251107254501719</c:v>
                </c:pt>
                <c:pt idx="933">
                  <c:v>87.282645008297308</c:v>
                </c:pt>
                <c:pt idx="934">
                  <c:v>86.658075461233722</c:v>
                </c:pt>
                <c:pt idx="935">
                  <c:v>86.892896866072178</c:v>
                </c:pt>
                <c:pt idx="936">
                  <c:v>86.839395177768864</c:v>
                </c:pt>
                <c:pt idx="937">
                  <c:v>87.206706356154953</c:v>
                </c:pt>
                <c:pt idx="938">
                  <c:v>87.206706356154953</c:v>
                </c:pt>
                <c:pt idx="939">
                  <c:v>87.206706356154953</c:v>
                </c:pt>
                <c:pt idx="940">
                  <c:v>86.365040399278342</c:v>
                </c:pt>
                <c:pt idx="941">
                  <c:v>86.945041516186549</c:v>
                </c:pt>
                <c:pt idx="942">
                  <c:v>87.552120243255416</c:v>
                </c:pt>
                <c:pt idx="943">
                  <c:v>87.212432964868256</c:v>
                </c:pt>
                <c:pt idx="944">
                  <c:v>87.253973381220277</c:v>
                </c:pt>
                <c:pt idx="945">
                  <c:v>87.253973381220277</c:v>
                </c:pt>
                <c:pt idx="946">
                  <c:v>87.253973381220277</c:v>
                </c:pt>
                <c:pt idx="947">
                  <c:v>86.042845419600198</c:v>
                </c:pt>
                <c:pt idx="948">
                  <c:v>86.258463636806624</c:v>
                </c:pt>
                <c:pt idx="949">
                  <c:v>86.680227561975983</c:v>
                </c:pt>
                <c:pt idx="950">
                  <c:v>86.799193943685125</c:v>
                </c:pt>
                <c:pt idx="951">
                  <c:v>86.916117210124327</c:v>
                </c:pt>
                <c:pt idx="952">
                  <c:v>86.916117210124327</c:v>
                </c:pt>
                <c:pt idx="953">
                  <c:v>86.916117210124327</c:v>
                </c:pt>
                <c:pt idx="954">
                  <c:v>87.396082388295568</c:v>
                </c:pt>
                <c:pt idx="955">
                  <c:v>87.848437577514943</c:v>
                </c:pt>
                <c:pt idx="956">
                  <c:v>88.233633217993258</c:v>
                </c:pt>
                <c:pt idx="957">
                  <c:v>88.428972512290301</c:v>
                </c:pt>
                <c:pt idx="958">
                  <c:v>89.165146751110754</c:v>
                </c:pt>
                <c:pt idx="959">
                  <c:v>89.165146751110754</c:v>
                </c:pt>
                <c:pt idx="960">
                  <c:v>89.165146751110754</c:v>
                </c:pt>
                <c:pt idx="961">
                  <c:v>90.032030821898644</c:v>
                </c:pt>
                <c:pt idx="962">
                  <c:v>89.432837831013117</c:v>
                </c:pt>
                <c:pt idx="963">
                  <c:v>89.303545312421377</c:v>
                </c:pt>
                <c:pt idx="964">
                  <c:v>88.46087666032065</c:v>
                </c:pt>
                <c:pt idx="965">
                  <c:v>90.021859837209334</c:v>
                </c:pt>
                <c:pt idx="966">
                  <c:v>90.021859837209334</c:v>
                </c:pt>
                <c:pt idx="967">
                  <c:v>90.021859837209334</c:v>
                </c:pt>
                <c:pt idx="968">
                  <c:v>89.838161432702719</c:v>
                </c:pt>
                <c:pt idx="969">
                  <c:v>89.912159455693427</c:v>
                </c:pt>
                <c:pt idx="970">
                  <c:v>89.408253483832041</c:v>
                </c:pt>
                <c:pt idx="971">
                  <c:v>89.815884537569985</c:v>
                </c:pt>
                <c:pt idx="972">
                  <c:v>89.442876144189</c:v>
                </c:pt>
                <c:pt idx="973">
                  <c:v>89.442876144189</c:v>
                </c:pt>
                <c:pt idx="974">
                  <c:v>89.442876144189</c:v>
                </c:pt>
                <c:pt idx="975">
                  <c:v>89.380173632142302</c:v>
                </c:pt>
                <c:pt idx="976">
                  <c:v>88.635036455755497</c:v>
                </c:pt>
                <c:pt idx="977">
                  <c:v>89.233542925291729</c:v>
                </c:pt>
                <c:pt idx="978">
                  <c:v>89.991868816913026</c:v>
                </c:pt>
                <c:pt idx="979">
                  <c:v>89.281532730175783</c:v>
                </c:pt>
                <c:pt idx="980">
                  <c:v>89.281532730175783</c:v>
                </c:pt>
                <c:pt idx="981">
                  <c:v>89.281532730175783</c:v>
                </c:pt>
                <c:pt idx="982">
                  <c:v>89.111302461335612</c:v>
                </c:pt>
                <c:pt idx="983">
                  <c:v>88.807408975916545</c:v>
                </c:pt>
                <c:pt idx="984">
                  <c:v>89.042595986233579</c:v>
                </c:pt>
                <c:pt idx="985">
                  <c:v>89.529801696534065</c:v>
                </c:pt>
                <c:pt idx="986">
                  <c:v>89.938036816740379</c:v>
                </c:pt>
                <c:pt idx="987">
                  <c:v>89.938036816740379</c:v>
                </c:pt>
                <c:pt idx="988">
                  <c:v>89.938036816740379</c:v>
                </c:pt>
                <c:pt idx="989">
                  <c:v>90.453596077007077</c:v>
                </c:pt>
                <c:pt idx="990">
                  <c:v>90.453082699085826</c:v>
                </c:pt>
                <c:pt idx="991">
                  <c:v>90.834064769113425</c:v>
                </c:pt>
                <c:pt idx="992">
                  <c:v>91.098345194204057</c:v>
                </c:pt>
                <c:pt idx="993">
                  <c:v>91.455919568922624</c:v>
                </c:pt>
                <c:pt idx="994">
                  <c:v>91.455919568922624</c:v>
                </c:pt>
                <c:pt idx="995">
                  <c:v>91.455919568922624</c:v>
                </c:pt>
                <c:pt idx="996">
                  <c:v>91.855472239673233</c:v>
                </c:pt>
                <c:pt idx="997">
                  <c:v>92.321060314665218</c:v>
                </c:pt>
                <c:pt idx="998">
                  <c:v>92.285777154967903</c:v>
                </c:pt>
                <c:pt idx="999">
                  <c:v>92.796254891000714</c:v>
                </c:pt>
                <c:pt idx="1000">
                  <c:v>93.117773194430796</c:v>
                </c:pt>
                <c:pt idx="1001">
                  <c:v>93.117773194430796</c:v>
                </c:pt>
                <c:pt idx="1002">
                  <c:v>93.117773194430796</c:v>
                </c:pt>
                <c:pt idx="1003">
                  <c:v>92.28951802973026</c:v>
                </c:pt>
                <c:pt idx="1004">
                  <c:v>91.561004475442687</c:v>
                </c:pt>
                <c:pt idx="1005">
                  <c:v>91.840121706659446</c:v>
                </c:pt>
                <c:pt idx="1006">
                  <c:v>91.003151980266026</c:v>
                </c:pt>
                <c:pt idx="1007">
                  <c:v>91.129599451068017</c:v>
                </c:pt>
                <c:pt idx="1008">
                  <c:v>91.129599451068017</c:v>
                </c:pt>
                <c:pt idx="1009">
                  <c:v>91.129599451068017</c:v>
                </c:pt>
                <c:pt idx="1010">
                  <c:v>91.654733355187261</c:v>
                </c:pt>
                <c:pt idx="1011">
                  <c:v>90.688821236521051</c:v>
                </c:pt>
                <c:pt idx="1012">
                  <c:v>90.270178419711286</c:v>
                </c:pt>
                <c:pt idx="1013">
                  <c:v>90.896750754279154</c:v>
                </c:pt>
                <c:pt idx="1014">
                  <c:v>91.481643055587611</c:v>
                </c:pt>
                <c:pt idx="1015">
                  <c:v>91.481643055587611</c:v>
                </c:pt>
                <c:pt idx="1016">
                  <c:v>91.481643055587611</c:v>
                </c:pt>
                <c:pt idx="1017">
                  <c:v>90.729091354173349</c:v>
                </c:pt>
                <c:pt idx="1018">
                  <c:v>90.383317548446527</c:v>
                </c:pt>
                <c:pt idx="1019">
                  <c:v>90.435631316427276</c:v>
                </c:pt>
                <c:pt idx="1020">
                  <c:v>90.108386527730048</c:v>
                </c:pt>
                <c:pt idx="1021">
                  <c:v>90.515243763914938</c:v>
                </c:pt>
                <c:pt idx="1022">
                  <c:v>90.515243763914938</c:v>
                </c:pt>
                <c:pt idx="1023">
                  <c:v>90.515243763914938</c:v>
                </c:pt>
                <c:pt idx="1024">
                  <c:v>90.487491909201538</c:v>
                </c:pt>
                <c:pt idx="1025">
                  <c:v>90.82060633690466</c:v>
                </c:pt>
                <c:pt idx="1026">
                  <c:v>89.625967978675092</c:v>
                </c:pt>
                <c:pt idx="1027">
                  <c:v>90.17211528668922</c:v>
                </c:pt>
                <c:pt idx="1028">
                  <c:v>90.215502357676314</c:v>
                </c:pt>
                <c:pt idx="1029">
                  <c:v>90.215502357676314</c:v>
                </c:pt>
                <c:pt idx="1030">
                  <c:v>90.215502357676314</c:v>
                </c:pt>
                <c:pt idx="1031">
                  <c:v>90.042204105154468</c:v>
                </c:pt>
                <c:pt idx="1032">
                  <c:v>90.205800448278339</c:v>
                </c:pt>
                <c:pt idx="1033">
                  <c:v>90.273246329527069</c:v>
                </c:pt>
                <c:pt idx="1034">
                  <c:v>90.537354640428703</c:v>
                </c:pt>
                <c:pt idx="1035">
                  <c:v>90.270689723532982</c:v>
                </c:pt>
                <c:pt idx="1036">
                  <c:v>90.270689723532982</c:v>
                </c:pt>
                <c:pt idx="1037">
                  <c:v>90.270689723532982</c:v>
                </c:pt>
                <c:pt idx="1038">
                  <c:v>90.913343335177913</c:v>
                </c:pt>
                <c:pt idx="1039">
                  <c:v>91.595209085266475</c:v>
                </c:pt>
                <c:pt idx="1040">
                  <c:v>90.442303108720225</c:v>
                </c:pt>
                <c:pt idx="1041">
                  <c:v>92.089008049092115</c:v>
                </c:pt>
                <c:pt idx="1042">
                  <c:v>90.551243735866791</c:v>
                </c:pt>
                <c:pt idx="1043">
                  <c:v>90.551243735866791</c:v>
                </c:pt>
                <c:pt idx="1044">
                  <c:v>90.551243735866791</c:v>
                </c:pt>
                <c:pt idx="1045">
                  <c:v>88.835130043143494</c:v>
                </c:pt>
                <c:pt idx="1046">
                  <c:v>87.997835557592552</c:v>
                </c:pt>
                <c:pt idx="1047">
                  <c:v>87.464670468078737</c:v>
                </c:pt>
                <c:pt idx="1048">
                  <c:v>87.228185017541918</c:v>
                </c:pt>
                <c:pt idx="1049">
                  <c:v>87.627216494845541</c:v>
                </c:pt>
                <c:pt idx="1050">
                  <c:v>87.627216494845541</c:v>
                </c:pt>
                <c:pt idx="1051">
                  <c:v>87.627216494845541</c:v>
                </c:pt>
                <c:pt idx="1052">
                  <c:v>88.723855545101969</c:v>
                </c:pt>
                <c:pt idx="1053">
                  <c:v>88.277619298197209</c:v>
                </c:pt>
                <c:pt idx="1054">
                  <c:v>87.97306248620022</c:v>
                </c:pt>
                <c:pt idx="1055">
                  <c:v>88.025539623975604</c:v>
                </c:pt>
                <c:pt idx="1056">
                  <c:v>87.992976993026858</c:v>
                </c:pt>
                <c:pt idx="1057">
                  <c:v>87.992976993026858</c:v>
                </c:pt>
                <c:pt idx="1058">
                  <c:v>87.992976993026858</c:v>
                </c:pt>
                <c:pt idx="1059">
                  <c:v>88.235587224077094</c:v>
                </c:pt>
                <c:pt idx="1060">
                  <c:v>87.583394700108983</c:v>
                </c:pt>
                <c:pt idx="1061">
                  <c:v>87.658544634508715</c:v>
                </c:pt>
                <c:pt idx="1062">
                  <c:v>87.986175903893994</c:v>
                </c:pt>
                <c:pt idx="1063">
                  <c:v>88.260997181133149</c:v>
                </c:pt>
                <c:pt idx="1064">
                  <c:v>88.260997181133149</c:v>
                </c:pt>
                <c:pt idx="1065">
                  <c:v>88.260997181133149</c:v>
                </c:pt>
                <c:pt idx="1066">
                  <c:v>87.888647468207992</c:v>
                </c:pt>
                <c:pt idx="1067">
                  <c:v>87.973548098631753</c:v>
                </c:pt>
                <c:pt idx="1068">
                  <c:v>87.740585774058729</c:v>
                </c:pt>
                <c:pt idx="1069">
                  <c:v>88.462840744461943</c:v>
                </c:pt>
                <c:pt idx="1070">
                  <c:v>88.414745776816332</c:v>
                </c:pt>
                <c:pt idx="1071">
                  <c:v>88.414745776816332</c:v>
                </c:pt>
                <c:pt idx="1072">
                  <c:v>88.414745776816332</c:v>
                </c:pt>
                <c:pt idx="1073">
                  <c:v>89.672867222578731</c:v>
                </c:pt>
                <c:pt idx="1074">
                  <c:v>89.487071506780239</c:v>
                </c:pt>
                <c:pt idx="1075">
                  <c:v>90.044239037702198</c:v>
                </c:pt>
                <c:pt idx="1076">
                  <c:v>89.516224155653177</c:v>
                </c:pt>
                <c:pt idx="1077">
                  <c:v>89.178617992177465</c:v>
                </c:pt>
                <c:pt idx="1078">
                  <c:v>89.178617992177465</c:v>
                </c:pt>
                <c:pt idx="1079">
                  <c:v>89.178617992177465</c:v>
                </c:pt>
                <c:pt idx="1080">
                  <c:v>89.250033600645281</c:v>
                </c:pt>
                <c:pt idx="1081">
                  <c:v>88.032346800119456</c:v>
                </c:pt>
                <c:pt idx="1082">
                  <c:v>86.882001799002524</c:v>
                </c:pt>
                <c:pt idx="1083">
                  <c:v>86.653363709024219</c:v>
                </c:pt>
                <c:pt idx="1084">
                  <c:v>87.062833917860459</c:v>
                </c:pt>
                <c:pt idx="1085">
                  <c:v>87.062833917860459</c:v>
                </c:pt>
                <c:pt idx="1086">
                  <c:v>87.062833917860459</c:v>
                </c:pt>
                <c:pt idx="1087">
                  <c:v>85.881953537999081</c:v>
                </c:pt>
                <c:pt idx="1088">
                  <c:v>85.32331116893144</c:v>
                </c:pt>
                <c:pt idx="1089">
                  <c:v>85.389140707879392</c:v>
                </c:pt>
                <c:pt idx="1090">
                  <c:v>84.582479752895253</c:v>
                </c:pt>
                <c:pt idx="1091">
                  <c:v>85.216098726881086</c:v>
                </c:pt>
                <c:pt idx="1092">
                  <c:v>85.216098726881086</c:v>
                </c:pt>
                <c:pt idx="1093">
                  <c:v>85.216098726881086</c:v>
                </c:pt>
                <c:pt idx="1094">
                  <c:v>84.724570189148821</c:v>
                </c:pt>
                <c:pt idx="1095">
                  <c:v>84.57799099940577</c:v>
                </c:pt>
                <c:pt idx="1096">
                  <c:v>84.766478913692296</c:v>
                </c:pt>
                <c:pt idx="1097">
                  <c:v>85.016083345335986</c:v>
                </c:pt>
                <c:pt idx="1098">
                  <c:v>85.120064946163211</c:v>
                </c:pt>
                <c:pt idx="1099">
                  <c:v>85.120064946163211</c:v>
                </c:pt>
                <c:pt idx="1100">
                  <c:v>85.120064946163211</c:v>
                </c:pt>
                <c:pt idx="1101">
                  <c:v>85.789031716297544</c:v>
                </c:pt>
                <c:pt idx="1102">
                  <c:v>85.246182236367204</c:v>
                </c:pt>
                <c:pt idx="1103">
                  <c:v>84.307304919142965</c:v>
                </c:pt>
                <c:pt idx="1104">
                  <c:v>84.190174326466092</c:v>
                </c:pt>
                <c:pt idx="1105">
                  <c:v>83.404157333947538</c:v>
                </c:pt>
                <c:pt idx="1106">
                  <c:v>83.404157333947538</c:v>
                </c:pt>
                <c:pt idx="1107">
                  <c:v>83.404157333947538</c:v>
                </c:pt>
                <c:pt idx="1108">
                  <c:v>83.687958159171743</c:v>
                </c:pt>
                <c:pt idx="1109">
                  <c:v>84.246249484601648</c:v>
                </c:pt>
                <c:pt idx="1110">
                  <c:v>84.852679664789179</c:v>
                </c:pt>
                <c:pt idx="1111">
                  <c:v>84.637280934678884</c:v>
                </c:pt>
                <c:pt idx="1112">
                  <c:v>85.002933489786301</c:v>
                </c:pt>
                <c:pt idx="1113">
                  <c:v>85.002933489786301</c:v>
                </c:pt>
                <c:pt idx="1114">
                  <c:v>85.002933489786301</c:v>
                </c:pt>
                <c:pt idx="1115">
                  <c:v>85.96626552815988</c:v>
                </c:pt>
                <c:pt idx="1116">
                  <c:v>86.132593997762712</c:v>
                </c:pt>
                <c:pt idx="1117">
                  <c:v>86.204341264732946</c:v>
                </c:pt>
                <c:pt idx="1118">
                  <c:v>86.123750337746742</c:v>
                </c:pt>
                <c:pt idx="1119">
                  <c:v>86.61098098462594</c:v>
                </c:pt>
                <c:pt idx="1120">
                  <c:v>86.61098098462594</c:v>
                </c:pt>
                <c:pt idx="1121">
                  <c:v>86.61098098462594</c:v>
                </c:pt>
                <c:pt idx="1122">
                  <c:v>85.087798914059235</c:v>
                </c:pt>
                <c:pt idx="1123">
                  <c:v>85.288152282688586</c:v>
                </c:pt>
                <c:pt idx="1124">
                  <c:v>85.968584128080309</c:v>
                </c:pt>
                <c:pt idx="1125">
                  <c:v>85.709676031493558</c:v>
                </c:pt>
                <c:pt idx="1126">
                  <c:v>85.365357215550787</c:v>
                </c:pt>
                <c:pt idx="1127">
                  <c:v>85.365357215550787</c:v>
                </c:pt>
                <c:pt idx="1128">
                  <c:v>85.365357215550787</c:v>
                </c:pt>
                <c:pt idx="1129">
                  <c:v>85.013815838605609</c:v>
                </c:pt>
                <c:pt idx="1130">
                  <c:v>85.337474230944494</c:v>
                </c:pt>
                <c:pt idx="1131">
                  <c:v>85.873623975559099</c:v>
                </c:pt>
                <c:pt idx="1132">
                  <c:v>86.439519671971311</c:v>
                </c:pt>
                <c:pt idx="1133">
                  <c:v>86.60109764712297</c:v>
                </c:pt>
                <c:pt idx="1134">
                  <c:v>86.60109764712297</c:v>
                </c:pt>
                <c:pt idx="1135">
                  <c:v>86.60109764712297</c:v>
                </c:pt>
                <c:pt idx="1136">
                  <c:v>86.389852558543126</c:v>
                </c:pt>
                <c:pt idx="1137">
                  <c:v>86.261264918405644</c:v>
                </c:pt>
                <c:pt idx="1138">
                  <c:v>86.02194646702921</c:v>
                </c:pt>
                <c:pt idx="1139">
                  <c:v>86.187092378078646</c:v>
                </c:pt>
                <c:pt idx="1140">
                  <c:v>86.674099252209558</c:v>
                </c:pt>
                <c:pt idx="1141">
                  <c:v>86.674099252209558</c:v>
                </c:pt>
                <c:pt idx="1142">
                  <c:v>86.674099252209558</c:v>
                </c:pt>
                <c:pt idx="1143">
                  <c:v>86.616629618961355</c:v>
                </c:pt>
                <c:pt idx="1144">
                  <c:v>86.591687041564967</c:v>
                </c:pt>
                <c:pt idx="1145">
                  <c:v>86.046561852107985</c:v>
                </c:pt>
                <c:pt idx="1146">
                  <c:v>86.870635945906344</c:v>
                </c:pt>
                <c:pt idx="1147">
                  <c:v>86.688714344770744</c:v>
                </c:pt>
                <c:pt idx="1148">
                  <c:v>86.688714344770744</c:v>
                </c:pt>
                <c:pt idx="1149">
                  <c:v>86.688714344770744</c:v>
                </c:pt>
                <c:pt idx="1150">
                  <c:v>86.697202789594684</c:v>
                </c:pt>
                <c:pt idx="1151">
                  <c:v>86.543724749120472</c:v>
                </c:pt>
                <c:pt idx="1152">
                  <c:v>86.652421420066403</c:v>
                </c:pt>
                <c:pt idx="1153">
                  <c:v>86.321536511650763</c:v>
                </c:pt>
                <c:pt idx="1154">
                  <c:v>85.268530705274486</c:v>
                </c:pt>
                <c:pt idx="1155">
                  <c:v>85.268530705274486</c:v>
                </c:pt>
                <c:pt idx="1156">
                  <c:v>85.268530705274486</c:v>
                </c:pt>
                <c:pt idx="1157">
                  <c:v>85.651176163937592</c:v>
                </c:pt>
                <c:pt idx="1158">
                  <c:v>86.203408715971165</c:v>
                </c:pt>
                <c:pt idx="1159">
                  <c:v>86.949785042446095</c:v>
                </c:pt>
                <c:pt idx="1160">
                  <c:v>87.904159909984614</c:v>
                </c:pt>
                <c:pt idx="1161">
                  <c:v>87.362547005361236</c:v>
                </c:pt>
                <c:pt idx="1162">
                  <c:v>87.362547005361236</c:v>
                </c:pt>
                <c:pt idx="1163">
                  <c:v>87.362547005361236</c:v>
                </c:pt>
                <c:pt idx="1164">
                  <c:v>86.929391550986054</c:v>
                </c:pt>
                <c:pt idx="1165">
                  <c:v>87.503568840181984</c:v>
                </c:pt>
                <c:pt idx="1166">
                  <c:v>86.889106967615461</c:v>
                </c:pt>
                <c:pt idx="1167">
                  <c:v>86.944092873041626</c:v>
                </c:pt>
                <c:pt idx="1168">
                  <c:v>87.581950771834897</c:v>
                </c:pt>
                <c:pt idx="1169">
                  <c:v>87.581950771834897</c:v>
                </c:pt>
                <c:pt idx="1170">
                  <c:v>87.581950771834897</c:v>
                </c:pt>
                <c:pt idx="1171">
                  <c:v>88.120448752329324</c:v>
                </c:pt>
                <c:pt idx="1172">
                  <c:v>87.835365181543736</c:v>
                </c:pt>
                <c:pt idx="1173">
                  <c:v>87.94296498217669</c:v>
                </c:pt>
                <c:pt idx="1174">
                  <c:v>87.762811546637124</c:v>
                </c:pt>
                <c:pt idx="1175">
                  <c:v>87.432041737756663</c:v>
                </c:pt>
                <c:pt idx="1176">
                  <c:v>87.432041737756663</c:v>
                </c:pt>
                <c:pt idx="1177">
                  <c:v>87.432041737756663</c:v>
                </c:pt>
                <c:pt idx="1178">
                  <c:v>87.308465588175807</c:v>
                </c:pt>
                <c:pt idx="1179">
                  <c:v>87.227230185705267</c:v>
                </c:pt>
                <c:pt idx="1180">
                  <c:v>87.255884236979256</c:v>
                </c:pt>
                <c:pt idx="1181">
                  <c:v>87.402313222882285</c:v>
                </c:pt>
                <c:pt idx="1182">
                  <c:v>86.470942503540414</c:v>
                </c:pt>
                <c:pt idx="1183">
                  <c:v>86.470942503540414</c:v>
                </c:pt>
                <c:pt idx="1184">
                  <c:v>86.470942503540414</c:v>
                </c:pt>
                <c:pt idx="1185">
                  <c:v>86.980630583920615</c:v>
                </c:pt>
                <c:pt idx="1186">
                  <c:v>86.276208160326661</c:v>
                </c:pt>
                <c:pt idx="1187">
                  <c:v>84.375595603651036</c:v>
                </c:pt>
                <c:pt idx="1188">
                  <c:v>85.106428426482822</c:v>
                </c:pt>
                <c:pt idx="1189">
                  <c:v>83.280816441706378</c:v>
                </c:pt>
                <c:pt idx="1190">
                  <c:v>83.280816441706378</c:v>
                </c:pt>
                <c:pt idx="1191">
                  <c:v>83.280816441706378</c:v>
                </c:pt>
                <c:pt idx="1192">
                  <c:v>81.068625406304662</c:v>
                </c:pt>
                <c:pt idx="1193">
                  <c:v>80.639970855217342</c:v>
                </c:pt>
                <c:pt idx="1194">
                  <c:v>82.577877261705041</c:v>
                </c:pt>
                <c:pt idx="1195">
                  <c:v>82.091697186036953</c:v>
                </c:pt>
                <c:pt idx="1196">
                  <c:v>83.142222175850236</c:v>
                </c:pt>
                <c:pt idx="1197">
                  <c:v>83.142222175850236</c:v>
                </c:pt>
                <c:pt idx="1198">
                  <c:v>83.142222175850236</c:v>
                </c:pt>
                <c:pt idx="1199">
                  <c:v>84.330056194638914</c:v>
                </c:pt>
                <c:pt idx="1200">
                  <c:v>83.716092702708536</c:v>
                </c:pt>
                <c:pt idx="1201">
                  <c:v>84.551965621518548</c:v>
                </c:pt>
                <c:pt idx="1202">
                  <c:v>84.742590367211676</c:v>
                </c:pt>
                <c:pt idx="1203">
                  <c:v>84.539855822021508</c:v>
                </c:pt>
                <c:pt idx="1204">
                  <c:v>84.539855822021508</c:v>
                </c:pt>
                <c:pt idx="1205">
                  <c:v>84.539855822021508</c:v>
                </c:pt>
                <c:pt idx="1206">
                  <c:v>85.026969061604859</c:v>
                </c:pt>
                <c:pt idx="1207">
                  <c:v>85.592296414051788</c:v>
                </c:pt>
                <c:pt idx="1208">
                  <c:v>85.410648731209463</c:v>
                </c:pt>
                <c:pt idx="1209">
                  <c:v>84.785870085652135</c:v>
                </c:pt>
                <c:pt idx="1210">
                  <c:v>85.177386080617566</c:v>
                </c:pt>
                <c:pt idx="1211">
                  <c:v>85.177386080617566</c:v>
                </c:pt>
                <c:pt idx="1212">
                  <c:v>85.177386080617566</c:v>
                </c:pt>
                <c:pt idx="1213">
                  <c:v>86.029840433571721</c:v>
                </c:pt>
                <c:pt idx="1214">
                  <c:v>85.919456574478573</c:v>
                </c:pt>
                <c:pt idx="1215">
                  <c:v>85.657621051613376</c:v>
                </c:pt>
                <c:pt idx="1216">
                  <c:v>85.822756180701177</c:v>
                </c:pt>
                <c:pt idx="1217">
                  <c:v>86.618041892670561</c:v>
                </c:pt>
                <c:pt idx="1218">
                  <c:v>86.618041892670561</c:v>
                </c:pt>
                <c:pt idx="1219">
                  <c:v>86.618041892670561</c:v>
                </c:pt>
                <c:pt idx="1220">
                  <c:v>87.230094743928831</c:v>
                </c:pt>
                <c:pt idx="1221">
                  <c:v>87.503568840181984</c:v>
                </c:pt>
                <c:pt idx="1222">
                  <c:v>87.254928798637977</c:v>
                </c:pt>
                <c:pt idx="1223">
                  <c:v>87.562702943261201</c:v>
                </c:pt>
                <c:pt idx="1224">
                  <c:v>87.558854392721713</c:v>
                </c:pt>
                <c:pt idx="1225">
                  <c:v>87.558854392721713</c:v>
                </c:pt>
                <c:pt idx="1226">
                  <c:v>87.558854392721713</c:v>
                </c:pt>
                <c:pt idx="1227">
                  <c:v>87.260661742563357</c:v>
                </c:pt>
                <c:pt idx="1228">
                  <c:v>87.016723905411538</c:v>
                </c:pt>
                <c:pt idx="1229">
                  <c:v>87.23295949030377</c:v>
                </c:pt>
                <c:pt idx="1230">
                  <c:v>88.454984931149667</c:v>
                </c:pt>
                <c:pt idx="1231">
                  <c:v>88.322628198378595</c:v>
                </c:pt>
                <c:pt idx="1232">
                  <c:v>88.322628198378595</c:v>
                </c:pt>
                <c:pt idx="1233">
                  <c:v>88.322628198378595</c:v>
                </c:pt>
                <c:pt idx="1234">
                  <c:v>88.11752541979304</c:v>
                </c:pt>
                <c:pt idx="1235">
                  <c:v>88.927327917150407</c:v>
                </c:pt>
                <c:pt idx="1236">
                  <c:v>88.733241281012141</c:v>
                </c:pt>
                <c:pt idx="1237">
                  <c:v>88.502140750901162</c:v>
                </c:pt>
                <c:pt idx="1238">
                  <c:v>89.33157702979193</c:v>
                </c:pt>
                <c:pt idx="1239">
                  <c:v>89.33157702979193</c:v>
                </c:pt>
                <c:pt idx="1240">
                  <c:v>89.33157702979193</c:v>
                </c:pt>
                <c:pt idx="1241">
                  <c:v>89.209567363937268</c:v>
                </c:pt>
                <c:pt idx="1242">
                  <c:v>88.792070823281819</c:v>
                </c:pt>
                <c:pt idx="1243">
                  <c:v>88.884179294267412</c:v>
                </c:pt>
                <c:pt idx="1244">
                  <c:v>89.472000000000151</c:v>
                </c:pt>
                <c:pt idx="1245">
                  <c:v>88.526720991851377</c:v>
                </c:pt>
                <c:pt idx="1246">
                  <c:v>88.5267209918513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04F-4E1F-B06E-48D36AF55A46}"/>
            </c:ext>
          </c:extLst>
        </c:ser>
        <c:ser>
          <c:idx val="2"/>
          <c:order val="2"/>
          <c:tx>
            <c:strRef>
              <c:f>FXHC!$V$11</c:f>
              <c:strCache>
                <c:ptCount val="1"/>
                <c:pt idx="0">
                  <c:v>Nigeria</c:v>
                </c:pt>
              </c:strCache>
            </c:strRef>
          </c:tx>
          <c:spPr>
            <a:ln w="158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FXHC!$S$12:$S$1258</c:f>
              <c:numCache>
                <c:formatCode>m/d/yyyy</c:formatCode>
                <c:ptCount val="1247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  <c:pt idx="243">
                  <c:v>44805</c:v>
                </c:pt>
                <c:pt idx="244">
                  <c:v>44806</c:v>
                </c:pt>
                <c:pt idx="245">
                  <c:v>44807</c:v>
                </c:pt>
                <c:pt idx="246">
                  <c:v>44808</c:v>
                </c:pt>
                <c:pt idx="247">
                  <c:v>44809</c:v>
                </c:pt>
                <c:pt idx="248">
                  <c:v>44810</c:v>
                </c:pt>
                <c:pt idx="249">
                  <c:v>44811</c:v>
                </c:pt>
                <c:pt idx="250">
                  <c:v>44812</c:v>
                </c:pt>
                <c:pt idx="251">
                  <c:v>44813</c:v>
                </c:pt>
                <c:pt idx="252">
                  <c:v>44814</c:v>
                </c:pt>
                <c:pt idx="253">
                  <c:v>44815</c:v>
                </c:pt>
                <c:pt idx="254">
                  <c:v>44816</c:v>
                </c:pt>
                <c:pt idx="255">
                  <c:v>44817</c:v>
                </c:pt>
                <c:pt idx="256">
                  <c:v>44818</c:v>
                </c:pt>
                <c:pt idx="257">
                  <c:v>44819</c:v>
                </c:pt>
                <c:pt idx="258">
                  <c:v>44820</c:v>
                </c:pt>
                <c:pt idx="259">
                  <c:v>44821</c:v>
                </c:pt>
                <c:pt idx="260">
                  <c:v>44822</c:v>
                </c:pt>
                <c:pt idx="261">
                  <c:v>44823</c:v>
                </c:pt>
                <c:pt idx="262">
                  <c:v>44824</c:v>
                </c:pt>
                <c:pt idx="263">
                  <c:v>44825</c:v>
                </c:pt>
                <c:pt idx="264">
                  <c:v>44826</c:v>
                </c:pt>
                <c:pt idx="265">
                  <c:v>44827</c:v>
                </c:pt>
                <c:pt idx="266">
                  <c:v>44828</c:v>
                </c:pt>
                <c:pt idx="267">
                  <c:v>44829</c:v>
                </c:pt>
                <c:pt idx="268">
                  <c:v>44830</c:v>
                </c:pt>
                <c:pt idx="269">
                  <c:v>44831</c:v>
                </c:pt>
                <c:pt idx="270">
                  <c:v>44832</c:v>
                </c:pt>
                <c:pt idx="271">
                  <c:v>44833</c:v>
                </c:pt>
                <c:pt idx="272">
                  <c:v>44834</c:v>
                </c:pt>
                <c:pt idx="273">
                  <c:v>44835</c:v>
                </c:pt>
                <c:pt idx="274">
                  <c:v>44836</c:v>
                </c:pt>
                <c:pt idx="275">
                  <c:v>44837</c:v>
                </c:pt>
                <c:pt idx="276">
                  <c:v>44838</c:v>
                </c:pt>
                <c:pt idx="277">
                  <c:v>44839</c:v>
                </c:pt>
                <c:pt idx="278">
                  <c:v>44840</c:v>
                </c:pt>
                <c:pt idx="279">
                  <c:v>44841</c:v>
                </c:pt>
                <c:pt idx="280">
                  <c:v>44842</c:v>
                </c:pt>
                <c:pt idx="281">
                  <c:v>44843</c:v>
                </c:pt>
                <c:pt idx="282">
                  <c:v>44844</c:v>
                </c:pt>
                <c:pt idx="283">
                  <c:v>44845</c:v>
                </c:pt>
                <c:pt idx="284">
                  <c:v>44846</c:v>
                </c:pt>
                <c:pt idx="285">
                  <c:v>44847</c:v>
                </c:pt>
                <c:pt idx="286">
                  <c:v>44848</c:v>
                </c:pt>
                <c:pt idx="287">
                  <c:v>44849</c:v>
                </c:pt>
                <c:pt idx="288">
                  <c:v>44850</c:v>
                </c:pt>
                <c:pt idx="289">
                  <c:v>44851</c:v>
                </c:pt>
                <c:pt idx="290">
                  <c:v>44852</c:v>
                </c:pt>
                <c:pt idx="291">
                  <c:v>44853</c:v>
                </c:pt>
                <c:pt idx="292">
                  <c:v>44854</c:v>
                </c:pt>
                <c:pt idx="293">
                  <c:v>44855</c:v>
                </c:pt>
                <c:pt idx="294">
                  <c:v>44856</c:v>
                </c:pt>
                <c:pt idx="295">
                  <c:v>44857</c:v>
                </c:pt>
                <c:pt idx="296">
                  <c:v>44858</c:v>
                </c:pt>
                <c:pt idx="297">
                  <c:v>44859</c:v>
                </c:pt>
                <c:pt idx="298">
                  <c:v>44860</c:v>
                </c:pt>
                <c:pt idx="299">
                  <c:v>44861</c:v>
                </c:pt>
                <c:pt idx="300">
                  <c:v>44862</c:v>
                </c:pt>
                <c:pt idx="301">
                  <c:v>44863</c:v>
                </c:pt>
                <c:pt idx="302">
                  <c:v>44864</c:v>
                </c:pt>
                <c:pt idx="303">
                  <c:v>44865</c:v>
                </c:pt>
                <c:pt idx="304">
                  <c:v>44866</c:v>
                </c:pt>
                <c:pt idx="305">
                  <c:v>44867</c:v>
                </c:pt>
                <c:pt idx="306">
                  <c:v>44868</c:v>
                </c:pt>
                <c:pt idx="307">
                  <c:v>44869</c:v>
                </c:pt>
                <c:pt idx="308">
                  <c:v>44870</c:v>
                </c:pt>
                <c:pt idx="309">
                  <c:v>44871</c:v>
                </c:pt>
                <c:pt idx="310">
                  <c:v>44872</c:v>
                </c:pt>
                <c:pt idx="311">
                  <c:v>44873</c:v>
                </c:pt>
                <c:pt idx="312">
                  <c:v>44874</c:v>
                </c:pt>
                <c:pt idx="313">
                  <c:v>44875</c:v>
                </c:pt>
                <c:pt idx="314">
                  <c:v>44876</c:v>
                </c:pt>
                <c:pt idx="315">
                  <c:v>44877</c:v>
                </c:pt>
                <c:pt idx="316">
                  <c:v>44878</c:v>
                </c:pt>
                <c:pt idx="317">
                  <c:v>44879</c:v>
                </c:pt>
                <c:pt idx="318">
                  <c:v>44880</c:v>
                </c:pt>
                <c:pt idx="319">
                  <c:v>44881</c:v>
                </c:pt>
                <c:pt idx="320">
                  <c:v>44882</c:v>
                </c:pt>
                <c:pt idx="321">
                  <c:v>44883</c:v>
                </c:pt>
                <c:pt idx="322">
                  <c:v>44884</c:v>
                </c:pt>
                <c:pt idx="323">
                  <c:v>44885</c:v>
                </c:pt>
                <c:pt idx="324">
                  <c:v>44886</c:v>
                </c:pt>
                <c:pt idx="325">
                  <c:v>44887</c:v>
                </c:pt>
                <c:pt idx="326">
                  <c:v>44888</c:v>
                </c:pt>
                <c:pt idx="327">
                  <c:v>44889</c:v>
                </c:pt>
                <c:pt idx="328">
                  <c:v>44890</c:v>
                </c:pt>
                <c:pt idx="329">
                  <c:v>44891</c:v>
                </c:pt>
                <c:pt idx="330">
                  <c:v>44892</c:v>
                </c:pt>
                <c:pt idx="331">
                  <c:v>44893</c:v>
                </c:pt>
                <c:pt idx="332">
                  <c:v>44894</c:v>
                </c:pt>
                <c:pt idx="333">
                  <c:v>44895</c:v>
                </c:pt>
                <c:pt idx="334">
                  <c:v>44896</c:v>
                </c:pt>
                <c:pt idx="335">
                  <c:v>44897</c:v>
                </c:pt>
                <c:pt idx="336">
                  <c:v>44898</c:v>
                </c:pt>
                <c:pt idx="337">
                  <c:v>44899</c:v>
                </c:pt>
                <c:pt idx="338">
                  <c:v>44900</c:v>
                </c:pt>
                <c:pt idx="339">
                  <c:v>44901</c:v>
                </c:pt>
                <c:pt idx="340">
                  <c:v>44902</c:v>
                </c:pt>
                <c:pt idx="341">
                  <c:v>44903</c:v>
                </c:pt>
                <c:pt idx="342">
                  <c:v>44904</c:v>
                </c:pt>
                <c:pt idx="343">
                  <c:v>44905</c:v>
                </c:pt>
                <c:pt idx="344">
                  <c:v>44906</c:v>
                </c:pt>
                <c:pt idx="345">
                  <c:v>44907</c:v>
                </c:pt>
                <c:pt idx="346">
                  <c:v>44908</c:v>
                </c:pt>
                <c:pt idx="347">
                  <c:v>44909</c:v>
                </c:pt>
                <c:pt idx="348">
                  <c:v>44910</c:v>
                </c:pt>
                <c:pt idx="349">
                  <c:v>44911</c:v>
                </c:pt>
                <c:pt idx="350">
                  <c:v>44912</c:v>
                </c:pt>
                <c:pt idx="351">
                  <c:v>44913</c:v>
                </c:pt>
                <c:pt idx="352">
                  <c:v>44914</c:v>
                </c:pt>
                <c:pt idx="353">
                  <c:v>44915</c:v>
                </c:pt>
                <c:pt idx="354">
                  <c:v>44916</c:v>
                </c:pt>
                <c:pt idx="355">
                  <c:v>44917</c:v>
                </c:pt>
                <c:pt idx="356">
                  <c:v>44918</c:v>
                </c:pt>
                <c:pt idx="357">
                  <c:v>44919</c:v>
                </c:pt>
                <c:pt idx="358">
                  <c:v>44920</c:v>
                </c:pt>
                <c:pt idx="359">
                  <c:v>44921</c:v>
                </c:pt>
                <c:pt idx="360">
                  <c:v>44922</c:v>
                </c:pt>
                <c:pt idx="361">
                  <c:v>44923</c:v>
                </c:pt>
                <c:pt idx="362">
                  <c:v>44924</c:v>
                </c:pt>
                <c:pt idx="363">
                  <c:v>44925</c:v>
                </c:pt>
                <c:pt idx="364">
                  <c:v>44926</c:v>
                </c:pt>
                <c:pt idx="365">
                  <c:v>44927</c:v>
                </c:pt>
                <c:pt idx="366">
                  <c:v>44928</c:v>
                </c:pt>
                <c:pt idx="367">
                  <c:v>44929</c:v>
                </c:pt>
                <c:pt idx="368">
                  <c:v>44930</c:v>
                </c:pt>
                <c:pt idx="369">
                  <c:v>44931</c:v>
                </c:pt>
                <c:pt idx="370">
                  <c:v>44932</c:v>
                </c:pt>
                <c:pt idx="371">
                  <c:v>44933</c:v>
                </c:pt>
                <c:pt idx="372">
                  <c:v>44934</c:v>
                </c:pt>
                <c:pt idx="373">
                  <c:v>44935</c:v>
                </c:pt>
                <c:pt idx="374">
                  <c:v>44936</c:v>
                </c:pt>
                <c:pt idx="375">
                  <c:v>44937</c:v>
                </c:pt>
                <c:pt idx="376">
                  <c:v>44938</c:v>
                </c:pt>
                <c:pt idx="377">
                  <c:v>44939</c:v>
                </c:pt>
                <c:pt idx="378">
                  <c:v>44940</c:v>
                </c:pt>
                <c:pt idx="379">
                  <c:v>44941</c:v>
                </c:pt>
                <c:pt idx="380">
                  <c:v>44942</c:v>
                </c:pt>
                <c:pt idx="381">
                  <c:v>44943</c:v>
                </c:pt>
                <c:pt idx="382">
                  <c:v>44944</c:v>
                </c:pt>
                <c:pt idx="383">
                  <c:v>44945</c:v>
                </c:pt>
                <c:pt idx="384">
                  <c:v>44946</c:v>
                </c:pt>
                <c:pt idx="385">
                  <c:v>44947</c:v>
                </c:pt>
                <c:pt idx="386">
                  <c:v>44948</c:v>
                </c:pt>
                <c:pt idx="387">
                  <c:v>44949</c:v>
                </c:pt>
                <c:pt idx="388">
                  <c:v>44950</c:v>
                </c:pt>
                <c:pt idx="389">
                  <c:v>44951</c:v>
                </c:pt>
                <c:pt idx="390">
                  <c:v>44952</c:v>
                </c:pt>
                <c:pt idx="391">
                  <c:v>44953</c:v>
                </c:pt>
                <c:pt idx="392">
                  <c:v>44954</c:v>
                </c:pt>
                <c:pt idx="393">
                  <c:v>44955</c:v>
                </c:pt>
                <c:pt idx="394">
                  <c:v>44956</c:v>
                </c:pt>
                <c:pt idx="395">
                  <c:v>44957</c:v>
                </c:pt>
                <c:pt idx="396">
                  <c:v>44958</c:v>
                </c:pt>
                <c:pt idx="397">
                  <c:v>44959</c:v>
                </c:pt>
                <c:pt idx="398">
                  <c:v>44960</c:v>
                </c:pt>
                <c:pt idx="399">
                  <c:v>44961</c:v>
                </c:pt>
                <c:pt idx="400">
                  <c:v>44962</c:v>
                </c:pt>
                <c:pt idx="401">
                  <c:v>44963</c:v>
                </c:pt>
                <c:pt idx="402">
                  <c:v>44964</c:v>
                </c:pt>
                <c:pt idx="403">
                  <c:v>44965</c:v>
                </c:pt>
                <c:pt idx="404">
                  <c:v>44966</c:v>
                </c:pt>
                <c:pt idx="405">
                  <c:v>44967</c:v>
                </c:pt>
                <c:pt idx="406">
                  <c:v>44968</c:v>
                </c:pt>
                <c:pt idx="407">
                  <c:v>44969</c:v>
                </c:pt>
                <c:pt idx="408">
                  <c:v>44970</c:v>
                </c:pt>
                <c:pt idx="409">
                  <c:v>44971</c:v>
                </c:pt>
                <c:pt idx="410">
                  <c:v>44972</c:v>
                </c:pt>
                <c:pt idx="411">
                  <c:v>44973</c:v>
                </c:pt>
                <c:pt idx="412">
                  <c:v>44974</c:v>
                </c:pt>
                <c:pt idx="413">
                  <c:v>44975</c:v>
                </c:pt>
                <c:pt idx="414">
                  <c:v>44976</c:v>
                </c:pt>
                <c:pt idx="415">
                  <c:v>44977</c:v>
                </c:pt>
                <c:pt idx="416">
                  <c:v>44978</c:v>
                </c:pt>
                <c:pt idx="417">
                  <c:v>44979</c:v>
                </c:pt>
                <c:pt idx="418">
                  <c:v>44980</c:v>
                </c:pt>
                <c:pt idx="419">
                  <c:v>44981</c:v>
                </c:pt>
                <c:pt idx="420">
                  <c:v>44982</c:v>
                </c:pt>
                <c:pt idx="421">
                  <c:v>44983</c:v>
                </c:pt>
                <c:pt idx="422">
                  <c:v>44984</c:v>
                </c:pt>
                <c:pt idx="423">
                  <c:v>44985</c:v>
                </c:pt>
                <c:pt idx="424">
                  <c:v>44986</c:v>
                </c:pt>
                <c:pt idx="425">
                  <c:v>44987</c:v>
                </c:pt>
                <c:pt idx="426">
                  <c:v>44988</c:v>
                </c:pt>
                <c:pt idx="427">
                  <c:v>44989</c:v>
                </c:pt>
                <c:pt idx="428">
                  <c:v>44990</c:v>
                </c:pt>
                <c:pt idx="429">
                  <c:v>44991</c:v>
                </c:pt>
                <c:pt idx="430">
                  <c:v>44992</c:v>
                </c:pt>
                <c:pt idx="431">
                  <c:v>44993</c:v>
                </c:pt>
                <c:pt idx="432">
                  <c:v>44994</c:v>
                </c:pt>
                <c:pt idx="433">
                  <c:v>44995</c:v>
                </c:pt>
                <c:pt idx="434">
                  <c:v>44996</c:v>
                </c:pt>
                <c:pt idx="435">
                  <c:v>44997</c:v>
                </c:pt>
                <c:pt idx="436">
                  <c:v>44998</c:v>
                </c:pt>
                <c:pt idx="437">
                  <c:v>44999</c:v>
                </c:pt>
                <c:pt idx="438">
                  <c:v>45000</c:v>
                </c:pt>
                <c:pt idx="439">
                  <c:v>45001</c:v>
                </c:pt>
                <c:pt idx="440">
                  <c:v>45002</c:v>
                </c:pt>
                <c:pt idx="441">
                  <c:v>45003</c:v>
                </c:pt>
                <c:pt idx="442">
                  <c:v>45004</c:v>
                </c:pt>
                <c:pt idx="443">
                  <c:v>45005</c:v>
                </c:pt>
                <c:pt idx="444">
                  <c:v>45006</c:v>
                </c:pt>
                <c:pt idx="445">
                  <c:v>45007</c:v>
                </c:pt>
                <c:pt idx="446">
                  <c:v>45008</c:v>
                </c:pt>
                <c:pt idx="447">
                  <c:v>45009</c:v>
                </c:pt>
                <c:pt idx="448">
                  <c:v>45010</c:v>
                </c:pt>
                <c:pt idx="449">
                  <c:v>45011</c:v>
                </c:pt>
                <c:pt idx="450">
                  <c:v>45012</c:v>
                </c:pt>
                <c:pt idx="451">
                  <c:v>45013</c:v>
                </c:pt>
                <c:pt idx="452">
                  <c:v>45014</c:v>
                </c:pt>
                <c:pt idx="453">
                  <c:v>45015</c:v>
                </c:pt>
                <c:pt idx="454">
                  <c:v>45016</c:v>
                </c:pt>
                <c:pt idx="455">
                  <c:v>45017</c:v>
                </c:pt>
                <c:pt idx="456">
                  <c:v>45018</c:v>
                </c:pt>
                <c:pt idx="457">
                  <c:v>45019</c:v>
                </c:pt>
                <c:pt idx="458">
                  <c:v>45020</c:v>
                </c:pt>
                <c:pt idx="459">
                  <c:v>45021</c:v>
                </c:pt>
                <c:pt idx="460">
                  <c:v>45022</c:v>
                </c:pt>
                <c:pt idx="461">
                  <c:v>45023</c:v>
                </c:pt>
                <c:pt idx="462">
                  <c:v>45024</c:v>
                </c:pt>
                <c:pt idx="463">
                  <c:v>45025</c:v>
                </c:pt>
                <c:pt idx="464">
                  <c:v>45026</c:v>
                </c:pt>
                <c:pt idx="465">
                  <c:v>45027</c:v>
                </c:pt>
                <c:pt idx="466">
                  <c:v>45028</c:v>
                </c:pt>
                <c:pt idx="467">
                  <c:v>45029</c:v>
                </c:pt>
                <c:pt idx="468">
                  <c:v>45030</c:v>
                </c:pt>
                <c:pt idx="469">
                  <c:v>45031</c:v>
                </c:pt>
                <c:pt idx="470">
                  <c:v>45032</c:v>
                </c:pt>
                <c:pt idx="471">
                  <c:v>45033</c:v>
                </c:pt>
                <c:pt idx="472">
                  <c:v>45034</c:v>
                </c:pt>
                <c:pt idx="473">
                  <c:v>45035</c:v>
                </c:pt>
                <c:pt idx="474">
                  <c:v>45036</c:v>
                </c:pt>
                <c:pt idx="475">
                  <c:v>45037</c:v>
                </c:pt>
                <c:pt idx="476">
                  <c:v>45038</c:v>
                </c:pt>
                <c:pt idx="477">
                  <c:v>45039</c:v>
                </c:pt>
                <c:pt idx="478">
                  <c:v>45040</c:v>
                </c:pt>
                <c:pt idx="479">
                  <c:v>45041</c:v>
                </c:pt>
                <c:pt idx="480">
                  <c:v>45042</c:v>
                </c:pt>
                <c:pt idx="481">
                  <c:v>45043</c:v>
                </c:pt>
                <c:pt idx="482">
                  <c:v>45044</c:v>
                </c:pt>
                <c:pt idx="483">
                  <c:v>45045</c:v>
                </c:pt>
                <c:pt idx="484">
                  <c:v>45046</c:v>
                </c:pt>
                <c:pt idx="485">
                  <c:v>45047</c:v>
                </c:pt>
                <c:pt idx="486">
                  <c:v>45048</c:v>
                </c:pt>
                <c:pt idx="487">
                  <c:v>45049</c:v>
                </c:pt>
                <c:pt idx="488">
                  <c:v>45050</c:v>
                </c:pt>
                <c:pt idx="489">
                  <c:v>45051</c:v>
                </c:pt>
                <c:pt idx="490">
                  <c:v>45052</c:v>
                </c:pt>
                <c:pt idx="491">
                  <c:v>45053</c:v>
                </c:pt>
                <c:pt idx="492">
                  <c:v>45054</c:v>
                </c:pt>
                <c:pt idx="493">
                  <c:v>45055</c:v>
                </c:pt>
                <c:pt idx="494">
                  <c:v>45056</c:v>
                </c:pt>
                <c:pt idx="495">
                  <c:v>45057</c:v>
                </c:pt>
                <c:pt idx="496">
                  <c:v>45058</c:v>
                </c:pt>
                <c:pt idx="497">
                  <c:v>45059</c:v>
                </c:pt>
                <c:pt idx="498">
                  <c:v>45060</c:v>
                </c:pt>
                <c:pt idx="499">
                  <c:v>45061</c:v>
                </c:pt>
                <c:pt idx="500">
                  <c:v>45062</c:v>
                </c:pt>
                <c:pt idx="501">
                  <c:v>45063</c:v>
                </c:pt>
                <c:pt idx="502">
                  <c:v>45064</c:v>
                </c:pt>
                <c:pt idx="503">
                  <c:v>45065</c:v>
                </c:pt>
                <c:pt idx="504">
                  <c:v>45066</c:v>
                </c:pt>
                <c:pt idx="505">
                  <c:v>45067</c:v>
                </c:pt>
                <c:pt idx="506">
                  <c:v>45068</c:v>
                </c:pt>
                <c:pt idx="507">
                  <c:v>45069</c:v>
                </c:pt>
                <c:pt idx="508">
                  <c:v>45070</c:v>
                </c:pt>
                <c:pt idx="509">
                  <c:v>45071</c:v>
                </c:pt>
                <c:pt idx="510">
                  <c:v>45072</c:v>
                </c:pt>
                <c:pt idx="511">
                  <c:v>45073</c:v>
                </c:pt>
                <c:pt idx="512">
                  <c:v>45074</c:v>
                </c:pt>
                <c:pt idx="513">
                  <c:v>45075</c:v>
                </c:pt>
                <c:pt idx="514">
                  <c:v>45076</c:v>
                </c:pt>
                <c:pt idx="515">
                  <c:v>45077</c:v>
                </c:pt>
                <c:pt idx="516">
                  <c:v>45078</c:v>
                </c:pt>
                <c:pt idx="517">
                  <c:v>45079</c:v>
                </c:pt>
                <c:pt idx="518">
                  <c:v>45080</c:v>
                </c:pt>
                <c:pt idx="519">
                  <c:v>45081</c:v>
                </c:pt>
                <c:pt idx="520">
                  <c:v>45082</c:v>
                </c:pt>
                <c:pt idx="521">
                  <c:v>45083</c:v>
                </c:pt>
                <c:pt idx="522">
                  <c:v>45084</c:v>
                </c:pt>
                <c:pt idx="523">
                  <c:v>45085</c:v>
                </c:pt>
                <c:pt idx="524">
                  <c:v>45086</c:v>
                </c:pt>
                <c:pt idx="525">
                  <c:v>45087</c:v>
                </c:pt>
                <c:pt idx="526">
                  <c:v>45088</c:v>
                </c:pt>
                <c:pt idx="527">
                  <c:v>45089</c:v>
                </c:pt>
                <c:pt idx="528">
                  <c:v>45090</c:v>
                </c:pt>
                <c:pt idx="529">
                  <c:v>45091</c:v>
                </c:pt>
                <c:pt idx="530">
                  <c:v>45092</c:v>
                </c:pt>
                <c:pt idx="531">
                  <c:v>45093</c:v>
                </c:pt>
                <c:pt idx="532">
                  <c:v>45094</c:v>
                </c:pt>
                <c:pt idx="533">
                  <c:v>45095</c:v>
                </c:pt>
                <c:pt idx="534">
                  <c:v>45096</c:v>
                </c:pt>
                <c:pt idx="535">
                  <c:v>45097</c:v>
                </c:pt>
                <c:pt idx="536">
                  <c:v>45098</c:v>
                </c:pt>
                <c:pt idx="537">
                  <c:v>45099</c:v>
                </c:pt>
                <c:pt idx="538">
                  <c:v>45100</c:v>
                </c:pt>
                <c:pt idx="539">
                  <c:v>45101</c:v>
                </c:pt>
                <c:pt idx="540">
                  <c:v>45102</c:v>
                </c:pt>
                <c:pt idx="541">
                  <c:v>45103</c:v>
                </c:pt>
                <c:pt idx="542">
                  <c:v>45104</c:v>
                </c:pt>
                <c:pt idx="543">
                  <c:v>45105</c:v>
                </c:pt>
                <c:pt idx="544">
                  <c:v>45106</c:v>
                </c:pt>
                <c:pt idx="545">
                  <c:v>45107</c:v>
                </c:pt>
                <c:pt idx="546">
                  <c:v>45108</c:v>
                </c:pt>
                <c:pt idx="547">
                  <c:v>45109</c:v>
                </c:pt>
                <c:pt idx="548">
                  <c:v>45110</c:v>
                </c:pt>
                <c:pt idx="549">
                  <c:v>45111</c:v>
                </c:pt>
                <c:pt idx="550">
                  <c:v>45112</c:v>
                </c:pt>
                <c:pt idx="551">
                  <c:v>45113</c:v>
                </c:pt>
                <c:pt idx="552">
                  <c:v>45114</c:v>
                </c:pt>
                <c:pt idx="553">
                  <c:v>45115</c:v>
                </c:pt>
                <c:pt idx="554">
                  <c:v>45116</c:v>
                </c:pt>
                <c:pt idx="555">
                  <c:v>45117</c:v>
                </c:pt>
                <c:pt idx="556">
                  <c:v>45118</c:v>
                </c:pt>
                <c:pt idx="557">
                  <c:v>45119</c:v>
                </c:pt>
                <c:pt idx="558">
                  <c:v>45120</c:v>
                </c:pt>
                <c:pt idx="559">
                  <c:v>45121</c:v>
                </c:pt>
                <c:pt idx="560">
                  <c:v>45122</c:v>
                </c:pt>
                <c:pt idx="561">
                  <c:v>45123</c:v>
                </c:pt>
                <c:pt idx="562">
                  <c:v>45124</c:v>
                </c:pt>
                <c:pt idx="563">
                  <c:v>45125</c:v>
                </c:pt>
                <c:pt idx="564">
                  <c:v>45126</c:v>
                </c:pt>
                <c:pt idx="565">
                  <c:v>45127</c:v>
                </c:pt>
                <c:pt idx="566">
                  <c:v>45128</c:v>
                </c:pt>
                <c:pt idx="567">
                  <c:v>45129</c:v>
                </c:pt>
                <c:pt idx="568">
                  <c:v>45130</c:v>
                </c:pt>
                <c:pt idx="569">
                  <c:v>45131</c:v>
                </c:pt>
                <c:pt idx="570">
                  <c:v>45132</c:v>
                </c:pt>
                <c:pt idx="571">
                  <c:v>45133</c:v>
                </c:pt>
                <c:pt idx="572">
                  <c:v>45134</c:v>
                </c:pt>
                <c:pt idx="573">
                  <c:v>45135</c:v>
                </c:pt>
                <c:pt idx="574">
                  <c:v>45136</c:v>
                </c:pt>
                <c:pt idx="575">
                  <c:v>45137</c:v>
                </c:pt>
                <c:pt idx="576">
                  <c:v>45138</c:v>
                </c:pt>
                <c:pt idx="577">
                  <c:v>45139</c:v>
                </c:pt>
                <c:pt idx="578">
                  <c:v>45140</c:v>
                </c:pt>
                <c:pt idx="579">
                  <c:v>45141</c:v>
                </c:pt>
                <c:pt idx="580">
                  <c:v>45142</c:v>
                </c:pt>
                <c:pt idx="581">
                  <c:v>45143</c:v>
                </c:pt>
                <c:pt idx="582">
                  <c:v>45144</c:v>
                </c:pt>
                <c:pt idx="583">
                  <c:v>45145</c:v>
                </c:pt>
                <c:pt idx="584">
                  <c:v>45146</c:v>
                </c:pt>
                <c:pt idx="585">
                  <c:v>45147</c:v>
                </c:pt>
                <c:pt idx="586">
                  <c:v>45148</c:v>
                </c:pt>
                <c:pt idx="587">
                  <c:v>45149</c:v>
                </c:pt>
                <c:pt idx="588">
                  <c:v>45150</c:v>
                </c:pt>
                <c:pt idx="589">
                  <c:v>45151</c:v>
                </c:pt>
                <c:pt idx="590">
                  <c:v>45152</c:v>
                </c:pt>
                <c:pt idx="591">
                  <c:v>45153</c:v>
                </c:pt>
                <c:pt idx="592">
                  <c:v>45154</c:v>
                </c:pt>
                <c:pt idx="593">
                  <c:v>45155</c:v>
                </c:pt>
                <c:pt idx="594">
                  <c:v>45156</c:v>
                </c:pt>
                <c:pt idx="595">
                  <c:v>45157</c:v>
                </c:pt>
                <c:pt idx="596">
                  <c:v>45158</c:v>
                </c:pt>
                <c:pt idx="597">
                  <c:v>45159</c:v>
                </c:pt>
                <c:pt idx="598">
                  <c:v>45160</c:v>
                </c:pt>
                <c:pt idx="599">
                  <c:v>45161</c:v>
                </c:pt>
                <c:pt idx="600">
                  <c:v>45162</c:v>
                </c:pt>
                <c:pt idx="601">
                  <c:v>45163</c:v>
                </c:pt>
                <c:pt idx="602">
                  <c:v>45164</c:v>
                </c:pt>
                <c:pt idx="603">
                  <c:v>45165</c:v>
                </c:pt>
                <c:pt idx="604">
                  <c:v>45166</c:v>
                </c:pt>
                <c:pt idx="605">
                  <c:v>45167</c:v>
                </c:pt>
                <c:pt idx="606">
                  <c:v>45168</c:v>
                </c:pt>
                <c:pt idx="607">
                  <c:v>45169</c:v>
                </c:pt>
                <c:pt idx="608">
                  <c:v>45170</c:v>
                </c:pt>
                <c:pt idx="609">
                  <c:v>45171</c:v>
                </c:pt>
                <c:pt idx="610">
                  <c:v>45172</c:v>
                </c:pt>
                <c:pt idx="611">
                  <c:v>45173</c:v>
                </c:pt>
                <c:pt idx="612">
                  <c:v>45174</c:v>
                </c:pt>
                <c:pt idx="613">
                  <c:v>45175</c:v>
                </c:pt>
                <c:pt idx="614">
                  <c:v>45176</c:v>
                </c:pt>
                <c:pt idx="615">
                  <c:v>45177</c:v>
                </c:pt>
                <c:pt idx="616">
                  <c:v>45178</c:v>
                </c:pt>
                <c:pt idx="617">
                  <c:v>45179</c:v>
                </c:pt>
                <c:pt idx="618">
                  <c:v>45180</c:v>
                </c:pt>
                <c:pt idx="619">
                  <c:v>45181</c:v>
                </c:pt>
                <c:pt idx="620">
                  <c:v>45182</c:v>
                </c:pt>
                <c:pt idx="621">
                  <c:v>45183</c:v>
                </c:pt>
                <c:pt idx="622">
                  <c:v>45184</c:v>
                </c:pt>
                <c:pt idx="623">
                  <c:v>45185</c:v>
                </c:pt>
                <c:pt idx="624">
                  <c:v>45186</c:v>
                </c:pt>
                <c:pt idx="625">
                  <c:v>45187</c:v>
                </c:pt>
                <c:pt idx="626">
                  <c:v>45188</c:v>
                </c:pt>
                <c:pt idx="627">
                  <c:v>45189</c:v>
                </c:pt>
                <c:pt idx="628">
                  <c:v>45190</c:v>
                </c:pt>
                <c:pt idx="629">
                  <c:v>45191</c:v>
                </c:pt>
                <c:pt idx="630">
                  <c:v>45192</c:v>
                </c:pt>
                <c:pt idx="631">
                  <c:v>45193</c:v>
                </c:pt>
                <c:pt idx="632">
                  <c:v>45194</c:v>
                </c:pt>
                <c:pt idx="633">
                  <c:v>45195</c:v>
                </c:pt>
                <c:pt idx="634">
                  <c:v>45196</c:v>
                </c:pt>
                <c:pt idx="635">
                  <c:v>45197</c:v>
                </c:pt>
                <c:pt idx="636">
                  <c:v>45198</c:v>
                </c:pt>
                <c:pt idx="637">
                  <c:v>45199</c:v>
                </c:pt>
                <c:pt idx="638">
                  <c:v>45200</c:v>
                </c:pt>
                <c:pt idx="639">
                  <c:v>45201</c:v>
                </c:pt>
                <c:pt idx="640">
                  <c:v>45202</c:v>
                </c:pt>
                <c:pt idx="641">
                  <c:v>45203</c:v>
                </c:pt>
                <c:pt idx="642">
                  <c:v>45204</c:v>
                </c:pt>
                <c:pt idx="643">
                  <c:v>45205</c:v>
                </c:pt>
                <c:pt idx="644">
                  <c:v>45206</c:v>
                </c:pt>
                <c:pt idx="645">
                  <c:v>45207</c:v>
                </c:pt>
                <c:pt idx="646">
                  <c:v>45208</c:v>
                </c:pt>
                <c:pt idx="647">
                  <c:v>45209</c:v>
                </c:pt>
                <c:pt idx="648">
                  <c:v>45210</c:v>
                </c:pt>
                <c:pt idx="649">
                  <c:v>45211</c:v>
                </c:pt>
                <c:pt idx="650">
                  <c:v>45212</c:v>
                </c:pt>
                <c:pt idx="651">
                  <c:v>45213</c:v>
                </c:pt>
                <c:pt idx="652">
                  <c:v>45214</c:v>
                </c:pt>
                <c:pt idx="653">
                  <c:v>45215</c:v>
                </c:pt>
                <c:pt idx="654">
                  <c:v>45216</c:v>
                </c:pt>
                <c:pt idx="655">
                  <c:v>45217</c:v>
                </c:pt>
                <c:pt idx="656">
                  <c:v>45218</c:v>
                </c:pt>
                <c:pt idx="657">
                  <c:v>45219</c:v>
                </c:pt>
                <c:pt idx="658">
                  <c:v>45220</c:v>
                </c:pt>
                <c:pt idx="659">
                  <c:v>45221</c:v>
                </c:pt>
                <c:pt idx="660">
                  <c:v>45222</c:v>
                </c:pt>
                <c:pt idx="661">
                  <c:v>45223</c:v>
                </c:pt>
                <c:pt idx="662">
                  <c:v>45224</c:v>
                </c:pt>
                <c:pt idx="663">
                  <c:v>45225</c:v>
                </c:pt>
                <c:pt idx="664">
                  <c:v>45226</c:v>
                </c:pt>
                <c:pt idx="665">
                  <c:v>45227</c:v>
                </c:pt>
                <c:pt idx="666">
                  <c:v>45228</c:v>
                </c:pt>
                <c:pt idx="667">
                  <c:v>45229</c:v>
                </c:pt>
                <c:pt idx="668">
                  <c:v>45230</c:v>
                </c:pt>
                <c:pt idx="669">
                  <c:v>45231</c:v>
                </c:pt>
                <c:pt idx="670">
                  <c:v>45232</c:v>
                </c:pt>
                <c:pt idx="671">
                  <c:v>45233</c:v>
                </c:pt>
                <c:pt idx="672">
                  <c:v>45234</c:v>
                </c:pt>
                <c:pt idx="673">
                  <c:v>45235</c:v>
                </c:pt>
                <c:pt idx="674">
                  <c:v>45236</c:v>
                </c:pt>
                <c:pt idx="675">
                  <c:v>45237</c:v>
                </c:pt>
                <c:pt idx="676">
                  <c:v>45238</c:v>
                </c:pt>
                <c:pt idx="677">
                  <c:v>45239</c:v>
                </c:pt>
                <c:pt idx="678">
                  <c:v>45240</c:v>
                </c:pt>
                <c:pt idx="679">
                  <c:v>45241</c:v>
                </c:pt>
                <c:pt idx="680">
                  <c:v>45242</c:v>
                </c:pt>
                <c:pt idx="681">
                  <c:v>45243</c:v>
                </c:pt>
                <c:pt idx="682">
                  <c:v>45244</c:v>
                </c:pt>
                <c:pt idx="683">
                  <c:v>45245</c:v>
                </c:pt>
                <c:pt idx="684">
                  <c:v>45246</c:v>
                </c:pt>
                <c:pt idx="685">
                  <c:v>45247</c:v>
                </c:pt>
                <c:pt idx="686">
                  <c:v>45248</c:v>
                </c:pt>
                <c:pt idx="687">
                  <c:v>45249</c:v>
                </c:pt>
                <c:pt idx="688">
                  <c:v>45250</c:v>
                </c:pt>
                <c:pt idx="689">
                  <c:v>45251</c:v>
                </c:pt>
                <c:pt idx="690">
                  <c:v>45252</c:v>
                </c:pt>
                <c:pt idx="691">
                  <c:v>45253</c:v>
                </c:pt>
                <c:pt idx="692">
                  <c:v>45254</c:v>
                </c:pt>
                <c:pt idx="693">
                  <c:v>45255</c:v>
                </c:pt>
                <c:pt idx="694">
                  <c:v>45256</c:v>
                </c:pt>
                <c:pt idx="695">
                  <c:v>45257</c:v>
                </c:pt>
                <c:pt idx="696">
                  <c:v>45258</c:v>
                </c:pt>
                <c:pt idx="697">
                  <c:v>45259</c:v>
                </c:pt>
                <c:pt idx="698">
                  <c:v>45260</c:v>
                </c:pt>
                <c:pt idx="699">
                  <c:v>45261</c:v>
                </c:pt>
                <c:pt idx="700">
                  <c:v>45262</c:v>
                </c:pt>
                <c:pt idx="701">
                  <c:v>45263</c:v>
                </c:pt>
                <c:pt idx="702">
                  <c:v>45264</c:v>
                </c:pt>
                <c:pt idx="703">
                  <c:v>45265</c:v>
                </c:pt>
                <c:pt idx="704">
                  <c:v>45266</c:v>
                </c:pt>
                <c:pt idx="705">
                  <c:v>45267</c:v>
                </c:pt>
                <c:pt idx="706">
                  <c:v>45268</c:v>
                </c:pt>
                <c:pt idx="707">
                  <c:v>45269</c:v>
                </c:pt>
                <c:pt idx="708">
                  <c:v>45270</c:v>
                </c:pt>
                <c:pt idx="709">
                  <c:v>45271</c:v>
                </c:pt>
                <c:pt idx="710">
                  <c:v>45272</c:v>
                </c:pt>
                <c:pt idx="711">
                  <c:v>45273</c:v>
                </c:pt>
                <c:pt idx="712">
                  <c:v>45274</c:v>
                </c:pt>
                <c:pt idx="713">
                  <c:v>45275</c:v>
                </c:pt>
                <c:pt idx="714">
                  <c:v>45276</c:v>
                </c:pt>
                <c:pt idx="715">
                  <c:v>45277</c:v>
                </c:pt>
                <c:pt idx="716">
                  <c:v>45278</c:v>
                </c:pt>
                <c:pt idx="717">
                  <c:v>45279</c:v>
                </c:pt>
                <c:pt idx="718">
                  <c:v>45280</c:v>
                </c:pt>
                <c:pt idx="719">
                  <c:v>45281</c:v>
                </c:pt>
                <c:pt idx="720">
                  <c:v>45282</c:v>
                </c:pt>
                <c:pt idx="721">
                  <c:v>45283</c:v>
                </c:pt>
                <c:pt idx="722">
                  <c:v>45284</c:v>
                </c:pt>
                <c:pt idx="723">
                  <c:v>45285</c:v>
                </c:pt>
                <c:pt idx="724">
                  <c:v>45286</c:v>
                </c:pt>
                <c:pt idx="725">
                  <c:v>45287</c:v>
                </c:pt>
                <c:pt idx="726">
                  <c:v>45288</c:v>
                </c:pt>
                <c:pt idx="727">
                  <c:v>45289</c:v>
                </c:pt>
                <c:pt idx="728">
                  <c:v>45290</c:v>
                </c:pt>
                <c:pt idx="729">
                  <c:v>45291</c:v>
                </c:pt>
                <c:pt idx="730">
                  <c:v>45292</c:v>
                </c:pt>
                <c:pt idx="731">
                  <c:v>45293</c:v>
                </c:pt>
                <c:pt idx="732">
                  <c:v>45294</c:v>
                </c:pt>
                <c:pt idx="733">
                  <c:v>45295</c:v>
                </c:pt>
                <c:pt idx="734">
                  <c:v>45296</c:v>
                </c:pt>
                <c:pt idx="735">
                  <c:v>45297</c:v>
                </c:pt>
                <c:pt idx="736">
                  <c:v>45298</c:v>
                </c:pt>
                <c:pt idx="737">
                  <c:v>45299</c:v>
                </c:pt>
                <c:pt idx="738">
                  <c:v>45300</c:v>
                </c:pt>
                <c:pt idx="739">
                  <c:v>45301</c:v>
                </c:pt>
                <c:pt idx="740">
                  <c:v>45302</c:v>
                </c:pt>
                <c:pt idx="741">
                  <c:v>45303</c:v>
                </c:pt>
                <c:pt idx="742">
                  <c:v>45304</c:v>
                </c:pt>
                <c:pt idx="743">
                  <c:v>45305</c:v>
                </c:pt>
                <c:pt idx="744">
                  <c:v>45306</c:v>
                </c:pt>
                <c:pt idx="745">
                  <c:v>45307</c:v>
                </c:pt>
                <c:pt idx="746">
                  <c:v>45308</c:v>
                </c:pt>
                <c:pt idx="747">
                  <c:v>45309</c:v>
                </c:pt>
                <c:pt idx="748">
                  <c:v>45310</c:v>
                </c:pt>
                <c:pt idx="749">
                  <c:v>45311</c:v>
                </c:pt>
                <c:pt idx="750">
                  <c:v>45312</c:v>
                </c:pt>
                <c:pt idx="751">
                  <c:v>45313</c:v>
                </c:pt>
                <c:pt idx="752">
                  <c:v>45314</c:v>
                </c:pt>
                <c:pt idx="753">
                  <c:v>45315</c:v>
                </c:pt>
                <c:pt idx="754">
                  <c:v>45316</c:v>
                </c:pt>
                <c:pt idx="755">
                  <c:v>45317</c:v>
                </c:pt>
                <c:pt idx="756">
                  <c:v>45318</c:v>
                </c:pt>
                <c:pt idx="757">
                  <c:v>45319</c:v>
                </c:pt>
                <c:pt idx="758">
                  <c:v>45320</c:v>
                </c:pt>
                <c:pt idx="759">
                  <c:v>45321</c:v>
                </c:pt>
                <c:pt idx="760">
                  <c:v>45322</c:v>
                </c:pt>
                <c:pt idx="761">
                  <c:v>45323</c:v>
                </c:pt>
                <c:pt idx="762">
                  <c:v>45324</c:v>
                </c:pt>
                <c:pt idx="763">
                  <c:v>45325</c:v>
                </c:pt>
                <c:pt idx="764">
                  <c:v>45326</c:v>
                </c:pt>
                <c:pt idx="765">
                  <c:v>45327</c:v>
                </c:pt>
                <c:pt idx="766">
                  <c:v>45328</c:v>
                </c:pt>
                <c:pt idx="767">
                  <c:v>45329</c:v>
                </c:pt>
                <c:pt idx="768">
                  <c:v>45330</c:v>
                </c:pt>
                <c:pt idx="769">
                  <c:v>45331</c:v>
                </c:pt>
                <c:pt idx="770">
                  <c:v>45332</c:v>
                </c:pt>
                <c:pt idx="771">
                  <c:v>45333</c:v>
                </c:pt>
                <c:pt idx="772">
                  <c:v>45334</c:v>
                </c:pt>
                <c:pt idx="773">
                  <c:v>45335</c:v>
                </c:pt>
                <c:pt idx="774">
                  <c:v>45336</c:v>
                </c:pt>
                <c:pt idx="775">
                  <c:v>45337</c:v>
                </c:pt>
                <c:pt idx="776">
                  <c:v>45338</c:v>
                </c:pt>
                <c:pt idx="777">
                  <c:v>45339</c:v>
                </c:pt>
                <c:pt idx="778">
                  <c:v>45340</c:v>
                </c:pt>
                <c:pt idx="779">
                  <c:v>45341</c:v>
                </c:pt>
                <c:pt idx="780">
                  <c:v>45342</c:v>
                </c:pt>
                <c:pt idx="781">
                  <c:v>45343</c:v>
                </c:pt>
                <c:pt idx="782">
                  <c:v>45344</c:v>
                </c:pt>
                <c:pt idx="783">
                  <c:v>45345</c:v>
                </c:pt>
                <c:pt idx="784">
                  <c:v>45346</c:v>
                </c:pt>
                <c:pt idx="785">
                  <c:v>45347</c:v>
                </c:pt>
                <c:pt idx="786">
                  <c:v>45348</c:v>
                </c:pt>
                <c:pt idx="787">
                  <c:v>45349</c:v>
                </c:pt>
                <c:pt idx="788">
                  <c:v>45350</c:v>
                </c:pt>
                <c:pt idx="789">
                  <c:v>45351</c:v>
                </c:pt>
                <c:pt idx="790">
                  <c:v>45352</c:v>
                </c:pt>
                <c:pt idx="791">
                  <c:v>45353</c:v>
                </c:pt>
                <c:pt idx="792">
                  <c:v>45354</c:v>
                </c:pt>
                <c:pt idx="793">
                  <c:v>45355</c:v>
                </c:pt>
                <c:pt idx="794">
                  <c:v>45356</c:v>
                </c:pt>
                <c:pt idx="795">
                  <c:v>45357</c:v>
                </c:pt>
                <c:pt idx="796">
                  <c:v>45358</c:v>
                </c:pt>
                <c:pt idx="797">
                  <c:v>45359</c:v>
                </c:pt>
                <c:pt idx="798">
                  <c:v>45360</c:v>
                </c:pt>
                <c:pt idx="799">
                  <c:v>45361</c:v>
                </c:pt>
                <c:pt idx="800">
                  <c:v>45362</c:v>
                </c:pt>
                <c:pt idx="801">
                  <c:v>45363</c:v>
                </c:pt>
                <c:pt idx="802">
                  <c:v>45364</c:v>
                </c:pt>
                <c:pt idx="803">
                  <c:v>45365</c:v>
                </c:pt>
                <c:pt idx="804">
                  <c:v>45366</c:v>
                </c:pt>
                <c:pt idx="805">
                  <c:v>45367</c:v>
                </c:pt>
                <c:pt idx="806">
                  <c:v>45368</c:v>
                </c:pt>
                <c:pt idx="807">
                  <c:v>45369</c:v>
                </c:pt>
                <c:pt idx="808">
                  <c:v>45370</c:v>
                </c:pt>
                <c:pt idx="809">
                  <c:v>45371</c:v>
                </c:pt>
                <c:pt idx="810">
                  <c:v>45372</c:v>
                </c:pt>
                <c:pt idx="811">
                  <c:v>45373</c:v>
                </c:pt>
                <c:pt idx="812">
                  <c:v>45374</c:v>
                </c:pt>
                <c:pt idx="813">
                  <c:v>45375</c:v>
                </c:pt>
                <c:pt idx="814">
                  <c:v>45376</c:v>
                </c:pt>
                <c:pt idx="815">
                  <c:v>45377</c:v>
                </c:pt>
                <c:pt idx="816">
                  <c:v>45378</c:v>
                </c:pt>
                <c:pt idx="817">
                  <c:v>45379</c:v>
                </c:pt>
                <c:pt idx="818">
                  <c:v>45380</c:v>
                </c:pt>
                <c:pt idx="819">
                  <c:v>45381</c:v>
                </c:pt>
                <c:pt idx="820">
                  <c:v>45382</c:v>
                </c:pt>
                <c:pt idx="821">
                  <c:v>45383</c:v>
                </c:pt>
                <c:pt idx="822">
                  <c:v>45384</c:v>
                </c:pt>
                <c:pt idx="823">
                  <c:v>45385</c:v>
                </c:pt>
                <c:pt idx="824">
                  <c:v>45386</c:v>
                </c:pt>
                <c:pt idx="825">
                  <c:v>45387</c:v>
                </c:pt>
                <c:pt idx="826">
                  <c:v>45388</c:v>
                </c:pt>
                <c:pt idx="827">
                  <c:v>45389</c:v>
                </c:pt>
                <c:pt idx="828">
                  <c:v>45390</c:v>
                </c:pt>
                <c:pt idx="829">
                  <c:v>45391</c:v>
                </c:pt>
                <c:pt idx="830">
                  <c:v>45392</c:v>
                </c:pt>
                <c:pt idx="831">
                  <c:v>45393</c:v>
                </c:pt>
                <c:pt idx="832">
                  <c:v>45394</c:v>
                </c:pt>
                <c:pt idx="833">
                  <c:v>45395</c:v>
                </c:pt>
                <c:pt idx="834">
                  <c:v>45396</c:v>
                </c:pt>
                <c:pt idx="835">
                  <c:v>45397</c:v>
                </c:pt>
                <c:pt idx="836">
                  <c:v>45398</c:v>
                </c:pt>
                <c:pt idx="837">
                  <c:v>45399</c:v>
                </c:pt>
                <c:pt idx="838">
                  <c:v>45400</c:v>
                </c:pt>
                <c:pt idx="839">
                  <c:v>45401</c:v>
                </c:pt>
                <c:pt idx="840">
                  <c:v>45402</c:v>
                </c:pt>
                <c:pt idx="841">
                  <c:v>45403</c:v>
                </c:pt>
                <c:pt idx="842">
                  <c:v>45404</c:v>
                </c:pt>
                <c:pt idx="843">
                  <c:v>45405</c:v>
                </c:pt>
                <c:pt idx="844">
                  <c:v>45406</c:v>
                </c:pt>
                <c:pt idx="845">
                  <c:v>45407</c:v>
                </c:pt>
                <c:pt idx="846">
                  <c:v>45408</c:v>
                </c:pt>
                <c:pt idx="847">
                  <c:v>45409</c:v>
                </c:pt>
                <c:pt idx="848">
                  <c:v>45410</c:v>
                </c:pt>
                <c:pt idx="849">
                  <c:v>45411</c:v>
                </c:pt>
                <c:pt idx="850">
                  <c:v>45412</c:v>
                </c:pt>
                <c:pt idx="851">
                  <c:v>45413</c:v>
                </c:pt>
                <c:pt idx="852">
                  <c:v>45414</c:v>
                </c:pt>
                <c:pt idx="853">
                  <c:v>45415</c:v>
                </c:pt>
                <c:pt idx="854">
                  <c:v>45416</c:v>
                </c:pt>
                <c:pt idx="855">
                  <c:v>45417</c:v>
                </c:pt>
                <c:pt idx="856">
                  <c:v>45418</c:v>
                </c:pt>
                <c:pt idx="857">
                  <c:v>45419</c:v>
                </c:pt>
                <c:pt idx="858">
                  <c:v>45420</c:v>
                </c:pt>
                <c:pt idx="859">
                  <c:v>45421</c:v>
                </c:pt>
                <c:pt idx="860">
                  <c:v>45422</c:v>
                </c:pt>
                <c:pt idx="861">
                  <c:v>45423</c:v>
                </c:pt>
                <c:pt idx="862">
                  <c:v>45424</c:v>
                </c:pt>
                <c:pt idx="863">
                  <c:v>45425</c:v>
                </c:pt>
                <c:pt idx="864">
                  <c:v>45426</c:v>
                </c:pt>
                <c:pt idx="865">
                  <c:v>45427</c:v>
                </c:pt>
                <c:pt idx="866">
                  <c:v>45428</c:v>
                </c:pt>
                <c:pt idx="867">
                  <c:v>45429</c:v>
                </c:pt>
                <c:pt idx="868">
                  <c:v>45430</c:v>
                </c:pt>
                <c:pt idx="869">
                  <c:v>45431</c:v>
                </c:pt>
                <c:pt idx="870">
                  <c:v>45432</c:v>
                </c:pt>
                <c:pt idx="871">
                  <c:v>45433</c:v>
                </c:pt>
                <c:pt idx="872">
                  <c:v>45434</c:v>
                </c:pt>
                <c:pt idx="873">
                  <c:v>45435</c:v>
                </c:pt>
                <c:pt idx="874">
                  <c:v>45436</c:v>
                </c:pt>
                <c:pt idx="875">
                  <c:v>45437</c:v>
                </c:pt>
                <c:pt idx="876">
                  <c:v>45438</c:v>
                </c:pt>
                <c:pt idx="877">
                  <c:v>45439</c:v>
                </c:pt>
                <c:pt idx="878">
                  <c:v>45440</c:v>
                </c:pt>
                <c:pt idx="879">
                  <c:v>45441</c:v>
                </c:pt>
                <c:pt idx="880">
                  <c:v>45442</c:v>
                </c:pt>
                <c:pt idx="881">
                  <c:v>45443</c:v>
                </c:pt>
                <c:pt idx="882">
                  <c:v>45444</c:v>
                </c:pt>
                <c:pt idx="883">
                  <c:v>45445</c:v>
                </c:pt>
                <c:pt idx="884">
                  <c:v>45446</c:v>
                </c:pt>
                <c:pt idx="885">
                  <c:v>45447</c:v>
                </c:pt>
                <c:pt idx="886">
                  <c:v>45448</c:v>
                </c:pt>
                <c:pt idx="887">
                  <c:v>45449</c:v>
                </c:pt>
                <c:pt idx="888">
                  <c:v>45450</c:v>
                </c:pt>
                <c:pt idx="889">
                  <c:v>45451</c:v>
                </c:pt>
                <c:pt idx="890">
                  <c:v>45452</c:v>
                </c:pt>
                <c:pt idx="891">
                  <c:v>45453</c:v>
                </c:pt>
                <c:pt idx="892">
                  <c:v>45454</c:v>
                </c:pt>
                <c:pt idx="893">
                  <c:v>45455</c:v>
                </c:pt>
                <c:pt idx="894">
                  <c:v>45456</c:v>
                </c:pt>
                <c:pt idx="895">
                  <c:v>45457</c:v>
                </c:pt>
                <c:pt idx="896">
                  <c:v>45458</c:v>
                </c:pt>
                <c:pt idx="897">
                  <c:v>45459</c:v>
                </c:pt>
                <c:pt idx="898">
                  <c:v>45460</c:v>
                </c:pt>
                <c:pt idx="899">
                  <c:v>45461</c:v>
                </c:pt>
                <c:pt idx="900">
                  <c:v>45462</c:v>
                </c:pt>
                <c:pt idx="901">
                  <c:v>45463</c:v>
                </c:pt>
                <c:pt idx="902">
                  <c:v>45464</c:v>
                </c:pt>
                <c:pt idx="903">
                  <c:v>45465</c:v>
                </c:pt>
                <c:pt idx="904">
                  <c:v>45466</c:v>
                </c:pt>
                <c:pt idx="905">
                  <c:v>45467</c:v>
                </c:pt>
                <c:pt idx="906">
                  <c:v>45468</c:v>
                </c:pt>
                <c:pt idx="907">
                  <c:v>45469</c:v>
                </c:pt>
                <c:pt idx="908">
                  <c:v>45470</c:v>
                </c:pt>
                <c:pt idx="909">
                  <c:v>45471</c:v>
                </c:pt>
                <c:pt idx="910">
                  <c:v>45472</c:v>
                </c:pt>
                <c:pt idx="911">
                  <c:v>45473</c:v>
                </c:pt>
                <c:pt idx="912">
                  <c:v>45474</c:v>
                </c:pt>
                <c:pt idx="913">
                  <c:v>45475</c:v>
                </c:pt>
                <c:pt idx="914">
                  <c:v>45476</c:v>
                </c:pt>
                <c:pt idx="915">
                  <c:v>45477</c:v>
                </c:pt>
                <c:pt idx="916">
                  <c:v>45478</c:v>
                </c:pt>
                <c:pt idx="917">
                  <c:v>45479</c:v>
                </c:pt>
                <c:pt idx="918">
                  <c:v>45480</c:v>
                </c:pt>
                <c:pt idx="919">
                  <c:v>45481</c:v>
                </c:pt>
                <c:pt idx="920">
                  <c:v>45482</c:v>
                </c:pt>
                <c:pt idx="921">
                  <c:v>45483</c:v>
                </c:pt>
                <c:pt idx="922">
                  <c:v>45484</c:v>
                </c:pt>
                <c:pt idx="923">
                  <c:v>45485</c:v>
                </c:pt>
                <c:pt idx="924">
                  <c:v>45486</c:v>
                </c:pt>
                <c:pt idx="925">
                  <c:v>45487</c:v>
                </c:pt>
                <c:pt idx="926">
                  <c:v>45488</c:v>
                </c:pt>
                <c:pt idx="927">
                  <c:v>45489</c:v>
                </c:pt>
                <c:pt idx="928">
                  <c:v>45490</c:v>
                </c:pt>
                <c:pt idx="929">
                  <c:v>45491</c:v>
                </c:pt>
                <c:pt idx="930">
                  <c:v>45492</c:v>
                </c:pt>
                <c:pt idx="931">
                  <c:v>45493</c:v>
                </c:pt>
                <c:pt idx="932">
                  <c:v>45494</c:v>
                </c:pt>
                <c:pt idx="933">
                  <c:v>45495</c:v>
                </c:pt>
                <c:pt idx="934">
                  <c:v>45496</c:v>
                </c:pt>
                <c:pt idx="935">
                  <c:v>45497</c:v>
                </c:pt>
                <c:pt idx="936">
                  <c:v>45498</c:v>
                </c:pt>
                <c:pt idx="937">
                  <c:v>45499</c:v>
                </c:pt>
                <c:pt idx="938">
                  <c:v>45500</c:v>
                </c:pt>
                <c:pt idx="939">
                  <c:v>45501</c:v>
                </c:pt>
                <c:pt idx="940">
                  <c:v>45502</c:v>
                </c:pt>
                <c:pt idx="941">
                  <c:v>45503</c:v>
                </c:pt>
                <c:pt idx="942">
                  <c:v>45504</c:v>
                </c:pt>
                <c:pt idx="943">
                  <c:v>45505</c:v>
                </c:pt>
                <c:pt idx="944">
                  <c:v>45506</c:v>
                </c:pt>
                <c:pt idx="945">
                  <c:v>45507</c:v>
                </c:pt>
                <c:pt idx="946">
                  <c:v>45508</c:v>
                </c:pt>
                <c:pt idx="947">
                  <c:v>45509</c:v>
                </c:pt>
                <c:pt idx="948">
                  <c:v>45510</c:v>
                </c:pt>
                <c:pt idx="949">
                  <c:v>45511</c:v>
                </c:pt>
                <c:pt idx="950">
                  <c:v>45512</c:v>
                </c:pt>
                <c:pt idx="951">
                  <c:v>45513</c:v>
                </c:pt>
                <c:pt idx="952">
                  <c:v>45514</c:v>
                </c:pt>
                <c:pt idx="953">
                  <c:v>45515</c:v>
                </c:pt>
                <c:pt idx="954">
                  <c:v>45516</c:v>
                </c:pt>
                <c:pt idx="955">
                  <c:v>45517</c:v>
                </c:pt>
                <c:pt idx="956">
                  <c:v>45518</c:v>
                </c:pt>
                <c:pt idx="957">
                  <c:v>45519</c:v>
                </c:pt>
                <c:pt idx="958">
                  <c:v>45520</c:v>
                </c:pt>
                <c:pt idx="959">
                  <c:v>45521</c:v>
                </c:pt>
                <c:pt idx="960">
                  <c:v>45522</c:v>
                </c:pt>
                <c:pt idx="961">
                  <c:v>45523</c:v>
                </c:pt>
                <c:pt idx="962">
                  <c:v>45524</c:v>
                </c:pt>
                <c:pt idx="963">
                  <c:v>45525</c:v>
                </c:pt>
                <c:pt idx="964">
                  <c:v>45526</c:v>
                </c:pt>
                <c:pt idx="965">
                  <c:v>45527</c:v>
                </c:pt>
                <c:pt idx="966">
                  <c:v>45528</c:v>
                </c:pt>
                <c:pt idx="967">
                  <c:v>45529</c:v>
                </c:pt>
                <c:pt idx="968">
                  <c:v>45530</c:v>
                </c:pt>
                <c:pt idx="969">
                  <c:v>45531</c:v>
                </c:pt>
                <c:pt idx="970">
                  <c:v>45532</c:v>
                </c:pt>
                <c:pt idx="971">
                  <c:v>45533</c:v>
                </c:pt>
                <c:pt idx="972">
                  <c:v>45534</c:v>
                </c:pt>
                <c:pt idx="973">
                  <c:v>45535</c:v>
                </c:pt>
                <c:pt idx="974">
                  <c:v>45536</c:v>
                </c:pt>
                <c:pt idx="975">
                  <c:v>45537</c:v>
                </c:pt>
                <c:pt idx="976">
                  <c:v>45538</c:v>
                </c:pt>
                <c:pt idx="977">
                  <c:v>45539</c:v>
                </c:pt>
                <c:pt idx="978">
                  <c:v>45540</c:v>
                </c:pt>
                <c:pt idx="979">
                  <c:v>45541</c:v>
                </c:pt>
                <c:pt idx="980">
                  <c:v>45542</c:v>
                </c:pt>
                <c:pt idx="981">
                  <c:v>45543</c:v>
                </c:pt>
                <c:pt idx="982">
                  <c:v>45544</c:v>
                </c:pt>
                <c:pt idx="983">
                  <c:v>45545</c:v>
                </c:pt>
                <c:pt idx="984">
                  <c:v>45546</c:v>
                </c:pt>
                <c:pt idx="985">
                  <c:v>45547</c:v>
                </c:pt>
                <c:pt idx="986">
                  <c:v>45548</c:v>
                </c:pt>
                <c:pt idx="987">
                  <c:v>45549</c:v>
                </c:pt>
                <c:pt idx="988">
                  <c:v>45550</c:v>
                </c:pt>
                <c:pt idx="989">
                  <c:v>45551</c:v>
                </c:pt>
                <c:pt idx="990">
                  <c:v>45552</c:v>
                </c:pt>
                <c:pt idx="991">
                  <c:v>45553</c:v>
                </c:pt>
                <c:pt idx="992">
                  <c:v>45554</c:v>
                </c:pt>
                <c:pt idx="993">
                  <c:v>45555</c:v>
                </c:pt>
                <c:pt idx="994">
                  <c:v>45556</c:v>
                </c:pt>
                <c:pt idx="995">
                  <c:v>45557</c:v>
                </c:pt>
                <c:pt idx="996">
                  <c:v>45558</c:v>
                </c:pt>
                <c:pt idx="997">
                  <c:v>45559</c:v>
                </c:pt>
                <c:pt idx="998">
                  <c:v>45560</c:v>
                </c:pt>
                <c:pt idx="999">
                  <c:v>45561</c:v>
                </c:pt>
                <c:pt idx="1000">
                  <c:v>45562</c:v>
                </c:pt>
                <c:pt idx="1001">
                  <c:v>45563</c:v>
                </c:pt>
                <c:pt idx="1002">
                  <c:v>45564</c:v>
                </c:pt>
                <c:pt idx="1003">
                  <c:v>45565</c:v>
                </c:pt>
                <c:pt idx="1004">
                  <c:v>45566</c:v>
                </c:pt>
                <c:pt idx="1005">
                  <c:v>45567</c:v>
                </c:pt>
                <c:pt idx="1006">
                  <c:v>45568</c:v>
                </c:pt>
                <c:pt idx="1007">
                  <c:v>45569</c:v>
                </c:pt>
                <c:pt idx="1008">
                  <c:v>45570</c:v>
                </c:pt>
                <c:pt idx="1009">
                  <c:v>45571</c:v>
                </c:pt>
                <c:pt idx="1010">
                  <c:v>45572</c:v>
                </c:pt>
                <c:pt idx="1011">
                  <c:v>45573</c:v>
                </c:pt>
                <c:pt idx="1012">
                  <c:v>45574</c:v>
                </c:pt>
                <c:pt idx="1013">
                  <c:v>45575</c:v>
                </c:pt>
                <c:pt idx="1014">
                  <c:v>45576</c:v>
                </c:pt>
                <c:pt idx="1015">
                  <c:v>45577</c:v>
                </c:pt>
                <c:pt idx="1016">
                  <c:v>45578</c:v>
                </c:pt>
                <c:pt idx="1017">
                  <c:v>45579</c:v>
                </c:pt>
                <c:pt idx="1018">
                  <c:v>45580</c:v>
                </c:pt>
                <c:pt idx="1019">
                  <c:v>45581</c:v>
                </c:pt>
                <c:pt idx="1020">
                  <c:v>45582</c:v>
                </c:pt>
                <c:pt idx="1021">
                  <c:v>45583</c:v>
                </c:pt>
                <c:pt idx="1022">
                  <c:v>45584</c:v>
                </c:pt>
                <c:pt idx="1023">
                  <c:v>45585</c:v>
                </c:pt>
                <c:pt idx="1024">
                  <c:v>45586</c:v>
                </c:pt>
                <c:pt idx="1025">
                  <c:v>45587</c:v>
                </c:pt>
                <c:pt idx="1026">
                  <c:v>45588</c:v>
                </c:pt>
                <c:pt idx="1027">
                  <c:v>45589</c:v>
                </c:pt>
                <c:pt idx="1028">
                  <c:v>45590</c:v>
                </c:pt>
                <c:pt idx="1029">
                  <c:v>45591</c:v>
                </c:pt>
                <c:pt idx="1030">
                  <c:v>45592</c:v>
                </c:pt>
                <c:pt idx="1031">
                  <c:v>45593</c:v>
                </c:pt>
                <c:pt idx="1032">
                  <c:v>45594</c:v>
                </c:pt>
                <c:pt idx="1033">
                  <c:v>45595</c:v>
                </c:pt>
                <c:pt idx="1034">
                  <c:v>45596</c:v>
                </c:pt>
                <c:pt idx="1035">
                  <c:v>45597</c:v>
                </c:pt>
                <c:pt idx="1036">
                  <c:v>45598</c:v>
                </c:pt>
                <c:pt idx="1037">
                  <c:v>45599</c:v>
                </c:pt>
                <c:pt idx="1038">
                  <c:v>45600</c:v>
                </c:pt>
                <c:pt idx="1039">
                  <c:v>45601</c:v>
                </c:pt>
                <c:pt idx="1040">
                  <c:v>45602</c:v>
                </c:pt>
                <c:pt idx="1041">
                  <c:v>45603</c:v>
                </c:pt>
                <c:pt idx="1042">
                  <c:v>45604</c:v>
                </c:pt>
                <c:pt idx="1043">
                  <c:v>45605</c:v>
                </c:pt>
                <c:pt idx="1044">
                  <c:v>45606</c:v>
                </c:pt>
                <c:pt idx="1045">
                  <c:v>45607</c:v>
                </c:pt>
                <c:pt idx="1046">
                  <c:v>45608</c:v>
                </c:pt>
                <c:pt idx="1047">
                  <c:v>45609</c:v>
                </c:pt>
                <c:pt idx="1048">
                  <c:v>45610</c:v>
                </c:pt>
                <c:pt idx="1049">
                  <c:v>45611</c:v>
                </c:pt>
                <c:pt idx="1050">
                  <c:v>45612</c:v>
                </c:pt>
                <c:pt idx="1051">
                  <c:v>45613</c:v>
                </c:pt>
                <c:pt idx="1052">
                  <c:v>45614</c:v>
                </c:pt>
                <c:pt idx="1053">
                  <c:v>45615</c:v>
                </c:pt>
                <c:pt idx="1054">
                  <c:v>45616</c:v>
                </c:pt>
                <c:pt idx="1055">
                  <c:v>45617</c:v>
                </c:pt>
                <c:pt idx="1056">
                  <c:v>45618</c:v>
                </c:pt>
                <c:pt idx="1057">
                  <c:v>45619</c:v>
                </c:pt>
                <c:pt idx="1058">
                  <c:v>45620</c:v>
                </c:pt>
                <c:pt idx="1059">
                  <c:v>45621</c:v>
                </c:pt>
                <c:pt idx="1060">
                  <c:v>45622</c:v>
                </c:pt>
                <c:pt idx="1061">
                  <c:v>45623</c:v>
                </c:pt>
                <c:pt idx="1062">
                  <c:v>45624</c:v>
                </c:pt>
                <c:pt idx="1063">
                  <c:v>45625</c:v>
                </c:pt>
                <c:pt idx="1064">
                  <c:v>45626</c:v>
                </c:pt>
                <c:pt idx="1065">
                  <c:v>45627</c:v>
                </c:pt>
                <c:pt idx="1066">
                  <c:v>45628</c:v>
                </c:pt>
                <c:pt idx="1067">
                  <c:v>45629</c:v>
                </c:pt>
                <c:pt idx="1068">
                  <c:v>45630</c:v>
                </c:pt>
                <c:pt idx="1069">
                  <c:v>45631</c:v>
                </c:pt>
                <c:pt idx="1070">
                  <c:v>45632</c:v>
                </c:pt>
                <c:pt idx="1071">
                  <c:v>45633</c:v>
                </c:pt>
                <c:pt idx="1072">
                  <c:v>45634</c:v>
                </c:pt>
                <c:pt idx="1073">
                  <c:v>45635</c:v>
                </c:pt>
                <c:pt idx="1074">
                  <c:v>45636</c:v>
                </c:pt>
                <c:pt idx="1075">
                  <c:v>45637</c:v>
                </c:pt>
                <c:pt idx="1076">
                  <c:v>45638</c:v>
                </c:pt>
                <c:pt idx="1077">
                  <c:v>45639</c:v>
                </c:pt>
                <c:pt idx="1078">
                  <c:v>45640</c:v>
                </c:pt>
                <c:pt idx="1079">
                  <c:v>45641</c:v>
                </c:pt>
                <c:pt idx="1080">
                  <c:v>45642</c:v>
                </c:pt>
                <c:pt idx="1081">
                  <c:v>45643</c:v>
                </c:pt>
                <c:pt idx="1082">
                  <c:v>45644</c:v>
                </c:pt>
                <c:pt idx="1083">
                  <c:v>45645</c:v>
                </c:pt>
                <c:pt idx="1084">
                  <c:v>45646</c:v>
                </c:pt>
                <c:pt idx="1085">
                  <c:v>45647</c:v>
                </c:pt>
                <c:pt idx="1086">
                  <c:v>45648</c:v>
                </c:pt>
                <c:pt idx="1087">
                  <c:v>45649</c:v>
                </c:pt>
                <c:pt idx="1088">
                  <c:v>45650</c:v>
                </c:pt>
                <c:pt idx="1089">
                  <c:v>45651</c:v>
                </c:pt>
                <c:pt idx="1090">
                  <c:v>45652</c:v>
                </c:pt>
                <c:pt idx="1091">
                  <c:v>45653</c:v>
                </c:pt>
                <c:pt idx="1092">
                  <c:v>45654</c:v>
                </c:pt>
                <c:pt idx="1093">
                  <c:v>45655</c:v>
                </c:pt>
                <c:pt idx="1094">
                  <c:v>45656</c:v>
                </c:pt>
                <c:pt idx="1095">
                  <c:v>45657</c:v>
                </c:pt>
                <c:pt idx="1096">
                  <c:v>45658</c:v>
                </c:pt>
                <c:pt idx="1097">
                  <c:v>45659</c:v>
                </c:pt>
                <c:pt idx="1098">
                  <c:v>45660</c:v>
                </c:pt>
                <c:pt idx="1099">
                  <c:v>45661</c:v>
                </c:pt>
                <c:pt idx="1100">
                  <c:v>45662</c:v>
                </c:pt>
                <c:pt idx="1101">
                  <c:v>45663</c:v>
                </c:pt>
                <c:pt idx="1102">
                  <c:v>45664</c:v>
                </c:pt>
                <c:pt idx="1103">
                  <c:v>45665</c:v>
                </c:pt>
                <c:pt idx="1104">
                  <c:v>45666</c:v>
                </c:pt>
                <c:pt idx="1105">
                  <c:v>45667</c:v>
                </c:pt>
                <c:pt idx="1106">
                  <c:v>45668</c:v>
                </c:pt>
                <c:pt idx="1107">
                  <c:v>45669</c:v>
                </c:pt>
                <c:pt idx="1108">
                  <c:v>45670</c:v>
                </c:pt>
                <c:pt idx="1109">
                  <c:v>45671</c:v>
                </c:pt>
                <c:pt idx="1110">
                  <c:v>45672</c:v>
                </c:pt>
                <c:pt idx="1111">
                  <c:v>45673</c:v>
                </c:pt>
                <c:pt idx="1112">
                  <c:v>45674</c:v>
                </c:pt>
                <c:pt idx="1113">
                  <c:v>45675</c:v>
                </c:pt>
                <c:pt idx="1114">
                  <c:v>45676</c:v>
                </c:pt>
                <c:pt idx="1115">
                  <c:v>45677</c:v>
                </c:pt>
                <c:pt idx="1116">
                  <c:v>45678</c:v>
                </c:pt>
                <c:pt idx="1117">
                  <c:v>45679</c:v>
                </c:pt>
                <c:pt idx="1118">
                  <c:v>45680</c:v>
                </c:pt>
                <c:pt idx="1119">
                  <c:v>45681</c:v>
                </c:pt>
                <c:pt idx="1120">
                  <c:v>45682</c:v>
                </c:pt>
                <c:pt idx="1121">
                  <c:v>45683</c:v>
                </c:pt>
                <c:pt idx="1122">
                  <c:v>45684</c:v>
                </c:pt>
                <c:pt idx="1123">
                  <c:v>45685</c:v>
                </c:pt>
                <c:pt idx="1124">
                  <c:v>45686</c:v>
                </c:pt>
                <c:pt idx="1125">
                  <c:v>45687</c:v>
                </c:pt>
                <c:pt idx="1126">
                  <c:v>45688</c:v>
                </c:pt>
                <c:pt idx="1127">
                  <c:v>45689</c:v>
                </c:pt>
                <c:pt idx="1128">
                  <c:v>45690</c:v>
                </c:pt>
                <c:pt idx="1129">
                  <c:v>45691</c:v>
                </c:pt>
                <c:pt idx="1130">
                  <c:v>45692</c:v>
                </c:pt>
                <c:pt idx="1131">
                  <c:v>45693</c:v>
                </c:pt>
                <c:pt idx="1132">
                  <c:v>45694</c:v>
                </c:pt>
                <c:pt idx="1133">
                  <c:v>45695</c:v>
                </c:pt>
                <c:pt idx="1134">
                  <c:v>45696</c:v>
                </c:pt>
                <c:pt idx="1135">
                  <c:v>45697</c:v>
                </c:pt>
                <c:pt idx="1136">
                  <c:v>45698</c:v>
                </c:pt>
                <c:pt idx="1137">
                  <c:v>45699</c:v>
                </c:pt>
                <c:pt idx="1138">
                  <c:v>45700</c:v>
                </c:pt>
                <c:pt idx="1139">
                  <c:v>45701</c:v>
                </c:pt>
                <c:pt idx="1140">
                  <c:v>45702</c:v>
                </c:pt>
                <c:pt idx="1141">
                  <c:v>45703</c:v>
                </c:pt>
                <c:pt idx="1142">
                  <c:v>45704</c:v>
                </c:pt>
                <c:pt idx="1143">
                  <c:v>45705</c:v>
                </c:pt>
                <c:pt idx="1144">
                  <c:v>45706</c:v>
                </c:pt>
                <c:pt idx="1145">
                  <c:v>45707</c:v>
                </c:pt>
                <c:pt idx="1146">
                  <c:v>45708</c:v>
                </c:pt>
                <c:pt idx="1147">
                  <c:v>45709</c:v>
                </c:pt>
                <c:pt idx="1148">
                  <c:v>45710</c:v>
                </c:pt>
                <c:pt idx="1149">
                  <c:v>45711</c:v>
                </c:pt>
                <c:pt idx="1150">
                  <c:v>45712</c:v>
                </c:pt>
                <c:pt idx="1151">
                  <c:v>45713</c:v>
                </c:pt>
                <c:pt idx="1152">
                  <c:v>45714</c:v>
                </c:pt>
                <c:pt idx="1153">
                  <c:v>45715</c:v>
                </c:pt>
                <c:pt idx="1154">
                  <c:v>45716</c:v>
                </c:pt>
                <c:pt idx="1155">
                  <c:v>45717</c:v>
                </c:pt>
                <c:pt idx="1156">
                  <c:v>45718</c:v>
                </c:pt>
                <c:pt idx="1157">
                  <c:v>45719</c:v>
                </c:pt>
                <c:pt idx="1158">
                  <c:v>45720</c:v>
                </c:pt>
                <c:pt idx="1159">
                  <c:v>45721</c:v>
                </c:pt>
                <c:pt idx="1160">
                  <c:v>45722</c:v>
                </c:pt>
                <c:pt idx="1161">
                  <c:v>45723</c:v>
                </c:pt>
                <c:pt idx="1162">
                  <c:v>45724</c:v>
                </c:pt>
                <c:pt idx="1163">
                  <c:v>45725</c:v>
                </c:pt>
                <c:pt idx="1164">
                  <c:v>45726</c:v>
                </c:pt>
                <c:pt idx="1165">
                  <c:v>45727</c:v>
                </c:pt>
                <c:pt idx="1166">
                  <c:v>45728</c:v>
                </c:pt>
                <c:pt idx="1167">
                  <c:v>45729</c:v>
                </c:pt>
                <c:pt idx="1168">
                  <c:v>45730</c:v>
                </c:pt>
                <c:pt idx="1169">
                  <c:v>45731</c:v>
                </c:pt>
                <c:pt idx="1170">
                  <c:v>45732</c:v>
                </c:pt>
                <c:pt idx="1171">
                  <c:v>45733</c:v>
                </c:pt>
                <c:pt idx="1172">
                  <c:v>45734</c:v>
                </c:pt>
                <c:pt idx="1173">
                  <c:v>45735</c:v>
                </c:pt>
                <c:pt idx="1174">
                  <c:v>45736</c:v>
                </c:pt>
                <c:pt idx="1175">
                  <c:v>45737</c:v>
                </c:pt>
                <c:pt idx="1176">
                  <c:v>45738</c:v>
                </c:pt>
                <c:pt idx="1177">
                  <c:v>45739</c:v>
                </c:pt>
                <c:pt idx="1178">
                  <c:v>45740</c:v>
                </c:pt>
                <c:pt idx="1179">
                  <c:v>45741</c:v>
                </c:pt>
                <c:pt idx="1180">
                  <c:v>45742</c:v>
                </c:pt>
                <c:pt idx="1181">
                  <c:v>45743</c:v>
                </c:pt>
                <c:pt idx="1182">
                  <c:v>45744</c:v>
                </c:pt>
                <c:pt idx="1183">
                  <c:v>45745</c:v>
                </c:pt>
                <c:pt idx="1184">
                  <c:v>45746</c:v>
                </c:pt>
                <c:pt idx="1185">
                  <c:v>45747</c:v>
                </c:pt>
                <c:pt idx="1186">
                  <c:v>45748</c:v>
                </c:pt>
                <c:pt idx="1187">
                  <c:v>45749</c:v>
                </c:pt>
                <c:pt idx="1188">
                  <c:v>45750</c:v>
                </c:pt>
                <c:pt idx="1189">
                  <c:v>45751</c:v>
                </c:pt>
                <c:pt idx="1190">
                  <c:v>45752</c:v>
                </c:pt>
                <c:pt idx="1191">
                  <c:v>45753</c:v>
                </c:pt>
                <c:pt idx="1192">
                  <c:v>45754</c:v>
                </c:pt>
                <c:pt idx="1193">
                  <c:v>45755</c:v>
                </c:pt>
                <c:pt idx="1194">
                  <c:v>45756</c:v>
                </c:pt>
                <c:pt idx="1195">
                  <c:v>45757</c:v>
                </c:pt>
                <c:pt idx="1196">
                  <c:v>45758</c:v>
                </c:pt>
                <c:pt idx="1197">
                  <c:v>45759</c:v>
                </c:pt>
                <c:pt idx="1198">
                  <c:v>45760</c:v>
                </c:pt>
                <c:pt idx="1199">
                  <c:v>45761</c:v>
                </c:pt>
                <c:pt idx="1200">
                  <c:v>45762</c:v>
                </c:pt>
                <c:pt idx="1201">
                  <c:v>45763</c:v>
                </c:pt>
                <c:pt idx="1202">
                  <c:v>45764</c:v>
                </c:pt>
                <c:pt idx="1203">
                  <c:v>45765</c:v>
                </c:pt>
                <c:pt idx="1204">
                  <c:v>45766</c:v>
                </c:pt>
                <c:pt idx="1205">
                  <c:v>45767</c:v>
                </c:pt>
                <c:pt idx="1206">
                  <c:v>45768</c:v>
                </c:pt>
                <c:pt idx="1207">
                  <c:v>45769</c:v>
                </c:pt>
                <c:pt idx="1208">
                  <c:v>45770</c:v>
                </c:pt>
                <c:pt idx="1209">
                  <c:v>45771</c:v>
                </c:pt>
                <c:pt idx="1210">
                  <c:v>45772</c:v>
                </c:pt>
                <c:pt idx="1211">
                  <c:v>45773</c:v>
                </c:pt>
                <c:pt idx="1212">
                  <c:v>45774</c:v>
                </c:pt>
                <c:pt idx="1213">
                  <c:v>45775</c:v>
                </c:pt>
                <c:pt idx="1214">
                  <c:v>45776</c:v>
                </c:pt>
                <c:pt idx="1215">
                  <c:v>45777</c:v>
                </c:pt>
                <c:pt idx="1216">
                  <c:v>45778</c:v>
                </c:pt>
                <c:pt idx="1217">
                  <c:v>45779</c:v>
                </c:pt>
                <c:pt idx="1218">
                  <c:v>45780</c:v>
                </c:pt>
                <c:pt idx="1219">
                  <c:v>45781</c:v>
                </c:pt>
                <c:pt idx="1220">
                  <c:v>45782</c:v>
                </c:pt>
                <c:pt idx="1221">
                  <c:v>45783</c:v>
                </c:pt>
                <c:pt idx="1222">
                  <c:v>45784</c:v>
                </c:pt>
                <c:pt idx="1223">
                  <c:v>45785</c:v>
                </c:pt>
                <c:pt idx="1224">
                  <c:v>45786</c:v>
                </c:pt>
                <c:pt idx="1225">
                  <c:v>45787</c:v>
                </c:pt>
                <c:pt idx="1226">
                  <c:v>45788</c:v>
                </c:pt>
                <c:pt idx="1227">
                  <c:v>45789</c:v>
                </c:pt>
                <c:pt idx="1228">
                  <c:v>45790</c:v>
                </c:pt>
                <c:pt idx="1229">
                  <c:v>45791</c:v>
                </c:pt>
                <c:pt idx="1230">
                  <c:v>45792</c:v>
                </c:pt>
                <c:pt idx="1231">
                  <c:v>45793</c:v>
                </c:pt>
                <c:pt idx="1232">
                  <c:v>45794</c:v>
                </c:pt>
                <c:pt idx="1233">
                  <c:v>45795</c:v>
                </c:pt>
                <c:pt idx="1234">
                  <c:v>45796</c:v>
                </c:pt>
                <c:pt idx="1235">
                  <c:v>45797</c:v>
                </c:pt>
                <c:pt idx="1236">
                  <c:v>45798</c:v>
                </c:pt>
                <c:pt idx="1237">
                  <c:v>45799</c:v>
                </c:pt>
                <c:pt idx="1238">
                  <c:v>45800</c:v>
                </c:pt>
                <c:pt idx="1239">
                  <c:v>45801</c:v>
                </c:pt>
                <c:pt idx="1240">
                  <c:v>45802</c:v>
                </c:pt>
                <c:pt idx="1241">
                  <c:v>45803</c:v>
                </c:pt>
                <c:pt idx="1242">
                  <c:v>45804</c:v>
                </c:pt>
                <c:pt idx="1243">
                  <c:v>45805</c:v>
                </c:pt>
                <c:pt idx="1244">
                  <c:v>45806</c:v>
                </c:pt>
                <c:pt idx="1245">
                  <c:v>45807</c:v>
                </c:pt>
                <c:pt idx="1246">
                  <c:v>45808</c:v>
                </c:pt>
              </c:numCache>
            </c:numRef>
          </c:cat>
          <c:val>
            <c:numRef>
              <c:f>FXHC!$V$12:$V$1258</c:f>
              <c:numCache>
                <c:formatCode>_(* #,##0.0_);_(* \(#,##0.0\);_(* "-"??_);_(@_)</c:formatCode>
                <c:ptCount val="1247"/>
                <c:pt idx="0" formatCode="General">
                  <c:v>100</c:v>
                </c:pt>
                <c:pt idx="1">
                  <c:v>100</c:v>
                </c:pt>
                <c:pt idx="2">
                  <c:v>100.19102872506014</c:v>
                </c:pt>
                <c:pt idx="3">
                  <c:v>99.86366093885897</c:v>
                </c:pt>
                <c:pt idx="4">
                  <c:v>101.65099418562917</c:v>
                </c:pt>
                <c:pt idx="5">
                  <c:v>102.22088546679497</c:v>
                </c:pt>
                <c:pt idx="6">
                  <c:v>102.25779275484413</c:v>
                </c:pt>
                <c:pt idx="7">
                  <c:v>102.25779275484413</c:v>
                </c:pt>
                <c:pt idx="8">
                  <c:v>102.25779275484413</c:v>
                </c:pt>
                <c:pt idx="9">
                  <c:v>102.19383704986647</c:v>
                </c:pt>
                <c:pt idx="10">
                  <c:v>102.17417446307029</c:v>
                </c:pt>
                <c:pt idx="11">
                  <c:v>101.67045590522913</c:v>
                </c:pt>
                <c:pt idx="12">
                  <c:v>102.21350720592832</c:v>
                </c:pt>
                <c:pt idx="13">
                  <c:v>102.11768664968028</c:v>
                </c:pt>
                <c:pt idx="14">
                  <c:v>102.11768664968028</c:v>
                </c:pt>
                <c:pt idx="15">
                  <c:v>102.11768664968028</c:v>
                </c:pt>
                <c:pt idx="16">
                  <c:v>101.61938477730466</c:v>
                </c:pt>
                <c:pt idx="17">
                  <c:v>102.22088546679495</c:v>
                </c:pt>
                <c:pt idx="18">
                  <c:v>101.67288914416999</c:v>
                </c:pt>
                <c:pt idx="19">
                  <c:v>102.0833333333333</c:v>
                </c:pt>
                <c:pt idx="20">
                  <c:v>102.16188918814926</c:v>
                </c:pt>
                <c:pt idx="21">
                  <c:v>102.16188918814926</c:v>
                </c:pt>
                <c:pt idx="22">
                  <c:v>102.16188918814926</c:v>
                </c:pt>
                <c:pt idx="23">
                  <c:v>102.09314620782463</c:v>
                </c:pt>
                <c:pt idx="24">
                  <c:v>102.10541495421441</c:v>
                </c:pt>
                <c:pt idx="25">
                  <c:v>102.15206309512357</c:v>
                </c:pt>
                <c:pt idx="26">
                  <c:v>102.09805335255946</c:v>
                </c:pt>
                <c:pt idx="27">
                  <c:v>102.17663187262495</c:v>
                </c:pt>
                <c:pt idx="28">
                  <c:v>102.17663187262495</c:v>
                </c:pt>
                <c:pt idx="29">
                  <c:v>102.17663187262495</c:v>
                </c:pt>
                <c:pt idx="30">
                  <c:v>102.1741744630703</c:v>
                </c:pt>
                <c:pt idx="31">
                  <c:v>102.14960686720046</c:v>
                </c:pt>
                <c:pt idx="32">
                  <c:v>102.1618891881493</c:v>
                </c:pt>
                <c:pt idx="33">
                  <c:v>102.12505108295872</c:v>
                </c:pt>
                <c:pt idx="34">
                  <c:v>102.08823953477194</c:v>
                </c:pt>
                <c:pt idx="35">
                  <c:v>102.08823953477194</c:v>
                </c:pt>
                <c:pt idx="36">
                  <c:v>102.08823953477194</c:v>
                </c:pt>
                <c:pt idx="37">
                  <c:v>102.0710698926023</c:v>
                </c:pt>
                <c:pt idx="38">
                  <c:v>102.04410069177555</c:v>
                </c:pt>
                <c:pt idx="39">
                  <c:v>101.59994260295596</c:v>
                </c:pt>
                <c:pt idx="40">
                  <c:v>102.01469599462108</c:v>
                </c:pt>
                <c:pt idx="41">
                  <c:v>101.67532249958118</c:v>
                </c:pt>
                <c:pt idx="42">
                  <c:v>101.67532249958118</c:v>
                </c:pt>
                <c:pt idx="43">
                  <c:v>101.67532249958118</c:v>
                </c:pt>
                <c:pt idx="44">
                  <c:v>101.59265370543082</c:v>
                </c:pt>
                <c:pt idx="45">
                  <c:v>102.10050710182894</c:v>
                </c:pt>
                <c:pt idx="46">
                  <c:v>102.049003122748</c:v>
                </c:pt>
                <c:pt idx="47">
                  <c:v>101.91924765491926</c:v>
                </c:pt>
                <c:pt idx="48">
                  <c:v>101.53438015343801</c:v>
                </c:pt>
                <c:pt idx="49">
                  <c:v>101.53438015343801</c:v>
                </c:pt>
                <c:pt idx="50">
                  <c:v>101.53438015343801</c:v>
                </c:pt>
                <c:pt idx="51">
                  <c:v>102.0710698926023</c:v>
                </c:pt>
                <c:pt idx="52">
                  <c:v>102.07842760344082</c:v>
                </c:pt>
                <c:pt idx="53">
                  <c:v>102.12259615384615</c:v>
                </c:pt>
                <c:pt idx="54">
                  <c:v>102.11768664968029</c:v>
                </c:pt>
                <c:pt idx="55">
                  <c:v>102.15697590535277</c:v>
                </c:pt>
                <c:pt idx="56">
                  <c:v>102.15697590535277</c:v>
                </c:pt>
                <c:pt idx="57">
                  <c:v>102.15697590535277</c:v>
                </c:pt>
                <c:pt idx="58">
                  <c:v>101.65342649310873</c:v>
                </c:pt>
                <c:pt idx="59">
                  <c:v>102.1029609690444</c:v>
                </c:pt>
                <c:pt idx="60">
                  <c:v>102.10541495421444</c:v>
                </c:pt>
                <c:pt idx="61">
                  <c:v>102.11523207461001</c:v>
                </c:pt>
                <c:pt idx="62">
                  <c:v>102.16188918814927</c:v>
                </c:pt>
                <c:pt idx="63">
                  <c:v>102.16188918814927</c:v>
                </c:pt>
                <c:pt idx="64">
                  <c:v>102.16188918814927</c:v>
                </c:pt>
                <c:pt idx="65">
                  <c:v>102.13241657851715</c:v>
                </c:pt>
                <c:pt idx="66">
                  <c:v>102.1545194411715</c:v>
                </c:pt>
                <c:pt idx="67">
                  <c:v>101.60723254645904</c:v>
                </c:pt>
                <c:pt idx="68">
                  <c:v>101.74594050869376</c:v>
                </c:pt>
                <c:pt idx="69">
                  <c:v>102.12014134275617</c:v>
                </c:pt>
                <c:pt idx="70">
                  <c:v>102.12014134275617</c:v>
                </c:pt>
                <c:pt idx="71">
                  <c:v>102.12014134275617</c:v>
                </c:pt>
                <c:pt idx="72">
                  <c:v>102.14223889209461</c:v>
                </c:pt>
                <c:pt idx="73">
                  <c:v>102.09559972122754</c:v>
                </c:pt>
                <c:pt idx="74">
                  <c:v>102.26025418833042</c:v>
                </c:pt>
                <c:pt idx="75">
                  <c:v>102.0171457387796</c:v>
                </c:pt>
                <c:pt idx="76">
                  <c:v>102.1545194411715</c:v>
                </c:pt>
                <c:pt idx="77">
                  <c:v>102.1545194411715</c:v>
                </c:pt>
                <c:pt idx="78">
                  <c:v>102.1545194411715</c:v>
                </c:pt>
                <c:pt idx="79">
                  <c:v>102.18154704637288</c:v>
                </c:pt>
                <c:pt idx="80">
                  <c:v>101.99265359037763</c:v>
                </c:pt>
                <c:pt idx="81">
                  <c:v>102.09805335255948</c:v>
                </c:pt>
                <c:pt idx="82">
                  <c:v>102.12996129528571</c:v>
                </c:pt>
                <c:pt idx="83">
                  <c:v>102.18892069371945</c:v>
                </c:pt>
                <c:pt idx="84">
                  <c:v>102.18892069371945</c:v>
                </c:pt>
                <c:pt idx="85">
                  <c:v>102.18892069371945</c:v>
                </c:pt>
                <c:pt idx="86">
                  <c:v>102.14960686720045</c:v>
                </c:pt>
                <c:pt idx="87">
                  <c:v>102.15206309512358</c:v>
                </c:pt>
                <c:pt idx="88">
                  <c:v>102.17171717171716</c:v>
                </c:pt>
                <c:pt idx="89">
                  <c:v>102.13978313658546</c:v>
                </c:pt>
                <c:pt idx="90">
                  <c:v>102.17908940038963</c:v>
                </c:pt>
                <c:pt idx="91">
                  <c:v>102.17908940038963</c:v>
                </c:pt>
                <c:pt idx="92">
                  <c:v>102.17908940038963</c:v>
                </c:pt>
                <c:pt idx="93">
                  <c:v>102.16680294358135</c:v>
                </c:pt>
                <c:pt idx="94">
                  <c:v>102.07106989260228</c:v>
                </c:pt>
                <c:pt idx="95">
                  <c:v>102.08088040944804</c:v>
                </c:pt>
                <c:pt idx="96">
                  <c:v>102.15943248767582</c:v>
                </c:pt>
                <c:pt idx="97">
                  <c:v>102.18400481058328</c:v>
                </c:pt>
                <c:pt idx="98">
                  <c:v>102.18400481058328</c:v>
                </c:pt>
                <c:pt idx="99">
                  <c:v>102.18400481058328</c:v>
                </c:pt>
                <c:pt idx="100">
                  <c:v>102.24056603773585</c:v>
                </c:pt>
                <c:pt idx="101">
                  <c:v>102.24302664195805</c:v>
                </c:pt>
                <c:pt idx="102">
                  <c:v>102.28487504213413</c:v>
                </c:pt>
                <c:pt idx="103">
                  <c:v>102.19629540534038</c:v>
                </c:pt>
                <c:pt idx="104">
                  <c:v>102.29718991548071</c:v>
                </c:pt>
                <c:pt idx="105">
                  <c:v>102.29718991548071</c:v>
                </c:pt>
                <c:pt idx="106">
                  <c:v>102.29718991548071</c:v>
                </c:pt>
                <c:pt idx="107">
                  <c:v>102.25779275484412</c:v>
                </c:pt>
                <c:pt idx="108">
                  <c:v>102.1471507573936</c:v>
                </c:pt>
                <c:pt idx="109">
                  <c:v>102.1815470463729</c:v>
                </c:pt>
                <c:pt idx="110">
                  <c:v>102.17171717171716</c:v>
                </c:pt>
                <c:pt idx="111">
                  <c:v>102.23072480508229</c:v>
                </c:pt>
                <c:pt idx="112">
                  <c:v>102.23072480508229</c:v>
                </c:pt>
                <c:pt idx="113">
                  <c:v>102.23072480508229</c:v>
                </c:pt>
                <c:pt idx="114">
                  <c:v>102.16680294358133</c:v>
                </c:pt>
                <c:pt idx="115">
                  <c:v>102.18646269302926</c:v>
                </c:pt>
                <c:pt idx="116">
                  <c:v>102.20121247113161</c:v>
                </c:pt>
                <c:pt idx="117">
                  <c:v>102.21842592815375</c:v>
                </c:pt>
                <c:pt idx="118">
                  <c:v>102.22826479293497</c:v>
                </c:pt>
                <c:pt idx="119">
                  <c:v>102.22826479293497</c:v>
                </c:pt>
                <c:pt idx="120">
                  <c:v>102.22826479293497</c:v>
                </c:pt>
                <c:pt idx="121">
                  <c:v>102.22826479293497</c:v>
                </c:pt>
                <c:pt idx="122">
                  <c:v>102.22826479293497</c:v>
                </c:pt>
                <c:pt idx="123">
                  <c:v>102.21350720592831</c:v>
                </c:pt>
                <c:pt idx="124">
                  <c:v>102.23810555194568</c:v>
                </c:pt>
                <c:pt idx="125">
                  <c:v>102.21104802232698</c:v>
                </c:pt>
                <c:pt idx="126">
                  <c:v>102.21104802232698</c:v>
                </c:pt>
                <c:pt idx="127">
                  <c:v>102.21104802232698</c:v>
                </c:pt>
                <c:pt idx="128">
                  <c:v>102.1790894003896</c:v>
                </c:pt>
                <c:pt idx="129">
                  <c:v>102.14715075739359</c:v>
                </c:pt>
                <c:pt idx="130">
                  <c:v>102.14223889209461</c:v>
                </c:pt>
                <c:pt idx="131">
                  <c:v>102.07106989260228</c:v>
                </c:pt>
                <c:pt idx="132">
                  <c:v>102.25287024333885</c:v>
                </c:pt>
                <c:pt idx="133">
                  <c:v>102.25287024333885</c:v>
                </c:pt>
                <c:pt idx="134">
                  <c:v>102.25287024333885</c:v>
                </c:pt>
                <c:pt idx="135">
                  <c:v>102.20367118146604</c:v>
                </c:pt>
                <c:pt idx="136">
                  <c:v>102.1594324876758</c:v>
                </c:pt>
                <c:pt idx="137">
                  <c:v>102.16925999855701</c:v>
                </c:pt>
                <c:pt idx="138">
                  <c:v>102.13732749915852</c:v>
                </c:pt>
                <c:pt idx="139">
                  <c:v>102.1446947656945</c:v>
                </c:pt>
                <c:pt idx="140">
                  <c:v>102.1446947656945</c:v>
                </c:pt>
                <c:pt idx="141">
                  <c:v>102.1446947656945</c:v>
                </c:pt>
                <c:pt idx="142">
                  <c:v>102.26517741081315</c:v>
                </c:pt>
                <c:pt idx="143">
                  <c:v>102.1275061301024</c:v>
                </c:pt>
                <c:pt idx="144">
                  <c:v>102.12014134275618</c:v>
                </c:pt>
                <c:pt idx="145">
                  <c:v>101.65829145728644</c:v>
                </c:pt>
                <c:pt idx="146">
                  <c:v>102.13732749915853</c:v>
                </c:pt>
                <c:pt idx="147">
                  <c:v>102.13732749915853</c:v>
                </c:pt>
                <c:pt idx="148">
                  <c:v>102.13732749915853</c:v>
                </c:pt>
                <c:pt idx="149">
                  <c:v>102.08333333333333</c:v>
                </c:pt>
                <c:pt idx="150">
                  <c:v>102.16188918814929</c:v>
                </c:pt>
                <c:pt idx="151">
                  <c:v>102.17663187262497</c:v>
                </c:pt>
                <c:pt idx="152">
                  <c:v>102.13487197980527</c:v>
                </c:pt>
                <c:pt idx="153">
                  <c:v>102.16680294358136</c:v>
                </c:pt>
                <c:pt idx="154">
                  <c:v>102.16680294358136</c:v>
                </c:pt>
                <c:pt idx="155">
                  <c:v>102.16680294358136</c:v>
                </c:pt>
                <c:pt idx="156">
                  <c:v>102.13487197980527</c:v>
                </c:pt>
                <c:pt idx="157">
                  <c:v>102.11277761753676</c:v>
                </c:pt>
                <c:pt idx="158">
                  <c:v>102.17171717171718</c:v>
                </c:pt>
                <c:pt idx="159">
                  <c:v>101.89235861275003</c:v>
                </c:pt>
                <c:pt idx="160">
                  <c:v>101.88747122026093</c:v>
                </c:pt>
                <c:pt idx="161">
                  <c:v>101.88747122026093</c:v>
                </c:pt>
                <c:pt idx="162">
                  <c:v>101.88747122026093</c:v>
                </c:pt>
                <c:pt idx="163">
                  <c:v>101.88747122026093</c:v>
                </c:pt>
                <c:pt idx="164">
                  <c:v>101.57322175732214</c:v>
                </c:pt>
                <c:pt idx="165">
                  <c:v>101.46890226425907</c:v>
                </c:pt>
                <c:pt idx="166">
                  <c:v>101.83374083129581</c:v>
                </c:pt>
                <c:pt idx="167">
                  <c:v>101.66315688714459</c:v>
                </c:pt>
                <c:pt idx="168">
                  <c:v>101.66315688714459</c:v>
                </c:pt>
                <c:pt idx="169">
                  <c:v>101.66315688714459</c:v>
                </c:pt>
                <c:pt idx="170">
                  <c:v>101.66558977672476</c:v>
                </c:pt>
                <c:pt idx="171">
                  <c:v>101.8679263380011</c:v>
                </c:pt>
                <c:pt idx="172">
                  <c:v>101.89724647414364</c:v>
                </c:pt>
                <c:pt idx="173">
                  <c:v>101.89724647414364</c:v>
                </c:pt>
                <c:pt idx="174">
                  <c:v>101.90702360391472</c:v>
                </c:pt>
                <c:pt idx="175">
                  <c:v>101.90702360391472</c:v>
                </c:pt>
                <c:pt idx="176">
                  <c:v>101.90702360391472</c:v>
                </c:pt>
                <c:pt idx="177">
                  <c:v>101.4422502925093</c:v>
                </c:pt>
                <c:pt idx="178">
                  <c:v>101.36479683138072</c:v>
                </c:pt>
                <c:pt idx="179">
                  <c:v>101.95104391648663</c:v>
                </c:pt>
                <c:pt idx="180">
                  <c:v>100.93850978901344</c:v>
                </c:pt>
                <c:pt idx="181">
                  <c:v>101.61452353616527</c:v>
                </c:pt>
                <c:pt idx="182">
                  <c:v>101.61452353616527</c:v>
                </c:pt>
                <c:pt idx="183">
                  <c:v>101.61452353616527</c:v>
                </c:pt>
                <c:pt idx="184">
                  <c:v>101.60480244905763</c:v>
                </c:pt>
                <c:pt idx="185">
                  <c:v>101.16445206458059</c:v>
                </c:pt>
                <c:pt idx="186">
                  <c:v>99.477825129958262</c:v>
                </c:pt>
                <c:pt idx="187">
                  <c:v>101.28021742240017</c:v>
                </c:pt>
                <c:pt idx="188">
                  <c:v>100.01177079900179</c:v>
                </c:pt>
                <c:pt idx="189">
                  <c:v>100.01177079900179</c:v>
                </c:pt>
                <c:pt idx="190">
                  <c:v>100.01177079900179</c:v>
                </c:pt>
                <c:pt idx="191">
                  <c:v>100.06123842946977</c:v>
                </c:pt>
                <c:pt idx="192">
                  <c:v>100.05416862929812</c:v>
                </c:pt>
                <c:pt idx="193">
                  <c:v>99.992938850444801</c:v>
                </c:pt>
                <c:pt idx="194">
                  <c:v>99.779223524438052</c:v>
                </c:pt>
                <c:pt idx="195">
                  <c:v>100.42312783661113</c:v>
                </c:pt>
                <c:pt idx="196">
                  <c:v>100.42312783661113</c:v>
                </c:pt>
                <c:pt idx="197">
                  <c:v>100.42312783661113</c:v>
                </c:pt>
                <c:pt idx="198">
                  <c:v>100.33300269236214</c:v>
                </c:pt>
                <c:pt idx="199">
                  <c:v>100.48013245033107</c:v>
                </c:pt>
                <c:pt idx="200">
                  <c:v>100.5991001657589</c:v>
                </c:pt>
                <c:pt idx="201">
                  <c:v>100.2430391694195</c:v>
                </c:pt>
                <c:pt idx="202">
                  <c:v>100.32352524441505</c:v>
                </c:pt>
                <c:pt idx="203">
                  <c:v>100.32352524441505</c:v>
                </c:pt>
                <c:pt idx="204">
                  <c:v>100.32352524441505</c:v>
                </c:pt>
                <c:pt idx="205">
                  <c:v>100.34959253572691</c:v>
                </c:pt>
                <c:pt idx="206">
                  <c:v>100.08952762398395</c:v>
                </c:pt>
                <c:pt idx="207">
                  <c:v>99.882444219782272</c:v>
                </c:pt>
                <c:pt idx="208">
                  <c:v>99.531429374692479</c:v>
                </c:pt>
                <c:pt idx="209">
                  <c:v>99.452208722522627</c:v>
                </c:pt>
                <c:pt idx="210">
                  <c:v>99.452208722522627</c:v>
                </c:pt>
                <c:pt idx="211">
                  <c:v>99.452208722522627</c:v>
                </c:pt>
                <c:pt idx="212">
                  <c:v>99.781567080045065</c:v>
                </c:pt>
                <c:pt idx="213">
                  <c:v>99.596764740358651</c:v>
                </c:pt>
                <c:pt idx="214">
                  <c:v>99.185188644004455</c:v>
                </c:pt>
                <c:pt idx="215">
                  <c:v>99.788598407441313</c:v>
                </c:pt>
                <c:pt idx="216">
                  <c:v>100.18630317894537</c:v>
                </c:pt>
                <c:pt idx="217">
                  <c:v>100.18630317894537</c:v>
                </c:pt>
                <c:pt idx="218">
                  <c:v>100.18630317894537</c:v>
                </c:pt>
                <c:pt idx="219">
                  <c:v>99.833153170089744</c:v>
                </c:pt>
                <c:pt idx="220">
                  <c:v>99.694928777603053</c:v>
                </c:pt>
                <c:pt idx="221">
                  <c:v>98.995665750104834</c:v>
                </c:pt>
                <c:pt idx="222">
                  <c:v>99.543090116687722</c:v>
                </c:pt>
                <c:pt idx="223">
                  <c:v>99.277902411665693</c:v>
                </c:pt>
                <c:pt idx="224">
                  <c:v>99.277902411665693</c:v>
                </c:pt>
                <c:pt idx="225">
                  <c:v>99.277902411665693</c:v>
                </c:pt>
                <c:pt idx="226">
                  <c:v>99.349874885994211</c:v>
                </c:pt>
                <c:pt idx="227">
                  <c:v>98.977214482083738</c:v>
                </c:pt>
                <c:pt idx="228">
                  <c:v>99.587425865585189</c:v>
                </c:pt>
                <c:pt idx="229">
                  <c:v>99.21298458664171</c:v>
                </c:pt>
                <c:pt idx="230">
                  <c:v>99.291824428551365</c:v>
                </c:pt>
                <c:pt idx="231">
                  <c:v>99.291824428551365</c:v>
                </c:pt>
                <c:pt idx="232">
                  <c:v>99.291824428551365</c:v>
                </c:pt>
                <c:pt idx="233">
                  <c:v>99.666862170087953</c:v>
                </c:pt>
                <c:pt idx="234">
                  <c:v>99.445224719101105</c:v>
                </c:pt>
                <c:pt idx="235">
                  <c:v>99.370789670658667</c:v>
                </c:pt>
                <c:pt idx="236">
                  <c:v>99.259345794392502</c:v>
                </c:pt>
                <c:pt idx="237">
                  <c:v>99.95999999999998</c:v>
                </c:pt>
                <c:pt idx="238">
                  <c:v>99.95999999999998</c:v>
                </c:pt>
                <c:pt idx="239">
                  <c:v>99.95999999999998</c:v>
                </c:pt>
                <c:pt idx="240">
                  <c:v>99.690249912002812</c:v>
                </c:pt>
                <c:pt idx="241">
                  <c:v>99.19676839377027</c:v>
                </c:pt>
                <c:pt idx="242">
                  <c:v>99.039515094999416</c:v>
                </c:pt>
                <c:pt idx="243">
                  <c:v>99.657510145675474</c:v>
                </c:pt>
                <c:pt idx="244">
                  <c:v>98.993358965396723</c:v>
                </c:pt>
                <c:pt idx="245">
                  <c:v>98.993358965396723</c:v>
                </c:pt>
                <c:pt idx="246">
                  <c:v>98.993358965396723</c:v>
                </c:pt>
                <c:pt idx="247">
                  <c:v>97.787956910045111</c:v>
                </c:pt>
                <c:pt idx="248">
                  <c:v>97.50964010282776</c:v>
                </c:pt>
                <c:pt idx="249">
                  <c:v>97.438073394495419</c:v>
                </c:pt>
                <c:pt idx="250">
                  <c:v>97.534265445278606</c:v>
                </c:pt>
                <c:pt idx="251">
                  <c:v>97.567865509163582</c:v>
                </c:pt>
                <c:pt idx="252">
                  <c:v>97.567865509163582</c:v>
                </c:pt>
                <c:pt idx="253">
                  <c:v>97.567865509163582</c:v>
                </c:pt>
                <c:pt idx="254">
                  <c:v>97.576829436354487</c:v>
                </c:pt>
                <c:pt idx="255">
                  <c:v>97.500688515560469</c:v>
                </c:pt>
                <c:pt idx="256">
                  <c:v>97.536504729543594</c:v>
                </c:pt>
                <c:pt idx="257">
                  <c:v>97.47608012298376</c:v>
                </c:pt>
                <c:pt idx="258">
                  <c:v>97.547702693393973</c:v>
                </c:pt>
                <c:pt idx="259">
                  <c:v>97.547702693393973</c:v>
                </c:pt>
                <c:pt idx="260">
                  <c:v>97.547702693393973</c:v>
                </c:pt>
                <c:pt idx="261">
                  <c:v>97.514116512877024</c:v>
                </c:pt>
                <c:pt idx="262">
                  <c:v>97.552182598911571</c:v>
                </c:pt>
                <c:pt idx="263">
                  <c:v>97.597004295986579</c:v>
                </c:pt>
                <c:pt idx="264">
                  <c:v>97.502926258291069</c:v>
                </c:pt>
                <c:pt idx="265">
                  <c:v>97.532026263832137</c:v>
                </c:pt>
                <c:pt idx="266">
                  <c:v>97.532026263832137</c:v>
                </c:pt>
                <c:pt idx="267">
                  <c:v>97.532026263832137</c:v>
                </c:pt>
                <c:pt idx="268">
                  <c:v>98.493033176454247</c:v>
                </c:pt>
                <c:pt idx="269">
                  <c:v>97.357686314052614</c:v>
                </c:pt>
                <c:pt idx="270">
                  <c:v>97.041893188359467</c:v>
                </c:pt>
                <c:pt idx="271">
                  <c:v>97.317542493242328</c:v>
                </c:pt>
                <c:pt idx="272">
                  <c:v>97.088465845464754</c:v>
                </c:pt>
                <c:pt idx="273">
                  <c:v>97.088465845464754</c:v>
                </c:pt>
                <c:pt idx="274">
                  <c:v>97.088465845464754</c:v>
                </c:pt>
                <c:pt idx="275">
                  <c:v>97.324230830908846</c:v>
                </c:pt>
                <c:pt idx="276">
                  <c:v>97.449248767060482</c:v>
                </c:pt>
                <c:pt idx="277">
                  <c:v>97.064065070371072</c:v>
                </c:pt>
                <c:pt idx="278">
                  <c:v>97.518593333945503</c:v>
                </c:pt>
                <c:pt idx="279">
                  <c:v>97.601488731132434</c:v>
                </c:pt>
                <c:pt idx="280">
                  <c:v>97.601488731132434</c:v>
                </c:pt>
                <c:pt idx="281">
                  <c:v>97.601488731132434</c:v>
                </c:pt>
                <c:pt idx="282">
                  <c:v>97.545462894930225</c:v>
                </c:pt>
                <c:pt idx="283">
                  <c:v>96.662116040955652</c:v>
                </c:pt>
                <c:pt idx="284">
                  <c:v>96.385788184045765</c:v>
                </c:pt>
                <c:pt idx="285">
                  <c:v>97.53650472954358</c:v>
                </c:pt>
                <c:pt idx="286">
                  <c:v>96.442678774120324</c:v>
                </c:pt>
                <c:pt idx="287">
                  <c:v>96.442678774120324</c:v>
                </c:pt>
                <c:pt idx="288">
                  <c:v>96.442678774120324</c:v>
                </c:pt>
                <c:pt idx="289">
                  <c:v>96.377041742286764</c:v>
                </c:pt>
                <c:pt idx="290">
                  <c:v>96.47553082775066</c:v>
                </c:pt>
                <c:pt idx="291">
                  <c:v>96.350811938673687</c:v>
                </c:pt>
                <c:pt idx="292">
                  <c:v>96.451437133905472</c:v>
                </c:pt>
                <c:pt idx="293">
                  <c:v>96.442678774120324</c:v>
                </c:pt>
                <c:pt idx="294">
                  <c:v>96.442678774120324</c:v>
                </c:pt>
                <c:pt idx="295">
                  <c:v>96.442678774120324</c:v>
                </c:pt>
                <c:pt idx="296">
                  <c:v>96.460197084601063</c:v>
                </c:pt>
                <c:pt idx="297">
                  <c:v>96.307127312295975</c:v>
                </c:pt>
                <c:pt idx="298">
                  <c:v>96.304944120780718</c:v>
                </c:pt>
                <c:pt idx="299">
                  <c:v>96.278753541076483</c:v>
                </c:pt>
                <c:pt idx="300">
                  <c:v>96.241674595623209</c:v>
                </c:pt>
                <c:pt idx="301">
                  <c:v>96.241674595623209</c:v>
                </c:pt>
                <c:pt idx="302">
                  <c:v>96.241674595623209</c:v>
                </c:pt>
                <c:pt idx="303">
                  <c:v>95.898419864559813</c:v>
                </c:pt>
                <c:pt idx="304">
                  <c:v>96.008949354787688</c:v>
                </c:pt>
                <c:pt idx="305">
                  <c:v>95.898419864559827</c:v>
                </c:pt>
                <c:pt idx="306">
                  <c:v>95.935234740193764</c:v>
                </c:pt>
                <c:pt idx="307">
                  <c:v>95.894090560245601</c:v>
                </c:pt>
                <c:pt idx="308">
                  <c:v>95.894090560245601</c:v>
                </c:pt>
                <c:pt idx="309">
                  <c:v>95.894090560245601</c:v>
                </c:pt>
                <c:pt idx="310">
                  <c:v>95.902749559799531</c:v>
                </c:pt>
                <c:pt idx="311">
                  <c:v>95.814068878414048</c:v>
                </c:pt>
                <c:pt idx="312">
                  <c:v>95.865959607356444</c:v>
                </c:pt>
                <c:pt idx="313">
                  <c:v>95.820552147239283</c:v>
                </c:pt>
                <c:pt idx="314">
                  <c:v>95.816229870539956</c:v>
                </c:pt>
                <c:pt idx="315">
                  <c:v>95.816229870539956</c:v>
                </c:pt>
                <c:pt idx="316">
                  <c:v>95.816229870539956</c:v>
                </c:pt>
                <c:pt idx="317">
                  <c:v>95.684587490709248</c:v>
                </c:pt>
                <c:pt idx="318">
                  <c:v>95.684587490709248</c:v>
                </c:pt>
                <c:pt idx="319">
                  <c:v>95.816229870539956</c:v>
                </c:pt>
                <c:pt idx="320">
                  <c:v>95.816229870539956</c:v>
                </c:pt>
                <c:pt idx="321">
                  <c:v>95.721238339867512</c:v>
                </c:pt>
                <c:pt idx="322">
                  <c:v>95.721238339867512</c:v>
                </c:pt>
                <c:pt idx="323">
                  <c:v>95.721238339867512</c:v>
                </c:pt>
                <c:pt idx="324">
                  <c:v>95.609218166269088</c:v>
                </c:pt>
                <c:pt idx="325">
                  <c:v>95.788144573966761</c:v>
                </c:pt>
                <c:pt idx="326">
                  <c:v>95.579103671706264</c:v>
                </c:pt>
                <c:pt idx="327">
                  <c:v>95.624282530893382</c:v>
                </c:pt>
                <c:pt idx="328">
                  <c:v>95.546859186289723</c:v>
                </c:pt>
                <c:pt idx="329">
                  <c:v>95.546859186289723</c:v>
                </c:pt>
                <c:pt idx="330">
                  <c:v>95.546859186289723</c:v>
                </c:pt>
                <c:pt idx="331">
                  <c:v>95.523227054009084</c:v>
                </c:pt>
                <c:pt idx="332">
                  <c:v>95.549008141784</c:v>
                </c:pt>
                <c:pt idx="333">
                  <c:v>95.499606608969316</c:v>
                </c:pt>
                <c:pt idx="334">
                  <c:v>95.553306342780033</c:v>
                </c:pt>
                <c:pt idx="335">
                  <c:v>95.516783955752416</c:v>
                </c:pt>
                <c:pt idx="336">
                  <c:v>95.516783955752416</c:v>
                </c:pt>
                <c:pt idx="337">
                  <c:v>95.516783955752416</c:v>
                </c:pt>
                <c:pt idx="338">
                  <c:v>95.497459875016872</c:v>
                </c:pt>
                <c:pt idx="339">
                  <c:v>95.529671021564624</c:v>
                </c:pt>
                <c:pt idx="340">
                  <c:v>95.549008141783986</c:v>
                </c:pt>
                <c:pt idx="341">
                  <c:v>95.473852169809192</c:v>
                </c:pt>
                <c:pt idx="342">
                  <c:v>95.411669586309131</c:v>
                </c:pt>
                <c:pt idx="343">
                  <c:v>95.411669586309131</c:v>
                </c:pt>
                <c:pt idx="344">
                  <c:v>95.411669586309131</c:v>
                </c:pt>
                <c:pt idx="345">
                  <c:v>95.463125252797624</c:v>
                </c:pt>
                <c:pt idx="346">
                  <c:v>95.445967198382363</c:v>
                </c:pt>
                <c:pt idx="347">
                  <c:v>94.534813858786336</c:v>
                </c:pt>
                <c:pt idx="348">
                  <c:v>94.52640010680193</c:v>
                </c:pt>
                <c:pt idx="349">
                  <c:v>94.360534849629047</c:v>
                </c:pt>
                <c:pt idx="350">
                  <c:v>94.360534849629047</c:v>
                </c:pt>
                <c:pt idx="351">
                  <c:v>94.360534849629047</c:v>
                </c:pt>
                <c:pt idx="352">
                  <c:v>94.195250659630602</c:v>
                </c:pt>
                <c:pt idx="353">
                  <c:v>94.051361523134815</c:v>
                </c:pt>
                <c:pt idx="354">
                  <c:v>93.773176761433859</c:v>
                </c:pt>
                <c:pt idx="355">
                  <c:v>93.71939113170086</c:v>
                </c:pt>
                <c:pt idx="356">
                  <c:v>93.52339020363236</c:v>
                </c:pt>
                <c:pt idx="357">
                  <c:v>93.52339020363236</c:v>
                </c:pt>
                <c:pt idx="358">
                  <c:v>93.52339020363236</c:v>
                </c:pt>
                <c:pt idx="359">
                  <c:v>93.71939113170086</c:v>
                </c:pt>
                <c:pt idx="360">
                  <c:v>93.71939113170086</c:v>
                </c:pt>
                <c:pt idx="361">
                  <c:v>93.420560747663558</c:v>
                </c:pt>
                <c:pt idx="362">
                  <c:v>92.15401301518439</c:v>
                </c:pt>
                <c:pt idx="363">
                  <c:v>92.19000911418776</c:v>
                </c:pt>
                <c:pt idx="364">
                  <c:v>92.19000911418776</c:v>
                </c:pt>
                <c:pt idx="365">
                  <c:v>92.19000911418776</c:v>
                </c:pt>
                <c:pt idx="366">
                  <c:v>92.134027325959664</c:v>
                </c:pt>
                <c:pt idx="367">
                  <c:v>92.124037731757582</c:v>
                </c:pt>
                <c:pt idx="368">
                  <c:v>92.15401301518439</c:v>
                </c:pt>
                <c:pt idx="369">
                  <c:v>92.212020576935615</c:v>
                </c:pt>
                <c:pt idx="370">
                  <c:v>92.132029233805383</c:v>
                </c:pt>
                <c:pt idx="371">
                  <c:v>92.132029233805383</c:v>
                </c:pt>
                <c:pt idx="372">
                  <c:v>92.132029233805383</c:v>
                </c:pt>
                <c:pt idx="373">
                  <c:v>92.138023770278494</c:v>
                </c:pt>
                <c:pt idx="374">
                  <c:v>92.166008591139843</c:v>
                </c:pt>
                <c:pt idx="375">
                  <c:v>92.120042500596298</c:v>
                </c:pt>
                <c:pt idx="376">
                  <c:v>92.09607838886599</c:v>
                </c:pt>
                <c:pt idx="377">
                  <c:v>92.112053077773695</c:v>
                </c:pt>
                <c:pt idx="378">
                  <c:v>92.112053077773695</c:v>
                </c:pt>
                <c:pt idx="379">
                  <c:v>92.112053077773695</c:v>
                </c:pt>
                <c:pt idx="380">
                  <c:v>92.074122236671002</c:v>
                </c:pt>
                <c:pt idx="381">
                  <c:v>92.094081942336885</c:v>
                </c:pt>
                <c:pt idx="382">
                  <c:v>92.096078388866005</c:v>
                </c:pt>
                <c:pt idx="383">
                  <c:v>92.100071541613374</c:v>
                </c:pt>
                <c:pt idx="384">
                  <c:v>92.108058886022164</c:v>
                </c:pt>
                <c:pt idx="385">
                  <c:v>92.108058886022164</c:v>
                </c:pt>
                <c:pt idx="386">
                  <c:v>92.108058886022164</c:v>
                </c:pt>
                <c:pt idx="387">
                  <c:v>92.126035477295403</c:v>
                </c:pt>
                <c:pt idx="388">
                  <c:v>92.09607838886599</c:v>
                </c:pt>
                <c:pt idx="389">
                  <c:v>92.09607838886599</c:v>
                </c:pt>
                <c:pt idx="390">
                  <c:v>92.074122236671002</c:v>
                </c:pt>
                <c:pt idx="391">
                  <c:v>92.082105080631194</c:v>
                </c:pt>
                <c:pt idx="392">
                  <c:v>92.082105080631194</c:v>
                </c:pt>
                <c:pt idx="393">
                  <c:v>92.082105080631194</c:v>
                </c:pt>
                <c:pt idx="394">
                  <c:v>92.082105080631194</c:v>
                </c:pt>
                <c:pt idx="395">
                  <c:v>92.094081942336885</c:v>
                </c:pt>
                <c:pt idx="396">
                  <c:v>92.074122236671016</c:v>
                </c:pt>
                <c:pt idx="397">
                  <c:v>92.206016408386517</c:v>
                </c:pt>
                <c:pt idx="398">
                  <c:v>92.182007551100128</c:v>
                </c:pt>
                <c:pt idx="399">
                  <c:v>92.182007551100128</c:v>
                </c:pt>
                <c:pt idx="400">
                  <c:v>92.182007551100128</c:v>
                </c:pt>
                <c:pt idx="401">
                  <c:v>92.07811348563007</c:v>
                </c:pt>
                <c:pt idx="402">
                  <c:v>92.088093122060144</c:v>
                </c:pt>
                <c:pt idx="403">
                  <c:v>92.148016398065209</c:v>
                </c:pt>
                <c:pt idx="404">
                  <c:v>92.112053077773695</c:v>
                </c:pt>
                <c:pt idx="405">
                  <c:v>92.114050303555928</c:v>
                </c:pt>
                <c:pt idx="406">
                  <c:v>92.114050303555928</c:v>
                </c:pt>
                <c:pt idx="407">
                  <c:v>92.114050303555928</c:v>
                </c:pt>
                <c:pt idx="408">
                  <c:v>92.066140776699015</c:v>
                </c:pt>
                <c:pt idx="409">
                  <c:v>92.114050303555914</c:v>
                </c:pt>
                <c:pt idx="410">
                  <c:v>92.13602550478214</c:v>
                </c:pt>
                <c:pt idx="411">
                  <c:v>92.164009111617275</c:v>
                </c:pt>
                <c:pt idx="412">
                  <c:v>92.180007377351487</c:v>
                </c:pt>
                <c:pt idx="413">
                  <c:v>92.180007377351487</c:v>
                </c:pt>
                <c:pt idx="414">
                  <c:v>92.180007377351487</c:v>
                </c:pt>
                <c:pt idx="415">
                  <c:v>92.104065040650369</c:v>
                </c:pt>
                <c:pt idx="416">
                  <c:v>92.01429499675109</c:v>
                </c:pt>
                <c:pt idx="417">
                  <c:v>92.088093122060087</c:v>
                </c:pt>
                <c:pt idx="418">
                  <c:v>92.234042553191429</c:v>
                </c:pt>
                <c:pt idx="419">
                  <c:v>92.206016408386446</c:v>
                </c:pt>
                <c:pt idx="420">
                  <c:v>92.206016408386446</c:v>
                </c:pt>
                <c:pt idx="421">
                  <c:v>92.206016408386446</c:v>
                </c:pt>
                <c:pt idx="422">
                  <c:v>92.09807492195624</c:v>
                </c:pt>
                <c:pt idx="423">
                  <c:v>92.034228769497346</c:v>
                </c:pt>
                <c:pt idx="424">
                  <c:v>92.096078388865948</c:v>
                </c:pt>
                <c:pt idx="425">
                  <c:v>92.180007377351473</c:v>
                </c:pt>
                <c:pt idx="426">
                  <c:v>92.176007290242751</c:v>
                </c:pt>
                <c:pt idx="427">
                  <c:v>92.176007290242751</c:v>
                </c:pt>
                <c:pt idx="428">
                  <c:v>92.176007290242751</c:v>
                </c:pt>
                <c:pt idx="429">
                  <c:v>92.168008157420815</c:v>
                </c:pt>
                <c:pt idx="430">
                  <c:v>92.126035477295346</c:v>
                </c:pt>
                <c:pt idx="431">
                  <c:v>92.110055938597583</c:v>
                </c:pt>
                <c:pt idx="432">
                  <c:v>92.162009718847585</c:v>
                </c:pt>
                <c:pt idx="433">
                  <c:v>92.070131333708929</c:v>
                </c:pt>
                <c:pt idx="434">
                  <c:v>92.070131333708929</c:v>
                </c:pt>
                <c:pt idx="435">
                  <c:v>92.070131333708929</c:v>
                </c:pt>
                <c:pt idx="436">
                  <c:v>92.174007376871288</c:v>
                </c:pt>
                <c:pt idx="437">
                  <c:v>92.222029262362639</c:v>
                </c:pt>
                <c:pt idx="438">
                  <c:v>92.056165897419177</c:v>
                </c:pt>
                <c:pt idx="439">
                  <c:v>91.97246216795476</c:v>
                </c:pt>
                <c:pt idx="440">
                  <c:v>92.206016408386461</c:v>
                </c:pt>
                <c:pt idx="441">
                  <c:v>92.206016408386461</c:v>
                </c:pt>
                <c:pt idx="442">
                  <c:v>92.206016408386461</c:v>
                </c:pt>
                <c:pt idx="443">
                  <c:v>92.206016408386461</c:v>
                </c:pt>
                <c:pt idx="444">
                  <c:v>92.072126741943123</c:v>
                </c:pt>
                <c:pt idx="445">
                  <c:v>92.118045014961567</c:v>
                </c:pt>
                <c:pt idx="446">
                  <c:v>92.176007290242751</c:v>
                </c:pt>
                <c:pt idx="447">
                  <c:v>92.076117817898037</c:v>
                </c:pt>
                <c:pt idx="448">
                  <c:v>92.076117817898037</c:v>
                </c:pt>
                <c:pt idx="449">
                  <c:v>92.076117817898037</c:v>
                </c:pt>
                <c:pt idx="450">
                  <c:v>92.126035477295346</c:v>
                </c:pt>
                <c:pt idx="451">
                  <c:v>92.094081942336814</c:v>
                </c:pt>
                <c:pt idx="452">
                  <c:v>92.2200273514663</c:v>
                </c:pt>
                <c:pt idx="453">
                  <c:v>92.146017699114992</c:v>
                </c:pt>
                <c:pt idx="454">
                  <c:v>92.204015192620673</c:v>
                </c:pt>
                <c:pt idx="455">
                  <c:v>92.204015192620673</c:v>
                </c:pt>
                <c:pt idx="456">
                  <c:v>92.204015192620673</c:v>
                </c:pt>
                <c:pt idx="457">
                  <c:v>92.200013021681059</c:v>
                </c:pt>
                <c:pt idx="458">
                  <c:v>92.088093122060087</c:v>
                </c:pt>
                <c:pt idx="459">
                  <c:v>92.104065040650354</c:v>
                </c:pt>
                <c:pt idx="460">
                  <c:v>92.104065040650354</c:v>
                </c:pt>
                <c:pt idx="461">
                  <c:v>92.004331348132055</c:v>
                </c:pt>
                <c:pt idx="462">
                  <c:v>92.004331348132055</c:v>
                </c:pt>
                <c:pt idx="463">
                  <c:v>92.004331348132055</c:v>
                </c:pt>
                <c:pt idx="464">
                  <c:v>92.160010412825073</c:v>
                </c:pt>
                <c:pt idx="465">
                  <c:v>92.134027325959607</c:v>
                </c:pt>
                <c:pt idx="466">
                  <c:v>91.988393997791349</c:v>
                </c:pt>
                <c:pt idx="467">
                  <c:v>92.112053077773638</c:v>
                </c:pt>
                <c:pt idx="468">
                  <c:v>92.038216560509511</c:v>
                </c:pt>
                <c:pt idx="469">
                  <c:v>92.038216560509511</c:v>
                </c:pt>
                <c:pt idx="470">
                  <c:v>92.038216560509511</c:v>
                </c:pt>
                <c:pt idx="471">
                  <c:v>92.126035477295346</c:v>
                </c:pt>
                <c:pt idx="472">
                  <c:v>92.028247730866653</c:v>
                </c:pt>
                <c:pt idx="473">
                  <c:v>92.120042500596256</c:v>
                </c:pt>
                <c:pt idx="474">
                  <c:v>92.06813601196275</c:v>
                </c:pt>
                <c:pt idx="475">
                  <c:v>92.028247730866653</c:v>
                </c:pt>
                <c:pt idx="476">
                  <c:v>92.028247730866653</c:v>
                </c:pt>
                <c:pt idx="477">
                  <c:v>92.028247730866653</c:v>
                </c:pt>
                <c:pt idx="478">
                  <c:v>92.068136011962736</c:v>
                </c:pt>
                <c:pt idx="479">
                  <c:v>92.174007376871273</c:v>
                </c:pt>
                <c:pt idx="480">
                  <c:v>92.164009111617247</c:v>
                </c:pt>
                <c:pt idx="481">
                  <c:v>91.894873458792929</c:v>
                </c:pt>
                <c:pt idx="482">
                  <c:v>92.03622262180717</c:v>
                </c:pt>
                <c:pt idx="483">
                  <c:v>92.03622262180717</c:v>
                </c:pt>
                <c:pt idx="484">
                  <c:v>92.03622262180717</c:v>
                </c:pt>
                <c:pt idx="485">
                  <c:v>91.904813412655429</c:v>
                </c:pt>
                <c:pt idx="486">
                  <c:v>91.898849182313683</c:v>
                </c:pt>
                <c:pt idx="487">
                  <c:v>91.742069233593128</c:v>
                </c:pt>
                <c:pt idx="488">
                  <c:v>91.765849443784347</c:v>
                </c:pt>
                <c:pt idx="489">
                  <c:v>91.863080050166431</c:v>
                </c:pt>
                <c:pt idx="490">
                  <c:v>91.863080050166431</c:v>
                </c:pt>
                <c:pt idx="491">
                  <c:v>91.863080050166431</c:v>
                </c:pt>
                <c:pt idx="492">
                  <c:v>91.751976156537438</c:v>
                </c:pt>
                <c:pt idx="493">
                  <c:v>91.801542883073608</c:v>
                </c:pt>
                <c:pt idx="494">
                  <c:v>91.755939524837956</c:v>
                </c:pt>
                <c:pt idx="495">
                  <c:v>91.706422018348562</c:v>
                </c:pt>
                <c:pt idx="496">
                  <c:v>91.591746976262797</c:v>
                </c:pt>
                <c:pt idx="497">
                  <c:v>91.591746976262797</c:v>
                </c:pt>
                <c:pt idx="498">
                  <c:v>91.591746976262797</c:v>
                </c:pt>
                <c:pt idx="499">
                  <c:v>91.775761503564439</c:v>
                </c:pt>
                <c:pt idx="500">
                  <c:v>91.542406481641052</c:v>
                </c:pt>
                <c:pt idx="501">
                  <c:v>91.769814010757528</c:v>
                </c:pt>
                <c:pt idx="502">
                  <c:v>91.347539080138432</c:v>
                </c:pt>
                <c:pt idx="503">
                  <c:v>91.85314912110006</c:v>
                </c:pt>
                <c:pt idx="504">
                  <c:v>91.85314912110006</c:v>
                </c:pt>
                <c:pt idx="505">
                  <c:v>91.85314912110006</c:v>
                </c:pt>
                <c:pt idx="506">
                  <c:v>91.439948342660315</c:v>
                </c:pt>
                <c:pt idx="507">
                  <c:v>91.469480030143146</c:v>
                </c:pt>
                <c:pt idx="508">
                  <c:v>91.710381451978449</c:v>
                </c:pt>
                <c:pt idx="509">
                  <c:v>91.367184979676068</c:v>
                </c:pt>
                <c:pt idx="510">
                  <c:v>91.443884799173418</c:v>
                </c:pt>
                <c:pt idx="511">
                  <c:v>91.443884799173418</c:v>
                </c:pt>
                <c:pt idx="512">
                  <c:v>91.443884799173418</c:v>
                </c:pt>
                <c:pt idx="513">
                  <c:v>91.47538865681922</c:v>
                </c:pt>
                <c:pt idx="514">
                  <c:v>91.445853154529956</c:v>
                </c:pt>
                <c:pt idx="515">
                  <c:v>91.988393997791363</c:v>
                </c:pt>
                <c:pt idx="516">
                  <c:v>91.369150034411518</c:v>
                </c:pt>
                <c:pt idx="517">
                  <c:v>91.323975149938704</c:v>
                </c:pt>
                <c:pt idx="518">
                  <c:v>91.323975149938704</c:v>
                </c:pt>
                <c:pt idx="519">
                  <c:v>91.323975149938704</c:v>
                </c:pt>
                <c:pt idx="520">
                  <c:v>91.386839331425946</c:v>
                </c:pt>
                <c:pt idx="521">
                  <c:v>91.53846153846149</c:v>
                </c:pt>
                <c:pt idx="522">
                  <c:v>90.913565451860677</c:v>
                </c:pt>
                <c:pt idx="523">
                  <c:v>90.207028346958239</c:v>
                </c:pt>
                <c:pt idx="524">
                  <c:v>90.021613832852992</c:v>
                </c:pt>
                <c:pt idx="525">
                  <c:v>90.021613832852992</c:v>
                </c:pt>
                <c:pt idx="526">
                  <c:v>90.021613832852992</c:v>
                </c:pt>
                <c:pt idx="527">
                  <c:v>90.989505247376258</c:v>
                </c:pt>
                <c:pt idx="528">
                  <c:v>89.949184840143914</c:v>
                </c:pt>
                <c:pt idx="529">
                  <c:v>70.804999999999964</c:v>
                </c:pt>
                <c:pt idx="530">
                  <c:v>64.782396535423445</c:v>
                </c:pt>
                <c:pt idx="531">
                  <c:v>64.61292775665396</c:v>
                </c:pt>
                <c:pt idx="532">
                  <c:v>64.61292775665396</c:v>
                </c:pt>
                <c:pt idx="533">
                  <c:v>64.61292775665396</c:v>
                </c:pt>
                <c:pt idx="534">
                  <c:v>63.220631566415641</c:v>
                </c:pt>
                <c:pt idx="535">
                  <c:v>61.569565217391279</c:v>
                </c:pt>
                <c:pt idx="536">
                  <c:v>59.70738700247356</c:v>
                </c:pt>
                <c:pt idx="537">
                  <c:v>57.115392371707806</c:v>
                </c:pt>
                <c:pt idx="538">
                  <c:v>53.433031053869449</c:v>
                </c:pt>
                <c:pt idx="539">
                  <c:v>53.433031053869449</c:v>
                </c:pt>
                <c:pt idx="540">
                  <c:v>53.433031053869449</c:v>
                </c:pt>
                <c:pt idx="541">
                  <c:v>56.837246638571116</c:v>
                </c:pt>
                <c:pt idx="542">
                  <c:v>56.441562927632866</c:v>
                </c:pt>
                <c:pt idx="543">
                  <c:v>56.479081083236913</c:v>
                </c:pt>
                <c:pt idx="544">
                  <c:v>56.443062696799366</c:v>
                </c:pt>
                <c:pt idx="545">
                  <c:v>56.14171875619455</c:v>
                </c:pt>
                <c:pt idx="546">
                  <c:v>56.14171875619455</c:v>
                </c:pt>
                <c:pt idx="547">
                  <c:v>56.14171875619455</c:v>
                </c:pt>
                <c:pt idx="548">
                  <c:v>56.681787858572349</c:v>
                </c:pt>
                <c:pt idx="549">
                  <c:v>56.200391575828107</c:v>
                </c:pt>
                <c:pt idx="550">
                  <c:v>55.489087133135648</c:v>
                </c:pt>
                <c:pt idx="551">
                  <c:v>56.633428426693669</c:v>
                </c:pt>
                <c:pt idx="552">
                  <c:v>55.20857699805066</c:v>
                </c:pt>
                <c:pt idx="553">
                  <c:v>55.20857699805066</c:v>
                </c:pt>
                <c:pt idx="554">
                  <c:v>55.20857699805066</c:v>
                </c:pt>
                <c:pt idx="555">
                  <c:v>54.027622342049014</c:v>
                </c:pt>
                <c:pt idx="556">
                  <c:v>55.264595691539157</c:v>
                </c:pt>
                <c:pt idx="557">
                  <c:v>54.287211204252692</c:v>
                </c:pt>
                <c:pt idx="558">
                  <c:v>54.640514469453358</c:v>
                </c:pt>
                <c:pt idx="559">
                  <c:v>54.979228947470567</c:v>
                </c:pt>
                <c:pt idx="560">
                  <c:v>54.979228947470567</c:v>
                </c:pt>
                <c:pt idx="561">
                  <c:v>54.979228947470567</c:v>
                </c:pt>
                <c:pt idx="562">
                  <c:v>54.42142884593212</c:v>
                </c:pt>
                <c:pt idx="563">
                  <c:v>54.070255822833118</c:v>
                </c:pt>
                <c:pt idx="564">
                  <c:v>54.531801553173722</c:v>
                </c:pt>
                <c:pt idx="565">
                  <c:v>54.928757984019022</c:v>
                </c:pt>
                <c:pt idx="566">
                  <c:v>54.99203914411089</c:v>
                </c:pt>
                <c:pt idx="567">
                  <c:v>54.99203914411089</c:v>
                </c:pt>
                <c:pt idx="568">
                  <c:v>54.99203914411089</c:v>
                </c:pt>
                <c:pt idx="569">
                  <c:v>54.020065358646029</c:v>
                </c:pt>
                <c:pt idx="570">
                  <c:v>53.741255645089872</c:v>
                </c:pt>
                <c:pt idx="571">
                  <c:v>55.533333333333331</c:v>
                </c:pt>
                <c:pt idx="572">
                  <c:v>54.86703948133129</c:v>
                </c:pt>
                <c:pt idx="573">
                  <c:v>55.172727272727279</c:v>
                </c:pt>
                <c:pt idx="574">
                  <c:v>55.172727272727279</c:v>
                </c:pt>
                <c:pt idx="575">
                  <c:v>55.172727272727279</c:v>
                </c:pt>
                <c:pt idx="576">
                  <c:v>55.533333333333339</c:v>
                </c:pt>
                <c:pt idx="577">
                  <c:v>55.764409382670678</c:v>
                </c:pt>
                <c:pt idx="578">
                  <c:v>55.029792746113998</c:v>
                </c:pt>
                <c:pt idx="579">
                  <c:v>55.428273207645645</c:v>
                </c:pt>
                <c:pt idx="580">
                  <c:v>55.533333333333331</c:v>
                </c:pt>
                <c:pt idx="581">
                  <c:v>55.533333333333331</c:v>
                </c:pt>
                <c:pt idx="582">
                  <c:v>55.533333333333331</c:v>
                </c:pt>
                <c:pt idx="583">
                  <c:v>56.060226178065747</c:v>
                </c:pt>
                <c:pt idx="584">
                  <c:v>55.533333333333331</c:v>
                </c:pt>
                <c:pt idx="585">
                  <c:v>55.360377383077711</c:v>
                </c:pt>
                <c:pt idx="586">
                  <c:v>55.118324770356537</c:v>
                </c:pt>
                <c:pt idx="587">
                  <c:v>55.533333333333331</c:v>
                </c:pt>
                <c:pt idx="588">
                  <c:v>55.533333333333331</c:v>
                </c:pt>
                <c:pt idx="589">
                  <c:v>55.533333333333331</c:v>
                </c:pt>
                <c:pt idx="590">
                  <c:v>55.533333333333331</c:v>
                </c:pt>
                <c:pt idx="591">
                  <c:v>54.947940244454514</c:v>
                </c:pt>
                <c:pt idx="592">
                  <c:v>55.444187776516195</c:v>
                </c:pt>
                <c:pt idx="593">
                  <c:v>55.408031510440452</c:v>
                </c:pt>
                <c:pt idx="594">
                  <c:v>56.049131880310306</c:v>
                </c:pt>
                <c:pt idx="595">
                  <c:v>56.049131880310306</c:v>
                </c:pt>
                <c:pt idx="596">
                  <c:v>56.049131880310306</c:v>
                </c:pt>
                <c:pt idx="597">
                  <c:v>55.551487414187648</c:v>
                </c:pt>
                <c:pt idx="598">
                  <c:v>55.735145559739188</c:v>
                </c:pt>
                <c:pt idx="599">
                  <c:v>55.715409836065575</c:v>
                </c:pt>
                <c:pt idx="600">
                  <c:v>55.587103865176779</c:v>
                </c:pt>
                <c:pt idx="601">
                  <c:v>55.350279467903533</c:v>
                </c:pt>
                <c:pt idx="602">
                  <c:v>55.350279467903533</c:v>
                </c:pt>
                <c:pt idx="603">
                  <c:v>55.350279467903533</c:v>
                </c:pt>
                <c:pt idx="604">
                  <c:v>55.220776519828945</c:v>
                </c:pt>
                <c:pt idx="605">
                  <c:v>54.92307692307692</c:v>
                </c:pt>
                <c:pt idx="606">
                  <c:v>54.986344986474421</c:v>
                </c:pt>
                <c:pt idx="607">
                  <c:v>55.842841369157156</c:v>
                </c:pt>
                <c:pt idx="608">
                  <c:v>56.089832455341224</c:v>
                </c:pt>
                <c:pt idx="609">
                  <c:v>56.089832455341224</c:v>
                </c:pt>
                <c:pt idx="610">
                  <c:v>56.089832455341224</c:v>
                </c:pt>
                <c:pt idx="611">
                  <c:v>55.533333333333324</c:v>
                </c:pt>
                <c:pt idx="612">
                  <c:v>55.689847283214249</c:v>
                </c:pt>
                <c:pt idx="613">
                  <c:v>55.80689655172413</c:v>
                </c:pt>
                <c:pt idx="614">
                  <c:v>54.67567567567567</c:v>
                </c:pt>
                <c:pt idx="615">
                  <c:v>55.126192175436316</c:v>
                </c:pt>
                <c:pt idx="616">
                  <c:v>55.126192175436316</c:v>
                </c:pt>
                <c:pt idx="617">
                  <c:v>55.126192175436316</c:v>
                </c:pt>
                <c:pt idx="618">
                  <c:v>55.316406249999993</c:v>
                </c:pt>
                <c:pt idx="619">
                  <c:v>56.895859002517817</c:v>
                </c:pt>
                <c:pt idx="620">
                  <c:v>56.095016769218589</c:v>
                </c:pt>
                <c:pt idx="621">
                  <c:v>55.164846580358656</c:v>
                </c:pt>
                <c:pt idx="622">
                  <c:v>55.299125273352082</c:v>
                </c:pt>
                <c:pt idx="623">
                  <c:v>55.299125273352082</c:v>
                </c:pt>
                <c:pt idx="624">
                  <c:v>55.299125273352082</c:v>
                </c:pt>
                <c:pt idx="625">
                  <c:v>55.31640625</c:v>
                </c:pt>
                <c:pt idx="626">
                  <c:v>55.117609663064215</c:v>
                </c:pt>
                <c:pt idx="627">
                  <c:v>55.30056494233424</c:v>
                </c:pt>
                <c:pt idx="628">
                  <c:v>55.316406250000014</c:v>
                </c:pt>
                <c:pt idx="629">
                  <c:v>55.316406250000014</c:v>
                </c:pt>
                <c:pt idx="630">
                  <c:v>55.316406250000014</c:v>
                </c:pt>
                <c:pt idx="631">
                  <c:v>55.316406250000014</c:v>
                </c:pt>
                <c:pt idx="632">
                  <c:v>55.352442996742688</c:v>
                </c:pt>
                <c:pt idx="633">
                  <c:v>54.598380670864941</c:v>
                </c:pt>
                <c:pt idx="634">
                  <c:v>54.598380670864941</c:v>
                </c:pt>
                <c:pt idx="635">
                  <c:v>55.352442996742695</c:v>
                </c:pt>
                <c:pt idx="636">
                  <c:v>54.777899555154427</c:v>
                </c:pt>
                <c:pt idx="637">
                  <c:v>54.777899555154427</c:v>
                </c:pt>
                <c:pt idx="638">
                  <c:v>54.777899555154427</c:v>
                </c:pt>
                <c:pt idx="639">
                  <c:v>55.379862342267202</c:v>
                </c:pt>
                <c:pt idx="640">
                  <c:v>55.460835509138406</c:v>
                </c:pt>
                <c:pt idx="641">
                  <c:v>55.555846159881803</c:v>
                </c:pt>
                <c:pt idx="642">
                  <c:v>55.388526727509799</c:v>
                </c:pt>
                <c:pt idx="643">
                  <c:v>55.956849883431481</c:v>
                </c:pt>
                <c:pt idx="644">
                  <c:v>55.956849883431481</c:v>
                </c:pt>
                <c:pt idx="645">
                  <c:v>55.956849883431481</c:v>
                </c:pt>
                <c:pt idx="646">
                  <c:v>55.378418541596083</c:v>
                </c:pt>
                <c:pt idx="647">
                  <c:v>55.459387483355556</c:v>
                </c:pt>
                <c:pt idx="648">
                  <c:v>55.24088160717772</c:v>
                </c:pt>
                <c:pt idx="649">
                  <c:v>55.226519337016612</c:v>
                </c:pt>
                <c:pt idx="650">
                  <c:v>55.244473342002642</c:v>
                </c:pt>
                <c:pt idx="651">
                  <c:v>55.244473342002642</c:v>
                </c:pt>
                <c:pt idx="652">
                  <c:v>55.244473342002642</c:v>
                </c:pt>
                <c:pt idx="653">
                  <c:v>55.250939641830691</c:v>
                </c:pt>
                <c:pt idx="654">
                  <c:v>55.244473342002649</c:v>
                </c:pt>
                <c:pt idx="655">
                  <c:v>55.244473342002649</c:v>
                </c:pt>
                <c:pt idx="656">
                  <c:v>52.448148148148192</c:v>
                </c:pt>
                <c:pt idx="657">
                  <c:v>52.448148148148192</c:v>
                </c:pt>
                <c:pt idx="658">
                  <c:v>52.448148148148192</c:v>
                </c:pt>
                <c:pt idx="659">
                  <c:v>52.448148148148192</c:v>
                </c:pt>
                <c:pt idx="660">
                  <c:v>51.790220531763204</c:v>
                </c:pt>
                <c:pt idx="661">
                  <c:v>52.221853449865442</c:v>
                </c:pt>
                <c:pt idx="662">
                  <c:v>52.448148148148192</c:v>
                </c:pt>
                <c:pt idx="663">
                  <c:v>52.448148148148192</c:v>
                </c:pt>
                <c:pt idx="664">
                  <c:v>52.462397194299733</c:v>
                </c:pt>
                <c:pt idx="665">
                  <c:v>52.462397194299733</c:v>
                </c:pt>
                <c:pt idx="666">
                  <c:v>52.462397194299733</c:v>
                </c:pt>
                <c:pt idx="667">
                  <c:v>52.448148148148192</c:v>
                </c:pt>
                <c:pt idx="668">
                  <c:v>52.747703004718204</c:v>
                </c:pt>
                <c:pt idx="669">
                  <c:v>53.847518854173309</c:v>
                </c:pt>
                <c:pt idx="670">
                  <c:v>51.859763913133747</c:v>
                </c:pt>
                <c:pt idx="671">
                  <c:v>52.680985094615757</c:v>
                </c:pt>
                <c:pt idx="672">
                  <c:v>52.680985094615757</c:v>
                </c:pt>
                <c:pt idx="673">
                  <c:v>52.680985094615757</c:v>
                </c:pt>
                <c:pt idx="674">
                  <c:v>51.958709929919451</c:v>
                </c:pt>
                <c:pt idx="675">
                  <c:v>53.167551061273585</c:v>
                </c:pt>
                <c:pt idx="676">
                  <c:v>51.637879690291882</c:v>
                </c:pt>
                <c:pt idx="677">
                  <c:v>51.184954035590835</c:v>
                </c:pt>
                <c:pt idx="678">
                  <c:v>52.773913043478316</c:v>
                </c:pt>
                <c:pt idx="679">
                  <c:v>52.773913043478316</c:v>
                </c:pt>
                <c:pt idx="680">
                  <c:v>52.773913043478316</c:v>
                </c:pt>
                <c:pt idx="681">
                  <c:v>52.286769230769281</c:v>
                </c:pt>
                <c:pt idx="682">
                  <c:v>48.439620081411171</c:v>
                </c:pt>
                <c:pt idx="683">
                  <c:v>50.362159919388347</c:v>
                </c:pt>
                <c:pt idx="684">
                  <c:v>50.480649262687635</c:v>
                </c:pt>
                <c:pt idx="685">
                  <c:v>50.572591781343789</c:v>
                </c:pt>
                <c:pt idx="686">
                  <c:v>50.572591781343789</c:v>
                </c:pt>
                <c:pt idx="687">
                  <c:v>50.572591781343789</c:v>
                </c:pt>
                <c:pt idx="688">
                  <c:v>51.796534949219129</c:v>
                </c:pt>
                <c:pt idx="689">
                  <c:v>52.023609801496477</c:v>
                </c:pt>
                <c:pt idx="690">
                  <c:v>52.812620429880333</c:v>
                </c:pt>
                <c:pt idx="691">
                  <c:v>49.860335195530773</c:v>
                </c:pt>
                <c:pt idx="692">
                  <c:v>50.97796870500148</c:v>
                </c:pt>
                <c:pt idx="693">
                  <c:v>50.97796870500148</c:v>
                </c:pt>
                <c:pt idx="694">
                  <c:v>50.97796870500148</c:v>
                </c:pt>
                <c:pt idx="695">
                  <c:v>53.135631378827348</c:v>
                </c:pt>
                <c:pt idx="696">
                  <c:v>53.417578272350113</c:v>
                </c:pt>
                <c:pt idx="697">
                  <c:v>53.505037783375364</c:v>
                </c:pt>
                <c:pt idx="698">
                  <c:v>53.740575823508628</c:v>
                </c:pt>
                <c:pt idx="699">
                  <c:v>50.083702725643725</c:v>
                </c:pt>
                <c:pt idx="700">
                  <c:v>50.083702725643725</c:v>
                </c:pt>
                <c:pt idx="701">
                  <c:v>50.083702725643725</c:v>
                </c:pt>
                <c:pt idx="702">
                  <c:v>52.033167577101189</c:v>
                </c:pt>
                <c:pt idx="703">
                  <c:v>52.938317757009401</c:v>
                </c:pt>
                <c:pt idx="704">
                  <c:v>50.795112152661588</c:v>
                </c:pt>
                <c:pt idx="705">
                  <c:v>52.850069665605147</c:v>
                </c:pt>
                <c:pt idx="706">
                  <c:v>52.969340298991376</c:v>
                </c:pt>
                <c:pt idx="707">
                  <c:v>52.969340298991376</c:v>
                </c:pt>
                <c:pt idx="708">
                  <c:v>52.969340298991376</c:v>
                </c:pt>
                <c:pt idx="709">
                  <c:v>53.538752362949019</c:v>
                </c:pt>
                <c:pt idx="710">
                  <c:v>52.940296833526538</c:v>
                </c:pt>
                <c:pt idx="711">
                  <c:v>52.907990435389117</c:v>
                </c:pt>
                <c:pt idx="712">
                  <c:v>52.987178207942584</c:v>
                </c:pt>
                <c:pt idx="713">
                  <c:v>53.128321848855158</c:v>
                </c:pt>
                <c:pt idx="714">
                  <c:v>53.128321848855158</c:v>
                </c:pt>
                <c:pt idx="715">
                  <c:v>53.128321848855158</c:v>
                </c:pt>
                <c:pt idx="716">
                  <c:v>52.980570174344713</c:v>
                </c:pt>
                <c:pt idx="717">
                  <c:v>51.78390765367697</c:v>
                </c:pt>
                <c:pt idx="718">
                  <c:v>51.495169638419924</c:v>
                </c:pt>
                <c:pt idx="719">
                  <c:v>47.753560468959058</c:v>
                </c:pt>
                <c:pt idx="720">
                  <c:v>47.029324831456996</c:v>
                </c:pt>
                <c:pt idx="721">
                  <c:v>47.029324831456996</c:v>
                </c:pt>
                <c:pt idx="722">
                  <c:v>47.029324831456996</c:v>
                </c:pt>
                <c:pt idx="723">
                  <c:v>46.992909527338753</c:v>
                </c:pt>
                <c:pt idx="724">
                  <c:v>46.95187993192021</c:v>
                </c:pt>
                <c:pt idx="725">
                  <c:v>47.498350868170128</c:v>
                </c:pt>
                <c:pt idx="726">
                  <c:v>47.398721395976793</c:v>
                </c:pt>
                <c:pt idx="727">
                  <c:v>46.598587223587266</c:v>
                </c:pt>
                <c:pt idx="728">
                  <c:v>46.598587223587266</c:v>
                </c:pt>
                <c:pt idx="729">
                  <c:v>46.598587223587266</c:v>
                </c:pt>
                <c:pt idx="730">
                  <c:v>47.642704945609559</c:v>
                </c:pt>
                <c:pt idx="731">
                  <c:v>48.030525720746226</c:v>
                </c:pt>
                <c:pt idx="732">
                  <c:v>47.632021527077072</c:v>
                </c:pt>
                <c:pt idx="733">
                  <c:v>47.640033641715767</c:v>
                </c:pt>
                <c:pt idx="734">
                  <c:v>46.456925398595928</c:v>
                </c:pt>
                <c:pt idx="735">
                  <c:v>46.456925398595928</c:v>
                </c:pt>
                <c:pt idx="736">
                  <c:v>46.456925398595928</c:v>
                </c:pt>
                <c:pt idx="737">
                  <c:v>47.999050933249009</c:v>
                </c:pt>
                <c:pt idx="738">
                  <c:v>47.601066690570136</c:v>
                </c:pt>
                <c:pt idx="739">
                  <c:v>44.648919063784199</c:v>
                </c:pt>
                <c:pt idx="740">
                  <c:v>44.343197119148307</c:v>
                </c:pt>
                <c:pt idx="741">
                  <c:v>44.368668407310743</c:v>
                </c:pt>
                <c:pt idx="742">
                  <c:v>44.368668407310743</c:v>
                </c:pt>
                <c:pt idx="743">
                  <c:v>44.368668407310743</c:v>
                </c:pt>
                <c:pt idx="744">
                  <c:v>44.368668407310743</c:v>
                </c:pt>
                <c:pt idx="745">
                  <c:v>47.440536013400376</c:v>
                </c:pt>
                <c:pt idx="746">
                  <c:v>49.370133643230716</c:v>
                </c:pt>
                <c:pt idx="747">
                  <c:v>47.836906584992377</c:v>
                </c:pt>
                <c:pt idx="748">
                  <c:v>47.677994253905588</c:v>
                </c:pt>
                <c:pt idx="749">
                  <c:v>47.677994253905588</c:v>
                </c:pt>
                <c:pt idx="750">
                  <c:v>47.677994253905588</c:v>
                </c:pt>
                <c:pt idx="751">
                  <c:v>47.60000000000003</c:v>
                </c:pt>
                <c:pt idx="752">
                  <c:v>48.802426163972875</c:v>
                </c:pt>
                <c:pt idx="753">
                  <c:v>47.189176580359259</c:v>
                </c:pt>
                <c:pt idx="754">
                  <c:v>47.189176580359259</c:v>
                </c:pt>
                <c:pt idx="755">
                  <c:v>47.245329181494689</c:v>
                </c:pt>
                <c:pt idx="756">
                  <c:v>47.245329181494689</c:v>
                </c:pt>
                <c:pt idx="757">
                  <c:v>47.245329181494689</c:v>
                </c:pt>
                <c:pt idx="758">
                  <c:v>47.245329181494689</c:v>
                </c:pt>
                <c:pt idx="759">
                  <c:v>47.245329181494689</c:v>
                </c:pt>
                <c:pt idx="760">
                  <c:v>47.245329181494689</c:v>
                </c:pt>
                <c:pt idx="761">
                  <c:v>30.34500000000002</c:v>
                </c:pt>
                <c:pt idx="762">
                  <c:v>30.039880640918689</c:v>
                </c:pt>
                <c:pt idx="763">
                  <c:v>30.039880640918689</c:v>
                </c:pt>
                <c:pt idx="764">
                  <c:v>30.039880640918689</c:v>
                </c:pt>
                <c:pt idx="765">
                  <c:v>30.252729176013183</c:v>
                </c:pt>
                <c:pt idx="766">
                  <c:v>30.324855631616167</c:v>
                </c:pt>
                <c:pt idx="767">
                  <c:v>29.554213682467712</c:v>
                </c:pt>
                <c:pt idx="768">
                  <c:v>29.475064524186191</c:v>
                </c:pt>
                <c:pt idx="769">
                  <c:v>29.453403402709434</c:v>
                </c:pt>
                <c:pt idx="770">
                  <c:v>29.453403402709434</c:v>
                </c:pt>
                <c:pt idx="771">
                  <c:v>29.453403402709434</c:v>
                </c:pt>
                <c:pt idx="772">
                  <c:v>28.256069171932179</c:v>
                </c:pt>
                <c:pt idx="773">
                  <c:v>28.032332563510415</c:v>
                </c:pt>
                <c:pt idx="774">
                  <c:v>28.01846661170654</c:v>
                </c:pt>
                <c:pt idx="775">
                  <c:v>27.990591397849489</c:v>
                </c:pt>
                <c:pt idx="776">
                  <c:v>28.412161258393326</c:v>
                </c:pt>
                <c:pt idx="777">
                  <c:v>28.412161258393326</c:v>
                </c:pt>
                <c:pt idx="778">
                  <c:v>28.412161258393326</c:v>
                </c:pt>
                <c:pt idx="779">
                  <c:v>28.094992460915829</c:v>
                </c:pt>
                <c:pt idx="780">
                  <c:v>27.803010471204214</c:v>
                </c:pt>
                <c:pt idx="781">
                  <c:v>26.447737035423046</c:v>
                </c:pt>
                <c:pt idx="782">
                  <c:v>27.497087378640799</c:v>
                </c:pt>
                <c:pt idx="783">
                  <c:v>27.131471050312324</c:v>
                </c:pt>
                <c:pt idx="784">
                  <c:v>27.131471050312324</c:v>
                </c:pt>
                <c:pt idx="785">
                  <c:v>27.131471050312324</c:v>
                </c:pt>
                <c:pt idx="786">
                  <c:v>27.505988993201711</c:v>
                </c:pt>
                <c:pt idx="787">
                  <c:v>26.935196515409952</c:v>
                </c:pt>
                <c:pt idx="788">
                  <c:v>26.802139982082725</c:v>
                </c:pt>
                <c:pt idx="789">
                  <c:v>26.264605873261232</c:v>
                </c:pt>
                <c:pt idx="790">
                  <c:v>26.896486229819587</c:v>
                </c:pt>
                <c:pt idx="791">
                  <c:v>26.896486229819587</c:v>
                </c:pt>
                <c:pt idx="792">
                  <c:v>26.896486229819587</c:v>
                </c:pt>
                <c:pt idx="793">
                  <c:v>27.673697512930442</c:v>
                </c:pt>
                <c:pt idx="794">
                  <c:v>27.210888710968803</c:v>
                </c:pt>
                <c:pt idx="795">
                  <c:v>26.688151372948145</c:v>
                </c:pt>
                <c:pt idx="796">
                  <c:v>26.702074167190471</c:v>
                </c:pt>
                <c:pt idx="797">
                  <c:v>26.635109717868364</c:v>
                </c:pt>
                <c:pt idx="798">
                  <c:v>26.635109717868364</c:v>
                </c:pt>
                <c:pt idx="799">
                  <c:v>26.635109717868364</c:v>
                </c:pt>
                <c:pt idx="800">
                  <c:v>26.140006522234071</c:v>
                </c:pt>
                <c:pt idx="801">
                  <c:v>26.377617861999191</c:v>
                </c:pt>
                <c:pt idx="802">
                  <c:v>26.484835260746259</c:v>
                </c:pt>
                <c:pt idx="803">
                  <c:v>26.64346190028224</c:v>
                </c:pt>
                <c:pt idx="804">
                  <c:v>26.432433441386753</c:v>
                </c:pt>
                <c:pt idx="805">
                  <c:v>26.432433441386753</c:v>
                </c:pt>
                <c:pt idx="806">
                  <c:v>26.432433441386753</c:v>
                </c:pt>
                <c:pt idx="807">
                  <c:v>27.117962466487953</c:v>
                </c:pt>
                <c:pt idx="808">
                  <c:v>28.357352165699922</c:v>
                </c:pt>
                <c:pt idx="809">
                  <c:v>28.148418088454548</c:v>
                </c:pt>
                <c:pt idx="810">
                  <c:v>30.12786417888222</c:v>
                </c:pt>
                <c:pt idx="811">
                  <c:v>29.067484074907821</c:v>
                </c:pt>
                <c:pt idx="812">
                  <c:v>29.067484074907821</c:v>
                </c:pt>
                <c:pt idx="813">
                  <c:v>29.067484074907821</c:v>
                </c:pt>
                <c:pt idx="814">
                  <c:v>29.839644309585534</c:v>
                </c:pt>
                <c:pt idx="815">
                  <c:v>30.421052631578966</c:v>
                </c:pt>
                <c:pt idx="816">
                  <c:v>29.947764297849258</c:v>
                </c:pt>
                <c:pt idx="817">
                  <c:v>30.486325896477254</c:v>
                </c:pt>
                <c:pt idx="818">
                  <c:v>31.44582861457155</c:v>
                </c:pt>
                <c:pt idx="819">
                  <c:v>31.44582861457155</c:v>
                </c:pt>
                <c:pt idx="820">
                  <c:v>31.44582861457155</c:v>
                </c:pt>
                <c:pt idx="821">
                  <c:v>32.511670620647443</c:v>
                </c:pt>
                <c:pt idx="822">
                  <c:v>32.805405405405416</c:v>
                </c:pt>
                <c:pt idx="823">
                  <c:v>32.193846620187948</c:v>
                </c:pt>
                <c:pt idx="824">
                  <c:v>32.19628647214855</c:v>
                </c:pt>
                <c:pt idx="825">
                  <c:v>34.047685834502111</c:v>
                </c:pt>
                <c:pt idx="826">
                  <c:v>34.047685834502111</c:v>
                </c:pt>
                <c:pt idx="827">
                  <c:v>34.047685834502111</c:v>
                </c:pt>
                <c:pt idx="828">
                  <c:v>34.159932456880966</c:v>
                </c:pt>
                <c:pt idx="829">
                  <c:v>34.024779951785625</c:v>
                </c:pt>
                <c:pt idx="830">
                  <c:v>34.264352426886923</c:v>
                </c:pt>
                <c:pt idx="831">
                  <c:v>34.226809107168769</c:v>
                </c:pt>
                <c:pt idx="832">
                  <c:v>35.328898128898146</c:v>
                </c:pt>
                <c:pt idx="833">
                  <c:v>35.328898128898146</c:v>
                </c:pt>
                <c:pt idx="834">
                  <c:v>35.328898128898146</c:v>
                </c:pt>
                <c:pt idx="835">
                  <c:v>36.811777550560649</c:v>
                </c:pt>
                <c:pt idx="836">
                  <c:v>36.799979210519496</c:v>
                </c:pt>
                <c:pt idx="837">
                  <c:v>37.496028243601081</c:v>
                </c:pt>
                <c:pt idx="838">
                  <c:v>36.933067888408829</c:v>
                </c:pt>
                <c:pt idx="839">
                  <c:v>39.354330708661436</c:v>
                </c:pt>
                <c:pt idx="840">
                  <c:v>39.354330708661436</c:v>
                </c:pt>
                <c:pt idx="841">
                  <c:v>39.354330708661436</c:v>
                </c:pt>
                <c:pt idx="842">
                  <c:v>34.44102148358332</c:v>
                </c:pt>
                <c:pt idx="843">
                  <c:v>34.38443421041984</c:v>
                </c:pt>
                <c:pt idx="844">
                  <c:v>33.877990430622027</c:v>
                </c:pt>
                <c:pt idx="845">
                  <c:v>33.189584456371456</c:v>
                </c:pt>
                <c:pt idx="846">
                  <c:v>32.416655856790783</c:v>
                </c:pt>
                <c:pt idx="847">
                  <c:v>32.416655856790783</c:v>
                </c:pt>
                <c:pt idx="848">
                  <c:v>32.416655856790783</c:v>
                </c:pt>
                <c:pt idx="849">
                  <c:v>31.306558585114239</c:v>
                </c:pt>
                <c:pt idx="850">
                  <c:v>30.563309352518001</c:v>
                </c:pt>
                <c:pt idx="851">
                  <c:v>30.459222082810552</c:v>
                </c:pt>
                <c:pt idx="852">
                  <c:v>30.942860264394206</c:v>
                </c:pt>
                <c:pt idx="853">
                  <c:v>30.69580924855493</c:v>
                </c:pt>
                <c:pt idx="854">
                  <c:v>30.69580924855493</c:v>
                </c:pt>
                <c:pt idx="855">
                  <c:v>30.69580924855493</c:v>
                </c:pt>
                <c:pt idx="856">
                  <c:v>30.69580924855493</c:v>
                </c:pt>
                <c:pt idx="857">
                  <c:v>30.585313174946023</c:v>
                </c:pt>
                <c:pt idx="858">
                  <c:v>30.185448344464987</c:v>
                </c:pt>
                <c:pt idx="859">
                  <c:v>29.899076628568224</c:v>
                </c:pt>
                <c:pt idx="860">
                  <c:v>29.586116121483951</c:v>
                </c:pt>
                <c:pt idx="861">
                  <c:v>29.586116121483951</c:v>
                </c:pt>
                <c:pt idx="862">
                  <c:v>29.586116121483951</c:v>
                </c:pt>
                <c:pt idx="863">
                  <c:v>29.34050679245545</c:v>
                </c:pt>
                <c:pt idx="864">
                  <c:v>28.286547527099383</c:v>
                </c:pt>
                <c:pt idx="865">
                  <c:v>27.875984251968518</c:v>
                </c:pt>
                <c:pt idx="866">
                  <c:v>27.894287590282346</c:v>
                </c:pt>
                <c:pt idx="867">
                  <c:v>28.041584158415855</c:v>
                </c:pt>
                <c:pt idx="868">
                  <c:v>28.041584158415855</c:v>
                </c:pt>
                <c:pt idx="869">
                  <c:v>28.041584158415855</c:v>
                </c:pt>
                <c:pt idx="870">
                  <c:v>27.730417754569206</c:v>
                </c:pt>
                <c:pt idx="871">
                  <c:v>28.741044427756709</c:v>
                </c:pt>
                <c:pt idx="872">
                  <c:v>29.646196789951169</c:v>
                </c:pt>
                <c:pt idx="873">
                  <c:v>29.414249117219438</c:v>
                </c:pt>
                <c:pt idx="874">
                  <c:v>28.847407447646486</c:v>
                </c:pt>
                <c:pt idx="875">
                  <c:v>28.847407447646486</c:v>
                </c:pt>
                <c:pt idx="876">
                  <c:v>28.847407447646486</c:v>
                </c:pt>
                <c:pt idx="877">
                  <c:v>28.74726791671462</c:v>
                </c:pt>
                <c:pt idx="878">
                  <c:v>30.291773027394747</c:v>
                </c:pt>
                <c:pt idx="879">
                  <c:v>30.335032774945404</c:v>
                </c:pt>
                <c:pt idx="880">
                  <c:v>30.1451805177112</c:v>
                </c:pt>
                <c:pt idx="881">
                  <c:v>28.569603227975819</c:v>
                </c:pt>
                <c:pt idx="882">
                  <c:v>28.569603227975819</c:v>
                </c:pt>
                <c:pt idx="883">
                  <c:v>28.569603227975819</c:v>
                </c:pt>
                <c:pt idx="884">
                  <c:v>28.569603227975819</c:v>
                </c:pt>
                <c:pt idx="885">
                  <c:v>28.62485092276286</c:v>
                </c:pt>
                <c:pt idx="886">
                  <c:v>28.419003532056117</c:v>
                </c:pt>
                <c:pt idx="887">
                  <c:v>28.542346918208601</c:v>
                </c:pt>
                <c:pt idx="888">
                  <c:v>28.830766933825608</c:v>
                </c:pt>
                <c:pt idx="889">
                  <c:v>28.830766933825608</c:v>
                </c:pt>
                <c:pt idx="890">
                  <c:v>28.830766933825608</c:v>
                </c:pt>
                <c:pt idx="891">
                  <c:v>28.425849102052862</c:v>
                </c:pt>
                <c:pt idx="892">
                  <c:v>28.227906976744215</c:v>
                </c:pt>
                <c:pt idx="893">
                  <c:v>28.227906976744215</c:v>
                </c:pt>
                <c:pt idx="894">
                  <c:v>28.676827951182659</c:v>
                </c:pt>
                <c:pt idx="895">
                  <c:v>28.407221664995014</c:v>
                </c:pt>
                <c:pt idx="896">
                  <c:v>28.407221664995014</c:v>
                </c:pt>
                <c:pt idx="897">
                  <c:v>28.407221664995014</c:v>
                </c:pt>
                <c:pt idx="898">
                  <c:v>28.646662171274475</c:v>
                </c:pt>
                <c:pt idx="899">
                  <c:v>28.502515934250283</c:v>
                </c:pt>
                <c:pt idx="900">
                  <c:v>28.512080536912784</c:v>
                </c:pt>
                <c:pt idx="901">
                  <c:v>28.533911852021046</c:v>
                </c:pt>
                <c:pt idx="902">
                  <c:v>28.426419715086784</c:v>
                </c:pt>
                <c:pt idx="903">
                  <c:v>28.426419715086784</c:v>
                </c:pt>
                <c:pt idx="904">
                  <c:v>28.426419715086784</c:v>
                </c:pt>
                <c:pt idx="905">
                  <c:v>27.76975219468833</c:v>
                </c:pt>
                <c:pt idx="906">
                  <c:v>27.667209378052785</c:v>
                </c:pt>
                <c:pt idx="907">
                  <c:v>27.622236671001335</c:v>
                </c:pt>
                <c:pt idx="908">
                  <c:v>27.586363636363672</c:v>
                </c:pt>
                <c:pt idx="909">
                  <c:v>28.054917188366787</c:v>
                </c:pt>
                <c:pt idx="910">
                  <c:v>28.054917188366787</c:v>
                </c:pt>
                <c:pt idx="911">
                  <c:v>28.054917188366787</c:v>
                </c:pt>
                <c:pt idx="912">
                  <c:v>27.721370309951098</c:v>
                </c:pt>
                <c:pt idx="913">
                  <c:v>28.237288135593253</c:v>
                </c:pt>
                <c:pt idx="914">
                  <c:v>27.949342105263192</c:v>
                </c:pt>
                <c:pt idx="915">
                  <c:v>27.857704918032823</c:v>
                </c:pt>
                <c:pt idx="916">
                  <c:v>27.834889434889472</c:v>
                </c:pt>
                <c:pt idx="917">
                  <c:v>27.834889434889472</c:v>
                </c:pt>
                <c:pt idx="918">
                  <c:v>27.834889434889472</c:v>
                </c:pt>
                <c:pt idx="919">
                  <c:v>27.581886057458242</c:v>
                </c:pt>
                <c:pt idx="920">
                  <c:v>27.458521041643809</c:v>
                </c:pt>
                <c:pt idx="921">
                  <c:v>27.021027591558468</c:v>
                </c:pt>
                <c:pt idx="922">
                  <c:v>26.82600322040858</c:v>
                </c:pt>
                <c:pt idx="923">
                  <c:v>26.469158878504707</c:v>
                </c:pt>
                <c:pt idx="924">
                  <c:v>26.469158878504707</c:v>
                </c:pt>
                <c:pt idx="925">
                  <c:v>26.469158878504707</c:v>
                </c:pt>
                <c:pt idx="926">
                  <c:v>26.993385562608445</c:v>
                </c:pt>
                <c:pt idx="927">
                  <c:v>27.007800431026293</c:v>
                </c:pt>
                <c:pt idx="928">
                  <c:v>26.310965224661722</c:v>
                </c:pt>
                <c:pt idx="929">
                  <c:v>26.103225806451643</c:v>
                </c:pt>
                <c:pt idx="930">
                  <c:v>26.619088197699224</c:v>
                </c:pt>
                <c:pt idx="931">
                  <c:v>26.619088197699224</c:v>
                </c:pt>
                <c:pt idx="932">
                  <c:v>26.619088197699224</c:v>
                </c:pt>
                <c:pt idx="933">
                  <c:v>26.505325022928517</c:v>
                </c:pt>
                <c:pt idx="934">
                  <c:v>26.977101563393013</c:v>
                </c:pt>
                <c:pt idx="935">
                  <c:v>26.813643191658596</c:v>
                </c:pt>
                <c:pt idx="936">
                  <c:v>26.618421052631607</c:v>
                </c:pt>
                <c:pt idx="937">
                  <c:v>26.541424314176318</c:v>
                </c:pt>
                <c:pt idx="938">
                  <c:v>26.541424314176318</c:v>
                </c:pt>
                <c:pt idx="939">
                  <c:v>26.541424314176318</c:v>
                </c:pt>
                <c:pt idx="940">
                  <c:v>26.394005852494793</c:v>
                </c:pt>
                <c:pt idx="941">
                  <c:v>25.864840182648432</c:v>
                </c:pt>
                <c:pt idx="942">
                  <c:v>25.576760987357041</c:v>
                </c:pt>
                <c:pt idx="943">
                  <c:v>25.654760107491196</c:v>
                </c:pt>
                <c:pt idx="944">
                  <c:v>26.2240740740741</c:v>
                </c:pt>
                <c:pt idx="945">
                  <c:v>26.2240740740741</c:v>
                </c:pt>
                <c:pt idx="946">
                  <c:v>26.2240740740741</c:v>
                </c:pt>
                <c:pt idx="947">
                  <c:v>26.642459361830248</c:v>
                </c:pt>
                <c:pt idx="948">
                  <c:v>26.65265535305376</c:v>
                </c:pt>
                <c:pt idx="949">
                  <c:v>26.862981909236371</c:v>
                </c:pt>
                <c:pt idx="950">
                  <c:v>26.599088381877859</c:v>
                </c:pt>
                <c:pt idx="951">
                  <c:v>26.601420145020128</c:v>
                </c:pt>
                <c:pt idx="952">
                  <c:v>26.601420145020128</c:v>
                </c:pt>
                <c:pt idx="953">
                  <c:v>26.601420145020128</c:v>
                </c:pt>
                <c:pt idx="954">
                  <c:v>26.777981581982896</c:v>
                </c:pt>
                <c:pt idx="955">
                  <c:v>26.821091708019271</c:v>
                </c:pt>
                <c:pt idx="956">
                  <c:v>26.797068173790212</c:v>
                </c:pt>
                <c:pt idx="957">
                  <c:v>26.729963381026117</c:v>
                </c:pt>
                <c:pt idx="958">
                  <c:v>26.740899735001818</c:v>
                </c:pt>
                <c:pt idx="959">
                  <c:v>26.740899735001818</c:v>
                </c:pt>
                <c:pt idx="960">
                  <c:v>26.740899735001818</c:v>
                </c:pt>
                <c:pt idx="961">
                  <c:v>26.766508943591447</c:v>
                </c:pt>
                <c:pt idx="962">
                  <c:v>26.837696467377601</c:v>
                </c:pt>
                <c:pt idx="963">
                  <c:v>26.951942902458395</c:v>
                </c:pt>
                <c:pt idx="964">
                  <c:v>26.908241016968507</c:v>
                </c:pt>
                <c:pt idx="965">
                  <c:v>26.937245975233211</c:v>
                </c:pt>
                <c:pt idx="966">
                  <c:v>26.937245975233211</c:v>
                </c:pt>
                <c:pt idx="967">
                  <c:v>26.937245975233211</c:v>
                </c:pt>
                <c:pt idx="968">
                  <c:v>26.718867924528329</c:v>
                </c:pt>
                <c:pt idx="969">
                  <c:v>26.691169541042342</c:v>
                </c:pt>
                <c:pt idx="970">
                  <c:v>26.640788632059525</c:v>
                </c:pt>
                <c:pt idx="971">
                  <c:v>26.68144677590552</c:v>
                </c:pt>
                <c:pt idx="972">
                  <c:v>26.688319031046252</c:v>
                </c:pt>
                <c:pt idx="973">
                  <c:v>26.688319031046252</c:v>
                </c:pt>
                <c:pt idx="974">
                  <c:v>26.688319031046252</c:v>
                </c:pt>
                <c:pt idx="975">
                  <c:v>26.656669030124704</c:v>
                </c:pt>
                <c:pt idx="976">
                  <c:v>26.698717948717974</c:v>
                </c:pt>
                <c:pt idx="977">
                  <c:v>26.502183406113566</c:v>
                </c:pt>
                <c:pt idx="978">
                  <c:v>26.443456827009292</c:v>
                </c:pt>
                <c:pt idx="979">
                  <c:v>26.41599771177011</c:v>
                </c:pt>
                <c:pt idx="980">
                  <c:v>26.41599771177011</c:v>
                </c:pt>
                <c:pt idx="981">
                  <c:v>26.41599771177011</c:v>
                </c:pt>
                <c:pt idx="982">
                  <c:v>25.786342943854351</c:v>
                </c:pt>
                <c:pt idx="983">
                  <c:v>25.825531914893645</c:v>
                </c:pt>
                <c:pt idx="984">
                  <c:v>25.673364556579568</c:v>
                </c:pt>
                <c:pt idx="985">
                  <c:v>25.663283798477732</c:v>
                </c:pt>
                <c:pt idx="986">
                  <c:v>25.918491855286465</c:v>
                </c:pt>
                <c:pt idx="987">
                  <c:v>25.918491855286465</c:v>
                </c:pt>
                <c:pt idx="988">
                  <c:v>25.918491855286465</c:v>
                </c:pt>
                <c:pt idx="989">
                  <c:v>25.918491855286465</c:v>
                </c:pt>
                <c:pt idx="990">
                  <c:v>25.873188913317566</c:v>
                </c:pt>
                <c:pt idx="991">
                  <c:v>25.873031340211238</c:v>
                </c:pt>
                <c:pt idx="992">
                  <c:v>25.904268292682957</c:v>
                </c:pt>
                <c:pt idx="993">
                  <c:v>25.912642500320253</c:v>
                </c:pt>
                <c:pt idx="994">
                  <c:v>25.912642500320253</c:v>
                </c:pt>
                <c:pt idx="995">
                  <c:v>25.912642500320253</c:v>
                </c:pt>
                <c:pt idx="996">
                  <c:v>25.926242363954845</c:v>
                </c:pt>
                <c:pt idx="997">
                  <c:v>26.321561338289992</c:v>
                </c:pt>
                <c:pt idx="998">
                  <c:v>25.647016209363425</c:v>
                </c:pt>
                <c:pt idx="999">
                  <c:v>25.694326841659638</c:v>
                </c:pt>
                <c:pt idx="1000">
                  <c:v>25.453401635661034</c:v>
                </c:pt>
                <c:pt idx="1001">
                  <c:v>25.453401635661034</c:v>
                </c:pt>
                <c:pt idx="1002">
                  <c:v>25.453401635661034</c:v>
                </c:pt>
                <c:pt idx="1003">
                  <c:v>25.450809360060411</c:v>
                </c:pt>
                <c:pt idx="1004">
                  <c:v>25.46484445243664</c:v>
                </c:pt>
                <c:pt idx="1005">
                  <c:v>25.431307991619303</c:v>
                </c:pt>
                <c:pt idx="1006">
                  <c:v>25.783995387369917</c:v>
                </c:pt>
                <c:pt idx="1007">
                  <c:v>26.154490214306414</c:v>
                </c:pt>
                <c:pt idx="1008">
                  <c:v>26.154490214306414</c:v>
                </c:pt>
                <c:pt idx="1009">
                  <c:v>26.154490214306414</c:v>
                </c:pt>
                <c:pt idx="1010">
                  <c:v>26.120880472208583</c:v>
                </c:pt>
                <c:pt idx="1011">
                  <c:v>26.17269803718629</c:v>
                </c:pt>
                <c:pt idx="1012">
                  <c:v>26.190931229000366</c:v>
                </c:pt>
                <c:pt idx="1013">
                  <c:v>26.197553094398295</c:v>
                </c:pt>
                <c:pt idx="1014">
                  <c:v>26.136790102189632</c:v>
                </c:pt>
                <c:pt idx="1015">
                  <c:v>26.136790102189632</c:v>
                </c:pt>
                <c:pt idx="1016">
                  <c:v>26.136790102189632</c:v>
                </c:pt>
                <c:pt idx="1017">
                  <c:v>25.980308219178113</c:v>
                </c:pt>
                <c:pt idx="1018">
                  <c:v>25.983486238532141</c:v>
                </c:pt>
                <c:pt idx="1019">
                  <c:v>25.928457646462892</c:v>
                </c:pt>
                <c:pt idx="1020">
                  <c:v>25.912958614169419</c:v>
                </c:pt>
                <c:pt idx="1021">
                  <c:v>25.943816793893163</c:v>
                </c:pt>
                <c:pt idx="1022">
                  <c:v>25.943816793893163</c:v>
                </c:pt>
                <c:pt idx="1023">
                  <c:v>25.943816793893163</c:v>
                </c:pt>
                <c:pt idx="1024">
                  <c:v>25.887536104712844</c:v>
                </c:pt>
                <c:pt idx="1025">
                  <c:v>25.824119045158657</c:v>
                </c:pt>
                <c:pt idx="1026">
                  <c:v>25.822078506218048</c:v>
                </c:pt>
                <c:pt idx="1027">
                  <c:v>25.803101255443632</c:v>
                </c:pt>
                <c:pt idx="1028">
                  <c:v>25.825531914893659</c:v>
                </c:pt>
                <c:pt idx="1029">
                  <c:v>25.825531914893659</c:v>
                </c:pt>
                <c:pt idx="1030">
                  <c:v>25.825531914893659</c:v>
                </c:pt>
                <c:pt idx="1031">
                  <c:v>25.856968959220975</c:v>
                </c:pt>
                <c:pt idx="1032">
                  <c:v>25.751330512686888</c:v>
                </c:pt>
                <c:pt idx="1033">
                  <c:v>25.799967205747532</c:v>
                </c:pt>
                <c:pt idx="1034">
                  <c:v>25.829614407140372</c:v>
                </c:pt>
                <c:pt idx="1035">
                  <c:v>25.849731663685187</c:v>
                </c:pt>
                <c:pt idx="1036">
                  <c:v>25.849731663685187</c:v>
                </c:pt>
                <c:pt idx="1037">
                  <c:v>25.849731663685187</c:v>
                </c:pt>
                <c:pt idx="1038">
                  <c:v>25.767418163291335</c:v>
                </c:pt>
                <c:pt idx="1039">
                  <c:v>25.520833333333368</c:v>
                </c:pt>
                <c:pt idx="1040">
                  <c:v>25.387235568304085</c:v>
                </c:pt>
                <c:pt idx="1041">
                  <c:v>25.315377052110993</c:v>
                </c:pt>
                <c:pt idx="1042">
                  <c:v>25.468202963886664</c:v>
                </c:pt>
                <c:pt idx="1043">
                  <c:v>25.468202963886664</c:v>
                </c:pt>
                <c:pt idx="1044">
                  <c:v>25.468202963886664</c:v>
                </c:pt>
                <c:pt idx="1045">
                  <c:v>25.38041043104225</c:v>
                </c:pt>
                <c:pt idx="1046">
                  <c:v>25.320658004529783</c:v>
                </c:pt>
                <c:pt idx="1047">
                  <c:v>25.325186289120754</c:v>
                </c:pt>
                <c:pt idx="1048">
                  <c:v>25.288102097669032</c:v>
                </c:pt>
                <c:pt idx="1049">
                  <c:v>25.50306159202789</c:v>
                </c:pt>
                <c:pt idx="1050">
                  <c:v>25.50306159202789</c:v>
                </c:pt>
                <c:pt idx="1051">
                  <c:v>25.50306159202789</c:v>
                </c:pt>
                <c:pt idx="1052">
                  <c:v>25.421568510118878</c:v>
                </c:pt>
                <c:pt idx="1053">
                  <c:v>25.310852274419886</c:v>
                </c:pt>
                <c:pt idx="1054">
                  <c:v>25.241824317900978</c:v>
                </c:pt>
                <c:pt idx="1055">
                  <c:v>25.104595092894662</c:v>
                </c:pt>
                <c:pt idx="1056">
                  <c:v>25.038604349619888</c:v>
                </c:pt>
                <c:pt idx="1057">
                  <c:v>25.038604349619888</c:v>
                </c:pt>
                <c:pt idx="1058">
                  <c:v>25.038604349619888</c:v>
                </c:pt>
                <c:pt idx="1059">
                  <c:v>25.240474591980455</c:v>
                </c:pt>
                <c:pt idx="1060">
                  <c:v>25.132218791041108</c:v>
                </c:pt>
                <c:pt idx="1061">
                  <c:v>25.160797413027296</c:v>
                </c:pt>
                <c:pt idx="1062">
                  <c:v>25.207675693636858</c:v>
                </c:pt>
                <c:pt idx="1063">
                  <c:v>25.235227029724182</c:v>
                </c:pt>
                <c:pt idx="1064">
                  <c:v>25.235227029724182</c:v>
                </c:pt>
                <c:pt idx="1065">
                  <c:v>25.235227029724182</c:v>
                </c:pt>
                <c:pt idx="1066">
                  <c:v>25.340896889875136</c:v>
                </c:pt>
                <c:pt idx="1067">
                  <c:v>25.620258355546486</c:v>
                </c:pt>
                <c:pt idx="1068">
                  <c:v>26.094247140768818</c:v>
                </c:pt>
                <c:pt idx="1069">
                  <c:v>26.465366333796453</c:v>
                </c:pt>
                <c:pt idx="1070">
                  <c:v>26.923247545835412</c:v>
                </c:pt>
                <c:pt idx="1071">
                  <c:v>26.923247545835412</c:v>
                </c:pt>
                <c:pt idx="1072">
                  <c:v>26.923247545835412</c:v>
                </c:pt>
                <c:pt idx="1073">
                  <c:v>26.976930257367695</c:v>
                </c:pt>
                <c:pt idx="1074">
                  <c:v>27.029451623370473</c:v>
                </c:pt>
                <c:pt idx="1075">
                  <c:v>27.425373134328403</c:v>
                </c:pt>
                <c:pt idx="1076">
                  <c:v>27.4519560075992</c:v>
                </c:pt>
                <c:pt idx="1077">
                  <c:v>27.438480914551487</c:v>
                </c:pt>
                <c:pt idx="1078">
                  <c:v>27.438480914551487</c:v>
                </c:pt>
                <c:pt idx="1079">
                  <c:v>27.438480914551487</c:v>
                </c:pt>
                <c:pt idx="1080">
                  <c:v>27.533085328390563</c:v>
                </c:pt>
                <c:pt idx="1081">
                  <c:v>27.353855861540588</c:v>
                </c:pt>
                <c:pt idx="1082">
                  <c:v>27.326935199598662</c:v>
                </c:pt>
                <c:pt idx="1083">
                  <c:v>27.442025708933581</c:v>
                </c:pt>
                <c:pt idx="1084">
                  <c:v>27.434405532989395</c:v>
                </c:pt>
                <c:pt idx="1085">
                  <c:v>27.434405532989395</c:v>
                </c:pt>
                <c:pt idx="1086">
                  <c:v>27.434405532989395</c:v>
                </c:pt>
                <c:pt idx="1087">
                  <c:v>27.433519740665691</c:v>
                </c:pt>
                <c:pt idx="1088">
                  <c:v>27.452665589660789</c:v>
                </c:pt>
                <c:pt idx="1089">
                  <c:v>27.549869004695122</c:v>
                </c:pt>
                <c:pt idx="1090">
                  <c:v>27.549869004695122</c:v>
                </c:pt>
                <c:pt idx="1091">
                  <c:v>27.430154251438282</c:v>
                </c:pt>
                <c:pt idx="1092">
                  <c:v>27.430154251438282</c:v>
                </c:pt>
                <c:pt idx="1093">
                  <c:v>27.430154251438282</c:v>
                </c:pt>
                <c:pt idx="1094">
                  <c:v>27.479301423027209</c:v>
                </c:pt>
                <c:pt idx="1095">
                  <c:v>27.513470804621562</c:v>
                </c:pt>
                <c:pt idx="1096">
                  <c:v>27.56202314838848</c:v>
                </c:pt>
                <c:pt idx="1097">
                  <c:v>27.477879540515413</c:v>
                </c:pt>
                <c:pt idx="1098">
                  <c:v>27.500113281073041</c:v>
                </c:pt>
                <c:pt idx="1099">
                  <c:v>27.500113281073041</c:v>
                </c:pt>
                <c:pt idx="1100">
                  <c:v>27.500113281073041</c:v>
                </c:pt>
                <c:pt idx="1101">
                  <c:v>27.523809523809561</c:v>
                </c:pt>
                <c:pt idx="1102">
                  <c:v>27.60572349439871</c:v>
                </c:pt>
                <c:pt idx="1103">
                  <c:v>27.54808253465967</c:v>
                </c:pt>
                <c:pt idx="1104">
                  <c:v>27.454439705312179</c:v>
                </c:pt>
                <c:pt idx="1105">
                  <c:v>27.4528429909079</c:v>
                </c:pt>
                <c:pt idx="1106">
                  <c:v>27.4528429909079</c:v>
                </c:pt>
                <c:pt idx="1107">
                  <c:v>27.4528429909079</c:v>
                </c:pt>
                <c:pt idx="1108">
                  <c:v>27.437594859043543</c:v>
                </c:pt>
                <c:pt idx="1109">
                  <c:v>27.387360671484519</c:v>
                </c:pt>
                <c:pt idx="1110">
                  <c:v>27.34874917920925</c:v>
                </c:pt>
                <c:pt idx="1111">
                  <c:v>27.234438105006774</c:v>
                </c:pt>
                <c:pt idx="1112">
                  <c:v>27.285163776493299</c:v>
                </c:pt>
                <c:pt idx="1113">
                  <c:v>27.285163776493299</c:v>
                </c:pt>
                <c:pt idx="1114">
                  <c:v>27.285163776493299</c:v>
                </c:pt>
                <c:pt idx="1115">
                  <c:v>27.326759421856046</c:v>
                </c:pt>
                <c:pt idx="1116">
                  <c:v>27.332209583612169</c:v>
                </c:pt>
                <c:pt idx="1117">
                  <c:v>27.286916308048081</c:v>
                </c:pt>
                <c:pt idx="1118">
                  <c:v>27.276579624909349</c:v>
                </c:pt>
                <c:pt idx="1119">
                  <c:v>27.291999922909447</c:v>
                </c:pt>
                <c:pt idx="1120">
                  <c:v>27.291999922909447</c:v>
                </c:pt>
                <c:pt idx="1121">
                  <c:v>27.291999922909447</c:v>
                </c:pt>
                <c:pt idx="1122">
                  <c:v>27.580990716094313</c:v>
                </c:pt>
                <c:pt idx="1123">
                  <c:v>27.556838452307634</c:v>
                </c:pt>
                <c:pt idx="1124">
                  <c:v>27.403967102080351</c:v>
                </c:pt>
                <c:pt idx="1125">
                  <c:v>27.815571167608447</c:v>
                </c:pt>
                <c:pt idx="1126">
                  <c:v>28.322000000000038</c:v>
                </c:pt>
                <c:pt idx="1127">
                  <c:v>28.322000000000038</c:v>
                </c:pt>
                <c:pt idx="1128">
                  <c:v>28.322000000000038</c:v>
                </c:pt>
                <c:pt idx="1129">
                  <c:v>28.540812898891538</c:v>
                </c:pt>
                <c:pt idx="1130">
                  <c:v>28.380463755336031</c:v>
                </c:pt>
                <c:pt idx="1131">
                  <c:v>28.363031852747017</c:v>
                </c:pt>
                <c:pt idx="1132">
                  <c:v>28.332955409425018</c:v>
                </c:pt>
                <c:pt idx="1133">
                  <c:v>28.346377884981127</c:v>
                </c:pt>
                <c:pt idx="1134">
                  <c:v>28.346377884981127</c:v>
                </c:pt>
                <c:pt idx="1135">
                  <c:v>28.346377884981127</c:v>
                </c:pt>
                <c:pt idx="1136">
                  <c:v>28.299360511590766</c:v>
                </c:pt>
                <c:pt idx="1137">
                  <c:v>28.267161706289833</c:v>
                </c:pt>
                <c:pt idx="1138">
                  <c:v>28.121586824563646</c:v>
                </c:pt>
                <c:pt idx="1139">
                  <c:v>28.134437086092753</c:v>
                </c:pt>
                <c:pt idx="1140">
                  <c:v>28.134437086092753</c:v>
                </c:pt>
                <c:pt idx="1141">
                  <c:v>28.134437086092753</c:v>
                </c:pt>
                <c:pt idx="1142">
                  <c:v>28.134437086092753</c:v>
                </c:pt>
                <c:pt idx="1143">
                  <c:v>28.113026502994447</c:v>
                </c:pt>
                <c:pt idx="1144">
                  <c:v>28.16988263377764</c:v>
                </c:pt>
                <c:pt idx="1145">
                  <c:v>28.157746478873278</c:v>
                </c:pt>
                <c:pt idx="1146">
                  <c:v>28.115817339510297</c:v>
                </c:pt>
                <c:pt idx="1147">
                  <c:v>28.279957130399513</c:v>
                </c:pt>
                <c:pt idx="1148">
                  <c:v>28.279957130399513</c:v>
                </c:pt>
                <c:pt idx="1149">
                  <c:v>28.279957130399513</c:v>
                </c:pt>
                <c:pt idx="1150">
                  <c:v>28.28428761651136</c:v>
                </c:pt>
                <c:pt idx="1151">
                  <c:v>28.307280214288614</c:v>
                </c:pt>
                <c:pt idx="1152">
                  <c:v>28.330688077677198</c:v>
                </c:pt>
                <c:pt idx="1153">
                  <c:v>28.33144381460491</c:v>
                </c:pt>
                <c:pt idx="1154">
                  <c:v>28.335223104115293</c:v>
                </c:pt>
                <c:pt idx="1155">
                  <c:v>28.335223104115293</c:v>
                </c:pt>
                <c:pt idx="1156">
                  <c:v>28.335223104115293</c:v>
                </c:pt>
                <c:pt idx="1157">
                  <c:v>28.303131245836148</c:v>
                </c:pt>
                <c:pt idx="1158">
                  <c:v>28.333711267323864</c:v>
                </c:pt>
                <c:pt idx="1159">
                  <c:v>28.334089211396901</c:v>
                </c:pt>
                <c:pt idx="1160">
                  <c:v>28.231095871294471</c:v>
                </c:pt>
                <c:pt idx="1161">
                  <c:v>28.04158415841588</c:v>
                </c:pt>
                <c:pt idx="1162">
                  <c:v>28.04158415841588</c:v>
                </c:pt>
                <c:pt idx="1163">
                  <c:v>28.04158415841588</c:v>
                </c:pt>
                <c:pt idx="1164">
                  <c:v>27.818485414006517</c:v>
                </c:pt>
                <c:pt idx="1165">
                  <c:v>27.73096078904943</c:v>
                </c:pt>
                <c:pt idx="1166">
                  <c:v>27.648303016498033</c:v>
                </c:pt>
                <c:pt idx="1167">
                  <c:v>27.349277368268616</c:v>
                </c:pt>
                <c:pt idx="1168">
                  <c:v>27.471482889733874</c:v>
                </c:pt>
                <c:pt idx="1169">
                  <c:v>27.471482889733874</c:v>
                </c:pt>
                <c:pt idx="1170">
                  <c:v>27.471482889733874</c:v>
                </c:pt>
                <c:pt idx="1171">
                  <c:v>27.568462037637932</c:v>
                </c:pt>
                <c:pt idx="1172">
                  <c:v>27.595323156869149</c:v>
                </c:pt>
                <c:pt idx="1173">
                  <c:v>27.579200207738282</c:v>
                </c:pt>
                <c:pt idx="1174">
                  <c:v>27.662705518476351</c:v>
                </c:pt>
                <c:pt idx="1175">
                  <c:v>27.473792447827446</c:v>
                </c:pt>
                <c:pt idx="1176">
                  <c:v>27.473792447827446</c:v>
                </c:pt>
                <c:pt idx="1177">
                  <c:v>27.473792447827446</c:v>
                </c:pt>
                <c:pt idx="1178">
                  <c:v>27.739471106758113</c:v>
                </c:pt>
                <c:pt idx="1179">
                  <c:v>27.766666666666701</c:v>
                </c:pt>
                <c:pt idx="1180">
                  <c:v>27.672435692836846</c:v>
                </c:pt>
                <c:pt idx="1181">
                  <c:v>27.619363395225498</c:v>
                </c:pt>
                <c:pt idx="1182">
                  <c:v>27.620081658128147</c:v>
                </c:pt>
                <c:pt idx="1183">
                  <c:v>27.620081658128147</c:v>
                </c:pt>
                <c:pt idx="1184">
                  <c:v>27.620081658128147</c:v>
                </c:pt>
                <c:pt idx="1185">
                  <c:v>27.675500312695473</c:v>
                </c:pt>
                <c:pt idx="1186">
                  <c:v>27.549333039356231</c:v>
                </c:pt>
                <c:pt idx="1187">
                  <c:v>27.665407658244373</c:v>
                </c:pt>
                <c:pt idx="1188">
                  <c:v>27.606799838841784</c:v>
                </c:pt>
                <c:pt idx="1189">
                  <c:v>27.662525394592944</c:v>
                </c:pt>
                <c:pt idx="1190">
                  <c:v>27.662525394592944</c:v>
                </c:pt>
                <c:pt idx="1191">
                  <c:v>27.662525394592944</c:v>
                </c:pt>
                <c:pt idx="1192">
                  <c:v>26.291100150383421</c:v>
                </c:pt>
                <c:pt idx="1193">
                  <c:v>26.706270627062739</c:v>
                </c:pt>
                <c:pt idx="1194">
                  <c:v>26.018336487405183</c:v>
                </c:pt>
                <c:pt idx="1195">
                  <c:v>26.129234629862015</c:v>
                </c:pt>
                <c:pt idx="1196">
                  <c:v>26.538771481581001</c:v>
                </c:pt>
                <c:pt idx="1197">
                  <c:v>26.538771481581001</c:v>
                </c:pt>
                <c:pt idx="1198">
                  <c:v>26.538771481581001</c:v>
                </c:pt>
                <c:pt idx="1199">
                  <c:v>26.469158878504707</c:v>
                </c:pt>
                <c:pt idx="1200">
                  <c:v>26.477737335460741</c:v>
                </c:pt>
                <c:pt idx="1201">
                  <c:v>26.510452418096751</c:v>
                </c:pt>
                <c:pt idx="1202">
                  <c:v>26.520216491563225</c:v>
                </c:pt>
                <c:pt idx="1203">
                  <c:v>26.501191471311149</c:v>
                </c:pt>
                <c:pt idx="1204">
                  <c:v>26.501191471311149</c:v>
                </c:pt>
                <c:pt idx="1205">
                  <c:v>26.501191471311149</c:v>
                </c:pt>
                <c:pt idx="1206">
                  <c:v>26.485660847880325</c:v>
                </c:pt>
                <c:pt idx="1207">
                  <c:v>26.467839609240691</c:v>
                </c:pt>
                <c:pt idx="1208">
                  <c:v>26.433584708429805</c:v>
                </c:pt>
                <c:pt idx="1209">
                  <c:v>26.440329858409861</c:v>
                </c:pt>
                <c:pt idx="1210">
                  <c:v>26.446419900646198</c:v>
                </c:pt>
                <c:pt idx="1211">
                  <c:v>26.446419900646198</c:v>
                </c:pt>
                <c:pt idx="1212">
                  <c:v>26.446419900646198</c:v>
                </c:pt>
                <c:pt idx="1213">
                  <c:v>26.483019150209483</c:v>
                </c:pt>
                <c:pt idx="1214">
                  <c:v>26.493919550982252</c:v>
                </c:pt>
                <c:pt idx="1215">
                  <c:v>26.514092418303942</c:v>
                </c:pt>
                <c:pt idx="1216">
                  <c:v>26.461410054376625</c:v>
                </c:pt>
                <c:pt idx="1217">
                  <c:v>26.490615451767816</c:v>
                </c:pt>
                <c:pt idx="1218">
                  <c:v>26.490615451767816</c:v>
                </c:pt>
                <c:pt idx="1219">
                  <c:v>26.490615451767816</c:v>
                </c:pt>
                <c:pt idx="1220">
                  <c:v>26.456301610432341</c:v>
                </c:pt>
                <c:pt idx="1221">
                  <c:v>26.431282274622067</c:v>
                </c:pt>
                <c:pt idx="1222">
                  <c:v>26.42618545542765</c:v>
                </c:pt>
                <c:pt idx="1223">
                  <c:v>26.409429141567699</c:v>
                </c:pt>
                <c:pt idx="1224">
                  <c:v>26.434571588575729</c:v>
                </c:pt>
                <c:pt idx="1225">
                  <c:v>26.434571588575729</c:v>
                </c:pt>
                <c:pt idx="1226">
                  <c:v>26.434571588575729</c:v>
                </c:pt>
                <c:pt idx="1227">
                  <c:v>26.516409302557854</c:v>
                </c:pt>
                <c:pt idx="1228">
                  <c:v>26.524190376294769</c:v>
                </c:pt>
                <c:pt idx="1229">
                  <c:v>26.546233925290906</c:v>
                </c:pt>
                <c:pt idx="1230">
                  <c:v>26.541921779332782</c:v>
                </c:pt>
                <c:pt idx="1231">
                  <c:v>26.537279496277076</c:v>
                </c:pt>
                <c:pt idx="1232">
                  <c:v>26.537279496277076</c:v>
                </c:pt>
                <c:pt idx="1233">
                  <c:v>26.537279496277076</c:v>
                </c:pt>
                <c:pt idx="1234">
                  <c:v>26.570308151279981</c:v>
                </c:pt>
                <c:pt idx="1235">
                  <c:v>26.602086438152046</c:v>
                </c:pt>
                <c:pt idx="1236">
                  <c:v>26.761619190404829</c:v>
                </c:pt>
                <c:pt idx="1237">
                  <c:v>26.731981726884921</c:v>
                </c:pt>
                <c:pt idx="1238">
                  <c:v>26.773931292658521</c:v>
                </c:pt>
                <c:pt idx="1239">
                  <c:v>26.773931292658521</c:v>
                </c:pt>
                <c:pt idx="1240">
                  <c:v>26.773931292658521</c:v>
                </c:pt>
                <c:pt idx="1241">
                  <c:v>26.832441718721416</c:v>
                </c:pt>
                <c:pt idx="1242">
                  <c:v>26.803154574132527</c:v>
                </c:pt>
                <c:pt idx="1243">
                  <c:v>26.764485380743313</c:v>
                </c:pt>
                <c:pt idx="1244">
                  <c:v>26.736860654654425</c:v>
                </c:pt>
                <c:pt idx="1245">
                  <c:v>26.752518891687689</c:v>
                </c:pt>
                <c:pt idx="1246">
                  <c:v>26.7525188916876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04F-4E1F-B06E-48D36AF55A46}"/>
            </c:ext>
          </c:extLst>
        </c:ser>
        <c:ser>
          <c:idx val="3"/>
          <c:order val="3"/>
          <c:tx>
            <c:strRef>
              <c:f>FXHC!$W$11</c:f>
              <c:strCache>
                <c:ptCount val="1"/>
                <c:pt idx="0">
                  <c:v>Algeria</c:v>
                </c:pt>
              </c:strCache>
            </c:strRef>
          </c:tx>
          <c:spPr>
            <a:ln w="15875" cap="rnd">
              <a:solidFill>
                <a:srgbClr val="5A14A0"/>
              </a:solidFill>
              <a:round/>
            </a:ln>
            <a:effectLst/>
          </c:spPr>
          <c:marker>
            <c:symbol val="none"/>
          </c:marker>
          <c:cat>
            <c:numRef>
              <c:f>FXHC!$S$12:$S$1258</c:f>
              <c:numCache>
                <c:formatCode>m/d/yyyy</c:formatCode>
                <c:ptCount val="1247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  <c:pt idx="243">
                  <c:v>44805</c:v>
                </c:pt>
                <c:pt idx="244">
                  <c:v>44806</c:v>
                </c:pt>
                <c:pt idx="245">
                  <c:v>44807</c:v>
                </c:pt>
                <c:pt idx="246">
                  <c:v>44808</c:v>
                </c:pt>
                <c:pt idx="247">
                  <c:v>44809</c:v>
                </c:pt>
                <c:pt idx="248">
                  <c:v>44810</c:v>
                </c:pt>
                <c:pt idx="249">
                  <c:v>44811</c:v>
                </c:pt>
                <c:pt idx="250">
                  <c:v>44812</c:v>
                </c:pt>
                <c:pt idx="251">
                  <c:v>44813</c:v>
                </c:pt>
                <c:pt idx="252">
                  <c:v>44814</c:v>
                </c:pt>
                <c:pt idx="253">
                  <c:v>44815</c:v>
                </c:pt>
                <c:pt idx="254">
                  <c:v>44816</c:v>
                </c:pt>
                <c:pt idx="255">
                  <c:v>44817</c:v>
                </c:pt>
                <c:pt idx="256">
                  <c:v>44818</c:v>
                </c:pt>
                <c:pt idx="257">
                  <c:v>44819</c:v>
                </c:pt>
                <c:pt idx="258">
                  <c:v>44820</c:v>
                </c:pt>
                <c:pt idx="259">
                  <c:v>44821</c:v>
                </c:pt>
                <c:pt idx="260">
                  <c:v>44822</c:v>
                </c:pt>
                <c:pt idx="261">
                  <c:v>44823</c:v>
                </c:pt>
                <c:pt idx="262">
                  <c:v>44824</c:v>
                </c:pt>
                <c:pt idx="263">
                  <c:v>44825</c:v>
                </c:pt>
                <c:pt idx="264">
                  <c:v>44826</c:v>
                </c:pt>
                <c:pt idx="265">
                  <c:v>44827</c:v>
                </c:pt>
                <c:pt idx="266">
                  <c:v>44828</c:v>
                </c:pt>
                <c:pt idx="267">
                  <c:v>44829</c:v>
                </c:pt>
                <c:pt idx="268">
                  <c:v>44830</c:v>
                </c:pt>
                <c:pt idx="269">
                  <c:v>44831</c:v>
                </c:pt>
                <c:pt idx="270">
                  <c:v>44832</c:v>
                </c:pt>
                <c:pt idx="271">
                  <c:v>44833</c:v>
                </c:pt>
                <c:pt idx="272">
                  <c:v>44834</c:v>
                </c:pt>
                <c:pt idx="273">
                  <c:v>44835</c:v>
                </c:pt>
                <c:pt idx="274">
                  <c:v>44836</c:v>
                </c:pt>
                <c:pt idx="275">
                  <c:v>44837</c:v>
                </c:pt>
                <c:pt idx="276">
                  <c:v>44838</c:v>
                </c:pt>
                <c:pt idx="277">
                  <c:v>44839</c:v>
                </c:pt>
                <c:pt idx="278">
                  <c:v>44840</c:v>
                </c:pt>
                <c:pt idx="279">
                  <c:v>44841</c:v>
                </c:pt>
                <c:pt idx="280">
                  <c:v>44842</c:v>
                </c:pt>
                <c:pt idx="281">
                  <c:v>44843</c:v>
                </c:pt>
                <c:pt idx="282">
                  <c:v>44844</c:v>
                </c:pt>
                <c:pt idx="283">
                  <c:v>44845</c:v>
                </c:pt>
                <c:pt idx="284">
                  <c:v>44846</c:v>
                </c:pt>
                <c:pt idx="285">
                  <c:v>44847</c:v>
                </c:pt>
                <c:pt idx="286">
                  <c:v>44848</c:v>
                </c:pt>
                <c:pt idx="287">
                  <c:v>44849</c:v>
                </c:pt>
                <c:pt idx="288">
                  <c:v>44850</c:v>
                </c:pt>
                <c:pt idx="289">
                  <c:v>44851</c:v>
                </c:pt>
                <c:pt idx="290">
                  <c:v>44852</c:v>
                </c:pt>
                <c:pt idx="291">
                  <c:v>44853</c:v>
                </c:pt>
                <c:pt idx="292">
                  <c:v>44854</c:v>
                </c:pt>
                <c:pt idx="293">
                  <c:v>44855</c:v>
                </c:pt>
                <c:pt idx="294">
                  <c:v>44856</c:v>
                </c:pt>
                <c:pt idx="295">
                  <c:v>44857</c:v>
                </c:pt>
                <c:pt idx="296">
                  <c:v>44858</c:v>
                </c:pt>
                <c:pt idx="297">
                  <c:v>44859</c:v>
                </c:pt>
                <c:pt idx="298">
                  <c:v>44860</c:v>
                </c:pt>
                <c:pt idx="299">
                  <c:v>44861</c:v>
                </c:pt>
                <c:pt idx="300">
                  <c:v>44862</c:v>
                </c:pt>
                <c:pt idx="301">
                  <c:v>44863</c:v>
                </c:pt>
                <c:pt idx="302">
                  <c:v>44864</c:v>
                </c:pt>
                <c:pt idx="303">
                  <c:v>44865</c:v>
                </c:pt>
                <c:pt idx="304">
                  <c:v>44866</c:v>
                </c:pt>
                <c:pt idx="305">
                  <c:v>44867</c:v>
                </c:pt>
                <c:pt idx="306">
                  <c:v>44868</c:v>
                </c:pt>
                <c:pt idx="307">
                  <c:v>44869</c:v>
                </c:pt>
                <c:pt idx="308">
                  <c:v>44870</c:v>
                </c:pt>
                <c:pt idx="309">
                  <c:v>44871</c:v>
                </c:pt>
                <c:pt idx="310">
                  <c:v>44872</c:v>
                </c:pt>
                <c:pt idx="311">
                  <c:v>44873</c:v>
                </c:pt>
                <c:pt idx="312">
                  <c:v>44874</c:v>
                </c:pt>
                <c:pt idx="313">
                  <c:v>44875</c:v>
                </c:pt>
                <c:pt idx="314">
                  <c:v>44876</c:v>
                </c:pt>
                <c:pt idx="315">
                  <c:v>44877</c:v>
                </c:pt>
                <c:pt idx="316">
                  <c:v>44878</c:v>
                </c:pt>
                <c:pt idx="317">
                  <c:v>44879</c:v>
                </c:pt>
                <c:pt idx="318">
                  <c:v>44880</c:v>
                </c:pt>
                <c:pt idx="319">
                  <c:v>44881</c:v>
                </c:pt>
                <c:pt idx="320">
                  <c:v>44882</c:v>
                </c:pt>
                <c:pt idx="321">
                  <c:v>44883</c:v>
                </c:pt>
                <c:pt idx="322">
                  <c:v>44884</c:v>
                </c:pt>
                <c:pt idx="323">
                  <c:v>44885</c:v>
                </c:pt>
                <c:pt idx="324">
                  <c:v>44886</c:v>
                </c:pt>
                <c:pt idx="325">
                  <c:v>44887</c:v>
                </c:pt>
                <c:pt idx="326">
                  <c:v>44888</c:v>
                </c:pt>
                <c:pt idx="327">
                  <c:v>44889</c:v>
                </c:pt>
                <c:pt idx="328">
                  <c:v>44890</c:v>
                </c:pt>
                <c:pt idx="329">
                  <c:v>44891</c:v>
                </c:pt>
                <c:pt idx="330">
                  <c:v>44892</c:v>
                </c:pt>
                <c:pt idx="331">
                  <c:v>44893</c:v>
                </c:pt>
                <c:pt idx="332">
                  <c:v>44894</c:v>
                </c:pt>
                <c:pt idx="333">
                  <c:v>44895</c:v>
                </c:pt>
                <c:pt idx="334">
                  <c:v>44896</c:v>
                </c:pt>
                <c:pt idx="335">
                  <c:v>44897</c:v>
                </c:pt>
                <c:pt idx="336">
                  <c:v>44898</c:v>
                </c:pt>
                <c:pt idx="337">
                  <c:v>44899</c:v>
                </c:pt>
                <c:pt idx="338">
                  <c:v>44900</c:v>
                </c:pt>
                <c:pt idx="339">
                  <c:v>44901</c:v>
                </c:pt>
                <c:pt idx="340">
                  <c:v>44902</c:v>
                </c:pt>
                <c:pt idx="341">
                  <c:v>44903</c:v>
                </c:pt>
                <c:pt idx="342">
                  <c:v>44904</c:v>
                </c:pt>
                <c:pt idx="343">
                  <c:v>44905</c:v>
                </c:pt>
                <c:pt idx="344">
                  <c:v>44906</c:v>
                </c:pt>
                <c:pt idx="345">
                  <c:v>44907</c:v>
                </c:pt>
                <c:pt idx="346">
                  <c:v>44908</c:v>
                </c:pt>
                <c:pt idx="347">
                  <c:v>44909</c:v>
                </c:pt>
                <c:pt idx="348">
                  <c:v>44910</c:v>
                </c:pt>
                <c:pt idx="349">
                  <c:v>44911</c:v>
                </c:pt>
                <c:pt idx="350">
                  <c:v>44912</c:v>
                </c:pt>
                <c:pt idx="351">
                  <c:v>44913</c:v>
                </c:pt>
                <c:pt idx="352">
                  <c:v>44914</c:v>
                </c:pt>
                <c:pt idx="353">
                  <c:v>44915</c:v>
                </c:pt>
                <c:pt idx="354">
                  <c:v>44916</c:v>
                </c:pt>
                <c:pt idx="355">
                  <c:v>44917</c:v>
                </c:pt>
                <c:pt idx="356">
                  <c:v>44918</c:v>
                </c:pt>
                <c:pt idx="357">
                  <c:v>44919</c:v>
                </c:pt>
                <c:pt idx="358">
                  <c:v>44920</c:v>
                </c:pt>
                <c:pt idx="359">
                  <c:v>44921</c:v>
                </c:pt>
                <c:pt idx="360">
                  <c:v>44922</c:v>
                </c:pt>
                <c:pt idx="361">
                  <c:v>44923</c:v>
                </c:pt>
                <c:pt idx="362">
                  <c:v>44924</c:v>
                </c:pt>
                <c:pt idx="363">
                  <c:v>44925</c:v>
                </c:pt>
                <c:pt idx="364">
                  <c:v>44926</c:v>
                </c:pt>
                <c:pt idx="365">
                  <c:v>44927</c:v>
                </c:pt>
                <c:pt idx="366">
                  <c:v>44928</c:v>
                </c:pt>
                <c:pt idx="367">
                  <c:v>44929</c:v>
                </c:pt>
                <c:pt idx="368">
                  <c:v>44930</c:v>
                </c:pt>
                <c:pt idx="369">
                  <c:v>44931</c:v>
                </c:pt>
                <c:pt idx="370">
                  <c:v>44932</c:v>
                </c:pt>
                <c:pt idx="371">
                  <c:v>44933</c:v>
                </c:pt>
                <c:pt idx="372">
                  <c:v>44934</c:v>
                </c:pt>
                <c:pt idx="373">
                  <c:v>44935</c:v>
                </c:pt>
                <c:pt idx="374">
                  <c:v>44936</c:v>
                </c:pt>
                <c:pt idx="375">
                  <c:v>44937</c:v>
                </c:pt>
                <c:pt idx="376">
                  <c:v>44938</c:v>
                </c:pt>
                <c:pt idx="377">
                  <c:v>44939</c:v>
                </c:pt>
                <c:pt idx="378">
                  <c:v>44940</c:v>
                </c:pt>
                <c:pt idx="379">
                  <c:v>44941</c:v>
                </c:pt>
                <c:pt idx="380">
                  <c:v>44942</c:v>
                </c:pt>
                <c:pt idx="381">
                  <c:v>44943</c:v>
                </c:pt>
                <c:pt idx="382">
                  <c:v>44944</c:v>
                </c:pt>
                <c:pt idx="383">
                  <c:v>44945</c:v>
                </c:pt>
                <c:pt idx="384">
                  <c:v>44946</c:v>
                </c:pt>
                <c:pt idx="385">
                  <c:v>44947</c:v>
                </c:pt>
                <c:pt idx="386">
                  <c:v>44948</c:v>
                </c:pt>
                <c:pt idx="387">
                  <c:v>44949</c:v>
                </c:pt>
                <c:pt idx="388">
                  <c:v>44950</c:v>
                </c:pt>
                <c:pt idx="389">
                  <c:v>44951</c:v>
                </c:pt>
                <c:pt idx="390">
                  <c:v>44952</c:v>
                </c:pt>
                <c:pt idx="391">
                  <c:v>44953</c:v>
                </c:pt>
                <c:pt idx="392">
                  <c:v>44954</c:v>
                </c:pt>
                <c:pt idx="393">
                  <c:v>44955</c:v>
                </c:pt>
                <c:pt idx="394">
                  <c:v>44956</c:v>
                </c:pt>
                <c:pt idx="395">
                  <c:v>44957</c:v>
                </c:pt>
                <c:pt idx="396">
                  <c:v>44958</c:v>
                </c:pt>
                <c:pt idx="397">
                  <c:v>44959</c:v>
                </c:pt>
                <c:pt idx="398">
                  <c:v>44960</c:v>
                </c:pt>
                <c:pt idx="399">
                  <c:v>44961</c:v>
                </c:pt>
                <c:pt idx="400">
                  <c:v>44962</c:v>
                </c:pt>
                <c:pt idx="401">
                  <c:v>44963</c:v>
                </c:pt>
                <c:pt idx="402">
                  <c:v>44964</c:v>
                </c:pt>
                <c:pt idx="403">
                  <c:v>44965</c:v>
                </c:pt>
                <c:pt idx="404">
                  <c:v>44966</c:v>
                </c:pt>
                <c:pt idx="405">
                  <c:v>44967</c:v>
                </c:pt>
                <c:pt idx="406">
                  <c:v>44968</c:v>
                </c:pt>
                <c:pt idx="407">
                  <c:v>44969</c:v>
                </c:pt>
                <c:pt idx="408">
                  <c:v>44970</c:v>
                </c:pt>
                <c:pt idx="409">
                  <c:v>44971</c:v>
                </c:pt>
                <c:pt idx="410">
                  <c:v>44972</c:v>
                </c:pt>
                <c:pt idx="411">
                  <c:v>44973</c:v>
                </c:pt>
                <c:pt idx="412">
                  <c:v>44974</c:v>
                </c:pt>
                <c:pt idx="413">
                  <c:v>44975</c:v>
                </c:pt>
                <c:pt idx="414">
                  <c:v>44976</c:v>
                </c:pt>
                <c:pt idx="415">
                  <c:v>44977</c:v>
                </c:pt>
                <c:pt idx="416">
                  <c:v>44978</c:v>
                </c:pt>
                <c:pt idx="417">
                  <c:v>44979</c:v>
                </c:pt>
                <c:pt idx="418">
                  <c:v>44980</c:v>
                </c:pt>
                <c:pt idx="419">
                  <c:v>44981</c:v>
                </c:pt>
                <c:pt idx="420">
                  <c:v>44982</c:v>
                </c:pt>
                <c:pt idx="421">
                  <c:v>44983</c:v>
                </c:pt>
                <c:pt idx="422">
                  <c:v>44984</c:v>
                </c:pt>
                <c:pt idx="423">
                  <c:v>44985</c:v>
                </c:pt>
                <c:pt idx="424">
                  <c:v>44986</c:v>
                </c:pt>
                <c:pt idx="425">
                  <c:v>44987</c:v>
                </c:pt>
                <c:pt idx="426">
                  <c:v>44988</c:v>
                </c:pt>
                <c:pt idx="427">
                  <c:v>44989</c:v>
                </c:pt>
                <c:pt idx="428">
                  <c:v>44990</c:v>
                </c:pt>
                <c:pt idx="429">
                  <c:v>44991</c:v>
                </c:pt>
                <c:pt idx="430">
                  <c:v>44992</c:v>
                </c:pt>
                <c:pt idx="431">
                  <c:v>44993</c:v>
                </c:pt>
                <c:pt idx="432">
                  <c:v>44994</c:v>
                </c:pt>
                <c:pt idx="433">
                  <c:v>44995</c:v>
                </c:pt>
                <c:pt idx="434">
                  <c:v>44996</c:v>
                </c:pt>
                <c:pt idx="435">
                  <c:v>44997</c:v>
                </c:pt>
                <c:pt idx="436">
                  <c:v>44998</c:v>
                </c:pt>
                <c:pt idx="437">
                  <c:v>44999</c:v>
                </c:pt>
                <c:pt idx="438">
                  <c:v>45000</c:v>
                </c:pt>
                <c:pt idx="439">
                  <c:v>45001</c:v>
                </c:pt>
                <c:pt idx="440">
                  <c:v>45002</c:v>
                </c:pt>
                <c:pt idx="441">
                  <c:v>45003</c:v>
                </c:pt>
                <c:pt idx="442">
                  <c:v>45004</c:v>
                </c:pt>
                <c:pt idx="443">
                  <c:v>45005</c:v>
                </c:pt>
                <c:pt idx="444">
                  <c:v>45006</c:v>
                </c:pt>
                <c:pt idx="445">
                  <c:v>45007</c:v>
                </c:pt>
                <c:pt idx="446">
                  <c:v>45008</c:v>
                </c:pt>
                <c:pt idx="447">
                  <c:v>45009</c:v>
                </c:pt>
                <c:pt idx="448">
                  <c:v>45010</c:v>
                </c:pt>
                <c:pt idx="449">
                  <c:v>45011</c:v>
                </c:pt>
                <c:pt idx="450">
                  <c:v>45012</c:v>
                </c:pt>
                <c:pt idx="451">
                  <c:v>45013</c:v>
                </c:pt>
                <c:pt idx="452">
                  <c:v>45014</c:v>
                </c:pt>
                <c:pt idx="453">
                  <c:v>45015</c:v>
                </c:pt>
                <c:pt idx="454">
                  <c:v>45016</c:v>
                </c:pt>
                <c:pt idx="455">
                  <c:v>45017</c:v>
                </c:pt>
                <c:pt idx="456">
                  <c:v>45018</c:v>
                </c:pt>
                <c:pt idx="457">
                  <c:v>45019</c:v>
                </c:pt>
                <c:pt idx="458">
                  <c:v>45020</c:v>
                </c:pt>
                <c:pt idx="459">
                  <c:v>45021</c:v>
                </c:pt>
                <c:pt idx="460">
                  <c:v>45022</c:v>
                </c:pt>
                <c:pt idx="461">
                  <c:v>45023</c:v>
                </c:pt>
                <c:pt idx="462">
                  <c:v>45024</c:v>
                </c:pt>
                <c:pt idx="463">
                  <c:v>45025</c:v>
                </c:pt>
                <c:pt idx="464">
                  <c:v>45026</c:v>
                </c:pt>
                <c:pt idx="465">
                  <c:v>45027</c:v>
                </c:pt>
                <c:pt idx="466">
                  <c:v>45028</c:v>
                </c:pt>
                <c:pt idx="467">
                  <c:v>45029</c:v>
                </c:pt>
                <c:pt idx="468">
                  <c:v>45030</c:v>
                </c:pt>
                <c:pt idx="469">
                  <c:v>45031</c:v>
                </c:pt>
                <c:pt idx="470">
                  <c:v>45032</c:v>
                </c:pt>
                <c:pt idx="471">
                  <c:v>45033</c:v>
                </c:pt>
                <c:pt idx="472">
                  <c:v>45034</c:v>
                </c:pt>
                <c:pt idx="473">
                  <c:v>45035</c:v>
                </c:pt>
                <c:pt idx="474">
                  <c:v>45036</c:v>
                </c:pt>
                <c:pt idx="475">
                  <c:v>45037</c:v>
                </c:pt>
                <c:pt idx="476">
                  <c:v>45038</c:v>
                </c:pt>
                <c:pt idx="477">
                  <c:v>45039</c:v>
                </c:pt>
                <c:pt idx="478">
                  <c:v>45040</c:v>
                </c:pt>
                <c:pt idx="479">
                  <c:v>45041</c:v>
                </c:pt>
                <c:pt idx="480">
                  <c:v>45042</c:v>
                </c:pt>
                <c:pt idx="481">
                  <c:v>45043</c:v>
                </c:pt>
                <c:pt idx="482">
                  <c:v>45044</c:v>
                </c:pt>
                <c:pt idx="483">
                  <c:v>45045</c:v>
                </c:pt>
                <c:pt idx="484">
                  <c:v>45046</c:v>
                </c:pt>
                <c:pt idx="485">
                  <c:v>45047</c:v>
                </c:pt>
                <c:pt idx="486">
                  <c:v>45048</c:v>
                </c:pt>
                <c:pt idx="487">
                  <c:v>45049</c:v>
                </c:pt>
                <c:pt idx="488">
                  <c:v>45050</c:v>
                </c:pt>
                <c:pt idx="489">
                  <c:v>45051</c:v>
                </c:pt>
                <c:pt idx="490">
                  <c:v>45052</c:v>
                </c:pt>
                <c:pt idx="491">
                  <c:v>45053</c:v>
                </c:pt>
                <c:pt idx="492">
                  <c:v>45054</c:v>
                </c:pt>
                <c:pt idx="493">
                  <c:v>45055</c:v>
                </c:pt>
                <c:pt idx="494">
                  <c:v>45056</c:v>
                </c:pt>
                <c:pt idx="495">
                  <c:v>45057</c:v>
                </c:pt>
                <c:pt idx="496">
                  <c:v>45058</c:v>
                </c:pt>
                <c:pt idx="497">
                  <c:v>45059</c:v>
                </c:pt>
                <c:pt idx="498">
                  <c:v>45060</c:v>
                </c:pt>
                <c:pt idx="499">
                  <c:v>45061</c:v>
                </c:pt>
                <c:pt idx="500">
                  <c:v>45062</c:v>
                </c:pt>
                <c:pt idx="501">
                  <c:v>45063</c:v>
                </c:pt>
                <c:pt idx="502">
                  <c:v>45064</c:v>
                </c:pt>
                <c:pt idx="503">
                  <c:v>45065</c:v>
                </c:pt>
                <c:pt idx="504">
                  <c:v>45066</c:v>
                </c:pt>
                <c:pt idx="505">
                  <c:v>45067</c:v>
                </c:pt>
                <c:pt idx="506">
                  <c:v>45068</c:v>
                </c:pt>
                <c:pt idx="507">
                  <c:v>45069</c:v>
                </c:pt>
                <c:pt idx="508">
                  <c:v>45070</c:v>
                </c:pt>
                <c:pt idx="509">
                  <c:v>45071</c:v>
                </c:pt>
                <c:pt idx="510">
                  <c:v>45072</c:v>
                </c:pt>
                <c:pt idx="511">
                  <c:v>45073</c:v>
                </c:pt>
                <c:pt idx="512">
                  <c:v>45074</c:v>
                </c:pt>
                <c:pt idx="513">
                  <c:v>45075</c:v>
                </c:pt>
                <c:pt idx="514">
                  <c:v>45076</c:v>
                </c:pt>
                <c:pt idx="515">
                  <c:v>45077</c:v>
                </c:pt>
                <c:pt idx="516">
                  <c:v>45078</c:v>
                </c:pt>
                <c:pt idx="517">
                  <c:v>45079</c:v>
                </c:pt>
                <c:pt idx="518">
                  <c:v>45080</c:v>
                </c:pt>
                <c:pt idx="519">
                  <c:v>45081</c:v>
                </c:pt>
                <c:pt idx="520">
                  <c:v>45082</c:v>
                </c:pt>
                <c:pt idx="521">
                  <c:v>45083</c:v>
                </c:pt>
                <c:pt idx="522">
                  <c:v>45084</c:v>
                </c:pt>
                <c:pt idx="523">
                  <c:v>45085</c:v>
                </c:pt>
                <c:pt idx="524">
                  <c:v>45086</c:v>
                </c:pt>
                <c:pt idx="525">
                  <c:v>45087</c:v>
                </c:pt>
                <c:pt idx="526">
                  <c:v>45088</c:v>
                </c:pt>
                <c:pt idx="527">
                  <c:v>45089</c:v>
                </c:pt>
                <c:pt idx="528">
                  <c:v>45090</c:v>
                </c:pt>
                <c:pt idx="529">
                  <c:v>45091</c:v>
                </c:pt>
                <c:pt idx="530">
                  <c:v>45092</c:v>
                </c:pt>
                <c:pt idx="531">
                  <c:v>45093</c:v>
                </c:pt>
                <c:pt idx="532">
                  <c:v>45094</c:v>
                </c:pt>
                <c:pt idx="533">
                  <c:v>45095</c:v>
                </c:pt>
                <c:pt idx="534">
                  <c:v>45096</c:v>
                </c:pt>
                <c:pt idx="535">
                  <c:v>45097</c:v>
                </c:pt>
                <c:pt idx="536">
                  <c:v>45098</c:v>
                </c:pt>
                <c:pt idx="537">
                  <c:v>45099</c:v>
                </c:pt>
                <c:pt idx="538">
                  <c:v>45100</c:v>
                </c:pt>
                <c:pt idx="539">
                  <c:v>45101</c:v>
                </c:pt>
                <c:pt idx="540">
                  <c:v>45102</c:v>
                </c:pt>
                <c:pt idx="541">
                  <c:v>45103</c:v>
                </c:pt>
                <c:pt idx="542">
                  <c:v>45104</c:v>
                </c:pt>
                <c:pt idx="543">
                  <c:v>45105</c:v>
                </c:pt>
                <c:pt idx="544">
                  <c:v>45106</c:v>
                </c:pt>
                <c:pt idx="545">
                  <c:v>45107</c:v>
                </c:pt>
                <c:pt idx="546">
                  <c:v>45108</c:v>
                </c:pt>
                <c:pt idx="547">
                  <c:v>45109</c:v>
                </c:pt>
                <c:pt idx="548">
                  <c:v>45110</c:v>
                </c:pt>
                <c:pt idx="549">
                  <c:v>45111</c:v>
                </c:pt>
                <c:pt idx="550">
                  <c:v>45112</c:v>
                </c:pt>
                <c:pt idx="551">
                  <c:v>45113</c:v>
                </c:pt>
                <c:pt idx="552">
                  <c:v>45114</c:v>
                </c:pt>
                <c:pt idx="553">
                  <c:v>45115</c:v>
                </c:pt>
                <c:pt idx="554">
                  <c:v>45116</c:v>
                </c:pt>
                <c:pt idx="555">
                  <c:v>45117</c:v>
                </c:pt>
                <c:pt idx="556">
                  <c:v>45118</c:v>
                </c:pt>
                <c:pt idx="557">
                  <c:v>45119</c:v>
                </c:pt>
                <c:pt idx="558">
                  <c:v>45120</c:v>
                </c:pt>
                <c:pt idx="559">
                  <c:v>45121</c:v>
                </c:pt>
                <c:pt idx="560">
                  <c:v>45122</c:v>
                </c:pt>
                <c:pt idx="561">
                  <c:v>45123</c:v>
                </c:pt>
                <c:pt idx="562">
                  <c:v>45124</c:v>
                </c:pt>
                <c:pt idx="563">
                  <c:v>45125</c:v>
                </c:pt>
                <c:pt idx="564">
                  <c:v>45126</c:v>
                </c:pt>
                <c:pt idx="565">
                  <c:v>45127</c:v>
                </c:pt>
                <c:pt idx="566">
                  <c:v>45128</c:v>
                </c:pt>
                <c:pt idx="567">
                  <c:v>45129</c:v>
                </c:pt>
                <c:pt idx="568">
                  <c:v>45130</c:v>
                </c:pt>
                <c:pt idx="569">
                  <c:v>45131</c:v>
                </c:pt>
                <c:pt idx="570">
                  <c:v>45132</c:v>
                </c:pt>
                <c:pt idx="571">
                  <c:v>45133</c:v>
                </c:pt>
                <c:pt idx="572">
                  <c:v>45134</c:v>
                </c:pt>
                <c:pt idx="573">
                  <c:v>45135</c:v>
                </c:pt>
                <c:pt idx="574">
                  <c:v>45136</c:v>
                </c:pt>
                <c:pt idx="575">
                  <c:v>45137</c:v>
                </c:pt>
                <c:pt idx="576">
                  <c:v>45138</c:v>
                </c:pt>
                <c:pt idx="577">
                  <c:v>45139</c:v>
                </c:pt>
                <c:pt idx="578">
                  <c:v>45140</c:v>
                </c:pt>
                <c:pt idx="579">
                  <c:v>45141</c:v>
                </c:pt>
                <c:pt idx="580">
                  <c:v>45142</c:v>
                </c:pt>
                <c:pt idx="581">
                  <c:v>45143</c:v>
                </c:pt>
                <c:pt idx="582">
                  <c:v>45144</c:v>
                </c:pt>
                <c:pt idx="583">
                  <c:v>45145</c:v>
                </c:pt>
                <c:pt idx="584">
                  <c:v>45146</c:v>
                </c:pt>
                <c:pt idx="585">
                  <c:v>45147</c:v>
                </c:pt>
                <c:pt idx="586">
                  <c:v>45148</c:v>
                </c:pt>
                <c:pt idx="587">
                  <c:v>45149</c:v>
                </c:pt>
                <c:pt idx="588">
                  <c:v>45150</c:v>
                </c:pt>
                <c:pt idx="589">
                  <c:v>45151</c:v>
                </c:pt>
                <c:pt idx="590">
                  <c:v>45152</c:v>
                </c:pt>
                <c:pt idx="591">
                  <c:v>45153</c:v>
                </c:pt>
                <c:pt idx="592">
                  <c:v>45154</c:v>
                </c:pt>
                <c:pt idx="593">
                  <c:v>45155</c:v>
                </c:pt>
                <c:pt idx="594">
                  <c:v>45156</c:v>
                </c:pt>
                <c:pt idx="595">
                  <c:v>45157</c:v>
                </c:pt>
                <c:pt idx="596">
                  <c:v>45158</c:v>
                </c:pt>
                <c:pt idx="597">
                  <c:v>45159</c:v>
                </c:pt>
                <c:pt idx="598">
                  <c:v>45160</c:v>
                </c:pt>
                <c:pt idx="599">
                  <c:v>45161</c:v>
                </c:pt>
                <c:pt idx="600">
                  <c:v>45162</c:v>
                </c:pt>
                <c:pt idx="601">
                  <c:v>45163</c:v>
                </c:pt>
                <c:pt idx="602">
                  <c:v>45164</c:v>
                </c:pt>
                <c:pt idx="603">
                  <c:v>45165</c:v>
                </c:pt>
                <c:pt idx="604">
                  <c:v>45166</c:v>
                </c:pt>
                <c:pt idx="605">
                  <c:v>45167</c:v>
                </c:pt>
                <c:pt idx="606">
                  <c:v>45168</c:v>
                </c:pt>
                <c:pt idx="607">
                  <c:v>45169</c:v>
                </c:pt>
                <c:pt idx="608">
                  <c:v>45170</c:v>
                </c:pt>
                <c:pt idx="609">
                  <c:v>45171</c:v>
                </c:pt>
                <c:pt idx="610">
                  <c:v>45172</c:v>
                </c:pt>
                <c:pt idx="611">
                  <c:v>45173</c:v>
                </c:pt>
                <c:pt idx="612">
                  <c:v>45174</c:v>
                </c:pt>
                <c:pt idx="613">
                  <c:v>45175</c:v>
                </c:pt>
                <c:pt idx="614">
                  <c:v>45176</c:v>
                </c:pt>
                <c:pt idx="615">
                  <c:v>45177</c:v>
                </c:pt>
                <c:pt idx="616">
                  <c:v>45178</c:v>
                </c:pt>
                <c:pt idx="617">
                  <c:v>45179</c:v>
                </c:pt>
                <c:pt idx="618">
                  <c:v>45180</c:v>
                </c:pt>
                <c:pt idx="619">
                  <c:v>45181</c:v>
                </c:pt>
                <c:pt idx="620">
                  <c:v>45182</c:v>
                </c:pt>
                <c:pt idx="621">
                  <c:v>45183</c:v>
                </c:pt>
                <c:pt idx="622">
                  <c:v>45184</c:v>
                </c:pt>
                <c:pt idx="623">
                  <c:v>45185</c:v>
                </c:pt>
                <c:pt idx="624">
                  <c:v>45186</c:v>
                </c:pt>
                <c:pt idx="625">
                  <c:v>45187</c:v>
                </c:pt>
                <c:pt idx="626">
                  <c:v>45188</c:v>
                </c:pt>
                <c:pt idx="627">
                  <c:v>45189</c:v>
                </c:pt>
                <c:pt idx="628">
                  <c:v>45190</c:v>
                </c:pt>
                <c:pt idx="629">
                  <c:v>45191</c:v>
                </c:pt>
                <c:pt idx="630">
                  <c:v>45192</c:v>
                </c:pt>
                <c:pt idx="631">
                  <c:v>45193</c:v>
                </c:pt>
                <c:pt idx="632">
                  <c:v>45194</c:v>
                </c:pt>
                <c:pt idx="633">
                  <c:v>45195</c:v>
                </c:pt>
                <c:pt idx="634">
                  <c:v>45196</c:v>
                </c:pt>
                <c:pt idx="635">
                  <c:v>45197</c:v>
                </c:pt>
                <c:pt idx="636">
                  <c:v>45198</c:v>
                </c:pt>
                <c:pt idx="637">
                  <c:v>45199</c:v>
                </c:pt>
                <c:pt idx="638">
                  <c:v>45200</c:v>
                </c:pt>
                <c:pt idx="639">
                  <c:v>45201</c:v>
                </c:pt>
                <c:pt idx="640">
                  <c:v>45202</c:v>
                </c:pt>
                <c:pt idx="641">
                  <c:v>45203</c:v>
                </c:pt>
                <c:pt idx="642">
                  <c:v>45204</c:v>
                </c:pt>
                <c:pt idx="643">
                  <c:v>45205</c:v>
                </c:pt>
                <c:pt idx="644">
                  <c:v>45206</c:v>
                </c:pt>
                <c:pt idx="645">
                  <c:v>45207</c:v>
                </c:pt>
                <c:pt idx="646">
                  <c:v>45208</c:v>
                </c:pt>
                <c:pt idx="647">
                  <c:v>45209</c:v>
                </c:pt>
                <c:pt idx="648">
                  <c:v>45210</c:v>
                </c:pt>
                <c:pt idx="649">
                  <c:v>45211</c:v>
                </c:pt>
                <c:pt idx="650">
                  <c:v>45212</c:v>
                </c:pt>
                <c:pt idx="651">
                  <c:v>45213</c:v>
                </c:pt>
                <c:pt idx="652">
                  <c:v>45214</c:v>
                </c:pt>
                <c:pt idx="653">
                  <c:v>45215</c:v>
                </c:pt>
                <c:pt idx="654">
                  <c:v>45216</c:v>
                </c:pt>
                <c:pt idx="655">
                  <c:v>45217</c:v>
                </c:pt>
                <c:pt idx="656">
                  <c:v>45218</c:v>
                </c:pt>
                <c:pt idx="657">
                  <c:v>45219</c:v>
                </c:pt>
                <c:pt idx="658">
                  <c:v>45220</c:v>
                </c:pt>
                <c:pt idx="659">
                  <c:v>45221</c:v>
                </c:pt>
                <c:pt idx="660">
                  <c:v>45222</c:v>
                </c:pt>
                <c:pt idx="661">
                  <c:v>45223</c:v>
                </c:pt>
                <c:pt idx="662">
                  <c:v>45224</c:v>
                </c:pt>
                <c:pt idx="663">
                  <c:v>45225</c:v>
                </c:pt>
                <c:pt idx="664">
                  <c:v>45226</c:v>
                </c:pt>
                <c:pt idx="665">
                  <c:v>45227</c:v>
                </c:pt>
                <c:pt idx="666">
                  <c:v>45228</c:v>
                </c:pt>
                <c:pt idx="667">
                  <c:v>45229</c:v>
                </c:pt>
                <c:pt idx="668">
                  <c:v>45230</c:v>
                </c:pt>
                <c:pt idx="669">
                  <c:v>45231</c:v>
                </c:pt>
                <c:pt idx="670">
                  <c:v>45232</c:v>
                </c:pt>
                <c:pt idx="671">
                  <c:v>45233</c:v>
                </c:pt>
                <c:pt idx="672">
                  <c:v>45234</c:v>
                </c:pt>
                <c:pt idx="673">
                  <c:v>45235</c:v>
                </c:pt>
                <c:pt idx="674">
                  <c:v>45236</c:v>
                </c:pt>
                <c:pt idx="675">
                  <c:v>45237</c:v>
                </c:pt>
                <c:pt idx="676">
                  <c:v>45238</c:v>
                </c:pt>
                <c:pt idx="677">
                  <c:v>45239</c:v>
                </c:pt>
                <c:pt idx="678">
                  <c:v>45240</c:v>
                </c:pt>
                <c:pt idx="679">
                  <c:v>45241</c:v>
                </c:pt>
                <c:pt idx="680">
                  <c:v>45242</c:v>
                </c:pt>
                <c:pt idx="681">
                  <c:v>45243</c:v>
                </c:pt>
                <c:pt idx="682">
                  <c:v>45244</c:v>
                </c:pt>
                <c:pt idx="683">
                  <c:v>45245</c:v>
                </c:pt>
                <c:pt idx="684">
                  <c:v>45246</c:v>
                </c:pt>
                <c:pt idx="685">
                  <c:v>45247</c:v>
                </c:pt>
                <c:pt idx="686">
                  <c:v>45248</c:v>
                </c:pt>
                <c:pt idx="687">
                  <c:v>45249</c:v>
                </c:pt>
                <c:pt idx="688">
                  <c:v>45250</c:v>
                </c:pt>
                <c:pt idx="689">
                  <c:v>45251</c:v>
                </c:pt>
                <c:pt idx="690">
                  <c:v>45252</c:v>
                </c:pt>
                <c:pt idx="691">
                  <c:v>45253</c:v>
                </c:pt>
                <c:pt idx="692">
                  <c:v>45254</c:v>
                </c:pt>
                <c:pt idx="693">
                  <c:v>45255</c:v>
                </c:pt>
                <c:pt idx="694">
                  <c:v>45256</c:v>
                </c:pt>
                <c:pt idx="695">
                  <c:v>45257</c:v>
                </c:pt>
                <c:pt idx="696">
                  <c:v>45258</c:v>
                </c:pt>
                <c:pt idx="697">
                  <c:v>45259</c:v>
                </c:pt>
                <c:pt idx="698">
                  <c:v>45260</c:v>
                </c:pt>
                <c:pt idx="699">
                  <c:v>45261</c:v>
                </c:pt>
                <c:pt idx="700">
                  <c:v>45262</c:v>
                </c:pt>
                <c:pt idx="701">
                  <c:v>45263</c:v>
                </c:pt>
                <c:pt idx="702">
                  <c:v>45264</c:v>
                </c:pt>
                <c:pt idx="703">
                  <c:v>45265</c:v>
                </c:pt>
                <c:pt idx="704">
                  <c:v>45266</c:v>
                </c:pt>
                <c:pt idx="705">
                  <c:v>45267</c:v>
                </c:pt>
                <c:pt idx="706">
                  <c:v>45268</c:v>
                </c:pt>
                <c:pt idx="707">
                  <c:v>45269</c:v>
                </c:pt>
                <c:pt idx="708">
                  <c:v>45270</c:v>
                </c:pt>
                <c:pt idx="709">
                  <c:v>45271</c:v>
                </c:pt>
                <c:pt idx="710">
                  <c:v>45272</c:v>
                </c:pt>
                <c:pt idx="711">
                  <c:v>45273</c:v>
                </c:pt>
                <c:pt idx="712">
                  <c:v>45274</c:v>
                </c:pt>
                <c:pt idx="713">
                  <c:v>45275</c:v>
                </c:pt>
                <c:pt idx="714">
                  <c:v>45276</c:v>
                </c:pt>
                <c:pt idx="715">
                  <c:v>45277</c:v>
                </c:pt>
                <c:pt idx="716">
                  <c:v>45278</c:v>
                </c:pt>
                <c:pt idx="717">
                  <c:v>45279</c:v>
                </c:pt>
                <c:pt idx="718">
                  <c:v>45280</c:v>
                </c:pt>
                <c:pt idx="719">
                  <c:v>45281</c:v>
                </c:pt>
                <c:pt idx="720">
                  <c:v>45282</c:v>
                </c:pt>
                <c:pt idx="721">
                  <c:v>45283</c:v>
                </c:pt>
                <c:pt idx="722">
                  <c:v>45284</c:v>
                </c:pt>
                <c:pt idx="723">
                  <c:v>45285</c:v>
                </c:pt>
                <c:pt idx="724">
                  <c:v>45286</c:v>
                </c:pt>
                <c:pt idx="725">
                  <c:v>45287</c:v>
                </c:pt>
                <c:pt idx="726">
                  <c:v>45288</c:v>
                </c:pt>
                <c:pt idx="727">
                  <c:v>45289</c:v>
                </c:pt>
                <c:pt idx="728">
                  <c:v>45290</c:v>
                </c:pt>
                <c:pt idx="729">
                  <c:v>45291</c:v>
                </c:pt>
                <c:pt idx="730">
                  <c:v>45292</c:v>
                </c:pt>
                <c:pt idx="731">
                  <c:v>45293</c:v>
                </c:pt>
                <c:pt idx="732">
                  <c:v>45294</c:v>
                </c:pt>
                <c:pt idx="733">
                  <c:v>45295</c:v>
                </c:pt>
                <c:pt idx="734">
                  <c:v>45296</c:v>
                </c:pt>
                <c:pt idx="735">
                  <c:v>45297</c:v>
                </c:pt>
                <c:pt idx="736">
                  <c:v>45298</c:v>
                </c:pt>
                <c:pt idx="737">
                  <c:v>45299</c:v>
                </c:pt>
                <c:pt idx="738">
                  <c:v>45300</c:v>
                </c:pt>
                <c:pt idx="739">
                  <c:v>45301</c:v>
                </c:pt>
                <c:pt idx="740">
                  <c:v>45302</c:v>
                </c:pt>
                <c:pt idx="741">
                  <c:v>45303</c:v>
                </c:pt>
                <c:pt idx="742">
                  <c:v>45304</c:v>
                </c:pt>
                <c:pt idx="743">
                  <c:v>45305</c:v>
                </c:pt>
                <c:pt idx="744">
                  <c:v>45306</c:v>
                </c:pt>
                <c:pt idx="745">
                  <c:v>45307</c:v>
                </c:pt>
                <c:pt idx="746">
                  <c:v>45308</c:v>
                </c:pt>
                <c:pt idx="747">
                  <c:v>45309</c:v>
                </c:pt>
                <c:pt idx="748">
                  <c:v>45310</c:v>
                </c:pt>
                <c:pt idx="749">
                  <c:v>45311</c:v>
                </c:pt>
                <c:pt idx="750">
                  <c:v>45312</c:v>
                </c:pt>
                <c:pt idx="751">
                  <c:v>45313</c:v>
                </c:pt>
                <c:pt idx="752">
                  <c:v>45314</c:v>
                </c:pt>
                <c:pt idx="753">
                  <c:v>45315</c:v>
                </c:pt>
                <c:pt idx="754">
                  <c:v>45316</c:v>
                </c:pt>
                <c:pt idx="755">
                  <c:v>45317</c:v>
                </c:pt>
                <c:pt idx="756">
                  <c:v>45318</c:v>
                </c:pt>
                <c:pt idx="757">
                  <c:v>45319</c:v>
                </c:pt>
                <c:pt idx="758">
                  <c:v>45320</c:v>
                </c:pt>
                <c:pt idx="759">
                  <c:v>45321</c:v>
                </c:pt>
                <c:pt idx="760">
                  <c:v>45322</c:v>
                </c:pt>
                <c:pt idx="761">
                  <c:v>45323</c:v>
                </c:pt>
                <c:pt idx="762">
                  <c:v>45324</c:v>
                </c:pt>
                <c:pt idx="763">
                  <c:v>45325</c:v>
                </c:pt>
                <c:pt idx="764">
                  <c:v>45326</c:v>
                </c:pt>
                <c:pt idx="765">
                  <c:v>45327</c:v>
                </c:pt>
                <c:pt idx="766">
                  <c:v>45328</c:v>
                </c:pt>
                <c:pt idx="767">
                  <c:v>45329</c:v>
                </c:pt>
                <c:pt idx="768">
                  <c:v>45330</c:v>
                </c:pt>
                <c:pt idx="769">
                  <c:v>45331</c:v>
                </c:pt>
                <c:pt idx="770">
                  <c:v>45332</c:v>
                </c:pt>
                <c:pt idx="771">
                  <c:v>45333</c:v>
                </c:pt>
                <c:pt idx="772">
                  <c:v>45334</c:v>
                </c:pt>
                <c:pt idx="773">
                  <c:v>45335</c:v>
                </c:pt>
                <c:pt idx="774">
                  <c:v>45336</c:v>
                </c:pt>
                <c:pt idx="775">
                  <c:v>45337</c:v>
                </c:pt>
                <c:pt idx="776">
                  <c:v>45338</c:v>
                </c:pt>
                <c:pt idx="777">
                  <c:v>45339</c:v>
                </c:pt>
                <c:pt idx="778">
                  <c:v>45340</c:v>
                </c:pt>
                <c:pt idx="779">
                  <c:v>45341</c:v>
                </c:pt>
                <c:pt idx="780">
                  <c:v>45342</c:v>
                </c:pt>
                <c:pt idx="781">
                  <c:v>45343</c:v>
                </c:pt>
                <c:pt idx="782">
                  <c:v>45344</c:v>
                </c:pt>
                <c:pt idx="783">
                  <c:v>45345</c:v>
                </c:pt>
                <c:pt idx="784">
                  <c:v>45346</c:v>
                </c:pt>
                <c:pt idx="785">
                  <c:v>45347</c:v>
                </c:pt>
                <c:pt idx="786">
                  <c:v>45348</c:v>
                </c:pt>
                <c:pt idx="787">
                  <c:v>45349</c:v>
                </c:pt>
                <c:pt idx="788">
                  <c:v>45350</c:v>
                </c:pt>
                <c:pt idx="789">
                  <c:v>45351</c:v>
                </c:pt>
                <c:pt idx="790">
                  <c:v>45352</c:v>
                </c:pt>
                <c:pt idx="791">
                  <c:v>45353</c:v>
                </c:pt>
                <c:pt idx="792">
                  <c:v>45354</c:v>
                </c:pt>
                <c:pt idx="793">
                  <c:v>45355</c:v>
                </c:pt>
                <c:pt idx="794">
                  <c:v>45356</c:v>
                </c:pt>
                <c:pt idx="795">
                  <c:v>45357</c:v>
                </c:pt>
                <c:pt idx="796">
                  <c:v>45358</c:v>
                </c:pt>
                <c:pt idx="797">
                  <c:v>45359</c:v>
                </c:pt>
                <c:pt idx="798">
                  <c:v>45360</c:v>
                </c:pt>
                <c:pt idx="799">
                  <c:v>45361</c:v>
                </c:pt>
                <c:pt idx="800">
                  <c:v>45362</c:v>
                </c:pt>
                <c:pt idx="801">
                  <c:v>45363</c:v>
                </c:pt>
                <c:pt idx="802">
                  <c:v>45364</c:v>
                </c:pt>
                <c:pt idx="803">
                  <c:v>45365</c:v>
                </c:pt>
                <c:pt idx="804">
                  <c:v>45366</c:v>
                </c:pt>
                <c:pt idx="805">
                  <c:v>45367</c:v>
                </c:pt>
                <c:pt idx="806">
                  <c:v>45368</c:v>
                </c:pt>
                <c:pt idx="807">
                  <c:v>45369</c:v>
                </c:pt>
                <c:pt idx="808">
                  <c:v>45370</c:v>
                </c:pt>
                <c:pt idx="809">
                  <c:v>45371</c:v>
                </c:pt>
                <c:pt idx="810">
                  <c:v>45372</c:v>
                </c:pt>
                <c:pt idx="811">
                  <c:v>45373</c:v>
                </c:pt>
                <c:pt idx="812">
                  <c:v>45374</c:v>
                </c:pt>
                <c:pt idx="813">
                  <c:v>45375</c:v>
                </c:pt>
                <c:pt idx="814">
                  <c:v>45376</c:v>
                </c:pt>
                <c:pt idx="815">
                  <c:v>45377</c:v>
                </c:pt>
                <c:pt idx="816">
                  <c:v>45378</c:v>
                </c:pt>
                <c:pt idx="817">
                  <c:v>45379</c:v>
                </c:pt>
                <c:pt idx="818">
                  <c:v>45380</c:v>
                </c:pt>
                <c:pt idx="819">
                  <c:v>45381</c:v>
                </c:pt>
                <c:pt idx="820">
                  <c:v>45382</c:v>
                </c:pt>
                <c:pt idx="821">
                  <c:v>45383</c:v>
                </c:pt>
                <c:pt idx="822">
                  <c:v>45384</c:v>
                </c:pt>
                <c:pt idx="823">
                  <c:v>45385</c:v>
                </c:pt>
                <c:pt idx="824">
                  <c:v>45386</c:v>
                </c:pt>
                <c:pt idx="825">
                  <c:v>45387</c:v>
                </c:pt>
                <c:pt idx="826">
                  <c:v>45388</c:v>
                </c:pt>
                <c:pt idx="827">
                  <c:v>45389</c:v>
                </c:pt>
                <c:pt idx="828">
                  <c:v>45390</c:v>
                </c:pt>
                <c:pt idx="829">
                  <c:v>45391</c:v>
                </c:pt>
                <c:pt idx="830">
                  <c:v>45392</c:v>
                </c:pt>
                <c:pt idx="831">
                  <c:v>45393</c:v>
                </c:pt>
                <c:pt idx="832">
                  <c:v>45394</c:v>
                </c:pt>
                <c:pt idx="833">
                  <c:v>45395</c:v>
                </c:pt>
                <c:pt idx="834">
                  <c:v>45396</c:v>
                </c:pt>
                <c:pt idx="835">
                  <c:v>45397</c:v>
                </c:pt>
                <c:pt idx="836">
                  <c:v>45398</c:v>
                </c:pt>
                <c:pt idx="837">
                  <c:v>45399</c:v>
                </c:pt>
                <c:pt idx="838">
                  <c:v>45400</c:v>
                </c:pt>
                <c:pt idx="839">
                  <c:v>45401</c:v>
                </c:pt>
                <c:pt idx="840">
                  <c:v>45402</c:v>
                </c:pt>
                <c:pt idx="841">
                  <c:v>45403</c:v>
                </c:pt>
                <c:pt idx="842">
                  <c:v>45404</c:v>
                </c:pt>
                <c:pt idx="843">
                  <c:v>45405</c:v>
                </c:pt>
                <c:pt idx="844">
                  <c:v>45406</c:v>
                </c:pt>
                <c:pt idx="845">
                  <c:v>45407</c:v>
                </c:pt>
                <c:pt idx="846">
                  <c:v>45408</c:v>
                </c:pt>
                <c:pt idx="847">
                  <c:v>45409</c:v>
                </c:pt>
                <c:pt idx="848">
                  <c:v>45410</c:v>
                </c:pt>
                <c:pt idx="849">
                  <c:v>45411</c:v>
                </c:pt>
                <c:pt idx="850">
                  <c:v>45412</c:v>
                </c:pt>
                <c:pt idx="851">
                  <c:v>45413</c:v>
                </c:pt>
                <c:pt idx="852">
                  <c:v>45414</c:v>
                </c:pt>
                <c:pt idx="853">
                  <c:v>45415</c:v>
                </c:pt>
                <c:pt idx="854">
                  <c:v>45416</c:v>
                </c:pt>
                <c:pt idx="855">
                  <c:v>45417</c:v>
                </c:pt>
                <c:pt idx="856">
                  <c:v>45418</c:v>
                </c:pt>
                <c:pt idx="857">
                  <c:v>45419</c:v>
                </c:pt>
                <c:pt idx="858">
                  <c:v>45420</c:v>
                </c:pt>
                <c:pt idx="859">
                  <c:v>45421</c:v>
                </c:pt>
                <c:pt idx="860">
                  <c:v>45422</c:v>
                </c:pt>
                <c:pt idx="861">
                  <c:v>45423</c:v>
                </c:pt>
                <c:pt idx="862">
                  <c:v>45424</c:v>
                </c:pt>
                <c:pt idx="863">
                  <c:v>45425</c:v>
                </c:pt>
                <c:pt idx="864">
                  <c:v>45426</c:v>
                </c:pt>
                <c:pt idx="865">
                  <c:v>45427</c:v>
                </c:pt>
                <c:pt idx="866">
                  <c:v>45428</c:v>
                </c:pt>
                <c:pt idx="867">
                  <c:v>45429</c:v>
                </c:pt>
                <c:pt idx="868">
                  <c:v>45430</c:v>
                </c:pt>
                <c:pt idx="869">
                  <c:v>45431</c:v>
                </c:pt>
                <c:pt idx="870">
                  <c:v>45432</c:v>
                </c:pt>
                <c:pt idx="871">
                  <c:v>45433</c:v>
                </c:pt>
                <c:pt idx="872">
                  <c:v>45434</c:v>
                </c:pt>
                <c:pt idx="873">
                  <c:v>45435</c:v>
                </c:pt>
                <c:pt idx="874">
                  <c:v>45436</c:v>
                </c:pt>
                <c:pt idx="875">
                  <c:v>45437</c:v>
                </c:pt>
                <c:pt idx="876">
                  <c:v>45438</c:v>
                </c:pt>
                <c:pt idx="877">
                  <c:v>45439</c:v>
                </c:pt>
                <c:pt idx="878">
                  <c:v>45440</c:v>
                </c:pt>
                <c:pt idx="879">
                  <c:v>45441</c:v>
                </c:pt>
                <c:pt idx="880">
                  <c:v>45442</c:v>
                </c:pt>
                <c:pt idx="881">
                  <c:v>45443</c:v>
                </c:pt>
                <c:pt idx="882">
                  <c:v>45444</c:v>
                </c:pt>
                <c:pt idx="883">
                  <c:v>45445</c:v>
                </c:pt>
                <c:pt idx="884">
                  <c:v>45446</c:v>
                </c:pt>
                <c:pt idx="885">
                  <c:v>45447</c:v>
                </c:pt>
                <c:pt idx="886">
                  <c:v>45448</c:v>
                </c:pt>
                <c:pt idx="887">
                  <c:v>45449</c:v>
                </c:pt>
                <c:pt idx="888">
                  <c:v>45450</c:v>
                </c:pt>
                <c:pt idx="889">
                  <c:v>45451</c:v>
                </c:pt>
                <c:pt idx="890">
                  <c:v>45452</c:v>
                </c:pt>
                <c:pt idx="891">
                  <c:v>45453</c:v>
                </c:pt>
                <c:pt idx="892">
                  <c:v>45454</c:v>
                </c:pt>
                <c:pt idx="893">
                  <c:v>45455</c:v>
                </c:pt>
                <c:pt idx="894">
                  <c:v>45456</c:v>
                </c:pt>
                <c:pt idx="895">
                  <c:v>45457</c:v>
                </c:pt>
                <c:pt idx="896">
                  <c:v>45458</c:v>
                </c:pt>
                <c:pt idx="897">
                  <c:v>45459</c:v>
                </c:pt>
                <c:pt idx="898">
                  <c:v>45460</c:v>
                </c:pt>
                <c:pt idx="899">
                  <c:v>45461</c:v>
                </c:pt>
                <c:pt idx="900">
                  <c:v>45462</c:v>
                </c:pt>
                <c:pt idx="901">
                  <c:v>45463</c:v>
                </c:pt>
                <c:pt idx="902">
                  <c:v>45464</c:v>
                </c:pt>
                <c:pt idx="903">
                  <c:v>45465</c:v>
                </c:pt>
                <c:pt idx="904">
                  <c:v>45466</c:v>
                </c:pt>
                <c:pt idx="905">
                  <c:v>45467</c:v>
                </c:pt>
                <c:pt idx="906">
                  <c:v>45468</c:v>
                </c:pt>
                <c:pt idx="907">
                  <c:v>45469</c:v>
                </c:pt>
                <c:pt idx="908">
                  <c:v>45470</c:v>
                </c:pt>
                <c:pt idx="909">
                  <c:v>45471</c:v>
                </c:pt>
                <c:pt idx="910">
                  <c:v>45472</c:v>
                </c:pt>
                <c:pt idx="911">
                  <c:v>45473</c:v>
                </c:pt>
                <c:pt idx="912">
                  <c:v>45474</c:v>
                </c:pt>
                <c:pt idx="913">
                  <c:v>45475</c:v>
                </c:pt>
                <c:pt idx="914">
                  <c:v>45476</c:v>
                </c:pt>
                <c:pt idx="915">
                  <c:v>45477</c:v>
                </c:pt>
                <c:pt idx="916">
                  <c:v>45478</c:v>
                </c:pt>
                <c:pt idx="917">
                  <c:v>45479</c:v>
                </c:pt>
                <c:pt idx="918">
                  <c:v>45480</c:v>
                </c:pt>
                <c:pt idx="919">
                  <c:v>45481</c:v>
                </c:pt>
                <c:pt idx="920">
                  <c:v>45482</c:v>
                </c:pt>
                <c:pt idx="921">
                  <c:v>45483</c:v>
                </c:pt>
                <c:pt idx="922">
                  <c:v>45484</c:v>
                </c:pt>
                <c:pt idx="923">
                  <c:v>45485</c:v>
                </c:pt>
                <c:pt idx="924">
                  <c:v>45486</c:v>
                </c:pt>
                <c:pt idx="925">
                  <c:v>45487</c:v>
                </c:pt>
                <c:pt idx="926">
                  <c:v>45488</c:v>
                </c:pt>
                <c:pt idx="927">
                  <c:v>45489</c:v>
                </c:pt>
                <c:pt idx="928">
                  <c:v>45490</c:v>
                </c:pt>
                <c:pt idx="929">
                  <c:v>45491</c:v>
                </c:pt>
                <c:pt idx="930">
                  <c:v>45492</c:v>
                </c:pt>
                <c:pt idx="931">
                  <c:v>45493</c:v>
                </c:pt>
                <c:pt idx="932">
                  <c:v>45494</c:v>
                </c:pt>
                <c:pt idx="933">
                  <c:v>45495</c:v>
                </c:pt>
                <c:pt idx="934">
                  <c:v>45496</c:v>
                </c:pt>
                <c:pt idx="935">
                  <c:v>45497</c:v>
                </c:pt>
                <c:pt idx="936">
                  <c:v>45498</c:v>
                </c:pt>
                <c:pt idx="937">
                  <c:v>45499</c:v>
                </c:pt>
                <c:pt idx="938">
                  <c:v>45500</c:v>
                </c:pt>
                <c:pt idx="939">
                  <c:v>45501</c:v>
                </c:pt>
                <c:pt idx="940">
                  <c:v>45502</c:v>
                </c:pt>
                <c:pt idx="941">
                  <c:v>45503</c:v>
                </c:pt>
                <c:pt idx="942">
                  <c:v>45504</c:v>
                </c:pt>
                <c:pt idx="943">
                  <c:v>45505</c:v>
                </c:pt>
                <c:pt idx="944">
                  <c:v>45506</c:v>
                </c:pt>
                <c:pt idx="945">
                  <c:v>45507</c:v>
                </c:pt>
                <c:pt idx="946">
                  <c:v>45508</c:v>
                </c:pt>
                <c:pt idx="947">
                  <c:v>45509</c:v>
                </c:pt>
                <c:pt idx="948">
                  <c:v>45510</c:v>
                </c:pt>
                <c:pt idx="949">
                  <c:v>45511</c:v>
                </c:pt>
                <c:pt idx="950">
                  <c:v>45512</c:v>
                </c:pt>
                <c:pt idx="951">
                  <c:v>45513</c:v>
                </c:pt>
                <c:pt idx="952">
                  <c:v>45514</c:v>
                </c:pt>
                <c:pt idx="953">
                  <c:v>45515</c:v>
                </c:pt>
                <c:pt idx="954">
                  <c:v>45516</c:v>
                </c:pt>
                <c:pt idx="955">
                  <c:v>45517</c:v>
                </c:pt>
                <c:pt idx="956">
                  <c:v>45518</c:v>
                </c:pt>
                <c:pt idx="957">
                  <c:v>45519</c:v>
                </c:pt>
                <c:pt idx="958">
                  <c:v>45520</c:v>
                </c:pt>
                <c:pt idx="959">
                  <c:v>45521</c:v>
                </c:pt>
                <c:pt idx="960">
                  <c:v>45522</c:v>
                </c:pt>
                <c:pt idx="961">
                  <c:v>45523</c:v>
                </c:pt>
                <c:pt idx="962">
                  <c:v>45524</c:v>
                </c:pt>
                <c:pt idx="963">
                  <c:v>45525</c:v>
                </c:pt>
                <c:pt idx="964">
                  <c:v>45526</c:v>
                </c:pt>
                <c:pt idx="965">
                  <c:v>45527</c:v>
                </c:pt>
                <c:pt idx="966">
                  <c:v>45528</c:v>
                </c:pt>
                <c:pt idx="967">
                  <c:v>45529</c:v>
                </c:pt>
                <c:pt idx="968">
                  <c:v>45530</c:v>
                </c:pt>
                <c:pt idx="969">
                  <c:v>45531</c:v>
                </c:pt>
                <c:pt idx="970">
                  <c:v>45532</c:v>
                </c:pt>
                <c:pt idx="971">
                  <c:v>45533</c:v>
                </c:pt>
                <c:pt idx="972">
                  <c:v>45534</c:v>
                </c:pt>
                <c:pt idx="973">
                  <c:v>45535</c:v>
                </c:pt>
                <c:pt idx="974">
                  <c:v>45536</c:v>
                </c:pt>
                <c:pt idx="975">
                  <c:v>45537</c:v>
                </c:pt>
                <c:pt idx="976">
                  <c:v>45538</c:v>
                </c:pt>
                <c:pt idx="977">
                  <c:v>45539</c:v>
                </c:pt>
                <c:pt idx="978">
                  <c:v>45540</c:v>
                </c:pt>
                <c:pt idx="979">
                  <c:v>45541</c:v>
                </c:pt>
                <c:pt idx="980">
                  <c:v>45542</c:v>
                </c:pt>
                <c:pt idx="981">
                  <c:v>45543</c:v>
                </c:pt>
                <c:pt idx="982">
                  <c:v>45544</c:v>
                </c:pt>
                <c:pt idx="983">
                  <c:v>45545</c:v>
                </c:pt>
                <c:pt idx="984">
                  <c:v>45546</c:v>
                </c:pt>
                <c:pt idx="985">
                  <c:v>45547</c:v>
                </c:pt>
                <c:pt idx="986">
                  <c:v>45548</c:v>
                </c:pt>
                <c:pt idx="987">
                  <c:v>45549</c:v>
                </c:pt>
                <c:pt idx="988">
                  <c:v>45550</c:v>
                </c:pt>
                <c:pt idx="989">
                  <c:v>45551</c:v>
                </c:pt>
                <c:pt idx="990">
                  <c:v>45552</c:v>
                </c:pt>
                <c:pt idx="991">
                  <c:v>45553</c:v>
                </c:pt>
                <c:pt idx="992">
                  <c:v>45554</c:v>
                </c:pt>
                <c:pt idx="993">
                  <c:v>45555</c:v>
                </c:pt>
                <c:pt idx="994">
                  <c:v>45556</c:v>
                </c:pt>
                <c:pt idx="995">
                  <c:v>45557</c:v>
                </c:pt>
                <c:pt idx="996">
                  <c:v>45558</c:v>
                </c:pt>
                <c:pt idx="997">
                  <c:v>45559</c:v>
                </c:pt>
                <c:pt idx="998">
                  <c:v>45560</c:v>
                </c:pt>
                <c:pt idx="999">
                  <c:v>45561</c:v>
                </c:pt>
                <c:pt idx="1000">
                  <c:v>45562</c:v>
                </c:pt>
                <c:pt idx="1001">
                  <c:v>45563</c:v>
                </c:pt>
                <c:pt idx="1002">
                  <c:v>45564</c:v>
                </c:pt>
                <c:pt idx="1003">
                  <c:v>45565</c:v>
                </c:pt>
                <c:pt idx="1004">
                  <c:v>45566</c:v>
                </c:pt>
                <c:pt idx="1005">
                  <c:v>45567</c:v>
                </c:pt>
                <c:pt idx="1006">
                  <c:v>45568</c:v>
                </c:pt>
                <c:pt idx="1007">
                  <c:v>45569</c:v>
                </c:pt>
                <c:pt idx="1008">
                  <c:v>45570</c:v>
                </c:pt>
                <c:pt idx="1009">
                  <c:v>45571</c:v>
                </c:pt>
                <c:pt idx="1010">
                  <c:v>45572</c:v>
                </c:pt>
                <c:pt idx="1011">
                  <c:v>45573</c:v>
                </c:pt>
                <c:pt idx="1012">
                  <c:v>45574</c:v>
                </c:pt>
                <c:pt idx="1013">
                  <c:v>45575</c:v>
                </c:pt>
                <c:pt idx="1014">
                  <c:v>45576</c:v>
                </c:pt>
                <c:pt idx="1015">
                  <c:v>45577</c:v>
                </c:pt>
                <c:pt idx="1016">
                  <c:v>45578</c:v>
                </c:pt>
                <c:pt idx="1017">
                  <c:v>45579</c:v>
                </c:pt>
                <c:pt idx="1018">
                  <c:v>45580</c:v>
                </c:pt>
                <c:pt idx="1019">
                  <c:v>45581</c:v>
                </c:pt>
                <c:pt idx="1020">
                  <c:v>45582</c:v>
                </c:pt>
                <c:pt idx="1021">
                  <c:v>45583</c:v>
                </c:pt>
                <c:pt idx="1022">
                  <c:v>45584</c:v>
                </c:pt>
                <c:pt idx="1023">
                  <c:v>45585</c:v>
                </c:pt>
                <c:pt idx="1024">
                  <c:v>45586</c:v>
                </c:pt>
                <c:pt idx="1025">
                  <c:v>45587</c:v>
                </c:pt>
                <c:pt idx="1026">
                  <c:v>45588</c:v>
                </c:pt>
                <c:pt idx="1027">
                  <c:v>45589</c:v>
                </c:pt>
                <c:pt idx="1028">
                  <c:v>45590</c:v>
                </c:pt>
                <c:pt idx="1029">
                  <c:v>45591</c:v>
                </c:pt>
                <c:pt idx="1030">
                  <c:v>45592</c:v>
                </c:pt>
                <c:pt idx="1031">
                  <c:v>45593</c:v>
                </c:pt>
                <c:pt idx="1032">
                  <c:v>45594</c:v>
                </c:pt>
                <c:pt idx="1033">
                  <c:v>45595</c:v>
                </c:pt>
                <c:pt idx="1034">
                  <c:v>45596</c:v>
                </c:pt>
                <c:pt idx="1035">
                  <c:v>45597</c:v>
                </c:pt>
                <c:pt idx="1036">
                  <c:v>45598</c:v>
                </c:pt>
                <c:pt idx="1037">
                  <c:v>45599</c:v>
                </c:pt>
                <c:pt idx="1038">
                  <c:v>45600</c:v>
                </c:pt>
                <c:pt idx="1039">
                  <c:v>45601</c:v>
                </c:pt>
                <c:pt idx="1040">
                  <c:v>45602</c:v>
                </c:pt>
                <c:pt idx="1041">
                  <c:v>45603</c:v>
                </c:pt>
                <c:pt idx="1042">
                  <c:v>45604</c:v>
                </c:pt>
                <c:pt idx="1043">
                  <c:v>45605</c:v>
                </c:pt>
                <c:pt idx="1044">
                  <c:v>45606</c:v>
                </c:pt>
                <c:pt idx="1045">
                  <c:v>45607</c:v>
                </c:pt>
                <c:pt idx="1046">
                  <c:v>45608</c:v>
                </c:pt>
                <c:pt idx="1047">
                  <c:v>45609</c:v>
                </c:pt>
                <c:pt idx="1048">
                  <c:v>45610</c:v>
                </c:pt>
                <c:pt idx="1049">
                  <c:v>45611</c:v>
                </c:pt>
                <c:pt idx="1050">
                  <c:v>45612</c:v>
                </c:pt>
                <c:pt idx="1051">
                  <c:v>45613</c:v>
                </c:pt>
                <c:pt idx="1052">
                  <c:v>45614</c:v>
                </c:pt>
                <c:pt idx="1053">
                  <c:v>45615</c:v>
                </c:pt>
                <c:pt idx="1054">
                  <c:v>45616</c:v>
                </c:pt>
                <c:pt idx="1055">
                  <c:v>45617</c:v>
                </c:pt>
                <c:pt idx="1056">
                  <c:v>45618</c:v>
                </c:pt>
                <c:pt idx="1057">
                  <c:v>45619</c:v>
                </c:pt>
                <c:pt idx="1058">
                  <c:v>45620</c:v>
                </c:pt>
                <c:pt idx="1059">
                  <c:v>45621</c:v>
                </c:pt>
                <c:pt idx="1060">
                  <c:v>45622</c:v>
                </c:pt>
                <c:pt idx="1061">
                  <c:v>45623</c:v>
                </c:pt>
                <c:pt idx="1062">
                  <c:v>45624</c:v>
                </c:pt>
                <c:pt idx="1063">
                  <c:v>45625</c:v>
                </c:pt>
                <c:pt idx="1064">
                  <c:v>45626</c:v>
                </c:pt>
                <c:pt idx="1065">
                  <c:v>45627</c:v>
                </c:pt>
                <c:pt idx="1066">
                  <c:v>45628</c:v>
                </c:pt>
                <c:pt idx="1067">
                  <c:v>45629</c:v>
                </c:pt>
                <c:pt idx="1068">
                  <c:v>45630</c:v>
                </c:pt>
                <c:pt idx="1069">
                  <c:v>45631</c:v>
                </c:pt>
                <c:pt idx="1070">
                  <c:v>45632</c:v>
                </c:pt>
                <c:pt idx="1071">
                  <c:v>45633</c:v>
                </c:pt>
                <c:pt idx="1072">
                  <c:v>45634</c:v>
                </c:pt>
                <c:pt idx="1073">
                  <c:v>45635</c:v>
                </c:pt>
                <c:pt idx="1074">
                  <c:v>45636</c:v>
                </c:pt>
                <c:pt idx="1075">
                  <c:v>45637</c:v>
                </c:pt>
                <c:pt idx="1076">
                  <c:v>45638</c:v>
                </c:pt>
                <c:pt idx="1077">
                  <c:v>45639</c:v>
                </c:pt>
                <c:pt idx="1078">
                  <c:v>45640</c:v>
                </c:pt>
                <c:pt idx="1079">
                  <c:v>45641</c:v>
                </c:pt>
                <c:pt idx="1080">
                  <c:v>45642</c:v>
                </c:pt>
                <c:pt idx="1081">
                  <c:v>45643</c:v>
                </c:pt>
                <c:pt idx="1082">
                  <c:v>45644</c:v>
                </c:pt>
                <c:pt idx="1083">
                  <c:v>45645</c:v>
                </c:pt>
                <c:pt idx="1084">
                  <c:v>45646</c:v>
                </c:pt>
                <c:pt idx="1085">
                  <c:v>45647</c:v>
                </c:pt>
                <c:pt idx="1086">
                  <c:v>45648</c:v>
                </c:pt>
                <c:pt idx="1087">
                  <c:v>45649</c:v>
                </c:pt>
                <c:pt idx="1088">
                  <c:v>45650</c:v>
                </c:pt>
                <c:pt idx="1089">
                  <c:v>45651</c:v>
                </c:pt>
                <c:pt idx="1090">
                  <c:v>45652</c:v>
                </c:pt>
                <c:pt idx="1091">
                  <c:v>45653</c:v>
                </c:pt>
                <c:pt idx="1092">
                  <c:v>45654</c:v>
                </c:pt>
                <c:pt idx="1093">
                  <c:v>45655</c:v>
                </c:pt>
                <c:pt idx="1094">
                  <c:v>45656</c:v>
                </c:pt>
                <c:pt idx="1095">
                  <c:v>45657</c:v>
                </c:pt>
                <c:pt idx="1096">
                  <c:v>45658</c:v>
                </c:pt>
                <c:pt idx="1097">
                  <c:v>45659</c:v>
                </c:pt>
                <c:pt idx="1098">
                  <c:v>45660</c:v>
                </c:pt>
                <c:pt idx="1099">
                  <c:v>45661</c:v>
                </c:pt>
                <c:pt idx="1100">
                  <c:v>45662</c:v>
                </c:pt>
                <c:pt idx="1101">
                  <c:v>45663</c:v>
                </c:pt>
                <c:pt idx="1102">
                  <c:v>45664</c:v>
                </c:pt>
                <c:pt idx="1103">
                  <c:v>45665</c:v>
                </c:pt>
                <c:pt idx="1104">
                  <c:v>45666</c:v>
                </c:pt>
                <c:pt idx="1105">
                  <c:v>45667</c:v>
                </c:pt>
                <c:pt idx="1106">
                  <c:v>45668</c:v>
                </c:pt>
                <c:pt idx="1107">
                  <c:v>45669</c:v>
                </c:pt>
                <c:pt idx="1108">
                  <c:v>45670</c:v>
                </c:pt>
                <c:pt idx="1109">
                  <c:v>45671</c:v>
                </c:pt>
                <c:pt idx="1110">
                  <c:v>45672</c:v>
                </c:pt>
                <c:pt idx="1111">
                  <c:v>45673</c:v>
                </c:pt>
                <c:pt idx="1112">
                  <c:v>45674</c:v>
                </c:pt>
                <c:pt idx="1113">
                  <c:v>45675</c:v>
                </c:pt>
                <c:pt idx="1114">
                  <c:v>45676</c:v>
                </c:pt>
                <c:pt idx="1115">
                  <c:v>45677</c:v>
                </c:pt>
                <c:pt idx="1116">
                  <c:v>45678</c:v>
                </c:pt>
                <c:pt idx="1117">
                  <c:v>45679</c:v>
                </c:pt>
                <c:pt idx="1118">
                  <c:v>45680</c:v>
                </c:pt>
                <c:pt idx="1119">
                  <c:v>45681</c:v>
                </c:pt>
                <c:pt idx="1120">
                  <c:v>45682</c:v>
                </c:pt>
                <c:pt idx="1121">
                  <c:v>45683</c:v>
                </c:pt>
                <c:pt idx="1122">
                  <c:v>45684</c:v>
                </c:pt>
                <c:pt idx="1123">
                  <c:v>45685</c:v>
                </c:pt>
                <c:pt idx="1124">
                  <c:v>45686</c:v>
                </c:pt>
                <c:pt idx="1125">
                  <c:v>45687</c:v>
                </c:pt>
                <c:pt idx="1126">
                  <c:v>45688</c:v>
                </c:pt>
                <c:pt idx="1127">
                  <c:v>45689</c:v>
                </c:pt>
                <c:pt idx="1128">
                  <c:v>45690</c:v>
                </c:pt>
                <c:pt idx="1129">
                  <c:v>45691</c:v>
                </c:pt>
                <c:pt idx="1130">
                  <c:v>45692</c:v>
                </c:pt>
                <c:pt idx="1131">
                  <c:v>45693</c:v>
                </c:pt>
                <c:pt idx="1132">
                  <c:v>45694</c:v>
                </c:pt>
                <c:pt idx="1133">
                  <c:v>45695</c:v>
                </c:pt>
                <c:pt idx="1134">
                  <c:v>45696</c:v>
                </c:pt>
                <c:pt idx="1135">
                  <c:v>45697</c:v>
                </c:pt>
                <c:pt idx="1136">
                  <c:v>45698</c:v>
                </c:pt>
                <c:pt idx="1137">
                  <c:v>45699</c:v>
                </c:pt>
                <c:pt idx="1138">
                  <c:v>45700</c:v>
                </c:pt>
                <c:pt idx="1139">
                  <c:v>45701</c:v>
                </c:pt>
                <c:pt idx="1140">
                  <c:v>45702</c:v>
                </c:pt>
                <c:pt idx="1141">
                  <c:v>45703</c:v>
                </c:pt>
                <c:pt idx="1142">
                  <c:v>45704</c:v>
                </c:pt>
                <c:pt idx="1143">
                  <c:v>45705</c:v>
                </c:pt>
                <c:pt idx="1144">
                  <c:v>45706</c:v>
                </c:pt>
                <c:pt idx="1145">
                  <c:v>45707</c:v>
                </c:pt>
                <c:pt idx="1146">
                  <c:v>45708</c:v>
                </c:pt>
                <c:pt idx="1147">
                  <c:v>45709</c:v>
                </c:pt>
                <c:pt idx="1148">
                  <c:v>45710</c:v>
                </c:pt>
                <c:pt idx="1149">
                  <c:v>45711</c:v>
                </c:pt>
                <c:pt idx="1150">
                  <c:v>45712</c:v>
                </c:pt>
                <c:pt idx="1151">
                  <c:v>45713</c:v>
                </c:pt>
                <c:pt idx="1152">
                  <c:v>45714</c:v>
                </c:pt>
                <c:pt idx="1153">
                  <c:v>45715</c:v>
                </c:pt>
                <c:pt idx="1154">
                  <c:v>45716</c:v>
                </c:pt>
                <c:pt idx="1155">
                  <c:v>45717</c:v>
                </c:pt>
                <c:pt idx="1156">
                  <c:v>45718</c:v>
                </c:pt>
                <c:pt idx="1157">
                  <c:v>45719</c:v>
                </c:pt>
                <c:pt idx="1158">
                  <c:v>45720</c:v>
                </c:pt>
                <c:pt idx="1159">
                  <c:v>45721</c:v>
                </c:pt>
                <c:pt idx="1160">
                  <c:v>45722</c:v>
                </c:pt>
                <c:pt idx="1161">
                  <c:v>45723</c:v>
                </c:pt>
                <c:pt idx="1162">
                  <c:v>45724</c:v>
                </c:pt>
                <c:pt idx="1163">
                  <c:v>45725</c:v>
                </c:pt>
                <c:pt idx="1164">
                  <c:v>45726</c:v>
                </c:pt>
                <c:pt idx="1165">
                  <c:v>45727</c:v>
                </c:pt>
                <c:pt idx="1166">
                  <c:v>45728</c:v>
                </c:pt>
                <c:pt idx="1167">
                  <c:v>45729</c:v>
                </c:pt>
                <c:pt idx="1168">
                  <c:v>45730</c:v>
                </c:pt>
                <c:pt idx="1169">
                  <c:v>45731</c:v>
                </c:pt>
                <c:pt idx="1170">
                  <c:v>45732</c:v>
                </c:pt>
                <c:pt idx="1171">
                  <c:v>45733</c:v>
                </c:pt>
                <c:pt idx="1172">
                  <c:v>45734</c:v>
                </c:pt>
                <c:pt idx="1173">
                  <c:v>45735</c:v>
                </c:pt>
                <c:pt idx="1174">
                  <c:v>45736</c:v>
                </c:pt>
                <c:pt idx="1175">
                  <c:v>45737</c:v>
                </c:pt>
                <c:pt idx="1176">
                  <c:v>45738</c:v>
                </c:pt>
                <c:pt idx="1177">
                  <c:v>45739</c:v>
                </c:pt>
                <c:pt idx="1178">
                  <c:v>45740</c:v>
                </c:pt>
                <c:pt idx="1179">
                  <c:v>45741</c:v>
                </c:pt>
                <c:pt idx="1180">
                  <c:v>45742</c:v>
                </c:pt>
                <c:pt idx="1181">
                  <c:v>45743</c:v>
                </c:pt>
                <c:pt idx="1182">
                  <c:v>45744</c:v>
                </c:pt>
                <c:pt idx="1183">
                  <c:v>45745</c:v>
                </c:pt>
                <c:pt idx="1184">
                  <c:v>45746</c:v>
                </c:pt>
                <c:pt idx="1185">
                  <c:v>45747</c:v>
                </c:pt>
                <c:pt idx="1186">
                  <c:v>45748</c:v>
                </c:pt>
                <c:pt idx="1187">
                  <c:v>45749</c:v>
                </c:pt>
                <c:pt idx="1188">
                  <c:v>45750</c:v>
                </c:pt>
                <c:pt idx="1189">
                  <c:v>45751</c:v>
                </c:pt>
                <c:pt idx="1190">
                  <c:v>45752</c:v>
                </c:pt>
                <c:pt idx="1191">
                  <c:v>45753</c:v>
                </c:pt>
                <c:pt idx="1192">
                  <c:v>45754</c:v>
                </c:pt>
                <c:pt idx="1193">
                  <c:v>45755</c:v>
                </c:pt>
                <c:pt idx="1194">
                  <c:v>45756</c:v>
                </c:pt>
                <c:pt idx="1195">
                  <c:v>45757</c:v>
                </c:pt>
                <c:pt idx="1196">
                  <c:v>45758</c:v>
                </c:pt>
                <c:pt idx="1197">
                  <c:v>45759</c:v>
                </c:pt>
                <c:pt idx="1198">
                  <c:v>45760</c:v>
                </c:pt>
                <c:pt idx="1199">
                  <c:v>45761</c:v>
                </c:pt>
                <c:pt idx="1200">
                  <c:v>45762</c:v>
                </c:pt>
                <c:pt idx="1201">
                  <c:v>45763</c:v>
                </c:pt>
                <c:pt idx="1202">
                  <c:v>45764</c:v>
                </c:pt>
                <c:pt idx="1203">
                  <c:v>45765</c:v>
                </c:pt>
                <c:pt idx="1204">
                  <c:v>45766</c:v>
                </c:pt>
                <c:pt idx="1205">
                  <c:v>45767</c:v>
                </c:pt>
                <c:pt idx="1206">
                  <c:v>45768</c:v>
                </c:pt>
                <c:pt idx="1207">
                  <c:v>45769</c:v>
                </c:pt>
                <c:pt idx="1208">
                  <c:v>45770</c:v>
                </c:pt>
                <c:pt idx="1209">
                  <c:v>45771</c:v>
                </c:pt>
                <c:pt idx="1210">
                  <c:v>45772</c:v>
                </c:pt>
                <c:pt idx="1211">
                  <c:v>45773</c:v>
                </c:pt>
                <c:pt idx="1212">
                  <c:v>45774</c:v>
                </c:pt>
                <c:pt idx="1213">
                  <c:v>45775</c:v>
                </c:pt>
                <c:pt idx="1214">
                  <c:v>45776</c:v>
                </c:pt>
                <c:pt idx="1215">
                  <c:v>45777</c:v>
                </c:pt>
                <c:pt idx="1216">
                  <c:v>45778</c:v>
                </c:pt>
                <c:pt idx="1217">
                  <c:v>45779</c:v>
                </c:pt>
                <c:pt idx="1218">
                  <c:v>45780</c:v>
                </c:pt>
                <c:pt idx="1219">
                  <c:v>45781</c:v>
                </c:pt>
                <c:pt idx="1220">
                  <c:v>45782</c:v>
                </c:pt>
                <c:pt idx="1221">
                  <c:v>45783</c:v>
                </c:pt>
                <c:pt idx="1222">
                  <c:v>45784</c:v>
                </c:pt>
                <c:pt idx="1223">
                  <c:v>45785</c:v>
                </c:pt>
                <c:pt idx="1224">
                  <c:v>45786</c:v>
                </c:pt>
                <c:pt idx="1225">
                  <c:v>45787</c:v>
                </c:pt>
                <c:pt idx="1226">
                  <c:v>45788</c:v>
                </c:pt>
                <c:pt idx="1227">
                  <c:v>45789</c:v>
                </c:pt>
                <c:pt idx="1228">
                  <c:v>45790</c:v>
                </c:pt>
                <c:pt idx="1229">
                  <c:v>45791</c:v>
                </c:pt>
                <c:pt idx="1230">
                  <c:v>45792</c:v>
                </c:pt>
                <c:pt idx="1231">
                  <c:v>45793</c:v>
                </c:pt>
                <c:pt idx="1232">
                  <c:v>45794</c:v>
                </c:pt>
                <c:pt idx="1233">
                  <c:v>45795</c:v>
                </c:pt>
                <c:pt idx="1234">
                  <c:v>45796</c:v>
                </c:pt>
                <c:pt idx="1235">
                  <c:v>45797</c:v>
                </c:pt>
                <c:pt idx="1236">
                  <c:v>45798</c:v>
                </c:pt>
                <c:pt idx="1237">
                  <c:v>45799</c:v>
                </c:pt>
                <c:pt idx="1238">
                  <c:v>45800</c:v>
                </c:pt>
                <c:pt idx="1239">
                  <c:v>45801</c:v>
                </c:pt>
                <c:pt idx="1240">
                  <c:v>45802</c:v>
                </c:pt>
                <c:pt idx="1241">
                  <c:v>45803</c:v>
                </c:pt>
                <c:pt idx="1242">
                  <c:v>45804</c:v>
                </c:pt>
                <c:pt idx="1243">
                  <c:v>45805</c:v>
                </c:pt>
                <c:pt idx="1244">
                  <c:v>45806</c:v>
                </c:pt>
                <c:pt idx="1245">
                  <c:v>45807</c:v>
                </c:pt>
                <c:pt idx="1246">
                  <c:v>45808</c:v>
                </c:pt>
              </c:numCache>
            </c:numRef>
          </c:cat>
          <c:val>
            <c:numRef>
              <c:f>FXHC!$W$12:$W$1258</c:f>
              <c:numCache>
                <c:formatCode>_(* #,##0.0_);_(* \(#,##0.0\);_(* "-"??_);_(@_)</c:formatCode>
                <c:ptCount val="1247"/>
                <c:pt idx="0" formatCode="General">
                  <c:v>100</c:v>
                </c:pt>
                <c:pt idx="1">
                  <c:v>100</c:v>
                </c:pt>
                <c:pt idx="2">
                  <c:v>99.842258926972306</c:v>
                </c:pt>
                <c:pt idx="3">
                  <c:v>99.767841355864007</c:v>
                </c:pt>
                <c:pt idx="4">
                  <c:v>99.864814211271167</c:v>
                </c:pt>
                <c:pt idx="5">
                  <c:v>99.706138199089054</c:v>
                </c:pt>
                <c:pt idx="6">
                  <c:v>99.515492343804027</c:v>
                </c:pt>
                <c:pt idx="7">
                  <c:v>99.515492343804027</c:v>
                </c:pt>
                <c:pt idx="8">
                  <c:v>99.515492343804027</c:v>
                </c:pt>
                <c:pt idx="9">
                  <c:v>99.380616319338827</c:v>
                </c:pt>
                <c:pt idx="10">
                  <c:v>99.59975258998395</c:v>
                </c:pt>
                <c:pt idx="11">
                  <c:v>99.768128192190559</c:v>
                </c:pt>
                <c:pt idx="12">
                  <c:v>99.523769235291866</c:v>
                </c:pt>
                <c:pt idx="13">
                  <c:v>99.498015501808894</c:v>
                </c:pt>
                <c:pt idx="14">
                  <c:v>99.498015501808894</c:v>
                </c:pt>
                <c:pt idx="15">
                  <c:v>99.498015501808894</c:v>
                </c:pt>
                <c:pt idx="16">
                  <c:v>99.552392202257636</c:v>
                </c:pt>
                <c:pt idx="17">
                  <c:v>99.302054061478785</c:v>
                </c:pt>
                <c:pt idx="18">
                  <c:v>99.469566351502252</c:v>
                </c:pt>
                <c:pt idx="19">
                  <c:v>99.346545566458403</c:v>
                </c:pt>
                <c:pt idx="20">
                  <c:v>99.142398185229723</c:v>
                </c:pt>
                <c:pt idx="21">
                  <c:v>99.142398185229723</c:v>
                </c:pt>
                <c:pt idx="22">
                  <c:v>99.142398185229723</c:v>
                </c:pt>
                <c:pt idx="23">
                  <c:v>99.261932191584421</c:v>
                </c:pt>
                <c:pt idx="24">
                  <c:v>99.298928361924666</c:v>
                </c:pt>
                <c:pt idx="25">
                  <c:v>99.144664240536855</c:v>
                </c:pt>
                <c:pt idx="26">
                  <c:v>98.865799040444912</c:v>
                </c:pt>
                <c:pt idx="27">
                  <c:v>98.878828094335475</c:v>
                </c:pt>
                <c:pt idx="28">
                  <c:v>98.878828094335475</c:v>
                </c:pt>
                <c:pt idx="29">
                  <c:v>98.878828094335475</c:v>
                </c:pt>
                <c:pt idx="30">
                  <c:v>99.019478458130791</c:v>
                </c:pt>
                <c:pt idx="31">
                  <c:v>99.110188915275884</c:v>
                </c:pt>
                <c:pt idx="32">
                  <c:v>98.973938464829402</c:v>
                </c:pt>
                <c:pt idx="33">
                  <c:v>98.965752770279636</c:v>
                </c:pt>
                <c:pt idx="34">
                  <c:v>98.72853387351914</c:v>
                </c:pt>
                <c:pt idx="35">
                  <c:v>98.72853387351914</c:v>
                </c:pt>
                <c:pt idx="36">
                  <c:v>98.72853387351914</c:v>
                </c:pt>
                <c:pt idx="37">
                  <c:v>98.825536326070306</c:v>
                </c:pt>
                <c:pt idx="38">
                  <c:v>98.71666767417797</c:v>
                </c:pt>
                <c:pt idx="39">
                  <c:v>98.702067036285669</c:v>
                </c:pt>
                <c:pt idx="40">
                  <c:v>98.977467199087286</c:v>
                </c:pt>
                <c:pt idx="41">
                  <c:v>98.742580399164581</c:v>
                </c:pt>
                <c:pt idx="42">
                  <c:v>98.742580399164581</c:v>
                </c:pt>
                <c:pt idx="43">
                  <c:v>98.742580399164581</c:v>
                </c:pt>
                <c:pt idx="44">
                  <c:v>98.690908884073082</c:v>
                </c:pt>
                <c:pt idx="45">
                  <c:v>98.658431270812102</c:v>
                </c:pt>
                <c:pt idx="46">
                  <c:v>98.881645638603231</c:v>
                </c:pt>
                <c:pt idx="47">
                  <c:v>98.726357019759376</c:v>
                </c:pt>
                <c:pt idx="48">
                  <c:v>98.748410880921554</c:v>
                </c:pt>
                <c:pt idx="49">
                  <c:v>98.748410880921554</c:v>
                </c:pt>
                <c:pt idx="50">
                  <c:v>98.748410880921554</c:v>
                </c:pt>
                <c:pt idx="51">
                  <c:v>98.573725414446272</c:v>
                </c:pt>
                <c:pt idx="52">
                  <c:v>98.665163533282808</c:v>
                </c:pt>
                <c:pt idx="53">
                  <c:v>98.689575688717554</c:v>
                </c:pt>
                <c:pt idx="54">
                  <c:v>98.269873656458316</c:v>
                </c:pt>
                <c:pt idx="55">
                  <c:v>98.322289081951808</c:v>
                </c:pt>
                <c:pt idx="56">
                  <c:v>98.322289081951808</c:v>
                </c:pt>
                <c:pt idx="57">
                  <c:v>98.322289081951808</c:v>
                </c:pt>
                <c:pt idx="58">
                  <c:v>98.295969968621762</c:v>
                </c:pt>
                <c:pt idx="59">
                  <c:v>97.965815078461048</c:v>
                </c:pt>
                <c:pt idx="60">
                  <c:v>97.868974055971904</c:v>
                </c:pt>
                <c:pt idx="61">
                  <c:v>97.674421877561869</c:v>
                </c:pt>
                <c:pt idx="62">
                  <c:v>97.389813241354972</c:v>
                </c:pt>
                <c:pt idx="63">
                  <c:v>97.389813241354972</c:v>
                </c:pt>
                <c:pt idx="64">
                  <c:v>97.389813241354972</c:v>
                </c:pt>
                <c:pt idx="65">
                  <c:v>97.100676737278505</c:v>
                </c:pt>
                <c:pt idx="66">
                  <c:v>97.337977491215113</c:v>
                </c:pt>
                <c:pt idx="67">
                  <c:v>97.385781869487701</c:v>
                </c:pt>
                <c:pt idx="68">
                  <c:v>97.312591971497397</c:v>
                </c:pt>
                <c:pt idx="69">
                  <c:v>97.154095974018745</c:v>
                </c:pt>
                <c:pt idx="70">
                  <c:v>97.154095974018745</c:v>
                </c:pt>
                <c:pt idx="71">
                  <c:v>97.154095974018745</c:v>
                </c:pt>
                <c:pt idx="72">
                  <c:v>97.245166325482643</c:v>
                </c:pt>
                <c:pt idx="73">
                  <c:v>97.140021848561943</c:v>
                </c:pt>
                <c:pt idx="74">
                  <c:v>97.422828382507078</c:v>
                </c:pt>
                <c:pt idx="75">
                  <c:v>97.657929192619164</c:v>
                </c:pt>
                <c:pt idx="76">
                  <c:v>97.483859323106429</c:v>
                </c:pt>
                <c:pt idx="77">
                  <c:v>97.483859323106429</c:v>
                </c:pt>
                <c:pt idx="78">
                  <c:v>97.483859323106429</c:v>
                </c:pt>
                <c:pt idx="79">
                  <c:v>97.420982224948546</c:v>
                </c:pt>
                <c:pt idx="80">
                  <c:v>97.531053303897323</c:v>
                </c:pt>
                <c:pt idx="81">
                  <c:v>97.359210498628798</c:v>
                </c:pt>
                <c:pt idx="82">
                  <c:v>97.323986521070324</c:v>
                </c:pt>
                <c:pt idx="83">
                  <c:v>97.362215273423132</c:v>
                </c:pt>
                <c:pt idx="84">
                  <c:v>97.362215273423132</c:v>
                </c:pt>
                <c:pt idx="85">
                  <c:v>97.362215273423132</c:v>
                </c:pt>
                <c:pt idx="86">
                  <c:v>97.131524955005176</c:v>
                </c:pt>
                <c:pt idx="87">
                  <c:v>97.329923661017645</c:v>
                </c:pt>
                <c:pt idx="88">
                  <c:v>97.441225403823111</c:v>
                </c:pt>
                <c:pt idx="89">
                  <c:v>97.26472309131492</c:v>
                </c:pt>
                <c:pt idx="90">
                  <c:v>97.002826098502567</c:v>
                </c:pt>
                <c:pt idx="91">
                  <c:v>97.002826098502567</c:v>
                </c:pt>
                <c:pt idx="92">
                  <c:v>97.002826098502567</c:v>
                </c:pt>
                <c:pt idx="93">
                  <c:v>97.01462285448298</c:v>
                </c:pt>
                <c:pt idx="94">
                  <c:v>96.822706314827641</c:v>
                </c:pt>
                <c:pt idx="95">
                  <c:v>97.002690520283764</c:v>
                </c:pt>
                <c:pt idx="96">
                  <c:v>96.952891173686979</c:v>
                </c:pt>
                <c:pt idx="97">
                  <c:v>96.833648656944689</c:v>
                </c:pt>
                <c:pt idx="98">
                  <c:v>96.833648656944689</c:v>
                </c:pt>
                <c:pt idx="99">
                  <c:v>96.833648656944689</c:v>
                </c:pt>
                <c:pt idx="100">
                  <c:v>96.845066452519035</c:v>
                </c:pt>
                <c:pt idx="101">
                  <c:v>96.805689808363724</c:v>
                </c:pt>
                <c:pt idx="102">
                  <c:v>96.838512714040164</c:v>
                </c:pt>
                <c:pt idx="103">
                  <c:v>96.683845649658821</c:v>
                </c:pt>
                <c:pt idx="104">
                  <c:v>96.595234748285677</c:v>
                </c:pt>
                <c:pt idx="105">
                  <c:v>96.595234748285677</c:v>
                </c:pt>
                <c:pt idx="106">
                  <c:v>96.595234748285677</c:v>
                </c:pt>
                <c:pt idx="107">
                  <c:v>96.495582111549112</c:v>
                </c:pt>
                <c:pt idx="108">
                  <c:v>96.506987415699115</c:v>
                </c:pt>
                <c:pt idx="109">
                  <c:v>96.843377259813735</c:v>
                </c:pt>
                <c:pt idx="110">
                  <c:v>96.797588812132972</c:v>
                </c:pt>
                <c:pt idx="111">
                  <c:v>96.618902239540532</c:v>
                </c:pt>
                <c:pt idx="112">
                  <c:v>96.618902239540532</c:v>
                </c:pt>
                <c:pt idx="113">
                  <c:v>96.618902239540532</c:v>
                </c:pt>
                <c:pt idx="114">
                  <c:v>96.138555435195215</c:v>
                </c:pt>
                <c:pt idx="115">
                  <c:v>96.054928864988511</c:v>
                </c:pt>
                <c:pt idx="116">
                  <c:v>96.006363259095352</c:v>
                </c:pt>
                <c:pt idx="117">
                  <c:v>95.959173487101069</c:v>
                </c:pt>
                <c:pt idx="118">
                  <c:v>95.702403212372985</c:v>
                </c:pt>
                <c:pt idx="119">
                  <c:v>95.702403212372985</c:v>
                </c:pt>
                <c:pt idx="120">
                  <c:v>95.702403212372985</c:v>
                </c:pt>
                <c:pt idx="121">
                  <c:v>95.556274567846899</c:v>
                </c:pt>
                <c:pt idx="122">
                  <c:v>95.554958936549625</c:v>
                </c:pt>
                <c:pt idx="123">
                  <c:v>95.652084029617853</c:v>
                </c:pt>
                <c:pt idx="124">
                  <c:v>95.609258819194096</c:v>
                </c:pt>
                <c:pt idx="125">
                  <c:v>95.417806062755858</c:v>
                </c:pt>
                <c:pt idx="126">
                  <c:v>95.417806062755858</c:v>
                </c:pt>
                <c:pt idx="127">
                  <c:v>95.417806062755858</c:v>
                </c:pt>
                <c:pt idx="128">
                  <c:v>95.367326972122115</c:v>
                </c:pt>
                <c:pt idx="129">
                  <c:v>95.262998238946096</c:v>
                </c:pt>
                <c:pt idx="130">
                  <c:v>95.337130627515165</c:v>
                </c:pt>
                <c:pt idx="131">
                  <c:v>94.869153889843133</c:v>
                </c:pt>
                <c:pt idx="132">
                  <c:v>94.977170199532409</c:v>
                </c:pt>
                <c:pt idx="133">
                  <c:v>94.977170199532409</c:v>
                </c:pt>
                <c:pt idx="134">
                  <c:v>94.977170199532409</c:v>
                </c:pt>
                <c:pt idx="135">
                  <c:v>95.04851510233712</c:v>
                </c:pt>
                <c:pt idx="136">
                  <c:v>95.396690125357438</c:v>
                </c:pt>
                <c:pt idx="137">
                  <c:v>95.14735206357328</c:v>
                </c:pt>
                <c:pt idx="138">
                  <c:v>95.475233570612573</c:v>
                </c:pt>
                <c:pt idx="139">
                  <c:v>95.463217301478849</c:v>
                </c:pt>
                <c:pt idx="140">
                  <c:v>95.463217301478849</c:v>
                </c:pt>
                <c:pt idx="141">
                  <c:v>95.463217301478849</c:v>
                </c:pt>
                <c:pt idx="142">
                  <c:v>95.612617564683902</c:v>
                </c:pt>
                <c:pt idx="143">
                  <c:v>95.62842659457651</c:v>
                </c:pt>
                <c:pt idx="144">
                  <c:v>95.475167899719722</c:v>
                </c:pt>
                <c:pt idx="145">
                  <c:v>95.571143719567345</c:v>
                </c:pt>
                <c:pt idx="146">
                  <c:v>95.606492970678133</c:v>
                </c:pt>
                <c:pt idx="147">
                  <c:v>95.606492970678133</c:v>
                </c:pt>
                <c:pt idx="148">
                  <c:v>95.606492970678133</c:v>
                </c:pt>
                <c:pt idx="149">
                  <c:v>95.668763293454774</c:v>
                </c:pt>
                <c:pt idx="150">
                  <c:v>95.483114733687316</c:v>
                </c:pt>
                <c:pt idx="151">
                  <c:v>95.274375595439182</c:v>
                </c:pt>
                <c:pt idx="152">
                  <c:v>95.398657053903491</c:v>
                </c:pt>
                <c:pt idx="153">
                  <c:v>95.441950012032947</c:v>
                </c:pt>
                <c:pt idx="154">
                  <c:v>95.441950012032947</c:v>
                </c:pt>
                <c:pt idx="155">
                  <c:v>95.441950012032947</c:v>
                </c:pt>
                <c:pt idx="156">
                  <c:v>95.267313468074548</c:v>
                </c:pt>
                <c:pt idx="157">
                  <c:v>95.195313410848854</c:v>
                </c:pt>
                <c:pt idx="158">
                  <c:v>95.545750531742897</c:v>
                </c:pt>
                <c:pt idx="159">
                  <c:v>94.945986414008232</c:v>
                </c:pt>
                <c:pt idx="160">
                  <c:v>94.786749275984889</c:v>
                </c:pt>
                <c:pt idx="161">
                  <c:v>94.786749275984889</c:v>
                </c:pt>
                <c:pt idx="162">
                  <c:v>94.786749275984889</c:v>
                </c:pt>
                <c:pt idx="163">
                  <c:v>94.588710221476632</c:v>
                </c:pt>
                <c:pt idx="164">
                  <c:v>94.728983086011354</c:v>
                </c:pt>
                <c:pt idx="165">
                  <c:v>94.792575084698484</c:v>
                </c:pt>
                <c:pt idx="166">
                  <c:v>94.983669399952305</c:v>
                </c:pt>
                <c:pt idx="167">
                  <c:v>94.923326057104774</c:v>
                </c:pt>
                <c:pt idx="168">
                  <c:v>94.923326057104774</c:v>
                </c:pt>
                <c:pt idx="169">
                  <c:v>94.923326057104774</c:v>
                </c:pt>
                <c:pt idx="170">
                  <c:v>95.042137177945776</c:v>
                </c:pt>
                <c:pt idx="171">
                  <c:v>95.200210144694012</c:v>
                </c:pt>
                <c:pt idx="172">
                  <c:v>95.175992550812111</c:v>
                </c:pt>
                <c:pt idx="173">
                  <c:v>95.153939806080871</c:v>
                </c:pt>
                <c:pt idx="174">
                  <c:v>95.103087839115602</c:v>
                </c:pt>
                <c:pt idx="175">
                  <c:v>95.103087839115602</c:v>
                </c:pt>
                <c:pt idx="176">
                  <c:v>95.103087839115602</c:v>
                </c:pt>
                <c:pt idx="177">
                  <c:v>95.262213693831768</c:v>
                </c:pt>
                <c:pt idx="178">
                  <c:v>95.041356266433013</c:v>
                </c:pt>
                <c:pt idx="179">
                  <c:v>94.842382600044886</c:v>
                </c:pt>
                <c:pt idx="180">
                  <c:v>94.943973165122927</c:v>
                </c:pt>
                <c:pt idx="181">
                  <c:v>94.851067028378964</c:v>
                </c:pt>
                <c:pt idx="182">
                  <c:v>94.851067028378964</c:v>
                </c:pt>
                <c:pt idx="183">
                  <c:v>94.851067028378964</c:v>
                </c:pt>
                <c:pt idx="184">
                  <c:v>94.825860654365854</c:v>
                </c:pt>
                <c:pt idx="185">
                  <c:v>94.694796445687629</c:v>
                </c:pt>
                <c:pt idx="186">
                  <c:v>94.292173544444523</c:v>
                </c:pt>
                <c:pt idx="187">
                  <c:v>94.433109483926359</c:v>
                </c:pt>
                <c:pt idx="188">
                  <c:v>94.631658102690054</c:v>
                </c:pt>
                <c:pt idx="189">
                  <c:v>94.631658102690054</c:v>
                </c:pt>
                <c:pt idx="190">
                  <c:v>94.631658102690054</c:v>
                </c:pt>
                <c:pt idx="191">
                  <c:v>94.460357286981747</c:v>
                </c:pt>
                <c:pt idx="192">
                  <c:v>94.480031746096628</c:v>
                </c:pt>
                <c:pt idx="193">
                  <c:v>94.542130729495909</c:v>
                </c:pt>
                <c:pt idx="194">
                  <c:v>94.426685406061452</c:v>
                </c:pt>
                <c:pt idx="195">
                  <c:v>94.392074672600174</c:v>
                </c:pt>
                <c:pt idx="196">
                  <c:v>94.392074672600174</c:v>
                </c:pt>
                <c:pt idx="197">
                  <c:v>94.392074672600174</c:v>
                </c:pt>
                <c:pt idx="198">
                  <c:v>94.811870096959439</c:v>
                </c:pt>
                <c:pt idx="199">
                  <c:v>95.119250262457527</c:v>
                </c:pt>
                <c:pt idx="200">
                  <c:v>95.239990284294223</c:v>
                </c:pt>
                <c:pt idx="201">
                  <c:v>95.151917728682108</c:v>
                </c:pt>
                <c:pt idx="202">
                  <c:v>95.083283327716302</c:v>
                </c:pt>
                <c:pt idx="203">
                  <c:v>95.083283327716302</c:v>
                </c:pt>
                <c:pt idx="204">
                  <c:v>95.083283327716302</c:v>
                </c:pt>
                <c:pt idx="205">
                  <c:v>95.142656407971657</c:v>
                </c:pt>
                <c:pt idx="206">
                  <c:v>94.841280957882901</c:v>
                </c:pt>
                <c:pt idx="207">
                  <c:v>95.022358040816812</c:v>
                </c:pt>
                <c:pt idx="208">
                  <c:v>95.112211112572936</c:v>
                </c:pt>
                <c:pt idx="209">
                  <c:v>95.152048182695026</c:v>
                </c:pt>
                <c:pt idx="210">
                  <c:v>95.152048182695026</c:v>
                </c:pt>
                <c:pt idx="211">
                  <c:v>95.152048182695026</c:v>
                </c:pt>
                <c:pt idx="212">
                  <c:v>95.341321601637489</c:v>
                </c:pt>
                <c:pt idx="213">
                  <c:v>95.119967271374179</c:v>
                </c:pt>
                <c:pt idx="214">
                  <c:v>95.216797492641248</c:v>
                </c:pt>
                <c:pt idx="215">
                  <c:v>95.881421636213403</c:v>
                </c:pt>
                <c:pt idx="216">
                  <c:v>96.025424883760991</c:v>
                </c:pt>
                <c:pt idx="217">
                  <c:v>96.025424883760991</c:v>
                </c:pt>
                <c:pt idx="218">
                  <c:v>96.025424883760991</c:v>
                </c:pt>
                <c:pt idx="219">
                  <c:v>96.461315333558943</c:v>
                </c:pt>
                <c:pt idx="220">
                  <c:v>96.557001297341642</c:v>
                </c:pt>
                <c:pt idx="221">
                  <c:v>96.779299049749213</c:v>
                </c:pt>
                <c:pt idx="222">
                  <c:v>97.045687806051205</c:v>
                </c:pt>
                <c:pt idx="223">
                  <c:v>97.146616462420241</c:v>
                </c:pt>
                <c:pt idx="224">
                  <c:v>97.146616462420241</c:v>
                </c:pt>
                <c:pt idx="225">
                  <c:v>97.146616462420241</c:v>
                </c:pt>
                <c:pt idx="226">
                  <c:v>97.214177808811456</c:v>
                </c:pt>
                <c:pt idx="227">
                  <c:v>97.525228643916861</c:v>
                </c:pt>
                <c:pt idx="228">
                  <c:v>97.701096837450791</c:v>
                </c:pt>
                <c:pt idx="229">
                  <c:v>97.876910297714829</c:v>
                </c:pt>
                <c:pt idx="230">
                  <c:v>98.018114207351573</c:v>
                </c:pt>
                <c:pt idx="231">
                  <c:v>98.018114207351573</c:v>
                </c:pt>
                <c:pt idx="232">
                  <c:v>98.018114207351573</c:v>
                </c:pt>
                <c:pt idx="233">
                  <c:v>98.027043842606957</c:v>
                </c:pt>
                <c:pt idx="234">
                  <c:v>98.197711271591203</c:v>
                </c:pt>
                <c:pt idx="235">
                  <c:v>98.321940853550501</c:v>
                </c:pt>
                <c:pt idx="236">
                  <c:v>98.391565910639031</c:v>
                </c:pt>
                <c:pt idx="237">
                  <c:v>98.567215603623481</c:v>
                </c:pt>
                <c:pt idx="238">
                  <c:v>98.567215603623481</c:v>
                </c:pt>
                <c:pt idx="239">
                  <c:v>98.567215603623481</c:v>
                </c:pt>
                <c:pt idx="240">
                  <c:v>98.879532465349087</c:v>
                </c:pt>
                <c:pt idx="241">
                  <c:v>98.769139251350836</c:v>
                </c:pt>
                <c:pt idx="242">
                  <c:v>98.878546348739746</c:v>
                </c:pt>
                <c:pt idx="243">
                  <c:v>98.61546462358649</c:v>
                </c:pt>
                <c:pt idx="244">
                  <c:v>98.677297951325983</c:v>
                </c:pt>
                <c:pt idx="245">
                  <c:v>98.677297951325983</c:v>
                </c:pt>
                <c:pt idx="246">
                  <c:v>98.677297951325983</c:v>
                </c:pt>
                <c:pt idx="247">
                  <c:v>98.887985700332422</c:v>
                </c:pt>
                <c:pt idx="248">
                  <c:v>98.821525929206047</c:v>
                </c:pt>
                <c:pt idx="249">
                  <c:v>98.873968207837109</c:v>
                </c:pt>
                <c:pt idx="250">
                  <c:v>98.692873658673847</c:v>
                </c:pt>
                <c:pt idx="251">
                  <c:v>98.56658566756083</c:v>
                </c:pt>
                <c:pt idx="252">
                  <c:v>98.56658566756083</c:v>
                </c:pt>
                <c:pt idx="253">
                  <c:v>98.56658566756083</c:v>
                </c:pt>
                <c:pt idx="254">
                  <c:v>98.749183647045172</c:v>
                </c:pt>
                <c:pt idx="255">
                  <c:v>98.347019604786681</c:v>
                </c:pt>
                <c:pt idx="256">
                  <c:v>98.576945638726755</c:v>
                </c:pt>
                <c:pt idx="257">
                  <c:v>98.843763107091931</c:v>
                </c:pt>
                <c:pt idx="258">
                  <c:v>98.843340788989195</c:v>
                </c:pt>
                <c:pt idx="259">
                  <c:v>98.843340788989195</c:v>
                </c:pt>
                <c:pt idx="260">
                  <c:v>98.843340788989195</c:v>
                </c:pt>
                <c:pt idx="261">
                  <c:v>98.894678869799421</c:v>
                </c:pt>
                <c:pt idx="262">
                  <c:v>98.708384089863316</c:v>
                </c:pt>
                <c:pt idx="263">
                  <c:v>98.552449220702414</c:v>
                </c:pt>
                <c:pt idx="264">
                  <c:v>98.654995365974216</c:v>
                </c:pt>
                <c:pt idx="265">
                  <c:v>98.550629972580168</c:v>
                </c:pt>
                <c:pt idx="266">
                  <c:v>98.550629972580168</c:v>
                </c:pt>
                <c:pt idx="267">
                  <c:v>98.550629972580168</c:v>
                </c:pt>
                <c:pt idx="268">
                  <c:v>98.744898460058664</c:v>
                </c:pt>
                <c:pt idx="269">
                  <c:v>98.145220364677058</c:v>
                </c:pt>
                <c:pt idx="270">
                  <c:v>97.565535831643373</c:v>
                </c:pt>
                <c:pt idx="271">
                  <c:v>98.755014908658993</c:v>
                </c:pt>
                <c:pt idx="272">
                  <c:v>98.525517218861168</c:v>
                </c:pt>
                <c:pt idx="273">
                  <c:v>98.525517218861168</c:v>
                </c:pt>
                <c:pt idx="274">
                  <c:v>98.525517218861168</c:v>
                </c:pt>
                <c:pt idx="275">
                  <c:v>98.821807349945658</c:v>
                </c:pt>
                <c:pt idx="276">
                  <c:v>99.00796594501432</c:v>
                </c:pt>
                <c:pt idx="277">
                  <c:v>98.868122890328664</c:v>
                </c:pt>
                <c:pt idx="278">
                  <c:v>98.874320357470651</c:v>
                </c:pt>
                <c:pt idx="279">
                  <c:v>98.677227801604673</c:v>
                </c:pt>
                <c:pt idx="280">
                  <c:v>98.677227801604673</c:v>
                </c:pt>
                <c:pt idx="281">
                  <c:v>98.677227801604673</c:v>
                </c:pt>
                <c:pt idx="282">
                  <c:v>98.853125418398307</c:v>
                </c:pt>
                <c:pt idx="283">
                  <c:v>98.858968962616743</c:v>
                </c:pt>
                <c:pt idx="284">
                  <c:v>98.655556313682581</c:v>
                </c:pt>
                <c:pt idx="285">
                  <c:v>99.062373768732073</c:v>
                </c:pt>
                <c:pt idx="286">
                  <c:v>98.781299259527998</c:v>
                </c:pt>
                <c:pt idx="287">
                  <c:v>98.781299259527998</c:v>
                </c:pt>
                <c:pt idx="288">
                  <c:v>98.781299259527998</c:v>
                </c:pt>
                <c:pt idx="289">
                  <c:v>98.956369114114864</c:v>
                </c:pt>
                <c:pt idx="290">
                  <c:v>98.994338025376393</c:v>
                </c:pt>
                <c:pt idx="291">
                  <c:v>98.811958577653243</c:v>
                </c:pt>
                <c:pt idx="292">
                  <c:v>98.896933615096515</c:v>
                </c:pt>
                <c:pt idx="293">
                  <c:v>98.784673665272351</c:v>
                </c:pt>
                <c:pt idx="294">
                  <c:v>98.784673665272351</c:v>
                </c:pt>
                <c:pt idx="295">
                  <c:v>98.784673665272351</c:v>
                </c:pt>
                <c:pt idx="296">
                  <c:v>98.999633403371689</c:v>
                </c:pt>
                <c:pt idx="297">
                  <c:v>98.976620279917583</c:v>
                </c:pt>
                <c:pt idx="298">
                  <c:v>99.01298026887838</c:v>
                </c:pt>
                <c:pt idx="299">
                  <c:v>98.683611834696308</c:v>
                </c:pt>
                <c:pt idx="300">
                  <c:v>98.960954889158387</c:v>
                </c:pt>
                <c:pt idx="301">
                  <c:v>98.960954889158387</c:v>
                </c:pt>
                <c:pt idx="302">
                  <c:v>98.960954889158387</c:v>
                </c:pt>
                <c:pt idx="303">
                  <c:v>98.823988415025568</c:v>
                </c:pt>
                <c:pt idx="304">
                  <c:v>98.701856481757858</c:v>
                </c:pt>
                <c:pt idx="305">
                  <c:v>98.646862340984839</c:v>
                </c:pt>
                <c:pt idx="306">
                  <c:v>98.815897850989359</c:v>
                </c:pt>
                <c:pt idx="307">
                  <c:v>99.200782137198345</c:v>
                </c:pt>
                <c:pt idx="308">
                  <c:v>99.200782137198345</c:v>
                </c:pt>
                <c:pt idx="309">
                  <c:v>99.200782137198345</c:v>
                </c:pt>
                <c:pt idx="310">
                  <c:v>98.984243074254792</c:v>
                </c:pt>
                <c:pt idx="311">
                  <c:v>99.054880311481156</c:v>
                </c:pt>
                <c:pt idx="312">
                  <c:v>98.817164112694968</c:v>
                </c:pt>
                <c:pt idx="313">
                  <c:v>99.462652600140729</c:v>
                </c:pt>
                <c:pt idx="314">
                  <c:v>99.820144531595389</c:v>
                </c:pt>
                <c:pt idx="315">
                  <c:v>99.820144531595389</c:v>
                </c:pt>
                <c:pt idx="316">
                  <c:v>99.820144531595389</c:v>
                </c:pt>
                <c:pt idx="317">
                  <c:v>99.848722775674375</c:v>
                </c:pt>
                <c:pt idx="318">
                  <c:v>99.997694677297915</c:v>
                </c:pt>
                <c:pt idx="319">
                  <c:v>100.26176724673428</c:v>
                </c:pt>
                <c:pt idx="320">
                  <c:v>100.09742491034517</c:v>
                </c:pt>
                <c:pt idx="321">
                  <c:v>99.891189517347669</c:v>
                </c:pt>
                <c:pt idx="322">
                  <c:v>99.891189517347669</c:v>
                </c:pt>
                <c:pt idx="323">
                  <c:v>99.891189517347669</c:v>
                </c:pt>
                <c:pt idx="324">
                  <c:v>99.527051832136266</c:v>
                </c:pt>
                <c:pt idx="325">
                  <c:v>99.808875703053985</c:v>
                </c:pt>
                <c:pt idx="326">
                  <c:v>100.06091341284505</c:v>
                </c:pt>
                <c:pt idx="327">
                  <c:v>100.27400783230391</c:v>
                </c:pt>
                <c:pt idx="328">
                  <c:v>100.26524355888657</c:v>
                </c:pt>
                <c:pt idx="329">
                  <c:v>100.26524355888657</c:v>
                </c:pt>
                <c:pt idx="330">
                  <c:v>100.26524355888657</c:v>
                </c:pt>
                <c:pt idx="331">
                  <c:v>100.36812104971251</c:v>
                </c:pt>
                <c:pt idx="332">
                  <c:v>100.06848771907048</c:v>
                </c:pt>
                <c:pt idx="333">
                  <c:v>100.21992557475944</c:v>
                </c:pt>
                <c:pt idx="334">
                  <c:v>100.53626681809217</c:v>
                </c:pt>
                <c:pt idx="335">
                  <c:v>100.48481101636563</c:v>
                </c:pt>
                <c:pt idx="336">
                  <c:v>100.48481101636563</c:v>
                </c:pt>
                <c:pt idx="337">
                  <c:v>100.48481101636563</c:v>
                </c:pt>
                <c:pt idx="338">
                  <c:v>100.52949522324467</c:v>
                </c:pt>
                <c:pt idx="339">
                  <c:v>100.51915755841688</c:v>
                </c:pt>
                <c:pt idx="340">
                  <c:v>100.47564620492805</c:v>
                </c:pt>
                <c:pt idx="341">
                  <c:v>100.51500853037177</c:v>
                </c:pt>
                <c:pt idx="342">
                  <c:v>100.49856136880642</c:v>
                </c:pt>
                <c:pt idx="343">
                  <c:v>100.49856136880642</c:v>
                </c:pt>
                <c:pt idx="344">
                  <c:v>100.49856136880642</c:v>
                </c:pt>
                <c:pt idx="345">
                  <c:v>100.60447047226961</c:v>
                </c:pt>
                <c:pt idx="346">
                  <c:v>100.75804813674618</c:v>
                </c:pt>
                <c:pt idx="347">
                  <c:v>101.03123098467702</c:v>
                </c:pt>
                <c:pt idx="348">
                  <c:v>101.02358376589152</c:v>
                </c:pt>
                <c:pt idx="349">
                  <c:v>100.95914313540223</c:v>
                </c:pt>
                <c:pt idx="350">
                  <c:v>100.95914313540223</c:v>
                </c:pt>
                <c:pt idx="351">
                  <c:v>100.95914313540223</c:v>
                </c:pt>
                <c:pt idx="352">
                  <c:v>100.93462293312925</c:v>
                </c:pt>
                <c:pt idx="353">
                  <c:v>100.95906970384186</c:v>
                </c:pt>
                <c:pt idx="354">
                  <c:v>100.95561854099245</c:v>
                </c:pt>
                <c:pt idx="355">
                  <c:v>100.81520239157014</c:v>
                </c:pt>
                <c:pt idx="356">
                  <c:v>100.98301405261938</c:v>
                </c:pt>
                <c:pt idx="357">
                  <c:v>100.98301405261938</c:v>
                </c:pt>
                <c:pt idx="358">
                  <c:v>100.98301405261938</c:v>
                </c:pt>
                <c:pt idx="359">
                  <c:v>101.03439315383268</c:v>
                </c:pt>
                <c:pt idx="360">
                  <c:v>100.9963132118276</c:v>
                </c:pt>
                <c:pt idx="361">
                  <c:v>101.04380729420302</c:v>
                </c:pt>
                <c:pt idx="362">
                  <c:v>101.02108396468772</c:v>
                </c:pt>
                <c:pt idx="363">
                  <c:v>101.05800537011248</c:v>
                </c:pt>
                <c:pt idx="364">
                  <c:v>101.05800537011248</c:v>
                </c:pt>
                <c:pt idx="365">
                  <c:v>101.05800537011248</c:v>
                </c:pt>
                <c:pt idx="366">
                  <c:v>101.00292735743948</c:v>
                </c:pt>
                <c:pt idx="367">
                  <c:v>101.00145747243852</c:v>
                </c:pt>
                <c:pt idx="368">
                  <c:v>101.149026592008</c:v>
                </c:pt>
                <c:pt idx="369">
                  <c:v>100.75856011498162</c:v>
                </c:pt>
                <c:pt idx="370">
                  <c:v>101.06639367299287</c:v>
                </c:pt>
                <c:pt idx="371">
                  <c:v>101.06639367299287</c:v>
                </c:pt>
                <c:pt idx="372">
                  <c:v>101.06639367299287</c:v>
                </c:pt>
                <c:pt idx="373">
                  <c:v>101.37559568368955</c:v>
                </c:pt>
                <c:pt idx="374">
                  <c:v>101.56103093160645</c:v>
                </c:pt>
                <c:pt idx="375">
                  <c:v>101.65519433391985</c:v>
                </c:pt>
                <c:pt idx="376">
                  <c:v>101.70949565115433</c:v>
                </c:pt>
                <c:pt idx="377">
                  <c:v>101.73469208262718</c:v>
                </c:pt>
                <c:pt idx="378">
                  <c:v>101.73469208262718</c:v>
                </c:pt>
                <c:pt idx="379">
                  <c:v>101.73469208262718</c:v>
                </c:pt>
                <c:pt idx="380">
                  <c:v>101.7358105567595</c:v>
                </c:pt>
                <c:pt idx="381">
                  <c:v>101.97400803708508</c:v>
                </c:pt>
                <c:pt idx="382">
                  <c:v>102.02812561559688</c:v>
                </c:pt>
                <c:pt idx="383">
                  <c:v>102.01890208005186</c:v>
                </c:pt>
                <c:pt idx="384">
                  <c:v>102.03945109853061</c:v>
                </c:pt>
                <c:pt idx="385">
                  <c:v>102.03945109853061</c:v>
                </c:pt>
                <c:pt idx="386">
                  <c:v>102.03945109853061</c:v>
                </c:pt>
                <c:pt idx="387">
                  <c:v>102.18691151202107</c:v>
                </c:pt>
                <c:pt idx="388">
                  <c:v>102.19804654080444</c:v>
                </c:pt>
                <c:pt idx="389">
                  <c:v>102.28532983750735</c:v>
                </c:pt>
                <c:pt idx="390">
                  <c:v>102.32061678678487</c:v>
                </c:pt>
                <c:pt idx="391">
                  <c:v>102.33268628646447</c:v>
                </c:pt>
                <c:pt idx="392">
                  <c:v>102.33268628646447</c:v>
                </c:pt>
                <c:pt idx="393">
                  <c:v>102.33268628646447</c:v>
                </c:pt>
                <c:pt idx="394">
                  <c:v>102.24991657563025</c:v>
                </c:pt>
                <c:pt idx="395">
                  <c:v>102.12165488786955</c:v>
                </c:pt>
                <c:pt idx="396">
                  <c:v>102.38220101890953</c:v>
                </c:pt>
                <c:pt idx="397">
                  <c:v>102.48402263410935</c:v>
                </c:pt>
                <c:pt idx="398">
                  <c:v>102.41513671608389</c:v>
                </c:pt>
                <c:pt idx="399">
                  <c:v>102.41513671608389</c:v>
                </c:pt>
                <c:pt idx="400">
                  <c:v>102.41513671608389</c:v>
                </c:pt>
                <c:pt idx="401">
                  <c:v>102.10219929517208</c:v>
                </c:pt>
                <c:pt idx="402">
                  <c:v>101.5735908371116</c:v>
                </c:pt>
                <c:pt idx="403">
                  <c:v>101.67001157288711</c:v>
                </c:pt>
                <c:pt idx="404">
                  <c:v>101.82081191985542</c:v>
                </c:pt>
                <c:pt idx="405">
                  <c:v>101.6907182658818</c:v>
                </c:pt>
                <c:pt idx="406">
                  <c:v>101.6907182658818</c:v>
                </c:pt>
                <c:pt idx="407">
                  <c:v>101.6907182658818</c:v>
                </c:pt>
                <c:pt idx="408">
                  <c:v>101.49812953175397</c:v>
                </c:pt>
                <c:pt idx="409">
                  <c:v>101.67366070153248</c:v>
                </c:pt>
                <c:pt idx="410">
                  <c:v>101.541714064163</c:v>
                </c:pt>
                <c:pt idx="411">
                  <c:v>101.46096005110827</c:v>
                </c:pt>
                <c:pt idx="412">
                  <c:v>101.40129361418612</c:v>
                </c:pt>
                <c:pt idx="413">
                  <c:v>101.40129361418612</c:v>
                </c:pt>
                <c:pt idx="414">
                  <c:v>101.40129361418612</c:v>
                </c:pt>
                <c:pt idx="415">
                  <c:v>101.37241212092876</c:v>
                </c:pt>
                <c:pt idx="416">
                  <c:v>101.2617781033058</c:v>
                </c:pt>
                <c:pt idx="417">
                  <c:v>101.33873783239376</c:v>
                </c:pt>
                <c:pt idx="418">
                  <c:v>101.44679681698844</c:v>
                </c:pt>
                <c:pt idx="419">
                  <c:v>101.46578090186597</c:v>
                </c:pt>
                <c:pt idx="420">
                  <c:v>101.46578090186597</c:v>
                </c:pt>
                <c:pt idx="421">
                  <c:v>101.46578090186597</c:v>
                </c:pt>
                <c:pt idx="422">
                  <c:v>101.59871997001933</c:v>
                </c:pt>
                <c:pt idx="423">
                  <c:v>101.67738457222255</c:v>
                </c:pt>
                <c:pt idx="424">
                  <c:v>101.81289535142996</c:v>
                </c:pt>
                <c:pt idx="425">
                  <c:v>101.67649081837973</c:v>
                </c:pt>
                <c:pt idx="426">
                  <c:v>101.68520558863513</c:v>
                </c:pt>
                <c:pt idx="427">
                  <c:v>101.68520558863513</c:v>
                </c:pt>
                <c:pt idx="428">
                  <c:v>101.68520558863513</c:v>
                </c:pt>
                <c:pt idx="429">
                  <c:v>101.8494263879869</c:v>
                </c:pt>
                <c:pt idx="430">
                  <c:v>101.49664519827544</c:v>
                </c:pt>
                <c:pt idx="431">
                  <c:v>101.37892753326801</c:v>
                </c:pt>
                <c:pt idx="432">
                  <c:v>101.54520541531504</c:v>
                </c:pt>
                <c:pt idx="433">
                  <c:v>101.62765617072115</c:v>
                </c:pt>
                <c:pt idx="434">
                  <c:v>101.62765617072115</c:v>
                </c:pt>
                <c:pt idx="435">
                  <c:v>101.62765617072115</c:v>
                </c:pt>
                <c:pt idx="436">
                  <c:v>102.04425206193253</c:v>
                </c:pt>
                <c:pt idx="437">
                  <c:v>102.20737775774946</c:v>
                </c:pt>
                <c:pt idx="438">
                  <c:v>101.61664508260381</c:v>
                </c:pt>
                <c:pt idx="439">
                  <c:v>101.73223152610068</c:v>
                </c:pt>
                <c:pt idx="440">
                  <c:v>102.10009643187351</c:v>
                </c:pt>
                <c:pt idx="441">
                  <c:v>102.10009643187351</c:v>
                </c:pt>
                <c:pt idx="442">
                  <c:v>102.10009643187351</c:v>
                </c:pt>
                <c:pt idx="443">
                  <c:v>102.19022167251946</c:v>
                </c:pt>
                <c:pt idx="444">
                  <c:v>102.53413840328442</c:v>
                </c:pt>
                <c:pt idx="445">
                  <c:v>102.55375897214242</c:v>
                </c:pt>
                <c:pt idx="446">
                  <c:v>102.31767527778631</c:v>
                </c:pt>
                <c:pt idx="447">
                  <c:v>102.22295866703482</c:v>
                </c:pt>
                <c:pt idx="448">
                  <c:v>102.22295866703482</c:v>
                </c:pt>
                <c:pt idx="449">
                  <c:v>102.22295866703482</c:v>
                </c:pt>
                <c:pt idx="450">
                  <c:v>102.36302347241951</c:v>
                </c:pt>
                <c:pt idx="451">
                  <c:v>102.30674038133402</c:v>
                </c:pt>
                <c:pt idx="452">
                  <c:v>102.53474433165447</c:v>
                </c:pt>
                <c:pt idx="453">
                  <c:v>102.63504835395426</c:v>
                </c:pt>
                <c:pt idx="454">
                  <c:v>102.19270443363165</c:v>
                </c:pt>
                <c:pt idx="455">
                  <c:v>102.19270443363165</c:v>
                </c:pt>
                <c:pt idx="456">
                  <c:v>102.19270443363165</c:v>
                </c:pt>
                <c:pt idx="457">
                  <c:v>102.35577713656596</c:v>
                </c:pt>
                <c:pt idx="458">
                  <c:v>102.66640039644668</c:v>
                </c:pt>
                <c:pt idx="459">
                  <c:v>102.62912929454386</c:v>
                </c:pt>
                <c:pt idx="460">
                  <c:v>102.64354871031874</c:v>
                </c:pt>
                <c:pt idx="461">
                  <c:v>102.58331762871312</c:v>
                </c:pt>
                <c:pt idx="462">
                  <c:v>102.58331762871312</c:v>
                </c:pt>
                <c:pt idx="463">
                  <c:v>102.58331762871312</c:v>
                </c:pt>
                <c:pt idx="464">
                  <c:v>102.4226181867552</c:v>
                </c:pt>
                <c:pt idx="465">
                  <c:v>102.50044491245367</c:v>
                </c:pt>
                <c:pt idx="466">
                  <c:v>102.71502253268896</c:v>
                </c:pt>
                <c:pt idx="467">
                  <c:v>102.88541076781212</c:v>
                </c:pt>
                <c:pt idx="468">
                  <c:v>102.6647298288797</c:v>
                </c:pt>
                <c:pt idx="469">
                  <c:v>102.6647298288797</c:v>
                </c:pt>
                <c:pt idx="470">
                  <c:v>102.6647298288797</c:v>
                </c:pt>
                <c:pt idx="471">
                  <c:v>102.51399536195913</c:v>
                </c:pt>
                <c:pt idx="472">
                  <c:v>102.65615004307962</c:v>
                </c:pt>
                <c:pt idx="473">
                  <c:v>102.5499706326719</c:v>
                </c:pt>
                <c:pt idx="474">
                  <c:v>102.60864551354213</c:v>
                </c:pt>
                <c:pt idx="475">
                  <c:v>102.62943281944426</c:v>
                </c:pt>
                <c:pt idx="476">
                  <c:v>102.62943281944426</c:v>
                </c:pt>
                <c:pt idx="477">
                  <c:v>102.62943281944426</c:v>
                </c:pt>
                <c:pt idx="478">
                  <c:v>102.51490390012458</c:v>
                </c:pt>
                <c:pt idx="479">
                  <c:v>102.72209176948908</c:v>
                </c:pt>
                <c:pt idx="480">
                  <c:v>102.63299937151088</c:v>
                </c:pt>
                <c:pt idx="481">
                  <c:v>102.82116335487686</c:v>
                </c:pt>
                <c:pt idx="482">
                  <c:v>102.75326882661275</c:v>
                </c:pt>
                <c:pt idx="483">
                  <c:v>102.75326882661275</c:v>
                </c:pt>
                <c:pt idx="484">
                  <c:v>102.75326882661275</c:v>
                </c:pt>
                <c:pt idx="485">
                  <c:v>102.51619102342622</c:v>
                </c:pt>
                <c:pt idx="486">
                  <c:v>102.58635024924887</c:v>
                </c:pt>
                <c:pt idx="487">
                  <c:v>102.6097074345207</c:v>
                </c:pt>
                <c:pt idx="488">
                  <c:v>102.804638155166</c:v>
                </c:pt>
                <c:pt idx="489">
                  <c:v>102.87587909493884</c:v>
                </c:pt>
                <c:pt idx="490">
                  <c:v>102.87587909493884</c:v>
                </c:pt>
                <c:pt idx="491">
                  <c:v>102.87587909493884</c:v>
                </c:pt>
                <c:pt idx="492">
                  <c:v>102.67019734311658</c:v>
                </c:pt>
                <c:pt idx="493">
                  <c:v>102.68295714133527</c:v>
                </c:pt>
                <c:pt idx="494">
                  <c:v>102.62351440770375</c:v>
                </c:pt>
                <c:pt idx="495">
                  <c:v>102.51301113045243</c:v>
                </c:pt>
                <c:pt idx="496">
                  <c:v>102.20414173953053</c:v>
                </c:pt>
                <c:pt idx="497">
                  <c:v>102.20414173953053</c:v>
                </c:pt>
                <c:pt idx="498">
                  <c:v>102.20414173953053</c:v>
                </c:pt>
                <c:pt idx="499">
                  <c:v>102.24780762331996</c:v>
                </c:pt>
                <c:pt idx="500">
                  <c:v>102.23492983805149</c:v>
                </c:pt>
                <c:pt idx="501">
                  <c:v>102.13149818518401</c:v>
                </c:pt>
                <c:pt idx="502">
                  <c:v>101.87745875168805</c:v>
                </c:pt>
                <c:pt idx="503">
                  <c:v>102.06398576460116</c:v>
                </c:pt>
                <c:pt idx="504">
                  <c:v>102.06398576460116</c:v>
                </c:pt>
                <c:pt idx="505">
                  <c:v>102.06398576460116</c:v>
                </c:pt>
                <c:pt idx="506">
                  <c:v>101.80400934972192</c:v>
                </c:pt>
                <c:pt idx="507">
                  <c:v>101.89346280388699</c:v>
                </c:pt>
                <c:pt idx="508">
                  <c:v>101.63576721436306</c:v>
                </c:pt>
                <c:pt idx="509">
                  <c:v>101.52983041301393</c:v>
                </c:pt>
                <c:pt idx="510">
                  <c:v>101.72216685231862</c:v>
                </c:pt>
                <c:pt idx="511">
                  <c:v>101.72216685231862</c:v>
                </c:pt>
                <c:pt idx="512">
                  <c:v>101.72216685231862</c:v>
                </c:pt>
                <c:pt idx="513">
                  <c:v>101.64655914175339</c:v>
                </c:pt>
                <c:pt idx="514">
                  <c:v>101.54334828375009</c:v>
                </c:pt>
                <c:pt idx="515">
                  <c:v>101.68736589093101</c:v>
                </c:pt>
                <c:pt idx="516">
                  <c:v>101.93776190189419</c:v>
                </c:pt>
                <c:pt idx="517">
                  <c:v>101.89825003927454</c:v>
                </c:pt>
                <c:pt idx="518">
                  <c:v>101.89825003927454</c:v>
                </c:pt>
                <c:pt idx="519">
                  <c:v>101.89825003927454</c:v>
                </c:pt>
                <c:pt idx="520">
                  <c:v>101.87177627928679</c:v>
                </c:pt>
                <c:pt idx="521">
                  <c:v>101.73036754736331</c:v>
                </c:pt>
                <c:pt idx="522">
                  <c:v>101.8467360926148</c:v>
                </c:pt>
                <c:pt idx="523">
                  <c:v>101.87072957719595</c:v>
                </c:pt>
                <c:pt idx="524">
                  <c:v>102.07839693836868</c:v>
                </c:pt>
                <c:pt idx="525">
                  <c:v>102.07839693836868</c:v>
                </c:pt>
                <c:pt idx="526">
                  <c:v>102.07839693836868</c:v>
                </c:pt>
                <c:pt idx="527">
                  <c:v>102.09431400441009</c:v>
                </c:pt>
                <c:pt idx="528">
                  <c:v>102.0417765087635</c:v>
                </c:pt>
                <c:pt idx="529">
                  <c:v>102.30937962509796</c:v>
                </c:pt>
                <c:pt idx="530">
                  <c:v>102.48689804471121</c:v>
                </c:pt>
                <c:pt idx="531">
                  <c:v>102.64248608877297</c:v>
                </c:pt>
                <c:pt idx="532">
                  <c:v>102.64248608877297</c:v>
                </c:pt>
                <c:pt idx="533">
                  <c:v>102.64248608877297</c:v>
                </c:pt>
                <c:pt idx="534">
                  <c:v>102.66222407946354</c:v>
                </c:pt>
                <c:pt idx="535">
                  <c:v>102.56353418070194</c:v>
                </c:pt>
                <c:pt idx="536">
                  <c:v>102.43607246965045</c:v>
                </c:pt>
                <c:pt idx="537">
                  <c:v>102.77282116969359</c:v>
                </c:pt>
                <c:pt idx="538">
                  <c:v>102.58559207730529</c:v>
                </c:pt>
                <c:pt idx="539">
                  <c:v>102.58559207730529</c:v>
                </c:pt>
                <c:pt idx="540">
                  <c:v>102.58559207730529</c:v>
                </c:pt>
                <c:pt idx="541">
                  <c:v>102.37880289834537</c:v>
                </c:pt>
                <c:pt idx="542">
                  <c:v>102.73022639638229</c:v>
                </c:pt>
                <c:pt idx="543">
                  <c:v>102.594539220389</c:v>
                </c:pt>
                <c:pt idx="544">
                  <c:v>102.52785231900135</c:v>
                </c:pt>
                <c:pt idx="545">
                  <c:v>102.45845371189148</c:v>
                </c:pt>
                <c:pt idx="546">
                  <c:v>102.45845371189148</c:v>
                </c:pt>
                <c:pt idx="547">
                  <c:v>102.45845371189148</c:v>
                </c:pt>
                <c:pt idx="548">
                  <c:v>102.48788177485379</c:v>
                </c:pt>
                <c:pt idx="549">
                  <c:v>102.45686553117666</c:v>
                </c:pt>
                <c:pt idx="550">
                  <c:v>102.43864279093373</c:v>
                </c:pt>
                <c:pt idx="551">
                  <c:v>102.47948284059656</c:v>
                </c:pt>
                <c:pt idx="552">
                  <c:v>102.62032785333902</c:v>
                </c:pt>
                <c:pt idx="553">
                  <c:v>102.62032785333902</c:v>
                </c:pt>
                <c:pt idx="554">
                  <c:v>102.62032785333902</c:v>
                </c:pt>
                <c:pt idx="555">
                  <c:v>102.85697348286953</c:v>
                </c:pt>
                <c:pt idx="556">
                  <c:v>102.76262563446505</c:v>
                </c:pt>
                <c:pt idx="557">
                  <c:v>103.03471629934289</c:v>
                </c:pt>
                <c:pt idx="558">
                  <c:v>103.41962935947413</c:v>
                </c:pt>
                <c:pt idx="559">
                  <c:v>103.53518589655125</c:v>
                </c:pt>
                <c:pt idx="560">
                  <c:v>103.53518589655125</c:v>
                </c:pt>
                <c:pt idx="561">
                  <c:v>103.53518589655125</c:v>
                </c:pt>
                <c:pt idx="562">
                  <c:v>103.54406773339291</c:v>
                </c:pt>
                <c:pt idx="563">
                  <c:v>103.34363250567685</c:v>
                </c:pt>
                <c:pt idx="564">
                  <c:v>103.50121727978038</c:v>
                </c:pt>
                <c:pt idx="565">
                  <c:v>103.2449342994895</c:v>
                </c:pt>
                <c:pt idx="566">
                  <c:v>103.25829824587495</c:v>
                </c:pt>
                <c:pt idx="567">
                  <c:v>103.25829824587495</c:v>
                </c:pt>
                <c:pt idx="568">
                  <c:v>103.25829824587495</c:v>
                </c:pt>
                <c:pt idx="569">
                  <c:v>103.08552535326422</c:v>
                </c:pt>
                <c:pt idx="570">
                  <c:v>102.9523346844624</c:v>
                </c:pt>
                <c:pt idx="571">
                  <c:v>103.05246316664739</c:v>
                </c:pt>
                <c:pt idx="572">
                  <c:v>102.63299937151085</c:v>
                </c:pt>
                <c:pt idx="573">
                  <c:v>102.67938711636508</c:v>
                </c:pt>
                <c:pt idx="574">
                  <c:v>102.67938711636508</c:v>
                </c:pt>
                <c:pt idx="575">
                  <c:v>102.67938711636508</c:v>
                </c:pt>
                <c:pt idx="576">
                  <c:v>102.69199725081425</c:v>
                </c:pt>
                <c:pt idx="577">
                  <c:v>102.36649603863198</c:v>
                </c:pt>
                <c:pt idx="578">
                  <c:v>102.48508197713814</c:v>
                </c:pt>
                <c:pt idx="579">
                  <c:v>102.37223383816583</c:v>
                </c:pt>
                <c:pt idx="580">
                  <c:v>102.54648560754308</c:v>
                </c:pt>
                <c:pt idx="581">
                  <c:v>102.54648560754308</c:v>
                </c:pt>
                <c:pt idx="582">
                  <c:v>102.54648560754308</c:v>
                </c:pt>
                <c:pt idx="583">
                  <c:v>102.54345534344282</c:v>
                </c:pt>
                <c:pt idx="584">
                  <c:v>102.38544832266238</c:v>
                </c:pt>
                <c:pt idx="585">
                  <c:v>102.42919371489745</c:v>
                </c:pt>
                <c:pt idx="586">
                  <c:v>102.59810334759879</c:v>
                </c:pt>
                <c:pt idx="587">
                  <c:v>102.35102228619286</c:v>
                </c:pt>
                <c:pt idx="588">
                  <c:v>102.35102228619286</c:v>
                </c:pt>
                <c:pt idx="589">
                  <c:v>102.35102228619286</c:v>
                </c:pt>
                <c:pt idx="590">
                  <c:v>102.25782592168031</c:v>
                </c:pt>
                <c:pt idx="591">
                  <c:v>102.14810835473585</c:v>
                </c:pt>
                <c:pt idx="592">
                  <c:v>102.19360728576521</c:v>
                </c:pt>
                <c:pt idx="593">
                  <c:v>102.04357689915614</c:v>
                </c:pt>
                <c:pt idx="594">
                  <c:v>102.17735838778746</c:v>
                </c:pt>
                <c:pt idx="595">
                  <c:v>102.17735838778746</c:v>
                </c:pt>
                <c:pt idx="596">
                  <c:v>102.17735838778746</c:v>
                </c:pt>
                <c:pt idx="597">
                  <c:v>102.12834211221411</c:v>
                </c:pt>
                <c:pt idx="598">
                  <c:v>101.98374796114787</c:v>
                </c:pt>
                <c:pt idx="599">
                  <c:v>101.96576801586713</c:v>
                </c:pt>
                <c:pt idx="600">
                  <c:v>101.84344814683013</c:v>
                </c:pt>
                <c:pt idx="601">
                  <c:v>101.81655474420424</c:v>
                </c:pt>
                <c:pt idx="602">
                  <c:v>101.81655474420424</c:v>
                </c:pt>
                <c:pt idx="603">
                  <c:v>101.81655474420424</c:v>
                </c:pt>
                <c:pt idx="604">
                  <c:v>101.78445067737256</c:v>
                </c:pt>
                <c:pt idx="605">
                  <c:v>101.87798216918787</c:v>
                </c:pt>
                <c:pt idx="606">
                  <c:v>102.2142267511345</c:v>
                </c:pt>
                <c:pt idx="607">
                  <c:v>101.92159425504256</c:v>
                </c:pt>
                <c:pt idx="608">
                  <c:v>101.89047101018411</c:v>
                </c:pt>
                <c:pt idx="609">
                  <c:v>101.89047101018411</c:v>
                </c:pt>
                <c:pt idx="610">
                  <c:v>101.89047101018411</c:v>
                </c:pt>
                <c:pt idx="611">
                  <c:v>101.77288324486017</c:v>
                </c:pt>
                <c:pt idx="612">
                  <c:v>101.53280106502419</c:v>
                </c:pt>
                <c:pt idx="613">
                  <c:v>101.54171406416303</c:v>
                </c:pt>
                <c:pt idx="614">
                  <c:v>101.3821115052766</c:v>
                </c:pt>
                <c:pt idx="615">
                  <c:v>101.39618261335164</c:v>
                </c:pt>
                <c:pt idx="616">
                  <c:v>101.39618261335164</c:v>
                </c:pt>
                <c:pt idx="617">
                  <c:v>101.39618261335164</c:v>
                </c:pt>
                <c:pt idx="618">
                  <c:v>101.52567179222359</c:v>
                </c:pt>
                <c:pt idx="619">
                  <c:v>101.23098263467762</c:v>
                </c:pt>
                <c:pt idx="620">
                  <c:v>101.45732617412766</c:v>
                </c:pt>
                <c:pt idx="621">
                  <c:v>101.26074389872019</c:v>
                </c:pt>
                <c:pt idx="622">
                  <c:v>101.3830000912991</c:v>
                </c:pt>
                <c:pt idx="623">
                  <c:v>101.3830000912991</c:v>
                </c:pt>
                <c:pt idx="624">
                  <c:v>101.3830000912991</c:v>
                </c:pt>
                <c:pt idx="625">
                  <c:v>101.44753824947698</c:v>
                </c:pt>
                <c:pt idx="626">
                  <c:v>101.27411631573678</c:v>
                </c:pt>
                <c:pt idx="627">
                  <c:v>101.37485530241331</c:v>
                </c:pt>
                <c:pt idx="628">
                  <c:v>101.23364049754029</c:v>
                </c:pt>
                <c:pt idx="629">
                  <c:v>101.23105646231703</c:v>
                </c:pt>
                <c:pt idx="630">
                  <c:v>101.23105646231703</c:v>
                </c:pt>
                <c:pt idx="631">
                  <c:v>101.23105646231703</c:v>
                </c:pt>
                <c:pt idx="632">
                  <c:v>101.03248112091703</c:v>
                </c:pt>
                <c:pt idx="633">
                  <c:v>101.13222393844887</c:v>
                </c:pt>
                <c:pt idx="634">
                  <c:v>101.10909257783523</c:v>
                </c:pt>
                <c:pt idx="635">
                  <c:v>101.04307175131073</c:v>
                </c:pt>
                <c:pt idx="636">
                  <c:v>101.12338267863376</c:v>
                </c:pt>
                <c:pt idx="637">
                  <c:v>101.12338267863376</c:v>
                </c:pt>
                <c:pt idx="638">
                  <c:v>101.12338267863376</c:v>
                </c:pt>
                <c:pt idx="639">
                  <c:v>100.82787145437906</c:v>
                </c:pt>
                <c:pt idx="640">
                  <c:v>100.84984847747276</c:v>
                </c:pt>
                <c:pt idx="641">
                  <c:v>100.93476972524086</c:v>
                </c:pt>
                <c:pt idx="642">
                  <c:v>100.86479832635607</c:v>
                </c:pt>
                <c:pt idx="643">
                  <c:v>101.1270663490189</c:v>
                </c:pt>
                <c:pt idx="644">
                  <c:v>101.1270663490189</c:v>
                </c:pt>
                <c:pt idx="645">
                  <c:v>101.1270663490189</c:v>
                </c:pt>
                <c:pt idx="646">
                  <c:v>101.08170223549841</c:v>
                </c:pt>
                <c:pt idx="647">
                  <c:v>101.26355107460191</c:v>
                </c:pt>
                <c:pt idx="648">
                  <c:v>101.35856964997011</c:v>
                </c:pt>
                <c:pt idx="649">
                  <c:v>101.00968937952301</c:v>
                </c:pt>
                <c:pt idx="650">
                  <c:v>100.93264128141089</c:v>
                </c:pt>
                <c:pt idx="651">
                  <c:v>100.93264128141089</c:v>
                </c:pt>
                <c:pt idx="652">
                  <c:v>100.93264128141089</c:v>
                </c:pt>
                <c:pt idx="653">
                  <c:v>101.02828960967489</c:v>
                </c:pt>
                <c:pt idx="654">
                  <c:v>101.07846349899862</c:v>
                </c:pt>
                <c:pt idx="655">
                  <c:v>100.9879365375002</c:v>
                </c:pt>
                <c:pt idx="656">
                  <c:v>101.0460139871338</c:v>
                </c:pt>
                <c:pt idx="657">
                  <c:v>101.15344927096864</c:v>
                </c:pt>
                <c:pt idx="658">
                  <c:v>101.15344927096864</c:v>
                </c:pt>
                <c:pt idx="659">
                  <c:v>101.15344927096864</c:v>
                </c:pt>
                <c:pt idx="660">
                  <c:v>101.35005877757239</c:v>
                </c:pt>
                <c:pt idx="661">
                  <c:v>101.352870907726</c:v>
                </c:pt>
                <c:pt idx="662">
                  <c:v>101.54936563653617</c:v>
                </c:pt>
                <c:pt idx="663">
                  <c:v>101.3925533748819</c:v>
                </c:pt>
                <c:pt idx="664">
                  <c:v>101.88882559853414</c:v>
                </c:pt>
                <c:pt idx="665">
                  <c:v>101.88882559853414</c:v>
                </c:pt>
                <c:pt idx="666">
                  <c:v>101.88882559853414</c:v>
                </c:pt>
                <c:pt idx="667">
                  <c:v>102.22333507625899</c:v>
                </c:pt>
                <c:pt idx="668">
                  <c:v>102.22047443567591</c:v>
                </c:pt>
                <c:pt idx="669">
                  <c:v>102.23989982690665</c:v>
                </c:pt>
                <c:pt idx="670">
                  <c:v>102.40357659279354</c:v>
                </c:pt>
                <c:pt idx="671">
                  <c:v>102.79413180481794</c:v>
                </c:pt>
                <c:pt idx="672">
                  <c:v>102.79413180481794</c:v>
                </c:pt>
                <c:pt idx="673">
                  <c:v>102.79413180481794</c:v>
                </c:pt>
                <c:pt idx="674">
                  <c:v>102.9430196450991</c:v>
                </c:pt>
                <c:pt idx="675">
                  <c:v>103.122362618422</c:v>
                </c:pt>
                <c:pt idx="676">
                  <c:v>103.00008162477816</c:v>
                </c:pt>
                <c:pt idx="677">
                  <c:v>102.97295593051837</c:v>
                </c:pt>
                <c:pt idx="678">
                  <c:v>103.0527692007295</c:v>
                </c:pt>
                <c:pt idx="679">
                  <c:v>103.0527692007295</c:v>
                </c:pt>
                <c:pt idx="680">
                  <c:v>103.0527692007295</c:v>
                </c:pt>
                <c:pt idx="681">
                  <c:v>103.17962364852039</c:v>
                </c:pt>
                <c:pt idx="682">
                  <c:v>103.83142335657205</c:v>
                </c:pt>
                <c:pt idx="683">
                  <c:v>103.42486932743195</c:v>
                </c:pt>
                <c:pt idx="684">
                  <c:v>103.45894206624199</c:v>
                </c:pt>
                <c:pt idx="685">
                  <c:v>103.52283109279716</c:v>
                </c:pt>
                <c:pt idx="686">
                  <c:v>103.52283109279716</c:v>
                </c:pt>
                <c:pt idx="687">
                  <c:v>103.52283109279716</c:v>
                </c:pt>
                <c:pt idx="688">
                  <c:v>103.54151887648864</c:v>
                </c:pt>
                <c:pt idx="689">
                  <c:v>103.561449648406</c:v>
                </c:pt>
                <c:pt idx="690">
                  <c:v>103.51457046293157</c:v>
                </c:pt>
                <c:pt idx="691">
                  <c:v>103.54337257815564</c:v>
                </c:pt>
                <c:pt idx="692">
                  <c:v>103.61363042585731</c:v>
                </c:pt>
                <c:pt idx="693">
                  <c:v>103.61363042585731</c:v>
                </c:pt>
                <c:pt idx="694">
                  <c:v>103.61363042585731</c:v>
                </c:pt>
                <c:pt idx="695">
                  <c:v>103.67515526326581</c:v>
                </c:pt>
                <c:pt idx="696">
                  <c:v>103.60628328525186</c:v>
                </c:pt>
                <c:pt idx="697">
                  <c:v>103.5181216001955</c:v>
                </c:pt>
                <c:pt idx="698">
                  <c:v>103.3343234537184</c:v>
                </c:pt>
                <c:pt idx="699">
                  <c:v>103.036781353227</c:v>
                </c:pt>
                <c:pt idx="700">
                  <c:v>103.036781353227</c:v>
                </c:pt>
                <c:pt idx="701">
                  <c:v>103.036781353227</c:v>
                </c:pt>
                <c:pt idx="702">
                  <c:v>103.02217478722888</c:v>
                </c:pt>
                <c:pt idx="703">
                  <c:v>103.26329141233211</c:v>
                </c:pt>
                <c:pt idx="704">
                  <c:v>103.19151308795414</c:v>
                </c:pt>
                <c:pt idx="705">
                  <c:v>103.07832946063681</c:v>
                </c:pt>
                <c:pt idx="706">
                  <c:v>103.13040751838676</c:v>
                </c:pt>
                <c:pt idx="707">
                  <c:v>103.13040751838676</c:v>
                </c:pt>
                <c:pt idx="708">
                  <c:v>103.13040751838676</c:v>
                </c:pt>
                <c:pt idx="709">
                  <c:v>103.24309126800522</c:v>
                </c:pt>
                <c:pt idx="710">
                  <c:v>103.30102463042437</c:v>
                </c:pt>
                <c:pt idx="711">
                  <c:v>103.47621827170853</c:v>
                </c:pt>
                <c:pt idx="712">
                  <c:v>103.56299498994612</c:v>
                </c:pt>
                <c:pt idx="713">
                  <c:v>103.38920180729602</c:v>
                </c:pt>
                <c:pt idx="714">
                  <c:v>103.38920180729602</c:v>
                </c:pt>
                <c:pt idx="715">
                  <c:v>103.38920180729602</c:v>
                </c:pt>
                <c:pt idx="716">
                  <c:v>103.35302019019687</c:v>
                </c:pt>
                <c:pt idx="717">
                  <c:v>103.49350024791119</c:v>
                </c:pt>
                <c:pt idx="718">
                  <c:v>103.37079990497426</c:v>
                </c:pt>
                <c:pt idx="719">
                  <c:v>103.34617162912815</c:v>
                </c:pt>
                <c:pt idx="720">
                  <c:v>103.5473119145874</c:v>
                </c:pt>
                <c:pt idx="721">
                  <c:v>103.5473119145874</c:v>
                </c:pt>
                <c:pt idx="722">
                  <c:v>103.5473119145874</c:v>
                </c:pt>
                <c:pt idx="723">
                  <c:v>103.55727745659973</c:v>
                </c:pt>
                <c:pt idx="724">
                  <c:v>103.60891266847828</c:v>
                </c:pt>
                <c:pt idx="725">
                  <c:v>103.39767350392694</c:v>
                </c:pt>
                <c:pt idx="726">
                  <c:v>103.39698031296327</c:v>
                </c:pt>
                <c:pt idx="727">
                  <c:v>103.45716849671585</c:v>
                </c:pt>
                <c:pt idx="728">
                  <c:v>103.45716849671585</c:v>
                </c:pt>
                <c:pt idx="729">
                  <c:v>103.45716849671585</c:v>
                </c:pt>
                <c:pt idx="730">
                  <c:v>103.45716849671585</c:v>
                </c:pt>
                <c:pt idx="731">
                  <c:v>103.13929667687346</c:v>
                </c:pt>
                <c:pt idx="732">
                  <c:v>103.3224779946776</c:v>
                </c:pt>
                <c:pt idx="733">
                  <c:v>103.41146223297994</c:v>
                </c:pt>
                <c:pt idx="734">
                  <c:v>103.40067743884298</c:v>
                </c:pt>
                <c:pt idx="735">
                  <c:v>103.40067743884298</c:v>
                </c:pt>
                <c:pt idx="736">
                  <c:v>103.40067743884298</c:v>
                </c:pt>
                <c:pt idx="737">
                  <c:v>103.43519670094719</c:v>
                </c:pt>
                <c:pt idx="738">
                  <c:v>103.35517498138479</c:v>
                </c:pt>
                <c:pt idx="739">
                  <c:v>103.4790724858951</c:v>
                </c:pt>
                <c:pt idx="740">
                  <c:v>103.39413062553709</c:v>
                </c:pt>
                <c:pt idx="741">
                  <c:v>103.38573651332509</c:v>
                </c:pt>
                <c:pt idx="742">
                  <c:v>103.38573651332509</c:v>
                </c:pt>
                <c:pt idx="743">
                  <c:v>103.38573651332509</c:v>
                </c:pt>
                <c:pt idx="744">
                  <c:v>103.37903760361648</c:v>
                </c:pt>
                <c:pt idx="745">
                  <c:v>103.22067298754402</c:v>
                </c:pt>
                <c:pt idx="746">
                  <c:v>103.21276749206034</c:v>
                </c:pt>
                <c:pt idx="747">
                  <c:v>103.02622750295394</c:v>
                </c:pt>
                <c:pt idx="748">
                  <c:v>103.3629483676731</c:v>
                </c:pt>
                <c:pt idx="749">
                  <c:v>103.3629483676731</c:v>
                </c:pt>
                <c:pt idx="750">
                  <c:v>103.3629483676731</c:v>
                </c:pt>
                <c:pt idx="751">
                  <c:v>103.47691252553251</c:v>
                </c:pt>
                <c:pt idx="752">
                  <c:v>103.39567097761284</c:v>
                </c:pt>
                <c:pt idx="753">
                  <c:v>103.4190899811498</c:v>
                </c:pt>
                <c:pt idx="754">
                  <c:v>103.28511337432302</c:v>
                </c:pt>
                <c:pt idx="755">
                  <c:v>103.33409267208316</c:v>
                </c:pt>
                <c:pt idx="756">
                  <c:v>103.33409267208316</c:v>
                </c:pt>
                <c:pt idx="757">
                  <c:v>103.33409267208316</c:v>
                </c:pt>
                <c:pt idx="758">
                  <c:v>103.28311520554895</c:v>
                </c:pt>
                <c:pt idx="759">
                  <c:v>103.27973386528517</c:v>
                </c:pt>
                <c:pt idx="760">
                  <c:v>103.23395387545662</c:v>
                </c:pt>
                <c:pt idx="761">
                  <c:v>103.28841820774052</c:v>
                </c:pt>
                <c:pt idx="762">
                  <c:v>103.22980802911715</c:v>
                </c:pt>
                <c:pt idx="763">
                  <c:v>103.22980802911715</c:v>
                </c:pt>
                <c:pt idx="764">
                  <c:v>103.22980802911715</c:v>
                </c:pt>
                <c:pt idx="765">
                  <c:v>103.02248064144295</c:v>
                </c:pt>
                <c:pt idx="766">
                  <c:v>103.20639792525431</c:v>
                </c:pt>
                <c:pt idx="767">
                  <c:v>103.39813563639979</c:v>
                </c:pt>
                <c:pt idx="768">
                  <c:v>103.35186587473358</c:v>
                </c:pt>
                <c:pt idx="769">
                  <c:v>103.35155806163137</c:v>
                </c:pt>
                <c:pt idx="770">
                  <c:v>103.35155806163137</c:v>
                </c:pt>
                <c:pt idx="771">
                  <c:v>103.35155806163137</c:v>
                </c:pt>
                <c:pt idx="772">
                  <c:v>103.30763654550611</c:v>
                </c:pt>
                <c:pt idx="773">
                  <c:v>103.18261492693516</c:v>
                </c:pt>
                <c:pt idx="774">
                  <c:v>103.1290283035338</c:v>
                </c:pt>
                <c:pt idx="775">
                  <c:v>103.30294661150454</c:v>
                </c:pt>
                <c:pt idx="776">
                  <c:v>103.33632360440559</c:v>
                </c:pt>
                <c:pt idx="777">
                  <c:v>103.33632360440559</c:v>
                </c:pt>
                <c:pt idx="778">
                  <c:v>103.33632360440559</c:v>
                </c:pt>
                <c:pt idx="779">
                  <c:v>103.19956878124927</c:v>
                </c:pt>
                <c:pt idx="780">
                  <c:v>103.34309391977246</c:v>
                </c:pt>
                <c:pt idx="781">
                  <c:v>103.2959509439858</c:v>
                </c:pt>
                <c:pt idx="782">
                  <c:v>103.2526143056709</c:v>
                </c:pt>
                <c:pt idx="783">
                  <c:v>103.30648324356412</c:v>
                </c:pt>
                <c:pt idx="784">
                  <c:v>103.30648324356412</c:v>
                </c:pt>
                <c:pt idx="785">
                  <c:v>103.30648324356412</c:v>
                </c:pt>
                <c:pt idx="786">
                  <c:v>103.3499420729254</c:v>
                </c:pt>
                <c:pt idx="787">
                  <c:v>103.21798651829087</c:v>
                </c:pt>
                <c:pt idx="788">
                  <c:v>103.26352187782683</c:v>
                </c:pt>
                <c:pt idx="789">
                  <c:v>103.24977257022043</c:v>
                </c:pt>
                <c:pt idx="790">
                  <c:v>103.23318610101079</c:v>
                </c:pt>
                <c:pt idx="791">
                  <c:v>103.23318610101079</c:v>
                </c:pt>
                <c:pt idx="792">
                  <c:v>103.23318610101079</c:v>
                </c:pt>
                <c:pt idx="793">
                  <c:v>103.31617178027341</c:v>
                </c:pt>
                <c:pt idx="794">
                  <c:v>103.33555430651647</c:v>
                </c:pt>
                <c:pt idx="795">
                  <c:v>103.38750763455418</c:v>
                </c:pt>
                <c:pt idx="796">
                  <c:v>103.2113093290661</c:v>
                </c:pt>
                <c:pt idx="797">
                  <c:v>103.35386670459106</c:v>
                </c:pt>
                <c:pt idx="798">
                  <c:v>103.35386670459106</c:v>
                </c:pt>
                <c:pt idx="799">
                  <c:v>103.35386670459106</c:v>
                </c:pt>
                <c:pt idx="800">
                  <c:v>103.25292152968376</c:v>
                </c:pt>
                <c:pt idx="801">
                  <c:v>103.36302533773954</c:v>
                </c:pt>
                <c:pt idx="802">
                  <c:v>103.41415878304363</c:v>
                </c:pt>
                <c:pt idx="803">
                  <c:v>103.25146223190539</c:v>
                </c:pt>
                <c:pt idx="804">
                  <c:v>103.35594457144116</c:v>
                </c:pt>
                <c:pt idx="805">
                  <c:v>103.35594457144116</c:v>
                </c:pt>
                <c:pt idx="806">
                  <c:v>103.35594457144116</c:v>
                </c:pt>
                <c:pt idx="807">
                  <c:v>103.18691039927427</c:v>
                </c:pt>
                <c:pt idx="808">
                  <c:v>103.04825538233094</c:v>
                </c:pt>
                <c:pt idx="809">
                  <c:v>103.34224758183619</c:v>
                </c:pt>
                <c:pt idx="810">
                  <c:v>103.12121344945588</c:v>
                </c:pt>
                <c:pt idx="811">
                  <c:v>103.12404811256957</c:v>
                </c:pt>
                <c:pt idx="812">
                  <c:v>103.12404811256957</c:v>
                </c:pt>
                <c:pt idx="813">
                  <c:v>103.12404811256957</c:v>
                </c:pt>
                <c:pt idx="814">
                  <c:v>103.20156371863455</c:v>
                </c:pt>
                <c:pt idx="815">
                  <c:v>103.11286359084664</c:v>
                </c:pt>
                <c:pt idx="816">
                  <c:v>103.06600691433103</c:v>
                </c:pt>
                <c:pt idx="817">
                  <c:v>103.18315184141983</c:v>
                </c:pt>
                <c:pt idx="818">
                  <c:v>103.22827261497574</c:v>
                </c:pt>
                <c:pt idx="819">
                  <c:v>103.22827261497574</c:v>
                </c:pt>
                <c:pt idx="820">
                  <c:v>103.22827261497574</c:v>
                </c:pt>
                <c:pt idx="821">
                  <c:v>103.2492349621905</c:v>
                </c:pt>
                <c:pt idx="822">
                  <c:v>103.11255719973832</c:v>
                </c:pt>
                <c:pt idx="823">
                  <c:v>103.37973055401822</c:v>
                </c:pt>
                <c:pt idx="824">
                  <c:v>103.30825165040433</c:v>
                </c:pt>
                <c:pt idx="825">
                  <c:v>103.25077099998643</c:v>
                </c:pt>
                <c:pt idx="826">
                  <c:v>103.25077099998643</c:v>
                </c:pt>
                <c:pt idx="827">
                  <c:v>103.25077099998643</c:v>
                </c:pt>
                <c:pt idx="828">
                  <c:v>103.34032413807975</c:v>
                </c:pt>
                <c:pt idx="829">
                  <c:v>103.34124738214713</c:v>
                </c:pt>
                <c:pt idx="830">
                  <c:v>103.11179122993363</c:v>
                </c:pt>
                <c:pt idx="831">
                  <c:v>103.16858043047959</c:v>
                </c:pt>
                <c:pt idx="832">
                  <c:v>103.08675028611258</c:v>
                </c:pt>
                <c:pt idx="833">
                  <c:v>103.08675028611258</c:v>
                </c:pt>
                <c:pt idx="834">
                  <c:v>103.08675028611258</c:v>
                </c:pt>
                <c:pt idx="835">
                  <c:v>103.08812837036429</c:v>
                </c:pt>
                <c:pt idx="836">
                  <c:v>103.15953288885467</c:v>
                </c:pt>
                <c:pt idx="837">
                  <c:v>103.05889026410277</c:v>
                </c:pt>
                <c:pt idx="838">
                  <c:v>103.23625726731734</c:v>
                </c:pt>
                <c:pt idx="839">
                  <c:v>103.24670059974198</c:v>
                </c:pt>
                <c:pt idx="840">
                  <c:v>103.24670059974198</c:v>
                </c:pt>
                <c:pt idx="841">
                  <c:v>103.24670059974198</c:v>
                </c:pt>
                <c:pt idx="842">
                  <c:v>103.05253967499742</c:v>
                </c:pt>
                <c:pt idx="843">
                  <c:v>103.36979915252323</c:v>
                </c:pt>
                <c:pt idx="844">
                  <c:v>103.3078672089845</c:v>
                </c:pt>
                <c:pt idx="845">
                  <c:v>103.27812012184484</c:v>
                </c:pt>
                <c:pt idx="846">
                  <c:v>103.28488281244167</c:v>
                </c:pt>
                <c:pt idx="847">
                  <c:v>103.28488281244167</c:v>
                </c:pt>
                <c:pt idx="848">
                  <c:v>103.28488281244167</c:v>
                </c:pt>
                <c:pt idx="849">
                  <c:v>103.40029230922782</c:v>
                </c:pt>
                <c:pt idx="850">
                  <c:v>103.24831336145</c:v>
                </c:pt>
                <c:pt idx="851">
                  <c:v>103.20800942810493</c:v>
                </c:pt>
                <c:pt idx="852">
                  <c:v>103.3509424409274</c:v>
                </c:pt>
                <c:pt idx="853">
                  <c:v>103.37164671064468</c:v>
                </c:pt>
                <c:pt idx="854">
                  <c:v>103.37164671064468</c:v>
                </c:pt>
                <c:pt idx="855">
                  <c:v>103.37164671064468</c:v>
                </c:pt>
                <c:pt idx="856">
                  <c:v>103.36710491531019</c:v>
                </c:pt>
                <c:pt idx="857">
                  <c:v>103.18882813632507</c:v>
                </c:pt>
                <c:pt idx="858">
                  <c:v>103.24877415976368</c:v>
                </c:pt>
                <c:pt idx="859">
                  <c:v>103.31086592794136</c:v>
                </c:pt>
                <c:pt idx="860">
                  <c:v>103.3387085006557</c:v>
                </c:pt>
                <c:pt idx="861">
                  <c:v>103.3387085006557</c:v>
                </c:pt>
                <c:pt idx="862">
                  <c:v>103.3387085006557</c:v>
                </c:pt>
                <c:pt idx="863">
                  <c:v>103.45184815296481</c:v>
                </c:pt>
                <c:pt idx="864">
                  <c:v>103.36679701142852</c:v>
                </c:pt>
                <c:pt idx="865">
                  <c:v>103.37172369366633</c:v>
                </c:pt>
                <c:pt idx="866">
                  <c:v>103.24877415976368</c:v>
                </c:pt>
                <c:pt idx="867">
                  <c:v>103.21913784513318</c:v>
                </c:pt>
                <c:pt idx="868">
                  <c:v>103.21913784513318</c:v>
                </c:pt>
                <c:pt idx="869">
                  <c:v>103.21913784513318</c:v>
                </c:pt>
                <c:pt idx="870">
                  <c:v>103.35063463332567</c:v>
                </c:pt>
                <c:pt idx="871">
                  <c:v>103.39089603556235</c:v>
                </c:pt>
                <c:pt idx="872">
                  <c:v>103.32616979448042</c:v>
                </c:pt>
                <c:pt idx="873">
                  <c:v>103.27281817701574</c:v>
                </c:pt>
                <c:pt idx="874">
                  <c:v>103.35302019019689</c:v>
                </c:pt>
                <c:pt idx="875">
                  <c:v>103.35302019019689</c:v>
                </c:pt>
                <c:pt idx="876">
                  <c:v>103.35302019019689</c:v>
                </c:pt>
                <c:pt idx="877">
                  <c:v>103.39205122303467</c:v>
                </c:pt>
                <c:pt idx="878">
                  <c:v>103.26398281190231</c:v>
                </c:pt>
                <c:pt idx="879">
                  <c:v>103.03769918152389</c:v>
                </c:pt>
                <c:pt idx="880">
                  <c:v>103.21998216780831</c:v>
                </c:pt>
                <c:pt idx="881">
                  <c:v>103.12006430610161</c:v>
                </c:pt>
                <c:pt idx="882">
                  <c:v>103.12006430610161</c:v>
                </c:pt>
                <c:pt idx="883">
                  <c:v>103.12006430610161</c:v>
                </c:pt>
                <c:pt idx="884">
                  <c:v>103.26636437018033</c:v>
                </c:pt>
                <c:pt idx="885">
                  <c:v>103.36856748379891</c:v>
                </c:pt>
                <c:pt idx="886">
                  <c:v>103.19742047339381</c:v>
                </c:pt>
                <c:pt idx="887">
                  <c:v>103.42641059553286</c:v>
                </c:pt>
                <c:pt idx="888">
                  <c:v>103.24355201970749</c:v>
                </c:pt>
                <c:pt idx="889">
                  <c:v>103.24355201970749</c:v>
                </c:pt>
                <c:pt idx="890">
                  <c:v>103.24355201970749</c:v>
                </c:pt>
                <c:pt idx="891">
                  <c:v>102.9825056014718</c:v>
                </c:pt>
                <c:pt idx="892">
                  <c:v>103.01001855287552</c:v>
                </c:pt>
                <c:pt idx="893">
                  <c:v>103.24201619669265</c:v>
                </c:pt>
                <c:pt idx="894">
                  <c:v>103.01078301137653</c:v>
                </c:pt>
                <c:pt idx="895">
                  <c:v>103.16175629014236</c:v>
                </c:pt>
                <c:pt idx="896">
                  <c:v>103.16175629014236</c:v>
                </c:pt>
                <c:pt idx="897">
                  <c:v>103.16175629014236</c:v>
                </c:pt>
                <c:pt idx="898">
                  <c:v>103.16436315853609</c:v>
                </c:pt>
                <c:pt idx="899">
                  <c:v>103.09716339079917</c:v>
                </c:pt>
                <c:pt idx="900">
                  <c:v>103.1925103912892</c:v>
                </c:pt>
                <c:pt idx="901">
                  <c:v>103.0882814931111</c:v>
                </c:pt>
                <c:pt idx="902">
                  <c:v>103.29979460006528</c:v>
                </c:pt>
                <c:pt idx="903">
                  <c:v>103.29979460006528</c:v>
                </c:pt>
                <c:pt idx="904">
                  <c:v>103.29979460006528</c:v>
                </c:pt>
                <c:pt idx="905">
                  <c:v>103.3788836158998</c:v>
                </c:pt>
                <c:pt idx="906">
                  <c:v>103.2909546186844</c:v>
                </c:pt>
                <c:pt idx="907">
                  <c:v>103.23011511742642</c:v>
                </c:pt>
                <c:pt idx="908">
                  <c:v>103.22243845776858</c:v>
                </c:pt>
                <c:pt idx="909">
                  <c:v>103.10191123962788</c:v>
                </c:pt>
                <c:pt idx="910">
                  <c:v>103.10191123962788</c:v>
                </c:pt>
                <c:pt idx="911">
                  <c:v>103.10191123962788</c:v>
                </c:pt>
                <c:pt idx="912">
                  <c:v>103.29964084833007</c:v>
                </c:pt>
                <c:pt idx="913">
                  <c:v>103.3716467106447</c:v>
                </c:pt>
                <c:pt idx="914">
                  <c:v>103.50052269978524</c:v>
                </c:pt>
                <c:pt idx="915">
                  <c:v>103.47081883773285</c:v>
                </c:pt>
                <c:pt idx="916">
                  <c:v>103.3240162125344</c:v>
                </c:pt>
                <c:pt idx="917">
                  <c:v>103.3240162125344</c:v>
                </c:pt>
                <c:pt idx="918">
                  <c:v>103.3240162125344</c:v>
                </c:pt>
                <c:pt idx="919">
                  <c:v>103.46187244477721</c:v>
                </c:pt>
                <c:pt idx="920">
                  <c:v>103.3827334464435</c:v>
                </c:pt>
                <c:pt idx="921">
                  <c:v>103.28872564485674</c:v>
                </c:pt>
                <c:pt idx="922">
                  <c:v>103.39782754762558</c:v>
                </c:pt>
                <c:pt idx="923">
                  <c:v>103.53364138481429</c:v>
                </c:pt>
                <c:pt idx="924">
                  <c:v>103.53364138481429</c:v>
                </c:pt>
                <c:pt idx="925">
                  <c:v>103.53364138481429</c:v>
                </c:pt>
                <c:pt idx="926">
                  <c:v>103.35425148844519</c:v>
                </c:pt>
                <c:pt idx="927">
                  <c:v>103.32463151250133</c:v>
                </c:pt>
                <c:pt idx="928">
                  <c:v>103.3245545996047</c:v>
                </c:pt>
                <c:pt idx="929">
                  <c:v>103.24885095988253</c:v>
                </c:pt>
                <c:pt idx="930">
                  <c:v>103.33547737735751</c:v>
                </c:pt>
                <c:pt idx="931">
                  <c:v>103.33547737735751</c:v>
                </c:pt>
                <c:pt idx="932">
                  <c:v>103.33547737735751</c:v>
                </c:pt>
                <c:pt idx="933">
                  <c:v>103.35386670459104</c:v>
                </c:pt>
                <c:pt idx="934">
                  <c:v>103.24431994835014</c:v>
                </c:pt>
                <c:pt idx="935">
                  <c:v>103.25130862401242</c:v>
                </c:pt>
                <c:pt idx="936">
                  <c:v>103.36718189156724</c:v>
                </c:pt>
                <c:pt idx="937">
                  <c:v>103.39343748207618</c:v>
                </c:pt>
                <c:pt idx="938">
                  <c:v>103.39343748207618</c:v>
                </c:pt>
                <c:pt idx="939">
                  <c:v>103.39343748207618</c:v>
                </c:pt>
                <c:pt idx="940">
                  <c:v>103.33209260775681</c:v>
                </c:pt>
                <c:pt idx="941">
                  <c:v>103.07320108652854</c:v>
                </c:pt>
                <c:pt idx="942">
                  <c:v>103.11485517743438</c:v>
                </c:pt>
                <c:pt idx="943">
                  <c:v>103.05667129461185</c:v>
                </c:pt>
                <c:pt idx="944">
                  <c:v>103.36056235246791</c:v>
                </c:pt>
                <c:pt idx="945">
                  <c:v>103.36056235246791</c:v>
                </c:pt>
                <c:pt idx="946">
                  <c:v>103.36056235246791</c:v>
                </c:pt>
                <c:pt idx="947">
                  <c:v>103.1349285368251</c:v>
                </c:pt>
                <c:pt idx="948">
                  <c:v>103.23994290810161</c:v>
                </c:pt>
                <c:pt idx="949">
                  <c:v>103.03142768070524</c:v>
                </c:pt>
                <c:pt idx="950">
                  <c:v>103.19243367496362</c:v>
                </c:pt>
                <c:pt idx="951">
                  <c:v>103.18622003138547</c:v>
                </c:pt>
                <c:pt idx="952">
                  <c:v>103.18622003138547</c:v>
                </c:pt>
                <c:pt idx="953">
                  <c:v>103.18622003138547</c:v>
                </c:pt>
                <c:pt idx="954">
                  <c:v>103.14588790428931</c:v>
                </c:pt>
                <c:pt idx="955">
                  <c:v>103.5293169970932</c:v>
                </c:pt>
                <c:pt idx="956">
                  <c:v>103.54692569188045</c:v>
                </c:pt>
                <c:pt idx="957">
                  <c:v>103.37434118462747</c:v>
                </c:pt>
                <c:pt idx="958">
                  <c:v>103.32193962924788</c:v>
                </c:pt>
                <c:pt idx="959">
                  <c:v>103.32193962924788</c:v>
                </c:pt>
                <c:pt idx="960">
                  <c:v>103.32193962924788</c:v>
                </c:pt>
                <c:pt idx="961">
                  <c:v>103.53649876775987</c:v>
                </c:pt>
                <c:pt idx="962">
                  <c:v>103.54584428362854</c:v>
                </c:pt>
                <c:pt idx="963">
                  <c:v>103.71171779677395</c:v>
                </c:pt>
                <c:pt idx="964">
                  <c:v>103.63838635735759</c:v>
                </c:pt>
                <c:pt idx="965">
                  <c:v>103.59777737143177</c:v>
                </c:pt>
                <c:pt idx="966">
                  <c:v>103.59777737143177</c:v>
                </c:pt>
                <c:pt idx="967">
                  <c:v>103.59777737143177</c:v>
                </c:pt>
                <c:pt idx="968">
                  <c:v>103.44760769116091</c:v>
                </c:pt>
                <c:pt idx="969">
                  <c:v>103.67925951709044</c:v>
                </c:pt>
                <c:pt idx="970">
                  <c:v>103.68677191763662</c:v>
                </c:pt>
                <c:pt idx="971">
                  <c:v>103.75862063810267</c:v>
                </c:pt>
                <c:pt idx="972">
                  <c:v>103.87485865622557</c:v>
                </c:pt>
                <c:pt idx="973">
                  <c:v>103.87485865622557</c:v>
                </c:pt>
                <c:pt idx="974">
                  <c:v>103.87485865622557</c:v>
                </c:pt>
                <c:pt idx="975">
                  <c:v>103.82109436764972</c:v>
                </c:pt>
                <c:pt idx="976">
                  <c:v>104.26036925203162</c:v>
                </c:pt>
                <c:pt idx="977">
                  <c:v>104.46233573104652</c:v>
                </c:pt>
                <c:pt idx="978">
                  <c:v>104.85967315111589</c:v>
                </c:pt>
                <c:pt idx="979">
                  <c:v>104.90072271055359</c:v>
                </c:pt>
                <c:pt idx="980">
                  <c:v>104.90072271055359</c:v>
                </c:pt>
                <c:pt idx="981">
                  <c:v>104.90072271055359</c:v>
                </c:pt>
                <c:pt idx="982">
                  <c:v>104.79768428268767</c:v>
                </c:pt>
                <c:pt idx="983">
                  <c:v>104.70306122525935</c:v>
                </c:pt>
                <c:pt idx="984">
                  <c:v>104.71893837089105</c:v>
                </c:pt>
                <c:pt idx="985">
                  <c:v>104.88748507609287</c:v>
                </c:pt>
                <c:pt idx="986">
                  <c:v>105.01389406916529</c:v>
                </c:pt>
                <c:pt idx="987">
                  <c:v>105.01389406916529</c:v>
                </c:pt>
                <c:pt idx="988">
                  <c:v>105.01389406916529</c:v>
                </c:pt>
                <c:pt idx="989">
                  <c:v>105.03018352247518</c:v>
                </c:pt>
                <c:pt idx="990">
                  <c:v>104.96910426959241</c:v>
                </c:pt>
                <c:pt idx="991">
                  <c:v>105.06182333422126</c:v>
                </c:pt>
                <c:pt idx="992">
                  <c:v>104.8954114019707</c:v>
                </c:pt>
                <c:pt idx="993">
                  <c:v>105.01738991619384</c:v>
                </c:pt>
                <c:pt idx="994">
                  <c:v>105.01738991619384</c:v>
                </c:pt>
                <c:pt idx="995">
                  <c:v>105.01738991619384</c:v>
                </c:pt>
                <c:pt idx="996">
                  <c:v>104.70511471427963</c:v>
                </c:pt>
                <c:pt idx="997">
                  <c:v>104.94719977741252</c:v>
                </c:pt>
                <c:pt idx="998">
                  <c:v>105.02287250865174</c:v>
                </c:pt>
                <c:pt idx="999">
                  <c:v>104.96291294277408</c:v>
                </c:pt>
                <c:pt idx="1000">
                  <c:v>105.00364622260399</c:v>
                </c:pt>
                <c:pt idx="1001">
                  <c:v>105.00364622260399</c:v>
                </c:pt>
                <c:pt idx="1002">
                  <c:v>105.00364622260399</c:v>
                </c:pt>
                <c:pt idx="1003">
                  <c:v>105.04154940182617</c:v>
                </c:pt>
                <c:pt idx="1004">
                  <c:v>104.59725768093472</c:v>
                </c:pt>
                <c:pt idx="1005">
                  <c:v>104.56109214914208</c:v>
                </c:pt>
                <c:pt idx="1006">
                  <c:v>104.44724362997157</c:v>
                </c:pt>
                <c:pt idx="1007">
                  <c:v>104.5494362633777</c:v>
                </c:pt>
                <c:pt idx="1008">
                  <c:v>104.5494362633777</c:v>
                </c:pt>
                <c:pt idx="1009">
                  <c:v>104.5494362633777</c:v>
                </c:pt>
                <c:pt idx="1010">
                  <c:v>104.46713153032447</c:v>
                </c:pt>
                <c:pt idx="1011">
                  <c:v>104.47570216980914</c:v>
                </c:pt>
                <c:pt idx="1012">
                  <c:v>104.35701789404892</c:v>
                </c:pt>
                <c:pt idx="1013">
                  <c:v>104.40725493750483</c:v>
                </c:pt>
                <c:pt idx="1014">
                  <c:v>104.37381052460593</c:v>
                </c:pt>
                <c:pt idx="1015">
                  <c:v>104.37381052460593</c:v>
                </c:pt>
                <c:pt idx="1016">
                  <c:v>104.37381052460593</c:v>
                </c:pt>
                <c:pt idx="1017">
                  <c:v>104.263580157425</c:v>
                </c:pt>
                <c:pt idx="1018">
                  <c:v>104.19791342938926</c:v>
                </c:pt>
                <c:pt idx="1019">
                  <c:v>104.02557059830833</c:v>
                </c:pt>
                <c:pt idx="1020">
                  <c:v>104.11983164520956</c:v>
                </c:pt>
                <c:pt idx="1021">
                  <c:v>104.19932138245785</c:v>
                </c:pt>
                <c:pt idx="1022">
                  <c:v>104.19932138245785</c:v>
                </c:pt>
                <c:pt idx="1023">
                  <c:v>104.19932138245785</c:v>
                </c:pt>
                <c:pt idx="1024">
                  <c:v>104.14311105842472</c:v>
                </c:pt>
                <c:pt idx="1025">
                  <c:v>104.21762823544938</c:v>
                </c:pt>
                <c:pt idx="1026">
                  <c:v>104.05965029072451</c:v>
                </c:pt>
                <c:pt idx="1027">
                  <c:v>104.0633169423199</c:v>
                </c:pt>
                <c:pt idx="1028">
                  <c:v>104.12076887013579</c:v>
                </c:pt>
                <c:pt idx="1029">
                  <c:v>104.12076887013579</c:v>
                </c:pt>
                <c:pt idx="1030">
                  <c:v>104.12076887013579</c:v>
                </c:pt>
                <c:pt idx="1031">
                  <c:v>104.15381683226992</c:v>
                </c:pt>
                <c:pt idx="1032">
                  <c:v>104.09492326705927</c:v>
                </c:pt>
                <c:pt idx="1033">
                  <c:v>104.08196625430577</c:v>
                </c:pt>
                <c:pt idx="1034">
                  <c:v>104.31168909245972</c:v>
                </c:pt>
                <c:pt idx="1035">
                  <c:v>104.19877384063211</c:v>
                </c:pt>
                <c:pt idx="1036">
                  <c:v>104.19877384063211</c:v>
                </c:pt>
                <c:pt idx="1037">
                  <c:v>104.19877384063211</c:v>
                </c:pt>
                <c:pt idx="1038">
                  <c:v>104.3567040645478</c:v>
                </c:pt>
                <c:pt idx="1039">
                  <c:v>104.33042754083949</c:v>
                </c:pt>
                <c:pt idx="1040">
                  <c:v>103.93420380706195</c:v>
                </c:pt>
                <c:pt idx="1041">
                  <c:v>104.07759594144895</c:v>
                </c:pt>
                <c:pt idx="1042">
                  <c:v>104.1513941652227</c:v>
                </c:pt>
                <c:pt idx="1043">
                  <c:v>104.1513941652227</c:v>
                </c:pt>
                <c:pt idx="1044">
                  <c:v>104.1513941652227</c:v>
                </c:pt>
                <c:pt idx="1045">
                  <c:v>103.82816134857059</c:v>
                </c:pt>
                <c:pt idx="1046">
                  <c:v>104.11881633724617</c:v>
                </c:pt>
                <c:pt idx="1047">
                  <c:v>104.04763796585145</c:v>
                </c:pt>
                <c:pt idx="1048">
                  <c:v>104.07775201773123</c:v>
                </c:pt>
                <c:pt idx="1049">
                  <c:v>104.06222472120682</c:v>
                </c:pt>
                <c:pt idx="1050">
                  <c:v>104.06222472120682</c:v>
                </c:pt>
                <c:pt idx="1051">
                  <c:v>104.06222472120682</c:v>
                </c:pt>
                <c:pt idx="1052">
                  <c:v>104.15827170776892</c:v>
                </c:pt>
                <c:pt idx="1053">
                  <c:v>104.27141246350072</c:v>
                </c:pt>
                <c:pt idx="1054">
                  <c:v>104.10725884235909</c:v>
                </c:pt>
                <c:pt idx="1055">
                  <c:v>104.00226577274515</c:v>
                </c:pt>
                <c:pt idx="1056">
                  <c:v>103.68576503789424</c:v>
                </c:pt>
                <c:pt idx="1057">
                  <c:v>103.68576503789424</c:v>
                </c:pt>
                <c:pt idx="1058">
                  <c:v>103.68576503789424</c:v>
                </c:pt>
                <c:pt idx="1059">
                  <c:v>103.94712405418174</c:v>
                </c:pt>
                <c:pt idx="1060">
                  <c:v>103.97764727032995</c:v>
                </c:pt>
                <c:pt idx="1061">
                  <c:v>103.95716670548642</c:v>
                </c:pt>
                <c:pt idx="1062">
                  <c:v>103.88255492141016</c:v>
                </c:pt>
                <c:pt idx="1063">
                  <c:v>104.18469616987652</c:v>
                </c:pt>
                <c:pt idx="1064">
                  <c:v>104.18469616987652</c:v>
                </c:pt>
                <c:pt idx="1065">
                  <c:v>104.18469616987652</c:v>
                </c:pt>
                <c:pt idx="1066">
                  <c:v>104.0101368033849</c:v>
                </c:pt>
                <c:pt idx="1067">
                  <c:v>103.9296124446585</c:v>
                </c:pt>
                <c:pt idx="1068">
                  <c:v>103.88216619380349</c:v>
                </c:pt>
                <c:pt idx="1069">
                  <c:v>104.05621791488726</c:v>
                </c:pt>
                <c:pt idx="1070">
                  <c:v>104.21754998734853</c:v>
                </c:pt>
                <c:pt idx="1071">
                  <c:v>104.21754998734853</c:v>
                </c:pt>
                <c:pt idx="1072">
                  <c:v>104.21754998734853</c:v>
                </c:pt>
                <c:pt idx="1073">
                  <c:v>104.14584590082241</c:v>
                </c:pt>
                <c:pt idx="1074">
                  <c:v>103.99408428101441</c:v>
                </c:pt>
                <c:pt idx="1075">
                  <c:v>103.91023980668116</c:v>
                </c:pt>
                <c:pt idx="1076">
                  <c:v>103.89538456471713</c:v>
                </c:pt>
                <c:pt idx="1077">
                  <c:v>103.83973463661005</c:v>
                </c:pt>
                <c:pt idx="1078">
                  <c:v>103.83973463661005</c:v>
                </c:pt>
                <c:pt idx="1079">
                  <c:v>103.83973463661005</c:v>
                </c:pt>
                <c:pt idx="1080">
                  <c:v>103.83414185314962</c:v>
                </c:pt>
                <c:pt idx="1081">
                  <c:v>103.8929739051289</c:v>
                </c:pt>
                <c:pt idx="1082">
                  <c:v>103.84315274532793</c:v>
                </c:pt>
                <c:pt idx="1083">
                  <c:v>103.56075425975888</c:v>
                </c:pt>
                <c:pt idx="1084">
                  <c:v>103.01475837849287</c:v>
                </c:pt>
                <c:pt idx="1085">
                  <c:v>103.01475837849287</c:v>
                </c:pt>
                <c:pt idx="1086">
                  <c:v>103.01475837849287</c:v>
                </c:pt>
                <c:pt idx="1087">
                  <c:v>102.98449215556194</c:v>
                </c:pt>
                <c:pt idx="1088">
                  <c:v>102.69268102131866</c:v>
                </c:pt>
                <c:pt idx="1089">
                  <c:v>102.69260504636848</c:v>
                </c:pt>
                <c:pt idx="1090">
                  <c:v>102.48871417664782</c:v>
                </c:pt>
                <c:pt idx="1091">
                  <c:v>102.39073507173656</c:v>
                </c:pt>
                <c:pt idx="1092">
                  <c:v>102.39073507173656</c:v>
                </c:pt>
                <c:pt idx="1093">
                  <c:v>102.39073507173656</c:v>
                </c:pt>
                <c:pt idx="1094">
                  <c:v>102.43161251235117</c:v>
                </c:pt>
                <c:pt idx="1095">
                  <c:v>102.39149036617367</c:v>
                </c:pt>
                <c:pt idx="1096">
                  <c:v>102.39239673420707</c:v>
                </c:pt>
                <c:pt idx="1097">
                  <c:v>102.1793892174484</c:v>
                </c:pt>
                <c:pt idx="1098">
                  <c:v>102.20700146603248</c:v>
                </c:pt>
                <c:pt idx="1099">
                  <c:v>102.20700146603248</c:v>
                </c:pt>
                <c:pt idx="1100">
                  <c:v>102.20700146603248</c:v>
                </c:pt>
                <c:pt idx="1101">
                  <c:v>102.60864551354194</c:v>
                </c:pt>
                <c:pt idx="1102">
                  <c:v>102.60068180675809</c:v>
                </c:pt>
                <c:pt idx="1103">
                  <c:v>102.25556598366607</c:v>
                </c:pt>
                <c:pt idx="1104">
                  <c:v>102.20527055982183</c:v>
                </c:pt>
                <c:pt idx="1105">
                  <c:v>102.07501895439374</c:v>
                </c:pt>
                <c:pt idx="1106">
                  <c:v>102.07501895439374</c:v>
                </c:pt>
                <c:pt idx="1107">
                  <c:v>102.07501895439374</c:v>
                </c:pt>
                <c:pt idx="1108">
                  <c:v>102.04777805714696</c:v>
                </c:pt>
                <c:pt idx="1109">
                  <c:v>102.20210992584015</c:v>
                </c:pt>
                <c:pt idx="1110">
                  <c:v>102.33125288439254</c:v>
                </c:pt>
                <c:pt idx="1111">
                  <c:v>102.26091466518707</c:v>
                </c:pt>
                <c:pt idx="1112">
                  <c:v>102.35743766458124</c:v>
                </c:pt>
                <c:pt idx="1113">
                  <c:v>102.35743766458124</c:v>
                </c:pt>
                <c:pt idx="1114">
                  <c:v>102.35743766458124</c:v>
                </c:pt>
                <c:pt idx="1115">
                  <c:v>102.62465251079408</c:v>
                </c:pt>
                <c:pt idx="1116">
                  <c:v>102.59757250444754</c:v>
                </c:pt>
                <c:pt idx="1117">
                  <c:v>102.76673403963875</c:v>
                </c:pt>
                <c:pt idx="1118">
                  <c:v>102.84630402809603</c:v>
                </c:pt>
                <c:pt idx="1119">
                  <c:v>103.13377908778077</c:v>
                </c:pt>
                <c:pt idx="1120">
                  <c:v>103.13377908778077</c:v>
                </c:pt>
                <c:pt idx="1121">
                  <c:v>103.13377908778077</c:v>
                </c:pt>
                <c:pt idx="1122">
                  <c:v>103.10076252642374</c:v>
                </c:pt>
                <c:pt idx="1123">
                  <c:v>102.84028438406642</c:v>
                </c:pt>
                <c:pt idx="1124">
                  <c:v>102.6963279511338</c:v>
                </c:pt>
                <c:pt idx="1125">
                  <c:v>102.87938654517318</c:v>
                </c:pt>
                <c:pt idx="1126">
                  <c:v>102.72916197941926</c:v>
                </c:pt>
                <c:pt idx="1127">
                  <c:v>102.72916197941926</c:v>
                </c:pt>
                <c:pt idx="1128">
                  <c:v>102.72916197941926</c:v>
                </c:pt>
                <c:pt idx="1129">
                  <c:v>102.40010151040971</c:v>
                </c:pt>
                <c:pt idx="1130">
                  <c:v>102.5488341854071</c:v>
                </c:pt>
                <c:pt idx="1131">
                  <c:v>102.93294297627948</c:v>
                </c:pt>
                <c:pt idx="1132">
                  <c:v>102.63535191386669</c:v>
                </c:pt>
                <c:pt idx="1133">
                  <c:v>102.6883506285688</c:v>
                </c:pt>
                <c:pt idx="1134">
                  <c:v>102.6883506285688</c:v>
                </c:pt>
                <c:pt idx="1135">
                  <c:v>102.6883506285688</c:v>
                </c:pt>
                <c:pt idx="1136">
                  <c:v>102.47395996748706</c:v>
                </c:pt>
                <c:pt idx="1137">
                  <c:v>102.41135861092496</c:v>
                </c:pt>
                <c:pt idx="1138">
                  <c:v>102.42254261087953</c:v>
                </c:pt>
                <c:pt idx="1139">
                  <c:v>102.75296456878536</c:v>
                </c:pt>
                <c:pt idx="1140">
                  <c:v>102.9107354685644</c:v>
                </c:pt>
                <c:pt idx="1141">
                  <c:v>102.9107354685644</c:v>
                </c:pt>
                <c:pt idx="1142">
                  <c:v>102.9107354685644</c:v>
                </c:pt>
                <c:pt idx="1143">
                  <c:v>103.07297146977312</c:v>
                </c:pt>
                <c:pt idx="1144">
                  <c:v>103.00550847866376</c:v>
                </c:pt>
                <c:pt idx="1145">
                  <c:v>103.04259454194771</c:v>
                </c:pt>
                <c:pt idx="1146">
                  <c:v>103.03135120369981</c:v>
                </c:pt>
                <c:pt idx="1147">
                  <c:v>103.10665952577418</c:v>
                </c:pt>
                <c:pt idx="1148">
                  <c:v>103.10665952577418</c:v>
                </c:pt>
                <c:pt idx="1149">
                  <c:v>103.10665952577418</c:v>
                </c:pt>
                <c:pt idx="1150">
                  <c:v>103.09647422328162</c:v>
                </c:pt>
                <c:pt idx="1151">
                  <c:v>103.24762217169135</c:v>
                </c:pt>
                <c:pt idx="1152">
                  <c:v>103.2986414732069</c:v>
                </c:pt>
                <c:pt idx="1153">
                  <c:v>102.91920524301725</c:v>
                </c:pt>
                <c:pt idx="1154">
                  <c:v>102.7749518355788</c:v>
                </c:pt>
                <c:pt idx="1155">
                  <c:v>102.7749518355788</c:v>
                </c:pt>
                <c:pt idx="1156">
                  <c:v>102.7749518355788</c:v>
                </c:pt>
                <c:pt idx="1157">
                  <c:v>103.18783090416264</c:v>
                </c:pt>
                <c:pt idx="1158">
                  <c:v>103.41539153848306</c:v>
                </c:pt>
                <c:pt idx="1159">
                  <c:v>103.82621977444929</c:v>
                </c:pt>
                <c:pt idx="1160">
                  <c:v>104.1212374889261</c:v>
                </c:pt>
                <c:pt idx="1161">
                  <c:v>104.13264184645874</c:v>
                </c:pt>
                <c:pt idx="1162">
                  <c:v>104.13264184645874</c:v>
                </c:pt>
                <c:pt idx="1163">
                  <c:v>104.13264184645874</c:v>
                </c:pt>
                <c:pt idx="1164">
                  <c:v>103.97990607754232</c:v>
                </c:pt>
                <c:pt idx="1165">
                  <c:v>104.31019971383542</c:v>
                </c:pt>
                <c:pt idx="1166">
                  <c:v>104.30479127544641</c:v>
                </c:pt>
                <c:pt idx="1167">
                  <c:v>104.10522873660088</c:v>
                </c:pt>
                <c:pt idx="1168">
                  <c:v>104.16718260213057</c:v>
                </c:pt>
                <c:pt idx="1169">
                  <c:v>104.16718260213057</c:v>
                </c:pt>
                <c:pt idx="1170">
                  <c:v>104.16718260213057</c:v>
                </c:pt>
                <c:pt idx="1171">
                  <c:v>104.38220886668957</c:v>
                </c:pt>
                <c:pt idx="1172">
                  <c:v>104.17335859002775</c:v>
                </c:pt>
                <c:pt idx="1173">
                  <c:v>104.23069731677603</c:v>
                </c:pt>
                <c:pt idx="1174">
                  <c:v>103.93817293875452</c:v>
                </c:pt>
                <c:pt idx="1175">
                  <c:v>103.86335525493661</c:v>
                </c:pt>
                <c:pt idx="1176">
                  <c:v>103.86335525493661</c:v>
                </c:pt>
                <c:pt idx="1177">
                  <c:v>103.86335525493661</c:v>
                </c:pt>
                <c:pt idx="1178">
                  <c:v>103.88582034816686</c:v>
                </c:pt>
                <c:pt idx="1179">
                  <c:v>103.77545397929489</c:v>
                </c:pt>
                <c:pt idx="1180">
                  <c:v>103.747840860083</c:v>
                </c:pt>
                <c:pt idx="1181">
                  <c:v>103.81728946868462</c:v>
                </c:pt>
                <c:pt idx="1182">
                  <c:v>103.73745096412591</c:v>
                </c:pt>
                <c:pt idx="1183">
                  <c:v>103.73745096412591</c:v>
                </c:pt>
                <c:pt idx="1184">
                  <c:v>103.73745096412591</c:v>
                </c:pt>
                <c:pt idx="1185">
                  <c:v>103.77405745754056</c:v>
                </c:pt>
                <c:pt idx="1186">
                  <c:v>103.73574535918418</c:v>
                </c:pt>
                <c:pt idx="1187">
                  <c:v>103.82715172096509</c:v>
                </c:pt>
                <c:pt idx="1188">
                  <c:v>104.47342177062724</c:v>
                </c:pt>
                <c:pt idx="1189">
                  <c:v>104.00281125129878</c:v>
                </c:pt>
                <c:pt idx="1190">
                  <c:v>104.00281125129878</c:v>
                </c:pt>
                <c:pt idx="1191">
                  <c:v>104.00281125129878</c:v>
                </c:pt>
                <c:pt idx="1192">
                  <c:v>104.1390481292166</c:v>
                </c:pt>
                <c:pt idx="1193">
                  <c:v>104.07556699237587</c:v>
                </c:pt>
                <c:pt idx="1194">
                  <c:v>104.37318266547632</c:v>
                </c:pt>
                <c:pt idx="1195">
                  <c:v>104.65096115641826</c:v>
                </c:pt>
                <c:pt idx="1196">
                  <c:v>105.51031949697746</c:v>
                </c:pt>
                <c:pt idx="1197">
                  <c:v>105.51031949697746</c:v>
                </c:pt>
                <c:pt idx="1198">
                  <c:v>105.51031949697746</c:v>
                </c:pt>
                <c:pt idx="1199">
                  <c:v>104.89580774971164</c:v>
                </c:pt>
                <c:pt idx="1200">
                  <c:v>104.56377021974741</c:v>
                </c:pt>
                <c:pt idx="1201">
                  <c:v>104.7592452830186</c:v>
                </c:pt>
                <c:pt idx="1202">
                  <c:v>104.96823108951985</c:v>
                </c:pt>
                <c:pt idx="1203">
                  <c:v>104.99395630080197</c:v>
                </c:pt>
                <c:pt idx="1204">
                  <c:v>104.99395630080197</c:v>
                </c:pt>
                <c:pt idx="1205">
                  <c:v>104.99395630080197</c:v>
                </c:pt>
                <c:pt idx="1206">
                  <c:v>105.35687719926742</c:v>
                </c:pt>
                <c:pt idx="1207">
                  <c:v>105.15765390384676</c:v>
                </c:pt>
                <c:pt idx="1208">
                  <c:v>104.87892598950623</c:v>
                </c:pt>
                <c:pt idx="1209">
                  <c:v>104.97839262944353</c:v>
                </c:pt>
                <c:pt idx="1210">
                  <c:v>104.80195702399442</c:v>
                </c:pt>
                <c:pt idx="1211">
                  <c:v>104.80195702399442</c:v>
                </c:pt>
                <c:pt idx="1212">
                  <c:v>104.80195702399442</c:v>
                </c:pt>
                <c:pt idx="1213">
                  <c:v>104.89255778665084</c:v>
                </c:pt>
                <c:pt idx="1214">
                  <c:v>104.93990031140376</c:v>
                </c:pt>
                <c:pt idx="1215">
                  <c:v>104.71980740837952</c:v>
                </c:pt>
                <c:pt idx="1216">
                  <c:v>104.81762672341249</c:v>
                </c:pt>
                <c:pt idx="1217">
                  <c:v>104.78929806284042</c:v>
                </c:pt>
                <c:pt idx="1218">
                  <c:v>104.78929806284042</c:v>
                </c:pt>
                <c:pt idx="1219">
                  <c:v>104.78929806284042</c:v>
                </c:pt>
                <c:pt idx="1220">
                  <c:v>104.92689073788057</c:v>
                </c:pt>
                <c:pt idx="1221">
                  <c:v>104.86204966227241</c:v>
                </c:pt>
                <c:pt idx="1222">
                  <c:v>104.99594179482324</c:v>
                </c:pt>
                <c:pt idx="1223">
                  <c:v>104.75995686008407</c:v>
                </c:pt>
                <c:pt idx="1224">
                  <c:v>104.43474878434303</c:v>
                </c:pt>
                <c:pt idx="1225">
                  <c:v>104.43474878434303</c:v>
                </c:pt>
                <c:pt idx="1226">
                  <c:v>104.43474878434303</c:v>
                </c:pt>
                <c:pt idx="1227">
                  <c:v>104.05731000991024</c:v>
                </c:pt>
                <c:pt idx="1228">
                  <c:v>104.10062225182084</c:v>
                </c:pt>
                <c:pt idx="1229">
                  <c:v>104.41345942644259</c:v>
                </c:pt>
                <c:pt idx="1230">
                  <c:v>104.39971629776073</c:v>
                </c:pt>
                <c:pt idx="1231">
                  <c:v>104.24283023572255</c:v>
                </c:pt>
                <c:pt idx="1232">
                  <c:v>104.24283023572255</c:v>
                </c:pt>
                <c:pt idx="1233">
                  <c:v>104.24283023572255</c:v>
                </c:pt>
                <c:pt idx="1234">
                  <c:v>104.48977994108751</c:v>
                </c:pt>
                <c:pt idx="1235">
                  <c:v>104.55085373229633</c:v>
                </c:pt>
                <c:pt idx="1236">
                  <c:v>104.86807063934245</c:v>
                </c:pt>
                <c:pt idx="1237">
                  <c:v>104.58567253290551</c:v>
                </c:pt>
                <c:pt idx="1238">
                  <c:v>104.86014844472957</c:v>
                </c:pt>
                <c:pt idx="1239">
                  <c:v>104.86014844472957</c:v>
                </c:pt>
                <c:pt idx="1240">
                  <c:v>104.86014844472957</c:v>
                </c:pt>
                <c:pt idx="1241">
                  <c:v>105.2753726951148</c:v>
                </c:pt>
                <c:pt idx="1242">
                  <c:v>105.21616135277245</c:v>
                </c:pt>
                <c:pt idx="1243">
                  <c:v>105.06325473104791</c:v>
                </c:pt>
                <c:pt idx="1244">
                  <c:v>104.98093332183709</c:v>
                </c:pt>
                <c:pt idx="1245">
                  <c:v>104.97394671365558</c:v>
                </c:pt>
                <c:pt idx="1246">
                  <c:v>104.97394671365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04F-4E1F-B06E-48D36AF55A46}"/>
            </c:ext>
          </c:extLst>
        </c:ser>
        <c:ser>
          <c:idx val="4"/>
          <c:order val="4"/>
          <c:tx>
            <c:strRef>
              <c:f>FXHC!$X$11</c:f>
              <c:strCache>
                <c:ptCount val="1"/>
                <c:pt idx="0">
                  <c:v>Ethiopua</c:v>
                </c:pt>
              </c:strCache>
            </c:strRef>
          </c:tx>
          <c:spPr>
            <a:ln w="15875" cap="rnd">
              <a:solidFill>
                <a:srgbClr val="F046C8"/>
              </a:solidFill>
              <a:round/>
            </a:ln>
            <a:effectLst/>
          </c:spPr>
          <c:marker>
            <c:symbol val="none"/>
          </c:marker>
          <c:cat>
            <c:numRef>
              <c:f>FXHC!$S$12:$S$1258</c:f>
              <c:numCache>
                <c:formatCode>m/d/yyyy</c:formatCode>
                <c:ptCount val="1247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  <c:pt idx="243">
                  <c:v>44805</c:v>
                </c:pt>
                <c:pt idx="244">
                  <c:v>44806</c:v>
                </c:pt>
                <c:pt idx="245">
                  <c:v>44807</c:v>
                </c:pt>
                <c:pt idx="246">
                  <c:v>44808</c:v>
                </c:pt>
                <c:pt idx="247">
                  <c:v>44809</c:v>
                </c:pt>
                <c:pt idx="248">
                  <c:v>44810</c:v>
                </c:pt>
                <c:pt idx="249">
                  <c:v>44811</c:v>
                </c:pt>
                <c:pt idx="250">
                  <c:v>44812</c:v>
                </c:pt>
                <c:pt idx="251">
                  <c:v>44813</c:v>
                </c:pt>
                <c:pt idx="252">
                  <c:v>44814</c:v>
                </c:pt>
                <c:pt idx="253">
                  <c:v>44815</c:v>
                </c:pt>
                <c:pt idx="254">
                  <c:v>44816</c:v>
                </c:pt>
                <c:pt idx="255">
                  <c:v>44817</c:v>
                </c:pt>
                <c:pt idx="256">
                  <c:v>44818</c:v>
                </c:pt>
                <c:pt idx="257">
                  <c:v>44819</c:v>
                </c:pt>
                <c:pt idx="258">
                  <c:v>44820</c:v>
                </c:pt>
                <c:pt idx="259">
                  <c:v>44821</c:v>
                </c:pt>
                <c:pt idx="260">
                  <c:v>44822</c:v>
                </c:pt>
                <c:pt idx="261">
                  <c:v>44823</c:v>
                </c:pt>
                <c:pt idx="262">
                  <c:v>44824</c:v>
                </c:pt>
                <c:pt idx="263">
                  <c:v>44825</c:v>
                </c:pt>
                <c:pt idx="264">
                  <c:v>44826</c:v>
                </c:pt>
                <c:pt idx="265">
                  <c:v>44827</c:v>
                </c:pt>
                <c:pt idx="266">
                  <c:v>44828</c:v>
                </c:pt>
                <c:pt idx="267">
                  <c:v>44829</c:v>
                </c:pt>
                <c:pt idx="268">
                  <c:v>44830</c:v>
                </c:pt>
                <c:pt idx="269">
                  <c:v>44831</c:v>
                </c:pt>
                <c:pt idx="270">
                  <c:v>44832</c:v>
                </c:pt>
                <c:pt idx="271">
                  <c:v>44833</c:v>
                </c:pt>
                <c:pt idx="272">
                  <c:v>44834</c:v>
                </c:pt>
                <c:pt idx="273">
                  <c:v>44835</c:v>
                </c:pt>
                <c:pt idx="274">
                  <c:v>44836</c:v>
                </c:pt>
                <c:pt idx="275">
                  <c:v>44837</c:v>
                </c:pt>
                <c:pt idx="276">
                  <c:v>44838</c:v>
                </c:pt>
                <c:pt idx="277">
                  <c:v>44839</c:v>
                </c:pt>
                <c:pt idx="278">
                  <c:v>44840</c:v>
                </c:pt>
                <c:pt idx="279">
                  <c:v>44841</c:v>
                </c:pt>
                <c:pt idx="280">
                  <c:v>44842</c:v>
                </c:pt>
                <c:pt idx="281">
                  <c:v>44843</c:v>
                </c:pt>
                <c:pt idx="282">
                  <c:v>44844</c:v>
                </c:pt>
                <c:pt idx="283">
                  <c:v>44845</c:v>
                </c:pt>
                <c:pt idx="284">
                  <c:v>44846</c:v>
                </c:pt>
                <c:pt idx="285">
                  <c:v>44847</c:v>
                </c:pt>
                <c:pt idx="286">
                  <c:v>44848</c:v>
                </c:pt>
                <c:pt idx="287">
                  <c:v>44849</c:v>
                </c:pt>
                <c:pt idx="288">
                  <c:v>44850</c:v>
                </c:pt>
                <c:pt idx="289">
                  <c:v>44851</c:v>
                </c:pt>
                <c:pt idx="290">
                  <c:v>44852</c:v>
                </c:pt>
                <c:pt idx="291">
                  <c:v>44853</c:v>
                </c:pt>
                <c:pt idx="292">
                  <c:v>44854</c:v>
                </c:pt>
                <c:pt idx="293">
                  <c:v>44855</c:v>
                </c:pt>
                <c:pt idx="294">
                  <c:v>44856</c:v>
                </c:pt>
                <c:pt idx="295">
                  <c:v>44857</c:v>
                </c:pt>
                <c:pt idx="296">
                  <c:v>44858</c:v>
                </c:pt>
                <c:pt idx="297">
                  <c:v>44859</c:v>
                </c:pt>
                <c:pt idx="298">
                  <c:v>44860</c:v>
                </c:pt>
                <c:pt idx="299">
                  <c:v>44861</c:v>
                </c:pt>
                <c:pt idx="300">
                  <c:v>44862</c:v>
                </c:pt>
                <c:pt idx="301">
                  <c:v>44863</c:v>
                </c:pt>
                <c:pt idx="302">
                  <c:v>44864</c:v>
                </c:pt>
                <c:pt idx="303">
                  <c:v>44865</c:v>
                </c:pt>
                <c:pt idx="304">
                  <c:v>44866</c:v>
                </c:pt>
                <c:pt idx="305">
                  <c:v>44867</c:v>
                </c:pt>
                <c:pt idx="306">
                  <c:v>44868</c:v>
                </c:pt>
                <c:pt idx="307">
                  <c:v>44869</c:v>
                </c:pt>
                <c:pt idx="308">
                  <c:v>44870</c:v>
                </c:pt>
                <c:pt idx="309">
                  <c:v>44871</c:v>
                </c:pt>
                <c:pt idx="310">
                  <c:v>44872</c:v>
                </c:pt>
                <c:pt idx="311">
                  <c:v>44873</c:v>
                </c:pt>
                <c:pt idx="312">
                  <c:v>44874</c:v>
                </c:pt>
                <c:pt idx="313">
                  <c:v>44875</c:v>
                </c:pt>
                <c:pt idx="314">
                  <c:v>44876</c:v>
                </c:pt>
                <c:pt idx="315">
                  <c:v>44877</c:v>
                </c:pt>
                <c:pt idx="316">
                  <c:v>44878</c:v>
                </c:pt>
                <c:pt idx="317">
                  <c:v>44879</c:v>
                </c:pt>
                <c:pt idx="318">
                  <c:v>44880</c:v>
                </c:pt>
                <c:pt idx="319">
                  <c:v>44881</c:v>
                </c:pt>
                <c:pt idx="320">
                  <c:v>44882</c:v>
                </c:pt>
                <c:pt idx="321">
                  <c:v>44883</c:v>
                </c:pt>
                <c:pt idx="322">
                  <c:v>44884</c:v>
                </c:pt>
                <c:pt idx="323">
                  <c:v>44885</c:v>
                </c:pt>
                <c:pt idx="324">
                  <c:v>44886</c:v>
                </c:pt>
                <c:pt idx="325">
                  <c:v>44887</c:v>
                </c:pt>
                <c:pt idx="326">
                  <c:v>44888</c:v>
                </c:pt>
                <c:pt idx="327">
                  <c:v>44889</c:v>
                </c:pt>
                <c:pt idx="328">
                  <c:v>44890</c:v>
                </c:pt>
                <c:pt idx="329">
                  <c:v>44891</c:v>
                </c:pt>
                <c:pt idx="330">
                  <c:v>44892</c:v>
                </c:pt>
                <c:pt idx="331">
                  <c:v>44893</c:v>
                </c:pt>
                <c:pt idx="332">
                  <c:v>44894</c:v>
                </c:pt>
                <c:pt idx="333">
                  <c:v>44895</c:v>
                </c:pt>
                <c:pt idx="334">
                  <c:v>44896</c:v>
                </c:pt>
                <c:pt idx="335">
                  <c:v>44897</c:v>
                </c:pt>
                <c:pt idx="336">
                  <c:v>44898</c:v>
                </c:pt>
                <c:pt idx="337">
                  <c:v>44899</c:v>
                </c:pt>
                <c:pt idx="338">
                  <c:v>44900</c:v>
                </c:pt>
                <c:pt idx="339">
                  <c:v>44901</c:v>
                </c:pt>
                <c:pt idx="340">
                  <c:v>44902</c:v>
                </c:pt>
                <c:pt idx="341">
                  <c:v>44903</c:v>
                </c:pt>
                <c:pt idx="342">
                  <c:v>44904</c:v>
                </c:pt>
                <c:pt idx="343">
                  <c:v>44905</c:v>
                </c:pt>
                <c:pt idx="344">
                  <c:v>44906</c:v>
                </c:pt>
                <c:pt idx="345">
                  <c:v>44907</c:v>
                </c:pt>
                <c:pt idx="346">
                  <c:v>44908</c:v>
                </c:pt>
                <c:pt idx="347">
                  <c:v>44909</c:v>
                </c:pt>
                <c:pt idx="348">
                  <c:v>44910</c:v>
                </c:pt>
                <c:pt idx="349">
                  <c:v>44911</c:v>
                </c:pt>
                <c:pt idx="350">
                  <c:v>44912</c:v>
                </c:pt>
                <c:pt idx="351">
                  <c:v>44913</c:v>
                </c:pt>
                <c:pt idx="352">
                  <c:v>44914</c:v>
                </c:pt>
                <c:pt idx="353">
                  <c:v>44915</c:v>
                </c:pt>
                <c:pt idx="354">
                  <c:v>44916</c:v>
                </c:pt>
                <c:pt idx="355">
                  <c:v>44917</c:v>
                </c:pt>
                <c:pt idx="356">
                  <c:v>44918</c:v>
                </c:pt>
                <c:pt idx="357">
                  <c:v>44919</c:v>
                </c:pt>
                <c:pt idx="358">
                  <c:v>44920</c:v>
                </c:pt>
                <c:pt idx="359">
                  <c:v>44921</c:v>
                </c:pt>
                <c:pt idx="360">
                  <c:v>44922</c:v>
                </c:pt>
                <c:pt idx="361">
                  <c:v>44923</c:v>
                </c:pt>
                <c:pt idx="362">
                  <c:v>44924</c:v>
                </c:pt>
                <c:pt idx="363">
                  <c:v>44925</c:v>
                </c:pt>
                <c:pt idx="364">
                  <c:v>44926</c:v>
                </c:pt>
                <c:pt idx="365">
                  <c:v>44927</c:v>
                </c:pt>
                <c:pt idx="366">
                  <c:v>44928</c:v>
                </c:pt>
                <c:pt idx="367">
                  <c:v>44929</c:v>
                </c:pt>
                <c:pt idx="368">
                  <c:v>44930</c:v>
                </c:pt>
                <c:pt idx="369">
                  <c:v>44931</c:v>
                </c:pt>
                <c:pt idx="370">
                  <c:v>44932</c:v>
                </c:pt>
                <c:pt idx="371">
                  <c:v>44933</c:v>
                </c:pt>
                <c:pt idx="372">
                  <c:v>44934</c:v>
                </c:pt>
                <c:pt idx="373">
                  <c:v>44935</c:v>
                </c:pt>
                <c:pt idx="374">
                  <c:v>44936</c:v>
                </c:pt>
                <c:pt idx="375">
                  <c:v>44937</c:v>
                </c:pt>
                <c:pt idx="376">
                  <c:v>44938</c:v>
                </c:pt>
                <c:pt idx="377">
                  <c:v>44939</c:v>
                </c:pt>
                <c:pt idx="378">
                  <c:v>44940</c:v>
                </c:pt>
                <c:pt idx="379">
                  <c:v>44941</c:v>
                </c:pt>
                <c:pt idx="380">
                  <c:v>44942</c:v>
                </c:pt>
                <c:pt idx="381">
                  <c:v>44943</c:v>
                </c:pt>
                <c:pt idx="382">
                  <c:v>44944</c:v>
                </c:pt>
                <c:pt idx="383">
                  <c:v>44945</c:v>
                </c:pt>
                <c:pt idx="384">
                  <c:v>44946</c:v>
                </c:pt>
                <c:pt idx="385">
                  <c:v>44947</c:v>
                </c:pt>
                <c:pt idx="386">
                  <c:v>44948</c:v>
                </c:pt>
                <c:pt idx="387">
                  <c:v>44949</c:v>
                </c:pt>
                <c:pt idx="388">
                  <c:v>44950</c:v>
                </c:pt>
                <c:pt idx="389">
                  <c:v>44951</c:v>
                </c:pt>
                <c:pt idx="390">
                  <c:v>44952</c:v>
                </c:pt>
                <c:pt idx="391">
                  <c:v>44953</c:v>
                </c:pt>
                <c:pt idx="392">
                  <c:v>44954</c:v>
                </c:pt>
                <c:pt idx="393">
                  <c:v>44955</c:v>
                </c:pt>
                <c:pt idx="394">
                  <c:v>44956</c:v>
                </c:pt>
                <c:pt idx="395">
                  <c:v>44957</c:v>
                </c:pt>
                <c:pt idx="396">
                  <c:v>44958</c:v>
                </c:pt>
                <c:pt idx="397">
                  <c:v>44959</c:v>
                </c:pt>
                <c:pt idx="398">
                  <c:v>44960</c:v>
                </c:pt>
                <c:pt idx="399">
                  <c:v>44961</c:v>
                </c:pt>
                <c:pt idx="400">
                  <c:v>44962</c:v>
                </c:pt>
                <c:pt idx="401">
                  <c:v>44963</c:v>
                </c:pt>
                <c:pt idx="402">
                  <c:v>44964</c:v>
                </c:pt>
                <c:pt idx="403">
                  <c:v>44965</c:v>
                </c:pt>
                <c:pt idx="404">
                  <c:v>44966</c:v>
                </c:pt>
                <c:pt idx="405">
                  <c:v>44967</c:v>
                </c:pt>
                <c:pt idx="406">
                  <c:v>44968</c:v>
                </c:pt>
                <c:pt idx="407">
                  <c:v>44969</c:v>
                </c:pt>
                <c:pt idx="408">
                  <c:v>44970</c:v>
                </c:pt>
                <c:pt idx="409">
                  <c:v>44971</c:v>
                </c:pt>
                <c:pt idx="410">
                  <c:v>44972</c:v>
                </c:pt>
                <c:pt idx="411">
                  <c:v>44973</c:v>
                </c:pt>
                <c:pt idx="412">
                  <c:v>44974</c:v>
                </c:pt>
                <c:pt idx="413">
                  <c:v>44975</c:v>
                </c:pt>
                <c:pt idx="414">
                  <c:v>44976</c:v>
                </c:pt>
                <c:pt idx="415">
                  <c:v>44977</c:v>
                </c:pt>
                <c:pt idx="416">
                  <c:v>44978</c:v>
                </c:pt>
                <c:pt idx="417">
                  <c:v>44979</c:v>
                </c:pt>
                <c:pt idx="418">
                  <c:v>44980</c:v>
                </c:pt>
                <c:pt idx="419">
                  <c:v>44981</c:v>
                </c:pt>
                <c:pt idx="420">
                  <c:v>44982</c:v>
                </c:pt>
                <c:pt idx="421">
                  <c:v>44983</c:v>
                </c:pt>
                <c:pt idx="422">
                  <c:v>44984</c:v>
                </c:pt>
                <c:pt idx="423">
                  <c:v>44985</c:v>
                </c:pt>
                <c:pt idx="424">
                  <c:v>44986</c:v>
                </c:pt>
                <c:pt idx="425">
                  <c:v>44987</c:v>
                </c:pt>
                <c:pt idx="426">
                  <c:v>44988</c:v>
                </c:pt>
                <c:pt idx="427">
                  <c:v>44989</c:v>
                </c:pt>
                <c:pt idx="428">
                  <c:v>44990</c:v>
                </c:pt>
                <c:pt idx="429">
                  <c:v>44991</c:v>
                </c:pt>
                <c:pt idx="430">
                  <c:v>44992</c:v>
                </c:pt>
                <c:pt idx="431">
                  <c:v>44993</c:v>
                </c:pt>
                <c:pt idx="432">
                  <c:v>44994</c:v>
                </c:pt>
                <c:pt idx="433">
                  <c:v>44995</c:v>
                </c:pt>
                <c:pt idx="434">
                  <c:v>44996</c:v>
                </c:pt>
                <c:pt idx="435">
                  <c:v>44997</c:v>
                </c:pt>
                <c:pt idx="436">
                  <c:v>44998</c:v>
                </c:pt>
                <c:pt idx="437">
                  <c:v>44999</c:v>
                </c:pt>
                <c:pt idx="438">
                  <c:v>45000</c:v>
                </c:pt>
                <c:pt idx="439">
                  <c:v>45001</c:v>
                </c:pt>
                <c:pt idx="440">
                  <c:v>45002</c:v>
                </c:pt>
                <c:pt idx="441">
                  <c:v>45003</c:v>
                </c:pt>
                <c:pt idx="442">
                  <c:v>45004</c:v>
                </c:pt>
                <c:pt idx="443">
                  <c:v>45005</c:v>
                </c:pt>
                <c:pt idx="444">
                  <c:v>45006</c:v>
                </c:pt>
                <c:pt idx="445">
                  <c:v>45007</c:v>
                </c:pt>
                <c:pt idx="446">
                  <c:v>45008</c:v>
                </c:pt>
                <c:pt idx="447">
                  <c:v>45009</c:v>
                </c:pt>
                <c:pt idx="448">
                  <c:v>45010</c:v>
                </c:pt>
                <c:pt idx="449">
                  <c:v>45011</c:v>
                </c:pt>
                <c:pt idx="450">
                  <c:v>45012</c:v>
                </c:pt>
                <c:pt idx="451">
                  <c:v>45013</c:v>
                </c:pt>
                <c:pt idx="452">
                  <c:v>45014</c:v>
                </c:pt>
                <c:pt idx="453">
                  <c:v>45015</c:v>
                </c:pt>
                <c:pt idx="454">
                  <c:v>45016</c:v>
                </c:pt>
                <c:pt idx="455">
                  <c:v>45017</c:v>
                </c:pt>
                <c:pt idx="456">
                  <c:v>45018</c:v>
                </c:pt>
                <c:pt idx="457">
                  <c:v>45019</c:v>
                </c:pt>
                <c:pt idx="458">
                  <c:v>45020</c:v>
                </c:pt>
                <c:pt idx="459">
                  <c:v>45021</c:v>
                </c:pt>
                <c:pt idx="460">
                  <c:v>45022</c:v>
                </c:pt>
                <c:pt idx="461">
                  <c:v>45023</c:v>
                </c:pt>
                <c:pt idx="462">
                  <c:v>45024</c:v>
                </c:pt>
                <c:pt idx="463">
                  <c:v>45025</c:v>
                </c:pt>
                <c:pt idx="464">
                  <c:v>45026</c:v>
                </c:pt>
                <c:pt idx="465">
                  <c:v>45027</c:v>
                </c:pt>
                <c:pt idx="466">
                  <c:v>45028</c:v>
                </c:pt>
                <c:pt idx="467">
                  <c:v>45029</c:v>
                </c:pt>
                <c:pt idx="468">
                  <c:v>45030</c:v>
                </c:pt>
                <c:pt idx="469">
                  <c:v>45031</c:v>
                </c:pt>
                <c:pt idx="470">
                  <c:v>45032</c:v>
                </c:pt>
                <c:pt idx="471">
                  <c:v>45033</c:v>
                </c:pt>
                <c:pt idx="472">
                  <c:v>45034</c:v>
                </c:pt>
                <c:pt idx="473">
                  <c:v>45035</c:v>
                </c:pt>
                <c:pt idx="474">
                  <c:v>45036</c:v>
                </c:pt>
                <c:pt idx="475">
                  <c:v>45037</c:v>
                </c:pt>
                <c:pt idx="476">
                  <c:v>45038</c:v>
                </c:pt>
                <c:pt idx="477">
                  <c:v>45039</c:v>
                </c:pt>
                <c:pt idx="478">
                  <c:v>45040</c:v>
                </c:pt>
                <c:pt idx="479">
                  <c:v>45041</c:v>
                </c:pt>
                <c:pt idx="480">
                  <c:v>45042</c:v>
                </c:pt>
                <c:pt idx="481">
                  <c:v>45043</c:v>
                </c:pt>
                <c:pt idx="482">
                  <c:v>45044</c:v>
                </c:pt>
                <c:pt idx="483">
                  <c:v>45045</c:v>
                </c:pt>
                <c:pt idx="484">
                  <c:v>45046</c:v>
                </c:pt>
                <c:pt idx="485">
                  <c:v>45047</c:v>
                </c:pt>
                <c:pt idx="486">
                  <c:v>45048</c:v>
                </c:pt>
                <c:pt idx="487">
                  <c:v>45049</c:v>
                </c:pt>
                <c:pt idx="488">
                  <c:v>45050</c:v>
                </c:pt>
                <c:pt idx="489">
                  <c:v>45051</c:v>
                </c:pt>
                <c:pt idx="490">
                  <c:v>45052</c:v>
                </c:pt>
                <c:pt idx="491">
                  <c:v>45053</c:v>
                </c:pt>
                <c:pt idx="492">
                  <c:v>45054</c:v>
                </c:pt>
                <c:pt idx="493">
                  <c:v>45055</c:v>
                </c:pt>
                <c:pt idx="494">
                  <c:v>45056</c:v>
                </c:pt>
                <c:pt idx="495">
                  <c:v>45057</c:v>
                </c:pt>
                <c:pt idx="496">
                  <c:v>45058</c:v>
                </c:pt>
                <c:pt idx="497">
                  <c:v>45059</c:v>
                </c:pt>
                <c:pt idx="498">
                  <c:v>45060</c:v>
                </c:pt>
                <c:pt idx="499">
                  <c:v>45061</c:v>
                </c:pt>
                <c:pt idx="500">
                  <c:v>45062</c:v>
                </c:pt>
                <c:pt idx="501">
                  <c:v>45063</c:v>
                </c:pt>
                <c:pt idx="502">
                  <c:v>45064</c:v>
                </c:pt>
                <c:pt idx="503">
                  <c:v>45065</c:v>
                </c:pt>
                <c:pt idx="504">
                  <c:v>45066</c:v>
                </c:pt>
                <c:pt idx="505">
                  <c:v>45067</c:v>
                </c:pt>
                <c:pt idx="506">
                  <c:v>45068</c:v>
                </c:pt>
                <c:pt idx="507">
                  <c:v>45069</c:v>
                </c:pt>
                <c:pt idx="508">
                  <c:v>45070</c:v>
                </c:pt>
                <c:pt idx="509">
                  <c:v>45071</c:v>
                </c:pt>
                <c:pt idx="510">
                  <c:v>45072</c:v>
                </c:pt>
                <c:pt idx="511">
                  <c:v>45073</c:v>
                </c:pt>
                <c:pt idx="512">
                  <c:v>45074</c:v>
                </c:pt>
                <c:pt idx="513">
                  <c:v>45075</c:v>
                </c:pt>
                <c:pt idx="514">
                  <c:v>45076</c:v>
                </c:pt>
                <c:pt idx="515">
                  <c:v>45077</c:v>
                </c:pt>
                <c:pt idx="516">
                  <c:v>45078</c:v>
                </c:pt>
                <c:pt idx="517">
                  <c:v>45079</c:v>
                </c:pt>
                <c:pt idx="518">
                  <c:v>45080</c:v>
                </c:pt>
                <c:pt idx="519">
                  <c:v>45081</c:v>
                </c:pt>
                <c:pt idx="520">
                  <c:v>45082</c:v>
                </c:pt>
                <c:pt idx="521">
                  <c:v>45083</c:v>
                </c:pt>
                <c:pt idx="522">
                  <c:v>45084</c:v>
                </c:pt>
                <c:pt idx="523">
                  <c:v>45085</c:v>
                </c:pt>
                <c:pt idx="524">
                  <c:v>45086</c:v>
                </c:pt>
                <c:pt idx="525">
                  <c:v>45087</c:v>
                </c:pt>
                <c:pt idx="526">
                  <c:v>45088</c:v>
                </c:pt>
                <c:pt idx="527">
                  <c:v>45089</c:v>
                </c:pt>
                <c:pt idx="528">
                  <c:v>45090</c:v>
                </c:pt>
                <c:pt idx="529">
                  <c:v>45091</c:v>
                </c:pt>
                <c:pt idx="530">
                  <c:v>45092</c:v>
                </c:pt>
                <c:pt idx="531">
                  <c:v>45093</c:v>
                </c:pt>
                <c:pt idx="532">
                  <c:v>45094</c:v>
                </c:pt>
                <c:pt idx="533">
                  <c:v>45095</c:v>
                </c:pt>
                <c:pt idx="534">
                  <c:v>45096</c:v>
                </c:pt>
                <c:pt idx="535">
                  <c:v>45097</c:v>
                </c:pt>
                <c:pt idx="536">
                  <c:v>45098</c:v>
                </c:pt>
                <c:pt idx="537">
                  <c:v>45099</c:v>
                </c:pt>
                <c:pt idx="538">
                  <c:v>45100</c:v>
                </c:pt>
                <c:pt idx="539">
                  <c:v>45101</c:v>
                </c:pt>
                <c:pt idx="540">
                  <c:v>45102</c:v>
                </c:pt>
                <c:pt idx="541">
                  <c:v>45103</c:v>
                </c:pt>
                <c:pt idx="542">
                  <c:v>45104</c:v>
                </c:pt>
                <c:pt idx="543">
                  <c:v>45105</c:v>
                </c:pt>
                <c:pt idx="544">
                  <c:v>45106</c:v>
                </c:pt>
                <c:pt idx="545">
                  <c:v>45107</c:v>
                </c:pt>
                <c:pt idx="546">
                  <c:v>45108</c:v>
                </c:pt>
                <c:pt idx="547">
                  <c:v>45109</c:v>
                </c:pt>
                <c:pt idx="548">
                  <c:v>45110</c:v>
                </c:pt>
                <c:pt idx="549">
                  <c:v>45111</c:v>
                </c:pt>
                <c:pt idx="550">
                  <c:v>45112</c:v>
                </c:pt>
                <c:pt idx="551">
                  <c:v>45113</c:v>
                </c:pt>
                <c:pt idx="552">
                  <c:v>45114</c:v>
                </c:pt>
                <c:pt idx="553">
                  <c:v>45115</c:v>
                </c:pt>
                <c:pt idx="554">
                  <c:v>45116</c:v>
                </c:pt>
                <c:pt idx="555">
                  <c:v>45117</c:v>
                </c:pt>
                <c:pt idx="556">
                  <c:v>45118</c:v>
                </c:pt>
                <c:pt idx="557">
                  <c:v>45119</c:v>
                </c:pt>
                <c:pt idx="558">
                  <c:v>45120</c:v>
                </c:pt>
                <c:pt idx="559">
                  <c:v>45121</c:v>
                </c:pt>
                <c:pt idx="560">
                  <c:v>45122</c:v>
                </c:pt>
                <c:pt idx="561">
                  <c:v>45123</c:v>
                </c:pt>
                <c:pt idx="562">
                  <c:v>45124</c:v>
                </c:pt>
                <c:pt idx="563">
                  <c:v>45125</c:v>
                </c:pt>
                <c:pt idx="564">
                  <c:v>45126</c:v>
                </c:pt>
                <c:pt idx="565">
                  <c:v>45127</c:v>
                </c:pt>
                <c:pt idx="566">
                  <c:v>45128</c:v>
                </c:pt>
                <c:pt idx="567">
                  <c:v>45129</c:v>
                </c:pt>
                <c:pt idx="568">
                  <c:v>45130</c:v>
                </c:pt>
                <c:pt idx="569">
                  <c:v>45131</c:v>
                </c:pt>
                <c:pt idx="570">
                  <c:v>45132</c:v>
                </c:pt>
                <c:pt idx="571">
                  <c:v>45133</c:v>
                </c:pt>
                <c:pt idx="572">
                  <c:v>45134</c:v>
                </c:pt>
                <c:pt idx="573">
                  <c:v>45135</c:v>
                </c:pt>
                <c:pt idx="574">
                  <c:v>45136</c:v>
                </c:pt>
                <c:pt idx="575">
                  <c:v>45137</c:v>
                </c:pt>
                <c:pt idx="576">
                  <c:v>45138</c:v>
                </c:pt>
                <c:pt idx="577">
                  <c:v>45139</c:v>
                </c:pt>
                <c:pt idx="578">
                  <c:v>45140</c:v>
                </c:pt>
                <c:pt idx="579">
                  <c:v>45141</c:v>
                </c:pt>
                <c:pt idx="580">
                  <c:v>45142</c:v>
                </c:pt>
                <c:pt idx="581">
                  <c:v>45143</c:v>
                </c:pt>
                <c:pt idx="582">
                  <c:v>45144</c:v>
                </c:pt>
                <c:pt idx="583">
                  <c:v>45145</c:v>
                </c:pt>
                <c:pt idx="584">
                  <c:v>45146</c:v>
                </c:pt>
                <c:pt idx="585">
                  <c:v>45147</c:v>
                </c:pt>
                <c:pt idx="586">
                  <c:v>45148</c:v>
                </c:pt>
                <c:pt idx="587">
                  <c:v>45149</c:v>
                </c:pt>
                <c:pt idx="588">
                  <c:v>45150</c:v>
                </c:pt>
                <c:pt idx="589">
                  <c:v>45151</c:v>
                </c:pt>
                <c:pt idx="590">
                  <c:v>45152</c:v>
                </c:pt>
                <c:pt idx="591">
                  <c:v>45153</c:v>
                </c:pt>
                <c:pt idx="592">
                  <c:v>45154</c:v>
                </c:pt>
                <c:pt idx="593">
                  <c:v>45155</c:v>
                </c:pt>
                <c:pt idx="594">
                  <c:v>45156</c:v>
                </c:pt>
                <c:pt idx="595">
                  <c:v>45157</c:v>
                </c:pt>
                <c:pt idx="596">
                  <c:v>45158</c:v>
                </c:pt>
                <c:pt idx="597">
                  <c:v>45159</c:v>
                </c:pt>
                <c:pt idx="598">
                  <c:v>45160</c:v>
                </c:pt>
                <c:pt idx="599">
                  <c:v>45161</c:v>
                </c:pt>
                <c:pt idx="600">
                  <c:v>45162</c:v>
                </c:pt>
                <c:pt idx="601">
                  <c:v>45163</c:v>
                </c:pt>
                <c:pt idx="602">
                  <c:v>45164</c:v>
                </c:pt>
                <c:pt idx="603">
                  <c:v>45165</c:v>
                </c:pt>
                <c:pt idx="604">
                  <c:v>45166</c:v>
                </c:pt>
                <c:pt idx="605">
                  <c:v>45167</c:v>
                </c:pt>
                <c:pt idx="606">
                  <c:v>45168</c:v>
                </c:pt>
                <c:pt idx="607">
                  <c:v>45169</c:v>
                </c:pt>
                <c:pt idx="608">
                  <c:v>45170</c:v>
                </c:pt>
                <c:pt idx="609">
                  <c:v>45171</c:v>
                </c:pt>
                <c:pt idx="610">
                  <c:v>45172</c:v>
                </c:pt>
                <c:pt idx="611">
                  <c:v>45173</c:v>
                </c:pt>
                <c:pt idx="612">
                  <c:v>45174</c:v>
                </c:pt>
                <c:pt idx="613">
                  <c:v>45175</c:v>
                </c:pt>
                <c:pt idx="614">
                  <c:v>45176</c:v>
                </c:pt>
                <c:pt idx="615">
                  <c:v>45177</c:v>
                </c:pt>
                <c:pt idx="616">
                  <c:v>45178</c:v>
                </c:pt>
                <c:pt idx="617">
                  <c:v>45179</c:v>
                </c:pt>
                <c:pt idx="618">
                  <c:v>45180</c:v>
                </c:pt>
                <c:pt idx="619">
                  <c:v>45181</c:v>
                </c:pt>
                <c:pt idx="620">
                  <c:v>45182</c:v>
                </c:pt>
                <c:pt idx="621">
                  <c:v>45183</c:v>
                </c:pt>
                <c:pt idx="622">
                  <c:v>45184</c:v>
                </c:pt>
                <c:pt idx="623">
                  <c:v>45185</c:v>
                </c:pt>
                <c:pt idx="624">
                  <c:v>45186</c:v>
                </c:pt>
                <c:pt idx="625">
                  <c:v>45187</c:v>
                </c:pt>
                <c:pt idx="626">
                  <c:v>45188</c:v>
                </c:pt>
                <c:pt idx="627">
                  <c:v>45189</c:v>
                </c:pt>
                <c:pt idx="628">
                  <c:v>45190</c:v>
                </c:pt>
                <c:pt idx="629">
                  <c:v>45191</c:v>
                </c:pt>
                <c:pt idx="630">
                  <c:v>45192</c:v>
                </c:pt>
                <c:pt idx="631">
                  <c:v>45193</c:v>
                </c:pt>
                <c:pt idx="632">
                  <c:v>45194</c:v>
                </c:pt>
                <c:pt idx="633">
                  <c:v>45195</c:v>
                </c:pt>
                <c:pt idx="634">
                  <c:v>45196</c:v>
                </c:pt>
                <c:pt idx="635">
                  <c:v>45197</c:v>
                </c:pt>
                <c:pt idx="636">
                  <c:v>45198</c:v>
                </c:pt>
                <c:pt idx="637">
                  <c:v>45199</c:v>
                </c:pt>
                <c:pt idx="638">
                  <c:v>45200</c:v>
                </c:pt>
                <c:pt idx="639">
                  <c:v>45201</c:v>
                </c:pt>
                <c:pt idx="640">
                  <c:v>45202</c:v>
                </c:pt>
                <c:pt idx="641">
                  <c:v>45203</c:v>
                </c:pt>
                <c:pt idx="642">
                  <c:v>45204</c:v>
                </c:pt>
                <c:pt idx="643">
                  <c:v>45205</c:v>
                </c:pt>
                <c:pt idx="644">
                  <c:v>45206</c:v>
                </c:pt>
                <c:pt idx="645">
                  <c:v>45207</c:v>
                </c:pt>
                <c:pt idx="646">
                  <c:v>45208</c:v>
                </c:pt>
                <c:pt idx="647">
                  <c:v>45209</c:v>
                </c:pt>
                <c:pt idx="648">
                  <c:v>45210</c:v>
                </c:pt>
                <c:pt idx="649">
                  <c:v>45211</c:v>
                </c:pt>
                <c:pt idx="650">
                  <c:v>45212</c:v>
                </c:pt>
                <c:pt idx="651">
                  <c:v>45213</c:v>
                </c:pt>
                <c:pt idx="652">
                  <c:v>45214</c:v>
                </c:pt>
                <c:pt idx="653">
                  <c:v>45215</c:v>
                </c:pt>
                <c:pt idx="654">
                  <c:v>45216</c:v>
                </c:pt>
                <c:pt idx="655">
                  <c:v>45217</c:v>
                </c:pt>
                <c:pt idx="656">
                  <c:v>45218</c:v>
                </c:pt>
                <c:pt idx="657">
                  <c:v>45219</c:v>
                </c:pt>
                <c:pt idx="658">
                  <c:v>45220</c:v>
                </c:pt>
                <c:pt idx="659">
                  <c:v>45221</c:v>
                </c:pt>
                <c:pt idx="660">
                  <c:v>45222</c:v>
                </c:pt>
                <c:pt idx="661">
                  <c:v>45223</c:v>
                </c:pt>
                <c:pt idx="662">
                  <c:v>45224</c:v>
                </c:pt>
                <c:pt idx="663">
                  <c:v>45225</c:v>
                </c:pt>
                <c:pt idx="664">
                  <c:v>45226</c:v>
                </c:pt>
                <c:pt idx="665">
                  <c:v>45227</c:v>
                </c:pt>
                <c:pt idx="666">
                  <c:v>45228</c:v>
                </c:pt>
                <c:pt idx="667">
                  <c:v>45229</c:v>
                </c:pt>
                <c:pt idx="668">
                  <c:v>45230</c:v>
                </c:pt>
                <c:pt idx="669">
                  <c:v>45231</c:v>
                </c:pt>
                <c:pt idx="670">
                  <c:v>45232</c:v>
                </c:pt>
                <c:pt idx="671">
                  <c:v>45233</c:v>
                </c:pt>
                <c:pt idx="672">
                  <c:v>45234</c:v>
                </c:pt>
                <c:pt idx="673">
                  <c:v>45235</c:v>
                </c:pt>
                <c:pt idx="674">
                  <c:v>45236</c:v>
                </c:pt>
                <c:pt idx="675">
                  <c:v>45237</c:v>
                </c:pt>
                <c:pt idx="676">
                  <c:v>45238</c:v>
                </c:pt>
                <c:pt idx="677">
                  <c:v>45239</c:v>
                </c:pt>
                <c:pt idx="678">
                  <c:v>45240</c:v>
                </c:pt>
                <c:pt idx="679">
                  <c:v>45241</c:v>
                </c:pt>
                <c:pt idx="680">
                  <c:v>45242</c:v>
                </c:pt>
                <c:pt idx="681">
                  <c:v>45243</c:v>
                </c:pt>
                <c:pt idx="682">
                  <c:v>45244</c:v>
                </c:pt>
                <c:pt idx="683">
                  <c:v>45245</c:v>
                </c:pt>
                <c:pt idx="684">
                  <c:v>45246</c:v>
                </c:pt>
                <c:pt idx="685">
                  <c:v>45247</c:v>
                </c:pt>
                <c:pt idx="686">
                  <c:v>45248</c:v>
                </c:pt>
                <c:pt idx="687">
                  <c:v>45249</c:v>
                </c:pt>
                <c:pt idx="688">
                  <c:v>45250</c:v>
                </c:pt>
                <c:pt idx="689">
                  <c:v>45251</c:v>
                </c:pt>
                <c:pt idx="690">
                  <c:v>45252</c:v>
                </c:pt>
                <c:pt idx="691">
                  <c:v>45253</c:v>
                </c:pt>
                <c:pt idx="692">
                  <c:v>45254</c:v>
                </c:pt>
                <c:pt idx="693">
                  <c:v>45255</c:v>
                </c:pt>
                <c:pt idx="694">
                  <c:v>45256</c:v>
                </c:pt>
                <c:pt idx="695">
                  <c:v>45257</c:v>
                </c:pt>
                <c:pt idx="696">
                  <c:v>45258</c:v>
                </c:pt>
                <c:pt idx="697">
                  <c:v>45259</c:v>
                </c:pt>
                <c:pt idx="698">
                  <c:v>45260</c:v>
                </c:pt>
                <c:pt idx="699">
                  <c:v>45261</c:v>
                </c:pt>
                <c:pt idx="700">
                  <c:v>45262</c:v>
                </c:pt>
                <c:pt idx="701">
                  <c:v>45263</c:v>
                </c:pt>
                <c:pt idx="702">
                  <c:v>45264</c:v>
                </c:pt>
                <c:pt idx="703">
                  <c:v>45265</c:v>
                </c:pt>
                <c:pt idx="704">
                  <c:v>45266</c:v>
                </c:pt>
                <c:pt idx="705">
                  <c:v>45267</c:v>
                </c:pt>
                <c:pt idx="706">
                  <c:v>45268</c:v>
                </c:pt>
                <c:pt idx="707">
                  <c:v>45269</c:v>
                </c:pt>
                <c:pt idx="708">
                  <c:v>45270</c:v>
                </c:pt>
                <c:pt idx="709">
                  <c:v>45271</c:v>
                </c:pt>
                <c:pt idx="710">
                  <c:v>45272</c:v>
                </c:pt>
                <c:pt idx="711">
                  <c:v>45273</c:v>
                </c:pt>
                <c:pt idx="712">
                  <c:v>45274</c:v>
                </c:pt>
                <c:pt idx="713">
                  <c:v>45275</c:v>
                </c:pt>
                <c:pt idx="714">
                  <c:v>45276</c:v>
                </c:pt>
                <c:pt idx="715">
                  <c:v>45277</c:v>
                </c:pt>
                <c:pt idx="716">
                  <c:v>45278</c:v>
                </c:pt>
                <c:pt idx="717">
                  <c:v>45279</c:v>
                </c:pt>
                <c:pt idx="718">
                  <c:v>45280</c:v>
                </c:pt>
                <c:pt idx="719">
                  <c:v>45281</c:v>
                </c:pt>
                <c:pt idx="720">
                  <c:v>45282</c:v>
                </c:pt>
                <c:pt idx="721">
                  <c:v>45283</c:v>
                </c:pt>
                <c:pt idx="722">
                  <c:v>45284</c:v>
                </c:pt>
                <c:pt idx="723">
                  <c:v>45285</c:v>
                </c:pt>
                <c:pt idx="724">
                  <c:v>45286</c:v>
                </c:pt>
                <c:pt idx="725">
                  <c:v>45287</c:v>
                </c:pt>
                <c:pt idx="726">
                  <c:v>45288</c:v>
                </c:pt>
                <c:pt idx="727">
                  <c:v>45289</c:v>
                </c:pt>
                <c:pt idx="728">
                  <c:v>45290</c:v>
                </c:pt>
                <c:pt idx="729">
                  <c:v>45291</c:v>
                </c:pt>
                <c:pt idx="730">
                  <c:v>45292</c:v>
                </c:pt>
                <c:pt idx="731">
                  <c:v>45293</c:v>
                </c:pt>
                <c:pt idx="732">
                  <c:v>45294</c:v>
                </c:pt>
                <c:pt idx="733">
                  <c:v>45295</c:v>
                </c:pt>
                <c:pt idx="734">
                  <c:v>45296</c:v>
                </c:pt>
                <c:pt idx="735">
                  <c:v>45297</c:v>
                </c:pt>
                <c:pt idx="736">
                  <c:v>45298</c:v>
                </c:pt>
                <c:pt idx="737">
                  <c:v>45299</c:v>
                </c:pt>
                <c:pt idx="738">
                  <c:v>45300</c:v>
                </c:pt>
                <c:pt idx="739">
                  <c:v>45301</c:v>
                </c:pt>
                <c:pt idx="740">
                  <c:v>45302</c:v>
                </c:pt>
                <c:pt idx="741">
                  <c:v>45303</c:v>
                </c:pt>
                <c:pt idx="742">
                  <c:v>45304</c:v>
                </c:pt>
                <c:pt idx="743">
                  <c:v>45305</c:v>
                </c:pt>
                <c:pt idx="744">
                  <c:v>45306</c:v>
                </c:pt>
                <c:pt idx="745">
                  <c:v>45307</c:v>
                </c:pt>
                <c:pt idx="746">
                  <c:v>45308</c:v>
                </c:pt>
                <c:pt idx="747">
                  <c:v>45309</c:v>
                </c:pt>
                <c:pt idx="748">
                  <c:v>45310</c:v>
                </c:pt>
                <c:pt idx="749">
                  <c:v>45311</c:v>
                </c:pt>
                <c:pt idx="750">
                  <c:v>45312</c:v>
                </c:pt>
                <c:pt idx="751">
                  <c:v>45313</c:v>
                </c:pt>
                <c:pt idx="752">
                  <c:v>45314</c:v>
                </c:pt>
                <c:pt idx="753">
                  <c:v>45315</c:v>
                </c:pt>
                <c:pt idx="754">
                  <c:v>45316</c:v>
                </c:pt>
                <c:pt idx="755">
                  <c:v>45317</c:v>
                </c:pt>
                <c:pt idx="756">
                  <c:v>45318</c:v>
                </c:pt>
                <c:pt idx="757">
                  <c:v>45319</c:v>
                </c:pt>
                <c:pt idx="758">
                  <c:v>45320</c:v>
                </c:pt>
                <c:pt idx="759">
                  <c:v>45321</c:v>
                </c:pt>
                <c:pt idx="760">
                  <c:v>45322</c:v>
                </c:pt>
                <c:pt idx="761">
                  <c:v>45323</c:v>
                </c:pt>
                <c:pt idx="762">
                  <c:v>45324</c:v>
                </c:pt>
                <c:pt idx="763">
                  <c:v>45325</c:v>
                </c:pt>
                <c:pt idx="764">
                  <c:v>45326</c:v>
                </c:pt>
                <c:pt idx="765">
                  <c:v>45327</c:v>
                </c:pt>
                <c:pt idx="766">
                  <c:v>45328</c:v>
                </c:pt>
                <c:pt idx="767">
                  <c:v>45329</c:v>
                </c:pt>
                <c:pt idx="768">
                  <c:v>45330</c:v>
                </c:pt>
                <c:pt idx="769">
                  <c:v>45331</c:v>
                </c:pt>
                <c:pt idx="770">
                  <c:v>45332</c:v>
                </c:pt>
                <c:pt idx="771">
                  <c:v>45333</c:v>
                </c:pt>
                <c:pt idx="772">
                  <c:v>45334</c:v>
                </c:pt>
                <c:pt idx="773">
                  <c:v>45335</c:v>
                </c:pt>
                <c:pt idx="774">
                  <c:v>45336</c:v>
                </c:pt>
                <c:pt idx="775">
                  <c:v>45337</c:v>
                </c:pt>
                <c:pt idx="776">
                  <c:v>45338</c:v>
                </c:pt>
                <c:pt idx="777">
                  <c:v>45339</c:v>
                </c:pt>
                <c:pt idx="778">
                  <c:v>45340</c:v>
                </c:pt>
                <c:pt idx="779">
                  <c:v>45341</c:v>
                </c:pt>
                <c:pt idx="780">
                  <c:v>45342</c:v>
                </c:pt>
                <c:pt idx="781">
                  <c:v>45343</c:v>
                </c:pt>
                <c:pt idx="782">
                  <c:v>45344</c:v>
                </c:pt>
                <c:pt idx="783">
                  <c:v>45345</c:v>
                </c:pt>
                <c:pt idx="784">
                  <c:v>45346</c:v>
                </c:pt>
                <c:pt idx="785">
                  <c:v>45347</c:v>
                </c:pt>
                <c:pt idx="786">
                  <c:v>45348</c:v>
                </c:pt>
                <c:pt idx="787">
                  <c:v>45349</c:v>
                </c:pt>
                <c:pt idx="788">
                  <c:v>45350</c:v>
                </c:pt>
                <c:pt idx="789">
                  <c:v>45351</c:v>
                </c:pt>
                <c:pt idx="790">
                  <c:v>45352</c:v>
                </c:pt>
                <c:pt idx="791">
                  <c:v>45353</c:v>
                </c:pt>
                <c:pt idx="792">
                  <c:v>45354</c:v>
                </c:pt>
                <c:pt idx="793">
                  <c:v>45355</c:v>
                </c:pt>
                <c:pt idx="794">
                  <c:v>45356</c:v>
                </c:pt>
                <c:pt idx="795">
                  <c:v>45357</c:v>
                </c:pt>
                <c:pt idx="796">
                  <c:v>45358</c:v>
                </c:pt>
                <c:pt idx="797">
                  <c:v>45359</c:v>
                </c:pt>
                <c:pt idx="798">
                  <c:v>45360</c:v>
                </c:pt>
                <c:pt idx="799">
                  <c:v>45361</c:v>
                </c:pt>
                <c:pt idx="800">
                  <c:v>45362</c:v>
                </c:pt>
                <c:pt idx="801">
                  <c:v>45363</c:v>
                </c:pt>
                <c:pt idx="802">
                  <c:v>45364</c:v>
                </c:pt>
                <c:pt idx="803">
                  <c:v>45365</c:v>
                </c:pt>
                <c:pt idx="804">
                  <c:v>45366</c:v>
                </c:pt>
                <c:pt idx="805">
                  <c:v>45367</c:v>
                </c:pt>
                <c:pt idx="806">
                  <c:v>45368</c:v>
                </c:pt>
                <c:pt idx="807">
                  <c:v>45369</c:v>
                </c:pt>
                <c:pt idx="808">
                  <c:v>45370</c:v>
                </c:pt>
                <c:pt idx="809">
                  <c:v>45371</c:v>
                </c:pt>
                <c:pt idx="810">
                  <c:v>45372</c:v>
                </c:pt>
                <c:pt idx="811">
                  <c:v>45373</c:v>
                </c:pt>
                <c:pt idx="812">
                  <c:v>45374</c:v>
                </c:pt>
                <c:pt idx="813">
                  <c:v>45375</c:v>
                </c:pt>
                <c:pt idx="814">
                  <c:v>45376</c:v>
                </c:pt>
                <c:pt idx="815">
                  <c:v>45377</c:v>
                </c:pt>
                <c:pt idx="816">
                  <c:v>45378</c:v>
                </c:pt>
                <c:pt idx="817">
                  <c:v>45379</c:v>
                </c:pt>
                <c:pt idx="818">
                  <c:v>45380</c:v>
                </c:pt>
                <c:pt idx="819">
                  <c:v>45381</c:v>
                </c:pt>
                <c:pt idx="820">
                  <c:v>45382</c:v>
                </c:pt>
                <c:pt idx="821">
                  <c:v>45383</c:v>
                </c:pt>
                <c:pt idx="822">
                  <c:v>45384</c:v>
                </c:pt>
                <c:pt idx="823">
                  <c:v>45385</c:v>
                </c:pt>
                <c:pt idx="824">
                  <c:v>45386</c:v>
                </c:pt>
                <c:pt idx="825">
                  <c:v>45387</c:v>
                </c:pt>
                <c:pt idx="826">
                  <c:v>45388</c:v>
                </c:pt>
                <c:pt idx="827">
                  <c:v>45389</c:v>
                </c:pt>
                <c:pt idx="828">
                  <c:v>45390</c:v>
                </c:pt>
                <c:pt idx="829">
                  <c:v>45391</c:v>
                </c:pt>
                <c:pt idx="830">
                  <c:v>45392</c:v>
                </c:pt>
                <c:pt idx="831">
                  <c:v>45393</c:v>
                </c:pt>
                <c:pt idx="832">
                  <c:v>45394</c:v>
                </c:pt>
                <c:pt idx="833">
                  <c:v>45395</c:v>
                </c:pt>
                <c:pt idx="834">
                  <c:v>45396</c:v>
                </c:pt>
                <c:pt idx="835">
                  <c:v>45397</c:v>
                </c:pt>
                <c:pt idx="836">
                  <c:v>45398</c:v>
                </c:pt>
                <c:pt idx="837">
                  <c:v>45399</c:v>
                </c:pt>
                <c:pt idx="838">
                  <c:v>45400</c:v>
                </c:pt>
                <c:pt idx="839">
                  <c:v>45401</c:v>
                </c:pt>
                <c:pt idx="840">
                  <c:v>45402</c:v>
                </c:pt>
                <c:pt idx="841">
                  <c:v>45403</c:v>
                </c:pt>
                <c:pt idx="842">
                  <c:v>45404</c:v>
                </c:pt>
                <c:pt idx="843">
                  <c:v>45405</c:v>
                </c:pt>
                <c:pt idx="844">
                  <c:v>45406</c:v>
                </c:pt>
                <c:pt idx="845">
                  <c:v>45407</c:v>
                </c:pt>
                <c:pt idx="846">
                  <c:v>45408</c:v>
                </c:pt>
                <c:pt idx="847">
                  <c:v>45409</c:v>
                </c:pt>
                <c:pt idx="848">
                  <c:v>45410</c:v>
                </c:pt>
                <c:pt idx="849">
                  <c:v>45411</c:v>
                </c:pt>
                <c:pt idx="850">
                  <c:v>45412</c:v>
                </c:pt>
                <c:pt idx="851">
                  <c:v>45413</c:v>
                </c:pt>
                <c:pt idx="852">
                  <c:v>45414</c:v>
                </c:pt>
                <c:pt idx="853">
                  <c:v>45415</c:v>
                </c:pt>
                <c:pt idx="854">
                  <c:v>45416</c:v>
                </c:pt>
                <c:pt idx="855">
                  <c:v>45417</c:v>
                </c:pt>
                <c:pt idx="856">
                  <c:v>45418</c:v>
                </c:pt>
                <c:pt idx="857">
                  <c:v>45419</c:v>
                </c:pt>
                <c:pt idx="858">
                  <c:v>45420</c:v>
                </c:pt>
                <c:pt idx="859">
                  <c:v>45421</c:v>
                </c:pt>
                <c:pt idx="860">
                  <c:v>45422</c:v>
                </c:pt>
                <c:pt idx="861">
                  <c:v>45423</c:v>
                </c:pt>
                <c:pt idx="862">
                  <c:v>45424</c:v>
                </c:pt>
                <c:pt idx="863">
                  <c:v>45425</c:v>
                </c:pt>
                <c:pt idx="864">
                  <c:v>45426</c:v>
                </c:pt>
                <c:pt idx="865">
                  <c:v>45427</c:v>
                </c:pt>
                <c:pt idx="866">
                  <c:v>45428</c:v>
                </c:pt>
                <c:pt idx="867">
                  <c:v>45429</c:v>
                </c:pt>
                <c:pt idx="868">
                  <c:v>45430</c:v>
                </c:pt>
                <c:pt idx="869">
                  <c:v>45431</c:v>
                </c:pt>
                <c:pt idx="870">
                  <c:v>45432</c:v>
                </c:pt>
                <c:pt idx="871">
                  <c:v>45433</c:v>
                </c:pt>
                <c:pt idx="872">
                  <c:v>45434</c:v>
                </c:pt>
                <c:pt idx="873">
                  <c:v>45435</c:v>
                </c:pt>
                <c:pt idx="874">
                  <c:v>45436</c:v>
                </c:pt>
                <c:pt idx="875">
                  <c:v>45437</c:v>
                </c:pt>
                <c:pt idx="876">
                  <c:v>45438</c:v>
                </c:pt>
                <c:pt idx="877">
                  <c:v>45439</c:v>
                </c:pt>
                <c:pt idx="878">
                  <c:v>45440</c:v>
                </c:pt>
                <c:pt idx="879">
                  <c:v>45441</c:v>
                </c:pt>
                <c:pt idx="880">
                  <c:v>45442</c:v>
                </c:pt>
                <c:pt idx="881">
                  <c:v>45443</c:v>
                </c:pt>
                <c:pt idx="882">
                  <c:v>45444</c:v>
                </c:pt>
                <c:pt idx="883">
                  <c:v>45445</c:v>
                </c:pt>
                <c:pt idx="884">
                  <c:v>45446</c:v>
                </c:pt>
                <c:pt idx="885">
                  <c:v>45447</c:v>
                </c:pt>
                <c:pt idx="886">
                  <c:v>45448</c:v>
                </c:pt>
                <c:pt idx="887">
                  <c:v>45449</c:v>
                </c:pt>
                <c:pt idx="888">
                  <c:v>45450</c:v>
                </c:pt>
                <c:pt idx="889">
                  <c:v>45451</c:v>
                </c:pt>
                <c:pt idx="890">
                  <c:v>45452</c:v>
                </c:pt>
                <c:pt idx="891">
                  <c:v>45453</c:v>
                </c:pt>
                <c:pt idx="892">
                  <c:v>45454</c:v>
                </c:pt>
                <c:pt idx="893">
                  <c:v>45455</c:v>
                </c:pt>
                <c:pt idx="894">
                  <c:v>45456</c:v>
                </c:pt>
                <c:pt idx="895">
                  <c:v>45457</c:v>
                </c:pt>
                <c:pt idx="896">
                  <c:v>45458</c:v>
                </c:pt>
                <c:pt idx="897">
                  <c:v>45459</c:v>
                </c:pt>
                <c:pt idx="898">
                  <c:v>45460</c:v>
                </c:pt>
                <c:pt idx="899">
                  <c:v>45461</c:v>
                </c:pt>
                <c:pt idx="900">
                  <c:v>45462</c:v>
                </c:pt>
                <c:pt idx="901">
                  <c:v>45463</c:v>
                </c:pt>
                <c:pt idx="902">
                  <c:v>45464</c:v>
                </c:pt>
                <c:pt idx="903">
                  <c:v>45465</c:v>
                </c:pt>
                <c:pt idx="904">
                  <c:v>45466</c:v>
                </c:pt>
                <c:pt idx="905">
                  <c:v>45467</c:v>
                </c:pt>
                <c:pt idx="906">
                  <c:v>45468</c:v>
                </c:pt>
                <c:pt idx="907">
                  <c:v>45469</c:v>
                </c:pt>
                <c:pt idx="908">
                  <c:v>45470</c:v>
                </c:pt>
                <c:pt idx="909">
                  <c:v>45471</c:v>
                </c:pt>
                <c:pt idx="910">
                  <c:v>45472</c:v>
                </c:pt>
                <c:pt idx="911">
                  <c:v>45473</c:v>
                </c:pt>
                <c:pt idx="912">
                  <c:v>45474</c:v>
                </c:pt>
                <c:pt idx="913">
                  <c:v>45475</c:v>
                </c:pt>
                <c:pt idx="914">
                  <c:v>45476</c:v>
                </c:pt>
                <c:pt idx="915">
                  <c:v>45477</c:v>
                </c:pt>
                <c:pt idx="916">
                  <c:v>45478</c:v>
                </c:pt>
                <c:pt idx="917">
                  <c:v>45479</c:v>
                </c:pt>
                <c:pt idx="918">
                  <c:v>45480</c:v>
                </c:pt>
                <c:pt idx="919">
                  <c:v>45481</c:v>
                </c:pt>
                <c:pt idx="920">
                  <c:v>45482</c:v>
                </c:pt>
                <c:pt idx="921">
                  <c:v>45483</c:v>
                </c:pt>
                <c:pt idx="922">
                  <c:v>45484</c:v>
                </c:pt>
                <c:pt idx="923">
                  <c:v>45485</c:v>
                </c:pt>
                <c:pt idx="924">
                  <c:v>45486</c:v>
                </c:pt>
                <c:pt idx="925">
                  <c:v>45487</c:v>
                </c:pt>
                <c:pt idx="926">
                  <c:v>45488</c:v>
                </c:pt>
                <c:pt idx="927">
                  <c:v>45489</c:v>
                </c:pt>
                <c:pt idx="928">
                  <c:v>45490</c:v>
                </c:pt>
                <c:pt idx="929">
                  <c:v>45491</c:v>
                </c:pt>
                <c:pt idx="930">
                  <c:v>45492</c:v>
                </c:pt>
                <c:pt idx="931">
                  <c:v>45493</c:v>
                </c:pt>
                <c:pt idx="932">
                  <c:v>45494</c:v>
                </c:pt>
                <c:pt idx="933">
                  <c:v>45495</c:v>
                </c:pt>
                <c:pt idx="934">
                  <c:v>45496</c:v>
                </c:pt>
                <c:pt idx="935">
                  <c:v>45497</c:v>
                </c:pt>
                <c:pt idx="936">
                  <c:v>45498</c:v>
                </c:pt>
                <c:pt idx="937">
                  <c:v>45499</c:v>
                </c:pt>
                <c:pt idx="938">
                  <c:v>45500</c:v>
                </c:pt>
                <c:pt idx="939">
                  <c:v>45501</c:v>
                </c:pt>
                <c:pt idx="940">
                  <c:v>45502</c:v>
                </c:pt>
                <c:pt idx="941">
                  <c:v>45503</c:v>
                </c:pt>
                <c:pt idx="942">
                  <c:v>45504</c:v>
                </c:pt>
                <c:pt idx="943">
                  <c:v>45505</c:v>
                </c:pt>
                <c:pt idx="944">
                  <c:v>45506</c:v>
                </c:pt>
                <c:pt idx="945">
                  <c:v>45507</c:v>
                </c:pt>
                <c:pt idx="946">
                  <c:v>45508</c:v>
                </c:pt>
                <c:pt idx="947">
                  <c:v>45509</c:v>
                </c:pt>
                <c:pt idx="948">
                  <c:v>45510</c:v>
                </c:pt>
                <c:pt idx="949">
                  <c:v>45511</c:v>
                </c:pt>
                <c:pt idx="950">
                  <c:v>45512</c:v>
                </c:pt>
                <c:pt idx="951">
                  <c:v>45513</c:v>
                </c:pt>
                <c:pt idx="952">
                  <c:v>45514</c:v>
                </c:pt>
                <c:pt idx="953">
                  <c:v>45515</c:v>
                </c:pt>
                <c:pt idx="954">
                  <c:v>45516</c:v>
                </c:pt>
                <c:pt idx="955">
                  <c:v>45517</c:v>
                </c:pt>
                <c:pt idx="956">
                  <c:v>45518</c:v>
                </c:pt>
                <c:pt idx="957">
                  <c:v>45519</c:v>
                </c:pt>
                <c:pt idx="958">
                  <c:v>45520</c:v>
                </c:pt>
                <c:pt idx="959">
                  <c:v>45521</c:v>
                </c:pt>
                <c:pt idx="960">
                  <c:v>45522</c:v>
                </c:pt>
                <c:pt idx="961">
                  <c:v>45523</c:v>
                </c:pt>
                <c:pt idx="962">
                  <c:v>45524</c:v>
                </c:pt>
                <c:pt idx="963">
                  <c:v>45525</c:v>
                </c:pt>
                <c:pt idx="964">
                  <c:v>45526</c:v>
                </c:pt>
                <c:pt idx="965">
                  <c:v>45527</c:v>
                </c:pt>
                <c:pt idx="966">
                  <c:v>45528</c:v>
                </c:pt>
                <c:pt idx="967">
                  <c:v>45529</c:v>
                </c:pt>
                <c:pt idx="968">
                  <c:v>45530</c:v>
                </c:pt>
                <c:pt idx="969">
                  <c:v>45531</c:v>
                </c:pt>
                <c:pt idx="970">
                  <c:v>45532</c:v>
                </c:pt>
                <c:pt idx="971">
                  <c:v>45533</c:v>
                </c:pt>
                <c:pt idx="972">
                  <c:v>45534</c:v>
                </c:pt>
                <c:pt idx="973">
                  <c:v>45535</c:v>
                </c:pt>
                <c:pt idx="974">
                  <c:v>45536</c:v>
                </c:pt>
                <c:pt idx="975">
                  <c:v>45537</c:v>
                </c:pt>
                <c:pt idx="976">
                  <c:v>45538</c:v>
                </c:pt>
                <c:pt idx="977">
                  <c:v>45539</c:v>
                </c:pt>
                <c:pt idx="978">
                  <c:v>45540</c:v>
                </c:pt>
                <c:pt idx="979">
                  <c:v>45541</c:v>
                </c:pt>
                <c:pt idx="980">
                  <c:v>45542</c:v>
                </c:pt>
                <c:pt idx="981">
                  <c:v>45543</c:v>
                </c:pt>
                <c:pt idx="982">
                  <c:v>45544</c:v>
                </c:pt>
                <c:pt idx="983">
                  <c:v>45545</c:v>
                </c:pt>
                <c:pt idx="984">
                  <c:v>45546</c:v>
                </c:pt>
                <c:pt idx="985">
                  <c:v>45547</c:v>
                </c:pt>
                <c:pt idx="986">
                  <c:v>45548</c:v>
                </c:pt>
                <c:pt idx="987">
                  <c:v>45549</c:v>
                </c:pt>
                <c:pt idx="988">
                  <c:v>45550</c:v>
                </c:pt>
                <c:pt idx="989">
                  <c:v>45551</c:v>
                </c:pt>
                <c:pt idx="990">
                  <c:v>45552</c:v>
                </c:pt>
                <c:pt idx="991">
                  <c:v>45553</c:v>
                </c:pt>
                <c:pt idx="992">
                  <c:v>45554</c:v>
                </c:pt>
                <c:pt idx="993">
                  <c:v>45555</c:v>
                </c:pt>
                <c:pt idx="994">
                  <c:v>45556</c:v>
                </c:pt>
                <c:pt idx="995">
                  <c:v>45557</c:v>
                </c:pt>
                <c:pt idx="996">
                  <c:v>45558</c:v>
                </c:pt>
                <c:pt idx="997">
                  <c:v>45559</c:v>
                </c:pt>
                <c:pt idx="998">
                  <c:v>45560</c:v>
                </c:pt>
                <c:pt idx="999">
                  <c:v>45561</c:v>
                </c:pt>
                <c:pt idx="1000">
                  <c:v>45562</c:v>
                </c:pt>
                <c:pt idx="1001">
                  <c:v>45563</c:v>
                </c:pt>
                <c:pt idx="1002">
                  <c:v>45564</c:v>
                </c:pt>
                <c:pt idx="1003">
                  <c:v>45565</c:v>
                </c:pt>
                <c:pt idx="1004">
                  <c:v>45566</c:v>
                </c:pt>
                <c:pt idx="1005">
                  <c:v>45567</c:v>
                </c:pt>
                <c:pt idx="1006">
                  <c:v>45568</c:v>
                </c:pt>
                <c:pt idx="1007">
                  <c:v>45569</c:v>
                </c:pt>
                <c:pt idx="1008">
                  <c:v>45570</c:v>
                </c:pt>
                <c:pt idx="1009">
                  <c:v>45571</c:v>
                </c:pt>
                <c:pt idx="1010">
                  <c:v>45572</c:v>
                </c:pt>
                <c:pt idx="1011">
                  <c:v>45573</c:v>
                </c:pt>
                <c:pt idx="1012">
                  <c:v>45574</c:v>
                </c:pt>
                <c:pt idx="1013">
                  <c:v>45575</c:v>
                </c:pt>
                <c:pt idx="1014">
                  <c:v>45576</c:v>
                </c:pt>
                <c:pt idx="1015">
                  <c:v>45577</c:v>
                </c:pt>
                <c:pt idx="1016">
                  <c:v>45578</c:v>
                </c:pt>
                <c:pt idx="1017">
                  <c:v>45579</c:v>
                </c:pt>
                <c:pt idx="1018">
                  <c:v>45580</c:v>
                </c:pt>
                <c:pt idx="1019">
                  <c:v>45581</c:v>
                </c:pt>
                <c:pt idx="1020">
                  <c:v>45582</c:v>
                </c:pt>
                <c:pt idx="1021">
                  <c:v>45583</c:v>
                </c:pt>
                <c:pt idx="1022">
                  <c:v>45584</c:v>
                </c:pt>
                <c:pt idx="1023">
                  <c:v>45585</c:v>
                </c:pt>
                <c:pt idx="1024">
                  <c:v>45586</c:v>
                </c:pt>
                <c:pt idx="1025">
                  <c:v>45587</c:v>
                </c:pt>
                <c:pt idx="1026">
                  <c:v>45588</c:v>
                </c:pt>
                <c:pt idx="1027">
                  <c:v>45589</c:v>
                </c:pt>
                <c:pt idx="1028">
                  <c:v>45590</c:v>
                </c:pt>
                <c:pt idx="1029">
                  <c:v>45591</c:v>
                </c:pt>
                <c:pt idx="1030">
                  <c:v>45592</c:v>
                </c:pt>
                <c:pt idx="1031">
                  <c:v>45593</c:v>
                </c:pt>
                <c:pt idx="1032">
                  <c:v>45594</c:v>
                </c:pt>
                <c:pt idx="1033">
                  <c:v>45595</c:v>
                </c:pt>
                <c:pt idx="1034">
                  <c:v>45596</c:v>
                </c:pt>
                <c:pt idx="1035">
                  <c:v>45597</c:v>
                </c:pt>
                <c:pt idx="1036">
                  <c:v>45598</c:v>
                </c:pt>
                <c:pt idx="1037">
                  <c:v>45599</c:v>
                </c:pt>
                <c:pt idx="1038">
                  <c:v>45600</c:v>
                </c:pt>
                <c:pt idx="1039">
                  <c:v>45601</c:v>
                </c:pt>
                <c:pt idx="1040">
                  <c:v>45602</c:v>
                </c:pt>
                <c:pt idx="1041">
                  <c:v>45603</c:v>
                </c:pt>
                <c:pt idx="1042">
                  <c:v>45604</c:v>
                </c:pt>
                <c:pt idx="1043">
                  <c:v>45605</c:v>
                </c:pt>
                <c:pt idx="1044">
                  <c:v>45606</c:v>
                </c:pt>
                <c:pt idx="1045">
                  <c:v>45607</c:v>
                </c:pt>
                <c:pt idx="1046">
                  <c:v>45608</c:v>
                </c:pt>
                <c:pt idx="1047">
                  <c:v>45609</c:v>
                </c:pt>
                <c:pt idx="1048">
                  <c:v>45610</c:v>
                </c:pt>
                <c:pt idx="1049">
                  <c:v>45611</c:v>
                </c:pt>
                <c:pt idx="1050">
                  <c:v>45612</c:v>
                </c:pt>
                <c:pt idx="1051">
                  <c:v>45613</c:v>
                </c:pt>
                <c:pt idx="1052">
                  <c:v>45614</c:v>
                </c:pt>
                <c:pt idx="1053">
                  <c:v>45615</c:v>
                </c:pt>
                <c:pt idx="1054">
                  <c:v>45616</c:v>
                </c:pt>
                <c:pt idx="1055">
                  <c:v>45617</c:v>
                </c:pt>
                <c:pt idx="1056">
                  <c:v>45618</c:v>
                </c:pt>
                <c:pt idx="1057">
                  <c:v>45619</c:v>
                </c:pt>
                <c:pt idx="1058">
                  <c:v>45620</c:v>
                </c:pt>
                <c:pt idx="1059">
                  <c:v>45621</c:v>
                </c:pt>
                <c:pt idx="1060">
                  <c:v>45622</c:v>
                </c:pt>
                <c:pt idx="1061">
                  <c:v>45623</c:v>
                </c:pt>
                <c:pt idx="1062">
                  <c:v>45624</c:v>
                </c:pt>
                <c:pt idx="1063">
                  <c:v>45625</c:v>
                </c:pt>
                <c:pt idx="1064">
                  <c:v>45626</c:v>
                </c:pt>
                <c:pt idx="1065">
                  <c:v>45627</c:v>
                </c:pt>
                <c:pt idx="1066">
                  <c:v>45628</c:v>
                </c:pt>
                <c:pt idx="1067">
                  <c:v>45629</c:v>
                </c:pt>
                <c:pt idx="1068">
                  <c:v>45630</c:v>
                </c:pt>
                <c:pt idx="1069">
                  <c:v>45631</c:v>
                </c:pt>
                <c:pt idx="1070">
                  <c:v>45632</c:v>
                </c:pt>
                <c:pt idx="1071">
                  <c:v>45633</c:v>
                </c:pt>
                <c:pt idx="1072">
                  <c:v>45634</c:v>
                </c:pt>
                <c:pt idx="1073">
                  <c:v>45635</c:v>
                </c:pt>
                <c:pt idx="1074">
                  <c:v>45636</c:v>
                </c:pt>
                <c:pt idx="1075">
                  <c:v>45637</c:v>
                </c:pt>
                <c:pt idx="1076">
                  <c:v>45638</c:v>
                </c:pt>
                <c:pt idx="1077">
                  <c:v>45639</c:v>
                </c:pt>
                <c:pt idx="1078">
                  <c:v>45640</c:v>
                </c:pt>
                <c:pt idx="1079">
                  <c:v>45641</c:v>
                </c:pt>
                <c:pt idx="1080">
                  <c:v>45642</c:v>
                </c:pt>
                <c:pt idx="1081">
                  <c:v>45643</c:v>
                </c:pt>
                <c:pt idx="1082">
                  <c:v>45644</c:v>
                </c:pt>
                <c:pt idx="1083">
                  <c:v>45645</c:v>
                </c:pt>
                <c:pt idx="1084">
                  <c:v>45646</c:v>
                </c:pt>
                <c:pt idx="1085">
                  <c:v>45647</c:v>
                </c:pt>
                <c:pt idx="1086">
                  <c:v>45648</c:v>
                </c:pt>
                <c:pt idx="1087">
                  <c:v>45649</c:v>
                </c:pt>
                <c:pt idx="1088">
                  <c:v>45650</c:v>
                </c:pt>
                <c:pt idx="1089">
                  <c:v>45651</c:v>
                </c:pt>
                <c:pt idx="1090">
                  <c:v>45652</c:v>
                </c:pt>
                <c:pt idx="1091">
                  <c:v>45653</c:v>
                </c:pt>
                <c:pt idx="1092">
                  <c:v>45654</c:v>
                </c:pt>
                <c:pt idx="1093">
                  <c:v>45655</c:v>
                </c:pt>
                <c:pt idx="1094">
                  <c:v>45656</c:v>
                </c:pt>
                <c:pt idx="1095">
                  <c:v>45657</c:v>
                </c:pt>
                <c:pt idx="1096">
                  <c:v>45658</c:v>
                </c:pt>
                <c:pt idx="1097">
                  <c:v>45659</c:v>
                </c:pt>
                <c:pt idx="1098">
                  <c:v>45660</c:v>
                </c:pt>
                <c:pt idx="1099">
                  <c:v>45661</c:v>
                </c:pt>
                <c:pt idx="1100">
                  <c:v>45662</c:v>
                </c:pt>
                <c:pt idx="1101">
                  <c:v>45663</c:v>
                </c:pt>
                <c:pt idx="1102">
                  <c:v>45664</c:v>
                </c:pt>
                <c:pt idx="1103">
                  <c:v>45665</c:v>
                </c:pt>
                <c:pt idx="1104">
                  <c:v>45666</c:v>
                </c:pt>
                <c:pt idx="1105">
                  <c:v>45667</c:v>
                </c:pt>
                <c:pt idx="1106">
                  <c:v>45668</c:v>
                </c:pt>
                <c:pt idx="1107">
                  <c:v>45669</c:v>
                </c:pt>
                <c:pt idx="1108">
                  <c:v>45670</c:v>
                </c:pt>
                <c:pt idx="1109">
                  <c:v>45671</c:v>
                </c:pt>
                <c:pt idx="1110">
                  <c:v>45672</c:v>
                </c:pt>
                <c:pt idx="1111">
                  <c:v>45673</c:v>
                </c:pt>
                <c:pt idx="1112">
                  <c:v>45674</c:v>
                </c:pt>
                <c:pt idx="1113">
                  <c:v>45675</c:v>
                </c:pt>
                <c:pt idx="1114">
                  <c:v>45676</c:v>
                </c:pt>
                <c:pt idx="1115">
                  <c:v>45677</c:v>
                </c:pt>
                <c:pt idx="1116">
                  <c:v>45678</c:v>
                </c:pt>
                <c:pt idx="1117">
                  <c:v>45679</c:v>
                </c:pt>
                <c:pt idx="1118">
                  <c:v>45680</c:v>
                </c:pt>
                <c:pt idx="1119">
                  <c:v>45681</c:v>
                </c:pt>
                <c:pt idx="1120">
                  <c:v>45682</c:v>
                </c:pt>
                <c:pt idx="1121">
                  <c:v>45683</c:v>
                </c:pt>
                <c:pt idx="1122">
                  <c:v>45684</c:v>
                </c:pt>
                <c:pt idx="1123">
                  <c:v>45685</c:v>
                </c:pt>
                <c:pt idx="1124">
                  <c:v>45686</c:v>
                </c:pt>
                <c:pt idx="1125">
                  <c:v>45687</c:v>
                </c:pt>
                <c:pt idx="1126">
                  <c:v>45688</c:v>
                </c:pt>
                <c:pt idx="1127">
                  <c:v>45689</c:v>
                </c:pt>
                <c:pt idx="1128">
                  <c:v>45690</c:v>
                </c:pt>
                <c:pt idx="1129">
                  <c:v>45691</c:v>
                </c:pt>
                <c:pt idx="1130">
                  <c:v>45692</c:v>
                </c:pt>
                <c:pt idx="1131">
                  <c:v>45693</c:v>
                </c:pt>
                <c:pt idx="1132">
                  <c:v>45694</c:v>
                </c:pt>
                <c:pt idx="1133">
                  <c:v>45695</c:v>
                </c:pt>
                <c:pt idx="1134">
                  <c:v>45696</c:v>
                </c:pt>
                <c:pt idx="1135">
                  <c:v>45697</c:v>
                </c:pt>
                <c:pt idx="1136">
                  <c:v>45698</c:v>
                </c:pt>
                <c:pt idx="1137">
                  <c:v>45699</c:v>
                </c:pt>
                <c:pt idx="1138">
                  <c:v>45700</c:v>
                </c:pt>
                <c:pt idx="1139">
                  <c:v>45701</c:v>
                </c:pt>
                <c:pt idx="1140">
                  <c:v>45702</c:v>
                </c:pt>
                <c:pt idx="1141">
                  <c:v>45703</c:v>
                </c:pt>
                <c:pt idx="1142">
                  <c:v>45704</c:v>
                </c:pt>
                <c:pt idx="1143">
                  <c:v>45705</c:v>
                </c:pt>
                <c:pt idx="1144">
                  <c:v>45706</c:v>
                </c:pt>
                <c:pt idx="1145">
                  <c:v>45707</c:v>
                </c:pt>
                <c:pt idx="1146">
                  <c:v>45708</c:v>
                </c:pt>
                <c:pt idx="1147">
                  <c:v>45709</c:v>
                </c:pt>
                <c:pt idx="1148">
                  <c:v>45710</c:v>
                </c:pt>
                <c:pt idx="1149">
                  <c:v>45711</c:v>
                </c:pt>
                <c:pt idx="1150">
                  <c:v>45712</c:v>
                </c:pt>
                <c:pt idx="1151">
                  <c:v>45713</c:v>
                </c:pt>
                <c:pt idx="1152">
                  <c:v>45714</c:v>
                </c:pt>
                <c:pt idx="1153">
                  <c:v>45715</c:v>
                </c:pt>
                <c:pt idx="1154">
                  <c:v>45716</c:v>
                </c:pt>
                <c:pt idx="1155">
                  <c:v>45717</c:v>
                </c:pt>
                <c:pt idx="1156">
                  <c:v>45718</c:v>
                </c:pt>
                <c:pt idx="1157">
                  <c:v>45719</c:v>
                </c:pt>
                <c:pt idx="1158">
                  <c:v>45720</c:v>
                </c:pt>
                <c:pt idx="1159">
                  <c:v>45721</c:v>
                </c:pt>
                <c:pt idx="1160">
                  <c:v>45722</c:v>
                </c:pt>
                <c:pt idx="1161">
                  <c:v>45723</c:v>
                </c:pt>
                <c:pt idx="1162">
                  <c:v>45724</c:v>
                </c:pt>
                <c:pt idx="1163">
                  <c:v>45725</c:v>
                </c:pt>
                <c:pt idx="1164">
                  <c:v>45726</c:v>
                </c:pt>
                <c:pt idx="1165">
                  <c:v>45727</c:v>
                </c:pt>
                <c:pt idx="1166">
                  <c:v>45728</c:v>
                </c:pt>
                <c:pt idx="1167">
                  <c:v>45729</c:v>
                </c:pt>
                <c:pt idx="1168">
                  <c:v>45730</c:v>
                </c:pt>
                <c:pt idx="1169">
                  <c:v>45731</c:v>
                </c:pt>
                <c:pt idx="1170">
                  <c:v>45732</c:v>
                </c:pt>
                <c:pt idx="1171">
                  <c:v>45733</c:v>
                </c:pt>
                <c:pt idx="1172">
                  <c:v>45734</c:v>
                </c:pt>
                <c:pt idx="1173">
                  <c:v>45735</c:v>
                </c:pt>
                <c:pt idx="1174">
                  <c:v>45736</c:v>
                </c:pt>
                <c:pt idx="1175">
                  <c:v>45737</c:v>
                </c:pt>
                <c:pt idx="1176">
                  <c:v>45738</c:v>
                </c:pt>
                <c:pt idx="1177">
                  <c:v>45739</c:v>
                </c:pt>
                <c:pt idx="1178">
                  <c:v>45740</c:v>
                </c:pt>
                <c:pt idx="1179">
                  <c:v>45741</c:v>
                </c:pt>
                <c:pt idx="1180">
                  <c:v>45742</c:v>
                </c:pt>
                <c:pt idx="1181">
                  <c:v>45743</c:v>
                </c:pt>
                <c:pt idx="1182">
                  <c:v>45744</c:v>
                </c:pt>
                <c:pt idx="1183">
                  <c:v>45745</c:v>
                </c:pt>
                <c:pt idx="1184">
                  <c:v>45746</c:v>
                </c:pt>
                <c:pt idx="1185">
                  <c:v>45747</c:v>
                </c:pt>
                <c:pt idx="1186">
                  <c:v>45748</c:v>
                </c:pt>
                <c:pt idx="1187">
                  <c:v>45749</c:v>
                </c:pt>
                <c:pt idx="1188">
                  <c:v>45750</c:v>
                </c:pt>
                <c:pt idx="1189">
                  <c:v>45751</c:v>
                </c:pt>
                <c:pt idx="1190">
                  <c:v>45752</c:v>
                </c:pt>
                <c:pt idx="1191">
                  <c:v>45753</c:v>
                </c:pt>
                <c:pt idx="1192">
                  <c:v>45754</c:v>
                </c:pt>
                <c:pt idx="1193">
                  <c:v>45755</c:v>
                </c:pt>
                <c:pt idx="1194">
                  <c:v>45756</c:v>
                </c:pt>
                <c:pt idx="1195">
                  <c:v>45757</c:v>
                </c:pt>
                <c:pt idx="1196">
                  <c:v>45758</c:v>
                </c:pt>
                <c:pt idx="1197">
                  <c:v>45759</c:v>
                </c:pt>
                <c:pt idx="1198">
                  <c:v>45760</c:v>
                </c:pt>
                <c:pt idx="1199">
                  <c:v>45761</c:v>
                </c:pt>
                <c:pt idx="1200">
                  <c:v>45762</c:v>
                </c:pt>
                <c:pt idx="1201">
                  <c:v>45763</c:v>
                </c:pt>
                <c:pt idx="1202">
                  <c:v>45764</c:v>
                </c:pt>
                <c:pt idx="1203">
                  <c:v>45765</c:v>
                </c:pt>
                <c:pt idx="1204">
                  <c:v>45766</c:v>
                </c:pt>
                <c:pt idx="1205">
                  <c:v>45767</c:v>
                </c:pt>
                <c:pt idx="1206">
                  <c:v>45768</c:v>
                </c:pt>
                <c:pt idx="1207">
                  <c:v>45769</c:v>
                </c:pt>
                <c:pt idx="1208">
                  <c:v>45770</c:v>
                </c:pt>
                <c:pt idx="1209">
                  <c:v>45771</c:v>
                </c:pt>
                <c:pt idx="1210">
                  <c:v>45772</c:v>
                </c:pt>
                <c:pt idx="1211">
                  <c:v>45773</c:v>
                </c:pt>
                <c:pt idx="1212">
                  <c:v>45774</c:v>
                </c:pt>
                <c:pt idx="1213">
                  <c:v>45775</c:v>
                </c:pt>
                <c:pt idx="1214">
                  <c:v>45776</c:v>
                </c:pt>
                <c:pt idx="1215">
                  <c:v>45777</c:v>
                </c:pt>
                <c:pt idx="1216">
                  <c:v>45778</c:v>
                </c:pt>
                <c:pt idx="1217">
                  <c:v>45779</c:v>
                </c:pt>
                <c:pt idx="1218">
                  <c:v>45780</c:v>
                </c:pt>
                <c:pt idx="1219">
                  <c:v>45781</c:v>
                </c:pt>
                <c:pt idx="1220">
                  <c:v>45782</c:v>
                </c:pt>
                <c:pt idx="1221">
                  <c:v>45783</c:v>
                </c:pt>
                <c:pt idx="1222">
                  <c:v>45784</c:v>
                </c:pt>
                <c:pt idx="1223">
                  <c:v>45785</c:v>
                </c:pt>
                <c:pt idx="1224">
                  <c:v>45786</c:v>
                </c:pt>
                <c:pt idx="1225">
                  <c:v>45787</c:v>
                </c:pt>
                <c:pt idx="1226">
                  <c:v>45788</c:v>
                </c:pt>
                <c:pt idx="1227">
                  <c:v>45789</c:v>
                </c:pt>
                <c:pt idx="1228">
                  <c:v>45790</c:v>
                </c:pt>
                <c:pt idx="1229">
                  <c:v>45791</c:v>
                </c:pt>
                <c:pt idx="1230">
                  <c:v>45792</c:v>
                </c:pt>
                <c:pt idx="1231">
                  <c:v>45793</c:v>
                </c:pt>
                <c:pt idx="1232">
                  <c:v>45794</c:v>
                </c:pt>
                <c:pt idx="1233">
                  <c:v>45795</c:v>
                </c:pt>
                <c:pt idx="1234">
                  <c:v>45796</c:v>
                </c:pt>
                <c:pt idx="1235">
                  <c:v>45797</c:v>
                </c:pt>
                <c:pt idx="1236">
                  <c:v>45798</c:v>
                </c:pt>
                <c:pt idx="1237">
                  <c:v>45799</c:v>
                </c:pt>
                <c:pt idx="1238">
                  <c:v>45800</c:v>
                </c:pt>
                <c:pt idx="1239">
                  <c:v>45801</c:v>
                </c:pt>
                <c:pt idx="1240">
                  <c:v>45802</c:v>
                </c:pt>
                <c:pt idx="1241">
                  <c:v>45803</c:v>
                </c:pt>
                <c:pt idx="1242">
                  <c:v>45804</c:v>
                </c:pt>
                <c:pt idx="1243">
                  <c:v>45805</c:v>
                </c:pt>
                <c:pt idx="1244">
                  <c:v>45806</c:v>
                </c:pt>
                <c:pt idx="1245">
                  <c:v>45807</c:v>
                </c:pt>
                <c:pt idx="1246">
                  <c:v>45808</c:v>
                </c:pt>
              </c:numCache>
            </c:numRef>
          </c:cat>
          <c:val>
            <c:numRef>
              <c:f>FXHC!$X$12:$X$1258</c:f>
              <c:numCache>
                <c:formatCode>_(* #,##0.0_);_(* \(#,##0.0\);_(* "-"??_);_(@_)</c:formatCode>
                <c:ptCount val="1247"/>
                <c:pt idx="0" formatCode="General">
                  <c:v>100</c:v>
                </c:pt>
                <c:pt idx="1">
                  <c:v>100</c:v>
                </c:pt>
                <c:pt idx="2">
                  <c:v>99.790793287597594</c:v>
                </c:pt>
                <c:pt idx="3">
                  <c:v>99.908730688749401</c:v>
                </c:pt>
                <c:pt idx="4">
                  <c:v>99.693261444639674</c:v>
                </c:pt>
                <c:pt idx="5">
                  <c:v>99.857805717706967</c:v>
                </c:pt>
                <c:pt idx="6">
                  <c:v>99.825499338798238</c:v>
                </c:pt>
                <c:pt idx="7">
                  <c:v>99.825499338798238</c:v>
                </c:pt>
                <c:pt idx="8">
                  <c:v>99.825499338798238</c:v>
                </c:pt>
                <c:pt idx="9">
                  <c:v>99.620438604279542</c:v>
                </c:pt>
                <c:pt idx="10">
                  <c:v>99.615413329782115</c:v>
                </c:pt>
                <c:pt idx="11">
                  <c:v>99.84387102776148</c:v>
                </c:pt>
                <c:pt idx="12">
                  <c:v>99.540697100020409</c:v>
                </c:pt>
                <c:pt idx="13">
                  <c:v>99.782523895086015</c:v>
                </c:pt>
                <c:pt idx="14">
                  <c:v>99.782523895086015</c:v>
                </c:pt>
                <c:pt idx="15">
                  <c:v>99.782523895086015</c:v>
                </c:pt>
                <c:pt idx="16">
                  <c:v>99.325611667401034</c:v>
                </c:pt>
                <c:pt idx="17">
                  <c:v>99.375595066758223</c:v>
                </c:pt>
                <c:pt idx="18">
                  <c:v>99.375795101370414</c:v>
                </c:pt>
                <c:pt idx="19">
                  <c:v>99.349997283270397</c:v>
                </c:pt>
                <c:pt idx="20">
                  <c:v>99.381596455452623</c:v>
                </c:pt>
                <c:pt idx="21">
                  <c:v>99.381596455452623</c:v>
                </c:pt>
                <c:pt idx="22">
                  <c:v>99.381596455452623</c:v>
                </c:pt>
                <c:pt idx="23">
                  <c:v>99.285661135501172</c:v>
                </c:pt>
                <c:pt idx="24">
                  <c:v>99.167994086370342</c:v>
                </c:pt>
                <c:pt idx="25">
                  <c:v>99.26250454902798</c:v>
                </c:pt>
                <c:pt idx="26">
                  <c:v>99.166599710750461</c:v>
                </c:pt>
                <c:pt idx="27">
                  <c:v>99.139914935317904</c:v>
                </c:pt>
                <c:pt idx="28">
                  <c:v>99.139914935317904</c:v>
                </c:pt>
                <c:pt idx="29">
                  <c:v>99.139914935317904</c:v>
                </c:pt>
                <c:pt idx="30">
                  <c:v>99.081815736975827</c:v>
                </c:pt>
                <c:pt idx="31">
                  <c:v>99.174568099638407</c:v>
                </c:pt>
                <c:pt idx="32">
                  <c:v>98.693590497095315</c:v>
                </c:pt>
                <c:pt idx="33">
                  <c:v>98.560987344754125</c:v>
                </c:pt>
                <c:pt idx="34">
                  <c:v>97.956507073553027</c:v>
                </c:pt>
                <c:pt idx="35">
                  <c:v>97.956507073553027</c:v>
                </c:pt>
                <c:pt idx="36">
                  <c:v>97.956507073553027</c:v>
                </c:pt>
                <c:pt idx="37">
                  <c:v>97.886392611494756</c:v>
                </c:pt>
                <c:pt idx="38">
                  <c:v>98.037623145005753</c:v>
                </c:pt>
                <c:pt idx="39">
                  <c:v>98.009402086087817</c:v>
                </c:pt>
                <c:pt idx="40">
                  <c:v>97.808820586784336</c:v>
                </c:pt>
                <c:pt idx="41">
                  <c:v>97.985864532122321</c:v>
                </c:pt>
                <c:pt idx="42">
                  <c:v>97.985864532122321</c:v>
                </c:pt>
                <c:pt idx="43">
                  <c:v>97.985864532122321</c:v>
                </c:pt>
                <c:pt idx="44">
                  <c:v>97.555437871248913</c:v>
                </c:pt>
                <c:pt idx="45">
                  <c:v>97.554474012334296</c:v>
                </c:pt>
                <c:pt idx="46">
                  <c:v>97.408765172919942</c:v>
                </c:pt>
                <c:pt idx="47">
                  <c:v>97.362660334790036</c:v>
                </c:pt>
                <c:pt idx="48">
                  <c:v>97.104322666808244</c:v>
                </c:pt>
                <c:pt idx="49">
                  <c:v>97.104322666808244</c:v>
                </c:pt>
                <c:pt idx="50">
                  <c:v>97.104322666808244</c:v>
                </c:pt>
                <c:pt idx="51">
                  <c:v>97.661578755796057</c:v>
                </c:pt>
                <c:pt idx="52">
                  <c:v>97.200679649307204</c:v>
                </c:pt>
                <c:pt idx="53">
                  <c:v>96.917127180282435</c:v>
                </c:pt>
                <c:pt idx="54">
                  <c:v>96.93863124948453</c:v>
                </c:pt>
                <c:pt idx="55">
                  <c:v>97.031798786539866</c:v>
                </c:pt>
                <c:pt idx="56">
                  <c:v>97.031798786539866</c:v>
                </c:pt>
                <c:pt idx="57">
                  <c:v>97.031798786539866</c:v>
                </c:pt>
                <c:pt idx="58">
                  <c:v>96.808231104696716</c:v>
                </c:pt>
                <c:pt idx="59">
                  <c:v>96.369062956282718</c:v>
                </c:pt>
                <c:pt idx="60">
                  <c:v>96.538474324052117</c:v>
                </c:pt>
                <c:pt idx="61">
                  <c:v>96.733115972129653</c:v>
                </c:pt>
                <c:pt idx="62">
                  <c:v>96.278852979491816</c:v>
                </c:pt>
                <c:pt idx="63">
                  <c:v>96.278852979491816</c:v>
                </c:pt>
                <c:pt idx="64">
                  <c:v>96.278852979491816</c:v>
                </c:pt>
                <c:pt idx="65">
                  <c:v>96.972905233135933</c:v>
                </c:pt>
                <c:pt idx="66">
                  <c:v>96.488663303736629</c:v>
                </c:pt>
                <c:pt idx="67">
                  <c:v>96.480366464009208</c:v>
                </c:pt>
                <c:pt idx="68">
                  <c:v>96.663416429751763</c:v>
                </c:pt>
                <c:pt idx="69">
                  <c:v>96.454730705283069</c:v>
                </c:pt>
                <c:pt idx="70">
                  <c:v>96.454730705283069</c:v>
                </c:pt>
                <c:pt idx="71">
                  <c:v>96.454730705283069</c:v>
                </c:pt>
                <c:pt idx="72">
                  <c:v>96.80899043854069</c:v>
                </c:pt>
                <c:pt idx="73">
                  <c:v>96.330139180759318</c:v>
                </c:pt>
                <c:pt idx="74">
                  <c:v>96.279604031452763</c:v>
                </c:pt>
                <c:pt idx="75">
                  <c:v>96.611963898521282</c:v>
                </c:pt>
                <c:pt idx="76">
                  <c:v>96.66549838365755</c:v>
                </c:pt>
                <c:pt idx="77">
                  <c:v>96.66549838365755</c:v>
                </c:pt>
                <c:pt idx="78">
                  <c:v>96.66549838365755</c:v>
                </c:pt>
                <c:pt idx="79">
                  <c:v>96.578322397893444</c:v>
                </c:pt>
                <c:pt idx="80">
                  <c:v>96.709808477003264</c:v>
                </c:pt>
                <c:pt idx="81">
                  <c:v>96.842032993977838</c:v>
                </c:pt>
                <c:pt idx="82">
                  <c:v>96.696170276109044</c:v>
                </c:pt>
                <c:pt idx="83">
                  <c:v>96.480932112300522</c:v>
                </c:pt>
                <c:pt idx="84">
                  <c:v>96.480932112300522</c:v>
                </c:pt>
                <c:pt idx="85">
                  <c:v>96.480932112300522</c:v>
                </c:pt>
                <c:pt idx="86">
                  <c:v>96.512619005727814</c:v>
                </c:pt>
                <c:pt idx="87">
                  <c:v>96.486966106796118</c:v>
                </c:pt>
                <c:pt idx="88">
                  <c:v>96.459819073484212</c:v>
                </c:pt>
                <c:pt idx="89">
                  <c:v>96.409336077706826</c:v>
                </c:pt>
                <c:pt idx="90">
                  <c:v>96.436077947243305</c:v>
                </c:pt>
                <c:pt idx="91">
                  <c:v>96.436077947243305</c:v>
                </c:pt>
                <c:pt idx="92">
                  <c:v>96.436077947243305</c:v>
                </c:pt>
                <c:pt idx="93">
                  <c:v>96.252948860423771</c:v>
                </c:pt>
                <c:pt idx="94">
                  <c:v>96.24000202737335</c:v>
                </c:pt>
                <c:pt idx="95">
                  <c:v>96.356460997074223</c:v>
                </c:pt>
                <c:pt idx="96">
                  <c:v>96.061354301046919</c:v>
                </c:pt>
                <c:pt idx="97">
                  <c:v>96.56415462282169</c:v>
                </c:pt>
                <c:pt idx="98">
                  <c:v>96.56415462282169</c:v>
                </c:pt>
                <c:pt idx="99">
                  <c:v>96.56415462282169</c:v>
                </c:pt>
                <c:pt idx="100">
                  <c:v>96.132808620760059</c:v>
                </c:pt>
                <c:pt idx="101">
                  <c:v>96.245443025635922</c:v>
                </c:pt>
                <c:pt idx="102">
                  <c:v>96.236625165449212</c:v>
                </c:pt>
                <c:pt idx="103">
                  <c:v>96.054252088152737</c:v>
                </c:pt>
                <c:pt idx="104">
                  <c:v>96.375835519740022</c:v>
                </c:pt>
                <c:pt idx="105">
                  <c:v>96.375835519740022</c:v>
                </c:pt>
                <c:pt idx="106">
                  <c:v>96.375835519740022</c:v>
                </c:pt>
                <c:pt idx="107">
                  <c:v>96.014648481182661</c:v>
                </c:pt>
                <c:pt idx="108">
                  <c:v>96.09388837957087</c:v>
                </c:pt>
                <c:pt idx="109">
                  <c:v>96.329011424278676</c:v>
                </c:pt>
                <c:pt idx="110">
                  <c:v>96.027908315697644</c:v>
                </c:pt>
                <c:pt idx="111">
                  <c:v>96.027721532036637</c:v>
                </c:pt>
                <c:pt idx="112">
                  <c:v>96.027721532036637</c:v>
                </c:pt>
                <c:pt idx="113">
                  <c:v>96.027721532036637</c:v>
                </c:pt>
                <c:pt idx="114">
                  <c:v>95.448657468988657</c:v>
                </c:pt>
                <c:pt idx="115">
                  <c:v>95.497400225932623</c:v>
                </c:pt>
                <c:pt idx="116">
                  <c:v>95.707711037702083</c:v>
                </c:pt>
                <c:pt idx="117">
                  <c:v>95.597626765499683</c:v>
                </c:pt>
                <c:pt idx="118">
                  <c:v>95.444044256529992</c:v>
                </c:pt>
                <c:pt idx="119">
                  <c:v>95.444044256529992</c:v>
                </c:pt>
                <c:pt idx="120">
                  <c:v>95.444044256529992</c:v>
                </c:pt>
                <c:pt idx="121">
                  <c:v>95.836277516791426</c:v>
                </c:pt>
                <c:pt idx="122">
                  <c:v>95.23672651302212</c:v>
                </c:pt>
                <c:pt idx="123">
                  <c:v>95.63188510792429</c:v>
                </c:pt>
                <c:pt idx="124">
                  <c:v>95.604291330196048</c:v>
                </c:pt>
                <c:pt idx="125">
                  <c:v>95.403651570314253</c:v>
                </c:pt>
                <c:pt idx="126">
                  <c:v>95.403651570314253</c:v>
                </c:pt>
                <c:pt idx="127">
                  <c:v>95.403651570314253</c:v>
                </c:pt>
                <c:pt idx="128">
                  <c:v>95.616882488059659</c:v>
                </c:pt>
                <c:pt idx="129">
                  <c:v>95.327938334038009</c:v>
                </c:pt>
                <c:pt idx="130">
                  <c:v>95.553220068670939</c:v>
                </c:pt>
                <c:pt idx="131">
                  <c:v>95.548411819807441</c:v>
                </c:pt>
                <c:pt idx="132">
                  <c:v>95.504974590222474</c:v>
                </c:pt>
                <c:pt idx="133">
                  <c:v>95.504974590222474</c:v>
                </c:pt>
                <c:pt idx="134">
                  <c:v>95.504974590222474</c:v>
                </c:pt>
                <c:pt idx="135">
                  <c:v>95.53620843799213</c:v>
                </c:pt>
                <c:pt idx="136">
                  <c:v>95.727196753320925</c:v>
                </c:pt>
                <c:pt idx="137">
                  <c:v>95.477823290283283</c:v>
                </c:pt>
                <c:pt idx="138">
                  <c:v>95.474130428896771</c:v>
                </c:pt>
                <c:pt idx="139">
                  <c:v>95.477823290283297</c:v>
                </c:pt>
                <c:pt idx="140">
                  <c:v>95.477823290283297</c:v>
                </c:pt>
                <c:pt idx="141">
                  <c:v>95.477823290283297</c:v>
                </c:pt>
                <c:pt idx="142">
                  <c:v>95.301071553356536</c:v>
                </c:pt>
                <c:pt idx="143">
                  <c:v>95.291690150631851</c:v>
                </c:pt>
                <c:pt idx="144">
                  <c:v>95.449211084451846</c:v>
                </c:pt>
                <c:pt idx="145">
                  <c:v>95.291690150631837</c:v>
                </c:pt>
                <c:pt idx="146">
                  <c:v>95.413977039928795</c:v>
                </c:pt>
                <c:pt idx="147">
                  <c:v>95.413977039928795</c:v>
                </c:pt>
                <c:pt idx="148">
                  <c:v>95.413977039928795</c:v>
                </c:pt>
                <c:pt idx="149">
                  <c:v>95.463422746117104</c:v>
                </c:pt>
                <c:pt idx="150">
                  <c:v>95.406970227535282</c:v>
                </c:pt>
                <c:pt idx="151">
                  <c:v>95.387614647878522</c:v>
                </c:pt>
                <c:pt idx="152">
                  <c:v>95.075694111439063</c:v>
                </c:pt>
                <c:pt idx="153">
                  <c:v>95.331988066387879</c:v>
                </c:pt>
                <c:pt idx="154">
                  <c:v>95.331988066387879</c:v>
                </c:pt>
                <c:pt idx="155">
                  <c:v>95.331988066387879</c:v>
                </c:pt>
                <c:pt idx="156">
                  <c:v>95.173936093305613</c:v>
                </c:pt>
                <c:pt idx="157">
                  <c:v>95.182193259813275</c:v>
                </c:pt>
                <c:pt idx="158">
                  <c:v>95.133588337877697</c:v>
                </c:pt>
                <c:pt idx="159">
                  <c:v>95.083384853019524</c:v>
                </c:pt>
                <c:pt idx="160">
                  <c:v>95.333092598564377</c:v>
                </c:pt>
                <c:pt idx="161">
                  <c:v>95.333092598564377</c:v>
                </c:pt>
                <c:pt idx="162">
                  <c:v>95.333092598564377</c:v>
                </c:pt>
                <c:pt idx="163">
                  <c:v>95.276794071386433</c:v>
                </c:pt>
                <c:pt idx="164">
                  <c:v>95.083384853019524</c:v>
                </c:pt>
                <c:pt idx="165">
                  <c:v>95.21982737836916</c:v>
                </c:pt>
                <c:pt idx="166">
                  <c:v>94.810577035718239</c:v>
                </c:pt>
                <c:pt idx="167">
                  <c:v>95.303463186749468</c:v>
                </c:pt>
                <c:pt idx="168">
                  <c:v>95.303463186749468</c:v>
                </c:pt>
                <c:pt idx="169">
                  <c:v>95.303463186749468</c:v>
                </c:pt>
                <c:pt idx="170">
                  <c:v>95.159627064608244</c:v>
                </c:pt>
                <c:pt idx="171">
                  <c:v>95.098220511694294</c:v>
                </c:pt>
                <c:pt idx="172">
                  <c:v>95.010738699347129</c:v>
                </c:pt>
                <c:pt idx="173">
                  <c:v>95.024088477758241</c:v>
                </c:pt>
                <c:pt idx="174">
                  <c:v>94.888935444748256</c:v>
                </c:pt>
                <c:pt idx="175">
                  <c:v>94.888935444748256</c:v>
                </c:pt>
                <c:pt idx="176">
                  <c:v>94.888935444748256</c:v>
                </c:pt>
                <c:pt idx="177">
                  <c:v>94.801473991047658</c:v>
                </c:pt>
                <c:pt idx="178">
                  <c:v>94.678390610616674</c:v>
                </c:pt>
                <c:pt idx="179">
                  <c:v>94.712538273234372</c:v>
                </c:pt>
                <c:pt idx="180">
                  <c:v>94.674033106791583</c:v>
                </c:pt>
                <c:pt idx="181">
                  <c:v>94.720170372786328</c:v>
                </c:pt>
                <c:pt idx="182">
                  <c:v>94.720170372786328</c:v>
                </c:pt>
                <c:pt idx="183">
                  <c:v>94.720170372786328</c:v>
                </c:pt>
                <c:pt idx="184">
                  <c:v>94.692918520791693</c:v>
                </c:pt>
                <c:pt idx="185">
                  <c:v>94.630480118994612</c:v>
                </c:pt>
                <c:pt idx="186">
                  <c:v>94.619779478422146</c:v>
                </c:pt>
                <c:pt idx="187">
                  <c:v>94.58316170624461</c:v>
                </c:pt>
                <c:pt idx="188">
                  <c:v>94.73252971359048</c:v>
                </c:pt>
                <c:pt idx="189">
                  <c:v>94.73252971359048</c:v>
                </c:pt>
                <c:pt idx="190">
                  <c:v>94.73252971359048</c:v>
                </c:pt>
                <c:pt idx="191">
                  <c:v>94.582436888014357</c:v>
                </c:pt>
                <c:pt idx="192">
                  <c:v>94.805843234326531</c:v>
                </c:pt>
                <c:pt idx="193">
                  <c:v>94.623043824090246</c:v>
                </c:pt>
                <c:pt idx="194">
                  <c:v>94.592947839765742</c:v>
                </c:pt>
                <c:pt idx="195">
                  <c:v>94.596029078701775</c:v>
                </c:pt>
                <c:pt idx="196">
                  <c:v>94.596029078701775</c:v>
                </c:pt>
                <c:pt idx="197">
                  <c:v>94.596029078701775</c:v>
                </c:pt>
                <c:pt idx="198">
                  <c:v>94.856665257656658</c:v>
                </c:pt>
                <c:pt idx="199">
                  <c:v>94.564320041986761</c:v>
                </c:pt>
                <c:pt idx="200">
                  <c:v>94.21044596683393</c:v>
                </c:pt>
                <c:pt idx="201">
                  <c:v>94.407717976421509</c:v>
                </c:pt>
                <c:pt idx="202">
                  <c:v>93.929390903313916</c:v>
                </c:pt>
                <c:pt idx="203">
                  <c:v>93.929390903313916</c:v>
                </c:pt>
                <c:pt idx="204">
                  <c:v>93.929390903313916</c:v>
                </c:pt>
                <c:pt idx="205">
                  <c:v>94.150257931021301</c:v>
                </c:pt>
                <c:pt idx="206">
                  <c:v>93.852608606385942</c:v>
                </c:pt>
                <c:pt idx="207">
                  <c:v>94.413675985175018</c:v>
                </c:pt>
                <c:pt idx="208">
                  <c:v>94.474562973027247</c:v>
                </c:pt>
                <c:pt idx="209">
                  <c:v>94.055191990779079</c:v>
                </c:pt>
                <c:pt idx="210">
                  <c:v>94.055191990779079</c:v>
                </c:pt>
                <c:pt idx="211">
                  <c:v>94.055191990779079</c:v>
                </c:pt>
                <c:pt idx="212">
                  <c:v>94.02670963367575</c:v>
                </c:pt>
                <c:pt idx="213">
                  <c:v>94.129614093959702</c:v>
                </c:pt>
                <c:pt idx="214">
                  <c:v>94.179713506841807</c:v>
                </c:pt>
                <c:pt idx="215">
                  <c:v>93.893126867388958</c:v>
                </c:pt>
                <c:pt idx="216">
                  <c:v>94.158518001445657</c:v>
                </c:pt>
                <c:pt idx="217">
                  <c:v>94.158518001445657</c:v>
                </c:pt>
                <c:pt idx="218">
                  <c:v>94.158518001445657</c:v>
                </c:pt>
                <c:pt idx="219">
                  <c:v>94.461728621832364</c:v>
                </c:pt>
                <c:pt idx="220">
                  <c:v>94.096064742017276</c:v>
                </c:pt>
                <c:pt idx="221">
                  <c:v>94.15115569456097</c:v>
                </c:pt>
                <c:pt idx="222">
                  <c:v>94.345114106734002</c:v>
                </c:pt>
                <c:pt idx="223">
                  <c:v>94.337902859042771</c:v>
                </c:pt>
                <c:pt idx="224">
                  <c:v>94.337902859042771</c:v>
                </c:pt>
                <c:pt idx="225">
                  <c:v>94.337902859042771</c:v>
                </c:pt>
                <c:pt idx="226">
                  <c:v>93.889377013514064</c:v>
                </c:pt>
                <c:pt idx="227">
                  <c:v>93.741763979872758</c:v>
                </c:pt>
                <c:pt idx="228">
                  <c:v>93.698352989405819</c:v>
                </c:pt>
                <c:pt idx="229">
                  <c:v>93.69568559276837</c:v>
                </c:pt>
                <c:pt idx="230">
                  <c:v>93.810699213131059</c:v>
                </c:pt>
                <c:pt idx="231">
                  <c:v>93.810699213131059</c:v>
                </c:pt>
                <c:pt idx="232">
                  <c:v>93.810699213131059</c:v>
                </c:pt>
                <c:pt idx="233">
                  <c:v>94.06146400945012</c:v>
                </c:pt>
                <c:pt idx="234">
                  <c:v>94.2408386957609</c:v>
                </c:pt>
                <c:pt idx="235">
                  <c:v>93.717384825365855</c:v>
                </c:pt>
                <c:pt idx="236">
                  <c:v>93.901520482963505</c:v>
                </c:pt>
                <c:pt idx="237">
                  <c:v>93.934395037768496</c:v>
                </c:pt>
                <c:pt idx="238">
                  <c:v>93.934395037768496</c:v>
                </c:pt>
                <c:pt idx="239">
                  <c:v>93.934395037768496</c:v>
                </c:pt>
                <c:pt idx="240">
                  <c:v>93.889555571192474</c:v>
                </c:pt>
                <c:pt idx="241">
                  <c:v>93.890626931525347</c:v>
                </c:pt>
                <c:pt idx="242">
                  <c:v>93.711158607651157</c:v>
                </c:pt>
                <c:pt idx="243">
                  <c:v>93.82656687711669</c:v>
                </c:pt>
                <c:pt idx="244">
                  <c:v>93.81159051263829</c:v>
                </c:pt>
                <c:pt idx="245">
                  <c:v>93.81159051263829</c:v>
                </c:pt>
                <c:pt idx="246">
                  <c:v>93.81159051263829</c:v>
                </c:pt>
                <c:pt idx="247">
                  <c:v>93.672752249363427</c:v>
                </c:pt>
                <c:pt idx="248">
                  <c:v>93.679684401678188</c:v>
                </c:pt>
                <c:pt idx="249">
                  <c:v>93.660312497628567</c:v>
                </c:pt>
                <c:pt idx="250">
                  <c:v>93.658357979886901</c:v>
                </c:pt>
                <c:pt idx="251">
                  <c:v>93.500843738814069</c:v>
                </c:pt>
                <c:pt idx="252">
                  <c:v>93.500843738814069</c:v>
                </c:pt>
                <c:pt idx="253">
                  <c:v>93.500843738814069</c:v>
                </c:pt>
                <c:pt idx="254">
                  <c:v>93.629582708271315</c:v>
                </c:pt>
                <c:pt idx="255">
                  <c:v>93.710091339108786</c:v>
                </c:pt>
                <c:pt idx="256">
                  <c:v>93.482430776863183</c:v>
                </c:pt>
                <c:pt idx="257">
                  <c:v>93.743721980331884</c:v>
                </c:pt>
                <c:pt idx="258">
                  <c:v>93.741585983886864</c:v>
                </c:pt>
                <c:pt idx="259">
                  <c:v>93.741585983886864</c:v>
                </c:pt>
                <c:pt idx="260">
                  <c:v>93.741585983886864</c:v>
                </c:pt>
                <c:pt idx="261">
                  <c:v>93.741941976534648</c:v>
                </c:pt>
                <c:pt idx="262">
                  <c:v>93.704755361027068</c:v>
                </c:pt>
                <c:pt idx="263">
                  <c:v>93.746926157521258</c:v>
                </c:pt>
                <c:pt idx="264">
                  <c:v>93.487918497197398</c:v>
                </c:pt>
                <c:pt idx="265">
                  <c:v>93.693907412714296</c:v>
                </c:pt>
                <c:pt idx="266">
                  <c:v>93.693907412714296</c:v>
                </c:pt>
                <c:pt idx="267">
                  <c:v>93.693907412714296</c:v>
                </c:pt>
                <c:pt idx="268">
                  <c:v>93.708490481875799</c:v>
                </c:pt>
                <c:pt idx="269">
                  <c:v>93.849932419973271</c:v>
                </c:pt>
                <c:pt idx="270">
                  <c:v>93.560913301545668</c:v>
                </c:pt>
                <c:pt idx="271">
                  <c:v>93.469864554263509</c:v>
                </c:pt>
                <c:pt idx="272">
                  <c:v>93.653205551382172</c:v>
                </c:pt>
                <c:pt idx="273">
                  <c:v>93.653205551382172</c:v>
                </c:pt>
                <c:pt idx="274">
                  <c:v>93.653205551382172</c:v>
                </c:pt>
                <c:pt idx="275">
                  <c:v>93.471103327495626</c:v>
                </c:pt>
                <c:pt idx="276">
                  <c:v>93.570311685604111</c:v>
                </c:pt>
                <c:pt idx="277">
                  <c:v>93.798222798114523</c:v>
                </c:pt>
                <c:pt idx="278">
                  <c:v>93.650540724595658</c:v>
                </c:pt>
                <c:pt idx="279">
                  <c:v>93.610586513155425</c:v>
                </c:pt>
                <c:pt idx="280">
                  <c:v>93.610586513155425</c:v>
                </c:pt>
                <c:pt idx="281">
                  <c:v>93.610586513155425</c:v>
                </c:pt>
                <c:pt idx="282">
                  <c:v>93.665821122909961</c:v>
                </c:pt>
                <c:pt idx="283">
                  <c:v>93.417158643657302</c:v>
                </c:pt>
                <c:pt idx="284">
                  <c:v>93.615201702056694</c:v>
                </c:pt>
                <c:pt idx="285">
                  <c:v>93.520681196071223</c:v>
                </c:pt>
                <c:pt idx="286">
                  <c:v>93.391004638422515</c:v>
                </c:pt>
                <c:pt idx="287">
                  <c:v>93.391004638422515</c:v>
                </c:pt>
                <c:pt idx="288">
                  <c:v>93.391004638422515</c:v>
                </c:pt>
                <c:pt idx="289">
                  <c:v>93.220127757521311</c:v>
                </c:pt>
                <c:pt idx="290">
                  <c:v>93.336446495518388</c:v>
                </c:pt>
                <c:pt idx="291">
                  <c:v>93.393831392401268</c:v>
                </c:pt>
                <c:pt idx="292">
                  <c:v>93.396304942508323</c:v>
                </c:pt>
                <c:pt idx="293">
                  <c:v>93.373694503391206</c:v>
                </c:pt>
                <c:pt idx="294">
                  <c:v>93.373694503391206</c:v>
                </c:pt>
                <c:pt idx="295">
                  <c:v>93.373694503391206</c:v>
                </c:pt>
                <c:pt idx="296">
                  <c:v>93.390121312895744</c:v>
                </c:pt>
                <c:pt idx="297">
                  <c:v>93.471280297780694</c:v>
                </c:pt>
                <c:pt idx="298">
                  <c:v>93.160846445029037</c:v>
                </c:pt>
                <c:pt idx="299">
                  <c:v>92.938467852154218</c:v>
                </c:pt>
                <c:pt idx="300">
                  <c:v>92.967169957705494</c:v>
                </c:pt>
                <c:pt idx="301">
                  <c:v>92.967169957705494</c:v>
                </c:pt>
                <c:pt idx="302">
                  <c:v>92.967169957705494</c:v>
                </c:pt>
                <c:pt idx="303">
                  <c:v>93.062679432150873</c:v>
                </c:pt>
                <c:pt idx="304">
                  <c:v>92.579445000768885</c:v>
                </c:pt>
                <c:pt idx="305">
                  <c:v>92.727074658207087</c:v>
                </c:pt>
                <c:pt idx="306">
                  <c:v>92.219739904584372</c:v>
                </c:pt>
                <c:pt idx="307">
                  <c:v>92.905237564735657</c:v>
                </c:pt>
                <c:pt idx="308">
                  <c:v>92.905237564735657</c:v>
                </c:pt>
                <c:pt idx="309">
                  <c:v>92.905237564735657</c:v>
                </c:pt>
                <c:pt idx="310">
                  <c:v>92.847229013548386</c:v>
                </c:pt>
                <c:pt idx="311">
                  <c:v>92.891777319091048</c:v>
                </c:pt>
                <c:pt idx="312">
                  <c:v>92.851070712541983</c:v>
                </c:pt>
                <c:pt idx="313">
                  <c:v>92.699042762132578</c:v>
                </c:pt>
                <c:pt idx="314">
                  <c:v>93.09180939307258</c:v>
                </c:pt>
                <c:pt idx="315">
                  <c:v>93.09180939307258</c:v>
                </c:pt>
                <c:pt idx="316">
                  <c:v>93.09180939307258</c:v>
                </c:pt>
                <c:pt idx="317">
                  <c:v>92.539531989233197</c:v>
                </c:pt>
                <c:pt idx="318">
                  <c:v>92.801851183494264</c:v>
                </c:pt>
                <c:pt idx="319">
                  <c:v>92.55705476845317</c:v>
                </c:pt>
                <c:pt idx="320">
                  <c:v>92.805863587744227</c:v>
                </c:pt>
                <c:pt idx="321">
                  <c:v>92.909084065716925</c:v>
                </c:pt>
                <c:pt idx="322">
                  <c:v>92.909084065716925</c:v>
                </c:pt>
                <c:pt idx="323">
                  <c:v>92.909084065716925</c:v>
                </c:pt>
                <c:pt idx="324">
                  <c:v>92.769241465619146</c:v>
                </c:pt>
                <c:pt idx="325">
                  <c:v>92.844086041727024</c:v>
                </c:pt>
                <c:pt idx="326">
                  <c:v>92.683902144140461</c:v>
                </c:pt>
                <c:pt idx="327">
                  <c:v>92.840070331819518</c:v>
                </c:pt>
                <c:pt idx="328">
                  <c:v>92.417923076635077</c:v>
                </c:pt>
                <c:pt idx="329">
                  <c:v>92.417923076635077</c:v>
                </c:pt>
                <c:pt idx="330">
                  <c:v>92.417923076635077</c:v>
                </c:pt>
                <c:pt idx="331">
                  <c:v>92.490295554689595</c:v>
                </c:pt>
                <c:pt idx="332">
                  <c:v>92.764709308770989</c:v>
                </c:pt>
                <c:pt idx="333">
                  <c:v>92.35499234881901</c:v>
                </c:pt>
                <c:pt idx="334">
                  <c:v>92.373827998555541</c:v>
                </c:pt>
                <c:pt idx="335">
                  <c:v>92.650331985872299</c:v>
                </c:pt>
                <c:pt idx="336">
                  <c:v>92.650331985872299</c:v>
                </c:pt>
                <c:pt idx="337">
                  <c:v>92.650331985872299</c:v>
                </c:pt>
                <c:pt idx="338">
                  <c:v>92.807084823123816</c:v>
                </c:pt>
                <c:pt idx="339">
                  <c:v>92.774297086116121</c:v>
                </c:pt>
                <c:pt idx="340">
                  <c:v>92.342381941937532</c:v>
                </c:pt>
                <c:pt idx="341">
                  <c:v>92.346354712237755</c:v>
                </c:pt>
                <c:pt idx="342">
                  <c:v>92.603583038060634</c:v>
                </c:pt>
                <c:pt idx="343">
                  <c:v>92.603583038060634</c:v>
                </c:pt>
                <c:pt idx="344">
                  <c:v>92.603583038060634</c:v>
                </c:pt>
                <c:pt idx="345">
                  <c:v>92.319760940380945</c:v>
                </c:pt>
                <c:pt idx="346">
                  <c:v>92.591772929400534</c:v>
                </c:pt>
                <c:pt idx="347">
                  <c:v>92.291457136127235</c:v>
                </c:pt>
                <c:pt idx="348">
                  <c:v>92.330465681690683</c:v>
                </c:pt>
                <c:pt idx="349">
                  <c:v>92.57302188828406</c:v>
                </c:pt>
                <c:pt idx="350">
                  <c:v>92.57302188828406</c:v>
                </c:pt>
                <c:pt idx="351">
                  <c:v>92.57302188828406</c:v>
                </c:pt>
                <c:pt idx="352">
                  <c:v>92.396821356650378</c:v>
                </c:pt>
                <c:pt idx="353">
                  <c:v>92.491681779349832</c:v>
                </c:pt>
                <c:pt idx="354">
                  <c:v>92.274724638006234</c:v>
                </c:pt>
                <c:pt idx="355">
                  <c:v>92.265412267767076</c:v>
                </c:pt>
                <c:pt idx="356">
                  <c:v>92.162756009729819</c:v>
                </c:pt>
                <c:pt idx="357">
                  <c:v>92.162756009729819</c:v>
                </c:pt>
                <c:pt idx="358">
                  <c:v>92.162756009729819</c:v>
                </c:pt>
                <c:pt idx="359">
                  <c:v>92.477301719018968</c:v>
                </c:pt>
                <c:pt idx="360">
                  <c:v>92.326148955070366</c:v>
                </c:pt>
                <c:pt idx="361">
                  <c:v>92.107732750241126</c:v>
                </c:pt>
                <c:pt idx="362">
                  <c:v>91.896676246779734</c:v>
                </c:pt>
                <c:pt idx="363">
                  <c:v>92.169466464040738</c:v>
                </c:pt>
                <c:pt idx="364">
                  <c:v>92.169466464040738</c:v>
                </c:pt>
                <c:pt idx="365">
                  <c:v>92.169466464040738</c:v>
                </c:pt>
                <c:pt idx="366">
                  <c:v>92.385236805811559</c:v>
                </c:pt>
                <c:pt idx="367">
                  <c:v>92.364495615553125</c:v>
                </c:pt>
                <c:pt idx="368">
                  <c:v>92.004912484718346</c:v>
                </c:pt>
                <c:pt idx="369">
                  <c:v>92.048312727584587</c:v>
                </c:pt>
                <c:pt idx="370">
                  <c:v>91.983484778756747</c:v>
                </c:pt>
                <c:pt idx="371">
                  <c:v>91.983484778756747</c:v>
                </c:pt>
                <c:pt idx="372">
                  <c:v>91.983484778756747</c:v>
                </c:pt>
                <c:pt idx="373">
                  <c:v>92.124748551019408</c:v>
                </c:pt>
                <c:pt idx="374">
                  <c:v>92.063761424263717</c:v>
                </c:pt>
                <c:pt idx="375">
                  <c:v>92.091753935002941</c:v>
                </c:pt>
                <c:pt idx="376">
                  <c:v>92.079215307399451</c:v>
                </c:pt>
                <c:pt idx="377">
                  <c:v>91.949734966866174</c:v>
                </c:pt>
                <c:pt idx="378">
                  <c:v>91.949734966866174</c:v>
                </c:pt>
                <c:pt idx="379">
                  <c:v>91.949734966866174</c:v>
                </c:pt>
                <c:pt idx="380">
                  <c:v>92.308713488125079</c:v>
                </c:pt>
                <c:pt idx="381">
                  <c:v>91.943741398158835</c:v>
                </c:pt>
                <c:pt idx="382">
                  <c:v>92.009542180350905</c:v>
                </c:pt>
                <c:pt idx="383">
                  <c:v>92.092612870069971</c:v>
                </c:pt>
                <c:pt idx="384">
                  <c:v>92.306124623953636</c:v>
                </c:pt>
                <c:pt idx="385">
                  <c:v>92.306124623953636</c:v>
                </c:pt>
                <c:pt idx="386">
                  <c:v>92.306124623953636</c:v>
                </c:pt>
                <c:pt idx="387">
                  <c:v>92.14417831166088</c:v>
                </c:pt>
                <c:pt idx="388">
                  <c:v>91.991197603005148</c:v>
                </c:pt>
                <c:pt idx="389">
                  <c:v>92.087287730921872</c:v>
                </c:pt>
                <c:pt idx="390">
                  <c:v>92.042134700535954</c:v>
                </c:pt>
                <c:pt idx="391">
                  <c:v>92.014686833104975</c:v>
                </c:pt>
                <c:pt idx="392">
                  <c:v>92.014686833104975</c:v>
                </c:pt>
                <c:pt idx="393">
                  <c:v>92.014686833104975</c:v>
                </c:pt>
                <c:pt idx="394">
                  <c:v>92.046424909107813</c:v>
                </c:pt>
                <c:pt idx="395">
                  <c:v>92.038531234386483</c:v>
                </c:pt>
                <c:pt idx="396">
                  <c:v>92.024634793290247</c:v>
                </c:pt>
                <c:pt idx="397">
                  <c:v>92.207683055291952</c:v>
                </c:pt>
                <c:pt idx="398">
                  <c:v>91.96515058939238</c:v>
                </c:pt>
                <c:pt idx="399">
                  <c:v>91.96515058939238</c:v>
                </c:pt>
                <c:pt idx="400">
                  <c:v>91.96515058939238</c:v>
                </c:pt>
                <c:pt idx="401">
                  <c:v>91.987598124067162</c:v>
                </c:pt>
                <c:pt idx="402">
                  <c:v>91.981256870307178</c:v>
                </c:pt>
                <c:pt idx="403">
                  <c:v>91.972688997354538</c:v>
                </c:pt>
                <c:pt idx="404">
                  <c:v>91.970975614299761</c:v>
                </c:pt>
                <c:pt idx="405">
                  <c:v>92.072174561730648</c:v>
                </c:pt>
                <c:pt idx="406">
                  <c:v>92.072174561730648</c:v>
                </c:pt>
                <c:pt idx="407">
                  <c:v>92.072174561730648</c:v>
                </c:pt>
                <c:pt idx="408">
                  <c:v>92.100000373107846</c:v>
                </c:pt>
                <c:pt idx="409">
                  <c:v>91.927477078228193</c:v>
                </c:pt>
                <c:pt idx="410">
                  <c:v>91.874102085023679</c:v>
                </c:pt>
                <c:pt idx="411">
                  <c:v>91.838040653537107</c:v>
                </c:pt>
                <c:pt idx="412">
                  <c:v>91.909849631478863</c:v>
                </c:pt>
                <c:pt idx="413">
                  <c:v>91.909849631478863</c:v>
                </c:pt>
                <c:pt idx="414">
                  <c:v>91.909849631478863</c:v>
                </c:pt>
                <c:pt idx="415">
                  <c:v>91.995311638168758</c:v>
                </c:pt>
                <c:pt idx="416">
                  <c:v>91.892228943694718</c:v>
                </c:pt>
                <c:pt idx="417">
                  <c:v>91.92063066484944</c:v>
                </c:pt>
                <c:pt idx="418">
                  <c:v>91.890518557123173</c:v>
                </c:pt>
                <c:pt idx="419">
                  <c:v>91.809348470901085</c:v>
                </c:pt>
                <c:pt idx="420">
                  <c:v>91.809348470901085</c:v>
                </c:pt>
                <c:pt idx="421">
                  <c:v>91.809348470901085</c:v>
                </c:pt>
                <c:pt idx="422">
                  <c:v>91.869998883471638</c:v>
                </c:pt>
                <c:pt idx="423">
                  <c:v>91.86948600904752</c:v>
                </c:pt>
                <c:pt idx="424">
                  <c:v>91.802519641113832</c:v>
                </c:pt>
                <c:pt idx="425">
                  <c:v>91.840090781408421</c:v>
                </c:pt>
                <c:pt idx="426">
                  <c:v>91.798764217725278</c:v>
                </c:pt>
                <c:pt idx="427">
                  <c:v>91.798764217725278</c:v>
                </c:pt>
                <c:pt idx="428">
                  <c:v>91.798764217725278</c:v>
                </c:pt>
                <c:pt idx="429">
                  <c:v>91.84607084387558</c:v>
                </c:pt>
                <c:pt idx="430">
                  <c:v>91.861964508668137</c:v>
                </c:pt>
                <c:pt idx="431">
                  <c:v>91.775385084415561</c:v>
                </c:pt>
                <c:pt idx="432">
                  <c:v>91.764808660287429</c:v>
                </c:pt>
                <c:pt idx="433">
                  <c:v>91.765490936668186</c:v>
                </c:pt>
                <c:pt idx="434">
                  <c:v>91.765490936668186</c:v>
                </c:pt>
                <c:pt idx="435">
                  <c:v>91.765490936668186</c:v>
                </c:pt>
                <c:pt idx="436">
                  <c:v>91.763103013721008</c:v>
                </c:pt>
                <c:pt idx="437">
                  <c:v>91.813446256446298</c:v>
                </c:pt>
                <c:pt idx="438">
                  <c:v>91.80508033323413</c:v>
                </c:pt>
                <c:pt idx="439">
                  <c:v>91.805933929019702</c:v>
                </c:pt>
                <c:pt idx="440">
                  <c:v>91.729514699843705</c:v>
                </c:pt>
                <c:pt idx="441">
                  <c:v>91.729514699843705</c:v>
                </c:pt>
                <c:pt idx="442">
                  <c:v>91.729514699843705</c:v>
                </c:pt>
                <c:pt idx="443">
                  <c:v>91.797910755259338</c:v>
                </c:pt>
                <c:pt idx="444">
                  <c:v>91.775726299978416</c:v>
                </c:pt>
                <c:pt idx="445">
                  <c:v>91.803202478378324</c:v>
                </c:pt>
                <c:pt idx="446">
                  <c:v>91.660709942499793</c:v>
                </c:pt>
                <c:pt idx="447">
                  <c:v>91.696291590979158</c:v>
                </c:pt>
                <c:pt idx="448">
                  <c:v>91.696291590979158</c:v>
                </c:pt>
                <c:pt idx="449">
                  <c:v>91.696291590979158</c:v>
                </c:pt>
                <c:pt idx="450">
                  <c:v>91.604414607988289</c:v>
                </c:pt>
                <c:pt idx="451">
                  <c:v>91.430862599335882</c:v>
                </c:pt>
                <c:pt idx="452">
                  <c:v>91.59863592171763</c:v>
                </c:pt>
                <c:pt idx="453">
                  <c:v>91.489148785156871</c:v>
                </c:pt>
                <c:pt idx="454">
                  <c:v>91.129438649406453</c:v>
                </c:pt>
                <c:pt idx="455">
                  <c:v>91.129438649406453</c:v>
                </c:pt>
                <c:pt idx="456">
                  <c:v>91.129438649406453</c:v>
                </c:pt>
                <c:pt idx="457">
                  <c:v>91.15299469910839</c:v>
                </c:pt>
                <c:pt idx="458">
                  <c:v>91.569753423031415</c:v>
                </c:pt>
                <c:pt idx="459">
                  <c:v>91.356249606774227</c:v>
                </c:pt>
                <c:pt idx="460">
                  <c:v>90.859750991524876</c:v>
                </c:pt>
                <c:pt idx="461">
                  <c:v>91.353882934628146</c:v>
                </c:pt>
                <c:pt idx="462">
                  <c:v>91.353882934628146</c:v>
                </c:pt>
                <c:pt idx="463">
                  <c:v>91.353882934628146</c:v>
                </c:pt>
                <c:pt idx="464">
                  <c:v>91.058003733132665</c:v>
                </c:pt>
                <c:pt idx="465">
                  <c:v>91.042890705968716</c:v>
                </c:pt>
                <c:pt idx="466">
                  <c:v>91.296106576324348</c:v>
                </c:pt>
                <c:pt idx="467">
                  <c:v>91.094463562472896</c:v>
                </c:pt>
                <c:pt idx="468">
                  <c:v>91.014525349768007</c:v>
                </c:pt>
                <c:pt idx="469">
                  <c:v>91.014525349768007</c:v>
                </c:pt>
                <c:pt idx="470">
                  <c:v>91.014525349768007</c:v>
                </c:pt>
                <c:pt idx="471">
                  <c:v>91.254593311694549</c:v>
                </c:pt>
                <c:pt idx="472">
                  <c:v>91.013854194511794</c:v>
                </c:pt>
                <c:pt idx="473">
                  <c:v>91.309446085385233</c:v>
                </c:pt>
                <c:pt idx="474">
                  <c:v>90.921664502702669</c:v>
                </c:pt>
                <c:pt idx="475">
                  <c:v>90.921664502702669</c:v>
                </c:pt>
                <c:pt idx="476">
                  <c:v>90.921664502702669</c:v>
                </c:pt>
                <c:pt idx="477">
                  <c:v>90.921664502702669</c:v>
                </c:pt>
                <c:pt idx="478">
                  <c:v>90.776551752035942</c:v>
                </c:pt>
                <c:pt idx="479">
                  <c:v>90.609445431453466</c:v>
                </c:pt>
                <c:pt idx="480">
                  <c:v>90.884840898003517</c:v>
                </c:pt>
                <c:pt idx="481">
                  <c:v>90.882665891041896</c:v>
                </c:pt>
                <c:pt idx="482">
                  <c:v>90.905592351785458</c:v>
                </c:pt>
                <c:pt idx="483">
                  <c:v>90.905592351785458</c:v>
                </c:pt>
                <c:pt idx="484">
                  <c:v>90.905592351785458</c:v>
                </c:pt>
                <c:pt idx="485">
                  <c:v>90.827656118054193</c:v>
                </c:pt>
                <c:pt idx="486">
                  <c:v>90.855905097372357</c:v>
                </c:pt>
                <c:pt idx="487">
                  <c:v>90.855069076507732</c:v>
                </c:pt>
                <c:pt idx="488">
                  <c:v>90.803933866603899</c:v>
                </c:pt>
                <c:pt idx="489">
                  <c:v>90.886514051123442</c:v>
                </c:pt>
                <c:pt idx="490">
                  <c:v>90.886514051123442</c:v>
                </c:pt>
                <c:pt idx="491">
                  <c:v>90.886514051123442</c:v>
                </c:pt>
                <c:pt idx="492">
                  <c:v>90.785565990375119</c:v>
                </c:pt>
                <c:pt idx="493">
                  <c:v>90.725671588031403</c:v>
                </c:pt>
                <c:pt idx="494">
                  <c:v>90.560745777759834</c:v>
                </c:pt>
                <c:pt idx="495">
                  <c:v>90.941930207197373</c:v>
                </c:pt>
                <c:pt idx="496">
                  <c:v>90.819301798942959</c:v>
                </c:pt>
                <c:pt idx="497">
                  <c:v>90.819301798942959</c:v>
                </c:pt>
                <c:pt idx="498">
                  <c:v>90.819301798942959</c:v>
                </c:pt>
                <c:pt idx="499">
                  <c:v>90.82916005872633</c:v>
                </c:pt>
                <c:pt idx="500">
                  <c:v>90.473781917008893</c:v>
                </c:pt>
                <c:pt idx="501">
                  <c:v>90.638890061852933</c:v>
                </c:pt>
                <c:pt idx="502">
                  <c:v>90.633565321794492</c:v>
                </c:pt>
                <c:pt idx="503">
                  <c:v>90.829327166319842</c:v>
                </c:pt>
                <c:pt idx="504">
                  <c:v>90.829327166319842</c:v>
                </c:pt>
                <c:pt idx="505">
                  <c:v>90.829327166319842</c:v>
                </c:pt>
                <c:pt idx="506">
                  <c:v>90.827823220113842</c:v>
                </c:pt>
                <c:pt idx="507">
                  <c:v>90.629073058975138</c:v>
                </c:pt>
                <c:pt idx="508">
                  <c:v>90.518238740018873</c:v>
                </c:pt>
                <c:pt idx="509">
                  <c:v>90.605620697439235</c:v>
                </c:pt>
                <c:pt idx="510">
                  <c:v>90.711502031261745</c:v>
                </c:pt>
                <c:pt idx="511">
                  <c:v>90.711502031261745</c:v>
                </c:pt>
                <c:pt idx="512">
                  <c:v>90.711502031261745</c:v>
                </c:pt>
                <c:pt idx="513">
                  <c:v>90.813955841207857</c:v>
                </c:pt>
                <c:pt idx="514">
                  <c:v>90.443450287255232</c:v>
                </c:pt>
                <c:pt idx="515">
                  <c:v>90.49418018513424</c:v>
                </c:pt>
                <c:pt idx="516">
                  <c:v>90.671684279737406</c:v>
                </c:pt>
                <c:pt idx="517">
                  <c:v>90.728339293787258</c:v>
                </c:pt>
                <c:pt idx="518">
                  <c:v>90.728339293787258</c:v>
                </c:pt>
                <c:pt idx="519">
                  <c:v>90.728339293787258</c:v>
                </c:pt>
                <c:pt idx="520">
                  <c:v>90.761531998757178</c:v>
                </c:pt>
                <c:pt idx="521">
                  <c:v>90.252481211529542</c:v>
                </c:pt>
                <c:pt idx="522">
                  <c:v>90.739178461872086</c:v>
                </c:pt>
                <c:pt idx="523">
                  <c:v>90.255121161984988</c:v>
                </c:pt>
                <c:pt idx="524">
                  <c:v>90.546793756063892</c:v>
                </c:pt>
                <c:pt idx="525">
                  <c:v>90.546793756063892</c:v>
                </c:pt>
                <c:pt idx="526">
                  <c:v>90.546793756063892</c:v>
                </c:pt>
                <c:pt idx="527">
                  <c:v>90.432516000454243</c:v>
                </c:pt>
                <c:pt idx="528">
                  <c:v>89.963682218500708</c:v>
                </c:pt>
                <c:pt idx="529">
                  <c:v>90.484394502290073</c:v>
                </c:pt>
                <c:pt idx="530">
                  <c:v>90.23598501949327</c:v>
                </c:pt>
                <c:pt idx="531">
                  <c:v>90.218011037608235</c:v>
                </c:pt>
                <c:pt idx="532">
                  <c:v>90.218011037608235</c:v>
                </c:pt>
                <c:pt idx="533">
                  <c:v>90.218011037608235</c:v>
                </c:pt>
                <c:pt idx="534">
                  <c:v>90.25132628176766</c:v>
                </c:pt>
                <c:pt idx="535">
                  <c:v>90.197901860262846</c:v>
                </c:pt>
                <c:pt idx="536">
                  <c:v>90.201033028029116</c:v>
                </c:pt>
                <c:pt idx="537">
                  <c:v>90.192793579515225</c:v>
                </c:pt>
                <c:pt idx="538">
                  <c:v>90.166602134669731</c:v>
                </c:pt>
                <c:pt idx="539">
                  <c:v>90.166602134669731</c:v>
                </c:pt>
                <c:pt idx="540">
                  <c:v>90.166602134669731</c:v>
                </c:pt>
                <c:pt idx="541">
                  <c:v>90.452729937706096</c:v>
                </c:pt>
                <c:pt idx="542">
                  <c:v>90.309274201662049</c:v>
                </c:pt>
                <c:pt idx="543">
                  <c:v>90.161168080501824</c:v>
                </c:pt>
                <c:pt idx="544">
                  <c:v>90.167754897036644</c:v>
                </c:pt>
                <c:pt idx="545">
                  <c:v>90.038664259269353</c:v>
                </c:pt>
                <c:pt idx="546">
                  <c:v>90.038664259269353</c:v>
                </c:pt>
                <c:pt idx="547">
                  <c:v>90.038664259269353</c:v>
                </c:pt>
                <c:pt idx="548">
                  <c:v>89.986967418546328</c:v>
                </c:pt>
                <c:pt idx="549">
                  <c:v>90.099134579937271</c:v>
                </c:pt>
                <c:pt idx="550">
                  <c:v>90.138944677743268</c:v>
                </c:pt>
                <c:pt idx="551">
                  <c:v>90.008787730723498</c:v>
                </c:pt>
                <c:pt idx="552">
                  <c:v>90.074147865147211</c:v>
                </c:pt>
                <c:pt idx="553">
                  <c:v>90.074147865147211</c:v>
                </c:pt>
                <c:pt idx="554">
                  <c:v>90.074147865147211</c:v>
                </c:pt>
                <c:pt idx="555">
                  <c:v>89.99795828335381</c:v>
                </c:pt>
                <c:pt idx="556">
                  <c:v>89.631626724763976</c:v>
                </c:pt>
                <c:pt idx="557">
                  <c:v>89.693832687157752</c:v>
                </c:pt>
                <c:pt idx="558">
                  <c:v>90.00698264184517</c:v>
                </c:pt>
                <c:pt idx="559">
                  <c:v>89.717793596246224</c:v>
                </c:pt>
                <c:pt idx="560">
                  <c:v>89.717793596246224</c:v>
                </c:pt>
                <c:pt idx="561">
                  <c:v>89.717793596246224</c:v>
                </c:pt>
                <c:pt idx="562">
                  <c:v>89.700025436970819</c:v>
                </c:pt>
                <c:pt idx="563">
                  <c:v>89.917475489437194</c:v>
                </c:pt>
                <c:pt idx="564">
                  <c:v>89.973191618872661</c:v>
                </c:pt>
                <c:pt idx="565">
                  <c:v>89.953519220012069</c:v>
                </c:pt>
                <c:pt idx="566">
                  <c:v>89.892425737706716</c:v>
                </c:pt>
                <c:pt idx="567">
                  <c:v>89.892425737706716</c:v>
                </c:pt>
                <c:pt idx="568">
                  <c:v>89.892425737706716</c:v>
                </c:pt>
                <c:pt idx="569">
                  <c:v>89.912890177516104</c:v>
                </c:pt>
                <c:pt idx="570">
                  <c:v>89.86428189175318</c:v>
                </c:pt>
                <c:pt idx="571">
                  <c:v>89.921242345535546</c:v>
                </c:pt>
                <c:pt idx="572">
                  <c:v>89.880478812980755</c:v>
                </c:pt>
                <c:pt idx="573">
                  <c:v>89.990247992635886</c:v>
                </c:pt>
                <c:pt idx="574">
                  <c:v>89.990247992635886</c:v>
                </c:pt>
                <c:pt idx="575">
                  <c:v>89.990247992635886</c:v>
                </c:pt>
                <c:pt idx="576">
                  <c:v>89.986475353062559</c:v>
                </c:pt>
                <c:pt idx="577">
                  <c:v>89.967288995799521</c:v>
                </c:pt>
                <c:pt idx="578">
                  <c:v>89.824387119781392</c:v>
                </c:pt>
                <c:pt idx="579">
                  <c:v>89.843349068793188</c:v>
                </c:pt>
                <c:pt idx="580">
                  <c:v>89.563169763125856</c:v>
                </c:pt>
                <c:pt idx="581">
                  <c:v>89.563169763125856</c:v>
                </c:pt>
                <c:pt idx="582">
                  <c:v>89.563169763125856</c:v>
                </c:pt>
                <c:pt idx="583">
                  <c:v>89.800042563485988</c:v>
                </c:pt>
                <c:pt idx="584">
                  <c:v>89.565607050721511</c:v>
                </c:pt>
                <c:pt idx="585">
                  <c:v>89.759552012217853</c:v>
                </c:pt>
                <c:pt idx="586">
                  <c:v>89.531984193336029</c:v>
                </c:pt>
                <c:pt idx="587">
                  <c:v>89.519321258189166</c:v>
                </c:pt>
                <c:pt idx="588">
                  <c:v>89.519321258189166</c:v>
                </c:pt>
                <c:pt idx="589">
                  <c:v>89.519321258189166</c:v>
                </c:pt>
                <c:pt idx="590">
                  <c:v>89.748129834480125</c:v>
                </c:pt>
                <c:pt idx="591">
                  <c:v>89.602507536584866</c:v>
                </c:pt>
                <c:pt idx="592">
                  <c:v>89.696603022160204</c:v>
                </c:pt>
                <c:pt idx="593">
                  <c:v>89.688944278115272</c:v>
                </c:pt>
                <c:pt idx="594">
                  <c:v>89.658159549757841</c:v>
                </c:pt>
                <c:pt idx="595">
                  <c:v>89.658159549757841</c:v>
                </c:pt>
                <c:pt idx="596">
                  <c:v>89.658159549757841</c:v>
                </c:pt>
                <c:pt idx="597">
                  <c:v>89.626582381892078</c:v>
                </c:pt>
                <c:pt idx="598">
                  <c:v>89.623979072228764</c:v>
                </c:pt>
                <c:pt idx="599">
                  <c:v>89.483300194122648</c:v>
                </c:pt>
                <c:pt idx="600">
                  <c:v>89.483300194122648</c:v>
                </c:pt>
                <c:pt idx="601">
                  <c:v>89.566257016483959</c:v>
                </c:pt>
                <c:pt idx="602">
                  <c:v>89.566257016483959</c:v>
                </c:pt>
                <c:pt idx="603">
                  <c:v>89.566257016483959</c:v>
                </c:pt>
                <c:pt idx="604">
                  <c:v>89.566257016483959</c:v>
                </c:pt>
                <c:pt idx="605">
                  <c:v>89.383501500011747</c:v>
                </c:pt>
                <c:pt idx="606">
                  <c:v>89.367968502511644</c:v>
                </c:pt>
                <c:pt idx="607">
                  <c:v>89.524678216654749</c:v>
                </c:pt>
                <c:pt idx="608">
                  <c:v>89.524678216654749</c:v>
                </c:pt>
                <c:pt idx="609">
                  <c:v>89.524678216654749</c:v>
                </c:pt>
                <c:pt idx="610">
                  <c:v>89.524678216654749</c:v>
                </c:pt>
                <c:pt idx="611">
                  <c:v>89.524678216654749</c:v>
                </c:pt>
                <c:pt idx="612">
                  <c:v>89.522892492597023</c:v>
                </c:pt>
                <c:pt idx="613">
                  <c:v>89.522892492597023</c:v>
                </c:pt>
                <c:pt idx="614">
                  <c:v>89.461409663530517</c:v>
                </c:pt>
                <c:pt idx="615">
                  <c:v>89.435803234022799</c:v>
                </c:pt>
                <c:pt idx="616">
                  <c:v>89.435803234022799</c:v>
                </c:pt>
                <c:pt idx="617">
                  <c:v>89.435803234022799</c:v>
                </c:pt>
                <c:pt idx="618">
                  <c:v>89.435803234022799</c:v>
                </c:pt>
                <c:pt idx="619">
                  <c:v>89.379941377855729</c:v>
                </c:pt>
                <c:pt idx="620">
                  <c:v>89.383986993188785</c:v>
                </c:pt>
                <c:pt idx="621">
                  <c:v>89.383986993188785</c:v>
                </c:pt>
                <c:pt idx="622">
                  <c:v>89.35033862169567</c:v>
                </c:pt>
                <c:pt idx="623">
                  <c:v>89.35033862169567</c:v>
                </c:pt>
                <c:pt idx="624">
                  <c:v>89.35033862169567</c:v>
                </c:pt>
                <c:pt idx="625">
                  <c:v>89.336918697759927</c:v>
                </c:pt>
                <c:pt idx="626">
                  <c:v>89.338535342476646</c:v>
                </c:pt>
                <c:pt idx="627">
                  <c:v>89.336595375837604</c:v>
                </c:pt>
                <c:pt idx="628">
                  <c:v>89.278274078628513</c:v>
                </c:pt>
                <c:pt idx="629">
                  <c:v>89.31025250460398</c:v>
                </c:pt>
                <c:pt idx="630">
                  <c:v>89.31025250460398</c:v>
                </c:pt>
                <c:pt idx="631">
                  <c:v>89.31025250460398</c:v>
                </c:pt>
                <c:pt idx="632">
                  <c:v>89.31025250460398</c:v>
                </c:pt>
                <c:pt idx="633">
                  <c:v>89.618610223642165</c:v>
                </c:pt>
                <c:pt idx="634">
                  <c:v>89.618610223642165</c:v>
                </c:pt>
                <c:pt idx="635">
                  <c:v>89.618610223642165</c:v>
                </c:pt>
                <c:pt idx="636">
                  <c:v>89.249868029995156</c:v>
                </c:pt>
                <c:pt idx="637">
                  <c:v>89.249868029995156</c:v>
                </c:pt>
                <c:pt idx="638">
                  <c:v>89.249868029995156</c:v>
                </c:pt>
                <c:pt idx="639">
                  <c:v>88.957340420739669</c:v>
                </c:pt>
                <c:pt idx="640">
                  <c:v>89.074828189079511</c:v>
                </c:pt>
                <c:pt idx="641">
                  <c:v>88.967600209763361</c:v>
                </c:pt>
                <c:pt idx="642">
                  <c:v>88.9357064365621</c:v>
                </c:pt>
                <c:pt idx="643">
                  <c:v>88.906237056406141</c:v>
                </c:pt>
                <c:pt idx="644">
                  <c:v>88.906237056406141</c:v>
                </c:pt>
                <c:pt idx="645">
                  <c:v>88.906237056406141</c:v>
                </c:pt>
                <c:pt idx="646">
                  <c:v>88.637750998247654</c:v>
                </c:pt>
                <c:pt idx="647">
                  <c:v>88.591147183855526</c:v>
                </c:pt>
                <c:pt idx="648">
                  <c:v>88.710856990891543</c:v>
                </c:pt>
                <c:pt idx="649">
                  <c:v>88.887188452556899</c:v>
                </c:pt>
                <c:pt idx="650">
                  <c:v>88.571756630444312</c:v>
                </c:pt>
                <c:pt idx="651">
                  <c:v>88.571756630444312</c:v>
                </c:pt>
                <c:pt idx="652">
                  <c:v>88.571756630444312</c:v>
                </c:pt>
                <c:pt idx="653">
                  <c:v>88.769237131642285</c:v>
                </c:pt>
                <c:pt idx="654">
                  <c:v>88.80196997550118</c:v>
                </c:pt>
                <c:pt idx="655">
                  <c:v>88.534588657251703</c:v>
                </c:pt>
                <c:pt idx="656">
                  <c:v>88.639660732111921</c:v>
                </c:pt>
                <c:pt idx="657">
                  <c:v>88.734933479040748</c:v>
                </c:pt>
                <c:pt idx="658">
                  <c:v>88.734933479040748</c:v>
                </c:pt>
                <c:pt idx="659">
                  <c:v>88.734933479040748</c:v>
                </c:pt>
                <c:pt idx="660">
                  <c:v>88.596075644518123</c:v>
                </c:pt>
                <c:pt idx="661">
                  <c:v>88.688386765302923</c:v>
                </c:pt>
                <c:pt idx="662">
                  <c:v>88.695078833522544</c:v>
                </c:pt>
                <c:pt idx="663">
                  <c:v>88.68615630029889</c:v>
                </c:pt>
                <c:pt idx="664">
                  <c:v>88.477309466545734</c:v>
                </c:pt>
                <c:pt idx="665">
                  <c:v>88.477309466545734</c:v>
                </c:pt>
                <c:pt idx="666">
                  <c:v>88.477309466545734</c:v>
                </c:pt>
                <c:pt idx="667">
                  <c:v>88.477309466545734</c:v>
                </c:pt>
                <c:pt idx="668">
                  <c:v>88.70432192152478</c:v>
                </c:pt>
                <c:pt idx="669">
                  <c:v>88.702728148222675</c:v>
                </c:pt>
                <c:pt idx="670">
                  <c:v>88.416303855321985</c:v>
                </c:pt>
                <c:pt idx="671">
                  <c:v>88.484762671188051</c:v>
                </c:pt>
                <c:pt idx="672">
                  <c:v>88.484762671188051</c:v>
                </c:pt>
                <c:pt idx="673">
                  <c:v>88.484762671188051</c:v>
                </c:pt>
                <c:pt idx="674">
                  <c:v>88.598619580705716</c:v>
                </c:pt>
                <c:pt idx="675">
                  <c:v>88.471918569226915</c:v>
                </c:pt>
                <c:pt idx="676">
                  <c:v>88.460663225172965</c:v>
                </c:pt>
                <c:pt idx="677">
                  <c:v>88.565083157975948</c:v>
                </c:pt>
                <c:pt idx="678">
                  <c:v>88.546656885762516</c:v>
                </c:pt>
                <c:pt idx="679">
                  <c:v>88.546656885762516</c:v>
                </c:pt>
                <c:pt idx="680">
                  <c:v>88.546656885762516</c:v>
                </c:pt>
                <c:pt idx="681">
                  <c:v>88.542686710642911</c:v>
                </c:pt>
                <c:pt idx="682">
                  <c:v>88.556822156649957</c:v>
                </c:pt>
                <c:pt idx="683">
                  <c:v>88.521412638871951</c:v>
                </c:pt>
                <c:pt idx="684">
                  <c:v>88.492375750818724</c:v>
                </c:pt>
                <c:pt idx="685">
                  <c:v>88.401421754272889</c:v>
                </c:pt>
                <c:pt idx="686">
                  <c:v>88.401421754272889</c:v>
                </c:pt>
                <c:pt idx="687">
                  <c:v>88.401421754272889</c:v>
                </c:pt>
                <c:pt idx="688">
                  <c:v>88.500307435272774</c:v>
                </c:pt>
                <c:pt idx="689">
                  <c:v>88.391450383866157</c:v>
                </c:pt>
                <c:pt idx="690">
                  <c:v>88.181309936966272</c:v>
                </c:pt>
                <c:pt idx="691">
                  <c:v>88.237733265892302</c:v>
                </c:pt>
                <c:pt idx="692">
                  <c:v>88.293913027926592</c:v>
                </c:pt>
                <c:pt idx="693">
                  <c:v>88.293913027926592</c:v>
                </c:pt>
                <c:pt idx="694">
                  <c:v>88.293913027926592</c:v>
                </c:pt>
                <c:pt idx="695">
                  <c:v>88.293913027926592</c:v>
                </c:pt>
                <c:pt idx="696">
                  <c:v>88.276546477009603</c:v>
                </c:pt>
                <c:pt idx="697">
                  <c:v>88.276546477009603</c:v>
                </c:pt>
                <c:pt idx="698">
                  <c:v>88.325190044852206</c:v>
                </c:pt>
                <c:pt idx="699">
                  <c:v>88.08062101805713</c:v>
                </c:pt>
                <c:pt idx="700">
                  <c:v>88.08062101805713</c:v>
                </c:pt>
                <c:pt idx="701">
                  <c:v>88.08062101805713</c:v>
                </c:pt>
                <c:pt idx="702">
                  <c:v>88.077006790099233</c:v>
                </c:pt>
                <c:pt idx="703">
                  <c:v>87.917491038022305</c:v>
                </c:pt>
                <c:pt idx="704">
                  <c:v>88.217866543251134</c:v>
                </c:pt>
                <c:pt idx="705">
                  <c:v>87.754964191695748</c:v>
                </c:pt>
                <c:pt idx="706">
                  <c:v>88.015924094909906</c:v>
                </c:pt>
                <c:pt idx="707">
                  <c:v>88.015924094909906</c:v>
                </c:pt>
                <c:pt idx="708">
                  <c:v>88.015924094909906</c:v>
                </c:pt>
                <c:pt idx="709">
                  <c:v>87.997568748796851</c:v>
                </c:pt>
                <c:pt idx="710">
                  <c:v>88.143996743415414</c:v>
                </c:pt>
                <c:pt idx="711">
                  <c:v>87.97749645374904</c:v>
                </c:pt>
                <c:pt idx="712">
                  <c:v>87.942235308996914</c:v>
                </c:pt>
                <c:pt idx="713">
                  <c:v>88.062709926455497</c:v>
                </c:pt>
                <c:pt idx="714">
                  <c:v>88.062709926455497</c:v>
                </c:pt>
                <c:pt idx="715">
                  <c:v>88.062709926455497</c:v>
                </c:pt>
                <c:pt idx="716">
                  <c:v>87.807250944429825</c:v>
                </c:pt>
                <c:pt idx="717">
                  <c:v>87.778368469620176</c:v>
                </c:pt>
                <c:pt idx="718">
                  <c:v>88.068522376983694</c:v>
                </c:pt>
                <c:pt idx="719">
                  <c:v>88.048417703458512</c:v>
                </c:pt>
                <c:pt idx="720">
                  <c:v>87.762920245747765</c:v>
                </c:pt>
                <c:pt idx="721">
                  <c:v>87.762920245747765</c:v>
                </c:pt>
                <c:pt idx="722">
                  <c:v>87.762920245747765</c:v>
                </c:pt>
                <c:pt idx="723">
                  <c:v>87.762920245747765</c:v>
                </c:pt>
                <c:pt idx="724">
                  <c:v>88.201632930162745</c:v>
                </c:pt>
                <c:pt idx="725">
                  <c:v>88.298650545952071</c:v>
                </c:pt>
                <c:pt idx="726">
                  <c:v>87.70040271508482</c:v>
                </c:pt>
                <c:pt idx="727">
                  <c:v>87.945055160386389</c:v>
                </c:pt>
                <c:pt idx="728">
                  <c:v>87.945055160386389</c:v>
                </c:pt>
                <c:pt idx="729">
                  <c:v>87.945055160386389</c:v>
                </c:pt>
                <c:pt idx="730">
                  <c:v>87.945055160386389</c:v>
                </c:pt>
                <c:pt idx="731">
                  <c:v>87.630507403554958</c:v>
                </c:pt>
                <c:pt idx="732">
                  <c:v>87.587598065479852</c:v>
                </c:pt>
                <c:pt idx="733">
                  <c:v>87.948501891007396</c:v>
                </c:pt>
                <c:pt idx="734">
                  <c:v>88.15910714285711</c:v>
                </c:pt>
                <c:pt idx="735">
                  <c:v>88.15910714285711</c:v>
                </c:pt>
                <c:pt idx="736">
                  <c:v>88.15910714285711</c:v>
                </c:pt>
                <c:pt idx="737">
                  <c:v>88.15910714285711</c:v>
                </c:pt>
                <c:pt idx="738">
                  <c:v>87.495857296032725</c:v>
                </c:pt>
                <c:pt idx="739">
                  <c:v>87.444405280413449</c:v>
                </c:pt>
                <c:pt idx="740">
                  <c:v>87.436661725351399</c:v>
                </c:pt>
                <c:pt idx="741">
                  <c:v>87.482678574592839</c:v>
                </c:pt>
                <c:pt idx="742">
                  <c:v>87.482678574592839</c:v>
                </c:pt>
                <c:pt idx="743">
                  <c:v>87.482678574592839</c:v>
                </c:pt>
                <c:pt idx="744">
                  <c:v>87.482678574592839</c:v>
                </c:pt>
                <c:pt idx="745">
                  <c:v>87.472138455487041</c:v>
                </c:pt>
                <c:pt idx="746">
                  <c:v>87.430932377484623</c:v>
                </c:pt>
                <c:pt idx="747">
                  <c:v>87.905124123514526</c:v>
                </c:pt>
                <c:pt idx="748">
                  <c:v>87.402296897046782</c:v>
                </c:pt>
                <c:pt idx="749">
                  <c:v>87.402296897046782</c:v>
                </c:pt>
                <c:pt idx="750">
                  <c:v>87.402296897046782</c:v>
                </c:pt>
                <c:pt idx="751">
                  <c:v>87.437281159286769</c:v>
                </c:pt>
                <c:pt idx="752">
                  <c:v>87.765884634734675</c:v>
                </c:pt>
                <c:pt idx="753">
                  <c:v>87.307392349278317</c:v>
                </c:pt>
                <c:pt idx="754">
                  <c:v>88.146514783602285</c:v>
                </c:pt>
                <c:pt idx="755">
                  <c:v>87.375535819844131</c:v>
                </c:pt>
                <c:pt idx="756">
                  <c:v>87.375535819844131</c:v>
                </c:pt>
                <c:pt idx="757">
                  <c:v>87.375535819844131</c:v>
                </c:pt>
                <c:pt idx="758">
                  <c:v>87.403070582320012</c:v>
                </c:pt>
                <c:pt idx="759">
                  <c:v>87.538366334439118</c:v>
                </c:pt>
                <c:pt idx="760">
                  <c:v>87.450756019102343</c:v>
                </c:pt>
                <c:pt idx="761">
                  <c:v>87.498648593562464</c:v>
                </c:pt>
                <c:pt idx="762">
                  <c:v>87.612312442878761</c:v>
                </c:pt>
                <c:pt idx="763">
                  <c:v>87.612312442878761</c:v>
                </c:pt>
                <c:pt idx="764">
                  <c:v>87.612312442878761</c:v>
                </c:pt>
                <c:pt idx="765">
                  <c:v>87.401987426772664</c:v>
                </c:pt>
                <c:pt idx="766">
                  <c:v>87.324997479433009</c:v>
                </c:pt>
                <c:pt idx="767">
                  <c:v>87.297511878301066</c:v>
                </c:pt>
                <c:pt idx="768">
                  <c:v>87.286399021214635</c:v>
                </c:pt>
                <c:pt idx="769">
                  <c:v>87.313259937215335</c:v>
                </c:pt>
                <c:pt idx="770">
                  <c:v>87.313259937215335</c:v>
                </c:pt>
                <c:pt idx="771">
                  <c:v>87.313259937215335</c:v>
                </c:pt>
                <c:pt idx="772">
                  <c:v>87.28362124900768</c:v>
                </c:pt>
                <c:pt idx="773">
                  <c:v>87.235347127736588</c:v>
                </c:pt>
                <c:pt idx="774">
                  <c:v>87.212077423548877</c:v>
                </c:pt>
                <c:pt idx="775">
                  <c:v>87.203296722707137</c:v>
                </c:pt>
                <c:pt idx="776">
                  <c:v>87.183585099582118</c:v>
                </c:pt>
                <c:pt idx="777">
                  <c:v>87.183585099582118</c:v>
                </c:pt>
                <c:pt idx="778">
                  <c:v>87.183585099582118</c:v>
                </c:pt>
                <c:pt idx="779">
                  <c:v>87.175271931063662</c:v>
                </c:pt>
                <c:pt idx="780">
                  <c:v>87.151726560665679</c:v>
                </c:pt>
                <c:pt idx="781">
                  <c:v>87.134191218647743</c:v>
                </c:pt>
                <c:pt idx="782">
                  <c:v>87.108977311023665</c:v>
                </c:pt>
                <c:pt idx="783">
                  <c:v>87.096529483162513</c:v>
                </c:pt>
                <c:pt idx="784">
                  <c:v>87.096529483162513</c:v>
                </c:pt>
                <c:pt idx="785">
                  <c:v>87.096529483162513</c:v>
                </c:pt>
                <c:pt idx="786">
                  <c:v>87.064734524433007</c:v>
                </c:pt>
                <c:pt idx="787">
                  <c:v>87.047234167852352</c:v>
                </c:pt>
                <c:pt idx="788">
                  <c:v>87.10144671841914</c:v>
                </c:pt>
                <c:pt idx="789">
                  <c:v>87.108977311023651</c:v>
                </c:pt>
                <c:pt idx="790">
                  <c:v>86.996921482833713</c:v>
                </c:pt>
                <c:pt idx="791">
                  <c:v>86.996921482833713</c:v>
                </c:pt>
                <c:pt idx="792">
                  <c:v>86.996921482833713</c:v>
                </c:pt>
                <c:pt idx="793">
                  <c:v>87.001980798240467</c:v>
                </c:pt>
                <c:pt idx="794">
                  <c:v>87.000907560951902</c:v>
                </c:pt>
                <c:pt idx="795">
                  <c:v>86.987570963910954</c:v>
                </c:pt>
                <c:pt idx="796">
                  <c:v>87.120506250485192</c:v>
                </c:pt>
                <c:pt idx="797">
                  <c:v>86.974851354327143</c:v>
                </c:pt>
                <c:pt idx="798">
                  <c:v>86.974851354327143</c:v>
                </c:pt>
                <c:pt idx="799">
                  <c:v>86.974851354327143</c:v>
                </c:pt>
                <c:pt idx="800">
                  <c:v>86.969795193584773</c:v>
                </c:pt>
                <c:pt idx="801">
                  <c:v>86.93763339367591</c:v>
                </c:pt>
                <c:pt idx="802">
                  <c:v>86.959990981501406</c:v>
                </c:pt>
                <c:pt idx="803">
                  <c:v>86.923244864973256</c:v>
                </c:pt>
                <c:pt idx="804">
                  <c:v>86.927071136411129</c:v>
                </c:pt>
                <c:pt idx="805">
                  <c:v>86.927071136411129</c:v>
                </c:pt>
                <c:pt idx="806">
                  <c:v>86.927071136411129</c:v>
                </c:pt>
                <c:pt idx="807">
                  <c:v>86.881636790477032</c:v>
                </c:pt>
                <c:pt idx="808">
                  <c:v>86.879954949009544</c:v>
                </c:pt>
                <c:pt idx="809">
                  <c:v>86.905189409942139</c:v>
                </c:pt>
                <c:pt idx="810">
                  <c:v>86.930591603658158</c:v>
                </c:pt>
                <c:pt idx="811">
                  <c:v>86.908708104996379</c:v>
                </c:pt>
                <c:pt idx="812">
                  <c:v>86.908708104996379</c:v>
                </c:pt>
                <c:pt idx="813">
                  <c:v>86.908708104996379</c:v>
                </c:pt>
                <c:pt idx="814">
                  <c:v>86.837624577412882</c:v>
                </c:pt>
                <c:pt idx="815">
                  <c:v>86.830598978486179</c:v>
                </c:pt>
                <c:pt idx="816">
                  <c:v>86.838846536760627</c:v>
                </c:pt>
                <c:pt idx="817">
                  <c:v>86.965505578788168</c:v>
                </c:pt>
                <c:pt idx="818">
                  <c:v>86.822200297912573</c:v>
                </c:pt>
                <c:pt idx="819">
                  <c:v>86.822200297912573</c:v>
                </c:pt>
                <c:pt idx="820">
                  <c:v>86.822200297912573</c:v>
                </c:pt>
                <c:pt idx="821">
                  <c:v>86.835028027980385</c:v>
                </c:pt>
                <c:pt idx="822">
                  <c:v>86.861764643784525</c:v>
                </c:pt>
                <c:pt idx="823">
                  <c:v>86.884236128098848</c:v>
                </c:pt>
                <c:pt idx="824">
                  <c:v>86.936561743341301</c:v>
                </c:pt>
                <c:pt idx="825">
                  <c:v>86.944829444490324</c:v>
                </c:pt>
                <c:pt idx="826">
                  <c:v>86.944829444490324</c:v>
                </c:pt>
                <c:pt idx="827">
                  <c:v>86.944829444490324</c:v>
                </c:pt>
                <c:pt idx="828">
                  <c:v>86.817467212047987</c:v>
                </c:pt>
                <c:pt idx="829">
                  <c:v>86.887294371494306</c:v>
                </c:pt>
                <c:pt idx="830">
                  <c:v>86.856721622387084</c:v>
                </c:pt>
                <c:pt idx="831">
                  <c:v>86.74058872931586</c:v>
                </c:pt>
                <c:pt idx="832">
                  <c:v>86.73967432936719</c:v>
                </c:pt>
                <c:pt idx="833">
                  <c:v>86.73967432936719</c:v>
                </c:pt>
                <c:pt idx="834">
                  <c:v>86.73967432936719</c:v>
                </c:pt>
                <c:pt idx="835">
                  <c:v>86.788774387263857</c:v>
                </c:pt>
                <c:pt idx="836">
                  <c:v>86.753697247448386</c:v>
                </c:pt>
                <c:pt idx="837">
                  <c:v>86.752782571106152</c:v>
                </c:pt>
                <c:pt idx="838">
                  <c:v>86.563099986849537</c:v>
                </c:pt>
                <c:pt idx="839">
                  <c:v>86.54170450123226</c:v>
                </c:pt>
                <c:pt idx="840">
                  <c:v>86.54170450123226</c:v>
                </c:pt>
                <c:pt idx="841">
                  <c:v>86.54170450123226</c:v>
                </c:pt>
                <c:pt idx="842">
                  <c:v>86.53594015116451</c:v>
                </c:pt>
                <c:pt idx="843">
                  <c:v>86.545193823046219</c:v>
                </c:pt>
                <c:pt idx="844">
                  <c:v>86.61747083603079</c:v>
                </c:pt>
                <c:pt idx="845">
                  <c:v>86.578584167948264</c:v>
                </c:pt>
                <c:pt idx="846">
                  <c:v>86.262864531460153</c:v>
                </c:pt>
                <c:pt idx="847">
                  <c:v>86.262864531460153</c:v>
                </c:pt>
                <c:pt idx="848">
                  <c:v>86.262864531460153</c:v>
                </c:pt>
                <c:pt idx="849">
                  <c:v>86.356567994136597</c:v>
                </c:pt>
                <c:pt idx="850">
                  <c:v>86.225650895893267</c:v>
                </c:pt>
                <c:pt idx="851">
                  <c:v>86.282011174746472</c:v>
                </c:pt>
                <c:pt idx="852">
                  <c:v>86.278543042191032</c:v>
                </c:pt>
                <c:pt idx="853">
                  <c:v>86.661868609294714</c:v>
                </c:pt>
                <c:pt idx="854">
                  <c:v>86.661868609294714</c:v>
                </c:pt>
                <c:pt idx="855">
                  <c:v>86.661868609294714</c:v>
                </c:pt>
                <c:pt idx="856">
                  <c:v>86.282312764667054</c:v>
                </c:pt>
                <c:pt idx="857">
                  <c:v>86.200959978767955</c:v>
                </c:pt>
                <c:pt idx="858">
                  <c:v>86.181548398359027</c:v>
                </c:pt>
                <c:pt idx="859">
                  <c:v>86.258644367489069</c:v>
                </c:pt>
                <c:pt idx="860">
                  <c:v>86.157333803364963</c:v>
                </c:pt>
                <c:pt idx="861">
                  <c:v>86.157333803364963</c:v>
                </c:pt>
                <c:pt idx="862">
                  <c:v>86.157333803364963</c:v>
                </c:pt>
                <c:pt idx="863">
                  <c:v>86.155078478114362</c:v>
                </c:pt>
                <c:pt idx="864">
                  <c:v>86.182902410965625</c:v>
                </c:pt>
                <c:pt idx="865">
                  <c:v>86.173425216091971</c:v>
                </c:pt>
                <c:pt idx="866">
                  <c:v>86.221735538777693</c:v>
                </c:pt>
                <c:pt idx="867">
                  <c:v>86.217971107633758</c:v>
                </c:pt>
                <c:pt idx="868">
                  <c:v>86.217971107633758</c:v>
                </c:pt>
                <c:pt idx="869">
                  <c:v>86.217971107633758</c:v>
                </c:pt>
                <c:pt idx="870">
                  <c:v>86.109696369268477</c:v>
                </c:pt>
                <c:pt idx="871">
                  <c:v>86.207582983077643</c:v>
                </c:pt>
                <c:pt idx="872">
                  <c:v>86.188770290606442</c:v>
                </c:pt>
                <c:pt idx="873">
                  <c:v>86.166957851249677</c:v>
                </c:pt>
                <c:pt idx="874">
                  <c:v>86.100085107570294</c:v>
                </c:pt>
                <c:pt idx="875">
                  <c:v>86.100085107570294</c:v>
                </c:pt>
                <c:pt idx="876">
                  <c:v>86.100085107570294</c:v>
                </c:pt>
                <c:pt idx="877">
                  <c:v>86.205174500124755</c:v>
                </c:pt>
                <c:pt idx="878">
                  <c:v>86.420057801140885</c:v>
                </c:pt>
                <c:pt idx="879">
                  <c:v>86.082069773605355</c:v>
                </c:pt>
                <c:pt idx="880">
                  <c:v>86.078317527901334</c:v>
                </c:pt>
                <c:pt idx="881">
                  <c:v>86.052660935528081</c:v>
                </c:pt>
                <c:pt idx="882">
                  <c:v>86.052660935528081</c:v>
                </c:pt>
                <c:pt idx="883">
                  <c:v>86.052660935528081</c:v>
                </c:pt>
                <c:pt idx="884">
                  <c:v>85.985965413400166</c:v>
                </c:pt>
                <c:pt idx="885">
                  <c:v>86.090175740856253</c:v>
                </c:pt>
                <c:pt idx="886">
                  <c:v>86.026719825190142</c:v>
                </c:pt>
                <c:pt idx="887">
                  <c:v>85.998996631049295</c:v>
                </c:pt>
                <c:pt idx="888">
                  <c:v>85.982371289689326</c:v>
                </c:pt>
                <c:pt idx="889">
                  <c:v>85.982371289689326</c:v>
                </c:pt>
                <c:pt idx="890">
                  <c:v>85.982371289689326</c:v>
                </c:pt>
                <c:pt idx="891">
                  <c:v>86.056110931957321</c:v>
                </c:pt>
                <c:pt idx="892">
                  <c:v>86.092127405418026</c:v>
                </c:pt>
                <c:pt idx="893">
                  <c:v>85.860946905071117</c:v>
                </c:pt>
                <c:pt idx="894">
                  <c:v>85.829599842836899</c:v>
                </c:pt>
                <c:pt idx="895">
                  <c:v>85.91294390758739</c:v>
                </c:pt>
                <c:pt idx="896">
                  <c:v>85.91294390758739</c:v>
                </c:pt>
                <c:pt idx="897">
                  <c:v>85.91294390758739</c:v>
                </c:pt>
                <c:pt idx="898">
                  <c:v>85.793057187145806</c:v>
                </c:pt>
                <c:pt idx="899">
                  <c:v>85.896800168421223</c:v>
                </c:pt>
                <c:pt idx="900">
                  <c:v>85.897696883650482</c:v>
                </c:pt>
                <c:pt idx="901">
                  <c:v>85.781727828746057</c:v>
                </c:pt>
                <c:pt idx="902">
                  <c:v>85.825123559486627</c:v>
                </c:pt>
                <c:pt idx="903">
                  <c:v>85.825123559486627</c:v>
                </c:pt>
                <c:pt idx="904">
                  <c:v>85.825123559486627</c:v>
                </c:pt>
                <c:pt idx="905">
                  <c:v>85.739269370706992</c:v>
                </c:pt>
                <c:pt idx="906">
                  <c:v>85.705481639908797</c:v>
                </c:pt>
                <c:pt idx="907">
                  <c:v>85.747459834997713</c:v>
                </c:pt>
                <c:pt idx="908">
                  <c:v>85.70607678793381</c:v>
                </c:pt>
                <c:pt idx="909">
                  <c:v>85.690605625099693</c:v>
                </c:pt>
                <c:pt idx="910">
                  <c:v>85.690605625099693</c:v>
                </c:pt>
                <c:pt idx="911">
                  <c:v>85.690605625099693</c:v>
                </c:pt>
                <c:pt idx="912">
                  <c:v>85.628628269236344</c:v>
                </c:pt>
                <c:pt idx="913">
                  <c:v>85.720362820610674</c:v>
                </c:pt>
                <c:pt idx="914">
                  <c:v>85.621499938431768</c:v>
                </c:pt>
                <c:pt idx="915">
                  <c:v>85.808267082882779</c:v>
                </c:pt>
                <c:pt idx="916">
                  <c:v>85.625509478467379</c:v>
                </c:pt>
                <c:pt idx="917">
                  <c:v>85.625509478467379</c:v>
                </c:pt>
                <c:pt idx="918">
                  <c:v>85.625509478467379</c:v>
                </c:pt>
                <c:pt idx="919">
                  <c:v>85.645859969848956</c:v>
                </c:pt>
                <c:pt idx="920">
                  <c:v>85.707564694158776</c:v>
                </c:pt>
                <c:pt idx="921">
                  <c:v>85.597450581611994</c:v>
                </c:pt>
                <c:pt idx="922">
                  <c:v>85.572673098456221</c:v>
                </c:pt>
                <c:pt idx="923">
                  <c:v>85.56911344137265</c:v>
                </c:pt>
                <c:pt idx="924">
                  <c:v>85.56911344137265</c:v>
                </c:pt>
                <c:pt idx="925">
                  <c:v>85.56911344137265</c:v>
                </c:pt>
                <c:pt idx="926">
                  <c:v>85.565702381220547</c:v>
                </c:pt>
                <c:pt idx="927">
                  <c:v>85.54613111998674</c:v>
                </c:pt>
                <c:pt idx="928">
                  <c:v>85.645414235058098</c:v>
                </c:pt>
                <c:pt idx="929">
                  <c:v>85.522124077766364</c:v>
                </c:pt>
                <c:pt idx="930">
                  <c:v>85.525087181050665</c:v>
                </c:pt>
                <c:pt idx="931">
                  <c:v>85.525087181050665</c:v>
                </c:pt>
                <c:pt idx="932">
                  <c:v>85.525087181050665</c:v>
                </c:pt>
                <c:pt idx="933">
                  <c:v>85.518716762805425</c:v>
                </c:pt>
                <c:pt idx="934">
                  <c:v>85.481106201432198</c:v>
                </c:pt>
                <c:pt idx="935">
                  <c:v>85.574156376318129</c:v>
                </c:pt>
                <c:pt idx="936">
                  <c:v>85.464680475370173</c:v>
                </c:pt>
                <c:pt idx="937">
                  <c:v>85.447817380302453</c:v>
                </c:pt>
                <c:pt idx="938">
                  <c:v>85.447817380302453</c:v>
                </c:pt>
                <c:pt idx="939">
                  <c:v>85.447817380302453</c:v>
                </c:pt>
                <c:pt idx="940">
                  <c:v>85.447817380302453</c:v>
                </c:pt>
                <c:pt idx="941">
                  <c:v>65.886169791100812</c:v>
                </c:pt>
                <c:pt idx="942">
                  <c:v>65.461761121873465</c:v>
                </c:pt>
                <c:pt idx="943">
                  <c:v>63.797472607421874</c:v>
                </c:pt>
                <c:pt idx="944">
                  <c:v>62.327246100530807</c:v>
                </c:pt>
                <c:pt idx="945">
                  <c:v>62.327246100530807</c:v>
                </c:pt>
                <c:pt idx="946">
                  <c:v>62.327246100530807</c:v>
                </c:pt>
                <c:pt idx="947">
                  <c:v>60.259424174515004</c:v>
                </c:pt>
                <c:pt idx="948">
                  <c:v>49.954567531468761</c:v>
                </c:pt>
                <c:pt idx="949">
                  <c:v>49.581357792710541</c:v>
                </c:pt>
                <c:pt idx="950">
                  <c:v>49.047787941197164</c:v>
                </c:pt>
                <c:pt idx="951">
                  <c:v>47.709939155913887</c:v>
                </c:pt>
                <c:pt idx="952">
                  <c:v>47.709939155913887</c:v>
                </c:pt>
                <c:pt idx="953">
                  <c:v>47.709939155913887</c:v>
                </c:pt>
                <c:pt idx="954">
                  <c:v>47.041218272563853</c:v>
                </c:pt>
                <c:pt idx="955">
                  <c:v>44.881897637952719</c:v>
                </c:pt>
                <c:pt idx="956">
                  <c:v>45.580831512190308</c:v>
                </c:pt>
                <c:pt idx="957">
                  <c:v>45.703242887956932</c:v>
                </c:pt>
                <c:pt idx="958">
                  <c:v>45.121745019563434</c:v>
                </c:pt>
                <c:pt idx="959">
                  <c:v>45.121745019563434</c:v>
                </c:pt>
                <c:pt idx="960">
                  <c:v>45.121745019563434</c:v>
                </c:pt>
                <c:pt idx="961">
                  <c:v>45.285398609583538</c:v>
                </c:pt>
                <c:pt idx="962">
                  <c:v>45.558201963920013</c:v>
                </c:pt>
                <c:pt idx="963">
                  <c:v>45.12624060576475</c:v>
                </c:pt>
                <c:pt idx="964">
                  <c:v>45.115559897320665</c:v>
                </c:pt>
                <c:pt idx="965">
                  <c:v>44.790523143250589</c:v>
                </c:pt>
                <c:pt idx="966">
                  <c:v>44.790523143250589</c:v>
                </c:pt>
                <c:pt idx="967">
                  <c:v>44.790523143250589</c:v>
                </c:pt>
                <c:pt idx="968">
                  <c:v>44.460164335399789</c:v>
                </c:pt>
                <c:pt idx="969">
                  <c:v>44.335273093018621</c:v>
                </c:pt>
                <c:pt idx="970">
                  <c:v>44.639459940395199</c:v>
                </c:pt>
                <c:pt idx="971">
                  <c:v>44.749152723656891</c:v>
                </c:pt>
                <c:pt idx="972">
                  <c:v>44.690051597718792</c:v>
                </c:pt>
                <c:pt idx="973">
                  <c:v>44.690051597718792</c:v>
                </c:pt>
                <c:pt idx="974">
                  <c:v>44.690051597718792</c:v>
                </c:pt>
                <c:pt idx="975">
                  <c:v>44.677190778792699</c:v>
                </c:pt>
                <c:pt idx="976">
                  <c:v>44.424038188992277</c:v>
                </c:pt>
                <c:pt idx="977">
                  <c:v>44.559603730908123</c:v>
                </c:pt>
                <c:pt idx="978">
                  <c:v>43.601455822362084</c:v>
                </c:pt>
                <c:pt idx="979">
                  <c:v>44.068143070097896</c:v>
                </c:pt>
                <c:pt idx="980">
                  <c:v>44.068143070097896</c:v>
                </c:pt>
                <c:pt idx="981">
                  <c:v>44.068143070097896</c:v>
                </c:pt>
                <c:pt idx="982">
                  <c:v>43.311775016800368</c:v>
                </c:pt>
                <c:pt idx="983">
                  <c:v>43.200727346550153</c:v>
                </c:pt>
                <c:pt idx="984">
                  <c:v>44.312232355789611</c:v>
                </c:pt>
                <c:pt idx="985">
                  <c:v>42.533755376047608</c:v>
                </c:pt>
                <c:pt idx="986">
                  <c:v>43.125366336443356</c:v>
                </c:pt>
                <c:pt idx="987">
                  <c:v>43.125366336443356</c:v>
                </c:pt>
                <c:pt idx="988">
                  <c:v>43.125366336443356</c:v>
                </c:pt>
                <c:pt idx="989">
                  <c:v>42.683904234835751</c:v>
                </c:pt>
                <c:pt idx="990">
                  <c:v>43.251367125558254</c:v>
                </c:pt>
                <c:pt idx="991">
                  <c:v>42.765321776581956</c:v>
                </c:pt>
                <c:pt idx="992">
                  <c:v>42.428734840925834</c:v>
                </c:pt>
                <c:pt idx="993">
                  <c:v>41.775698403914106</c:v>
                </c:pt>
                <c:pt idx="994">
                  <c:v>41.775698403914106</c:v>
                </c:pt>
                <c:pt idx="995">
                  <c:v>41.775698403914106</c:v>
                </c:pt>
                <c:pt idx="996">
                  <c:v>41.602321076000372</c:v>
                </c:pt>
                <c:pt idx="997">
                  <c:v>41.283862038976579</c:v>
                </c:pt>
                <c:pt idx="998">
                  <c:v>41.396817996582158</c:v>
                </c:pt>
                <c:pt idx="999">
                  <c:v>41.628420157055878</c:v>
                </c:pt>
                <c:pt idx="1000">
                  <c:v>41.814407388334729</c:v>
                </c:pt>
                <c:pt idx="1001">
                  <c:v>41.814407388334729</c:v>
                </c:pt>
                <c:pt idx="1002">
                  <c:v>41.814407388334729</c:v>
                </c:pt>
                <c:pt idx="1003">
                  <c:v>41.6391990823521</c:v>
                </c:pt>
                <c:pt idx="1004">
                  <c:v>41.343603683726087</c:v>
                </c:pt>
                <c:pt idx="1005">
                  <c:v>41.919323572640913</c:v>
                </c:pt>
                <c:pt idx="1006">
                  <c:v>40.851348690035408</c:v>
                </c:pt>
                <c:pt idx="1007">
                  <c:v>41.27236916244901</c:v>
                </c:pt>
                <c:pt idx="1008">
                  <c:v>41.27236916244901</c:v>
                </c:pt>
                <c:pt idx="1009">
                  <c:v>41.27236916244901</c:v>
                </c:pt>
                <c:pt idx="1010">
                  <c:v>40.881929642382119</c:v>
                </c:pt>
                <c:pt idx="1011">
                  <c:v>41.167709984581577</c:v>
                </c:pt>
                <c:pt idx="1012">
                  <c:v>41.685467828060503</c:v>
                </c:pt>
                <c:pt idx="1013">
                  <c:v>41.269574565374164</c:v>
                </c:pt>
                <c:pt idx="1014">
                  <c:v>41.785775649375594</c:v>
                </c:pt>
                <c:pt idx="1015">
                  <c:v>41.785775649375594</c:v>
                </c:pt>
                <c:pt idx="1016">
                  <c:v>41.785775649375594</c:v>
                </c:pt>
                <c:pt idx="1017">
                  <c:v>41.785775649375594</c:v>
                </c:pt>
                <c:pt idx="1018">
                  <c:v>41.186015353478666</c:v>
                </c:pt>
                <c:pt idx="1019">
                  <c:v>41.243682174752031</c:v>
                </c:pt>
                <c:pt idx="1020">
                  <c:v>41.850066035640538</c:v>
                </c:pt>
                <c:pt idx="1021">
                  <c:v>41.688847080123033</c:v>
                </c:pt>
                <c:pt idx="1022">
                  <c:v>41.688847080123033</c:v>
                </c:pt>
                <c:pt idx="1023">
                  <c:v>41.688847080123033</c:v>
                </c:pt>
                <c:pt idx="1024">
                  <c:v>41.437575173596912</c:v>
                </c:pt>
                <c:pt idx="1025">
                  <c:v>41.32107656047026</c:v>
                </c:pt>
                <c:pt idx="1026">
                  <c:v>41.32107656047026</c:v>
                </c:pt>
                <c:pt idx="1027">
                  <c:v>42.295948527710841</c:v>
                </c:pt>
                <c:pt idx="1028">
                  <c:v>40.940648660303289</c:v>
                </c:pt>
                <c:pt idx="1029">
                  <c:v>40.940648660303289</c:v>
                </c:pt>
                <c:pt idx="1030">
                  <c:v>40.940648660303289</c:v>
                </c:pt>
                <c:pt idx="1031">
                  <c:v>41.212179393534591</c:v>
                </c:pt>
                <c:pt idx="1032">
                  <c:v>40.800605615330078</c:v>
                </c:pt>
                <c:pt idx="1033">
                  <c:v>40.898626387509282</c:v>
                </c:pt>
                <c:pt idx="1034">
                  <c:v>40.898626387509282</c:v>
                </c:pt>
                <c:pt idx="1035">
                  <c:v>40.898626387509282</c:v>
                </c:pt>
                <c:pt idx="1036">
                  <c:v>40.898626387509282</c:v>
                </c:pt>
                <c:pt idx="1037">
                  <c:v>40.898626387509282</c:v>
                </c:pt>
                <c:pt idx="1038">
                  <c:v>40.727700208303204</c:v>
                </c:pt>
                <c:pt idx="1039">
                  <c:v>40.529262546075422</c:v>
                </c:pt>
                <c:pt idx="1040">
                  <c:v>40.411720840533228</c:v>
                </c:pt>
                <c:pt idx="1041">
                  <c:v>40.658603976989575</c:v>
                </c:pt>
                <c:pt idx="1042">
                  <c:v>40.405866609921134</c:v>
                </c:pt>
                <c:pt idx="1043">
                  <c:v>40.405866609921134</c:v>
                </c:pt>
                <c:pt idx="1044">
                  <c:v>40.405866609921134</c:v>
                </c:pt>
                <c:pt idx="1045">
                  <c:v>40.405866609921134</c:v>
                </c:pt>
                <c:pt idx="1046">
                  <c:v>40.767217175887644</c:v>
                </c:pt>
                <c:pt idx="1047">
                  <c:v>40.767217175887644</c:v>
                </c:pt>
                <c:pt idx="1048">
                  <c:v>40.223485990369603</c:v>
                </c:pt>
                <c:pt idx="1049">
                  <c:v>40.473840321763419</c:v>
                </c:pt>
                <c:pt idx="1050">
                  <c:v>40.473840321763419</c:v>
                </c:pt>
                <c:pt idx="1051">
                  <c:v>40.473840321763419</c:v>
                </c:pt>
                <c:pt idx="1052">
                  <c:v>40.518950772311634</c:v>
                </c:pt>
                <c:pt idx="1053">
                  <c:v>40.43333333333328</c:v>
                </c:pt>
                <c:pt idx="1054">
                  <c:v>40.116605993629285</c:v>
                </c:pt>
                <c:pt idx="1055">
                  <c:v>40.143648089015251</c:v>
                </c:pt>
                <c:pt idx="1056">
                  <c:v>40.135848136254573</c:v>
                </c:pt>
                <c:pt idx="1057">
                  <c:v>40.135848136254573</c:v>
                </c:pt>
                <c:pt idx="1058">
                  <c:v>40.135848136254573</c:v>
                </c:pt>
                <c:pt idx="1059">
                  <c:v>40.135848136254573</c:v>
                </c:pt>
                <c:pt idx="1060">
                  <c:v>40.192769240288207</c:v>
                </c:pt>
                <c:pt idx="1061">
                  <c:v>39.250638619611628</c:v>
                </c:pt>
                <c:pt idx="1062">
                  <c:v>39.671580503758648</c:v>
                </c:pt>
                <c:pt idx="1063">
                  <c:v>39.415188337298552</c:v>
                </c:pt>
                <c:pt idx="1064">
                  <c:v>39.415188337298552</c:v>
                </c:pt>
                <c:pt idx="1065">
                  <c:v>39.415188337298552</c:v>
                </c:pt>
                <c:pt idx="1066">
                  <c:v>39.54913009553804</c:v>
                </c:pt>
                <c:pt idx="1067">
                  <c:v>39.518295455273105</c:v>
                </c:pt>
                <c:pt idx="1068">
                  <c:v>40.015156918687545</c:v>
                </c:pt>
                <c:pt idx="1069">
                  <c:v>39.23725580582088</c:v>
                </c:pt>
                <c:pt idx="1070">
                  <c:v>39.44412885370248</c:v>
                </c:pt>
                <c:pt idx="1071">
                  <c:v>39.44412885370248</c:v>
                </c:pt>
                <c:pt idx="1072">
                  <c:v>39.44412885370248</c:v>
                </c:pt>
                <c:pt idx="1073">
                  <c:v>39.305919800767782</c:v>
                </c:pt>
                <c:pt idx="1074">
                  <c:v>39.058697502792739</c:v>
                </c:pt>
                <c:pt idx="1075">
                  <c:v>39.116662005119998</c:v>
                </c:pt>
                <c:pt idx="1076">
                  <c:v>39.116662005119998</c:v>
                </c:pt>
                <c:pt idx="1077">
                  <c:v>39.454247582514142</c:v>
                </c:pt>
                <c:pt idx="1078">
                  <c:v>39.454247582514142</c:v>
                </c:pt>
                <c:pt idx="1079">
                  <c:v>39.454247582514142</c:v>
                </c:pt>
                <c:pt idx="1080">
                  <c:v>38.981042092712883</c:v>
                </c:pt>
                <c:pt idx="1081">
                  <c:v>38.935389104674726</c:v>
                </c:pt>
                <c:pt idx="1082">
                  <c:v>38.945524969530069</c:v>
                </c:pt>
                <c:pt idx="1083">
                  <c:v>39.156746433038478</c:v>
                </c:pt>
                <c:pt idx="1084">
                  <c:v>39.156746433038478</c:v>
                </c:pt>
                <c:pt idx="1085">
                  <c:v>39.156746433038478</c:v>
                </c:pt>
                <c:pt idx="1086">
                  <c:v>39.156746433038478</c:v>
                </c:pt>
                <c:pt idx="1087">
                  <c:v>39.156746433038478</c:v>
                </c:pt>
                <c:pt idx="1088">
                  <c:v>39.181701010472928</c:v>
                </c:pt>
                <c:pt idx="1089">
                  <c:v>39.181701010472928</c:v>
                </c:pt>
                <c:pt idx="1090">
                  <c:v>38.857091135195496</c:v>
                </c:pt>
                <c:pt idx="1091">
                  <c:v>39.077154447412624</c:v>
                </c:pt>
                <c:pt idx="1092">
                  <c:v>39.077154447412624</c:v>
                </c:pt>
                <c:pt idx="1093">
                  <c:v>39.077154447412624</c:v>
                </c:pt>
                <c:pt idx="1094">
                  <c:v>38.99480507376127</c:v>
                </c:pt>
                <c:pt idx="1095">
                  <c:v>38.981873138022934</c:v>
                </c:pt>
                <c:pt idx="1096">
                  <c:v>38.963198560458331</c:v>
                </c:pt>
                <c:pt idx="1097">
                  <c:v>38.723778417825926</c:v>
                </c:pt>
                <c:pt idx="1098">
                  <c:v>39.057832278480959</c:v>
                </c:pt>
                <c:pt idx="1099">
                  <c:v>39.057832278480959</c:v>
                </c:pt>
                <c:pt idx="1100">
                  <c:v>39.057832278480959</c:v>
                </c:pt>
                <c:pt idx="1101">
                  <c:v>39.08857123402418</c:v>
                </c:pt>
                <c:pt idx="1102">
                  <c:v>39.039609675863275</c:v>
                </c:pt>
                <c:pt idx="1103">
                  <c:v>38.700768698918637</c:v>
                </c:pt>
                <c:pt idx="1104">
                  <c:v>39.190938845302874</c:v>
                </c:pt>
                <c:pt idx="1105">
                  <c:v>39.23741173010967</c:v>
                </c:pt>
                <c:pt idx="1106">
                  <c:v>39.23741173010967</c:v>
                </c:pt>
                <c:pt idx="1107">
                  <c:v>39.23741173010967</c:v>
                </c:pt>
                <c:pt idx="1108">
                  <c:v>39.200025408622203</c:v>
                </c:pt>
                <c:pt idx="1109">
                  <c:v>39.099592127667947</c:v>
                </c:pt>
                <c:pt idx="1110">
                  <c:v>38.972733588051362</c:v>
                </c:pt>
                <c:pt idx="1111">
                  <c:v>39.122830652191098</c:v>
                </c:pt>
                <c:pt idx="1112">
                  <c:v>39.004910268109285</c:v>
                </c:pt>
                <c:pt idx="1113">
                  <c:v>39.004910268109285</c:v>
                </c:pt>
                <c:pt idx="1114">
                  <c:v>39.004910268109285</c:v>
                </c:pt>
                <c:pt idx="1115">
                  <c:v>39.110433335973966</c:v>
                </c:pt>
                <c:pt idx="1116">
                  <c:v>38.991756058957002</c:v>
                </c:pt>
                <c:pt idx="1117">
                  <c:v>38.955819807308345</c:v>
                </c:pt>
                <c:pt idx="1118">
                  <c:v>39.054742504548635</c:v>
                </c:pt>
                <c:pt idx="1119">
                  <c:v>39.068341167719112</c:v>
                </c:pt>
                <c:pt idx="1120">
                  <c:v>39.068341167719112</c:v>
                </c:pt>
                <c:pt idx="1121">
                  <c:v>39.068341167719112</c:v>
                </c:pt>
                <c:pt idx="1122">
                  <c:v>39.129032258064456</c:v>
                </c:pt>
                <c:pt idx="1123">
                  <c:v>39.104237623762323</c:v>
                </c:pt>
                <c:pt idx="1124">
                  <c:v>39.161622972276149</c:v>
                </c:pt>
                <c:pt idx="1125">
                  <c:v>39.119730586370785</c:v>
                </c:pt>
                <c:pt idx="1126">
                  <c:v>38.863912424319423</c:v>
                </c:pt>
                <c:pt idx="1127">
                  <c:v>38.863912424319423</c:v>
                </c:pt>
                <c:pt idx="1128">
                  <c:v>38.863912424319423</c:v>
                </c:pt>
                <c:pt idx="1129">
                  <c:v>39.070196264640657</c:v>
                </c:pt>
                <c:pt idx="1130">
                  <c:v>39.115081408707312</c:v>
                </c:pt>
                <c:pt idx="1131">
                  <c:v>39.073906987051579</c:v>
                </c:pt>
                <c:pt idx="1132">
                  <c:v>38.931858148869509</c:v>
                </c:pt>
                <c:pt idx="1133">
                  <c:v>38.786785069211696</c:v>
                </c:pt>
                <c:pt idx="1134">
                  <c:v>38.786785069211696</c:v>
                </c:pt>
                <c:pt idx="1135">
                  <c:v>38.786785069211696</c:v>
                </c:pt>
                <c:pt idx="1136">
                  <c:v>38.750343398507049</c:v>
                </c:pt>
                <c:pt idx="1137">
                  <c:v>38.928788273050515</c:v>
                </c:pt>
                <c:pt idx="1138">
                  <c:v>38.769088450417492</c:v>
                </c:pt>
                <c:pt idx="1139">
                  <c:v>39.027110779093938</c:v>
                </c:pt>
                <c:pt idx="1140">
                  <c:v>39.077773072493422</c:v>
                </c:pt>
                <c:pt idx="1141">
                  <c:v>39.077773072493422</c:v>
                </c:pt>
                <c:pt idx="1142">
                  <c:v>39.077773072493422</c:v>
                </c:pt>
                <c:pt idx="1143">
                  <c:v>38.953053495344747</c:v>
                </c:pt>
                <c:pt idx="1144">
                  <c:v>38.832456565376837</c:v>
                </c:pt>
                <c:pt idx="1145">
                  <c:v>39.020633019945329</c:v>
                </c:pt>
                <c:pt idx="1146">
                  <c:v>38.674847260161776</c:v>
                </c:pt>
                <c:pt idx="1147">
                  <c:v>38.955205037361956</c:v>
                </c:pt>
                <c:pt idx="1148">
                  <c:v>38.955205037361956</c:v>
                </c:pt>
                <c:pt idx="1149">
                  <c:v>38.955205037361956</c:v>
                </c:pt>
                <c:pt idx="1150">
                  <c:v>38.858987396770267</c:v>
                </c:pt>
                <c:pt idx="1151">
                  <c:v>38.785200548360564</c:v>
                </c:pt>
                <c:pt idx="1152">
                  <c:v>38.821799423599352</c:v>
                </c:pt>
                <c:pt idx="1153">
                  <c:v>38.577445418600604</c:v>
                </c:pt>
                <c:pt idx="1154">
                  <c:v>38.841958262032563</c:v>
                </c:pt>
                <c:pt idx="1155">
                  <c:v>38.841958262032563</c:v>
                </c:pt>
                <c:pt idx="1156">
                  <c:v>38.841958262032563</c:v>
                </c:pt>
                <c:pt idx="1157">
                  <c:v>38.313537256849685</c:v>
                </c:pt>
                <c:pt idx="1158">
                  <c:v>39.068650338305666</c:v>
                </c:pt>
                <c:pt idx="1159">
                  <c:v>38.970733921417676</c:v>
                </c:pt>
                <c:pt idx="1160">
                  <c:v>38.626644029074136</c:v>
                </c:pt>
                <c:pt idx="1161">
                  <c:v>38.525515718337957</c:v>
                </c:pt>
                <c:pt idx="1162">
                  <c:v>38.525515718337957</c:v>
                </c:pt>
                <c:pt idx="1163">
                  <c:v>38.525515718337957</c:v>
                </c:pt>
                <c:pt idx="1164">
                  <c:v>38.012781520692933</c:v>
                </c:pt>
                <c:pt idx="1165">
                  <c:v>38.32112085694321</c:v>
                </c:pt>
                <c:pt idx="1166">
                  <c:v>38.459788650377192</c:v>
                </c:pt>
                <c:pt idx="1167">
                  <c:v>37.734036308493742</c:v>
                </c:pt>
                <c:pt idx="1168">
                  <c:v>38.070616613342104</c:v>
                </c:pt>
                <c:pt idx="1169">
                  <c:v>38.070616613342104</c:v>
                </c:pt>
                <c:pt idx="1170">
                  <c:v>38.070616613342104</c:v>
                </c:pt>
                <c:pt idx="1171">
                  <c:v>37.95462582837456</c:v>
                </c:pt>
                <c:pt idx="1172">
                  <c:v>38.119913520191446</c:v>
                </c:pt>
                <c:pt idx="1173">
                  <c:v>38.176363010706069</c:v>
                </c:pt>
                <c:pt idx="1174">
                  <c:v>37.845808291426415</c:v>
                </c:pt>
                <c:pt idx="1175">
                  <c:v>38.125212368331582</c:v>
                </c:pt>
                <c:pt idx="1176">
                  <c:v>38.125212368331582</c:v>
                </c:pt>
                <c:pt idx="1177">
                  <c:v>38.125212368331582</c:v>
                </c:pt>
                <c:pt idx="1178">
                  <c:v>37.929810516513967</c:v>
                </c:pt>
                <c:pt idx="1179">
                  <c:v>38.084096649124625</c:v>
                </c:pt>
                <c:pt idx="1180">
                  <c:v>37.942957714004592</c:v>
                </c:pt>
                <c:pt idx="1181">
                  <c:v>37.804655792939684</c:v>
                </c:pt>
                <c:pt idx="1182">
                  <c:v>37.798722154803734</c:v>
                </c:pt>
                <c:pt idx="1183">
                  <c:v>37.798722154803734</c:v>
                </c:pt>
                <c:pt idx="1184">
                  <c:v>37.798722154803734</c:v>
                </c:pt>
                <c:pt idx="1185">
                  <c:v>37.644610706301059</c:v>
                </c:pt>
                <c:pt idx="1186">
                  <c:v>37.629231364920962</c:v>
                </c:pt>
                <c:pt idx="1187">
                  <c:v>37.760704287834002</c:v>
                </c:pt>
                <c:pt idx="1188">
                  <c:v>38.029911451934026</c:v>
                </c:pt>
                <c:pt idx="1189">
                  <c:v>37.551608732030068</c:v>
                </c:pt>
                <c:pt idx="1190">
                  <c:v>37.551608732030068</c:v>
                </c:pt>
                <c:pt idx="1191">
                  <c:v>37.551608732030068</c:v>
                </c:pt>
                <c:pt idx="1192">
                  <c:v>37.750021027840809</c:v>
                </c:pt>
                <c:pt idx="1193">
                  <c:v>37.977545376570674</c:v>
                </c:pt>
                <c:pt idx="1194">
                  <c:v>38.006343487532384</c:v>
                </c:pt>
                <c:pt idx="1195">
                  <c:v>37.820207865551524</c:v>
                </c:pt>
                <c:pt idx="1196">
                  <c:v>37.553322582608118</c:v>
                </c:pt>
                <c:pt idx="1197">
                  <c:v>37.553322582608118</c:v>
                </c:pt>
                <c:pt idx="1198">
                  <c:v>37.553322582608118</c:v>
                </c:pt>
                <c:pt idx="1199">
                  <c:v>37.998240519316134</c:v>
                </c:pt>
                <c:pt idx="1200">
                  <c:v>37.771191309942814</c:v>
                </c:pt>
                <c:pt idx="1201">
                  <c:v>37.530369973940303</c:v>
                </c:pt>
                <c:pt idx="1202">
                  <c:v>37.664542196194823</c:v>
                </c:pt>
                <c:pt idx="1203">
                  <c:v>37.192302853470743</c:v>
                </c:pt>
                <c:pt idx="1204">
                  <c:v>37.192302853470743</c:v>
                </c:pt>
                <c:pt idx="1205">
                  <c:v>37.192302853470743</c:v>
                </c:pt>
                <c:pt idx="1206">
                  <c:v>37.531796556773045</c:v>
                </c:pt>
                <c:pt idx="1207">
                  <c:v>37.463613267080845</c:v>
                </c:pt>
                <c:pt idx="1208">
                  <c:v>37.727778834918603</c:v>
                </c:pt>
                <c:pt idx="1209">
                  <c:v>37.68607696588338</c:v>
                </c:pt>
                <c:pt idx="1210">
                  <c:v>37.731354279953798</c:v>
                </c:pt>
                <c:pt idx="1211">
                  <c:v>37.731354279953798</c:v>
                </c:pt>
                <c:pt idx="1212">
                  <c:v>37.731354279953798</c:v>
                </c:pt>
                <c:pt idx="1213">
                  <c:v>37.506733025747636</c:v>
                </c:pt>
                <c:pt idx="1214">
                  <c:v>37.230953007602366</c:v>
                </c:pt>
                <c:pt idx="1215">
                  <c:v>37.532167486074322</c:v>
                </c:pt>
                <c:pt idx="1216">
                  <c:v>37.544183853501188</c:v>
                </c:pt>
                <c:pt idx="1217">
                  <c:v>37.615469481922553</c:v>
                </c:pt>
                <c:pt idx="1218">
                  <c:v>37.615469481922553</c:v>
                </c:pt>
                <c:pt idx="1219">
                  <c:v>37.615469481922553</c:v>
                </c:pt>
                <c:pt idx="1220">
                  <c:v>38.278631961728365</c:v>
                </c:pt>
                <c:pt idx="1221">
                  <c:v>37.273848109886188</c:v>
                </c:pt>
                <c:pt idx="1222">
                  <c:v>37.277929130623825</c:v>
                </c:pt>
                <c:pt idx="1223">
                  <c:v>37.443666618631866</c:v>
                </c:pt>
                <c:pt idx="1224">
                  <c:v>37.156780840991317</c:v>
                </c:pt>
                <c:pt idx="1225">
                  <c:v>37.156780840991317</c:v>
                </c:pt>
                <c:pt idx="1226">
                  <c:v>37.156780840991317</c:v>
                </c:pt>
                <c:pt idx="1227">
                  <c:v>37.613835926934669</c:v>
                </c:pt>
                <c:pt idx="1228">
                  <c:v>37.139394504743819</c:v>
                </c:pt>
                <c:pt idx="1229">
                  <c:v>37.386275344297694</c:v>
                </c:pt>
                <c:pt idx="1230">
                  <c:v>37.221998549393696</c:v>
                </c:pt>
                <c:pt idx="1231">
                  <c:v>37.3253343615565</c:v>
                </c:pt>
                <c:pt idx="1232">
                  <c:v>37.3253343615565</c:v>
                </c:pt>
                <c:pt idx="1233">
                  <c:v>37.3253343615565</c:v>
                </c:pt>
                <c:pt idx="1234">
                  <c:v>37.054680856333697</c:v>
                </c:pt>
                <c:pt idx="1235">
                  <c:v>37.182526831105193</c:v>
                </c:pt>
                <c:pt idx="1236">
                  <c:v>37.054263682256646</c:v>
                </c:pt>
                <c:pt idx="1237">
                  <c:v>37.150992906040152</c:v>
                </c:pt>
                <c:pt idx="1238">
                  <c:v>36.995979602006763</c:v>
                </c:pt>
                <c:pt idx="1239">
                  <c:v>36.995979602006763</c:v>
                </c:pt>
                <c:pt idx="1240">
                  <c:v>36.995979602006763</c:v>
                </c:pt>
                <c:pt idx="1241">
                  <c:v>36.986112536625249</c:v>
                </c:pt>
                <c:pt idx="1242">
                  <c:v>36.769895356198504</c:v>
                </c:pt>
                <c:pt idx="1243">
                  <c:v>36.977857072771322</c:v>
                </c:pt>
                <c:pt idx="1244">
                  <c:v>37.395875546802444</c:v>
                </c:pt>
                <c:pt idx="1245">
                  <c:v>36.843161838236334</c:v>
                </c:pt>
                <c:pt idx="1246">
                  <c:v>36.843161838236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04F-4E1F-B06E-48D36AF55A46}"/>
            </c:ext>
          </c:extLst>
        </c:ser>
        <c:ser>
          <c:idx val="5"/>
          <c:order val="5"/>
          <c:tx>
            <c:strRef>
              <c:f>FXHC!$Y$11</c:f>
              <c:strCache>
                <c:ptCount val="1"/>
                <c:pt idx="0">
                  <c:v>Marocco</c:v>
                </c:pt>
              </c:strCache>
            </c:strRef>
          </c:tx>
          <c:spPr>
            <a:ln w="158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FXHC!$S$12:$S$1258</c:f>
              <c:numCache>
                <c:formatCode>m/d/yyyy</c:formatCode>
                <c:ptCount val="1247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  <c:pt idx="243">
                  <c:v>44805</c:v>
                </c:pt>
                <c:pt idx="244">
                  <c:v>44806</c:v>
                </c:pt>
                <c:pt idx="245">
                  <c:v>44807</c:v>
                </c:pt>
                <c:pt idx="246">
                  <c:v>44808</c:v>
                </c:pt>
                <c:pt idx="247">
                  <c:v>44809</c:v>
                </c:pt>
                <c:pt idx="248">
                  <c:v>44810</c:v>
                </c:pt>
                <c:pt idx="249">
                  <c:v>44811</c:v>
                </c:pt>
                <c:pt idx="250">
                  <c:v>44812</c:v>
                </c:pt>
                <c:pt idx="251">
                  <c:v>44813</c:v>
                </c:pt>
                <c:pt idx="252">
                  <c:v>44814</c:v>
                </c:pt>
                <c:pt idx="253">
                  <c:v>44815</c:v>
                </c:pt>
                <c:pt idx="254">
                  <c:v>44816</c:v>
                </c:pt>
                <c:pt idx="255">
                  <c:v>44817</c:v>
                </c:pt>
                <c:pt idx="256">
                  <c:v>44818</c:v>
                </c:pt>
                <c:pt idx="257">
                  <c:v>44819</c:v>
                </c:pt>
                <c:pt idx="258">
                  <c:v>44820</c:v>
                </c:pt>
                <c:pt idx="259">
                  <c:v>44821</c:v>
                </c:pt>
                <c:pt idx="260">
                  <c:v>44822</c:v>
                </c:pt>
                <c:pt idx="261">
                  <c:v>44823</c:v>
                </c:pt>
                <c:pt idx="262">
                  <c:v>44824</c:v>
                </c:pt>
                <c:pt idx="263">
                  <c:v>44825</c:v>
                </c:pt>
                <c:pt idx="264">
                  <c:v>44826</c:v>
                </c:pt>
                <c:pt idx="265">
                  <c:v>44827</c:v>
                </c:pt>
                <c:pt idx="266">
                  <c:v>44828</c:v>
                </c:pt>
                <c:pt idx="267">
                  <c:v>44829</c:v>
                </c:pt>
                <c:pt idx="268">
                  <c:v>44830</c:v>
                </c:pt>
                <c:pt idx="269">
                  <c:v>44831</c:v>
                </c:pt>
                <c:pt idx="270">
                  <c:v>44832</c:v>
                </c:pt>
                <c:pt idx="271">
                  <c:v>44833</c:v>
                </c:pt>
                <c:pt idx="272">
                  <c:v>44834</c:v>
                </c:pt>
                <c:pt idx="273">
                  <c:v>44835</c:v>
                </c:pt>
                <c:pt idx="274">
                  <c:v>44836</c:v>
                </c:pt>
                <c:pt idx="275">
                  <c:v>44837</c:v>
                </c:pt>
                <c:pt idx="276">
                  <c:v>44838</c:v>
                </c:pt>
                <c:pt idx="277">
                  <c:v>44839</c:v>
                </c:pt>
                <c:pt idx="278">
                  <c:v>44840</c:v>
                </c:pt>
                <c:pt idx="279">
                  <c:v>44841</c:v>
                </c:pt>
                <c:pt idx="280">
                  <c:v>44842</c:v>
                </c:pt>
                <c:pt idx="281">
                  <c:v>44843</c:v>
                </c:pt>
                <c:pt idx="282">
                  <c:v>44844</c:v>
                </c:pt>
                <c:pt idx="283">
                  <c:v>44845</c:v>
                </c:pt>
                <c:pt idx="284">
                  <c:v>44846</c:v>
                </c:pt>
                <c:pt idx="285">
                  <c:v>44847</c:v>
                </c:pt>
                <c:pt idx="286">
                  <c:v>44848</c:v>
                </c:pt>
                <c:pt idx="287">
                  <c:v>44849</c:v>
                </c:pt>
                <c:pt idx="288">
                  <c:v>44850</c:v>
                </c:pt>
                <c:pt idx="289">
                  <c:v>44851</c:v>
                </c:pt>
                <c:pt idx="290">
                  <c:v>44852</c:v>
                </c:pt>
                <c:pt idx="291">
                  <c:v>44853</c:v>
                </c:pt>
                <c:pt idx="292">
                  <c:v>44854</c:v>
                </c:pt>
                <c:pt idx="293">
                  <c:v>44855</c:v>
                </c:pt>
                <c:pt idx="294">
                  <c:v>44856</c:v>
                </c:pt>
                <c:pt idx="295">
                  <c:v>44857</c:v>
                </c:pt>
                <c:pt idx="296">
                  <c:v>44858</c:v>
                </c:pt>
                <c:pt idx="297">
                  <c:v>44859</c:v>
                </c:pt>
                <c:pt idx="298">
                  <c:v>44860</c:v>
                </c:pt>
                <c:pt idx="299">
                  <c:v>44861</c:v>
                </c:pt>
                <c:pt idx="300">
                  <c:v>44862</c:v>
                </c:pt>
                <c:pt idx="301">
                  <c:v>44863</c:v>
                </c:pt>
                <c:pt idx="302">
                  <c:v>44864</c:v>
                </c:pt>
                <c:pt idx="303">
                  <c:v>44865</c:v>
                </c:pt>
                <c:pt idx="304">
                  <c:v>44866</c:v>
                </c:pt>
                <c:pt idx="305">
                  <c:v>44867</c:v>
                </c:pt>
                <c:pt idx="306">
                  <c:v>44868</c:v>
                </c:pt>
                <c:pt idx="307">
                  <c:v>44869</c:v>
                </c:pt>
                <c:pt idx="308">
                  <c:v>44870</c:v>
                </c:pt>
                <c:pt idx="309">
                  <c:v>44871</c:v>
                </c:pt>
                <c:pt idx="310">
                  <c:v>44872</c:v>
                </c:pt>
                <c:pt idx="311">
                  <c:v>44873</c:v>
                </c:pt>
                <c:pt idx="312">
                  <c:v>44874</c:v>
                </c:pt>
                <c:pt idx="313">
                  <c:v>44875</c:v>
                </c:pt>
                <c:pt idx="314">
                  <c:v>44876</c:v>
                </c:pt>
                <c:pt idx="315">
                  <c:v>44877</c:v>
                </c:pt>
                <c:pt idx="316">
                  <c:v>44878</c:v>
                </c:pt>
                <c:pt idx="317">
                  <c:v>44879</c:v>
                </c:pt>
                <c:pt idx="318">
                  <c:v>44880</c:v>
                </c:pt>
                <c:pt idx="319">
                  <c:v>44881</c:v>
                </c:pt>
                <c:pt idx="320">
                  <c:v>44882</c:v>
                </c:pt>
                <c:pt idx="321">
                  <c:v>44883</c:v>
                </c:pt>
                <c:pt idx="322">
                  <c:v>44884</c:v>
                </c:pt>
                <c:pt idx="323">
                  <c:v>44885</c:v>
                </c:pt>
                <c:pt idx="324">
                  <c:v>44886</c:v>
                </c:pt>
                <c:pt idx="325">
                  <c:v>44887</c:v>
                </c:pt>
                <c:pt idx="326">
                  <c:v>44888</c:v>
                </c:pt>
                <c:pt idx="327">
                  <c:v>44889</c:v>
                </c:pt>
                <c:pt idx="328">
                  <c:v>44890</c:v>
                </c:pt>
                <c:pt idx="329">
                  <c:v>44891</c:v>
                </c:pt>
                <c:pt idx="330">
                  <c:v>44892</c:v>
                </c:pt>
                <c:pt idx="331">
                  <c:v>44893</c:v>
                </c:pt>
                <c:pt idx="332">
                  <c:v>44894</c:v>
                </c:pt>
                <c:pt idx="333">
                  <c:v>44895</c:v>
                </c:pt>
                <c:pt idx="334">
                  <c:v>44896</c:v>
                </c:pt>
                <c:pt idx="335">
                  <c:v>44897</c:v>
                </c:pt>
                <c:pt idx="336">
                  <c:v>44898</c:v>
                </c:pt>
                <c:pt idx="337">
                  <c:v>44899</c:v>
                </c:pt>
                <c:pt idx="338">
                  <c:v>44900</c:v>
                </c:pt>
                <c:pt idx="339">
                  <c:v>44901</c:v>
                </c:pt>
                <c:pt idx="340">
                  <c:v>44902</c:v>
                </c:pt>
                <c:pt idx="341">
                  <c:v>44903</c:v>
                </c:pt>
                <c:pt idx="342">
                  <c:v>44904</c:v>
                </c:pt>
                <c:pt idx="343">
                  <c:v>44905</c:v>
                </c:pt>
                <c:pt idx="344">
                  <c:v>44906</c:v>
                </c:pt>
                <c:pt idx="345">
                  <c:v>44907</c:v>
                </c:pt>
                <c:pt idx="346">
                  <c:v>44908</c:v>
                </c:pt>
                <c:pt idx="347">
                  <c:v>44909</c:v>
                </c:pt>
                <c:pt idx="348">
                  <c:v>44910</c:v>
                </c:pt>
                <c:pt idx="349">
                  <c:v>44911</c:v>
                </c:pt>
                <c:pt idx="350">
                  <c:v>44912</c:v>
                </c:pt>
                <c:pt idx="351">
                  <c:v>44913</c:v>
                </c:pt>
                <c:pt idx="352">
                  <c:v>44914</c:v>
                </c:pt>
                <c:pt idx="353">
                  <c:v>44915</c:v>
                </c:pt>
                <c:pt idx="354">
                  <c:v>44916</c:v>
                </c:pt>
                <c:pt idx="355">
                  <c:v>44917</c:v>
                </c:pt>
                <c:pt idx="356">
                  <c:v>44918</c:v>
                </c:pt>
                <c:pt idx="357">
                  <c:v>44919</c:v>
                </c:pt>
                <c:pt idx="358">
                  <c:v>44920</c:v>
                </c:pt>
                <c:pt idx="359">
                  <c:v>44921</c:v>
                </c:pt>
                <c:pt idx="360">
                  <c:v>44922</c:v>
                </c:pt>
                <c:pt idx="361">
                  <c:v>44923</c:v>
                </c:pt>
                <c:pt idx="362">
                  <c:v>44924</c:v>
                </c:pt>
                <c:pt idx="363">
                  <c:v>44925</c:v>
                </c:pt>
                <c:pt idx="364">
                  <c:v>44926</c:v>
                </c:pt>
                <c:pt idx="365">
                  <c:v>44927</c:v>
                </c:pt>
                <c:pt idx="366">
                  <c:v>44928</c:v>
                </c:pt>
                <c:pt idx="367">
                  <c:v>44929</c:v>
                </c:pt>
                <c:pt idx="368">
                  <c:v>44930</c:v>
                </c:pt>
                <c:pt idx="369">
                  <c:v>44931</c:v>
                </c:pt>
                <c:pt idx="370">
                  <c:v>44932</c:v>
                </c:pt>
                <c:pt idx="371">
                  <c:v>44933</c:v>
                </c:pt>
                <c:pt idx="372">
                  <c:v>44934</c:v>
                </c:pt>
                <c:pt idx="373">
                  <c:v>44935</c:v>
                </c:pt>
                <c:pt idx="374">
                  <c:v>44936</c:v>
                </c:pt>
                <c:pt idx="375">
                  <c:v>44937</c:v>
                </c:pt>
                <c:pt idx="376">
                  <c:v>44938</c:v>
                </c:pt>
                <c:pt idx="377">
                  <c:v>44939</c:v>
                </c:pt>
                <c:pt idx="378">
                  <c:v>44940</c:v>
                </c:pt>
                <c:pt idx="379">
                  <c:v>44941</c:v>
                </c:pt>
                <c:pt idx="380">
                  <c:v>44942</c:v>
                </c:pt>
                <c:pt idx="381">
                  <c:v>44943</c:v>
                </c:pt>
                <c:pt idx="382">
                  <c:v>44944</c:v>
                </c:pt>
                <c:pt idx="383">
                  <c:v>44945</c:v>
                </c:pt>
                <c:pt idx="384">
                  <c:v>44946</c:v>
                </c:pt>
                <c:pt idx="385">
                  <c:v>44947</c:v>
                </c:pt>
                <c:pt idx="386">
                  <c:v>44948</c:v>
                </c:pt>
                <c:pt idx="387">
                  <c:v>44949</c:v>
                </c:pt>
                <c:pt idx="388">
                  <c:v>44950</c:v>
                </c:pt>
                <c:pt idx="389">
                  <c:v>44951</c:v>
                </c:pt>
                <c:pt idx="390">
                  <c:v>44952</c:v>
                </c:pt>
                <c:pt idx="391">
                  <c:v>44953</c:v>
                </c:pt>
                <c:pt idx="392">
                  <c:v>44954</c:v>
                </c:pt>
                <c:pt idx="393">
                  <c:v>44955</c:v>
                </c:pt>
                <c:pt idx="394">
                  <c:v>44956</c:v>
                </c:pt>
                <c:pt idx="395">
                  <c:v>44957</c:v>
                </c:pt>
                <c:pt idx="396">
                  <c:v>44958</c:v>
                </c:pt>
                <c:pt idx="397">
                  <c:v>44959</c:v>
                </c:pt>
                <c:pt idx="398">
                  <c:v>44960</c:v>
                </c:pt>
                <c:pt idx="399">
                  <c:v>44961</c:v>
                </c:pt>
                <c:pt idx="400">
                  <c:v>44962</c:v>
                </c:pt>
                <c:pt idx="401">
                  <c:v>44963</c:v>
                </c:pt>
                <c:pt idx="402">
                  <c:v>44964</c:v>
                </c:pt>
                <c:pt idx="403">
                  <c:v>44965</c:v>
                </c:pt>
                <c:pt idx="404">
                  <c:v>44966</c:v>
                </c:pt>
                <c:pt idx="405">
                  <c:v>44967</c:v>
                </c:pt>
                <c:pt idx="406">
                  <c:v>44968</c:v>
                </c:pt>
                <c:pt idx="407">
                  <c:v>44969</c:v>
                </c:pt>
                <c:pt idx="408">
                  <c:v>44970</c:v>
                </c:pt>
                <c:pt idx="409">
                  <c:v>44971</c:v>
                </c:pt>
                <c:pt idx="410">
                  <c:v>44972</c:v>
                </c:pt>
                <c:pt idx="411">
                  <c:v>44973</c:v>
                </c:pt>
                <c:pt idx="412">
                  <c:v>44974</c:v>
                </c:pt>
                <c:pt idx="413">
                  <c:v>44975</c:v>
                </c:pt>
                <c:pt idx="414">
                  <c:v>44976</c:v>
                </c:pt>
                <c:pt idx="415">
                  <c:v>44977</c:v>
                </c:pt>
                <c:pt idx="416">
                  <c:v>44978</c:v>
                </c:pt>
                <c:pt idx="417">
                  <c:v>44979</c:v>
                </c:pt>
                <c:pt idx="418">
                  <c:v>44980</c:v>
                </c:pt>
                <c:pt idx="419">
                  <c:v>44981</c:v>
                </c:pt>
                <c:pt idx="420">
                  <c:v>44982</c:v>
                </c:pt>
                <c:pt idx="421">
                  <c:v>44983</c:v>
                </c:pt>
                <c:pt idx="422">
                  <c:v>44984</c:v>
                </c:pt>
                <c:pt idx="423">
                  <c:v>44985</c:v>
                </c:pt>
                <c:pt idx="424">
                  <c:v>44986</c:v>
                </c:pt>
                <c:pt idx="425">
                  <c:v>44987</c:v>
                </c:pt>
                <c:pt idx="426">
                  <c:v>44988</c:v>
                </c:pt>
                <c:pt idx="427">
                  <c:v>44989</c:v>
                </c:pt>
                <c:pt idx="428">
                  <c:v>44990</c:v>
                </c:pt>
                <c:pt idx="429">
                  <c:v>44991</c:v>
                </c:pt>
                <c:pt idx="430">
                  <c:v>44992</c:v>
                </c:pt>
                <c:pt idx="431">
                  <c:v>44993</c:v>
                </c:pt>
                <c:pt idx="432">
                  <c:v>44994</c:v>
                </c:pt>
                <c:pt idx="433">
                  <c:v>44995</c:v>
                </c:pt>
                <c:pt idx="434">
                  <c:v>44996</c:v>
                </c:pt>
                <c:pt idx="435">
                  <c:v>44997</c:v>
                </c:pt>
                <c:pt idx="436">
                  <c:v>44998</c:v>
                </c:pt>
                <c:pt idx="437">
                  <c:v>44999</c:v>
                </c:pt>
                <c:pt idx="438">
                  <c:v>45000</c:v>
                </c:pt>
                <c:pt idx="439">
                  <c:v>45001</c:v>
                </c:pt>
                <c:pt idx="440">
                  <c:v>45002</c:v>
                </c:pt>
                <c:pt idx="441">
                  <c:v>45003</c:v>
                </c:pt>
                <c:pt idx="442">
                  <c:v>45004</c:v>
                </c:pt>
                <c:pt idx="443">
                  <c:v>45005</c:v>
                </c:pt>
                <c:pt idx="444">
                  <c:v>45006</c:v>
                </c:pt>
                <c:pt idx="445">
                  <c:v>45007</c:v>
                </c:pt>
                <c:pt idx="446">
                  <c:v>45008</c:v>
                </c:pt>
                <c:pt idx="447">
                  <c:v>45009</c:v>
                </c:pt>
                <c:pt idx="448">
                  <c:v>45010</c:v>
                </c:pt>
                <c:pt idx="449">
                  <c:v>45011</c:v>
                </c:pt>
                <c:pt idx="450">
                  <c:v>45012</c:v>
                </c:pt>
                <c:pt idx="451">
                  <c:v>45013</c:v>
                </c:pt>
                <c:pt idx="452">
                  <c:v>45014</c:v>
                </c:pt>
                <c:pt idx="453">
                  <c:v>45015</c:v>
                </c:pt>
                <c:pt idx="454">
                  <c:v>45016</c:v>
                </c:pt>
                <c:pt idx="455">
                  <c:v>45017</c:v>
                </c:pt>
                <c:pt idx="456">
                  <c:v>45018</c:v>
                </c:pt>
                <c:pt idx="457">
                  <c:v>45019</c:v>
                </c:pt>
                <c:pt idx="458">
                  <c:v>45020</c:v>
                </c:pt>
                <c:pt idx="459">
                  <c:v>45021</c:v>
                </c:pt>
                <c:pt idx="460">
                  <c:v>45022</c:v>
                </c:pt>
                <c:pt idx="461">
                  <c:v>45023</c:v>
                </c:pt>
                <c:pt idx="462">
                  <c:v>45024</c:v>
                </c:pt>
                <c:pt idx="463">
                  <c:v>45025</c:v>
                </c:pt>
                <c:pt idx="464">
                  <c:v>45026</c:v>
                </c:pt>
                <c:pt idx="465">
                  <c:v>45027</c:v>
                </c:pt>
                <c:pt idx="466">
                  <c:v>45028</c:v>
                </c:pt>
                <c:pt idx="467">
                  <c:v>45029</c:v>
                </c:pt>
                <c:pt idx="468">
                  <c:v>45030</c:v>
                </c:pt>
                <c:pt idx="469">
                  <c:v>45031</c:v>
                </c:pt>
                <c:pt idx="470">
                  <c:v>45032</c:v>
                </c:pt>
                <c:pt idx="471">
                  <c:v>45033</c:v>
                </c:pt>
                <c:pt idx="472">
                  <c:v>45034</c:v>
                </c:pt>
                <c:pt idx="473">
                  <c:v>45035</c:v>
                </c:pt>
                <c:pt idx="474">
                  <c:v>45036</c:v>
                </c:pt>
                <c:pt idx="475">
                  <c:v>45037</c:v>
                </c:pt>
                <c:pt idx="476">
                  <c:v>45038</c:v>
                </c:pt>
                <c:pt idx="477">
                  <c:v>45039</c:v>
                </c:pt>
                <c:pt idx="478">
                  <c:v>45040</c:v>
                </c:pt>
                <c:pt idx="479">
                  <c:v>45041</c:v>
                </c:pt>
                <c:pt idx="480">
                  <c:v>45042</c:v>
                </c:pt>
                <c:pt idx="481">
                  <c:v>45043</c:v>
                </c:pt>
                <c:pt idx="482">
                  <c:v>45044</c:v>
                </c:pt>
                <c:pt idx="483">
                  <c:v>45045</c:v>
                </c:pt>
                <c:pt idx="484">
                  <c:v>45046</c:v>
                </c:pt>
                <c:pt idx="485">
                  <c:v>45047</c:v>
                </c:pt>
                <c:pt idx="486">
                  <c:v>45048</c:v>
                </c:pt>
                <c:pt idx="487">
                  <c:v>45049</c:v>
                </c:pt>
                <c:pt idx="488">
                  <c:v>45050</c:v>
                </c:pt>
                <c:pt idx="489">
                  <c:v>45051</c:v>
                </c:pt>
                <c:pt idx="490">
                  <c:v>45052</c:v>
                </c:pt>
                <c:pt idx="491">
                  <c:v>45053</c:v>
                </c:pt>
                <c:pt idx="492">
                  <c:v>45054</c:v>
                </c:pt>
                <c:pt idx="493">
                  <c:v>45055</c:v>
                </c:pt>
                <c:pt idx="494">
                  <c:v>45056</c:v>
                </c:pt>
                <c:pt idx="495">
                  <c:v>45057</c:v>
                </c:pt>
                <c:pt idx="496">
                  <c:v>45058</c:v>
                </c:pt>
                <c:pt idx="497">
                  <c:v>45059</c:v>
                </c:pt>
                <c:pt idx="498">
                  <c:v>45060</c:v>
                </c:pt>
                <c:pt idx="499">
                  <c:v>45061</c:v>
                </c:pt>
                <c:pt idx="500">
                  <c:v>45062</c:v>
                </c:pt>
                <c:pt idx="501">
                  <c:v>45063</c:v>
                </c:pt>
                <c:pt idx="502">
                  <c:v>45064</c:v>
                </c:pt>
                <c:pt idx="503">
                  <c:v>45065</c:v>
                </c:pt>
                <c:pt idx="504">
                  <c:v>45066</c:v>
                </c:pt>
                <c:pt idx="505">
                  <c:v>45067</c:v>
                </c:pt>
                <c:pt idx="506">
                  <c:v>45068</c:v>
                </c:pt>
                <c:pt idx="507">
                  <c:v>45069</c:v>
                </c:pt>
                <c:pt idx="508">
                  <c:v>45070</c:v>
                </c:pt>
                <c:pt idx="509">
                  <c:v>45071</c:v>
                </c:pt>
                <c:pt idx="510">
                  <c:v>45072</c:v>
                </c:pt>
                <c:pt idx="511">
                  <c:v>45073</c:v>
                </c:pt>
                <c:pt idx="512">
                  <c:v>45074</c:v>
                </c:pt>
                <c:pt idx="513">
                  <c:v>45075</c:v>
                </c:pt>
                <c:pt idx="514">
                  <c:v>45076</c:v>
                </c:pt>
                <c:pt idx="515">
                  <c:v>45077</c:v>
                </c:pt>
                <c:pt idx="516">
                  <c:v>45078</c:v>
                </c:pt>
                <c:pt idx="517">
                  <c:v>45079</c:v>
                </c:pt>
                <c:pt idx="518">
                  <c:v>45080</c:v>
                </c:pt>
                <c:pt idx="519">
                  <c:v>45081</c:v>
                </c:pt>
                <c:pt idx="520">
                  <c:v>45082</c:v>
                </c:pt>
                <c:pt idx="521">
                  <c:v>45083</c:v>
                </c:pt>
                <c:pt idx="522">
                  <c:v>45084</c:v>
                </c:pt>
                <c:pt idx="523">
                  <c:v>45085</c:v>
                </c:pt>
                <c:pt idx="524">
                  <c:v>45086</c:v>
                </c:pt>
                <c:pt idx="525">
                  <c:v>45087</c:v>
                </c:pt>
                <c:pt idx="526">
                  <c:v>45088</c:v>
                </c:pt>
                <c:pt idx="527">
                  <c:v>45089</c:v>
                </c:pt>
                <c:pt idx="528">
                  <c:v>45090</c:v>
                </c:pt>
                <c:pt idx="529">
                  <c:v>45091</c:v>
                </c:pt>
                <c:pt idx="530">
                  <c:v>45092</c:v>
                </c:pt>
                <c:pt idx="531">
                  <c:v>45093</c:v>
                </c:pt>
                <c:pt idx="532">
                  <c:v>45094</c:v>
                </c:pt>
                <c:pt idx="533">
                  <c:v>45095</c:v>
                </c:pt>
                <c:pt idx="534">
                  <c:v>45096</c:v>
                </c:pt>
                <c:pt idx="535">
                  <c:v>45097</c:v>
                </c:pt>
                <c:pt idx="536">
                  <c:v>45098</c:v>
                </c:pt>
                <c:pt idx="537">
                  <c:v>45099</c:v>
                </c:pt>
                <c:pt idx="538">
                  <c:v>45100</c:v>
                </c:pt>
                <c:pt idx="539">
                  <c:v>45101</c:v>
                </c:pt>
                <c:pt idx="540">
                  <c:v>45102</c:v>
                </c:pt>
                <c:pt idx="541">
                  <c:v>45103</c:v>
                </c:pt>
                <c:pt idx="542">
                  <c:v>45104</c:v>
                </c:pt>
                <c:pt idx="543">
                  <c:v>45105</c:v>
                </c:pt>
                <c:pt idx="544">
                  <c:v>45106</c:v>
                </c:pt>
                <c:pt idx="545">
                  <c:v>45107</c:v>
                </c:pt>
                <c:pt idx="546">
                  <c:v>45108</c:v>
                </c:pt>
                <c:pt idx="547">
                  <c:v>45109</c:v>
                </c:pt>
                <c:pt idx="548">
                  <c:v>45110</c:v>
                </c:pt>
                <c:pt idx="549">
                  <c:v>45111</c:v>
                </c:pt>
                <c:pt idx="550">
                  <c:v>45112</c:v>
                </c:pt>
                <c:pt idx="551">
                  <c:v>45113</c:v>
                </c:pt>
                <c:pt idx="552">
                  <c:v>45114</c:v>
                </c:pt>
                <c:pt idx="553">
                  <c:v>45115</c:v>
                </c:pt>
                <c:pt idx="554">
                  <c:v>45116</c:v>
                </c:pt>
                <c:pt idx="555">
                  <c:v>45117</c:v>
                </c:pt>
                <c:pt idx="556">
                  <c:v>45118</c:v>
                </c:pt>
                <c:pt idx="557">
                  <c:v>45119</c:v>
                </c:pt>
                <c:pt idx="558">
                  <c:v>45120</c:v>
                </c:pt>
                <c:pt idx="559">
                  <c:v>45121</c:v>
                </c:pt>
                <c:pt idx="560">
                  <c:v>45122</c:v>
                </c:pt>
                <c:pt idx="561">
                  <c:v>45123</c:v>
                </c:pt>
                <c:pt idx="562">
                  <c:v>45124</c:v>
                </c:pt>
                <c:pt idx="563">
                  <c:v>45125</c:v>
                </c:pt>
                <c:pt idx="564">
                  <c:v>45126</c:v>
                </c:pt>
                <c:pt idx="565">
                  <c:v>45127</c:v>
                </c:pt>
                <c:pt idx="566">
                  <c:v>45128</c:v>
                </c:pt>
                <c:pt idx="567">
                  <c:v>45129</c:v>
                </c:pt>
                <c:pt idx="568">
                  <c:v>45130</c:v>
                </c:pt>
                <c:pt idx="569">
                  <c:v>45131</c:v>
                </c:pt>
                <c:pt idx="570">
                  <c:v>45132</c:v>
                </c:pt>
                <c:pt idx="571">
                  <c:v>45133</c:v>
                </c:pt>
                <c:pt idx="572">
                  <c:v>45134</c:v>
                </c:pt>
                <c:pt idx="573">
                  <c:v>45135</c:v>
                </c:pt>
                <c:pt idx="574">
                  <c:v>45136</c:v>
                </c:pt>
                <c:pt idx="575">
                  <c:v>45137</c:v>
                </c:pt>
                <c:pt idx="576">
                  <c:v>45138</c:v>
                </c:pt>
                <c:pt idx="577">
                  <c:v>45139</c:v>
                </c:pt>
                <c:pt idx="578">
                  <c:v>45140</c:v>
                </c:pt>
                <c:pt idx="579">
                  <c:v>45141</c:v>
                </c:pt>
                <c:pt idx="580">
                  <c:v>45142</c:v>
                </c:pt>
                <c:pt idx="581">
                  <c:v>45143</c:v>
                </c:pt>
                <c:pt idx="582">
                  <c:v>45144</c:v>
                </c:pt>
                <c:pt idx="583">
                  <c:v>45145</c:v>
                </c:pt>
                <c:pt idx="584">
                  <c:v>45146</c:v>
                </c:pt>
                <c:pt idx="585">
                  <c:v>45147</c:v>
                </c:pt>
                <c:pt idx="586">
                  <c:v>45148</c:v>
                </c:pt>
                <c:pt idx="587">
                  <c:v>45149</c:v>
                </c:pt>
                <c:pt idx="588">
                  <c:v>45150</c:v>
                </c:pt>
                <c:pt idx="589">
                  <c:v>45151</c:v>
                </c:pt>
                <c:pt idx="590">
                  <c:v>45152</c:v>
                </c:pt>
                <c:pt idx="591">
                  <c:v>45153</c:v>
                </c:pt>
                <c:pt idx="592">
                  <c:v>45154</c:v>
                </c:pt>
                <c:pt idx="593">
                  <c:v>45155</c:v>
                </c:pt>
                <c:pt idx="594">
                  <c:v>45156</c:v>
                </c:pt>
                <c:pt idx="595">
                  <c:v>45157</c:v>
                </c:pt>
                <c:pt idx="596">
                  <c:v>45158</c:v>
                </c:pt>
                <c:pt idx="597">
                  <c:v>45159</c:v>
                </c:pt>
                <c:pt idx="598">
                  <c:v>45160</c:v>
                </c:pt>
                <c:pt idx="599">
                  <c:v>45161</c:v>
                </c:pt>
                <c:pt idx="600">
                  <c:v>45162</c:v>
                </c:pt>
                <c:pt idx="601">
                  <c:v>45163</c:v>
                </c:pt>
                <c:pt idx="602">
                  <c:v>45164</c:v>
                </c:pt>
                <c:pt idx="603">
                  <c:v>45165</c:v>
                </c:pt>
                <c:pt idx="604">
                  <c:v>45166</c:v>
                </c:pt>
                <c:pt idx="605">
                  <c:v>45167</c:v>
                </c:pt>
                <c:pt idx="606">
                  <c:v>45168</c:v>
                </c:pt>
                <c:pt idx="607">
                  <c:v>45169</c:v>
                </c:pt>
                <c:pt idx="608">
                  <c:v>45170</c:v>
                </c:pt>
                <c:pt idx="609">
                  <c:v>45171</c:v>
                </c:pt>
                <c:pt idx="610">
                  <c:v>45172</c:v>
                </c:pt>
                <c:pt idx="611">
                  <c:v>45173</c:v>
                </c:pt>
                <c:pt idx="612">
                  <c:v>45174</c:v>
                </c:pt>
                <c:pt idx="613">
                  <c:v>45175</c:v>
                </c:pt>
                <c:pt idx="614">
                  <c:v>45176</c:v>
                </c:pt>
                <c:pt idx="615">
                  <c:v>45177</c:v>
                </c:pt>
                <c:pt idx="616">
                  <c:v>45178</c:v>
                </c:pt>
                <c:pt idx="617">
                  <c:v>45179</c:v>
                </c:pt>
                <c:pt idx="618">
                  <c:v>45180</c:v>
                </c:pt>
                <c:pt idx="619">
                  <c:v>45181</c:v>
                </c:pt>
                <c:pt idx="620">
                  <c:v>45182</c:v>
                </c:pt>
                <c:pt idx="621">
                  <c:v>45183</c:v>
                </c:pt>
                <c:pt idx="622">
                  <c:v>45184</c:v>
                </c:pt>
                <c:pt idx="623">
                  <c:v>45185</c:v>
                </c:pt>
                <c:pt idx="624">
                  <c:v>45186</c:v>
                </c:pt>
                <c:pt idx="625">
                  <c:v>45187</c:v>
                </c:pt>
                <c:pt idx="626">
                  <c:v>45188</c:v>
                </c:pt>
                <c:pt idx="627">
                  <c:v>45189</c:v>
                </c:pt>
                <c:pt idx="628">
                  <c:v>45190</c:v>
                </c:pt>
                <c:pt idx="629">
                  <c:v>45191</c:v>
                </c:pt>
                <c:pt idx="630">
                  <c:v>45192</c:v>
                </c:pt>
                <c:pt idx="631">
                  <c:v>45193</c:v>
                </c:pt>
                <c:pt idx="632">
                  <c:v>45194</c:v>
                </c:pt>
                <c:pt idx="633">
                  <c:v>45195</c:v>
                </c:pt>
                <c:pt idx="634">
                  <c:v>45196</c:v>
                </c:pt>
                <c:pt idx="635">
                  <c:v>45197</c:v>
                </c:pt>
                <c:pt idx="636">
                  <c:v>45198</c:v>
                </c:pt>
                <c:pt idx="637">
                  <c:v>45199</c:v>
                </c:pt>
                <c:pt idx="638">
                  <c:v>45200</c:v>
                </c:pt>
                <c:pt idx="639">
                  <c:v>45201</c:v>
                </c:pt>
                <c:pt idx="640">
                  <c:v>45202</c:v>
                </c:pt>
                <c:pt idx="641">
                  <c:v>45203</c:v>
                </c:pt>
                <c:pt idx="642">
                  <c:v>45204</c:v>
                </c:pt>
                <c:pt idx="643">
                  <c:v>45205</c:v>
                </c:pt>
                <c:pt idx="644">
                  <c:v>45206</c:v>
                </c:pt>
                <c:pt idx="645">
                  <c:v>45207</c:v>
                </c:pt>
                <c:pt idx="646">
                  <c:v>45208</c:v>
                </c:pt>
                <c:pt idx="647">
                  <c:v>45209</c:v>
                </c:pt>
                <c:pt idx="648">
                  <c:v>45210</c:v>
                </c:pt>
                <c:pt idx="649">
                  <c:v>45211</c:v>
                </c:pt>
                <c:pt idx="650">
                  <c:v>45212</c:v>
                </c:pt>
                <c:pt idx="651">
                  <c:v>45213</c:v>
                </c:pt>
                <c:pt idx="652">
                  <c:v>45214</c:v>
                </c:pt>
                <c:pt idx="653">
                  <c:v>45215</c:v>
                </c:pt>
                <c:pt idx="654">
                  <c:v>45216</c:v>
                </c:pt>
                <c:pt idx="655">
                  <c:v>45217</c:v>
                </c:pt>
                <c:pt idx="656">
                  <c:v>45218</c:v>
                </c:pt>
                <c:pt idx="657">
                  <c:v>45219</c:v>
                </c:pt>
                <c:pt idx="658">
                  <c:v>45220</c:v>
                </c:pt>
                <c:pt idx="659">
                  <c:v>45221</c:v>
                </c:pt>
                <c:pt idx="660">
                  <c:v>45222</c:v>
                </c:pt>
                <c:pt idx="661">
                  <c:v>45223</c:v>
                </c:pt>
                <c:pt idx="662">
                  <c:v>45224</c:v>
                </c:pt>
                <c:pt idx="663">
                  <c:v>45225</c:v>
                </c:pt>
                <c:pt idx="664">
                  <c:v>45226</c:v>
                </c:pt>
                <c:pt idx="665">
                  <c:v>45227</c:v>
                </c:pt>
                <c:pt idx="666">
                  <c:v>45228</c:v>
                </c:pt>
                <c:pt idx="667">
                  <c:v>45229</c:v>
                </c:pt>
                <c:pt idx="668">
                  <c:v>45230</c:v>
                </c:pt>
                <c:pt idx="669">
                  <c:v>45231</c:v>
                </c:pt>
                <c:pt idx="670">
                  <c:v>45232</c:v>
                </c:pt>
                <c:pt idx="671">
                  <c:v>45233</c:v>
                </c:pt>
                <c:pt idx="672">
                  <c:v>45234</c:v>
                </c:pt>
                <c:pt idx="673">
                  <c:v>45235</c:v>
                </c:pt>
                <c:pt idx="674">
                  <c:v>45236</c:v>
                </c:pt>
                <c:pt idx="675">
                  <c:v>45237</c:v>
                </c:pt>
                <c:pt idx="676">
                  <c:v>45238</c:v>
                </c:pt>
                <c:pt idx="677">
                  <c:v>45239</c:v>
                </c:pt>
                <c:pt idx="678">
                  <c:v>45240</c:v>
                </c:pt>
                <c:pt idx="679">
                  <c:v>45241</c:v>
                </c:pt>
                <c:pt idx="680">
                  <c:v>45242</c:v>
                </c:pt>
                <c:pt idx="681">
                  <c:v>45243</c:v>
                </c:pt>
                <c:pt idx="682">
                  <c:v>45244</c:v>
                </c:pt>
                <c:pt idx="683">
                  <c:v>45245</c:v>
                </c:pt>
                <c:pt idx="684">
                  <c:v>45246</c:v>
                </c:pt>
                <c:pt idx="685">
                  <c:v>45247</c:v>
                </c:pt>
                <c:pt idx="686">
                  <c:v>45248</c:v>
                </c:pt>
                <c:pt idx="687">
                  <c:v>45249</c:v>
                </c:pt>
                <c:pt idx="688">
                  <c:v>45250</c:v>
                </c:pt>
                <c:pt idx="689">
                  <c:v>45251</c:v>
                </c:pt>
                <c:pt idx="690">
                  <c:v>45252</c:v>
                </c:pt>
                <c:pt idx="691">
                  <c:v>45253</c:v>
                </c:pt>
                <c:pt idx="692">
                  <c:v>45254</c:v>
                </c:pt>
                <c:pt idx="693">
                  <c:v>45255</c:v>
                </c:pt>
                <c:pt idx="694">
                  <c:v>45256</c:v>
                </c:pt>
                <c:pt idx="695">
                  <c:v>45257</c:v>
                </c:pt>
                <c:pt idx="696">
                  <c:v>45258</c:v>
                </c:pt>
                <c:pt idx="697">
                  <c:v>45259</c:v>
                </c:pt>
                <c:pt idx="698">
                  <c:v>45260</c:v>
                </c:pt>
                <c:pt idx="699">
                  <c:v>45261</c:v>
                </c:pt>
                <c:pt idx="700">
                  <c:v>45262</c:v>
                </c:pt>
                <c:pt idx="701">
                  <c:v>45263</c:v>
                </c:pt>
                <c:pt idx="702">
                  <c:v>45264</c:v>
                </c:pt>
                <c:pt idx="703">
                  <c:v>45265</c:v>
                </c:pt>
                <c:pt idx="704">
                  <c:v>45266</c:v>
                </c:pt>
                <c:pt idx="705">
                  <c:v>45267</c:v>
                </c:pt>
                <c:pt idx="706">
                  <c:v>45268</c:v>
                </c:pt>
                <c:pt idx="707">
                  <c:v>45269</c:v>
                </c:pt>
                <c:pt idx="708">
                  <c:v>45270</c:v>
                </c:pt>
                <c:pt idx="709">
                  <c:v>45271</c:v>
                </c:pt>
                <c:pt idx="710">
                  <c:v>45272</c:v>
                </c:pt>
                <c:pt idx="711">
                  <c:v>45273</c:v>
                </c:pt>
                <c:pt idx="712">
                  <c:v>45274</c:v>
                </c:pt>
                <c:pt idx="713">
                  <c:v>45275</c:v>
                </c:pt>
                <c:pt idx="714">
                  <c:v>45276</c:v>
                </c:pt>
                <c:pt idx="715">
                  <c:v>45277</c:v>
                </c:pt>
                <c:pt idx="716">
                  <c:v>45278</c:v>
                </c:pt>
                <c:pt idx="717">
                  <c:v>45279</c:v>
                </c:pt>
                <c:pt idx="718">
                  <c:v>45280</c:v>
                </c:pt>
                <c:pt idx="719">
                  <c:v>45281</c:v>
                </c:pt>
                <c:pt idx="720">
                  <c:v>45282</c:v>
                </c:pt>
                <c:pt idx="721">
                  <c:v>45283</c:v>
                </c:pt>
                <c:pt idx="722">
                  <c:v>45284</c:v>
                </c:pt>
                <c:pt idx="723">
                  <c:v>45285</c:v>
                </c:pt>
                <c:pt idx="724">
                  <c:v>45286</c:v>
                </c:pt>
                <c:pt idx="725">
                  <c:v>45287</c:v>
                </c:pt>
                <c:pt idx="726">
                  <c:v>45288</c:v>
                </c:pt>
                <c:pt idx="727">
                  <c:v>45289</c:v>
                </c:pt>
                <c:pt idx="728">
                  <c:v>45290</c:v>
                </c:pt>
                <c:pt idx="729">
                  <c:v>45291</c:v>
                </c:pt>
                <c:pt idx="730">
                  <c:v>45292</c:v>
                </c:pt>
                <c:pt idx="731">
                  <c:v>45293</c:v>
                </c:pt>
                <c:pt idx="732">
                  <c:v>45294</c:v>
                </c:pt>
                <c:pt idx="733">
                  <c:v>45295</c:v>
                </c:pt>
                <c:pt idx="734">
                  <c:v>45296</c:v>
                </c:pt>
                <c:pt idx="735">
                  <c:v>45297</c:v>
                </c:pt>
                <c:pt idx="736">
                  <c:v>45298</c:v>
                </c:pt>
                <c:pt idx="737">
                  <c:v>45299</c:v>
                </c:pt>
                <c:pt idx="738">
                  <c:v>45300</c:v>
                </c:pt>
                <c:pt idx="739">
                  <c:v>45301</c:v>
                </c:pt>
                <c:pt idx="740">
                  <c:v>45302</c:v>
                </c:pt>
                <c:pt idx="741">
                  <c:v>45303</c:v>
                </c:pt>
                <c:pt idx="742">
                  <c:v>45304</c:v>
                </c:pt>
                <c:pt idx="743">
                  <c:v>45305</c:v>
                </c:pt>
                <c:pt idx="744">
                  <c:v>45306</c:v>
                </c:pt>
                <c:pt idx="745">
                  <c:v>45307</c:v>
                </c:pt>
                <c:pt idx="746">
                  <c:v>45308</c:v>
                </c:pt>
                <c:pt idx="747">
                  <c:v>45309</c:v>
                </c:pt>
                <c:pt idx="748">
                  <c:v>45310</c:v>
                </c:pt>
                <c:pt idx="749">
                  <c:v>45311</c:v>
                </c:pt>
                <c:pt idx="750">
                  <c:v>45312</c:v>
                </c:pt>
                <c:pt idx="751">
                  <c:v>45313</c:v>
                </c:pt>
                <c:pt idx="752">
                  <c:v>45314</c:v>
                </c:pt>
                <c:pt idx="753">
                  <c:v>45315</c:v>
                </c:pt>
                <c:pt idx="754">
                  <c:v>45316</c:v>
                </c:pt>
                <c:pt idx="755">
                  <c:v>45317</c:v>
                </c:pt>
                <c:pt idx="756">
                  <c:v>45318</c:v>
                </c:pt>
                <c:pt idx="757">
                  <c:v>45319</c:v>
                </c:pt>
                <c:pt idx="758">
                  <c:v>45320</c:v>
                </c:pt>
                <c:pt idx="759">
                  <c:v>45321</c:v>
                </c:pt>
                <c:pt idx="760">
                  <c:v>45322</c:v>
                </c:pt>
                <c:pt idx="761">
                  <c:v>45323</c:v>
                </c:pt>
                <c:pt idx="762">
                  <c:v>45324</c:v>
                </c:pt>
                <c:pt idx="763">
                  <c:v>45325</c:v>
                </c:pt>
                <c:pt idx="764">
                  <c:v>45326</c:v>
                </c:pt>
                <c:pt idx="765">
                  <c:v>45327</c:v>
                </c:pt>
                <c:pt idx="766">
                  <c:v>45328</c:v>
                </c:pt>
                <c:pt idx="767">
                  <c:v>45329</c:v>
                </c:pt>
                <c:pt idx="768">
                  <c:v>45330</c:v>
                </c:pt>
                <c:pt idx="769">
                  <c:v>45331</c:v>
                </c:pt>
                <c:pt idx="770">
                  <c:v>45332</c:v>
                </c:pt>
                <c:pt idx="771">
                  <c:v>45333</c:v>
                </c:pt>
                <c:pt idx="772">
                  <c:v>45334</c:v>
                </c:pt>
                <c:pt idx="773">
                  <c:v>45335</c:v>
                </c:pt>
                <c:pt idx="774">
                  <c:v>45336</c:v>
                </c:pt>
                <c:pt idx="775">
                  <c:v>45337</c:v>
                </c:pt>
                <c:pt idx="776">
                  <c:v>45338</c:v>
                </c:pt>
                <c:pt idx="777">
                  <c:v>45339</c:v>
                </c:pt>
                <c:pt idx="778">
                  <c:v>45340</c:v>
                </c:pt>
                <c:pt idx="779">
                  <c:v>45341</c:v>
                </c:pt>
                <c:pt idx="780">
                  <c:v>45342</c:v>
                </c:pt>
                <c:pt idx="781">
                  <c:v>45343</c:v>
                </c:pt>
                <c:pt idx="782">
                  <c:v>45344</c:v>
                </c:pt>
                <c:pt idx="783">
                  <c:v>45345</c:v>
                </c:pt>
                <c:pt idx="784">
                  <c:v>45346</c:v>
                </c:pt>
                <c:pt idx="785">
                  <c:v>45347</c:v>
                </c:pt>
                <c:pt idx="786">
                  <c:v>45348</c:v>
                </c:pt>
                <c:pt idx="787">
                  <c:v>45349</c:v>
                </c:pt>
                <c:pt idx="788">
                  <c:v>45350</c:v>
                </c:pt>
                <c:pt idx="789">
                  <c:v>45351</c:v>
                </c:pt>
                <c:pt idx="790">
                  <c:v>45352</c:v>
                </c:pt>
                <c:pt idx="791">
                  <c:v>45353</c:v>
                </c:pt>
                <c:pt idx="792">
                  <c:v>45354</c:v>
                </c:pt>
                <c:pt idx="793">
                  <c:v>45355</c:v>
                </c:pt>
                <c:pt idx="794">
                  <c:v>45356</c:v>
                </c:pt>
                <c:pt idx="795">
                  <c:v>45357</c:v>
                </c:pt>
                <c:pt idx="796">
                  <c:v>45358</c:v>
                </c:pt>
                <c:pt idx="797">
                  <c:v>45359</c:v>
                </c:pt>
                <c:pt idx="798">
                  <c:v>45360</c:v>
                </c:pt>
                <c:pt idx="799">
                  <c:v>45361</c:v>
                </c:pt>
                <c:pt idx="800">
                  <c:v>45362</c:v>
                </c:pt>
                <c:pt idx="801">
                  <c:v>45363</c:v>
                </c:pt>
                <c:pt idx="802">
                  <c:v>45364</c:v>
                </c:pt>
                <c:pt idx="803">
                  <c:v>45365</c:v>
                </c:pt>
                <c:pt idx="804">
                  <c:v>45366</c:v>
                </c:pt>
                <c:pt idx="805">
                  <c:v>45367</c:v>
                </c:pt>
                <c:pt idx="806">
                  <c:v>45368</c:v>
                </c:pt>
                <c:pt idx="807">
                  <c:v>45369</c:v>
                </c:pt>
                <c:pt idx="808">
                  <c:v>45370</c:v>
                </c:pt>
                <c:pt idx="809">
                  <c:v>45371</c:v>
                </c:pt>
                <c:pt idx="810">
                  <c:v>45372</c:v>
                </c:pt>
                <c:pt idx="811">
                  <c:v>45373</c:v>
                </c:pt>
                <c:pt idx="812">
                  <c:v>45374</c:v>
                </c:pt>
                <c:pt idx="813">
                  <c:v>45375</c:v>
                </c:pt>
                <c:pt idx="814">
                  <c:v>45376</c:v>
                </c:pt>
                <c:pt idx="815">
                  <c:v>45377</c:v>
                </c:pt>
                <c:pt idx="816">
                  <c:v>45378</c:v>
                </c:pt>
                <c:pt idx="817">
                  <c:v>45379</c:v>
                </c:pt>
                <c:pt idx="818">
                  <c:v>45380</c:v>
                </c:pt>
                <c:pt idx="819">
                  <c:v>45381</c:v>
                </c:pt>
                <c:pt idx="820">
                  <c:v>45382</c:v>
                </c:pt>
                <c:pt idx="821">
                  <c:v>45383</c:v>
                </c:pt>
                <c:pt idx="822">
                  <c:v>45384</c:v>
                </c:pt>
                <c:pt idx="823">
                  <c:v>45385</c:v>
                </c:pt>
                <c:pt idx="824">
                  <c:v>45386</c:v>
                </c:pt>
                <c:pt idx="825">
                  <c:v>45387</c:v>
                </c:pt>
                <c:pt idx="826">
                  <c:v>45388</c:v>
                </c:pt>
                <c:pt idx="827">
                  <c:v>45389</c:v>
                </c:pt>
                <c:pt idx="828">
                  <c:v>45390</c:v>
                </c:pt>
                <c:pt idx="829">
                  <c:v>45391</c:v>
                </c:pt>
                <c:pt idx="830">
                  <c:v>45392</c:v>
                </c:pt>
                <c:pt idx="831">
                  <c:v>45393</c:v>
                </c:pt>
                <c:pt idx="832">
                  <c:v>45394</c:v>
                </c:pt>
                <c:pt idx="833">
                  <c:v>45395</c:v>
                </c:pt>
                <c:pt idx="834">
                  <c:v>45396</c:v>
                </c:pt>
                <c:pt idx="835">
                  <c:v>45397</c:v>
                </c:pt>
                <c:pt idx="836">
                  <c:v>45398</c:v>
                </c:pt>
                <c:pt idx="837">
                  <c:v>45399</c:v>
                </c:pt>
                <c:pt idx="838">
                  <c:v>45400</c:v>
                </c:pt>
                <c:pt idx="839">
                  <c:v>45401</c:v>
                </c:pt>
                <c:pt idx="840">
                  <c:v>45402</c:v>
                </c:pt>
                <c:pt idx="841">
                  <c:v>45403</c:v>
                </c:pt>
                <c:pt idx="842">
                  <c:v>45404</c:v>
                </c:pt>
                <c:pt idx="843">
                  <c:v>45405</c:v>
                </c:pt>
                <c:pt idx="844">
                  <c:v>45406</c:v>
                </c:pt>
                <c:pt idx="845">
                  <c:v>45407</c:v>
                </c:pt>
                <c:pt idx="846">
                  <c:v>45408</c:v>
                </c:pt>
                <c:pt idx="847">
                  <c:v>45409</c:v>
                </c:pt>
                <c:pt idx="848">
                  <c:v>45410</c:v>
                </c:pt>
                <c:pt idx="849">
                  <c:v>45411</c:v>
                </c:pt>
                <c:pt idx="850">
                  <c:v>45412</c:v>
                </c:pt>
                <c:pt idx="851">
                  <c:v>45413</c:v>
                </c:pt>
                <c:pt idx="852">
                  <c:v>45414</c:v>
                </c:pt>
                <c:pt idx="853">
                  <c:v>45415</c:v>
                </c:pt>
                <c:pt idx="854">
                  <c:v>45416</c:v>
                </c:pt>
                <c:pt idx="855">
                  <c:v>45417</c:v>
                </c:pt>
                <c:pt idx="856">
                  <c:v>45418</c:v>
                </c:pt>
                <c:pt idx="857">
                  <c:v>45419</c:v>
                </c:pt>
                <c:pt idx="858">
                  <c:v>45420</c:v>
                </c:pt>
                <c:pt idx="859">
                  <c:v>45421</c:v>
                </c:pt>
                <c:pt idx="860">
                  <c:v>45422</c:v>
                </c:pt>
                <c:pt idx="861">
                  <c:v>45423</c:v>
                </c:pt>
                <c:pt idx="862">
                  <c:v>45424</c:v>
                </c:pt>
                <c:pt idx="863">
                  <c:v>45425</c:v>
                </c:pt>
                <c:pt idx="864">
                  <c:v>45426</c:v>
                </c:pt>
                <c:pt idx="865">
                  <c:v>45427</c:v>
                </c:pt>
                <c:pt idx="866">
                  <c:v>45428</c:v>
                </c:pt>
                <c:pt idx="867">
                  <c:v>45429</c:v>
                </c:pt>
                <c:pt idx="868">
                  <c:v>45430</c:v>
                </c:pt>
                <c:pt idx="869">
                  <c:v>45431</c:v>
                </c:pt>
                <c:pt idx="870">
                  <c:v>45432</c:v>
                </c:pt>
                <c:pt idx="871">
                  <c:v>45433</c:v>
                </c:pt>
                <c:pt idx="872">
                  <c:v>45434</c:v>
                </c:pt>
                <c:pt idx="873">
                  <c:v>45435</c:v>
                </c:pt>
                <c:pt idx="874">
                  <c:v>45436</c:v>
                </c:pt>
                <c:pt idx="875">
                  <c:v>45437</c:v>
                </c:pt>
                <c:pt idx="876">
                  <c:v>45438</c:v>
                </c:pt>
                <c:pt idx="877">
                  <c:v>45439</c:v>
                </c:pt>
                <c:pt idx="878">
                  <c:v>45440</c:v>
                </c:pt>
                <c:pt idx="879">
                  <c:v>45441</c:v>
                </c:pt>
                <c:pt idx="880">
                  <c:v>45442</c:v>
                </c:pt>
                <c:pt idx="881">
                  <c:v>45443</c:v>
                </c:pt>
                <c:pt idx="882">
                  <c:v>45444</c:v>
                </c:pt>
                <c:pt idx="883">
                  <c:v>45445</c:v>
                </c:pt>
                <c:pt idx="884">
                  <c:v>45446</c:v>
                </c:pt>
                <c:pt idx="885">
                  <c:v>45447</c:v>
                </c:pt>
                <c:pt idx="886">
                  <c:v>45448</c:v>
                </c:pt>
                <c:pt idx="887">
                  <c:v>45449</c:v>
                </c:pt>
                <c:pt idx="888">
                  <c:v>45450</c:v>
                </c:pt>
                <c:pt idx="889">
                  <c:v>45451</c:v>
                </c:pt>
                <c:pt idx="890">
                  <c:v>45452</c:v>
                </c:pt>
                <c:pt idx="891">
                  <c:v>45453</c:v>
                </c:pt>
                <c:pt idx="892">
                  <c:v>45454</c:v>
                </c:pt>
                <c:pt idx="893">
                  <c:v>45455</c:v>
                </c:pt>
                <c:pt idx="894">
                  <c:v>45456</c:v>
                </c:pt>
                <c:pt idx="895">
                  <c:v>45457</c:v>
                </c:pt>
                <c:pt idx="896">
                  <c:v>45458</c:v>
                </c:pt>
                <c:pt idx="897">
                  <c:v>45459</c:v>
                </c:pt>
                <c:pt idx="898">
                  <c:v>45460</c:v>
                </c:pt>
                <c:pt idx="899">
                  <c:v>45461</c:v>
                </c:pt>
                <c:pt idx="900">
                  <c:v>45462</c:v>
                </c:pt>
                <c:pt idx="901">
                  <c:v>45463</c:v>
                </c:pt>
                <c:pt idx="902">
                  <c:v>45464</c:v>
                </c:pt>
                <c:pt idx="903">
                  <c:v>45465</c:v>
                </c:pt>
                <c:pt idx="904">
                  <c:v>45466</c:v>
                </c:pt>
                <c:pt idx="905">
                  <c:v>45467</c:v>
                </c:pt>
                <c:pt idx="906">
                  <c:v>45468</c:v>
                </c:pt>
                <c:pt idx="907">
                  <c:v>45469</c:v>
                </c:pt>
                <c:pt idx="908">
                  <c:v>45470</c:v>
                </c:pt>
                <c:pt idx="909">
                  <c:v>45471</c:v>
                </c:pt>
                <c:pt idx="910">
                  <c:v>45472</c:v>
                </c:pt>
                <c:pt idx="911">
                  <c:v>45473</c:v>
                </c:pt>
                <c:pt idx="912">
                  <c:v>45474</c:v>
                </c:pt>
                <c:pt idx="913">
                  <c:v>45475</c:v>
                </c:pt>
                <c:pt idx="914">
                  <c:v>45476</c:v>
                </c:pt>
                <c:pt idx="915">
                  <c:v>45477</c:v>
                </c:pt>
                <c:pt idx="916">
                  <c:v>45478</c:v>
                </c:pt>
                <c:pt idx="917">
                  <c:v>45479</c:v>
                </c:pt>
                <c:pt idx="918">
                  <c:v>45480</c:v>
                </c:pt>
                <c:pt idx="919">
                  <c:v>45481</c:v>
                </c:pt>
                <c:pt idx="920">
                  <c:v>45482</c:v>
                </c:pt>
                <c:pt idx="921">
                  <c:v>45483</c:v>
                </c:pt>
                <c:pt idx="922">
                  <c:v>45484</c:v>
                </c:pt>
                <c:pt idx="923">
                  <c:v>45485</c:v>
                </c:pt>
                <c:pt idx="924">
                  <c:v>45486</c:v>
                </c:pt>
                <c:pt idx="925">
                  <c:v>45487</c:v>
                </c:pt>
                <c:pt idx="926">
                  <c:v>45488</c:v>
                </c:pt>
                <c:pt idx="927">
                  <c:v>45489</c:v>
                </c:pt>
                <c:pt idx="928">
                  <c:v>45490</c:v>
                </c:pt>
                <c:pt idx="929">
                  <c:v>45491</c:v>
                </c:pt>
                <c:pt idx="930">
                  <c:v>45492</c:v>
                </c:pt>
                <c:pt idx="931">
                  <c:v>45493</c:v>
                </c:pt>
                <c:pt idx="932">
                  <c:v>45494</c:v>
                </c:pt>
                <c:pt idx="933">
                  <c:v>45495</c:v>
                </c:pt>
                <c:pt idx="934">
                  <c:v>45496</c:v>
                </c:pt>
                <c:pt idx="935">
                  <c:v>45497</c:v>
                </c:pt>
                <c:pt idx="936">
                  <c:v>45498</c:v>
                </c:pt>
                <c:pt idx="937">
                  <c:v>45499</c:v>
                </c:pt>
                <c:pt idx="938">
                  <c:v>45500</c:v>
                </c:pt>
                <c:pt idx="939">
                  <c:v>45501</c:v>
                </c:pt>
                <c:pt idx="940">
                  <c:v>45502</c:v>
                </c:pt>
                <c:pt idx="941">
                  <c:v>45503</c:v>
                </c:pt>
                <c:pt idx="942">
                  <c:v>45504</c:v>
                </c:pt>
                <c:pt idx="943">
                  <c:v>45505</c:v>
                </c:pt>
                <c:pt idx="944">
                  <c:v>45506</c:v>
                </c:pt>
                <c:pt idx="945">
                  <c:v>45507</c:v>
                </c:pt>
                <c:pt idx="946">
                  <c:v>45508</c:v>
                </c:pt>
                <c:pt idx="947">
                  <c:v>45509</c:v>
                </c:pt>
                <c:pt idx="948">
                  <c:v>45510</c:v>
                </c:pt>
                <c:pt idx="949">
                  <c:v>45511</c:v>
                </c:pt>
                <c:pt idx="950">
                  <c:v>45512</c:v>
                </c:pt>
                <c:pt idx="951">
                  <c:v>45513</c:v>
                </c:pt>
                <c:pt idx="952">
                  <c:v>45514</c:v>
                </c:pt>
                <c:pt idx="953">
                  <c:v>45515</c:v>
                </c:pt>
                <c:pt idx="954">
                  <c:v>45516</c:v>
                </c:pt>
                <c:pt idx="955">
                  <c:v>45517</c:v>
                </c:pt>
                <c:pt idx="956">
                  <c:v>45518</c:v>
                </c:pt>
                <c:pt idx="957">
                  <c:v>45519</c:v>
                </c:pt>
                <c:pt idx="958">
                  <c:v>45520</c:v>
                </c:pt>
                <c:pt idx="959">
                  <c:v>45521</c:v>
                </c:pt>
                <c:pt idx="960">
                  <c:v>45522</c:v>
                </c:pt>
                <c:pt idx="961">
                  <c:v>45523</c:v>
                </c:pt>
                <c:pt idx="962">
                  <c:v>45524</c:v>
                </c:pt>
                <c:pt idx="963">
                  <c:v>45525</c:v>
                </c:pt>
                <c:pt idx="964">
                  <c:v>45526</c:v>
                </c:pt>
                <c:pt idx="965">
                  <c:v>45527</c:v>
                </c:pt>
                <c:pt idx="966">
                  <c:v>45528</c:v>
                </c:pt>
                <c:pt idx="967">
                  <c:v>45529</c:v>
                </c:pt>
                <c:pt idx="968">
                  <c:v>45530</c:v>
                </c:pt>
                <c:pt idx="969">
                  <c:v>45531</c:v>
                </c:pt>
                <c:pt idx="970">
                  <c:v>45532</c:v>
                </c:pt>
                <c:pt idx="971">
                  <c:v>45533</c:v>
                </c:pt>
                <c:pt idx="972">
                  <c:v>45534</c:v>
                </c:pt>
                <c:pt idx="973">
                  <c:v>45535</c:v>
                </c:pt>
                <c:pt idx="974">
                  <c:v>45536</c:v>
                </c:pt>
                <c:pt idx="975">
                  <c:v>45537</c:v>
                </c:pt>
                <c:pt idx="976">
                  <c:v>45538</c:v>
                </c:pt>
                <c:pt idx="977">
                  <c:v>45539</c:v>
                </c:pt>
                <c:pt idx="978">
                  <c:v>45540</c:v>
                </c:pt>
                <c:pt idx="979">
                  <c:v>45541</c:v>
                </c:pt>
                <c:pt idx="980">
                  <c:v>45542</c:v>
                </c:pt>
                <c:pt idx="981">
                  <c:v>45543</c:v>
                </c:pt>
                <c:pt idx="982">
                  <c:v>45544</c:v>
                </c:pt>
                <c:pt idx="983">
                  <c:v>45545</c:v>
                </c:pt>
                <c:pt idx="984">
                  <c:v>45546</c:v>
                </c:pt>
                <c:pt idx="985">
                  <c:v>45547</c:v>
                </c:pt>
                <c:pt idx="986">
                  <c:v>45548</c:v>
                </c:pt>
                <c:pt idx="987">
                  <c:v>45549</c:v>
                </c:pt>
                <c:pt idx="988">
                  <c:v>45550</c:v>
                </c:pt>
                <c:pt idx="989">
                  <c:v>45551</c:v>
                </c:pt>
                <c:pt idx="990">
                  <c:v>45552</c:v>
                </c:pt>
                <c:pt idx="991">
                  <c:v>45553</c:v>
                </c:pt>
                <c:pt idx="992">
                  <c:v>45554</c:v>
                </c:pt>
                <c:pt idx="993">
                  <c:v>45555</c:v>
                </c:pt>
                <c:pt idx="994">
                  <c:v>45556</c:v>
                </c:pt>
                <c:pt idx="995">
                  <c:v>45557</c:v>
                </c:pt>
                <c:pt idx="996">
                  <c:v>45558</c:v>
                </c:pt>
                <c:pt idx="997">
                  <c:v>45559</c:v>
                </c:pt>
                <c:pt idx="998">
                  <c:v>45560</c:v>
                </c:pt>
                <c:pt idx="999">
                  <c:v>45561</c:v>
                </c:pt>
                <c:pt idx="1000">
                  <c:v>45562</c:v>
                </c:pt>
                <c:pt idx="1001">
                  <c:v>45563</c:v>
                </c:pt>
                <c:pt idx="1002">
                  <c:v>45564</c:v>
                </c:pt>
                <c:pt idx="1003">
                  <c:v>45565</c:v>
                </c:pt>
                <c:pt idx="1004">
                  <c:v>45566</c:v>
                </c:pt>
                <c:pt idx="1005">
                  <c:v>45567</c:v>
                </c:pt>
                <c:pt idx="1006">
                  <c:v>45568</c:v>
                </c:pt>
                <c:pt idx="1007">
                  <c:v>45569</c:v>
                </c:pt>
                <c:pt idx="1008">
                  <c:v>45570</c:v>
                </c:pt>
                <c:pt idx="1009">
                  <c:v>45571</c:v>
                </c:pt>
                <c:pt idx="1010">
                  <c:v>45572</c:v>
                </c:pt>
                <c:pt idx="1011">
                  <c:v>45573</c:v>
                </c:pt>
                <c:pt idx="1012">
                  <c:v>45574</c:v>
                </c:pt>
                <c:pt idx="1013">
                  <c:v>45575</c:v>
                </c:pt>
                <c:pt idx="1014">
                  <c:v>45576</c:v>
                </c:pt>
                <c:pt idx="1015">
                  <c:v>45577</c:v>
                </c:pt>
                <c:pt idx="1016">
                  <c:v>45578</c:v>
                </c:pt>
                <c:pt idx="1017">
                  <c:v>45579</c:v>
                </c:pt>
                <c:pt idx="1018">
                  <c:v>45580</c:v>
                </c:pt>
                <c:pt idx="1019">
                  <c:v>45581</c:v>
                </c:pt>
                <c:pt idx="1020">
                  <c:v>45582</c:v>
                </c:pt>
                <c:pt idx="1021">
                  <c:v>45583</c:v>
                </c:pt>
                <c:pt idx="1022">
                  <c:v>45584</c:v>
                </c:pt>
                <c:pt idx="1023">
                  <c:v>45585</c:v>
                </c:pt>
                <c:pt idx="1024">
                  <c:v>45586</c:v>
                </c:pt>
                <c:pt idx="1025">
                  <c:v>45587</c:v>
                </c:pt>
                <c:pt idx="1026">
                  <c:v>45588</c:v>
                </c:pt>
                <c:pt idx="1027">
                  <c:v>45589</c:v>
                </c:pt>
                <c:pt idx="1028">
                  <c:v>45590</c:v>
                </c:pt>
                <c:pt idx="1029">
                  <c:v>45591</c:v>
                </c:pt>
                <c:pt idx="1030">
                  <c:v>45592</c:v>
                </c:pt>
                <c:pt idx="1031">
                  <c:v>45593</c:v>
                </c:pt>
                <c:pt idx="1032">
                  <c:v>45594</c:v>
                </c:pt>
                <c:pt idx="1033">
                  <c:v>45595</c:v>
                </c:pt>
                <c:pt idx="1034">
                  <c:v>45596</c:v>
                </c:pt>
                <c:pt idx="1035">
                  <c:v>45597</c:v>
                </c:pt>
                <c:pt idx="1036">
                  <c:v>45598</c:v>
                </c:pt>
                <c:pt idx="1037">
                  <c:v>45599</c:v>
                </c:pt>
                <c:pt idx="1038">
                  <c:v>45600</c:v>
                </c:pt>
                <c:pt idx="1039">
                  <c:v>45601</c:v>
                </c:pt>
                <c:pt idx="1040">
                  <c:v>45602</c:v>
                </c:pt>
                <c:pt idx="1041">
                  <c:v>45603</c:v>
                </c:pt>
                <c:pt idx="1042">
                  <c:v>45604</c:v>
                </c:pt>
                <c:pt idx="1043">
                  <c:v>45605</c:v>
                </c:pt>
                <c:pt idx="1044">
                  <c:v>45606</c:v>
                </c:pt>
                <c:pt idx="1045">
                  <c:v>45607</c:v>
                </c:pt>
                <c:pt idx="1046">
                  <c:v>45608</c:v>
                </c:pt>
                <c:pt idx="1047">
                  <c:v>45609</c:v>
                </c:pt>
                <c:pt idx="1048">
                  <c:v>45610</c:v>
                </c:pt>
                <c:pt idx="1049">
                  <c:v>45611</c:v>
                </c:pt>
                <c:pt idx="1050">
                  <c:v>45612</c:v>
                </c:pt>
                <c:pt idx="1051">
                  <c:v>45613</c:v>
                </c:pt>
                <c:pt idx="1052">
                  <c:v>45614</c:v>
                </c:pt>
                <c:pt idx="1053">
                  <c:v>45615</c:v>
                </c:pt>
                <c:pt idx="1054">
                  <c:v>45616</c:v>
                </c:pt>
                <c:pt idx="1055">
                  <c:v>45617</c:v>
                </c:pt>
                <c:pt idx="1056">
                  <c:v>45618</c:v>
                </c:pt>
                <c:pt idx="1057">
                  <c:v>45619</c:v>
                </c:pt>
                <c:pt idx="1058">
                  <c:v>45620</c:v>
                </c:pt>
                <c:pt idx="1059">
                  <c:v>45621</c:v>
                </c:pt>
                <c:pt idx="1060">
                  <c:v>45622</c:v>
                </c:pt>
                <c:pt idx="1061">
                  <c:v>45623</c:v>
                </c:pt>
                <c:pt idx="1062">
                  <c:v>45624</c:v>
                </c:pt>
                <c:pt idx="1063">
                  <c:v>45625</c:v>
                </c:pt>
                <c:pt idx="1064">
                  <c:v>45626</c:v>
                </c:pt>
                <c:pt idx="1065">
                  <c:v>45627</c:v>
                </c:pt>
                <c:pt idx="1066">
                  <c:v>45628</c:v>
                </c:pt>
                <c:pt idx="1067">
                  <c:v>45629</c:v>
                </c:pt>
                <c:pt idx="1068">
                  <c:v>45630</c:v>
                </c:pt>
                <c:pt idx="1069">
                  <c:v>45631</c:v>
                </c:pt>
                <c:pt idx="1070">
                  <c:v>45632</c:v>
                </c:pt>
                <c:pt idx="1071">
                  <c:v>45633</c:v>
                </c:pt>
                <c:pt idx="1072">
                  <c:v>45634</c:v>
                </c:pt>
                <c:pt idx="1073">
                  <c:v>45635</c:v>
                </c:pt>
                <c:pt idx="1074">
                  <c:v>45636</c:v>
                </c:pt>
                <c:pt idx="1075">
                  <c:v>45637</c:v>
                </c:pt>
                <c:pt idx="1076">
                  <c:v>45638</c:v>
                </c:pt>
                <c:pt idx="1077">
                  <c:v>45639</c:v>
                </c:pt>
                <c:pt idx="1078">
                  <c:v>45640</c:v>
                </c:pt>
                <c:pt idx="1079">
                  <c:v>45641</c:v>
                </c:pt>
                <c:pt idx="1080">
                  <c:v>45642</c:v>
                </c:pt>
                <c:pt idx="1081">
                  <c:v>45643</c:v>
                </c:pt>
                <c:pt idx="1082">
                  <c:v>45644</c:v>
                </c:pt>
                <c:pt idx="1083">
                  <c:v>45645</c:v>
                </c:pt>
                <c:pt idx="1084">
                  <c:v>45646</c:v>
                </c:pt>
                <c:pt idx="1085">
                  <c:v>45647</c:v>
                </c:pt>
                <c:pt idx="1086">
                  <c:v>45648</c:v>
                </c:pt>
                <c:pt idx="1087">
                  <c:v>45649</c:v>
                </c:pt>
                <c:pt idx="1088">
                  <c:v>45650</c:v>
                </c:pt>
                <c:pt idx="1089">
                  <c:v>45651</c:v>
                </c:pt>
                <c:pt idx="1090">
                  <c:v>45652</c:v>
                </c:pt>
                <c:pt idx="1091">
                  <c:v>45653</c:v>
                </c:pt>
                <c:pt idx="1092">
                  <c:v>45654</c:v>
                </c:pt>
                <c:pt idx="1093">
                  <c:v>45655</c:v>
                </c:pt>
                <c:pt idx="1094">
                  <c:v>45656</c:v>
                </c:pt>
                <c:pt idx="1095">
                  <c:v>45657</c:v>
                </c:pt>
                <c:pt idx="1096">
                  <c:v>45658</c:v>
                </c:pt>
                <c:pt idx="1097">
                  <c:v>45659</c:v>
                </c:pt>
                <c:pt idx="1098">
                  <c:v>45660</c:v>
                </c:pt>
                <c:pt idx="1099">
                  <c:v>45661</c:v>
                </c:pt>
                <c:pt idx="1100">
                  <c:v>45662</c:v>
                </c:pt>
                <c:pt idx="1101">
                  <c:v>45663</c:v>
                </c:pt>
                <c:pt idx="1102">
                  <c:v>45664</c:v>
                </c:pt>
                <c:pt idx="1103">
                  <c:v>45665</c:v>
                </c:pt>
                <c:pt idx="1104">
                  <c:v>45666</c:v>
                </c:pt>
                <c:pt idx="1105">
                  <c:v>45667</c:v>
                </c:pt>
                <c:pt idx="1106">
                  <c:v>45668</c:v>
                </c:pt>
                <c:pt idx="1107">
                  <c:v>45669</c:v>
                </c:pt>
                <c:pt idx="1108">
                  <c:v>45670</c:v>
                </c:pt>
                <c:pt idx="1109">
                  <c:v>45671</c:v>
                </c:pt>
                <c:pt idx="1110">
                  <c:v>45672</c:v>
                </c:pt>
                <c:pt idx="1111">
                  <c:v>45673</c:v>
                </c:pt>
                <c:pt idx="1112">
                  <c:v>45674</c:v>
                </c:pt>
                <c:pt idx="1113">
                  <c:v>45675</c:v>
                </c:pt>
                <c:pt idx="1114">
                  <c:v>45676</c:v>
                </c:pt>
                <c:pt idx="1115">
                  <c:v>45677</c:v>
                </c:pt>
                <c:pt idx="1116">
                  <c:v>45678</c:v>
                </c:pt>
                <c:pt idx="1117">
                  <c:v>45679</c:v>
                </c:pt>
                <c:pt idx="1118">
                  <c:v>45680</c:v>
                </c:pt>
                <c:pt idx="1119">
                  <c:v>45681</c:v>
                </c:pt>
                <c:pt idx="1120">
                  <c:v>45682</c:v>
                </c:pt>
                <c:pt idx="1121">
                  <c:v>45683</c:v>
                </c:pt>
                <c:pt idx="1122">
                  <c:v>45684</c:v>
                </c:pt>
                <c:pt idx="1123">
                  <c:v>45685</c:v>
                </c:pt>
                <c:pt idx="1124">
                  <c:v>45686</c:v>
                </c:pt>
                <c:pt idx="1125">
                  <c:v>45687</c:v>
                </c:pt>
                <c:pt idx="1126">
                  <c:v>45688</c:v>
                </c:pt>
                <c:pt idx="1127">
                  <c:v>45689</c:v>
                </c:pt>
                <c:pt idx="1128">
                  <c:v>45690</c:v>
                </c:pt>
                <c:pt idx="1129">
                  <c:v>45691</c:v>
                </c:pt>
                <c:pt idx="1130">
                  <c:v>45692</c:v>
                </c:pt>
                <c:pt idx="1131">
                  <c:v>45693</c:v>
                </c:pt>
                <c:pt idx="1132">
                  <c:v>45694</c:v>
                </c:pt>
                <c:pt idx="1133">
                  <c:v>45695</c:v>
                </c:pt>
                <c:pt idx="1134">
                  <c:v>45696</c:v>
                </c:pt>
                <c:pt idx="1135">
                  <c:v>45697</c:v>
                </c:pt>
                <c:pt idx="1136">
                  <c:v>45698</c:v>
                </c:pt>
                <c:pt idx="1137">
                  <c:v>45699</c:v>
                </c:pt>
                <c:pt idx="1138">
                  <c:v>45700</c:v>
                </c:pt>
                <c:pt idx="1139">
                  <c:v>45701</c:v>
                </c:pt>
                <c:pt idx="1140">
                  <c:v>45702</c:v>
                </c:pt>
                <c:pt idx="1141">
                  <c:v>45703</c:v>
                </c:pt>
                <c:pt idx="1142">
                  <c:v>45704</c:v>
                </c:pt>
                <c:pt idx="1143">
                  <c:v>45705</c:v>
                </c:pt>
                <c:pt idx="1144">
                  <c:v>45706</c:v>
                </c:pt>
                <c:pt idx="1145">
                  <c:v>45707</c:v>
                </c:pt>
                <c:pt idx="1146">
                  <c:v>45708</c:v>
                </c:pt>
                <c:pt idx="1147">
                  <c:v>45709</c:v>
                </c:pt>
                <c:pt idx="1148">
                  <c:v>45710</c:v>
                </c:pt>
                <c:pt idx="1149">
                  <c:v>45711</c:v>
                </c:pt>
                <c:pt idx="1150">
                  <c:v>45712</c:v>
                </c:pt>
                <c:pt idx="1151">
                  <c:v>45713</c:v>
                </c:pt>
                <c:pt idx="1152">
                  <c:v>45714</c:v>
                </c:pt>
                <c:pt idx="1153">
                  <c:v>45715</c:v>
                </c:pt>
                <c:pt idx="1154">
                  <c:v>45716</c:v>
                </c:pt>
                <c:pt idx="1155">
                  <c:v>45717</c:v>
                </c:pt>
                <c:pt idx="1156">
                  <c:v>45718</c:v>
                </c:pt>
                <c:pt idx="1157">
                  <c:v>45719</c:v>
                </c:pt>
                <c:pt idx="1158">
                  <c:v>45720</c:v>
                </c:pt>
                <c:pt idx="1159">
                  <c:v>45721</c:v>
                </c:pt>
                <c:pt idx="1160">
                  <c:v>45722</c:v>
                </c:pt>
                <c:pt idx="1161">
                  <c:v>45723</c:v>
                </c:pt>
                <c:pt idx="1162">
                  <c:v>45724</c:v>
                </c:pt>
                <c:pt idx="1163">
                  <c:v>45725</c:v>
                </c:pt>
                <c:pt idx="1164">
                  <c:v>45726</c:v>
                </c:pt>
                <c:pt idx="1165">
                  <c:v>45727</c:v>
                </c:pt>
                <c:pt idx="1166">
                  <c:v>45728</c:v>
                </c:pt>
                <c:pt idx="1167">
                  <c:v>45729</c:v>
                </c:pt>
                <c:pt idx="1168">
                  <c:v>45730</c:v>
                </c:pt>
                <c:pt idx="1169">
                  <c:v>45731</c:v>
                </c:pt>
                <c:pt idx="1170">
                  <c:v>45732</c:v>
                </c:pt>
                <c:pt idx="1171">
                  <c:v>45733</c:v>
                </c:pt>
                <c:pt idx="1172">
                  <c:v>45734</c:v>
                </c:pt>
                <c:pt idx="1173">
                  <c:v>45735</c:v>
                </c:pt>
                <c:pt idx="1174">
                  <c:v>45736</c:v>
                </c:pt>
                <c:pt idx="1175">
                  <c:v>45737</c:v>
                </c:pt>
                <c:pt idx="1176">
                  <c:v>45738</c:v>
                </c:pt>
                <c:pt idx="1177">
                  <c:v>45739</c:v>
                </c:pt>
                <c:pt idx="1178">
                  <c:v>45740</c:v>
                </c:pt>
                <c:pt idx="1179">
                  <c:v>45741</c:v>
                </c:pt>
                <c:pt idx="1180">
                  <c:v>45742</c:v>
                </c:pt>
                <c:pt idx="1181">
                  <c:v>45743</c:v>
                </c:pt>
                <c:pt idx="1182">
                  <c:v>45744</c:v>
                </c:pt>
                <c:pt idx="1183">
                  <c:v>45745</c:v>
                </c:pt>
                <c:pt idx="1184">
                  <c:v>45746</c:v>
                </c:pt>
                <c:pt idx="1185">
                  <c:v>45747</c:v>
                </c:pt>
                <c:pt idx="1186">
                  <c:v>45748</c:v>
                </c:pt>
                <c:pt idx="1187">
                  <c:v>45749</c:v>
                </c:pt>
                <c:pt idx="1188">
                  <c:v>45750</c:v>
                </c:pt>
                <c:pt idx="1189">
                  <c:v>45751</c:v>
                </c:pt>
                <c:pt idx="1190">
                  <c:v>45752</c:v>
                </c:pt>
                <c:pt idx="1191">
                  <c:v>45753</c:v>
                </c:pt>
                <c:pt idx="1192">
                  <c:v>45754</c:v>
                </c:pt>
                <c:pt idx="1193">
                  <c:v>45755</c:v>
                </c:pt>
                <c:pt idx="1194">
                  <c:v>45756</c:v>
                </c:pt>
                <c:pt idx="1195">
                  <c:v>45757</c:v>
                </c:pt>
                <c:pt idx="1196">
                  <c:v>45758</c:v>
                </c:pt>
                <c:pt idx="1197">
                  <c:v>45759</c:v>
                </c:pt>
                <c:pt idx="1198">
                  <c:v>45760</c:v>
                </c:pt>
                <c:pt idx="1199">
                  <c:v>45761</c:v>
                </c:pt>
                <c:pt idx="1200">
                  <c:v>45762</c:v>
                </c:pt>
                <c:pt idx="1201">
                  <c:v>45763</c:v>
                </c:pt>
                <c:pt idx="1202">
                  <c:v>45764</c:v>
                </c:pt>
                <c:pt idx="1203">
                  <c:v>45765</c:v>
                </c:pt>
                <c:pt idx="1204">
                  <c:v>45766</c:v>
                </c:pt>
                <c:pt idx="1205">
                  <c:v>45767</c:v>
                </c:pt>
                <c:pt idx="1206">
                  <c:v>45768</c:v>
                </c:pt>
                <c:pt idx="1207">
                  <c:v>45769</c:v>
                </c:pt>
                <c:pt idx="1208">
                  <c:v>45770</c:v>
                </c:pt>
                <c:pt idx="1209">
                  <c:v>45771</c:v>
                </c:pt>
                <c:pt idx="1210">
                  <c:v>45772</c:v>
                </c:pt>
                <c:pt idx="1211">
                  <c:v>45773</c:v>
                </c:pt>
                <c:pt idx="1212">
                  <c:v>45774</c:v>
                </c:pt>
                <c:pt idx="1213">
                  <c:v>45775</c:v>
                </c:pt>
                <c:pt idx="1214">
                  <c:v>45776</c:v>
                </c:pt>
                <c:pt idx="1215">
                  <c:v>45777</c:v>
                </c:pt>
                <c:pt idx="1216">
                  <c:v>45778</c:v>
                </c:pt>
                <c:pt idx="1217">
                  <c:v>45779</c:v>
                </c:pt>
                <c:pt idx="1218">
                  <c:v>45780</c:v>
                </c:pt>
                <c:pt idx="1219">
                  <c:v>45781</c:v>
                </c:pt>
                <c:pt idx="1220">
                  <c:v>45782</c:v>
                </c:pt>
                <c:pt idx="1221">
                  <c:v>45783</c:v>
                </c:pt>
                <c:pt idx="1222">
                  <c:v>45784</c:v>
                </c:pt>
                <c:pt idx="1223">
                  <c:v>45785</c:v>
                </c:pt>
                <c:pt idx="1224">
                  <c:v>45786</c:v>
                </c:pt>
                <c:pt idx="1225">
                  <c:v>45787</c:v>
                </c:pt>
                <c:pt idx="1226">
                  <c:v>45788</c:v>
                </c:pt>
                <c:pt idx="1227">
                  <c:v>45789</c:v>
                </c:pt>
                <c:pt idx="1228">
                  <c:v>45790</c:v>
                </c:pt>
                <c:pt idx="1229">
                  <c:v>45791</c:v>
                </c:pt>
                <c:pt idx="1230">
                  <c:v>45792</c:v>
                </c:pt>
                <c:pt idx="1231">
                  <c:v>45793</c:v>
                </c:pt>
                <c:pt idx="1232">
                  <c:v>45794</c:v>
                </c:pt>
                <c:pt idx="1233">
                  <c:v>45795</c:v>
                </c:pt>
                <c:pt idx="1234">
                  <c:v>45796</c:v>
                </c:pt>
                <c:pt idx="1235">
                  <c:v>45797</c:v>
                </c:pt>
                <c:pt idx="1236">
                  <c:v>45798</c:v>
                </c:pt>
                <c:pt idx="1237">
                  <c:v>45799</c:v>
                </c:pt>
                <c:pt idx="1238">
                  <c:v>45800</c:v>
                </c:pt>
                <c:pt idx="1239">
                  <c:v>45801</c:v>
                </c:pt>
                <c:pt idx="1240">
                  <c:v>45802</c:v>
                </c:pt>
                <c:pt idx="1241">
                  <c:v>45803</c:v>
                </c:pt>
                <c:pt idx="1242">
                  <c:v>45804</c:v>
                </c:pt>
                <c:pt idx="1243">
                  <c:v>45805</c:v>
                </c:pt>
                <c:pt idx="1244">
                  <c:v>45806</c:v>
                </c:pt>
                <c:pt idx="1245">
                  <c:v>45807</c:v>
                </c:pt>
                <c:pt idx="1246">
                  <c:v>45808</c:v>
                </c:pt>
              </c:numCache>
            </c:numRef>
          </c:cat>
          <c:val>
            <c:numRef>
              <c:f>FXHC!$Y$12:$Y$1258</c:f>
              <c:numCache>
                <c:formatCode>_(* #,##0.0_);_(* \(#,##0.0\);_(* "-"??_);_(@_)</c:formatCode>
                <c:ptCount val="1247"/>
                <c:pt idx="0" formatCode="General">
                  <c:v>100</c:v>
                </c:pt>
                <c:pt idx="1">
                  <c:v>100</c:v>
                </c:pt>
                <c:pt idx="2">
                  <c:v>99.760621091222774</c:v>
                </c:pt>
                <c:pt idx="3">
                  <c:v>99.68752693733299</c:v>
                </c:pt>
                <c:pt idx="4">
                  <c:v>99.830590774210933</c:v>
                </c:pt>
                <c:pt idx="5">
                  <c:v>99.752016215983076</c:v>
                </c:pt>
                <c:pt idx="6">
                  <c:v>100.06164761358842</c:v>
                </c:pt>
                <c:pt idx="7">
                  <c:v>100.06164761358842</c:v>
                </c:pt>
                <c:pt idx="8">
                  <c:v>100.06164761358842</c:v>
                </c:pt>
                <c:pt idx="9">
                  <c:v>99.753091744207353</c:v>
                </c:pt>
                <c:pt idx="10">
                  <c:v>100.12662200625532</c:v>
                </c:pt>
                <c:pt idx="11">
                  <c:v>100.43422566707916</c:v>
                </c:pt>
                <c:pt idx="12">
                  <c:v>100.44512963043381</c:v>
                </c:pt>
                <c:pt idx="13">
                  <c:v>100.23401443088987</c:v>
                </c:pt>
                <c:pt idx="14">
                  <c:v>100.23401443088987</c:v>
                </c:pt>
                <c:pt idx="15">
                  <c:v>100.23401443088987</c:v>
                </c:pt>
                <c:pt idx="16">
                  <c:v>100.34381405841582</c:v>
                </c:pt>
                <c:pt idx="17">
                  <c:v>99.709014096650407</c:v>
                </c:pt>
                <c:pt idx="18">
                  <c:v>99.825205006473865</c:v>
                </c:pt>
                <c:pt idx="19">
                  <c:v>99.566298253355001</c:v>
                </c:pt>
                <c:pt idx="20">
                  <c:v>99.71223796949937</c:v>
                </c:pt>
                <c:pt idx="21">
                  <c:v>99.71223796949937</c:v>
                </c:pt>
                <c:pt idx="22">
                  <c:v>99.71223796949937</c:v>
                </c:pt>
                <c:pt idx="23">
                  <c:v>99.564155268340443</c:v>
                </c:pt>
                <c:pt idx="24">
                  <c:v>99.512751288036043</c:v>
                </c:pt>
                <c:pt idx="25">
                  <c:v>99.090685145715284</c:v>
                </c:pt>
                <c:pt idx="26">
                  <c:v>98.450635282099299</c:v>
                </c:pt>
                <c:pt idx="27">
                  <c:v>98.198800615613223</c:v>
                </c:pt>
                <c:pt idx="28">
                  <c:v>98.198800615613223</c:v>
                </c:pt>
                <c:pt idx="29">
                  <c:v>98.198800615613223</c:v>
                </c:pt>
                <c:pt idx="30">
                  <c:v>98.308362554457531</c:v>
                </c:pt>
                <c:pt idx="31">
                  <c:v>98.690077443304247</c:v>
                </c:pt>
                <c:pt idx="32">
                  <c:v>98.919051844882333</c:v>
                </c:pt>
                <c:pt idx="33">
                  <c:v>99.690749420828595</c:v>
                </c:pt>
                <c:pt idx="34">
                  <c:v>99.526667957572215</c:v>
                </c:pt>
                <c:pt idx="35">
                  <c:v>99.526667957572215</c:v>
                </c:pt>
                <c:pt idx="36">
                  <c:v>99.526667957572215</c:v>
                </c:pt>
                <c:pt idx="37">
                  <c:v>99.293809564694754</c:v>
                </c:pt>
                <c:pt idx="38">
                  <c:v>99.200120089209122</c:v>
                </c:pt>
                <c:pt idx="39">
                  <c:v>99.317259591643918</c:v>
                </c:pt>
                <c:pt idx="40">
                  <c:v>99.375933146435486</c:v>
                </c:pt>
                <c:pt idx="41">
                  <c:v>98.865142124385514</c:v>
                </c:pt>
                <c:pt idx="42">
                  <c:v>98.865142124385514</c:v>
                </c:pt>
                <c:pt idx="43">
                  <c:v>98.865142124385514</c:v>
                </c:pt>
                <c:pt idx="44">
                  <c:v>98.575462149059689</c:v>
                </c:pt>
                <c:pt idx="45">
                  <c:v>98.810235816814725</c:v>
                </c:pt>
                <c:pt idx="46">
                  <c:v>98.861972794204064</c:v>
                </c:pt>
                <c:pt idx="47">
                  <c:v>98.636416942972573</c:v>
                </c:pt>
                <c:pt idx="48">
                  <c:v>97.9824830814526</c:v>
                </c:pt>
                <c:pt idx="49">
                  <c:v>97.9824830814526</c:v>
                </c:pt>
                <c:pt idx="50">
                  <c:v>97.9824830814526</c:v>
                </c:pt>
                <c:pt idx="51">
                  <c:v>97.795019238087178</c:v>
                </c:pt>
                <c:pt idx="52">
                  <c:v>98.005317740278159</c:v>
                </c:pt>
                <c:pt idx="53">
                  <c:v>97.964845404489594</c:v>
                </c:pt>
                <c:pt idx="54">
                  <c:v>97.559895393959835</c:v>
                </c:pt>
                <c:pt idx="55">
                  <c:v>97.7547203702334</c:v>
                </c:pt>
                <c:pt idx="56">
                  <c:v>97.7547203702334</c:v>
                </c:pt>
                <c:pt idx="57">
                  <c:v>97.7547203702334</c:v>
                </c:pt>
                <c:pt idx="58">
                  <c:v>96.853146853146853</c:v>
                </c:pt>
                <c:pt idx="59">
                  <c:v>96.473409801876954</c:v>
                </c:pt>
                <c:pt idx="60">
                  <c:v>96.376932372182168</c:v>
                </c:pt>
                <c:pt idx="61">
                  <c:v>96.024826669987959</c:v>
                </c:pt>
                <c:pt idx="62">
                  <c:v>94.923357888904846</c:v>
                </c:pt>
                <c:pt idx="63">
                  <c:v>94.923357888904846</c:v>
                </c:pt>
                <c:pt idx="64">
                  <c:v>94.923357888904846</c:v>
                </c:pt>
                <c:pt idx="65">
                  <c:v>93.451581297158626</c:v>
                </c:pt>
                <c:pt idx="66">
                  <c:v>92.721059119471647</c:v>
                </c:pt>
                <c:pt idx="67">
                  <c:v>93.772678437493667</c:v>
                </c:pt>
                <c:pt idx="68">
                  <c:v>94.071114093686774</c:v>
                </c:pt>
                <c:pt idx="69">
                  <c:v>94.844536479850731</c:v>
                </c:pt>
                <c:pt idx="70">
                  <c:v>94.844536479850731</c:v>
                </c:pt>
                <c:pt idx="71">
                  <c:v>94.844536479850731</c:v>
                </c:pt>
                <c:pt idx="72">
                  <c:v>95.239957999629411</c:v>
                </c:pt>
                <c:pt idx="73">
                  <c:v>94.563406482210212</c:v>
                </c:pt>
                <c:pt idx="74">
                  <c:v>94.519932163216936</c:v>
                </c:pt>
                <c:pt idx="75">
                  <c:v>94.68534760671777</c:v>
                </c:pt>
                <c:pt idx="76">
                  <c:v>94.652411888076131</c:v>
                </c:pt>
                <c:pt idx="77">
                  <c:v>94.652411888076131</c:v>
                </c:pt>
                <c:pt idx="78">
                  <c:v>94.652411888076131</c:v>
                </c:pt>
                <c:pt idx="79">
                  <c:v>94.861068389213585</c:v>
                </c:pt>
                <c:pt idx="80">
                  <c:v>95.180189911834006</c:v>
                </c:pt>
                <c:pt idx="81">
                  <c:v>95.48273904742247</c:v>
                </c:pt>
                <c:pt idx="82">
                  <c:v>95.242899350415399</c:v>
                </c:pt>
                <c:pt idx="83">
                  <c:v>95.40200253668398</c:v>
                </c:pt>
                <c:pt idx="84">
                  <c:v>95.40200253668398</c:v>
                </c:pt>
                <c:pt idx="85">
                  <c:v>95.40200253668398</c:v>
                </c:pt>
                <c:pt idx="86">
                  <c:v>95.437431014740937</c:v>
                </c:pt>
                <c:pt idx="87">
                  <c:v>95.58335830070358</c:v>
                </c:pt>
                <c:pt idx="88">
                  <c:v>95.928249261236971</c:v>
                </c:pt>
                <c:pt idx="89">
                  <c:v>95.507381026117486</c:v>
                </c:pt>
                <c:pt idx="90">
                  <c:v>95.197818593404321</c:v>
                </c:pt>
                <c:pt idx="91">
                  <c:v>95.197818593404321</c:v>
                </c:pt>
                <c:pt idx="92">
                  <c:v>95.197818593404321</c:v>
                </c:pt>
                <c:pt idx="93">
                  <c:v>94.847453456901491</c:v>
                </c:pt>
                <c:pt idx="94">
                  <c:v>95.047206155805995</c:v>
                </c:pt>
                <c:pt idx="95">
                  <c:v>95.049159107019918</c:v>
                </c:pt>
                <c:pt idx="96">
                  <c:v>94.807603627606682</c:v>
                </c:pt>
                <c:pt idx="97">
                  <c:v>94.82120712096831</c:v>
                </c:pt>
                <c:pt idx="98">
                  <c:v>94.82120712096831</c:v>
                </c:pt>
                <c:pt idx="99">
                  <c:v>94.82120712096831</c:v>
                </c:pt>
                <c:pt idx="100">
                  <c:v>94.463957525015303</c:v>
                </c:pt>
                <c:pt idx="101">
                  <c:v>94.134285685215133</c:v>
                </c:pt>
                <c:pt idx="102">
                  <c:v>94.541181279378691</c:v>
                </c:pt>
                <c:pt idx="103">
                  <c:v>94.332966271055085</c:v>
                </c:pt>
                <c:pt idx="104">
                  <c:v>94.220565620767246</c:v>
                </c:pt>
                <c:pt idx="105">
                  <c:v>94.220565620767246</c:v>
                </c:pt>
                <c:pt idx="106">
                  <c:v>94.220565620767246</c:v>
                </c:pt>
                <c:pt idx="107">
                  <c:v>93.897352102384005</c:v>
                </c:pt>
                <c:pt idx="108">
                  <c:v>94.089291162412252</c:v>
                </c:pt>
                <c:pt idx="109">
                  <c:v>94.435995059661693</c:v>
                </c:pt>
                <c:pt idx="110">
                  <c:v>94.357018286401953</c:v>
                </c:pt>
                <c:pt idx="111">
                  <c:v>93.928810737273821</c:v>
                </c:pt>
                <c:pt idx="112">
                  <c:v>93.928810737273821</c:v>
                </c:pt>
                <c:pt idx="113">
                  <c:v>93.928810737273821</c:v>
                </c:pt>
                <c:pt idx="114">
                  <c:v>93.24343391586541</c:v>
                </c:pt>
                <c:pt idx="115">
                  <c:v>93.220885476492739</c:v>
                </c:pt>
                <c:pt idx="116">
                  <c:v>92.704335714786694</c:v>
                </c:pt>
                <c:pt idx="117">
                  <c:v>92.385888179902722</c:v>
                </c:pt>
                <c:pt idx="118">
                  <c:v>92.626372856241787</c:v>
                </c:pt>
                <c:pt idx="119">
                  <c:v>92.626372856241787</c:v>
                </c:pt>
                <c:pt idx="120">
                  <c:v>92.626372856241787</c:v>
                </c:pt>
                <c:pt idx="121">
                  <c:v>92.438502887516734</c:v>
                </c:pt>
                <c:pt idx="122">
                  <c:v>92.515224543263699</c:v>
                </c:pt>
                <c:pt idx="123">
                  <c:v>92.991325848569218</c:v>
                </c:pt>
                <c:pt idx="124">
                  <c:v>92.48563002948967</c:v>
                </c:pt>
                <c:pt idx="125">
                  <c:v>92.40803443901757</c:v>
                </c:pt>
                <c:pt idx="126">
                  <c:v>92.40803443901757</c:v>
                </c:pt>
                <c:pt idx="127">
                  <c:v>92.40803443901757</c:v>
                </c:pt>
                <c:pt idx="128">
                  <c:v>92.269794253458215</c:v>
                </c:pt>
                <c:pt idx="129">
                  <c:v>92.137472239650251</c:v>
                </c:pt>
                <c:pt idx="130">
                  <c:v>91.975345461775532</c:v>
                </c:pt>
                <c:pt idx="131">
                  <c:v>91.210047912928601</c:v>
                </c:pt>
                <c:pt idx="132">
                  <c:v>91.428176140406364</c:v>
                </c:pt>
                <c:pt idx="133">
                  <c:v>91.428176140406364</c:v>
                </c:pt>
                <c:pt idx="134">
                  <c:v>91.428176140406364</c:v>
                </c:pt>
                <c:pt idx="135">
                  <c:v>91.769163624821445</c:v>
                </c:pt>
                <c:pt idx="136">
                  <c:v>92.318591841622094</c:v>
                </c:pt>
                <c:pt idx="137">
                  <c:v>91.770984188703949</c:v>
                </c:pt>
                <c:pt idx="138">
                  <c:v>92.326883351462456</c:v>
                </c:pt>
                <c:pt idx="139">
                  <c:v>92.307538811509744</c:v>
                </c:pt>
                <c:pt idx="140">
                  <c:v>92.307538811509744</c:v>
                </c:pt>
                <c:pt idx="141">
                  <c:v>92.307538811509744</c:v>
                </c:pt>
                <c:pt idx="142">
                  <c:v>92.902616833691454</c:v>
                </c:pt>
                <c:pt idx="143">
                  <c:v>93.049311569059313</c:v>
                </c:pt>
                <c:pt idx="144">
                  <c:v>93.168314837566214</c:v>
                </c:pt>
                <c:pt idx="145">
                  <c:v>93.445917965396376</c:v>
                </c:pt>
                <c:pt idx="146">
                  <c:v>93.461021709044246</c:v>
                </c:pt>
                <c:pt idx="147">
                  <c:v>93.461021709044246</c:v>
                </c:pt>
                <c:pt idx="148">
                  <c:v>93.461021709044246</c:v>
                </c:pt>
                <c:pt idx="149">
                  <c:v>93.757473803684704</c:v>
                </c:pt>
                <c:pt idx="150">
                  <c:v>93.79549463695534</c:v>
                </c:pt>
                <c:pt idx="151">
                  <c:v>93.608539485000264</c:v>
                </c:pt>
                <c:pt idx="152">
                  <c:v>94.137159137159145</c:v>
                </c:pt>
                <c:pt idx="153">
                  <c:v>93.824981999249559</c:v>
                </c:pt>
                <c:pt idx="154">
                  <c:v>93.824981999249559</c:v>
                </c:pt>
                <c:pt idx="155">
                  <c:v>93.824981999249559</c:v>
                </c:pt>
                <c:pt idx="156">
                  <c:v>93.741324281878519</c:v>
                </c:pt>
                <c:pt idx="157">
                  <c:v>94.100775036107351</c:v>
                </c:pt>
                <c:pt idx="158">
                  <c:v>94.163986483735712</c:v>
                </c:pt>
                <c:pt idx="159">
                  <c:v>93.541342284593483</c:v>
                </c:pt>
                <c:pt idx="160">
                  <c:v>92.906348536884195</c:v>
                </c:pt>
                <c:pt idx="161">
                  <c:v>92.906348536884195</c:v>
                </c:pt>
                <c:pt idx="162">
                  <c:v>92.906348536884195</c:v>
                </c:pt>
                <c:pt idx="163">
                  <c:v>92.250473626483213</c:v>
                </c:pt>
                <c:pt idx="164">
                  <c:v>91.91686371132792</c:v>
                </c:pt>
                <c:pt idx="165">
                  <c:v>91.293750801748558</c:v>
                </c:pt>
                <c:pt idx="166">
                  <c:v>91.862104573346301</c:v>
                </c:pt>
                <c:pt idx="167">
                  <c:v>91.680952900022788</c:v>
                </c:pt>
                <c:pt idx="168">
                  <c:v>91.680952900022788</c:v>
                </c:pt>
                <c:pt idx="169">
                  <c:v>91.680952900022788</c:v>
                </c:pt>
                <c:pt idx="170">
                  <c:v>91.954320018287888</c:v>
                </c:pt>
                <c:pt idx="171">
                  <c:v>92.292805554447142</c:v>
                </c:pt>
                <c:pt idx="172">
                  <c:v>92.297409192031068</c:v>
                </c:pt>
                <c:pt idx="173">
                  <c:v>92.154909655955535</c:v>
                </c:pt>
                <c:pt idx="174">
                  <c:v>92.312143919060503</c:v>
                </c:pt>
                <c:pt idx="175">
                  <c:v>92.312143919060503</c:v>
                </c:pt>
                <c:pt idx="176">
                  <c:v>92.312143919060503</c:v>
                </c:pt>
                <c:pt idx="177">
                  <c:v>92.060459516204475</c:v>
                </c:pt>
                <c:pt idx="178">
                  <c:v>91.792836590931657</c:v>
                </c:pt>
                <c:pt idx="179">
                  <c:v>91.085229342443398</c:v>
                </c:pt>
                <c:pt idx="180">
                  <c:v>91.826546107808213</c:v>
                </c:pt>
                <c:pt idx="181">
                  <c:v>92.046720789557483</c:v>
                </c:pt>
                <c:pt idx="182">
                  <c:v>92.046720789557483</c:v>
                </c:pt>
                <c:pt idx="183">
                  <c:v>92.046720789557483</c:v>
                </c:pt>
                <c:pt idx="184">
                  <c:v>92.23116108901317</c:v>
                </c:pt>
                <c:pt idx="185">
                  <c:v>91.344226687071142</c:v>
                </c:pt>
                <c:pt idx="186">
                  <c:v>90.924994103310013</c:v>
                </c:pt>
                <c:pt idx="187">
                  <c:v>91.101373639899563</c:v>
                </c:pt>
                <c:pt idx="188">
                  <c:v>91.021604816811603</c:v>
                </c:pt>
                <c:pt idx="189">
                  <c:v>91.021604816811603</c:v>
                </c:pt>
                <c:pt idx="190">
                  <c:v>91.021604816811603</c:v>
                </c:pt>
                <c:pt idx="191">
                  <c:v>90.49011648947095</c:v>
                </c:pt>
                <c:pt idx="192">
                  <c:v>90.10937636963952</c:v>
                </c:pt>
                <c:pt idx="193">
                  <c:v>90.138347622759142</c:v>
                </c:pt>
                <c:pt idx="194">
                  <c:v>89.125869410246025</c:v>
                </c:pt>
                <c:pt idx="195">
                  <c:v>88.791423937349421</c:v>
                </c:pt>
                <c:pt idx="196">
                  <c:v>88.791423937349421</c:v>
                </c:pt>
                <c:pt idx="197">
                  <c:v>88.791423937349421</c:v>
                </c:pt>
                <c:pt idx="198">
                  <c:v>88.018494558185537</c:v>
                </c:pt>
                <c:pt idx="199">
                  <c:v>89.657912588429099</c:v>
                </c:pt>
                <c:pt idx="200">
                  <c:v>90.287889138284385</c:v>
                </c:pt>
                <c:pt idx="201">
                  <c:v>90.913378863066853</c:v>
                </c:pt>
                <c:pt idx="202">
                  <c:v>90.514019605924815</c:v>
                </c:pt>
                <c:pt idx="203">
                  <c:v>90.514019605924815</c:v>
                </c:pt>
                <c:pt idx="204">
                  <c:v>90.514019605924815</c:v>
                </c:pt>
                <c:pt idx="205">
                  <c:v>90.55831799851218</c:v>
                </c:pt>
                <c:pt idx="206">
                  <c:v>90.047983804249412</c:v>
                </c:pt>
                <c:pt idx="207">
                  <c:v>90.179641885898647</c:v>
                </c:pt>
                <c:pt idx="208">
                  <c:v>89.819812822802987</c:v>
                </c:pt>
                <c:pt idx="209">
                  <c:v>89.875655721779651</c:v>
                </c:pt>
                <c:pt idx="210">
                  <c:v>89.875655721779651</c:v>
                </c:pt>
                <c:pt idx="211">
                  <c:v>89.875655721779651</c:v>
                </c:pt>
                <c:pt idx="212">
                  <c:v>89.917583485596538</c:v>
                </c:pt>
                <c:pt idx="213">
                  <c:v>89.646618799841079</c:v>
                </c:pt>
                <c:pt idx="214">
                  <c:v>89.647487451793552</c:v>
                </c:pt>
                <c:pt idx="215">
                  <c:v>89.964799004259106</c:v>
                </c:pt>
                <c:pt idx="216">
                  <c:v>89.570243293220088</c:v>
                </c:pt>
                <c:pt idx="217">
                  <c:v>89.570243293220088</c:v>
                </c:pt>
                <c:pt idx="218">
                  <c:v>89.570243293220088</c:v>
                </c:pt>
                <c:pt idx="219">
                  <c:v>90.005058759436494</c:v>
                </c:pt>
                <c:pt idx="220">
                  <c:v>90.14537376256915</c:v>
                </c:pt>
                <c:pt idx="221">
                  <c:v>90.353138794484124</c:v>
                </c:pt>
                <c:pt idx="222">
                  <c:v>90.258821693023592</c:v>
                </c:pt>
                <c:pt idx="223">
                  <c:v>89.62924929521516</c:v>
                </c:pt>
                <c:pt idx="224">
                  <c:v>89.62924929521516</c:v>
                </c:pt>
                <c:pt idx="225">
                  <c:v>89.62924929521516</c:v>
                </c:pt>
                <c:pt idx="226">
                  <c:v>88.389334199539462</c:v>
                </c:pt>
                <c:pt idx="227">
                  <c:v>88.73947322987199</c:v>
                </c:pt>
                <c:pt idx="228">
                  <c:v>88.928832327271266</c:v>
                </c:pt>
                <c:pt idx="229">
                  <c:v>89.282405620319579</c:v>
                </c:pt>
                <c:pt idx="230">
                  <c:v>88.915157805712468</c:v>
                </c:pt>
                <c:pt idx="231">
                  <c:v>88.915157805712468</c:v>
                </c:pt>
                <c:pt idx="232">
                  <c:v>88.915157805712468</c:v>
                </c:pt>
                <c:pt idx="233">
                  <c:v>88.008447167154941</c:v>
                </c:pt>
                <c:pt idx="234">
                  <c:v>87.954063637832817</c:v>
                </c:pt>
                <c:pt idx="235">
                  <c:v>87.728048549212957</c:v>
                </c:pt>
                <c:pt idx="236">
                  <c:v>87.741360342930832</c:v>
                </c:pt>
                <c:pt idx="237">
                  <c:v>87.415554106786843</c:v>
                </c:pt>
                <c:pt idx="238">
                  <c:v>87.415554106786843</c:v>
                </c:pt>
                <c:pt idx="239">
                  <c:v>87.415554106786843</c:v>
                </c:pt>
                <c:pt idx="240">
                  <c:v>87.575252735602589</c:v>
                </c:pt>
                <c:pt idx="241">
                  <c:v>87.658227848101276</c:v>
                </c:pt>
                <c:pt idx="242">
                  <c:v>87.662380731293652</c:v>
                </c:pt>
                <c:pt idx="243">
                  <c:v>87.164364718961394</c:v>
                </c:pt>
                <c:pt idx="244">
                  <c:v>87.36025079317119</c:v>
                </c:pt>
                <c:pt idx="245">
                  <c:v>87.36025079317119</c:v>
                </c:pt>
                <c:pt idx="246">
                  <c:v>87.36025079317119</c:v>
                </c:pt>
                <c:pt idx="247">
                  <c:v>87.016798028630035</c:v>
                </c:pt>
                <c:pt idx="248">
                  <c:v>86.833855799373055</c:v>
                </c:pt>
                <c:pt idx="249">
                  <c:v>87.330564470454988</c:v>
                </c:pt>
                <c:pt idx="250">
                  <c:v>86.437146727705908</c:v>
                </c:pt>
                <c:pt idx="251">
                  <c:v>86.024844720496915</c:v>
                </c:pt>
                <c:pt idx="252">
                  <c:v>86.024844720496915</c:v>
                </c:pt>
                <c:pt idx="253">
                  <c:v>86.024844720496915</c:v>
                </c:pt>
                <c:pt idx="254">
                  <c:v>86.5349720335971</c:v>
                </c:pt>
                <c:pt idx="255">
                  <c:v>85.743412943346215</c:v>
                </c:pt>
                <c:pt idx="256">
                  <c:v>85.829321013423893</c:v>
                </c:pt>
                <c:pt idx="257">
                  <c:v>85.769644380168373</c:v>
                </c:pt>
                <c:pt idx="258">
                  <c:v>85.946528435798825</c:v>
                </c:pt>
                <c:pt idx="259">
                  <c:v>85.946528435798825</c:v>
                </c:pt>
                <c:pt idx="260">
                  <c:v>85.946528435798825</c:v>
                </c:pt>
                <c:pt idx="261">
                  <c:v>87.094618129100894</c:v>
                </c:pt>
                <c:pt idx="262">
                  <c:v>86.777657928058915</c:v>
                </c:pt>
                <c:pt idx="263">
                  <c:v>85.807032025301211</c:v>
                </c:pt>
                <c:pt idx="264">
                  <c:v>85.84445227977065</c:v>
                </c:pt>
                <c:pt idx="265">
                  <c:v>85.125685473482775</c:v>
                </c:pt>
                <c:pt idx="266">
                  <c:v>85.125685473482775</c:v>
                </c:pt>
                <c:pt idx="267">
                  <c:v>85.125685473482775</c:v>
                </c:pt>
                <c:pt idx="268">
                  <c:v>84.362661511667156</c:v>
                </c:pt>
                <c:pt idx="269">
                  <c:v>83.754741406624845</c:v>
                </c:pt>
                <c:pt idx="270">
                  <c:v>83.819239341173073</c:v>
                </c:pt>
                <c:pt idx="271">
                  <c:v>84.207556271559781</c:v>
                </c:pt>
                <c:pt idx="272">
                  <c:v>84.462784264677722</c:v>
                </c:pt>
                <c:pt idx="273">
                  <c:v>84.462784264677722</c:v>
                </c:pt>
                <c:pt idx="274">
                  <c:v>84.462784264677722</c:v>
                </c:pt>
                <c:pt idx="275">
                  <c:v>84.343434343434367</c:v>
                </c:pt>
                <c:pt idx="276">
                  <c:v>85.138219162955096</c:v>
                </c:pt>
                <c:pt idx="277">
                  <c:v>84.733530548508554</c:v>
                </c:pt>
                <c:pt idx="278">
                  <c:v>84.38805480051812</c:v>
                </c:pt>
                <c:pt idx="279">
                  <c:v>84.255869442471294</c:v>
                </c:pt>
                <c:pt idx="280">
                  <c:v>84.255869442471294</c:v>
                </c:pt>
                <c:pt idx="281">
                  <c:v>84.255869442471294</c:v>
                </c:pt>
                <c:pt idx="282">
                  <c:v>84.255869442471294</c:v>
                </c:pt>
                <c:pt idx="283">
                  <c:v>84.220587699814317</c:v>
                </c:pt>
                <c:pt idx="284">
                  <c:v>83.898289714710657</c:v>
                </c:pt>
                <c:pt idx="285">
                  <c:v>84.157001864738291</c:v>
                </c:pt>
                <c:pt idx="286">
                  <c:v>83.864066933166569</c:v>
                </c:pt>
                <c:pt idx="287">
                  <c:v>83.864066933166569</c:v>
                </c:pt>
                <c:pt idx="288">
                  <c:v>83.864066933166569</c:v>
                </c:pt>
                <c:pt idx="289">
                  <c:v>84.307310983333196</c:v>
                </c:pt>
                <c:pt idx="290">
                  <c:v>84.327290293766495</c:v>
                </c:pt>
                <c:pt idx="291">
                  <c:v>83.950818928360817</c:v>
                </c:pt>
                <c:pt idx="292">
                  <c:v>84.052256704702415</c:v>
                </c:pt>
                <c:pt idx="293">
                  <c:v>84.344972194365994</c:v>
                </c:pt>
                <c:pt idx="294">
                  <c:v>84.344972194365994</c:v>
                </c:pt>
                <c:pt idx="295">
                  <c:v>84.344972194365994</c:v>
                </c:pt>
                <c:pt idx="296">
                  <c:v>84.547689327131366</c:v>
                </c:pt>
                <c:pt idx="297">
                  <c:v>84.875005733681974</c:v>
                </c:pt>
                <c:pt idx="298">
                  <c:v>85.486717486717509</c:v>
                </c:pt>
                <c:pt idx="299">
                  <c:v>85.110023550191357</c:v>
                </c:pt>
                <c:pt idx="300">
                  <c:v>84.897592130377348</c:v>
                </c:pt>
                <c:pt idx="301">
                  <c:v>84.897592130377348</c:v>
                </c:pt>
                <c:pt idx="302">
                  <c:v>84.897592130377348</c:v>
                </c:pt>
                <c:pt idx="303">
                  <c:v>84.445052939028855</c:v>
                </c:pt>
                <c:pt idx="304">
                  <c:v>84.463555360794629</c:v>
                </c:pt>
                <c:pt idx="305">
                  <c:v>84.143224832428402</c:v>
                </c:pt>
                <c:pt idx="306">
                  <c:v>83.770666956411517</c:v>
                </c:pt>
                <c:pt idx="307">
                  <c:v>84.628120340641971</c:v>
                </c:pt>
                <c:pt idx="308">
                  <c:v>84.628120340641971</c:v>
                </c:pt>
                <c:pt idx="309">
                  <c:v>84.628120340641971</c:v>
                </c:pt>
                <c:pt idx="310">
                  <c:v>84.861771018693489</c:v>
                </c:pt>
                <c:pt idx="311">
                  <c:v>85.055252174232834</c:v>
                </c:pt>
                <c:pt idx="312">
                  <c:v>84.843871796047523</c:v>
                </c:pt>
                <c:pt idx="313">
                  <c:v>85.71719754664889</c:v>
                </c:pt>
                <c:pt idx="314">
                  <c:v>86.456532506004081</c:v>
                </c:pt>
                <c:pt idx="315">
                  <c:v>86.456532506004081</c:v>
                </c:pt>
                <c:pt idx="316">
                  <c:v>86.456532506004081</c:v>
                </c:pt>
                <c:pt idx="317">
                  <c:v>86.266282506736815</c:v>
                </c:pt>
                <c:pt idx="318">
                  <c:v>86.559260506717592</c:v>
                </c:pt>
                <c:pt idx="319">
                  <c:v>86.560880223049736</c:v>
                </c:pt>
                <c:pt idx="320">
                  <c:v>86.344377041530592</c:v>
                </c:pt>
                <c:pt idx="321">
                  <c:v>86.399208083524812</c:v>
                </c:pt>
                <c:pt idx="322">
                  <c:v>86.399208083524812</c:v>
                </c:pt>
                <c:pt idx="323">
                  <c:v>86.399208083524812</c:v>
                </c:pt>
                <c:pt idx="324">
                  <c:v>85.826932353705189</c:v>
                </c:pt>
                <c:pt idx="325">
                  <c:v>86.108913563470892</c:v>
                </c:pt>
                <c:pt idx="326">
                  <c:v>86.567359694593648</c:v>
                </c:pt>
                <c:pt idx="327">
                  <c:v>86.646000543188165</c:v>
                </c:pt>
                <c:pt idx="328">
                  <c:v>86.5625</c:v>
                </c:pt>
                <c:pt idx="329">
                  <c:v>86.5625</c:v>
                </c:pt>
                <c:pt idx="330">
                  <c:v>86.5625</c:v>
                </c:pt>
                <c:pt idx="331">
                  <c:v>86.832225851259537</c:v>
                </c:pt>
                <c:pt idx="332">
                  <c:v>86.296859405460353</c:v>
                </c:pt>
                <c:pt idx="333">
                  <c:v>86.684968471549425</c:v>
                </c:pt>
                <c:pt idx="334">
                  <c:v>87.368500576047737</c:v>
                </c:pt>
                <c:pt idx="335">
                  <c:v>87.711414486158503</c:v>
                </c:pt>
                <c:pt idx="336">
                  <c:v>87.711414486158503</c:v>
                </c:pt>
                <c:pt idx="337">
                  <c:v>87.711414486158503</c:v>
                </c:pt>
                <c:pt idx="338">
                  <c:v>87.444471749116261</c:v>
                </c:pt>
                <c:pt idx="339">
                  <c:v>87.38830641352601</c:v>
                </c:pt>
                <c:pt idx="340">
                  <c:v>87.484161355598829</c:v>
                </c:pt>
                <c:pt idx="341">
                  <c:v>87.75467617710666</c:v>
                </c:pt>
                <c:pt idx="342">
                  <c:v>87.678165276724798</c:v>
                </c:pt>
                <c:pt idx="343">
                  <c:v>87.678165276724798</c:v>
                </c:pt>
                <c:pt idx="344">
                  <c:v>87.678165276724798</c:v>
                </c:pt>
                <c:pt idx="345">
                  <c:v>87.795481073079074</c:v>
                </c:pt>
                <c:pt idx="346">
                  <c:v>88.141761539560804</c:v>
                </c:pt>
                <c:pt idx="347">
                  <c:v>88.544986457645436</c:v>
                </c:pt>
                <c:pt idx="348">
                  <c:v>88.386800924775969</c:v>
                </c:pt>
                <c:pt idx="349">
                  <c:v>88.104829109885813</c:v>
                </c:pt>
                <c:pt idx="350">
                  <c:v>88.104829109885813</c:v>
                </c:pt>
                <c:pt idx="351">
                  <c:v>88.104829109885813</c:v>
                </c:pt>
                <c:pt idx="352">
                  <c:v>88.114059315415517</c:v>
                </c:pt>
                <c:pt idx="353">
                  <c:v>88.082181347347571</c:v>
                </c:pt>
                <c:pt idx="354">
                  <c:v>87.956572167398704</c:v>
                </c:pt>
                <c:pt idx="355">
                  <c:v>88.008447167154969</c:v>
                </c:pt>
                <c:pt idx="356">
                  <c:v>88.088890581559184</c:v>
                </c:pt>
                <c:pt idx="357">
                  <c:v>88.088890581559184</c:v>
                </c:pt>
                <c:pt idx="358">
                  <c:v>88.088890581559184</c:v>
                </c:pt>
                <c:pt idx="359">
                  <c:v>88.145960365853639</c:v>
                </c:pt>
                <c:pt idx="360">
                  <c:v>88.519570978883792</c:v>
                </c:pt>
                <c:pt idx="361">
                  <c:v>88.225814141992075</c:v>
                </c:pt>
                <c:pt idx="362">
                  <c:v>88.408760798104097</c:v>
                </c:pt>
                <c:pt idx="363">
                  <c:v>88.630659283811994</c:v>
                </c:pt>
                <c:pt idx="364">
                  <c:v>88.630659283811994</c:v>
                </c:pt>
                <c:pt idx="365">
                  <c:v>88.630659283811994</c:v>
                </c:pt>
                <c:pt idx="366">
                  <c:v>88.543291638354276</c:v>
                </c:pt>
                <c:pt idx="367">
                  <c:v>88.098117447651333</c:v>
                </c:pt>
                <c:pt idx="368">
                  <c:v>88.606043193027816</c:v>
                </c:pt>
                <c:pt idx="369">
                  <c:v>88.725005993766459</c:v>
                </c:pt>
                <c:pt idx="370">
                  <c:v>89.604075465850499</c:v>
                </c:pt>
                <c:pt idx="371">
                  <c:v>89.604075465850499</c:v>
                </c:pt>
                <c:pt idx="372">
                  <c:v>89.604075465850499</c:v>
                </c:pt>
                <c:pt idx="373">
                  <c:v>90.426436523217944</c:v>
                </c:pt>
                <c:pt idx="374">
                  <c:v>90.518447494838952</c:v>
                </c:pt>
                <c:pt idx="375">
                  <c:v>90.638164468914667</c:v>
                </c:pt>
                <c:pt idx="376">
                  <c:v>91.50503921588016</c:v>
                </c:pt>
                <c:pt idx="377">
                  <c:v>91.741863831981391</c:v>
                </c:pt>
                <c:pt idx="378">
                  <c:v>91.741863831981391</c:v>
                </c:pt>
                <c:pt idx="379">
                  <c:v>91.741863831981391</c:v>
                </c:pt>
                <c:pt idx="380">
                  <c:v>91.258630893667345</c:v>
                </c:pt>
                <c:pt idx="381">
                  <c:v>90.845533724138562</c:v>
                </c:pt>
                <c:pt idx="382">
                  <c:v>90.806301221965924</c:v>
                </c:pt>
                <c:pt idx="383">
                  <c:v>90.9893784421715</c:v>
                </c:pt>
                <c:pt idx="384">
                  <c:v>90.675474360984765</c:v>
                </c:pt>
                <c:pt idx="385">
                  <c:v>90.675474360984765</c:v>
                </c:pt>
                <c:pt idx="386">
                  <c:v>90.675474360984765</c:v>
                </c:pt>
                <c:pt idx="387">
                  <c:v>90.719041408862239</c:v>
                </c:pt>
                <c:pt idx="388">
                  <c:v>91.329799310964333</c:v>
                </c:pt>
                <c:pt idx="389">
                  <c:v>91.503229188301717</c:v>
                </c:pt>
                <c:pt idx="390">
                  <c:v>91.303661304648173</c:v>
                </c:pt>
                <c:pt idx="391">
                  <c:v>90.914272237726507</c:v>
                </c:pt>
                <c:pt idx="392">
                  <c:v>90.914272237726507</c:v>
                </c:pt>
                <c:pt idx="393">
                  <c:v>90.914272237726507</c:v>
                </c:pt>
                <c:pt idx="394">
                  <c:v>90.816997634309374</c:v>
                </c:pt>
                <c:pt idx="395">
                  <c:v>90.58048345881592</c:v>
                </c:pt>
                <c:pt idx="396">
                  <c:v>91.404690865261117</c:v>
                </c:pt>
                <c:pt idx="397">
                  <c:v>90.850886237541118</c:v>
                </c:pt>
                <c:pt idx="398">
                  <c:v>90.393746946751364</c:v>
                </c:pt>
                <c:pt idx="399">
                  <c:v>90.393746946751364</c:v>
                </c:pt>
                <c:pt idx="400">
                  <c:v>90.393746946751364</c:v>
                </c:pt>
                <c:pt idx="401">
                  <c:v>90.018194732284485</c:v>
                </c:pt>
                <c:pt idx="402">
                  <c:v>90.156793576238329</c:v>
                </c:pt>
                <c:pt idx="403">
                  <c:v>90.215695452063358</c:v>
                </c:pt>
                <c:pt idx="404">
                  <c:v>90.323147515376363</c:v>
                </c:pt>
                <c:pt idx="405">
                  <c:v>90.096213773761306</c:v>
                </c:pt>
                <c:pt idx="406">
                  <c:v>90.096213773761306</c:v>
                </c:pt>
                <c:pt idx="407">
                  <c:v>90.096213773761306</c:v>
                </c:pt>
                <c:pt idx="408">
                  <c:v>90.155915026310666</c:v>
                </c:pt>
                <c:pt idx="409">
                  <c:v>89.811965480085064</c:v>
                </c:pt>
                <c:pt idx="410">
                  <c:v>89.750977367752228</c:v>
                </c:pt>
                <c:pt idx="411">
                  <c:v>89.548569437454049</c:v>
                </c:pt>
                <c:pt idx="412">
                  <c:v>89.626644450041695</c:v>
                </c:pt>
                <c:pt idx="413">
                  <c:v>89.626644450041695</c:v>
                </c:pt>
                <c:pt idx="414">
                  <c:v>89.626644450041695</c:v>
                </c:pt>
                <c:pt idx="415">
                  <c:v>89.417017821935318</c:v>
                </c:pt>
                <c:pt idx="416">
                  <c:v>89.102693748615579</c:v>
                </c:pt>
                <c:pt idx="417">
                  <c:v>88.937381039355571</c:v>
                </c:pt>
                <c:pt idx="418">
                  <c:v>88.891237509608032</c:v>
                </c:pt>
                <c:pt idx="419">
                  <c:v>88.664634964445241</c:v>
                </c:pt>
                <c:pt idx="420">
                  <c:v>88.664634964445241</c:v>
                </c:pt>
                <c:pt idx="421">
                  <c:v>88.664634964445241</c:v>
                </c:pt>
                <c:pt idx="422">
                  <c:v>89.10097751239951</c:v>
                </c:pt>
                <c:pt idx="423">
                  <c:v>88.863915783002952</c:v>
                </c:pt>
                <c:pt idx="424">
                  <c:v>89.245372201375588</c:v>
                </c:pt>
                <c:pt idx="425">
                  <c:v>89.042664793124388</c:v>
                </c:pt>
                <c:pt idx="426">
                  <c:v>89.155929884071696</c:v>
                </c:pt>
                <c:pt idx="427">
                  <c:v>89.155929884071696</c:v>
                </c:pt>
                <c:pt idx="428">
                  <c:v>89.155929884071696</c:v>
                </c:pt>
                <c:pt idx="429">
                  <c:v>89.316020659361925</c:v>
                </c:pt>
                <c:pt idx="430">
                  <c:v>88.718199514781929</c:v>
                </c:pt>
                <c:pt idx="431">
                  <c:v>88.568720742109377</c:v>
                </c:pt>
                <c:pt idx="432">
                  <c:v>88.556852009610182</c:v>
                </c:pt>
                <c:pt idx="433">
                  <c:v>88.785459291389998</c:v>
                </c:pt>
                <c:pt idx="434">
                  <c:v>88.785459291389998</c:v>
                </c:pt>
                <c:pt idx="435">
                  <c:v>88.785459291389998</c:v>
                </c:pt>
                <c:pt idx="436">
                  <c:v>89.142185437482567</c:v>
                </c:pt>
                <c:pt idx="437">
                  <c:v>89.336719421403842</c:v>
                </c:pt>
                <c:pt idx="438">
                  <c:v>88.713095340831757</c:v>
                </c:pt>
                <c:pt idx="439">
                  <c:v>88.906613365109294</c:v>
                </c:pt>
                <c:pt idx="440">
                  <c:v>89.199768607790247</c:v>
                </c:pt>
                <c:pt idx="441">
                  <c:v>89.199768607790247</c:v>
                </c:pt>
                <c:pt idx="442">
                  <c:v>89.199768607790247</c:v>
                </c:pt>
                <c:pt idx="443">
                  <c:v>89.489669581366584</c:v>
                </c:pt>
                <c:pt idx="444">
                  <c:v>89.879148208595666</c:v>
                </c:pt>
                <c:pt idx="445">
                  <c:v>90.251777857986013</c:v>
                </c:pt>
                <c:pt idx="446">
                  <c:v>90.235053155174128</c:v>
                </c:pt>
                <c:pt idx="447">
                  <c:v>89.995428148984004</c:v>
                </c:pt>
                <c:pt idx="448">
                  <c:v>89.995428148984004</c:v>
                </c:pt>
                <c:pt idx="449">
                  <c:v>89.995428148984004</c:v>
                </c:pt>
                <c:pt idx="450">
                  <c:v>90.249136703279589</c:v>
                </c:pt>
                <c:pt idx="451">
                  <c:v>90.337258577928822</c:v>
                </c:pt>
                <c:pt idx="452">
                  <c:v>90.495427202034563</c:v>
                </c:pt>
                <c:pt idx="453">
                  <c:v>90.648821304697165</c:v>
                </c:pt>
                <c:pt idx="454">
                  <c:v>90.335494453991586</c:v>
                </c:pt>
                <c:pt idx="455">
                  <c:v>90.335494453991586</c:v>
                </c:pt>
                <c:pt idx="456">
                  <c:v>90.335494453991586</c:v>
                </c:pt>
                <c:pt idx="457">
                  <c:v>90.589352681412763</c:v>
                </c:pt>
                <c:pt idx="458">
                  <c:v>90.803627512562826</c:v>
                </c:pt>
                <c:pt idx="459">
                  <c:v>90.641716469089857</c:v>
                </c:pt>
                <c:pt idx="460">
                  <c:v>90.911592166419396</c:v>
                </c:pt>
                <c:pt idx="461">
                  <c:v>90.816106170367348</c:v>
                </c:pt>
                <c:pt idx="462">
                  <c:v>90.816106170367348</c:v>
                </c:pt>
                <c:pt idx="463">
                  <c:v>90.816106170367348</c:v>
                </c:pt>
                <c:pt idx="464">
                  <c:v>90.695918987540338</c:v>
                </c:pt>
                <c:pt idx="465">
                  <c:v>90.948233489963272</c:v>
                </c:pt>
                <c:pt idx="466">
                  <c:v>91.161516632508309</c:v>
                </c:pt>
                <c:pt idx="467">
                  <c:v>91.458001759606205</c:v>
                </c:pt>
                <c:pt idx="468">
                  <c:v>91.316277784357879</c:v>
                </c:pt>
                <c:pt idx="469">
                  <c:v>91.316277784357879</c:v>
                </c:pt>
                <c:pt idx="470">
                  <c:v>91.316277784357879</c:v>
                </c:pt>
                <c:pt idx="471">
                  <c:v>90.939293858614477</c:v>
                </c:pt>
                <c:pt idx="472">
                  <c:v>91.07178013151163</c:v>
                </c:pt>
                <c:pt idx="473">
                  <c:v>91.200157720932552</c:v>
                </c:pt>
                <c:pt idx="474">
                  <c:v>91.355050210816344</c:v>
                </c:pt>
                <c:pt idx="475">
                  <c:v>91.394758419030168</c:v>
                </c:pt>
                <c:pt idx="476">
                  <c:v>91.394758419030168</c:v>
                </c:pt>
                <c:pt idx="477">
                  <c:v>91.394758419030168</c:v>
                </c:pt>
                <c:pt idx="478">
                  <c:v>91.394758419030168</c:v>
                </c:pt>
                <c:pt idx="479">
                  <c:v>91.31267272009481</c:v>
                </c:pt>
                <c:pt idx="480">
                  <c:v>91.959803989782074</c:v>
                </c:pt>
                <c:pt idx="481">
                  <c:v>91.990892187764175</c:v>
                </c:pt>
                <c:pt idx="482">
                  <c:v>92.047636577091126</c:v>
                </c:pt>
                <c:pt idx="483">
                  <c:v>92.047636577091126</c:v>
                </c:pt>
                <c:pt idx="484">
                  <c:v>92.047636577091126</c:v>
                </c:pt>
                <c:pt idx="485">
                  <c:v>92.047636577091126</c:v>
                </c:pt>
                <c:pt idx="486">
                  <c:v>92.055879484985439</c:v>
                </c:pt>
                <c:pt idx="487">
                  <c:v>92.600414368788279</c:v>
                </c:pt>
                <c:pt idx="488">
                  <c:v>92.471764117941078</c:v>
                </c:pt>
                <c:pt idx="489">
                  <c:v>92.623590893618768</c:v>
                </c:pt>
                <c:pt idx="490">
                  <c:v>92.623590893618768</c:v>
                </c:pt>
                <c:pt idx="491">
                  <c:v>92.623590893618768</c:v>
                </c:pt>
                <c:pt idx="492">
                  <c:v>92.609683586750933</c:v>
                </c:pt>
                <c:pt idx="493">
                  <c:v>92.343470840112218</c:v>
                </c:pt>
                <c:pt idx="494">
                  <c:v>92.407111466240551</c:v>
                </c:pt>
                <c:pt idx="495">
                  <c:v>91.92416986268708</c:v>
                </c:pt>
                <c:pt idx="496">
                  <c:v>91.578405558965045</c:v>
                </c:pt>
                <c:pt idx="497">
                  <c:v>91.578405558965045</c:v>
                </c:pt>
                <c:pt idx="498">
                  <c:v>91.578405558965045</c:v>
                </c:pt>
                <c:pt idx="499">
                  <c:v>91.521332687038182</c:v>
                </c:pt>
                <c:pt idx="500">
                  <c:v>91.212745610316418</c:v>
                </c:pt>
                <c:pt idx="501">
                  <c:v>91.428176140406407</c:v>
                </c:pt>
                <c:pt idx="502">
                  <c:v>90.70658940949248</c:v>
                </c:pt>
                <c:pt idx="503">
                  <c:v>90.673697002959841</c:v>
                </c:pt>
                <c:pt idx="504">
                  <c:v>90.673697002959841</c:v>
                </c:pt>
                <c:pt idx="505">
                  <c:v>90.673697002959841</c:v>
                </c:pt>
                <c:pt idx="506">
                  <c:v>90.68436219638906</c:v>
                </c:pt>
                <c:pt idx="507">
                  <c:v>90.807192493423941</c:v>
                </c:pt>
                <c:pt idx="508">
                  <c:v>90.436159605872845</c:v>
                </c:pt>
                <c:pt idx="509">
                  <c:v>90.639052442859565</c:v>
                </c:pt>
                <c:pt idx="510">
                  <c:v>90.465341403553424</c:v>
                </c:pt>
                <c:pt idx="511">
                  <c:v>90.465341403553424</c:v>
                </c:pt>
                <c:pt idx="512">
                  <c:v>90.465341403553424</c:v>
                </c:pt>
                <c:pt idx="513">
                  <c:v>90.7733364729892</c:v>
                </c:pt>
                <c:pt idx="514">
                  <c:v>91.007279165846981</c:v>
                </c:pt>
                <c:pt idx="515">
                  <c:v>90.823238371978917</c:v>
                </c:pt>
                <c:pt idx="516">
                  <c:v>91.135474846577452</c:v>
                </c:pt>
                <c:pt idx="517">
                  <c:v>90.741285627415252</c:v>
                </c:pt>
                <c:pt idx="518">
                  <c:v>90.741285627415252</c:v>
                </c:pt>
                <c:pt idx="519">
                  <c:v>90.741285627415252</c:v>
                </c:pt>
                <c:pt idx="520">
                  <c:v>90.685251075758956</c:v>
                </c:pt>
                <c:pt idx="521">
                  <c:v>90.693251774301103</c:v>
                </c:pt>
                <c:pt idx="522">
                  <c:v>90.980430720818205</c:v>
                </c:pt>
                <c:pt idx="523">
                  <c:v>91.458905870025134</c:v>
                </c:pt>
                <c:pt idx="524">
                  <c:v>91.382120245350322</c:v>
                </c:pt>
                <c:pt idx="525">
                  <c:v>91.382120245350322</c:v>
                </c:pt>
                <c:pt idx="526">
                  <c:v>91.382120245350322</c:v>
                </c:pt>
                <c:pt idx="527">
                  <c:v>91.19026967355309</c:v>
                </c:pt>
                <c:pt idx="528">
                  <c:v>91.60651517401854</c:v>
                </c:pt>
                <c:pt idx="529">
                  <c:v>91.930563697970001</c:v>
                </c:pt>
                <c:pt idx="530">
                  <c:v>92.566134389882777</c:v>
                </c:pt>
                <c:pt idx="531">
                  <c:v>92.512449253044849</c:v>
                </c:pt>
                <c:pt idx="532">
                  <c:v>92.512449253044849</c:v>
                </c:pt>
                <c:pt idx="533">
                  <c:v>92.512449253044849</c:v>
                </c:pt>
                <c:pt idx="534">
                  <c:v>92.663481666216001</c:v>
                </c:pt>
                <c:pt idx="535">
                  <c:v>92.644923545257043</c:v>
                </c:pt>
                <c:pt idx="536">
                  <c:v>92.76661452693223</c:v>
                </c:pt>
                <c:pt idx="537">
                  <c:v>92.810352610723825</c:v>
                </c:pt>
                <c:pt idx="538">
                  <c:v>92.658841438987309</c:v>
                </c:pt>
                <c:pt idx="539">
                  <c:v>92.658841438987309</c:v>
                </c:pt>
                <c:pt idx="540">
                  <c:v>92.658841438987309</c:v>
                </c:pt>
                <c:pt idx="541">
                  <c:v>93.051183280195559</c:v>
                </c:pt>
                <c:pt idx="542">
                  <c:v>93.498802437570163</c:v>
                </c:pt>
                <c:pt idx="543">
                  <c:v>93.498802437570163</c:v>
                </c:pt>
                <c:pt idx="544">
                  <c:v>93.455357233047522</c:v>
                </c:pt>
                <c:pt idx="545">
                  <c:v>93.413838713260219</c:v>
                </c:pt>
                <c:pt idx="546">
                  <c:v>93.413838713260219</c:v>
                </c:pt>
                <c:pt idx="547">
                  <c:v>93.413838713260219</c:v>
                </c:pt>
                <c:pt idx="548">
                  <c:v>94.290664492458276</c:v>
                </c:pt>
                <c:pt idx="549">
                  <c:v>94.779437375786301</c:v>
                </c:pt>
                <c:pt idx="550">
                  <c:v>94.77458281686971</c:v>
                </c:pt>
                <c:pt idx="551">
                  <c:v>94.631112747655195</c:v>
                </c:pt>
                <c:pt idx="552">
                  <c:v>94.590477358934308</c:v>
                </c:pt>
                <c:pt idx="553">
                  <c:v>94.590477358934308</c:v>
                </c:pt>
                <c:pt idx="554">
                  <c:v>94.590477358934308</c:v>
                </c:pt>
                <c:pt idx="555">
                  <c:v>94.637888707037703</c:v>
                </c:pt>
                <c:pt idx="556">
                  <c:v>94.388785733232723</c:v>
                </c:pt>
                <c:pt idx="557">
                  <c:v>94.987679671457954</c:v>
                </c:pt>
                <c:pt idx="558">
                  <c:v>95.396100347483639</c:v>
                </c:pt>
                <c:pt idx="559">
                  <c:v>95.460079654966108</c:v>
                </c:pt>
                <c:pt idx="560">
                  <c:v>95.460079654966108</c:v>
                </c:pt>
                <c:pt idx="561">
                  <c:v>95.460079654966108</c:v>
                </c:pt>
                <c:pt idx="562">
                  <c:v>95.059901773421331</c:v>
                </c:pt>
                <c:pt idx="563">
                  <c:v>95.077485920993169</c:v>
                </c:pt>
                <c:pt idx="564">
                  <c:v>95.065762433210068</c:v>
                </c:pt>
                <c:pt idx="565">
                  <c:v>94.773611964761344</c:v>
                </c:pt>
                <c:pt idx="566">
                  <c:v>94.84453647985076</c:v>
                </c:pt>
                <c:pt idx="567">
                  <c:v>94.84453647985076</c:v>
                </c:pt>
                <c:pt idx="568">
                  <c:v>94.84453647985076</c:v>
                </c:pt>
                <c:pt idx="569">
                  <c:v>94.78720570456737</c:v>
                </c:pt>
                <c:pt idx="570">
                  <c:v>95.178231572450017</c:v>
                </c:pt>
                <c:pt idx="571">
                  <c:v>95.56854805387988</c:v>
                </c:pt>
                <c:pt idx="572">
                  <c:v>94.93114982864418</c:v>
                </c:pt>
                <c:pt idx="573">
                  <c:v>94.72315504955364</c:v>
                </c:pt>
                <c:pt idx="574">
                  <c:v>94.72315504955364</c:v>
                </c:pt>
                <c:pt idx="575">
                  <c:v>94.72315504955364</c:v>
                </c:pt>
                <c:pt idx="576">
                  <c:v>93.953611178812281</c:v>
                </c:pt>
                <c:pt idx="577">
                  <c:v>93.848775638554741</c:v>
                </c:pt>
                <c:pt idx="578">
                  <c:v>93.987017076912181</c:v>
                </c:pt>
                <c:pt idx="579">
                  <c:v>94.210011812146206</c:v>
                </c:pt>
                <c:pt idx="580">
                  <c:v>94.879552050537939</c:v>
                </c:pt>
                <c:pt idx="581">
                  <c:v>94.879552050537939</c:v>
                </c:pt>
                <c:pt idx="582">
                  <c:v>94.879552050537939</c:v>
                </c:pt>
                <c:pt idx="583">
                  <c:v>94.951609758100147</c:v>
                </c:pt>
                <c:pt idx="584">
                  <c:v>94.908751449000363</c:v>
                </c:pt>
                <c:pt idx="585">
                  <c:v>94.632080682445888</c:v>
                </c:pt>
                <c:pt idx="586">
                  <c:v>94.347396008606935</c:v>
                </c:pt>
                <c:pt idx="587">
                  <c:v>93.64549172031262</c:v>
                </c:pt>
                <c:pt idx="588">
                  <c:v>93.64549172031262</c:v>
                </c:pt>
                <c:pt idx="589">
                  <c:v>93.64549172031262</c:v>
                </c:pt>
                <c:pt idx="590">
                  <c:v>93.64549172031262</c:v>
                </c:pt>
                <c:pt idx="591">
                  <c:v>93.582974246930121</c:v>
                </c:pt>
                <c:pt idx="592">
                  <c:v>93.367645574730091</c:v>
                </c:pt>
                <c:pt idx="593">
                  <c:v>93.172067916775831</c:v>
                </c:pt>
                <c:pt idx="594">
                  <c:v>92.635647272035555</c:v>
                </c:pt>
                <c:pt idx="595">
                  <c:v>92.635647272035555</c:v>
                </c:pt>
                <c:pt idx="596">
                  <c:v>92.635647272035555</c:v>
                </c:pt>
                <c:pt idx="597">
                  <c:v>92.635647272035555</c:v>
                </c:pt>
                <c:pt idx="598">
                  <c:v>92.511524193306528</c:v>
                </c:pt>
                <c:pt idx="599">
                  <c:v>92.35545440025561</c:v>
                </c:pt>
                <c:pt idx="600">
                  <c:v>92.025662704530831</c:v>
                </c:pt>
                <c:pt idx="601">
                  <c:v>91.397467053919002</c:v>
                </c:pt>
                <c:pt idx="602">
                  <c:v>91.397467053919002</c:v>
                </c:pt>
                <c:pt idx="603">
                  <c:v>91.397467053919002</c:v>
                </c:pt>
                <c:pt idx="604">
                  <c:v>91.304562366153874</c:v>
                </c:pt>
                <c:pt idx="605">
                  <c:v>91.52767060406407</c:v>
                </c:pt>
                <c:pt idx="606">
                  <c:v>91.332504096823286</c:v>
                </c:pt>
                <c:pt idx="607">
                  <c:v>91.036830763478264</c:v>
                </c:pt>
                <c:pt idx="608">
                  <c:v>90.743955666715763</c:v>
                </c:pt>
                <c:pt idx="609">
                  <c:v>90.743955666715763</c:v>
                </c:pt>
                <c:pt idx="610">
                  <c:v>90.743955666715763</c:v>
                </c:pt>
                <c:pt idx="611">
                  <c:v>91.029664977616022</c:v>
                </c:pt>
                <c:pt idx="612">
                  <c:v>90.842857703939401</c:v>
                </c:pt>
                <c:pt idx="613">
                  <c:v>90.817889115753133</c:v>
                </c:pt>
                <c:pt idx="614">
                  <c:v>91.007279165846967</c:v>
                </c:pt>
                <c:pt idx="615">
                  <c:v>91.067297943756003</c:v>
                </c:pt>
                <c:pt idx="616">
                  <c:v>91.067297943756003</c:v>
                </c:pt>
                <c:pt idx="617">
                  <c:v>91.067297943756003</c:v>
                </c:pt>
                <c:pt idx="618">
                  <c:v>91.293750801748587</c:v>
                </c:pt>
                <c:pt idx="619">
                  <c:v>91.260431257274803</c:v>
                </c:pt>
                <c:pt idx="620">
                  <c:v>91.001013111432457</c:v>
                </c:pt>
                <c:pt idx="621">
                  <c:v>90.143617124929392</c:v>
                </c:pt>
                <c:pt idx="622">
                  <c:v>90.028706271590551</c:v>
                </c:pt>
                <c:pt idx="623">
                  <c:v>90.028706271590551</c:v>
                </c:pt>
                <c:pt idx="624">
                  <c:v>90.028706271590551</c:v>
                </c:pt>
                <c:pt idx="625">
                  <c:v>90.099723423318181</c:v>
                </c:pt>
                <c:pt idx="626">
                  <c:v>90.145373762569221</c:v>
                </c:pt>
                <c:pt idx="627">
                  <c:v>90.24033397058254</c:v>
                </c:pt>
                <c:pt idx="628">
                  <c:v>89.981423666832058</c:v>
                </c:pt>
                <c:pt idx="629">
                  <c:v>90.232412979236003</c:v>
                </c:pt>
                <c:pt idx="630">
                  <c:v>90.232412979236003</c:v>
                </c:pt>
                <c:pt idx="631">
                  <c:v>90.232412979236003</c:v>
                </c:pt>
                <c:pt idx="632">
                  <c:v>90.069023257625204</c:v>
                </c:pt>
                <c:pt idx="633">
                  <c:v>90.035715328396165</c:v>
                </c:pt>
                <c:pt idx="634">
                  <c:v>89.65443727348493</c:v>
                </c:pt>
                <c:pt idx="635">
                  <c:v>89.701376769439634</c:v>
                </c:pt>
                <c:pt idx="636">
                  <c:v>89.701376769439634</c:v>
                </c:pt>
                <c:pt idx="637">
                  <c:v>89.701376769439634</c:v>
                </c:pt>
                <c:pt idx="638">
                  <c:v>89.701376769439634</c:v>
                </c:pt>
                <c:pt idx="639">
                  <c:v>89.517377505998965</c:v>
                </c:pt>
                <c:pt idx="640">
                  <c:v>89.569376137551828</c:v>
                </c:pt>
                <c:pt idx="641">
                  <c:v>89.748365442446158</c:v>
                </c:pt>
                <c:pt idx="642">
                  <c:v>89.912340375906282</c:v>
                </c:pt>
                <c:pt idx="643">
                  <c:v>90.118153570419778</c:v>
                </c:pt>
                <c:pt idx="644">
                  <c:v>90.118153570419778</c:v>
                </c:pt>
                <c:pt idx="645">
                  <c:v>90.118153570419778</c:v>
                </c:pt>
                <c:pt idx="646">
                  <c:v>89.960425114008771</c:v>
                </c:pt>
                <c:pt idx="647">
                  <c:v>90.211297132326465</c:v>
                </c:pt>
                <c:pt idx="648">
                  <c:v>90.384915982805822</c:v>
                </c:pt>
                <c:pt idx="649">
                  <c:v>90.253538713673976</c:v>
                </c:pt>
                <c:pt idx="650">
                  <c:v>90.126932481271908</c:v>
                </c:pt>
                <c:pt idx="651">
                  <c:v>90.126932481271908</c:v>
                </c:pt>
                <c:pt idx="652">
                  <c:v>90.126932481271908</c:v>
                </c:pt>
                <c:pt idx="653">
                  <c:v>90.267628033134017</c:v>
                </c:pt>
                <c:pt idx="654">
                  <c:v>90.315211979812418</c:v>
                </c:pt>
                <c:pt idx="655">
                  <c:v>89.794531849019293</c:v>
                </c:pt>
                <c:pt idx="656">
                  <c:v>89.863434155059565</c:v>
                </c:pt>
                <c:pt idx="657">
                  <c:v>89.59713344954487</c:v>
                </c:pt>
                <c:pt idx="658">
                  <c:v>89.59713344954487</c:v>
                </c:pt>
                <c:pt idx="659">
                  <c:v>89.59713344954487</c:v>
                </c:pt>
                <c:pt idx="660">
                  <c:v>89.796274907552132</c:v>
                </c:pt>
                <c:pt idx="661">
                  <c:v>89.81632494563533</c:v>
                </c:pt>
                <c:pt idx="662">
                  <c:v>90.103233346318689</c:v>
                </c:pt>
                <c:pt idx="663">
                  <c:v>89.939436359571147</c:v>
                </c:pt>
                <c:pt idx="664">
                  <c:v>90.069023257625204</c:v>
                </c:pt>
                <c:pt idx="665">
                  <c:v>90.069023257625204</c:v>
                </c:pt>
                <c:pt idx="666">
                  <c:v>90.069023257625204</c:v>
                </c:pt>
                <c:pt idx="667">
                  <c:v>90.050613198364843</c:v>
                </c:pt>
                <c:pt idx="668">
                  <c:v>89.816324945635316</c:v>
                </c:pt>
                <c:pt idx="669">
                  <c:v>89.799761227639394</c:v>
                </c:pt>
                <c:pt idx="670">
                  <c:v>90.205140205140253</c:v>
                </c:pt>
                <c:pt idx="671">
                  <c:v>90.582257164396879</c:v>
                </c:pt>
                <c:pt idx="672">
                  <c:v>90.582257164396879</c:v>
                </c:pt>
                <c:pt idx="673">
                  <c:v>90.582257164396879</c:v>
                </c:pt>
                <c:pt idx="674">
                  <c:v>90.582257164396879</c:v>
                </c:pt>
                <c:pt idx="675">
                  <c:v>90.593787944068026</c:v>
                </c:pt>
                <c:pt idx="676">
                  <c:v>90.800953960605</c:v>
                </c:pt>
                <c:pt idx="677">
                  <c:v>90.49808279208078</c:v>
                </c:pt>
                <c:pt idx="678">
                  <c:v>90.47507285493559</c:v>
                </c:pt>
                <c:pt idx="679">
                  <c:v>90.47507285493559</c:v>
                </c:pt>
                <c:pt idx="680">
                  <c:v>90.47507285493559</c:v>
                </c:pt>
                <c:pt idx="681">
                  <c:v>90.597336466901723</c:v>
                </c:pt>
                <c:pt idx="682">
                  <c:v>91.324390219826896</c:v>
                </c:pt>
                <c:pt idx="683">
                  <c:v>91.097785523685772</c:v>
                </c:pt>
                <c:pt idx="684">
                  <c:v>91.062816197169269</c:v>
                </c:pt>
                <c:pt idx="685">
                  <c:v>91.256830601092929</c:v>
                </c:pt>
                <c:pt idx="686">
                  <c:v>91.256830601092929</c:v>
                </c:pt>
                <c:pt idx="687">
                  <c:v>91.256830601092929</c:v>
                </c:pt>
                <c:pt idx="688">
                  <c:v>91.391147155571829</c:v>
                </c:pt>
                <c:pt idx="689">
                  <c:v>91.475182914771636</c:v>
                </c:pt>
                <c:pt idx="690">
                  <c:v>91.325291690521823</c:v>
                </c:pt>
                <c:pt idx="691">
                  <c:v>91.550313189586106</c:v>
                </c:pt>
                <c:pt idx="692">
                  <c:v>91.737315445558338</c:v>
                </c:pt>
                <c:pt idx="693">
                  <c:v>91.737315445558338</c:v>
                </c:pt>
                <c:pt idx="694">
                  <c:v>91.737315445558338</c:v>
                </c:pt>
                <c:pt idx="695">
                  <c:v>91.791015159933366</c:v>
                </c:pt>
                <c:pt idx="696">
                  <c:v>92.106284906468119</c:v>
                </c:pt>
                <c:pt idx="697">
                  <c:v>92.139307446395364</c:v>
                </c:pt>
                <c:pt idx="698">
                  <c:v>91.680044394236717</c:v>
                </c:pt>
                <c:pt idx="699">
                  <c:v>91.745502865869426</c:v>
                </c:pt>
                <c:pt idx="700">
                  <c:v>91.745502865869426</c:v>
                </c:pt>
                <c:pt idx="701">
                  <c:v>91.745502865869426</c:v>
                </c:pt>
                <c:pt idx="702">
                  <c:v>91.516806140819469</c:v>
                </c:pt>
                <c:pt idx="703">
                  <c:v>91.572060613858866</c:v>
                </c:pt>
                <c:pt idx="704">
                  <c:v>91.496894655643061</c:v>
                </c:pt>
                <c:pt idx="705">
                  <c:v>91.555749077198683</c:v>
                </c:pt>
                <c:pt idx="706">
                  <c:v>91.088816469592132</c:v>
                </c:pt>
                <c:pt idx="707">
                  <c:v>91.088816469592132</c:v>
                </c:pt>
                <c:pt idx="708">
                  <c:v>91.088816469592132</c:v>
                </c:pt>
                <c:pt idx="709">
                  <c:v>91.01533678960368</c:v>
                </c:pt>
                <c:pt idx="710">
                  <c:v>91.032352015113389</c:v>
                </c:pt>
                <c:pt idx="711">
                  <c:v>91.140861581503529</c:v>
                </c:pt>
                <c:pt idx="712">
                  <c:v>91.674593737613989</c:v>
                </c:pt>
                <c:pt idx="713">
                  <c:v>91.358658622085784</c:v>
                </c:pt>
                <c:pt idx="714">
                  <c:v>91.358658622085784</c:v>
                </c:pt>
                <c:pt idx="715">
                  <c:v>91.358658622085784</c:v>
                </c:pt>
                <c:pt idx="716">
                  <c:v>91.557561183188383</c:v>
                </c:pt>
                <c:pt idx="717">
                  <c:v>92.000954634951597</c:v>
                </c:pt>
                <c:pt idx="718">
                  <c:v>92.21185663596863</c:v>
                </c:pt>
                <c:pt idx="719">
                  <c:v>92.982914572864374</c:v>
                </c:pt>
                <c:pt idx="720">
                  <c:v>93.302675500963133</c:v>
                </c:pt>
                <c:pt idx="721">
                  <c:v>93.302675500963133</c:v>
                </c:pt>
                <c:pt idx="722">
                  <c:v>93.302675500963133</c:v>
                </c:pt>
                <c:pt idx="723">
                  <c:v>93.312085850588559</c:v>
                </c:pt>
                <c:pt idx="724">
                  <c:v>93.321498098629249</c:v>
                </c:pt>
                <c:pt idx="725">
                  <c:v>94.429247979096999</c:v>
                </c:pt>
                <c:pt idx="726">
                  <c:v>93.505417205692183</c:v>
                </c:pt>
                <c:pt idx="727">
                  <c:v>93.637909396380778</c:v>
                </c:pt>
                <c:pt idx="728">
                  <c:v>93.637909396380778</c:v>
                </c:pt>
                <c:pt idx="729">
                  <c:v>93.637909396380778</c:v>
                </c:pt>
                <c:pt idx="730">
                  <c:v>93.637909396380778</c:v>
                </c:pt>
                <c:pt idx="731">
                  <c:v>93.130800668398123</c:v>
                </c:pt>
                <c:pt idx="732">
                  <c:v>93.163623913722176</c:v>
                </c:pt>
                <c:pt idx="733">
                  <c:v>93.457245315420053</c:v>
                </c:pt>
                <c:pt idx="734">
                  <c:v>92.988521920919922</c:v>
                </c:pt>
                <c:pt idx="735">
                  <c:v>92.988521920919922</c:v>
                </c:pt>
                <c:pt idx="736">
                  <c:v>92.988521920919922</c:v>
                </c:pt>
                <c:pt idx="737">
                  <c:v>93.098937369183773</c:v>
                </c:pt>
                <c:pt idx="738">
                  <c:v>92.83549740111188</c:v>
                </c:pt>
                <c:pt idx="739">
                  <c:v>93.044632620632839</c:v>
                </c:pt>
                <c:pt idx="740">
                  <c:v>93.091443290670597</c:v>
                </c:pt>
                <c:pt idx="741">
                  <c:v>92.929678475647179</c:v>
                </c:pt>
                <c:pt idx="742">
                  <c:v>92.929678475647179</c:v>
                </c:pt>
                <c:pt idx="743">
                  <c:v>92.929678475647179</c:v>
                </c:pt>
                <c:pt idx="744">
                  <c:v>92.970767638399096</c:v>
                </c:pt>
                <c:pt idx="745">
                  <c:v>92.701549067153053</c:v>
                </c:pt>
                <c:pt idx="746">
                  <c:v>92.658841438987352</c:v>
                </c:pt>
                <c:pt idx="747">
                  <c:v>92.548541018536213</c:v>
                </c:pt>
                <c:pt idx="748">
                  <c:v>92.910080539878379</c:v>
                </c:pt>
                <c:pt idx="749">
                  <c:v>92.910080539878379</c:v>
                </c:pt>
                <c:pt idx="750">
                  <c:v>92.910080539878379</c:v>
                </c:pt>
                <c:pt idx="751">
                  <c:v>93.073649688641297</c:v>
                </c:pt>
                <c:pt idx="752">
                  <c:v>92.747085300692817</c:v>
                </c:pt>
                <c:pt idx="753">
                  <c:v>92.891423522560814</c:v>
                </c:pt>
                <c:pt idx="754">
                  <c:v>92.687618341565184</c:v>
                </c:pt>
                <c:pt idx="755">
                  <c:v>92.759173852015365</c:v>
                </c:pt>
                <c:pt idx="756">
                  <c:v>92.759173852015365</c:v>
                </c:pt>
                <c:pt idx="757">
                  <c:v>92.759173852015365</c:v>
                </c:pt>
                <c:pt idx="758">
                  <c:v>92.335176350825506</c:v>
                </c:pt>
                <c:pt idx="759">
                  <c:v>92.427421127295389</c:v>
                </c:pt>
                <c:pt idx="760">
                  <c:v>92.40988043988547</c:v>
                </c:pt>
                <c:pt idx="761">
                  <c:v>92.481932046501996</c:v>
                </c:pt>
                <c:pt idx="762">
                  <c:v>92.132884542612018</c:v>
                </c:pt>
                <c:pt idx="763">
                  <c:v>92.132884542612018</c:v>
                </c:pt>
                <c:pt idx="764">
                  <c:v>92.132884542612018</c:v>
                </c:pt>
                <c:pt idx="765">
                  <c:v>91.793747333538505</c:v>
                </c:pt>
                <c:pt idx="766">
                  <c:v>91.860280392390607</c:v>
                </c:pt>
                <c:pt idx="767">
                  <c:v>91.991806864733846</c:v>
                </c:pt>
                <c:pt idx="768">
                  <c:v>92.134719566603039</c:v>
                </c:pt>
                <c:pt idx="769">
                  <c:v>92.210937577865835</c:v>
                </c:pt>
                <c:pt idx="770">
                  <c:v>92.210937577865835</c:v>
                </c:pt>
                <c:pt idx="771">
                  <c:v>92.210937577865835</c:v>
                </c:pt>
                <c:pt idx="772">
                  <c:v>92.173271962859033</c:v>
                </c:pt>
                <c:pt idx="773">
                  <c:v>91.870314284295858</c:v>
                </c:pt>
                <c:pt idx="774">
                  <c:v>91.773715169971666</c:v>
                </c:pt>
                <c:pt idx="775">
                  <c:v>92.011019283746691</c:v>
                </c:pt>
                <c:pt idx="776">
                  <c:v>91.936044836187065</c:v>
                </c:pt>
                <c:pt idx="777">
                  <c:v>91.936044836187065</c:v>
                </c:pt>
                <c:pt idx="778">
                  <c:v>91.936044836187065</c:v>
                </c:pt>
                <c:pt idx="779">
                  <c:v>91.740044423290641</c:v>
                </c:pt>
                <c:pt idx="780">
                  <c:v>91.797390484695271</c:v>
                </c:pt>
                <c:pt idx="781">
                  <c:v>91.825634714254647</c:v>
                </c:pt>
                <c:pt idx="782">
                  <c:v>92.035732760335961</c:v>
                </c:pt>
                <c:pt idx="783">
                  <c:v>91.996380522437903</c:v>
                </c:pt>
                <c:pt idx="784">
                  <c:v>91.996380522437903</c:v>
                </c:pt>
                <c:pt idx="785">
                  <c:v>91.996380522437903</c:v>
                </c:pt>
                <c:pt idx="786">
                  <c:v>92.037563916356746</c:v>
                </c:pt>
                <c:pt idx="787">
                  <c:v>91.84933682789304</c:v>
                </c:pt>
                <c:pt idx="788">
                  <c:v>91.621030115172587</c:v>
                </c:pt>
                <c:pt idx="789">
                  <c:v>91.726401158006524</c:v>
                </c:pt>
                <c:pt idx="790">
                  <c:v>91.801033925045516</c:v>
                </c:pt>
                <c:pt idx="791">
                  <c:v>91.801033925045516</c:v>
                </c:pt>
                <c:pt idx="792">
                  <c:v>91.801033925045516</c:v>
                </c:pt>
                <c:pt idx="793">
                  <c:v>92.115455459641481</c:v>
                </c:pt>
                <c:pt idx="794">
                  <c:v>92.172353673723649</c:v>
                </c:pt>
                <c:pt idx="795">
                  <c:v>92.408034439017669</c:v>
                </c:pt>
                <c:pt idx="796">
                  <c:v>92.505049293099063</c:v>
                </c:pt>
                <c:pt idx="797">
                  <c:v>92.176026940052495</c:v>
                </c:pt>
                <c:pt idx="798">
                  <c:v>92.176026940052495</c:v>
                </c:pt>
                <c:pt idx="799">
                  <c:v>92.176026940052495</c:v>
                </c:pt>
                <c:pt idx="800">
                  <c:v>92.065040003184421</c:v>
                </c:pt>
                <c:pt idx="801">
                  <c:v>92.158581532025181</c:v>
                </c:pt>
                <c:pt idx="802">
                  <c:v>92.349001327570619</c:v>
                </c:pt>
                <c:pt idx="803">
                  <c:v>91.928736797130469</c:v>
                </c:pt>
                <c:pt idx="804">
                  <c:v>92.078784199369082</c:v>
                </c:pt>
                <c:pt idx="805">
                  <c:v>92.078784199369082</c:v>
                </c:pt>
                <c:pt idx="806">
                  <c:v>92.078784199369082</c:v>
                </c:pt>
                <c:pt idx="807">
                  <c:v>92.04122644700459</c:v>
                </c:pt>
                <c:pt idx="808">
                  <c:v>92.105367951577009</c:v>
                </c:pt>
                <c:pt idx="809">
                  <c:v>92.261512993877105</c:v>
                </c:pt>
                <c:pt idx="810">
                  <c:v>92.017425206874691</c:v>
                </c:pt>
                <c:pt idx="811">
                  <c:v>91.690038948296973</c:v>
                </c:pt>
                <c:pt idx="812">
                  <c:v>91.690038948296973</c:v>
                </c:pt>
                <c:pt idx="813">
                  <c:v>91.690038948296973</c:v>
                </c:pt>
                <c:pt idx="814">
                  <c:v>91.669143729068907</c:v>
                </c:pt>
                <c:pt idx="815">
                  <c:v>91.429079661234766</c:v>
                </c:pt>
                <c:pt idx="816">
                  <c:v>91.235232629233067</c:v>
                </c:pt>
                <c:pt idx="817">
                  <c:v>91.4146254705703</c:v>
                </c:pt>
                <c:pt idx="818">
                  <c:v>91.74641266945001</c:v>
                </c:pt>
                <c:pt idx="819">
                  <c:v>91.74641266945001</c:v>
                </c:pt>
                <c:pt idx="820">
                  <c:v>91.74641266945001</c:v>
                </c:pt>
                <c:pt idx="821">
                  <c:v>91.508659485870922</c:v>
                </c:pt>
                <c:pt idx="822">
                  <c:v>91.844777778880896</c:v>
                </c:pt>
                <c:pt idx="823">
                  <c:v>92.023832022041731</c:v>
                </c:pt>
                <c:pt idx="824">
                  <c:v>91.877613037131283</c:v>
                </c:pt>
                <c:pt idx="825">
                  <c:v>91.983575426770528</c:v>
                </c:pt>
                <c:pt idx="826">
                  <c:v>91.983575426770528</c:v>
                </c:pt>
                <c:pt idx="827">
                  <c:v>91.983575426770528</c:v>
                </c:pt>
                <c:pt idx="828">
                  <c:v>92.336097887162353</c:v>
                </c:pt>
                <c:pt idx="829">
                  <c:v>92.263353145319002</c:v>
                </c:pt>
                <c:pt idx="830">
                  <c:v>91.937872027506501</c:v>
                </c:pt>
                <c:pt idx="831">
                  <c:v>92.21369480713652</c:v>
                </c:pt>
                <c:pt idx="832">
                  <c:v>92.21369480713652</c:v>
                </c:pt>
                <c:pt idx="833">
                  <c:v>92.21369480713652</c:v>
                </c:pt>
                <c:pt idx="834">
                  <c:v>92.21369480713652</c:v>
                </c:pt>
                <c:pt idx="835">
                  <c:v>90.914272237726578</c:v>
                </c:pt>
                <c:pt idx="836">
                  <c:v>91.01444142761585</c:v>
                </c:pt>
                <c:pt idx="837">
                  <c:v>91.320784515008299</c:v>
                </c:pt>
                <c:pt idx="838">
                  <c:v>91.30185923498999</c:v>
                </c:pt>
                <c:pt idx="839">
                  <c:v>91.199258718924412</c:v>
                </c:pt>
                <c:pt idx="840">
                  <c:v>91.199258718924412</c:v>
                </c:pt>
                <c:pt idx="841">
                  <c:v>91.199258718924412</c:v>
                </c:pt>
                <c:pt idx="842">
                  <c:v>91.161516632508338</c:v>
                </c:pt>
                <c:pt idx="843">
                  <c:v>91.274836723821608</c:v>
                </c:pt>
                <c:pt idx="844">
                  <c:v>91.210947127660688</c:v>
                </c:pt>
                <c:pt idx="845">
                  <c:v>91.378509980542674</c:v>
                </c:pt>
                <c:pt idx="846">
                  <c:v>91.257730738501351</c:v>
                </c:pt>
                <c:pt idx="847">
                  <c:v>91.257730738501351</c:v>
                </c:pt>
                <c:pt idx="848">
                  <c:v>91.257730738501351</c:v>
                </c:pt>
                <c:pt idx="849">
                  <c:v>91.558467263082946</c:v>
                </c:pt>
                <c:pt idx="850">
                  <c:v>91.418238589765153</c:v>
                </c:pt>
                <c:pt idx="851">
                  <c:v>91.593818372620305</c:v>
                </c:pt>
                <c:pt idx="852">
                  <c:v>91.821989320947267</c:v>
                </c:pt>
                <c:pt idx="853">
                  <c:v>92.043973536288149</c:v>
                </c:pt>
                <c:pt idx="854">
                  <c:v>92.043973536288149</c:v>
                </c:pt>
                <c:pt idx="855">
                  <c:v>92.043973536288149</c:v>
                </c:pt>
                <c:pt idx="856">
                  <c:v>92.192560262274213</c:v>
                </c:pt>
                <c:pt idx="857">
                  <c:v>92.174190270291845</c:v>
                </c:pt>
                <c:pt idx="858">
                  <c:v>92.248633988752886</c:v>
                </c:pt>
                <c:pt idx="859">
                  <c:v>92.28083824570858</c:v>
                </c:pt>
                <c:pt idx="860">
                  <c:v>92.171435402885209</c:v>
                </c:pt>
                <c:pt idx="861">
                  <c:v>92.171435402885209</c:v>
                </c:pt>
                <c:pt idx="862">
                  <c:v>92.171435402885209</c:v>
                </c:pt>
                <c:pt idx="863">
                  <c:v>92.310301820903007</c:v>
                </c:pt>
                <c:pt idx="864">
                  <c:v>92.321355512757862</c:v>
                </c:pt>
                <c:pt idx="865">
                  <c:v>92.888625616208728</c:v>
                </c:pt>
                <c:pt idx="866">
                  <c:v>92.914745965271763</c:v>
                </c:pt>
                <c:pt idx="867">
                  <c:v>92.988521920919908</c:v>
                </c:pt>
                <c:pt idx="868">
                  <c:v>92.988521920919908</c:v>
                </c:pt>
                <c:pt idx="869">
                  <c:v>92.988521920919908</c:v>
                </c:pt>
                <c:pt idx="870">
                  <c:v>93.10174795970741</c:v>
                </c:pt>
                <c:pt idx="871">
                  <c:v>93.510142613125311</c:v>
                </c:pt>
                <c:pt idx="872">
                  <c:v>93.273515475350393</c:v>
                </c:pt>
                <c:pt idx="873">
                  <c:v>92.994129945320097</c:v>
                </c:pt>
                <c:pt idx="874">
                  <c:v>92.951152370044454</c:v>
                </c:pt>
                <c:pt idx="875">
                  <c:v>92.951152370044454</c:v>
                </c:pt>
                <c:pt idx="876">
                  <c:v>92.951152370044454</c:v>
                </c:pt>
                <c:pt idx="877">
                  <c:v>93.021244935098935</c:v>
                </c:pt>
                <c:pt idx="878">
                  <c:v>93.103621781002545</c:v>
                </c:pt>
                <c:pt idx="879">
                  <c:v>92.899818253019944</c:v>
                </c:pt>
                <c:pt idx="880">
                  <c:v>92.813145803655658</c:v>
                </c:pt>
                <c:pt idx="881">
                  <c:v>92.936212958312439</c:v>
                </c:pt>
                <c:pt idx="882">
                  <c:v>92.936212958312439</c:v>
                </c:pt>
                <c:pt idx="883">
                  <c:v>92.936212958312439</c:v>
                </c:pt>
                <c:pt idx="884">
                  <c:v>93.083950418544802</c:v>
                </c:pt>
                <c:pt idx="885">
                  <c:v>93.119552307909146</c:v>
                </c:pt>
                <c:pt idx="886">
                  <c:v>93.406293854556864</c:v>
                </c:pt>
                <c:pt idx="887">
                  <c:v>93.684370411624755</c:v>
                </c:pt>
                <c:pt idx="888">
                  <c:v>93.254712226590101</c:v>
                </c:pt>
                <c:pt idx="889">
                  <c:v>93.254712226590101</c:v>
                </c:pt>
                <c:pt idx="890">
                  <c:v>93.254712226590101</c:v>
                </c:pt>
                <c:pt idx="891">
                  <c:v>92.965162431294559</c:v>
                </c:pt>
                <c:pt idx="892">
                  <c:v>92.975439160670547</c:v>
                </c:pt>
                <c:pt idx="893">
                  <c:v>93.026856907282863</c:v>
                </c:pt>
                <c:pt idx="894">
                  <c:v>92.842950326141533</c:v>
                </c:pt>
                <c:pt idx="895">
                  <c:v>92.594853728594771</c:v>
                </c:pt>
                <c:pt idx="896">
                  <c:v>92.594853728594771</c:v>
                </c:pt>
                <c:pt idx="897">
                  <c:v>92.594853728594771</c:v>
                </c:pt>
                <c:pt idx="898">
                  <c:v>92.594853728594771</c:v>
                </c:pt>
                <c:pt idx="899">
                  <c:v>92.594853728594771</c:v>
                </c:pt>
                <c:pt idx="900">
                  <c:v>92.864384152890324</c:v>
                </c:pt>
                <c:pt idx="901">
                  <c:v>92.88209782346803</c:v>
                </c:pt>
                <c:pt idx="902">
                  <c:v>92.861587875138056</c:v>
                </c:pt>
                <c:pt idx="903">
                  <c:v>92.861587875138056</c:v>
                </c:pt>
                <c:pt idx="904">
                  <c:v>92.861587875138056</c:v>
                </c:pt>
                <c:pt idx="905">
                  <c:v>93.181451937797149</c:v>
                </c:pt>
                <c:pt idx="906">
                  <c:v>93.191776544416172</c:v>
                </c:pt>
                <c:pt idx="907">
                  <c:v>92.994129945320083</c:v>
                </c:pt>
                <c:pt idx="908">
                  <c:v>93.032469556648323</c:v>
                </c:pt>
                <c:pt idx="909">
                  <c:v>92.863452041594769</c:v>
                </c:pt>
                <c:pt idx="910">
                  <c:v>92.863452041594769</c:v>
                </c:pt>
                <c:pt idx="911">
                  <c:v>92.863452041594769</c:v>
                </c:pt>
                <c:pt idx="912">
                  <c:v>92.796389167502525</c:v>
                </c:pt>
                <c:pt idx="913">
                  <c:v>92.738718149195108</c:v>
                </c:pt>
                <c:pt idx="914">
                  <c:v>93.139238722277625</c:v>
                </c:pt>
                <c:pt idx="915">
                  <c:v>93.500692275818892</c:v>
                </c:pt>
                <c:pt idx="916">
                  <c:v>93.640752623961333</c:v>
                </c:pt>
                <c:pt idx="917">
                  <c:v>93.640752623961333</c:v>
                </c:pt>
                <c:pt idx="918">
                  <c:v>93.640752623961333</c:v>
                </c:pt>
                <c:pt idx="919">
                  <c:v>93.800249409426911</c:v>
                </c:pt>
                <c:pt idx="920">
                  <c:v>93.913555433745515</c:v>
                </c:pt>
                <c:pt idx="921">
                  <c:v>94.029046781783308</c:v>
                </c:pt>
                <c:pt idx="922">
                  <c:v>94.171654248605563</c:v>
                </c:pt>
                <c:pt idx="923">
                  <c:v>94.313733485565223</c:v>
                </c:pt>
                <c:pt idx="924">
                  <c:v>94.313733485565223</c:v>
                </c:pt>
                <c:pt idx="925">
                  <c:v>94.313733485565223</c:v>
                </c:pt>
                <c:pt idx="926">
                  <c:v>94.205215407956558</c:v>
                </c:pt>
                <c:pt idx="927">
                  <c:v>94.083550276602722</c:v>
                </c:pt>
                <c:pt idx="928">
                  <c:v>94.102689287603283</c:v>
                </c:pt>
                <c:pt idx="929">
                  <c:v>94.29162547518834</c:v>
                </c:pt>
                <c:pt idx="930">
                  <c:v>93.991791287386263</c:v>
                </c:pt>
                <c:pt idx="931">
                  <c:v>93.991791287386263</c:v>
                </c:pt>
                <c:pt idx="932">
                  <c:v>93.991791287386263</c:v>
                </c:pt>
                <c:pt idx="933">
                  <c:v>93.991791287386263</c:v>
                </c:pt>
                <c:pt idx="934">
                  <c:v>93.785035834118986</c:v>
                </c:pt>
                <c:pt idx="935">
                  <c:v>93.566884778365505</c:v>
                </c:pt>
                <c:pt idx="936">
                  <c:v>93.807858048162274</c:v>
                </c:pt>
                <c:pt idx="937">
                  <c:v>93.718534425997078</c:v>
                </c:pt>
                <c:pt idx="938">
                  <c:v>93.718534425997078</c:v>
                </c:pt>
                <c:pt idx="939">
                  <c:v>93.718534425997078</c:v>
                </c:pt>
                <c:pt idx="940">
                  <c:v>93.397807345191765</c:v>
                </c:pt>
                <c:pt idx="941">
                  <c:v>93.356339932594764</c:v>
                </c:pt>
                <c:pt idx="942">
                  <c:v>93.219946194847267</c:v>
                </c:pt>
                <c:pt idx="943">
                  <c:v>93.12236414329</c:v>
                </c:pt>
                <c:pt idx="944">
                  <c:v>93.936440247740947</c:v>
                </c:pt>
                <c:pt idx="945">
                  <c:v>93.936440247740947</c:v>
                </c:pt>
                <c:pt idx="946">
                  <c:v>93.936440247740947</c:v>
                </c:pt>
                <c:pt idx="947">
                  <c:v>94.104603616982388</c:v>
                </c:pt>
                <c:pt idx="948">
                  <c:v>94.099817939564147</c:v>
                </c:pt>
                <c:pt idx="949">
                  <c:v>94.041471843870781</c:v>
                </c:pt>
                <c:pt idx="950">
                  <c:v>94.023313245053373</c:v>
                </c:pt>
                <c:pt idx="951">
                  <c:v>94.158236479472492</c:v>
                </c:pt>
                <c:pt idx="952">
                  <c:v>94.158236479472492</c:v>
                </c:pt>
                <c:pt idx="953">
                  <c:v>94.158236479472492</c:v>
                </c:pt>
                <c:pt idx="954">
                  <c:v>94.309887869520978</c:v>
                </c:pt>
                <c:pt idx="955">
                  <c:v>94.366642527106094</c:v>
                </c:pt>
                <c:pt idx="956">
                  <c:v>94.468780313473317</c:v>
                </c:pt>
                <c:pt idx="957">
                  <c:v>94.581774315565738</c:v>
                </c:pt>
                <c:pt idx="958">
                  <c:v>94.795946596719247</c:v>
                </c:pt>
                <c:pt idx="959">
                  <c:v>94.795946596719247</c:v>
                </c:pt>
                <c:pt idx="960">
                  <c:v>94.795946596719247</c:v>
                </c:pt>
                <c:pt idx="961">
                  <c:v>95.20761512734768</c:v>
                </c:pt>
                <c:pt idx="962">
                  <c:v>95.163546595350851</c:v>
                </c:pt>
                <c:pt idx="963">
                  <c:v>95.163546595350851</c:v>
                </c:pt>
                <c:pt idx="964">
                  <c:v>95.61002831573083</c:v>
                </c:pt>
                <c:pt idx="965">
                  <c:v>95.929243913566538</c:v>
                </c:pt>
                <c:pt idx="966">
                  <c:v>95.929243913566538</c:v>
                </c:pt>
                <c:pt idx="967">
                  <c:v>95.929243913566538</c:v>
                </c:pt>
                <c:pt idx="968">
                  <c:v>95.99991698919834</c:v>
                </c:pt>
                <c:pt idx="969">
                  <c:v>96.0417726380917</c:v>
                </c:pt>
                <c:pt idx="970">
                  <c:v>95.647589115871426</c:v>
                </c:pt>
                <c:pt idx="971">
                  <c:v>95.249763208829336</c:v>
                </c:pt>
                <c:pt idx="972">
                  <c:v>94.737704414430212</c:v>
                </c:pt>
                <c:pt idx="973">
                  <c:v>94.737704414430212</c:v>
                </c:pt>
                <c:pt idx="974">
                  <c:v>94.737704414430212</c:v>
                </c:pt>
                <c:pt idx="975">
                  <c:v>94.720245712823257</c:v>
                </c:pt>
                <c:pt idx="976">
                  <c:v>94.792061556746475</c:v>
                </c:pt>
                <c:pt idx="977">
                  <c:v>94.92335788890496</c:v>
                </c:pt>
                <c:pt idx="978">
                  <c:v>95.177252432977511</c:v>
                </c:pt>
                <c:pt idx="979">
                  <c:v>95.066739280099583</c:v>
                </c:pt>
                <c:pt idx="980">
                  <c:v>95.066739280099583</c:v>
                </c:pt>
                <c:pt idx="981">
                  <c:v>95.066739280099583</c:v>
                </c:pt>
                <c:pt idx="982">
                  <c:v>95.060878499871677</c:v>
                </c:pt>
                <c:pt idx="983">
                  <c:v>94.850370613383205</c:v>
                </c:pt>
                <c:pt idx="984">
                  <c:v>94.594345892336904</c:v>
                </c:pt>
                <c:pt idx="985">
                  <c:v>94.630144832665209</c:v>
                </c:pt>
                <c:pt idx="986">
                  <c:v>94.814404886347447</c:v>
                </c:pt>
                <c:pt idx="987">
                  <c:v>94.814404886347447</c:v>
                </c:pt>
                <c:pt idx="988">
                  <c:v>94.814404886347447</c:v>
                </c:pt>
                <c:pt idx="989">
                  <c:v>94.814404886347447</c:v>
                </c:pt>
                <c:pt idx="990">
                  <c:v>94.814404886347447</c:v>
                </c:pt>
                <c:pt idx="991">
                  <c:v>94.99645757821574</c:v>
                </c:pt>
                <c:pt idx="992">
                  <c:v>95.443338319492526</c:v>
                </c:pt>
                <c:pt idx="993">
                  <c:v>95.516255252372048</c:v>
                </c:pt>
                <c:pt idx="994">
                  <c:v>95.516255252372048</c:v>
                </c:pt>
                <c:pt idx="995">
                  <c:v>95.516255252372048</c:v>
                </c:pt>
                <c:pt idx="996">
                  <c:v>95.336136185647831</c:v>
                </c:pt>
                <c:pt idx="997">
                  <c:v>95.754502173463109</c:v>
                </c:pt>
                <c:pt idx="998">
                  <c:v>95.589283684792449</c:v>
                </c:pt>
                <c:pt idx="999">
                  <c:v>95.588296069760773</c:v>
                </c:pt>
                <c:pt idx="1000">
                  <c:v>95.457124874898184</c:v>
                </c:pt>
                <c:pt idx="1001">
                  <c:v>95.457124874898184</c:v>
                </c:pt>
                <c:pt idx="1002">
                  <c:v>95.457124874898184</c:v>
                </c:pt>
                <c:pt idx="1003">
                  <c:v>95.277228538474276</c:v>
                </c:pt>
                <c:pt idx="1004">
                  <c:v>94.83675875147361</c:v>
                </c:pt>
                <c:pt idx="1005">
                  <c:v>94.592411586082875</c:v>
                </c:pt>
                <c:pt idx="1006">
                  <c:v>94.69310051891965</c:v>
                </c:pt>
                <c:pt idx="1007">
                  <c:v>94.187952395980815</c:v>
                </c:pt>
                <c:pt idx="1008">
                  <c:v>94.187952395980815</c:v>
                </c:pt>
                <c:pt idx="1009">
                  <c:v>94.187952395980815</c:v>
                </c:pt>
                <c:pt idx="1010">
                  <c:v>94.25704243288682</c:v>
                </c:pt>
                <c:pt idx="1011">
                  <c:v>94.373380663851393</c:v>
                </c:pt>
                <c:pt idx="1012">
                  <c:v>94.099817939564161</c:v>
                </c:pt>
                <c:pt idx="1013">
                  <c:v>94.16015306953274</c:v>
                </c:pt>
                <c:pt idx="1014">
                  <c:v>94.346433888764338</c:v>
                </c:pt>
                <c:pt idx="1015">
                  <c:v>94.346433888764338</c:v>
                </c:pt>
                <c:pt idx="1016">
                  <c:v>94.346433888764338</c:v>
                </c:pt>
                <c:pt idx="1017">
                  <c:v>94.012803576872372</c:v>
                </c:pt>
                <c:pt idx="1018">
                  <c:v>94.076853461863166</c:v>
                </c:pt>
                <c:pt idx="1019">
                  <c:v>93.766976121944396</c:v>
                </c:pt>
                <c:pt idx="1020">
                  <c:v>93.371414730638122</c:v>
                </c:pt>
                <c:pt idx="1021">
                  <c:v>93.188021877297857</c:v>
                </c:pt>
                <c:pt idx="1022">
                  <c:v>93.188021877297857</c:v>
                </c:pt>
                <c:pt idx="1023">
                  <c:v>93.188021877297857</c:v>
                </c:pt>
                <c:pt idx="1024">
                  <c:v>93.409123033741992</c:v>
                </c:pt>
                <c:pt idx="1025">
                  <c:v>93.579187991827411</c:v>
                </c:pt>
                <c:pt idx="1026">
                  <c:v>93.422328136360051</c:v>
                </c:pt>
                <c:pt idx="1027">
                  <c:v>93.684370411624812</c:v>
                </c:pt>
                <c:pt idx="1028">
                  <c:v>93.647387493167685</c:v>
                </c:pt>
                <c:pt idx="1029">
                  <c:v>93.647387493167685</c:v>
                </c:pt>
                <c:pt idx="1030">
                  <c:v>93.647387493167685</c:v>
                </c:pt>
                <c:pt idx="1031">
                  <c:v>93.87353382848336</c:v>
                </c:pt>
                <c:pt idx="1032">
                  <c:v>93.799298416367648</c:v>
                </c:pt>
                <c:pt idx="1033">
                  <c:v>93.860200872476497</c:v>
                </c:pt>
                <c:pt idx="1034">
                  <c:v>94.186993525267823</c:v>
                </c:pt>
                <c:pt idx="1035">
                  <c:v>94.035736791820057</c:v>
                </c:pt>
                <c:pt idx="1036">
                  <c:v>94.035736791820057</c:v>
                </c:pt>
                <c:pt idx="1037">
                  <c:v>94.035736791820057</c:v>
                </c:pt>
                <c:pt idx="1038">
                  <c:v>93.989881544994688</c:v>
                </c:pt>
                <c:pt idx="1039">
                  <c:v>94.490006434283586</c:v>
                </c:pt>
                <c:pt idx="1040">
                  <c:v>94.357018286402067</c:v>
                </c:pt>
                <c:pt idx="1041">
                  <c:v>93.789789546247192</c:v>
                </c:pt>
                <c:pt idx="1042">
                  <c:v>93.396864494897059</c:v>
                </c:pt>
                <c:pt idx="1043">
                  <c:v>93.396864494897059</c:v>
                </c:pt>
                <c:pt idx="1044">
                  <c:v>93.396864494897059</c:v>
                </c:pt>
                <c:pt idx="1045">
                  <c:v>93.219946194847282</c:v>
                </c:pt>
                <c:pt idx="1046">
                  <c:v>93.258472269822462</c:v>
                </c:pt>
                <c:pt idx="1047">
                  <c:v>92.880232908342606</c:v>
                </c:pt>
                <c:pt idx="1048">
                  <c:v>92.676476775285806</c:v>
                </c:pt>
                <c:pt idx="1049">
                  <c:v>92.415418885037667</c:v>
                </c:pt>
                <c:pt idx="1050">
                  <c:v>92.415418885037667</c:v>
                </c:pt>
                <c:pt idx="1051">
                  <c:v>92.415418885037667</c:v>
                </c:pt>
                <c:pt idx="1052">
                  <c:v>92.415418885037667</c:v>
                </c:pt>
                <c:pt idx="1053">
                  <c:v>92.761033908841227</c:v>
                </c:pt>
                <c:pt idx="1054">
                  <c:v>92.588367159040942</c:v>
                </c:pt>
                <c:pt idx="1055">
                  <c:v>92.319513046949126</c:v>
                </c:pt>
                <c:pt idx="1056">
                  <c:v>91.836572631077487</c:v>
                </c:pt>
                <c:pt idx="1057">
                  <c:v>91.836572631077487</c:v>
                </c:pt>
                <c:pt idx="1058">
                  <c:v>91.836572631077487</c:v>
                </c:pt>
                <c:pt idx="1059">
                  <c:v>92.156745557414993</c:v>
                </c:pt>
                <c:pt idx="1060">
                  <c:v>92.163171788613894</c:v>
                </c:pt>
                <c:pt idx="1061">
                  <c:v>92.532805248839892</c:v>
                </c:pt>
                <c:pt idx="1062">
                  <c:v>92.456978394259863</c:v>
                </c:pt>
                <c:pt idx="1063">
                  <c:v>92.549466818718443</c:v>
                </c:pt>
                <c:pt idx="1064">
                  <c:v>92.549466818718443</c:v>
                </c:pt>
                <c:pt idx="1065">
                  <c:v>92.549466818718443</c:v>
                </c:pt>
                <c:pt idx="1066">
                  <c:v>92.351766819724588</c:v>
                </c:pt>
                <c:pt idx="1067">
                  <c:v>92.514299428022966</c:v>
                </c:pt>
                <c:pt idx="1068">
                  <c:v>92.894221597469837</c:v>
                </c:pt>
                <c:pt idx="1069">
                  <c:v>93.238735424834061</c:v>
                </c:pt>
                <c:pt idx="1070">
                  <c:v>92.855995824802392</c:v>
                </c:pt>
                <c:pt idx="1071">
                  <c:v>92.855995824802392</c:v>
                </c:pt>
                <c:pt idx="1072">
                  <c:v>92.855995824802392</c:v>
                </c:pt>
                <c:pt idx="1073">
                  <c:v>92.457902363463845</c:v>
                </c:pt>
                <c:pt idx="1074">
                  <c:v>92.50597422335106</c:v>
                </c:pt>
                <c:pt idx="1075">
                  <c:v>92.634719746881188</c:v>
                </c:pt>
                <c:pt idx="1076">
                  <c:v>92.305696897136698</c:v>
                </c:pt>
                <c:pt idx="1077">
                  <c:v>92.69876258704484</c:v>
                </c:pt>
                <c:pt idx="1078">
                  <c:v>92.69876258704484</c:v>
                </c:pt>
                <c:pt idx="1079">
                  <c:v>92.69876258704484</c:v>
                </c:pt>
                <c:pt idx="1080">
                  <c:v>92.66255358359048</c:v>
                </c:pt>
                <c:pt idx="1081">
                  <c:v>92.585587478859665</c:v>
                </c:pt>
                <c:pt idx="1082">
                  <c:v>92.007359156680508</c:v>
                </c:pt>
                <c:pt idx="1083">
                  <c:v>91.904080740652532</c:v>
                </c:pt>
                <c:pt idx="1084">
                  <c:v>92.003699320796841</c:v>
                </c:pt>
                <c:pt idx="1085">
                  <c:v>92.003699320796841</c:v>
                </c:pt>
                <c:pt idx="1086">
                  <c:v>92.003699320796841</c:v>
                </c:pt>
                <c:pt idx="1087">
                  <c:v>92.001869512037544</c:v>
                </c:pt>
                <c:pt idx="1088">
                  <c:v>91.912297956466958</c:v>
                </c:pt>
                <c:pt idx="1089">
                  <c:v>91.895864993990756</c:v>
                </c:pt>
                <c:pt idx="1090">
                  <c:v>91.90316780736876</c:v>
                </c:pt>
                <c:pt idx="1091">
                  <c:v>91.676410551140606</c:v>
                </c:pt>
                <c:pt idx="1092">
                  <c:v>91.676410551140606</c:v>
                </c:pt>
                <c:pt idx="1093">
                  <c:v>91.676410551140606</c:v>
                </c:pt>
                <c:pt idx="1094">
                  <c:v>91.329799310964418</c:v>
                </c:pt>
                <c:pt idx="1095">
                  <c:v>91.320784515008313</c:v>
                </c:pt>
                <c:pt idx="1096">
                  <c:v>91.345128549425453</c:v>
                </c:pt>
                <c:pt idx="1097">
                  <c:v>91.242430817175958</c:v>
                </c:pt>
                <c:pt idx="1098">
                  <c:v>91.894952223921891</c:v>
                </c:pt>
                <c:pt idx="1099">
                  <c:v>91.894952223921891</c:v>
                </c:pt>
                <c:pt idx="1100">
                  <c:v>91.894952223921891</c:v>
                </c:pt>
                <c:pt idx="1101">
                  <c:v>92.435732198343544</c:v>
                </c:pt>
                <c:pt idx="1102">
                  <c:v>92.102617196444129</c:v>
                </c:pt>
                <c:pt idx="1103">
                  <c:v>92.088865884976101</c:v>
                </c:pt>
                <c:pt idx="1104">
                  <c:v>91.979917482726137</c:v>
                </c:pt>
                <c:pt idx="1105">
                  <c:v>91.727310582776553</c:v>
                </c:pt>
                <c:pt idx="1106">
                  <c:v>91.727310582776553</c:v>
                </c:pt>
                <c:pt idx="1107">
                  <c:v>91.727310582776553</c:v>
                </c:pt>
                <c:pt idx="1108">
                  <c:v>91.737315445558394</c:v>
                </c:pt>
                <c:pt idx="1109">
                  <c:v>92.167762502490646</c:v>
                </c:pt>
                <c:pt idx="1110">
                  <c:v>91.811054877443794</c:v>
                </c:pt>
                <c:pt idx="1111">
                  <c:v>92.089782511322454</c:v>
                </c:pt>
                <c:pt idx="1112">
                  <c:v>91.970773895322935</c:v>
                </c:pt>
                <c:pt idx="1113">
                  <c:v>91.970773895322935</c:v>
                </c:pt>
                <c:pt idx="1114">
                  <c:v>91.970773895322935</c:v>
                </c:pt>
                <c:pt idx="1115">
                  <c:v>92.479158753323702</c:v>
                </c:pt>
                <c:pt idx="1116">
                  <c:v>92.481007596961305</c:v>
                </c:pt>
                <c:pt idx="1117">
                  <c:v>92.534656238122935</c:v>
                </c:pt>
                <c:pt idx="1118">
                  <c:v>92.447739717814528</c:v>
                </c:pt>
                <c:pt idx="1119">
                  <c:v>92.677405136835432</c:v>
                </c:pt>
                <c:pt idx="1120">
                  <c:v>92.677405136835432</c:v>
                </c:pt>
                <c:pt idx="1121">
                  <c:v>92.677405136835432</c:v>
                </c:pt>
                <c:pt idx="1122">
                  <c:v>92.569839109901608</c:v>
                </c:pt>
                <c:pt idx="1123">
                  <c:v>92.43111475213307</c:v>
                </c:pt>
                <c:pt idx="1124">
                  <c:v>92.607829594706942</c:v>
                </c:pt>
                <c:pt idx="1125">
                  <c:v>92.281758697733864</c:v>
                </c:pt>
                <c:pt idx="1126">
                  <c:v>92.146649004511886</c:v>
                </c:pt>
                <c:pt idx="1127">
                  <c:v>92.146649004511886</c:v>
                </c:pt>
                <c:pt idx="1128">
                  <c:v>92.146649004511886</c:v>
                </c:pt>
                <c:pt idx="1129">
                  <c:v>92.120041421061089</c:v>
                </c:pt>
                <c:pt idx="1130">
                  <c:v>92.103534096565539</c:v>
                </c:pt>
                <c:pt idx="1131">
                  <c:v>92.379430853719498</c:v>
                </c:pt>
                <c:pt idx="1132">
                  <c:v>92.440350105911108</c:v>
                </c:pt>
                <c:pt idx="1133">
                  <c:v>92.16868070014651</c:v>
                </c:pt>
                <c:pt idx="1134">
                  <c:v>92.16868070014651</c:v>
                </c:pt>
                <c:pt idx="1135">
                  <c:v>92.16868070014651</c:v>
                </c:pt>
                <c:pt idx="1136">
                  <c:v>92.100783450967199</c:v>
                </c:pt>
                <c:pt idx="1137">
                  <c:v>92.420034763151122</c:v>
                </c:pt>
                <c:pt idx="1138">
                  <c:v>92.562429966383917</c:v>
                </c:pt>
                <c:pt idx="1139">
                  <c:v>92.799181520005689</c:v>
                </c:pt>
                <c:pt idx="1140">
                  <c:v>92.856927786420513</c:v>
                </c:pt>
                <c:pt idx="1141">
                  <c:v>92.856927786420513</c:v>
                </c:pt>
                <c:pt idx="1142">
                  <c:v>92.856927786420513</c:v>
                </c:pt>
                <c:pt idx="1143">
                  <c:v>92.934345869495417</c:v>
                </c:pt>
                <c:pt idx="1144">
                  <c:v>92.660697474110208</c:v>
                </c:pt>
                <c:pt idx="1145">
                  <c:v>92.630082399703724</c:v>
                </c:pt>
                <c:pt idx="1146">
                  <c:v>93.056798865430935</c:v>
                </c:pt>
                <c:pt idx="1147">
                  <c:v>92.879300478862859</c:v>
                </c:pt>
                <c:pt idx="1148">
                  <c:v>92.879300478862859</c:v>
                </c:pt>
                <c:pt idx="1149">
                  <c:v>92.879300478862859</c:v>
                </c:pt>
                <c:pt idx="1150">
                  <c:v>92.934345869495417</c:v>
                </c:pt>
                <c:pt idx="1151">
                  <c:v>93.285741653810945</c:v>
                </c:pt>
                <c:pt idx="1152">
                  <c:v>93.226521563885612</c:v>
                </c:pt>
                <c:pt idx="1153">
                  <c:v>92.840155339026495</c:v>
                </c:pt>
                <c:pt idx="1154">
                  <c:v>92.798250717165928</c:v>
                </c:pt>
                <c:pt idx="1155">
                  <c:v>92.798250717165928</c:v>
                </c:pt>
                <c:pt idx="1156">
                  <c:v>92.798250717165928</c:v>
                </c:pt>
                <c:pt idx="1157">
                  <c:v>93.286682261837612</c:v>
                </c:pt>
                <c:pt idx="1158">
                  <c:v>94.006116829409621</c:v>
                </c:pt>
                <c:pt idx="1159">
                  <c:v>94.751287854736205</c:v>
                </c:pt>
                <c:pt idx="1160">
                  <c:v>94.820235313409668</c:v>
                </c:pt>
                <c:pt idx="1161">
                  <c:v>95.080417244745988</c:v>
                </c:pt>
                <c:pt idx="1162">
                  <c:v>95.080417244745988</c:v>
                </c:pt>
                <c:pt idx="1163">
                  <c:v>95.080417244745988</c:v>
                </c:pt>
                <c:pt idx="1164">
                  <c:v>94.992556086041446</c:v>
                </c:pt>
                <c:pt idx="1165">
                  <c:v>95.611016379889477</c:v>
                </c:pt>
                <c:pt idx="1166">
                  <c:v>95.494565610065806</c:v>
                </c:pt>
                <c:pt idx="1167">
                  <c:v>95.357753911484053</c:v>
                </c:pt>
                <c:pt idx="1168">
                  <c:v>95.471900604709774</c:v>
                </c:pt>
                <c:pt idx="1169">
                  <c:v>95.471900604709774</c:v>
                </c:pt>
                <c:pt idx="1170">
                  <c:v>95.471900604709774</c:v>
                </c:pt>
                <c:pt idx="1171">
                  <c:v>95.824917917327014</c:v>
                </c:pt>
                <c:pt idx="1172">
                  <c:v>96.116605718085154</c:v>
                </c:pt>
                <c:pt idx="1173">
                  <c:v>95.908360545275542</c:v>
                </c:pt>
                <c:pt idx="1174">
                  <c:v>95.89643127377515</c:v>
                </c:pt>
                <c:pt idx="1175">
                  <c:v>96.050746454600244</c:v>
                </c:pt>
                <c:pt idx="1176">
                  <c:v>96.050746454600244</c:v>
                </c:pt>
                <c:pt idx="1177">
                  <c:v>96.050746454600244</c:v>
                </c:pt>
                <c:pt idx="1178">
                  <c:v>96.472403833119614</c:v>
                </c:pt>
                <c:pt idx="1179">
                  <c:v>96.539850157564175</c:v>
                </c:pt>
                <c:pt idx="1180">
                  <c:v>96.108617967256748</c:v>
                </c:pt>
                <c:pt idx="1181">
                  <c:v>96.061716730176229</c:v>
                </c:pt>
                <c:pt idx="1182">
                  <c:v>96.03977868435534</c:v>
                </c:pt>
                <c:pt idx="1183">
                  <c:v>96.03977868435534</c:v>
                </c:pt>
                <c:pt idx="1184">
                  <c:v>96.03977868435534</c:v>
                </c:pt>
                <c:pt idx="1185">
                  <c:v>96.099633334372072</c:v>
                </c:pt>
                <c:pt idx="1186">
                  <c:v>95.987964932302759</c:v>
                </c:pt>
                <c:pt idx="1187">
                  <c:v>96.403042617484658</c:v>
                </c:pt>
                <c:pt idx="1188">
                  <c:v>97.206257814387953</c:v>
                </c:pt>
                <c:pt idx="1189">
                  <c:v>96.917065607944636</c:v>
                </c:pt>
                <c:pt idx="1190">
                  <c:v>96.917065607944636</c:v>
                </c:pt>
                <c:pt idx="1191">
                  <c:v>96.917065607944636</c:v>
                </c:pt>
                <c:pt idx="1192">
                  <c:v>96.722528305437379</c:v>
                </c:pt>
                <c:pt idx="1193">
                  <c:v>96.993269452540233</c:v>
                </c:pt>
                <c:pt idx="1194">
                  <c:v>96.962773539029115</c:v>
                </c:pt>
                <c:pt idx="1195">
                  <c:v>98.42654552804882</c:v>
                </c:pt>
                <c:pt idx="1196">
                  <c:v>99.344987544025486</c:v>
                </c:pt>
                <c:pt idx="1197">
                  <c:v>99.344987544025486</c:v>
                </c:pt>
                <c:pt idx="1198">
                  <c:v>99.344987544025486</c:v>
                </c:pt>
                <c:pt idx="1199">
                  <c:v>99.556655547186097</c:v>
                </c:pt>
                <c:pt idx="1200">
                  <c:v>99.262915079663145</c:v>
                </c:pt>
                <c:pt idx="1201">
                  <c:v>99.828436397380173</c:v>
                </c:pt>
                <c:pt idx="1202">
                  <c:v>99.678934666436859</c:v>
                </c:pt>
                <c:pt idx="1203">
                  <c:v>99.807974454129649</c:v>
                </c:pt>
                <c:pt idx="1204">
                  <c:v>99.807974454129649</c:v>
                </c:pt>
                <c:pt idx="1205">
                  <c:v>99.807974454129649</c:v>
                </c:pt>
                <c:pt idx="1206">
                  <c:v>100.43967735281667</c:v>
                </c:pt>
                <c:pt idx="1207">
                  <c:v>100.06597661615672</c:v>
                </c:pt>
                <c:pt idx="1208">
                  <c:v>99.467816326750054</c:v>
                </c:pt>
                <c:pt idx="1209">
                  <c:v>99.847829136943005</c:v>
                </c:pt>
                <c:pt idx="1210">
                  <c:v>99.911447084233274</c:v>
                </c:pt>
                <c:pt idx="1211">
                  <c:v>99.911447084233274</c:v>
                </c:pt>
                <c:pt idx="1212">
                  <c:v>99.911447084233274</c:v>
                </c:pt>
                <c:pt idx="1213">
                  <c:v>100.04758094167011</c:v>
                </c:pt>
                <c:pt idx="1214">
                  <c:v>99.831667997496609</c:v>
                </c:pt>
                <c:pt idx="1215">
                  <c:v>99.843518988161421</c:v>
                </c:pt>
                <c:pt idx="1216">
                  <c:v>99.915763099917925</c:v>
                </c:pt>
                <c:pt idx="1217">
                  <c:v>99.686452822463337</c:v>
                </c:pt>
                <c:pt idx="1218">
                  <c:v>99.686452822463337</c:v>
                </c:pt>
                <c:pt idx="1219">
                  <c:v>99.686452822463337</c:v>
                </c:pt>
                <c:pt idx="1220">
                  <c:v>100.15697227544847</c:v>
                </c:pt>
                <c:pt idx="1221">
                  <c:v>100.60459755116246</c:v>
                </c:pt>
                <c:pt idx="1222">
                  <c:v>100.10495450168253</c:v>
                </c:pt>
                <c:pt idx="1223">
                  <c:v>99.818742852210704</c:v>
                </c:pt>
                <c:pt idx="1224">
                  <c:v>100.07896587159934</c:v>
                </c:pt>
                <c:pt idx="1225">
                  <c:v>100.07896587159934</c:v>
                </c:pt>
                <c:pt idx="1226">
                  <c:v>100.07896587159934</c:v>
                </c:pt>
                <c:pt idx="1227">
                  <c:v>99.101299313388409</c:v>
                </c:pt>
                <c:pt idx="1228">
                  <c:v>99.494558437647882</c:v>
                </c:pt>
                <c:pt idx="1229">
                  <c:v>99.412238757857423</c:v>
                </c:pt>
                <c:pt idx="1230">
                  <c:v>99.541659493888801</c:v>
                </c:pt>
                <c:pt idx="1231">
                  <c:v>99.396218306832836</c:v>
                </c:pt>
                <c:pt idx="1232">
                  <c:v>99.396218306832836</c:v>
                </c:pt>
                <c:pt idx="1233">
                  <c:v>99.396218306832836</c:v>
                </c:pt>
                <c:pt idx="1234">
                  <c:v>99.91036813857302</c:v>
                </c:pt>
                <c:pt idx="1235">
                  <c:v>100.12770562770562</c:v>
                </c:pt>
                <c:pt idx="1236">
                  <c:v>100.38191957988846</c:v>
                </c:pt>
                <c:pt idx="1237">
                  <c:v>100.12553840825956</c:v>
                </c:pt>
                <c:pt idx="1238">
                  <c:v>100.49531837240119</c:v>
                </c:pt>
                <c:pt idx="1239">
                  <c:v>100.49531837240119</c:v>
                </c:pt>
                <c:pt idx="1240">
                  <c:v>100.49531837240119</c:v>
                </c:pt>
                <c:pt idx="1241">
                  <c:v>100.63304907761921</c:v>
                </c:pt>
                <c:pt idx="1242">
                  <c:v>100.09845607885143</c:v>
                </c:pt>
                <c:pt idx="1243">
                  <c:v>99.846751564860767</c:v>
                </c:pt>
                <c:pt idx="1244">
                  <c:v>100.31770127405801</c:v>
                </c:pt>
                <c:pt idx="1245">
                  <c:v>100.22315625270822</c:v>
                </c:pt>
                <c:pt idx="1246">
                  <c:v>100.223156252708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04F-4E1F-B06E-48D36AF55A46}"/>
            </c:ext>
          </c:extLst>
        </c:ser>
        <c:ser>
          <c:idx val="6"/>
          <c:order val="6"/>
          <c:tx>
            <c:strRef>
              <c:f>FXHC!$Z$11</c:f>
              <c:strCache>
                <c:ptCount val="1"/>
                <c:pt idx="0">
                  <c:v>Kenya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FXHC!$S$12:$S$1258</c:f>
              <c:numCache>
                <c:formatCode>m/d/yyyy</c:formatCode>
                <c:ptCount val="1247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  <c:pt idx="243">
                  <c:v>44805</c:v>
                </c:pt>
                <c:pt idx="244">
                  <c:v>44806</c:v>
                </c:pt>
                <c:pt idx="245">
                  <c:v>44807</c:v>
                </c:pt>
                <c:pt idx="246">
                  <c:v>44808</c:v>
                </c:pt>
                <c:pt idx="247">
                  <c:v>44809</c:v>
                </c:pt>
                <c:pt idx="248">
                  <c:v>44810</c:v>
                </c:pt>
                <c:pt idx="249">
                  <c:v>44811</c:v>
                </c:pt>
                <c:pt idx="250">
                  <c:v>44812</c:v>
                </c:pt>
                <c:pt idx="251">
                  <c:v>44813</c:v>
                </c:pt>
                <c:pt idx="252">
                  <c:v>44814</c:v>
                </c:pt>
                <c:pt idx="253">
                  <c:v>44815</c:v>
                </c:pt>
                <c:pt idx="254">
                  <c:v>44816</c:v>
                </c:pt>
                <c:pt idx="255">
                  <c:v>44817</c:v>
                </c:pt>
                <c:pt idx="256">
                  <c:v>44818</c:v>
                </c:pt>
                <c:pt idx="257">
                  <c:v>44819</c:v>
                </c:pt>
                <c:pt idx="258">
                  <c:v>44820</c:v>
                </c:pt>
                <c:pt idx="259">
                  <c:v>44821</c:v>
                </c:pt>
                <c:pt idx="260">
                  <c:v>44822</c:v>
                </c:pt>
                <c:pt idx="261">
                  <c:v>44823</c:v>
                </c:pt>
                <c:pt idx="262">
                  <c:v>44824</c:v>
                </c:pt>
                <c:pt idx="263">
                  <c:v>44825</c:v>
                </c:pt>
                <c:pt idx="264">
                  <c:v>44826</c:v>
                </c:pt>
                <c:pt idx="265">
                  <c:v>44827</c:v>
                </c:pt>
                <c:pt idx="266">
                  <c:v>44828</c:v>
                </c:pt>
                <c:pt idx="267">
                  <c:v>44829</c:v>
                </c:pt>
                <c:pt idx="268">
                  <c:v>44830</c:v>
                </c:pt>
                <c:pt idx="269">
                  <c:v>44831</c:v>
                </c:pt>
                <c:pt idx="270">
                  <c:v>44832</c:v>
                </c:pt>
                <c:pt idx="271">
                  <c:v>44833</c:v>
                </c:pt>
                <c:pt idx="272">
                  <c:v>44834</c:v>
                </c:pt>
                <c:pt idx="273">
                  <c:v>44835</c:v>
                </c:pt>
                <c:pt idx="274">
                  <c:v>44836</c:v>
                </c:pt>
                <c:pt idx="275">
                  <c:v>44837</c:v>
                </c:pt>
                <c:pt idx="276">
                  <c:v>44838</c:v>
                </c:pt>
                <c:pt idx="277">
                  <c:v>44839</c:v>
                </c:pt>
                <c:pt idx="278">
                  <c:v>44840</c:v>
                </c:pt>
                <c:pt idx="279">
                  <c:v>44841</c:v>
                </c:pt>
                <c:pt idx="280">
                  <c:v>44842</c:v>
                </c:pt>
                <c:pt idx="281">
                  <c:v>44843</c:v>
                </c:pt>
                <c:pt idx="282">
                  <c:v>44844</c:v>
                </c:pt>
                <c:pt idx="283">
                  <c:v>44845</c:v>
                </c:pt>
                <c:pt idx="284">
                  <c:v>44846</c:v>
                </c:pt>
                <c:pt idx="285">
                  <c:v>44847</c:v>
                </c:pt>
                <c:pt idx="286">
                  <c:v>44848</c:v>
                </c:pt>
                <c:pt idx="287">
                  <c:v>44849</c:v>
                </c:pt>
                <c:pt idx="288">
                  <c:v>44850</c:v>
                </c:pt>
                <c:pt idx="289">
                  <c:v>44851</c:v>
                </c:pt>
                <c:pt idx="290">
                  <c:v>44852</c:v>
                </c:pt>
                <c:pt idx="291">
                  <c:v>44853</c:v>
                </c:pt>
                <c:pt idx="292">
                  <c:v>44854</c:v>
                </c:pt>
                <c:pt idx="293">
                  <c:v>44855</c:v>
                </c:pt>
                <c:pt idx="294">
                  <c:v>44856</c:v>
                </c:pt>
                <c:pt idx="295">
                  <c:v>44857</c:v>
                </c:pt>
                <c:pt idx="296">
                  <c:v>44858</c:v>
                </c:pt>
                <c:pt idx="297">
                  <c:v>44859</c:v>
                </c:pt>
                <c:pt idx="298">
                  <c:v>44860</c:v>
                </c:pt>
                <c:pt idx="299">
                  <c:v>44861</c:v>
                </c:pt>
                <c:pt idx="300">
                  <c:v>44862</c:v>
                </c:pt>
                <c:pt idx="301">
                  <c:v>44863</c:v>
                </c:pt>
                <c:pt idx="302">
                  <c:v>44864</c:v>
                </c:pt>
                <c:pt idx="303">
                  <c:v>44865</c:v>
                </c:pt>
                <c:pt idx="304">
                  <c:v>44866</c:v>
                </c:pt>
                <c:pt idx="305">
                  <c:v>44867</c:v>
                </c:pt>
                <c:pt idx="306">
                  <c:v>44868</c:v>
                </c:pt>
                <c:pt idx="307">
                  <c:v>44869</c:v>
                </c:pt>
                <c:pt idx="308">
                  <c:v>44870</c:v>
                </c:pt>
                <c:pt idx="309">
                  <c:v>44871</c:v>
                </c:pt>
                <c:pt idx="310">
                  <c:v>44872</c:v>
                </c:pt>
                <c:pt idx="311">
                  <c:v>44873</c:v>
                </c:pt>
                <c:pt idx="312">
                  <c:v>44874</c:v>
                </c:pt>
                <c:pt idx="313">
                  <c:v>44875</c:v>
                </c:pt>
                <c:pt idx="314">
                  <c:v>44876</c:v>
                </c:pt>
                <c:pt idx="315">
                  <c:v>44877</c:v>
                </c:pt>
                <c:pt idx="316">
                  <c:v>44878</c:v>
                </c:pt>
                <c:pt idx="317">
                  <c:v>44879</c:v>
                </c:pt>
                <c:pt idx="318">
                  <c:v>44880</c:v>
                </c:pt>
                <c:pt idx="319">
                  <c:v>44881</c:v>
                </c:pt>
                <c:pt idx="320">
                  <c:v>44882</c:v>
                </c:pt>
                <c:pt idx="321">
                  <c:v>44883</c:v>
                </c:pt>
                <c:pt idx="322">
                  <c:v>44884</c:v>
                </c:pt>
                <c:pt idx="323">
                  <c:v>44885</c:v>
                </c:pt>
                <c:pt idx="324">
                  <c:v>44886</c:v>
                </c:pt>
                <c:pt idx="325">
                  <c:v>44887</c:v>
                </c:pt>
                <c:pt idx="326">
                  <c:v>44888</c:v>
                </c:pt>
                <c:pt idx="327">
                  <c:v>44889</c:v>
                </c:pt>
                <c:pt idx="328">
                  <c:v>44890</c:v>
                </c:pt>
                <c:pt idx="329">
                  <c:v>44891</c:v>
                </c:pt>
                <c:pt idx="330">
                  <c:v>44892</c:v>
                </c:pt>
                <c:pt idx="331">
                  <c:v>44893</c:v>
                </c:pt>
                <c:pt idx="332">
                  <c:v>44894</c:v>
                </c:pt>
                <c:pt idx="333">
                  <c:v>44895</c:v>
                </c:pt>
                <c:pt idx="334">
                  <c:v>44896</c:v>
                </c:pt>
                <c:pt idx="335">
                  <c:v>44897</c:v>
                </c:pt>
                <c:pt idx="336">
                  <c:v>44898</c:v>
                </c:pt>
                <c:pt idx="337">
                  <c:v>44899</c:v>
                </c:pt>
                <c:pt idx="338">
                  <c:v>44900</c:v>
                </c:pt>
                <c:pt idx="339">
                  <c:v>44901</c:v>
                </c:pt>
                <c:pt idx="340">
                  <c:v>44902</c:v>
                </c:pt>
                <c:pt idx="341">
                  <c:v>44903</c:v>
                </c:pt>
                <c:pt idx="342">
                  <c:v>44904</c:v>
                </c:pt>
                <c:pt idx="343">
                  <c:v>44905</c:v>
                </c:pt>
                <c:pt idx="344">
                  <c:v>44906</c:v>
                </c:pt>
                <c:pt idx="345">
                  <c:v>44907</c:v>
                </c:pt>
                <c:pt idx="346">
                  <c:v>44908</c:v>
                </c:pt>
                <c:pt idx="347">
                  <c:v>44909</c:v>
                </c:pt>
                <c:pt idx="348">
                  <c:v>44910</c:v>
                </c:pt>
                <c:pt idx="349">
                  <c:v>44911</c:v>
                </c:pt>
                <c:pt idx="350">
                  <c:v>44912</c:v>
                </c:pt>
                <c:pt idx="351">
                  <c:v>44913</c:v>
                </c:pt>
                <c:pt idx="352">
                  <c:v>44914</c:v>
                </c:pt>
                <c:pt idx="353">
                  <c:v>44915</c:v>
                </c:pt>
                <c:pt idx="354">
                  <c:v>44916</c:v>
                </c:pt>
                <c:pt idx="355">
                  <c:v>44917</c:v>
                </c:pt>
                <c:pt idx="356">
                  <c:v>44918</c:v>
                </c:pt>
                <c:pt idx="357">
                  <c:v>44919</c:v>
                </c:pt>
                <c:pt idx="358">
                  <c:v>44920</c:v>
                </c:pt>
                <c:pt idx="359">
                  <c:v>44921</c:v>
                </c:pt>
                <c:pt idx="360">
                  <c:v>44922</c:v>
                </c:pt>
                <c:pt idx="361">
                  <c:v>44923</c:v>
                </c:pt>
                <c:pt idx="362">
                  <c:v>44924</c:v>
                </c:pt>
                <c:pt idx="363">
                  <c:v>44925</c:v>
                </c:pt>
                <c:pt idx="364">
                  <c:v>44926</c:v>
                </c:pt>
                <c:pt idx="365">
                  <c:v>44927</c:v>
                </c:pt>
                <c:pt idx="366">
                  <c:v>44928</c:v>
                </c:pt>
                <c:pt idx="367">
                  <c:v>44929</c:v>
                </c:pt>
                <c:pt idx="368">
                  <c:v>44930</c:v>
                </c:pt>
                <c:pt idx="369">
                  <c:v>44931</c:v>
                </c:pt>
                <c:pt idx="370">
                  <c:v>44932</c:v>
                </c:pt>
                <c:pt idx="371">
                  <c:v>44933</c:v>
                </c:pt>
                <c:pt idx="372">
                  <c:v>44934</c:v>
                </c:pt>
                <c:pt idx="373">
                  <c:v>44935</c:v>
                </c:pt>
                <c:pt idx="374">
                  <c:v>44936</c:v>
                </c:pt>
                <c:pt idx="375">
                  <c:v>44937</c:v>
                </c:pt>
                <c:pt idx="376">
                  <c:v>44938</c:v>
                </c:pt>
                <c:pt idx="377">
                  <c:v>44939</c:v>
                </c:pt>
                <c:pt idx="378">
                  <c:v>44940</c:v>
                </c:pt>
                <c:pt idx="379">
                  <c:v>44941</c:v>
                </c:pt>
                <c:pt idx="380">
                  <c:v>44942</c:v>
                </c:pt>
                <c:pt idx="381">
                  <c:v>44943</c:v>
                </c:pt>
                <c:pt idx="382">
                  <c:v>44944</c:v>
                </c:pt>
                <c:pt idx="383">
                  <c:v>44945</c:v>
                </c:pt>
                <c:pt idx="384">
                  <c:v>44946</c:v>
                </c:pt>
                <c:pt idx="385">
                  <c:v>44947</c:v>
                </c:pt>
                <c:pt idx="386">
                  <c:v>44948</c:v>
                </c:pt>
                <c:pt idx="387">
                  <c:v>44949</c:v>
                </c:pt>
                <c:pt idx="388">
                  <c:v>44950</c:v>
                </c:pt>
                <c:pt idx="389">
                  <c:v>44951</c:v>
                </c:pt>
                <c:pt idx="390">
                  <c:v>44952</c:v>
                </c:pt>
                <c:pt idx="391">
                  <c:v>44953</c:v>
                </c:pt>
                <c:pt idx="392">
                  <c:v>44954</c:v>
                </c:pt>
                <c:pt idx="393">
                  <c:v>44955</c:v>
                </c:pt>
                <c:pt idx="394">
                  <c:v>44956</c:v>
                </c:pt>
                <c:pt idx="395">
                  <c:v>44957</c:v>
                </c:pt>
                <c:pt idx="396">
                  <c:v>44958</c:v>
                </c:pt>
                <c:pt idx="397">
                  <c:v>44959</c:v>
                </c:pt>
                <c:pt idx="398">
                  <c:v>44960</c:v>
                </c:pt>
                <c:pt idx="399">
                  <c:v>44961</c:v>
                </c:pt>
                <c:pt idx="400">
                  <c:v>44962</c:v>
                </c:pt>
                <c:pt idx="401">
                  <c:v>44963</c:v>
                </c:pt>
                <c:pt idx="402">
                  <c:v>44964</c:v>
                </c:pt>
                <c:pt idx="403">
                  <c:v>44965</c:v>
                </c:pt>
                <c:pt idx="404">
                  <c:v>44966</c:v>
                </c:pt>
                <c:pt idx="405">
                  <c:v>44967</c:v>
                </c:pt>
                <c:pt idx="406">
                  <c:v>44968</c:v>
                </c:pt>
                <c:pt idx="407">
                  <c:v>44969</c:v>
                </c:pt>
                <c:pt idx="408">
                  <c:v>44970</c:v>
                </c:pt>
                <c:pt idx="409">
                  <c:v>44971</c:v>
                </c:pt>
                <c:pt idx="410">
                  <c:v>44972</c:v>
                </c:pt>
                <c:pt idx="411">
                  <c:v>44973</c:v>
                </c:pt>
                <c:pt idx="412">
                  <c:v>44974</c:v>
                </c:pt>
                <c:pt idx="413">
                  <c:v>44975</c:v>
                </c:pt>
                <c:pt idx="414">
                  <c:v>44976</c:v>
                </c:pt>
                <c:pt idx="415">
                  <c:v>44977</c:v>
                </c:pt>
                <c:pt idx="416">
                  <c:v>44978</c:v>
                </c:pt>
                <c:pt idx="417">
                  <c:v>44979</c:v>
                </c:pt>
                <c:pt idx="418">
                  <c:v>44980</c:v>
                </c:pt>
                <c:pt idx="419">
                  <c:v>44981</c:v>
                </c:pt>
                <c:pt idx="420">
                  <c:v>44982</c:v>
                </c:pt>
                <c:pt idx="421">
                  <c:v>44983</c:v>
                </c:pt>
                <c:pt idx="422">
                  <c:v>44984</c:v>
                </c:pt>
                <c:pt idx="423">
                  <c:v>44985</c:v>
                </c:pt>
                <c:pt idx="424">
                  <c:v>44986</c:v>
                </c:pt>
                <c:pt idx="425">
                  <c:v>44987</c:v>
                </c:pt>
                <c:pt idx="426">
                  <c:v>44988</c:v>
                </c:pt>
                <c:pt idx="427">
                  <c:v>44989</c:v>
                </c:pt>
                <c:pt idx="428">
                  <c:v>44990</c:v>
                </c:pt>
                <c:pt idx="429">
                  <c:v>44991</c:v>
                </c:pt>
                <c:pt idx="430">
                  <c:v>44992</c:v>
                </c:pt>
                <c:pt idx="431">
                  <c:v>44993</c:v>
                </c:pt>
                <c:pt idx="432">
                  <c:v>44994</c:v>
                </c:pt>
                <c:pt idx="433">
                  <c:v>44995</c:v>
                </c:pt>
                <c:pt idx="434">
                  <c:v>44996</c:v>
                </c:pt>
                <c:pt idx="435">
                  <c:v>44997</c:v>
                </c:pt>
                <c:pt idx="436">
                  <c:v>44998</c:v>
                </c:pt>
                <c:pt idx="437">
                  <c:v>44999</c:v>
                </c:pt>
                <c:pt idx="438">
                  <c:v>45000</c:v>
                </c:pt>
                <c:pt idx="439">
                  <c:v>45001</c:v>
                </c:pt>
                <c:pt idx="440">
                  <c:v>45002</c:v>
                </c:pt>
                <c:pt idx="441">
                  <c:v>45003</c:v>
                </c:pt>
                <c:pt idx="442">
                  <c:v>45004</c:v>
                </c:pt>
                <c:pt idx="443">
                  <c:v>45005</c:v>
                </c:pt>
                <c:pt idx="444">
                  <c:v>45006</c:v>
                </c:pt>
                <c:pt idx="445">
                  <c:v>45007</c:v>
                </c:pt>
                <c:pt idx="446">
                  <c:v>45008</c:v>
                </c:pt>
                <c:pt idx="447">
                  <c:v>45009</c:v>
                </c:pt>
                <c:pt idx="448">
                  <c:v>45010</c:v>
                </c:pt>
                <c:pt idx="449">
                  <c:v>45011</c:v>
                </c:pt>
                <c:pt idx="450">
                  <c:v>45012</c:v>
                </c:pt>
                <c:pt idx="451">
                  <c:v>45013</c:v>
                </c:pt>
                <c:pt idx="452">
                  <c:v>45014</c:v>
                </c:pt>
                <c:pt idx="453">
                  <c:v>45015</c:v>
                </c:pt>
                <c:pt idx="454">
                  <c:v>45016</c:v>
                </c:pt>
                <c:pt idx="455">
                  <c:v>45017</c:v>
                </c:pt>
                <c:pt idx="456">
                  <c:v>45018</c:v>
                </c:pt>
                <c:pt idx="457">
                  <c:v>45019</c:v>
                </c:pt>
                <c:pt idx="458">
                  <c:v>45020</c:v>
                </c:pt>
                <c:pt idx="459">
                  <c:v>45021</c:v>
                </c:pt>
                <c:pt idx="460">
                  <c:v>45022</c:v>
                </c:pt>
                <c:pt idx="461">
                  <c:v>45023</c:v>
                </c:pt>
                <c:pt idx="462">
                  <c:v>45024</c:v>
                </c:pt>
                <c:pt idx="463">
                  <c:v>45025</c:v>
                </c:pt>
                <c:pt idx="464">
                  <c:v>45026</c:v>
                </c:pt>
                <c:pt idx="465">
                  <c:v>45027</c:v>
                </c:pt>
                <c:pt idx="466">
                  <c:v>45028</c:v>
                </c:pt>
                <c:pt idx="467">
                  <c:v>45029</c:v>
                </c:pt>
                <c:pt idx="468">
                  <c:v>45030</c:v>
                </c:pt>
                <c:pt idx="469">
                  <c:v>45031</c:v>
                </c:pt>
                <c:pt idx="470">
                  <c:v>45032</c:v>
                </c:pt>
                <c:pt idx="471">
                  <c:v>45033</c:v>
                </c:pt>
                <c:pt idx="472">
                  <c:v>45034</c:v>
                </c:pt>
                <c:pt idx="473">
                  <c:v>45035</c:v>
                </c:pt>
                <c:pt idx="474">
                  <c:v>45036</c:v>
                </c:pt>
                <c:pt idx="475">
                  <c:v>45037</c:v>
                </c:pt>
                <c:pt idx="476">
                  <c:v>45038</c:v>
                </c:pt>
                <c:pt idx="477">
                  <c:v>45039</c:v>
                </c:pt>
                <c:pt idx="478">
                  <c:v>45040</c:v>
                </c:pt>
                <c:pt idx="479">
                  <c:v>45041</c:v>
                </c:pt>
                <c:pt idx="480">
                  <c:v>45042</c:v>
                </c:pt>
                <c:pt idx="481">
                  <c:v>45043</c:v>
                </c:pt>
                <c:pt idx="482">
                  <c:v>45044</c:v>
                </c:pt>
                <c:pt idx="483">
                  <c:v>45045</c:v>
                </c:pt>
                <c:pt idx="484">
                  <c:v>45046</c:v>
                </c:pt>
                <c:pt idx="485">
                  <c:v>45047</c:v>
                </c:pt>
                <c:pt idx="486">
                  <c:v>45048</c:v>
                </c:pt>
                <c:pt idx="487">
                  <c:v>45049</c:v>
                </c:pt>
                <c:pt idx="488">
                  <c:v>45050</c:v>
                </c:pt>
                <c:pt idx="489">
                  <c:v>45051</c:v>
                </c:pt>
                <c:pt idx="490">
                  <c:v>45052</c:v>
                </c:pt>
                <c:pt idx="491">
                  <c:v>45053</c:v>
                </c:pt>
                <c:pt idx="492">
                  <c:v>45054</c:v>
                </c:pt>
                <c:pt idx="493">
                  <c:v>45055</c:v>
                </c:pt>
                <c:pt idx="494">
                  <c:v>45056</c:v>
                </c:pt>
                <c:pt idx="495">
                  <c:v>45057</c:v>
                </c:pt>
                <c:pt idx="496">
                  <c:v>45058</c:v>
                </c:pt>
                <c:pt idx="497">
                  <c:v>45059</c:v>
                </c:pt>
                <c:pt idx="498">
                  <c:v>45060</c:v>
                </c:pt>
                <c:pt idx="499">
                  <c:v>45061</c:v>
                </c:pt>
                <c:pt idx="500">
                  <c:v>45062</c:v>
                </c:pt>
                <c:pt idx="501">
                  <c:v>45063</c:v>
                </c:pt>
                <c:pt idx="502">
                  <c:v>45064</c:v>
                </c:pt>
                <c:pt idx="503">
                  <c:v>45065</c:v>
                </c:pt>
                <c:pt idx="504">
                  <c:v>45066</c:v>
                </c:pt>
                <c:pt idx="505">
                  <c:v>45067</c:v>
                </c:pt>
                <c:pt idx="506">
                  <c:v>45068</c:v>
                </c:pt>
                <c:pt idx="507">
                  <c:v>45069</c:v>
                </c:pt>
                <c:pt idx="508">
                  <c:v>45070</c:v>
                </c:pt>
                <c:pt idx="509">
                  <c:v>45071</c:v>
                </c:pt>
                <c:pt idx="510">
                  <c:v>45072</c:v>
                </c:pt>
                <c:pt idx="511">
                  <c:v>45073</c:v>
                </c:pt>
                <c:pt idx="512">
                  <c:v>45074</c:v>
                </c:pt>
                <c:pt idx="513">
                  <c:v>45075</c:v>
                </c:pt>
                <c:pt idx="514">
                  <c:v>45076</c:v>
                </c:pt>
                <c:pt idx="515">
                  <c:v>45077</c:v>
                </c:pt>
                <c:pt idx="516">
                  <c:v>45078</c:v>
                </c:pt>
                <c:pt idx="517">
                  <c:v>45079</c:v>
                </c:pt>
                <c:pt idx="518">
                  <c:v>45080</c:v>
                </c:pt>
                <c:pt idx="519">
                  <c:v>45081</c:v>
                </c:pt>
                <c:pt idx="520">
                  <c:v>45082</c:v>
                </c:pt>
                <c:pt idx="521">
                  <c:v>45083</c:v>
                </c:pt>
                <c:pt idx="522">
                  <c:v>45084</c:v>
                </c:pt>
                <c:pt idx="523">
                  <c:v>45085</c:v>
                </c:pt>
                <c:pt idx="524">
                  <c:v>45086</c:v>
                </c:pt>
                <c:pt idx="525">
                  <c:v>45087</c:v>
                </c:pt>
                <c:pt idx="526">
                  <c:v>45088</c:v>
                </c:pt>
                <c:pt idx="527">
                  <c:v>45089</c:v>
                </c:pt>
                <c:pt idx="528">
                  <c:v>45090</c:v>
                </c:pt>
                <c:pt idx="529">
                  <c:v>45091</c:v>
                </c:pt>
                <c:pt idx="530">
                  <c:v>45092</c:v>
                </c:pt>
                <c:pt idx="531">
                  <c:v>45093</c:v>
                </c:pt>
                <c:pt idx="532">
                  <c:v>45094</c:v>
                </c:pt>
                <c:pt idx="533">
                  <c:v>45095</c:v>
                </c:pt>
                <c:pt idx="534">
                  <c:v>45096</c:v>
                </c:pt>
                <c:pt idx="535">
                  <c:v>45097</c:v>
                </c:pt>
                <c:pt idx="536">
                  <c:v>45098</c:v>
                </c:pt>
                <c:pt idx="537">
                  <c:v>45099</c:v>
                </c:pt>
                <c:pt idx="538">
                  <c:v>45100</c:v>
                </c:pt>
                <c:pt idx="539">
                  <c:v>45101</c:v>
                </c:pt>
                <c:pt idx="540">
                  <c:v>45102</c:v>
                </c:pt>
                <c:pt idx="541">
                  <c:v>45103</c:v>
                </c:pt>
                <c:pt idx="542">
                  <c:v>45104</c:v>
                </c:pt>
                <c:pt idx="543">
                  <c:v>45105</c:v>
                </c:pt>
                <c:pt idx="544">
                  <c:v>45106</c:v>
                </c:pt>
                <c:pt idx="545">
                  <c:v>45107</c:v>
                </c:pt>
                <c:pt idx="546">
                  <c:v>45108</c:v>
                </c:pt>
                <c:pt idx="547">
                  <c:v>45109</c:v>
                </c:pt>
                <c:pt idx="548">
                  <c:v>45110</c:v>
                </c:pt>
                <c:pt idx="549">
                  <c:v>45111</c:v>
                </c:pt>
                <c:pt idx="550">
                  <c:v>45112</c:v>
                </c:pt>
                <c:pt idx="551">
                  <c:v>45113</c:v>
                </c:pt>
                <c:pt idx="552">
                  <c:v>45114</c:v>
                </c:pt>
                <c:pt idx="553">
                  <c:v>45115</c:v>
                </c:pt>
                <c:pt idx="554">
                  <c:v>45116</c:v>
                </c:pt>
                <c:pt idx="555">
                  <c:v>45117</c:v>
                </c:pt>
                <c:pt idx="556">
                  <c:v>45118</c:v>
                </c:pt>
                <c:pt idx="557">
                  <c:v>45119</c:v>
                </c:pt>
                <c:pt idx="558">
                  <c:v>45120</c:v>
                </c:pt>
                <c:pt idx="559">
                  <c:v>45121</c:v>
                </c:pt>
                <c:pt idx="560">
                  <c:v>45122</c:v>
                </c:pt>
                <c:pt idx="561">
                  <c:v>45123</c:v>
                </c:pt>
                <c:pt idx="562">
                  <c:v>45124</c:v>
                </c:pt>
                <c:pt idx="563">
                  <c:v>45125</c:v>
                </c:pt>
                <c:pt idx="564">
                  <c:v>45126</c:v>
                </c:pt>
                <c:pt idx="565">
                  <c:v>45127</c:v>
                </c:pt>
                <c:pt idx="566">
                  <c:v>45128</c:v>
                </c:pt>
                <c:pt idx="567">
                  <c:v>45129</c:v>
                </c:pt>
                <c:pt idx="568">
                  <c:v>45130</c:v>
                </c:pt>
                <c:pt idx="569">
                  <c:v>45131</c:v>
                </c:pt>
                <c:pt idx="570">
                  <c:v>45132</c:v>
                </c:pt>
                <c:pt idx="571">
                  <c:v>45133</c:v>
                </c:pt>
                <c:pt idx="572">
                  <c:v>45134</c:v>
                </c:pt>
                <c:pt idx="573">
                  <c:v>45135</c:v>
                </c:pt>
                <c:pt idx="574">
                  <c:v>45136</c:v>
                </c:pt>
                <c:pt idx="575">
                  <c:v>45137</c:v>
                </c:pt>
                <c:pt idx="576">
                  <c:v>45138</c:v>
                </c:pt>
                <c:pt idx="577">
                  <c:v>45139</c:v>
                </c:pt>
                <c:pt idx="578">
                  <c:v>45140</c:v>
                </c:pt>
                <c:pt idx="579">
                  <c:v>45141</c:v>
                </c:pt>
                <c:pt idx="580">
                  <c:v>45142</c:v>
                </c:pt>
                <c:pt idx="581">
                  <c:v>45143</c:v>
                </c:pt>
                <c:pt idx="582">
                  <c:v>45144</c:v>
                </c:pt>
                <c:pt idx="583">
                  <c:v>45145</c:v>
                </c:pt>
                <c:pt idx="584">
                  <c:v>45146</c:v>
                </c:pt>
                <c:pt idx="585">
                  <c:v>45147</c:v>
                </c:pt>
                <c:pt idx="586">
                  <c:v>45148</c:v>
                </c:pt>
                <c:pt idx="587">
                  <c:v>45149</c:v>
                </c:pt>
                <c:pt idx="588">
                  <c:v>45150</c:v>
                </c:pt>
                <c:pt idx="589">
                  <c:v>45151</c:v>
                </c:pt>
                <c:pt idx="590">
                  <c:v>45152</c:v>
                </c:pt>
                <c:pt idx="591">
                  <c:v>45153</c:v>
                </c:pt>
                <c:pt idx="592">
                  <c:v>45154</c:v>
                </c:pt>
                <c:pt idx="593">
                  <c:v>45155</c:v>
                </c:pt>
                <c:pt idx="594">
                  <c:v>45156</c:v>
                </c:pt>
                <c:pt idx="595">
                  <c:v>45157</c:v>
                </c:pt>
                <c:pt idx="596">
                  <c:v>45158</c:v>
                </c:pt>
                <c:pt idx="597">
                  <c:v>45159</c:v>
                </c:pt>
                <c:pt idx="598">
                  <c:v>45160</c:v>
                </c:pt>
                <c:pt idx="599">
                  <c:v>45161</c:v>
                </c:pt>
                <c:pt idx="600">
                  <c:v>45162</c:v>
                </c:pt>
                <c:pt idx="601">
                  <c:v>45163</c:v>
                </c:pt>
                <c:pt idx="602">
                  <c:v>45164</c:v>
                </c:pt>
                <c:pt idx="603">
                  <c:v>45165</c:v>
                </c:pt>
                <c:pt idx="604">
                  <c:v>45166</c:v>
                </c:pt>
                <c:pt idx="605">
                  <c:v>45167</c:v>
                </c:pt>
                <c:pt idx="606">
                  <c:v>45168</c:v>
                </c:pt>
                <c:pt idx="607">
                  <c:v>45169</c:v>
                </c:pt>
                <c:pt idx="608">
                  <c:v>45170</c:v>
                </c:pt>
                <c:pt idx="609">
                  <c:v>45171</c:v>
                </c:pt>
                <c:pt idx="610">
                  <c:v>45172</c:v>
                </c:pt>
                <c:pt idx="611">
                  <c:v>45173</c:v>
                </c:pt>
                <c:pt idx="612">
                  <c:v>45174</c:v>
                </c:pt>
                <c:pt idx="613">
                  <c:v>45175</c:v>
                </c:pt>
                <c:pt idx="614">
                  <c:v>45176</c:v>
                </c:pt>
                <c:pt idx="615">
                  <c:v>45177</c:v>
                </c:pt>
                <c:pt idx="616">
                  <c:v>45178</c:v>
                </c:pt>
                <c:pt idx="617">
                  <c:v>45179</c:v>
                </c:pt>
                <c:pt idx="618">
                  <c:v>45180</c:v>
                </c:pt>
                <c:pt idx="619">
                  <c:v>45181</c:v>
                </c:pt>
                <c:pt idx="620">
                  <c:v>45182</c:v>
                </c:pt>
                <c:pt idx="621">
                  <c:v>45183</c:v>
                </c:pt>
                <c:pt idx="622">
                  <c:v>45184</c:v>
                </c:pt>
                <c:pt idx="623">
                  <c:v>45185</c:v>
                </c:pt>
                <c:pt idx="624">
                  <c:v>45186</c:v>
                </c:pt>
                <c:pt idx="625">
                  <c:v>45187</c:v>
                </c:pt>
                <c:pt idx="626">
                  <c:v>45188</c:v>
                </c:pt>
                <c:pt idx="627">
                  <c:v>45189</c:v>
                </c:pt>
                <c:pt idx="628">
                  <c:v>45190</c:v>
                </c:pt>
                <c:pt idx="629">
                  <c:v>45191</c:v>
                </c:pt>
                <c:pt idx="630">
                  <c:v>45192</c:v>
                </c:pt>
                <c:pt idx="631">
                  <c:v>45193</c:v>
                </c:pt>
                <c:pt idx="632">
                  <c:v>45194</c:v>
                </c:pt>
                <c:pt idx="633">
                  <c:v>45195</c:v>
                </c:pt>
                <c:pt idx="634">
                  <c:v>45196</c:v>
                </c:pt>
                <c:pt idx="635">
                  <c:v>45197</c:v>
                </c:pt>
                <c:pt idx="636">
                  <c:v>45198</c:v>
                </c:pt>
                <c:pt idx="637">
                  <c:v>45199</c:v>
                </c:pt>
                <c:pt idx="638">
                  <c:v>45200</c:v>
                </c:pt>
                <c:pt idx="639">
                  <c:v>45201</c:v>
                </c:pt>
                <c:pt idx="640">
                  <c:v>45202</c:v>
                </c:pt>
                <c:pt idx="641">
                  <c:v>45203</c:v>
                </c:pt>
                <c:pt idx="642">
                  <c:v>45204</c:v>
                </c:pt>
                <c:pt idx="643">
                  <c:v>45205</c:v>
                </c:pt>
                <c:pt idx="644">
                  <c:v>45206</c:v>
                </c:pt>
                <c:pt idx="645">
                  <c:v>45207</c:v>
                </c:pt>
                <c:pt idx="646">
                  <c:v>45208</c:v>
                </c:pt>
                <c:pt idx="647">
                  <c:v>45209</c:v>
                </c:pt>
                <c:pt idx="648">
                  <c:v>45210</c:v>
                </c:pt>
                <c:pt idx="649">
                  <c:v>45211</c:v>
                </c:pt>
                <c:pt idx="650">
                  <c:v>45212</c:v>
                </c:pt>
                <c:pt idx="651">
                  <c:v>45213</c:v>
                </c:pt>
                <c:pt idx="652">
                  <c:v>45214</c:v>
                </c:pt>
                <c:pt idx="653">
                  <c:v>45215</c:v>
                </c:pt>
                <c:pt idx="654">
                  <c:v>45216</c:v>
                </c:pt>
                <c:pt idx="655">
                  <c:v>45217</c:v>
                </c:pt>
                <c:pt idx="656">
                  <c:v>45218</c:v>
                </c:pt>
                <c:pt idx="657">
                  <c:v>45219</c:v>
                </c:pt>
                <c:pt idx="658">
                  <c:v>45220</c:v>
                </c:pt>
                <c:pt idx="659">
                  <c:v>45221</c:v>
                </c:pt>
                <c:pt idx="660">
                  <c:v>45222</c:v>
                </c:pt>
                <c:pt idx="661">
                  <c:v>45223</c:v>
                </c:pt>
                <c:pt idx="662">
                  <c:v>45224</c:v>
                </c:pt>
                <c:pt idx="663">
                  <c:v>45225</c:v>
                </c:pt>
                <c:pt idx="664">
                  <c:v>45226</c:v>
                </c:pt>
                <c:pt idx="665">
                  <c:v>45227</c:v>
                </c:pt>
                <c:pt idx="666">
                  <c:v>45228</c:v>
                </c:pt>
                <c:pt idx="667">
                  <c:v>45229</c:v>
                </c:pt>
                <c:pt idx="668">
                  <c:v>45230</c:v>
                </c:pt>
                <c:pt idx="669">
                  <c:v>45231</c:v>
                </c:pt>
                <c:pt idx="670">
                  <c:v>45232</c:v>
                </c:pt>
                <c:pt idx="671">
                  <c:v>45233</c:v>
                </c:pt>
                <c:pt idx="672">
                  <c:v>45234</c:v>
                </c:pt>
                <c:pt idx="673">
                  <c:v>45235</c:v>
                </c:pt>
                <c:pt idx="674">
                  <c:v>45236</c:v>
                </c:pt>
                <c:pt idx="675">
                  <c:v>45237</c:v>
                </c:pt>
                <c:pt idx="676">
                  <c:v>45238</c:v>
                </c:pt>
                <c:pt idx="677">
                  <c:v>45239</c:v>
                </c:pt>
                <c:pt idx="678">
                  <c:v>45240</c:v>
                </c:pt>
                <c:pt idx="679">
                  <c:v>45241</c:v>
                </c:pt>
                <c:pt idx="680">
                  <c:v>45242</c:v>
                </c:pt>
                <c:pt idx="681">
                  <c:v>45243</c:v>
                </c:pt>
                <c:pt idx="682">
                  <c:v>45244</c:v>
                </c:pt>
                <c:pt idx="683">
                  <c:v>45245</c:v>
                </c:pt>
                <c:pt idx="684">
                  <c:v>45246</c:v>
                </c:pt>
                <c:pt idx="685">
                  <c:v>45247</c:v>
                </c:pt>
                <c:pt idx="686">
                  <c:v>45248</c:v>
                </c:pt>
                <c:pt idx="687">
                  <c:v>45249</c:v>
                </c:pt>
                <c:pt idx="688">
                  <c:v>45250</c:v>
                </c:pt>
                <c:pt idx="689">
                  <c:v>45251</c:v>
                </c:pt>
                <c:pt idx="690">
                  <c:v>45252</c:v>
                </c:pt>
                <c:pt idx="691">
                  <c:v>45253</c:v>
                </c:pt>
                <c:pt idx="692">
                  <c:v>45254</c:v>
                </c:pt>
                <c:pt idx="693">
                  <c:v>45255</c:v>
                </c:pt>
                <c:pt idx="694">
                  <c:v>45256</c:v>
                </c:pt>
                <c:pt idx="695">
                  <c:v>45257</c:v>
                </c:pt>
                <c:pt idx="696">
                  <c:v>45258</c:v>
                </c:pt>
                <c:pt idx="697">
                  <c:v>45259</c:v>
                </c:pt>
                <c:pt idx="698">
                  <c:v>45260</c:v>
                </c:pt>
                <c:pt idx="699">
                  <c:v>45261</c:v>
                </c:pt>
                <c:pt idx="700">
                  <c:v>45262</c:v>
                </c:pt>
                <c:pt idx="701">
                  <c:v>45263</c:v>
                </c:pt>
                <c:pt idx="702">
                  <c:v>45264</c:v>
                </c:pt>
                <c:pt idx="703">
                  <c:v>45265</c:v>
                </c:pt>
                <c:pt idx="704">
                  <c:v>45266</c:v>
                </c:pt>
                <c:pt idx="705">
                  <c:v>45267</c:v>
                </c:pt>
                <c:pt idx="706">
                  <c:v>45268</c:v>
                </c:pt>
                <c:pt idx="707">
                  <c:v>45269</c:v>
                </c:pt>
                <c:pt idx="708">
                  <c:v>45270</c:v>
                </c:pt>
                <c:pt idx="709">
                  <c:v>45271</c:v>
                </c:pt>
                <c:pt idx="710">
                  <c:v>45272</c:v>
                </c:pt>
                <c:pt idx="711">
                  <c:v>45273</c:v>
                </c:pt>
                <c:pt idx="712">
                  <c:v>45274</c:v>
                </c:pt>
                <c:pt idx="713">
                  <c:v>45275</c:v>
                </c:pt>
                <c:pt idx="714">
                  <c:v>45276</c:v>
                </c:pt>
                <c:pt idx="715">
                  <c:v>45277</c:v>
                </c:pt>
                <c:pt idx="716">
                  <c:v>45278</c:v>
                </c:pt>
                <c:pt idx="717">
                  <c:v>45279</c:v>
                </c:pt>
                <c:pt idx="718">
                  <c:v>45280</c:v>
                </c:pt>
                <c:pt idx="719">
                  <c:v>45281</c:v>
                </c:pt>
                <c:pt idx="720">
                  <c:v>45282</c:v>
                </c:pt>
                <c:pt idx="721">
                  <c:v>45283</c:v>
                </c:pt>
                <c:pt idx="722">
                  <c:v>45284</c:v>
                </c:pt>
                <c:pt idx="723">
                  <c:v>45285</c:v>
                </c:pt>
                <c:pt idx="724">
                  <c:v>45286</c:v>
                </c:pt>
                <c:pt idx="725">
                  <c:v>45287</c:v>
                </c:pt>
                <c:pt idx="726">
                  <c:v>45288</c:v>
                </c:pt>
                <c:pt idx="727">
                  <c:v>45289</c:v>
                </c:pt>
                <c:pt idx="728">
                  <c:v>45290</c:v>
                </c:pt>
                <c:pt idx="729">
                  <c:v>45291</c:v>
                </c:pt>
                <c:pt idx="730">
                  <c:v>45292</c:v>
                </c:pt>
                <c:pt idx="731">
                  <c:v>45293</c:v>
                </c:pt>
                <c:pt idx="732">
                  <c:v>45294</c:v>
                </c:pt>
                <c:pt idx="733">
                  <c:v>45295</c:v>
                </c:pt>
                <c:pt idx="734">
                  <c:v>45296</c:v>
                </c:pt>
                <c:pt idx="735">
                  <c:v>45297</c:v>
                </c:pt>
                <c:pt idx="736">
                  <c:v>45298</c:v>
                </c:pt>
                <c:pt idx="737">
                  <c:v>45299</c:v>
                </c:pt>
                <c:pt idx="738">
                  <c:v>45300</c:v>
                </c:pt>
                <c:pt idx="739">
                  <c:v>45301</c:v>
                </c:pt>
                <c:pt idx="740">
                  <c:v>45302</c:v>
                </c:pt>
                <c:pt idx="741">
                  <c:v>45303</c:v>
                </c:pt>
                <c:pt idx="742">
                  <c:v>45304</c:v>
                </c:pt>
                <c:pt idx="743">
                  <c:v>45305</c:v>
                </c:pt>
                <c:pt idx="744">
                  <c:v>45306</c:v>
                </c:pt>
                <c:pt idx="745">
                  <c:v>45307</c:v>
                </c:pt>
                <c:pt idx="746">
                  <c:v>45308</c:v>
                </c:pt>
                <c:pt idx="747">
                  <c:v>45309</c:v>
                </c:pt>
                <c:pt idx="748">
                  <c:v>45310</c:v>
                </c:pt>
                <c:pt idx="749">
                  <c:v>45311</c:v>
                </c:pt>
                <c:pt idx="750">
                  <c:v>45312</c:v>
                </c:pt>
                <c:pt idx="751">
                  <c:v>45313</c:v>
                </c:pt>
                <c:pt idx="752">
                  <c:v>45314</c:v>
                </c:pt>
                <c:pt idx="753">
                  <c:v>45315</c:v>
                </c:pt>
                <c:pt idx="754">
                  <c:v>45316</c:v>
                </c:pt>
                <c:pt idx="755">
                  <c:v>45317</c:v>
                </c:pt>
                <c:pt idx="756">
                  <c:v>45318</c:v>
                </c:pt>
                <c:pt idx="757">
                  <c:v>45319</c:v>
                </c:pt>
                <c:pt idx="758">
                  <c:v>45320</c:v>
                </c:pt>
                <c:pt idx="759">
                  <c:v>45321</c:v>
                </c:pt>
                <c:pt idx="760">
                  <c:v>45322</c:v>
                </c:pt>
                <c:pt idx="761">
                  <c:v>45323</c:v>
                </c:pt>
                <c:pt idx="762">
                  <c:v>45324</c:v>
                </c:pt>
                <c:pt idx="763">
                  <c:v>45325</c:v>
                </c:pt>
                <c:pt idx="764">
                  <c:v>45326</c:v>
                </c:pt>
                <c:pt idx="765">
                  <c:v>45327</c:v>
                </c:pt>
                <c:pt idx="766">
                  <c:v>45328</c:v>
                </c:pt>
                <c:pt idx="767">
                  <c:v>45329</c:v>
                </c:pt>
                <c:pt idx="768">
                  <c:v>45330</c:v>
                </c:pt>
                <c:pt idx="769">
                  <c:v>45331</c:v>
                </c:pt>
                <c:pt idx="770">
                  <c:v>45332</c:v>
                </c:pt>
                <c:pt idx="771">
                  <c:v>45333</c:v>
                </c:pt>
                <c:pt idx="772">
                  <c:v>45334</c:v>
                </c:pt>
                <c:pt idx="773">
                  <c:v>45335</c:v>
                </c:pt>
                <c:pt idx="774">
                  <c:v>45336</c:v>
                </c:pt>
                <c:pt idx="775">
                  <c:v>45337</c:v>
                </c:pt>
                <c:pt idx="776">
                  <c:v>45338</c:v>
                </c:pt>
                <c:pt idx="777">
                  <c:v>45339</c:v>
                </c:pt>
                <c:pt idx="778">
                  <c:v>45340</c:v>
                </c:pt>
                <c:pt idx="779">
                  <c:v>45341</c:v>
                </c:pt>
                <c:pt idx="780">
                  <c:v>45342</c:v>
                </c:pt>
                <c:pt idx="781">
                  <c:v>45343</c:v>
                </c:pt>
                <c:pt idx="782">
                  <c:v>45344</c:v>
                </c:pt>
                <c:pt idx="783">
                  <c:v>45345</c:v>
                </c:pt>
                <c:pt idx="784">
                  <c:v>45346</c:v>
                </c:pt>
                <c:pt idx="785">
                  <c:v>45347</c:v>
                </c:pt>
                <c:pt idx="786">
                  <c:v>45348</c:v>
                </c:pt>
                <c:pt idx="787">
                  <c:v>45349</c:v>
                </c:pt>
                <c:pt idx="788">
                  <c:v>45350</c:v>
                </c:pt>
                <c:pt idx="789">
                  <c:v>45351</c:v>
                </c:pt>
                <c:pt idx="790">
                  <c:v>45352</c:v>
                </c:pt>
                <c:pt idx="791">
                  <c:v>45353</c:v>
                </c:pt>
                <c:pt idx="792">
                  <c:v>45354</c:v>
                </c:pt>
                <c:pt idx="793">
                  <c:v>45355</c:v>
                </c:pt>
                <c:pt idx="794">
                  <c:v>45356</c:v>
                </c:pt>
                <c:pt idx="795">
                  <c:v>45357</c:v>
                </c:pt>
                <c:pt idx="796">
                  <c:v>45358</c:v>
                </c:pt>
                <c:pt idx="797">
                  <c:v>45359</c:v>
                </c:pt>
                <c:pt idx="798">
                  <c:v>45360</c:v>
                </c:pt>
                <c:pt idx="799">
                  <c:v>45361</c:v>
                </c:pt>
                <c:pt idx="800">
                  <c:v>45362</c:v>
                </c:pt>
                <c:pt idx="801">
                  <c:v>45363</c:v>
                </c:pt>
                <c:pt idx="802">
                  <c:v>45364</c:v>
                </c:pt>
                <c:pt idx="803">
                  <c:v>45365</c:v>
                </c:pt>
                <c:pt idx="804">
                  <c:v>45366</c:v>
                </c:pt>
                <c:pt idx="805">
                  <c:v>45367</c:v>
                </c:pt>
                <c:pt idx="806">
                  <c:v>45368</c:v>
                </c:pt>
                <c:pt idx="807">
                  <c:v>45369</c:v>
                </c:pt>
                <c:pt idx="808">
                  <c:v>45370</c:v>
                </c:pt>
                <c:pt idx="809">
                  <c:v>45371</c:v>
                </c:pt>
                <c:pt idx="810">
                  <c:v>45372</c:v>
                </c:pt>
                <c:pt idx="811">
                  <c:v>45373</c:v>
                </c:pt>
                <c:pt idx="812">
                  <c:v>45374</c:v>
                </c:pt>
                <c:pt idx="813">
                  <c:v>45375</c:v>
                </c:pt>
                <c:pt idx="814">
                  <c:v>45376</c:v>
                </c:pt>
                <c:pt idx="815">
                  <c:v>45377</c:v>
                </c:pt>
                <c:pt idx="816">
                  <c:v>45378</c:v>
                </c:pt>
                <c:pt idx="817">
                  <c:v>45379</c:v>
                </c:pt>
                <c:pt idx="818">
                  <c:v>45380</c:v>
                </c:pt>
                <c:pt idx="819">
                  <c:v>45381</c:v>
                </c:pt>
                <c:pt idx="820">
                  <c:v>45382</c:v>
                </c:pt>
                <c:pt idx="821">
                  <c:v>45383</c:v>
                </c:pt>
                <c:pt idx="822">
                  <c:v>45384</c:v>
                </c:pt>
                <c:pt idx="823">
                  <c:v>45385</c:v>
                </c:pt>
                <c:pt idx="824">
                  <c:v>45386</c:v>
                </c:pt>
                <c:pt idx="825">
                  <c:v>45387</c:v>
                </c:pt>
                <c:pt idx="826">
                  <c:v>45388</c:v>
                </c:pt>
                <c:pt idx="827">
                  <c:v>45389</c:v>
                </c:pt>
                <c:pt idx="828">
                  <c:v>45390</c:v>
                </c:pt>
                <c:pt idx="829">
                  <c:v>45391</c:v>
                </c:pt>
                <c:pt idx="830">
                  <c:v>45392</c:v>
                </c:pt>
                <c:pt idx="831">
                  <c:v>45393</c:v>
                </c:pt>
                <c:pt idx="832">
                  <c:v>45394</c:v>
                </c:pt>
                <c:pt idx="833">
                  <c:v>45395</c:v>
                </c:pt>
                <c:pt idx="834">
                  <c:v>45396</c:v>
                </c:pt>
                <c:pt idx="835">
                  <c:v>45397</c:v>
                </c:pt>
                <c:pt idx="836">
                  <c:v>45398</c:v>
                </c:pt>
                <c:pt idx="837">
                  <c:v>45399</c:v>
                </c:pt>
                <c:pt idx="838">
                  <c:v>45400</c:v>
                </c:pt>
                <c:pt idx="839">
                  <c:v>45401</c:v>
                </c:pt>
                <c:pt idx="840">
                  <c:v>45402</c:v>
                </c:pt>
                <c:pt idx="841">
                  <c:v>45403</c:v>
                </c:pt>
                <c:pt idx="842">
                  <c:v>45404</c:v>
                </c:pt>
                <c:pt idx="843">
                  <c:v>45405</c:v>
                </c:pt>
                <c:pt idx="844">
                  <c:v>45406</c:v>
                </c:pt>
                <c:pt idx="845">
                  <c:v>45407</c:v>
                </c:pt>
                <c:pt idx="846">
                  <c:v>45408</c:v>
                </c:pt>
                <c:pt idx="847">
                  <c:v>45409</c:v>
                </c:pt>
                <c:pt idx="848">
                  <c:v>45410</c:v>
                </c:pt>
                <c:pt idx="849">
                  <c:v>45411</c:v>
                </c:pt>
                <c:pt idx="850">
                  <c:v>45412</c:v>
                </c:pt>
                <c:pt idx="851">
                  <c:v>45413</c:v>
                </c:pt>
                <c:pt idx="852">
                  <c:v>45414</c:v>
                </c:pt>
                <c:pt idx="853">
                  <c:v>45415</c:v>
                </c:pt>
                <c:pt idx="854">
                  <c:v>45416</c:v>
                </c:pt>
                <c:pt idx="855">
                  <c:v>45417</c:v>
                </c:pt>
                <c:pt idx="856">
                  <c:v>45418</c:v>
                </c:pt>
                <c:pt idx="857">
                  <c:v>45419</c:v>
                </c:pt>
                <c:pt idx="858">
                  <c:v>45420</c:v>
                </c:pt>
                <c:pt idx="859">
                  <c:v>45421</c:v>
                </c:pt>
                <c:pt idx="860">
                  <c:v>45422</c:v>
                </c:pt>
                <c:pt idx="861">
                  <c:v>45423</c:v>
                </c:pt>
                <c:pt idx="862">
                  <c:v>45424</c:v>
                </c:pt>
                <c:pt idx="863">
                  <c:v>45425</c:v>
                </c:pt>
                <c:pt idx="864">
                  <c:v>45426</c:v>
                </c:pt>
                <c:pt idx="865">
                  <c:v>45427</c:v>
                </c:pt>
                <c:pt idx="866">
                  <c:v>45428</c:v>
                </c:pt>
                <c:pt idx="867">
                  <c:v>45429</c:v>
                </c:pt>
                <c:pt idx="868">
                  <c:v>45430</c:v>
                </c:pt>
                <c:pt idx="869">
                  <c:v>45431</c:v>
                </c:pt>
                <c:pt idx="870">
                  <c:v>45432</c:v>
                </c:pt>
                <c:pt idx="871">
                  <c:v>45433</c:v>
                </c:pt>
                <c:pt idx="872">
                  <c:v>45434</c:v>
                </c:pt>
                <c:pt idx="873">
                  <c:v>45435</c:v>
                </c:pt>
                <c:pt idx="874">
                  <c:v>45436</c:v>
                </c:pt>
                <c:pt idx="875">
                  <c:v>45437</c:v>
                </c:pt>
                <c:pt idx="876">
                  <c:v>45438</c:v>
                </c:pt>
                <c:pt idx="877">
                  <c:v>45439</c:v>
                </c:pt>
                <c:pt idx="878">
                  <c:v>45440</c:v>
                </c:pt>
                <c:pt idx="879">
                  <c:v>45441</c:v>
                </c:pt>
                <c:pt idx="880">
                  <c:v>45442</c:v>
                </c:pt>
                <c:pt idx="881">
                  <c:v>45443</c:v>
                </c:pt>
                <c:pt idx="882">
                  <c:v>45444</c:v>
                </c:pt>
                <c:pt idx="883">
                  <c:v>45445</c:v>
                </c:pt>
                <c:pt idx="884">
                  <c:v>45446</c:v>
                </c:pt>
                <c:pt idx="885">
                  <c:v>45447</c:v>
                </c:pt>
                <c:pt idx="886">
                  <c:v>45448</c:v>
                </c:pt>
                <c:pt idx="887">
                  <c:v>45449</c:v>
                </c:pt>
                <c:pt idx="888">
                  <c:v>45450</c:v>
                </c:pt>
                <c:pt idx="889">
                  <c:v>45451</c:v>
                </c:pt>
                <c:pt idx="890">
                  <c:v>45452</c:v>
                </c:pt>
                <c:pt idx="891">
                  <c:v>45453</c:v>
                </c:pt>
                <c:pt idx="892">
                  <c:v>45454</c:v>
                </c:pt>
                <c:pt idx="893">
                  <c:v>45455</c:v>
                </c:pt>
                <c:pt idx="894">
                  <c:v>45456</c:v>
                </c:pt>
                <c:pt idx="895">
                  <c:v>45457</c:v>
                </c:pt>
                <c:pt idx="896">
                  <c:v>45458</c:v>
                </c:pt>
                <c:pt idx="897">
                  <c:v>45459</c:v>
                </c:pt>
                <c:pt idx="898">
                  <c:v>45460</c:v>
                </c:pt>
                <c:pt idx="899">
                  <c:v>45461</c:v>
                </c:pt>
                <c:pt idx="900">
                  <c:v>45462</c:v>
                </c:pt>
                <c:pt idx="901">
                  <c:v>45463</c:v>
                </c:pt>
                <c:pt idx="902">
                  <c:v>45464</c:v>
                </c:pt>
                <c:pt idx="903">
                  <c:v>45465</c:v>
                </c:pt>
                <c:pt idx="904">
                  <c:v>45466</c:v>
                </c:pt>
                <c:pt idx="905">
                  <c:v>45467</c:v>
                </c:pt>
                <c:pt idx="906">
                  <c:v>45468</c:v>
                </c:pt>
                <c:pt idx="907">
                  <c:v>45469</c:v>
                </c:pt>
                <c:pt idx="908">
                  <c:v>45470</c:v>
                </c:pt>
                <c:pt idx="909">
                  <c:v>45471</c:v>
                </c:pt>
                <c:pt idx="910">
                  <c:v>45472</c:v>
                </c:pt>
                <c:pt idx="911">
                  <c:v>45473</c:v>
                </c:pt>
                <c:pt idx="912">
                  <c:v>45474</c:v>
                </c:pt>
                <c:pt idx="913">
                  <c:v>45475</c:v>
                </c:pt>
                <c:pt idx="914">
                  <c:v>45476</c:v>
                </c:pt>
                <c:pt idx="915">
                  <c:v>45477</c:v>
                </c:pt>
                <c:pt idx="916">
                  <c:v>45478</c:v>
                </c:pt>
                <c:pt idx="917">
                  <c:v>45479</c:v>
                </c:pt>
                <c:pt idx="918">
                  <c:v>45480</c:v>
                </c:pt>
                <c:pt idx="919">
                  <c:v>45481</c:v>
                </c:pt>
                <c:pt idx="920">
                  <c:v>45482</c:v>
                </c:pt>
                <c:pt idx="921">
                  <c:v>45483</c:v>
                </c:pt>
                <c:pt idx="922">
                  <c:v>45484</c:v>
                </c:pt>
                <c:pt idx="923">
                  <c:v>45485</c:v>
                </c:pt>
                <c:pt idx="924">
                  <c:v>45486</c:v>
                </c:pt>
                <c:pt idx="925">
                  <c:v>45487</c:v>
                </c:pt>
                <c:pt idx="926">
                  <c:v>45488</c:v>
                </c:pt>
                <c:pt idx="927">
                  <c:v>45489</c:v>
                </c:pt>
                <c:pt idx="928">
                  <c:v>45490</c:v>
                </c:pt>
                <c:pt idx="929">
                  <c:v>45491</c:v>
                </c:pt>
                <c:pt idx="930">
                  <c:v>45492</c:v>
                </c:pt>
                <c:pt idx="931">
                  <c:v>45493</c:v>
                </c:pt>
                <c:pt idx="932">
                  <c:v>45494</c:v>
                </c:pt>
                <c:pt idx="933">
                  <c:v>45495</c:v>
                </c:pt>
                <c:pt idx="934">
                  <c:v>45496</c:v>
                </c:pt>
                <c:pt idx="935">
                  <c:v>45497</c:v>
                </c:pt>
                <c:pt idx="936">
                  <c:v>45498</c:v>
                </c:pt>
                <c:pt idx="937">
                  <c:v>45499</c:v>
                </c:pt>
                <c:pt idx="938">
                  <c:v>45500</c:v>
                </c:pt>
                <c:pt idx="939">
                  <c:v>45501</c:v>
                </c:pt>
                <c:pt idx="940">
                  <c:v>45502</c:v>
                </c:pt>
                <c:pt idx="941">
                  <c:v>45503</c:v>
                </c:pt>
                <c:pt idx="942">
                  <c:v>45504</c:v>
                </c:pt>
                <c:pt idx="943">
                  <c:v>45505</c:v>
                </c:pt>
                <c:pt idx="944">
                  <c:v>45506</c:v>
                </c:pt>
                <c:pt idx="945">
                  <c:v>45507</c:v>
                </c:pt>
                <c:pt idx="946">
                  <c:v>45508</c:v>
                </c:pt>
                <c:pt idx="947">
                  <c:v>45509</c:v>
                </c:pt>
                <c:pt idx="948">
                  <c:v>45510</c:v>
                </c:pt>
                <c:pt idx="949">
                  <c:v>45511</c:v>
                </c:pt>
                <c:pt idx="950">
                  <c:v>45512</c:v>
                </c:pt>
                <c:pt idx="951">
                  <c:v>45513</c:v>
                </c:pt>
                <c:pt idx="952">
                  <c:v>45514</c:v>
                </c:pt>
                <c:pt idx="953">
                  <c:v>45515</c:v>
                </c:pt>
                <c:pt idx="954">
                  <c:v>45516</c:v>
                </c:pt>
                <c:pt idx="955">
                  <c:v>45517</c:v>
                </c:pt>
                <c:pt idx="956">
                  <c:v>45518</c:v>
                </c:pt>
                <c:pt idx="957">
                  <c:v>45519</c:v>
                </c:pt>
                <c:pt idx="958">
                  <c:v>45520</c:v>
                </c:pt>
                <c:pt idx="959">
                  <c:v>45521</c:v>
                </c:pt>
                <c:pt idx="960">
                  <c:v>45522</c:v>
                </c:pt>
                <c:pt idx="961">
                  <c:v>45523</c:v>
                </c:pt>
                <c:pt idx="962">
                  <c:v>45524</c:v>
                </c:pt>
                <c:pt idx="963">
                  <c:v>45525</c:v>
                </c:pt>
                <c:pt idx="964">
                  <c:v>45526</c:v>
                </c:pt>
                <c:pt idx="965">
                  <c:v>45527</c:v>
                </c:pt>
                <c:pt idx="966">
                  <c:v>45528</c:v>
                </c:pt>
                <c:pt idx="967">
                  <c:v>45529</c:v>
                </c:pt>
                <c:pt idx="968">
                  <c:v>45530</c:v>
                </c:pt>
                <c:pt idx="969">
                  <c:v>45531</c:v>
                </c:pt>
                <c:pt idx="970">
                  <c:v>45532</c:v>
                </c:pt>
                <c:pt idx="971">
                  <c:v>45533</c:v>
                </c:pt>
                <c:pt idx="972">
                  <c:v>45534</c:v>
                </c:pt>
                <c:pt idx="973">
                  <c:v>45535</c:v>
                </c:pt>
                <c:pt idx="974">
                  <c:v>45536</c:v>
                </c:pt>
                <c:pt idx="975">
                  <c:v>45537</c:v>
                </c:pt>
                <c:pt idx="976">
                  <c:v>45538</c:v>
                </c:pt>
                <c:pt idx="977">
                  <c:v>45539</c:v>
                </c:pt>
                <c:pt idx="978">
                  <c:v>45540</c:v>
                </c:pt>
                <c:pt idx="979">
                  <c:v>45541</c:v>
                </c:pt>
                <c:pt idx="980">
                  <c:v>45542</c:v>
                </c:pt>
                <c:pt idx="981">
                  <c:v>45543</c:v>
                </c:pt>
                <c:pt idx="982">
                  <c:v>45544</c:v>
                </c:pt>
                <c:pt idx="983">
                  <c:v>45545</c:v>
                </c:pt>
                <c:pt idx="984">
                  <c:v>45546</c:v>
                </c:pt>
                <c:pt idx="985">
                  <c:v>45547</c:v>
                </c:pt>
                <c:pt idx="986">
                  <c:v>45548</c:v>
                </c:pt>
                <c:pt idx="987">
                  <c:v>45549</c:v>
                </c:pt>
                <c:pt idx="988">
                  <c:v>45550</c:v>
                </c:pt>
                <c:pt idx="989">
                  <c:v>45551</c:v>
                </c:pt>
                <c:pt idx="990">
                  <c:v>45552</c:v>
                </c:pt>
                <c:pt idx="991">
                  <c:v>45553</c:v>
                </c:pt>
                <c:pt idx="992">
                  <c:v>45554</c:v>
                </c:pt>
                <c:pt idx="993">
                  <c:v>45555</c:v>
                </c:pt>
                <c:pt idx="994">
                  <c:v>45556</c:v>
                </c:pt>
                <c:pt idx="995">
                  <c:v>45557</c:v>
                </c:pt>
                <c:pt idx="996">
                  <c:v>45558</c:v>
                </c:pt>
                <c:pt idx="997">
                  <c:v>45559</c:v>
                </c:pt>
                <c:pt idx="998">
                  <c:v>45560</c:v>
                </c:pt>
                <c:pt idx="999">
                  <c:v>45561</c:v>
                </c:pt>
                <c:pt idx="1000">
                  <c:v>45562</c:v>
                </c:pt>
                <c:pt idx="1001">
                  <c:v>45563</c:v>
                </c:pt>
                <c:pt idx="1002">
                  <c:v>45564</c:v>
                </c:pt>
                <c:pt idx="1003">
                  <c:v>45565</c:v>
                </c:pt>
                <c:pt idx="1004">
                  <c:v>45566</c:v>
                </c:pt>
                <c:pt idx="1005">
                  <c:v>45567</c:v>
                </c:pt>
                <c:pt idx="1006">
                  <c:v>45568</c:v>
                </c:pt>
                <c:pt idx="1007">
                  <c:v>45569</c:v>
                </c:pt>
                <c:pt idx="1008">
                  <c:v>45570</c:v>
                </c:pt>
                <c:pt idx="1009">
                  <c:v>45571</c:v>
                </c:pt>
                <c:pt idx="1010">
                  <c:v>45572</c:v>
                </c:pt>
                <c:pt idx="1011">
                  <c:v>45573</c:v>
                </c:pt>
                <c:pt idx="1012">
                  <c:v>45574</c:v>
                </c:pt>
                <c:pt idx="1013">
                  <c:v>45575</c:v>
                </c:pt>
                <c:pt idx="1014">
                  <c:v>45576</c:v>
                </c:pt>
                <c:pt idx="1015">
                  <c:v>45577</c:v>
                </c:pt>
                <c:pt idx="1016">
                  <c:v>45578</c:v>
                </c:pt>
                <c:pt idx="1017">
                  <c:v>45579</c:v>
                </c:pt>
                <c:pt idx="1018">
                  <c:v>45580</c:v>
                </c:pt>
                <c:pt idx="1019">
                  <c:v>45581</c:v>
                </c:pt>
                <c:pt idx="1020">
                  <c:v>45582</c:v>
                </c:pt>
                <c:pt idx="1021">
                  <c:v>45583</c:v>
                </c:pt>
                <c:pt idx="1022">
                  <c:v>45584</c:v>
                </c:pt>
                <c:pt idx="1023">
                  <c:v>45585</c:v>
                </c:pt>
                <c:pt idx="1024">
                  <c:v>45586</c:v>
                </c:pt>
                <c:pt idx="1025">
                  <c:v>45587</c:v>
                </c:pt>
                <c:pt idx="1026">
                  <c:v>45588</c:v>
                </c:pt>
                <c:pt idx="1027">
                  <c:v>45589</c:v>
                </c:pt>
                <c:pt idx="1028">
                  <c:v>45590</c:v>
                </c:pt>
                <c:pt idx="1029">
                  <c:v>45591</c:v>
                </c:pt>
                <c:pt idx="1030">
                  <c:v>45592</c:v>
                </c:pt>
                <c:pt idx="1031">
                  <c:v>45593</c:v>
                </c:pt>
                <c:pt idx="1032">
                  <c:v>45594</c:v>
                </c:pt>
                <c:pt idx="1033">
                  <c:v>45595</c:v>
                </c:pt>
                <c:pt idx="1034">
                  <c:v>45596</c:v>
                </c:pt>
                <c:pt idx="1035">
                  <c:v>45597</c:v>
                </c:pt>
                <c:pt idx="1036">
                  <c:v>45598</c:v>
                </c:pt>
                <c:pt idx="1037">
                  <c:v>45599</c:v>
                </c:pt>
                <c:pt idx="1038">
                  <c:v>45600</c:v>
                </c:pt>
                <c:pt idx="1039">
                  <c:v>45601</c:v>
                </c:pt>
                <c:pt idx="1040">
                  <c:v>45602</c:v>
                </c:pt>
                <c:pt idx="1041">
                  <c:v>45603</c:v>
                </c:pt>
                <c:pt idx="1042">
                  <c:v>45604</c:v>
                </c:pt>
                <c:pt idx="1043">
                  <c:v>45605</c:v>
                </c:pt>
                <c:pt idx="1044">
                  <c:v>45606</c:v>
                </c:pt>
                <c:pt idx="1045">
                  <c:v>45607</c:v>
                </c:pt>
                <c:pt idx="1046">
                  <c:v>45608</c:v>
                </c:pt>
                <c:pt idx="1047">
                  <c:v>45609</c:v>
                </c:pt>
                <c:pt idx="1048">
                  <c:v>45610</c:v>
                </c:pt>
                <c:pt idx="1049">
                  <c:v>45611</c:v>
                </c:pt>
                <c:pt idx="1050">
                  <c:v>45612</c:v>
                </c:pt>
                <c:pt idx="1051">
                  <c:v>45613</c:v>
                </c:pt>
                <c:pt idx="1052">
                  <c:v>45614</c:v>
                </c:pt>
                <c:pt idx="1053">
                  <c:v>45615</c:v>
                </c:pt>
                <c:pt idx="1054">
                  <c:v>45616</c:v>
                </c:pt>
                <c:pt idx="1055">
                  <c:v>45617</c:v>
                </c:pt>
                <c:pt idx="1056">
                  <c:v>45618</c:v>
                </c:pt>
                <c:pt idx="1057">
                  <c:v>45619</c:v>
                </c:pt>
                <c:pt idx="1058">
                  <c:v>45620</c:v>
                </c:pt>
                <c:pt idx="1059">
                  <c:v>45621</c:v>
                </c:pt>
                <c:pt idx="1060">
                  <c:v>45622</c:v>
                </c:pt>
                <c:pt idx="1061">
                  <c:v>45623</c:v>
                </c:pt>
                <c:pt idx="1062">
                  <c:v>45624</c:v>
                </c:pt>
                <c:pt idx="1063">
                  <c:v>45625</c:v>
                </c:pt>
                <c:pt idx="1064">
                  <c:v>45626</c:v>
                </c:pt>
                <c:pt idx="1065">
                  <c:v>45627</c:v>
                </c:pt>
                <c:pt idx="1066">
                  <c:v>45628</c:v>
                </c:pt>
                <c:pt idx="1067">
                  <c:v>45629</c:v>
                </c:pt>
                <c:pt idx="1068">
                  <c:v>45630</c:v>
                </c:pt>
                <c:pt idx="1069">
                  <c:v>45631</c:v>
                </c:pt>
                <c:pt idx="1070">
                  <c:v>45632</c:v>
                </c:pt>
                <c:pt idx="1071">
                  <c:v>45633</c:v>
                </c:pt>
                <c:pt idx="1072">
                  <c:v>45634</c:v>
                </c:pt>
                <c:pt idx="1073">
                  <c:v>45635</c:v>
                </c:pt>
                <c:pt idx="1074">
                  <c:v>45636</c:v>
                </c:pt>
                <c:pt idx="1075">
                  <c:v>45637</c:v>
                </c:pt>
                <c:pt idx="1076">
                  <c:v>45638</c:v>
                </c:pt>
                <c:pt idx="1077">
                  <c:v>45639</c:v>
                </c:pt>
                <c:pt idx="1078">
                  <c:v>45640</c:v>
                </c:pt>
                <c:pt idx="1079">
                  <c:v>45641</c:v>
                </c:pt>
                <c:pt idx="1080">
                  <c:v>45642</c:v>
                </c:pt>
                <c:pt idx="1081">
                  <c:v>45643</c:v>
                </c:pt>
                <c:pt idx="1082">
                  <c:v>45644</c:v>
                </c:pt>
                <c:pt idx="1083">
                  <c:v>45645</c:v>
                </c:pt>
                <c:pt idx="1084">
                  <c:v>45646</c:v>
                </c:pt>
                <c:pt idx="1085">
                  <c:v>45647</c:v>
                </c:pt>
                <c:pt idx="1086">
                  <c:v>45648</c:v>
                </c:pt>
                <c:pt idx="1087">
                  <c:v>45649</c:v>
                </c:pt>
                <c:pt idx="1088">
                  <c:v>45650</c:v>
                </c:pt>
                <c:pt idx="1089">
                  <c:v>45651</c:v>
                </c:pt>
                <c:pt idx="1090">
                  <c:v>45652</c:v>
                </c:pt>
                <c:pt idx="1091">
                  <c:v>45653</c:v>
                </c:pt>
                <c:pt idx="1092">
                  <c:v>45654</c:v>
                </c:pt>
                <c:pt idx="1093">
                  <c:v>45655</c:v>
                </c:pt>
                <c:pt idx="1094">
                  <c:v>45656</c:v>
                </c:pt>
                <c:pt idx="1095">
                  <c:v>45657</c:v>
                </c:pt>
                <c:pt idx="1096">
                  <c:v>45658</c:v>
                </c:pt>
                <c:pt idx="1097">
                  <c:v>45659</c:v>
                </c:pt>
                <c:pt idx="1098">
                  <c:v>45660</c:v>
                </c:pt>
                <c:pt idx="1099">
                  <c:v>45661</c:v>
                </c:pt>
                <c:pt idx="1100">
                  <c:v>45662</c:v>
                </c:pt>
                <c:pt idx="1101">
                  <c:v>45663</c:v>
                </c:pt>
                <c:pt idx="1102">
                  <c:v>45664</c:v>
                </c:pt>
                <c:pt idx="1103">
                  <c:v>45665</c:v>
                </c:pt>
                <c:pt idx="1104">
                  <c:v>45666</c:v>
                </c:pt>
                <c:pt idx="1105">
                  <c:v>45667</c:v>
                </c:pt>
                <c:pt idx="1106">
                  <c:v>45668</c:v>
                </c:pt>
                <c:pt idx="1107">
                  <c:v>45669</c:v>
                </c:pt>
                <c:pt idx="1108">
                  <c:v>45670</c:v>
                </c:pt>
                <c:pt idx="1109">
                  <c:v>45671</c:v>
                </c:pt>
                <c:pt idx="1110">
                  <c:v>45672</c:v>
                </c:pt>
                <c:pt idx="1111">
                  <c:v>45673</c:v>
                </c:pt>
                <c:pt idx="1112">
                  <c:v>45674</c:v>
                </c:pt>
                <c:pt idx="1113">
                  <c:v>45675</c:v>
                </c:pt>
                <c:pt idx="1114">
                  <c:v>45676</c:v>
                </c:pt>
                <c:pt idx="1115">
                  <c:v>45677</c:v>
                </c:pt>
                <c:pt idx="1116">
                  <c:v>45678</c:v>
                </c:pt>
                <c:pt idx="1117">
                  <c:v>45679</c:v>
                </c:pt>
                <c:pt idx="1118">
                  <c:v>45680</c:v>
                </c:pt>
                <c:pt idx="1119">
                  <c:v>45681</c:v>
                </c:pt>
                <c:pt idx="1120">
                  <c:v>45682</c:v>
                </c:pt>
                <c:pt idx="1121">
                  <c:v>45683</c:v>
                </c:pt>
                <c:pt idx="1122">
                  <c:v>45684</c:v>
                </c:pt>
                <c:pt idx="1123">
                  <c:v>45685</c:v>
                </c:pt>
                <c:pt idx="1124">
                  <c:v>45686</c:v>
                </c:pt>
                <c:pt idx="1125">
                  <c:v>45687</c:v>
                </c:pt>
                <c:pt idx="1126">
                  <c:v>45688</c:v>
                </c:pt>
                <c:pt idx="1127">
                  <c:v>45689</c:v>
                </c:pt>
                <c:pt idx="1128">
                  <c:v>45690</c:v>
                </c:pt>
                <c:pt idx="1129">
                  <c:v>45691</c:v>
                </c:pt>
                <c:pt idx="1130">
                  <c:v>45692</c:v>
                </c:pt>
                <c:pt idx="1131">
                  <c:v>45693</c:v>
                </c:pt>
                <c:pt idx="1132">
                  <c:v>45694</c:v>
                </c:pt>
                <c:pt idx="1133">
                  <c:v>45695</c:v>
                </c:pt>
                <c:pt idx="1134">
                  <c:v>45696</c:v>
                </c:pt>
                <c:pt idx="1135">
                  <c:v>45697</c:v>
                </c:pt>
                <c:pt idx="1136">
                  <c:v>45698</c:v>
                </c:pt>
                <c:pt idx="1137">
                  <c:v>45699</c:v>
                </c:pt>
                <c:pt idx="1138">
                  <c:v>45700</c:v>
                </c:pt>
                <c:pt idx="1139">
                  <c:v>45701</c:v>
                </c:pt>
                <c:pt idx="1140">
                  <c:v>45702</c:v>
                </c:pt>
                <c:pt idx="1141">
                  <c:v>45703</c:v>
                </c:pt>
                <c:pt idx="1142">
                  <c:v>45704</c:v>
                </c:pt>
                <c:pt idx="1143">
                  <c:v>45705</c:v>
                </c:pt>
                <c:pt idx="1144">
                  <c:v>45706</c:v>
                </c:pt>
                <c:pt idx="1145">
                  <c:v>45707</c:v>
                </c:pt>
                <c:pt idx="1146">
                  <c:v>45708</c:v>
                </c:pt>
                <c:pt idx="1147">
                  <c:v>45709</c:v>
                </c:pt>
                <c:pt idx="1148">
                  <c:v>45710</c:v>
                </c:pt>
                <c:pt idx="1149">
                  <c:v>45711</c:v>
                </c:pt>
                <c:pt idx="1150">
                  <c:v>45712</c:v>
                </c:pt>
                <c:pt idx="1151">
                  <c:v>45713</c:v>
                </c:pt>
                <c:pt idx="1152">
                  <c:v>45714</c:v>
                </c:pt>
                <c:pt idx="1153">
                  <c:v>45715</c:v>
                </c:pt>
                <c:pt idx="1154">
                  <c:v>45716</c:v>
                </c:pt>
                <c:pt idx="1155">
                  <c:v>45717</c:v>
                </c:pt>
                <c:pt idx="1156">
                  <c:v>45718</c:v>
                </c:pt>
                <c:pt idx="1157">
                  <c:v>45719</c:v>
                </c:pt>
                <c:pt idx="1158">
                  <c:v>45720</c:v>
                </c:pt>
                <c:pt idx="1159">
                  <c:v>45721</c:v>
                </c:pt>
                <c:pt idx="1160">
                  <c:v>45722</c:v>
                </c:pt>
                <c:pt idx="1161">
                  <c:v>45723</c:v>
                </c:pt>
                <c:pt idx="1162">
                  <c:v>45724</c:v>
                </c:pt>
                <c:pt idx="1163">
                  <c:v>45725</c:v>
                </c:pt>
                <c:pt idx="1164">
                  <c:v>45726</c:v>
                </c:pt>
                <c:pt idx="1165">
                  <c:v>45727</c:v>
                </c:pt>
                <c:pt idx="1166">
                  <c:v>45728</c:v>
                </c:pt>
                <c:pt idx="1167">
                  <c:v>45729</c:v>
                </c:pt>
                <c:pt idx="1168">
                  <c:v>45730</c:v>
                </c:pt>
                <c:pt idx="1169">
                  <c:v>45731</c:v>
                </c:pt>
                <c:pt idx="1170">
                  <c:v>45732</c:v>
                </c:pt>
                <c:pt idx="1171">
                  <c:v>45733</c:v>
                </c:pt>
                <c:pt idx="1172">
                  <c:v>45734</c:v>
                </c:pt>
                <c:pt idx="1173">
                  <c:v>45735</c:v>
                </c:pt>
                <c:pt idx="1174">
                  <c:v>45736</c:v>
                </c:pt>
                <c:pt idx="1175">
                  <c:v>45737</c:v>
                </c:pt>
                <c:pt idx="1176">
                  <c:v>45738</c:v>
                </c:pt>
                <c:pt idx="1177">
                  <c:v>45739</c:v>
                </c:pt>
                <c:pt idx="1178">
                  <c:v>45740</c:v>
                </c:pt>
                <c:pt idx="1179">
                  <c:v>45741</c:v>
                </c:pt>
                <c:pt idx="1180">
                  <c:v>45742</c:v>
                </c:pt>
                <c:pt idx="1181">
                  <c:v>45743</c:v>
                </c:pt>
                <c:pt idx="1182">
                  <c:v>45744</c:v>
                </c:pt>
                <c:pt idx="1183">
                  <c:v>45745</c:v>
                </c:pt>
                <c:pt idx="1184">
                  <c:v>45746</c:v>
                </c:pt>
                <c:pt idx="1185">
                  <c:v>45747</c:v>
                </c:pt>
                <c:pt idx="1186">
                  <c:v>45748</c:v>
                </c:pt>
                <c:pt idx="1187">
                  <c:v>45749</c:v>
                </c:pt>
                <c:pt idx="1188">
                  <c:v>45750</c:v>
                </c:pt>
                <c:pt idx="1189">
                  <c:v>45751</c:v>
                </c:pt>
                <c:pt idx="1190">
                  <c:v>45752</c:v>
                </c:pt>
                <c:pt idx="1191">
                  <c:v>45753</c:v>
                </c:pt>
                <c:pt idx="1192">
                  <c:v>45754</c:v>
                </c:pt>
                <c:pt idx="1193">
                  <c:v>45755</c:v>
                </c:pt>
                <c:pt idx="1194">
                  <c:v>45756</c:v>
                </c:pt>
                <c:pt idx="1195">
                  <c:v>45757</c:v>
                </c:pt>
                <c:pt idx="1196">
                  <c:v>45758</c:v>
                </c:pt>
                <c:pt idx="1197">
                  <c:v>45759</c:v>
                </c:pt>
                <c:pt idx="1198">
                  <c:v>45760</c:v>
                </c:pt>
                <c:pt idx="1199">
                  <c:v>45761</c:v>
                </c:pt>
                <c:pt idx="1200">
                  <c:v>45762</c:v>
                </c:pt>
                <c:pt idx="1201">
                  <c:v>45763</c:v>
                </c:pt>
                <c:pt idx="1202">
                  <c:v>45764</c:v>
                </c:pt>
                <c:pt idx="1203">
                  <c:v>45765</c:v>
                </c:pt>
                <c:pt idx="1204">
                  <c:v>45766</c:v>
                </c:pt>
                <c:pt idx="1205">
                  <c:v>45767</c:v>
                </c:pt>
                <c:pt idx="1206">
                  <c:v>45768</c:v>
                </c:pt>
                <c:pt idx="1207">
                  <c:v>45769</c:v>
                </c:pt>
                <c:pt idx="1208">
                  <c:v>45770</c:v>
                </c:pt>
                <c:pt idx="1209">
                  <c:v>45771</c:v>
                </c:pt>
                <c:pt idx="1210">
                  <c:v>45772</c:v>
                </c:pt>
                <c:pt idx="1211">
                  <c:v>45773</c:v>
                </c:pt>
                <c:pt idx="1212">
                  <c:v>45774</c:v>
                </c:pt>
                <c:pt idx="1213">
                  <c:v>45775</c:v>
                </c:pt>
                <c:pt idx="1214">
                  <c:v>45776</c:v>
                </c:pt>
                <c:pt idx="1215">
                  <c:v>45777</c:v>
                </c:pt>
                <c:pt idx="1216">
                  <c:v>45778</c:v>
                </c:pt>
                <c:pt idx="1217">
                  <c:v>45779</c:v>
                </c:pt>
                <c:pt idx="1218">
                  <c:v>45780</c:v>
                </c:pt>
                <c:pt idx="1219">
                  <c:v>45781</c:v>
                </c:pt>
                <c:pt idx="1220">
                  <c:v>45782</c:v>
                </c:pt>
                <c:pt idx="1221">
                  <c:v>45783</c:v>
                </c:pt>
                <c:pt idx="1222">
                  <c:v>45784</c:v>
                </c:pt>
                <c:pt idx="1223">
                  <c:v>45785</c:v>
                </c:pt>
                <c:pt idx="1224">
                  <c:v>45786</c:v>
                </c:pt>
                <c:pt idx="1225">
                  <c:v>45787</c:v>
                </c:pt>
                <c:pt idx="1226">
                  <c:v>45788</c:v>
                </c:pt>
                <c:pt idx="1227">
                  <c:v>45789</c:v>
                </c:pt>
                <c:pt idx="1228">
                  <c:v>45790</c:v>
                </c:pt>
                <c:pt idx="1229">
                  <c:v>45791</c:v>
                </c:pt>
                <c:pt idx="1230">
                  <c:v>45792</c:v>
                </c:pt>
                <c:pt idx="1231">
                  <c:v>45793</c:v>
                </c:pt>
                <c:pt idx="1232">
                  <c:v>45794</c:v>
                </c:pt>
                <c:pt idx="1233">
                  <c:v>45795</c:v>
                </c:pt>
                <c:pt idx="1234">
                  <c:v>45796</c:v>
                </c:pt>
                <c:pt idx="1235">
                  <c:v>45797</c:v>
                </c:pt>
                <c:pt idx="1236">
                  <c:v>45798</c:v>
                </c:pt>
                <c:pt idx="1237">
                  <c:v>45799</c:v>
                </c:pt>
                <c:pt idx="1238">
                  <c:v>45800</c:v>
                </c:pt>
                <c:pt idx="1239">
                  <c:v>45801</c:v>
                </c:pt>
                <c:pt idx="1240">
                  <c:v>45802</c:v>
                </c:pt>
                <c:pt idx="1241">
                  <c:v>45803</c:v>
                </c:pt>
                <c:pt idx="1242">
                  <c:v>45804</c:v>
                </c:pt>
                <c:pt idx="1243">
                  <c:v>45805</c:v>
                </c:pt>
                <c:pt idx="1244">
                  <c:v>45806</c:v>
                </c:pt>
                <c:pt idx="1245">
                  <c:v>45807</c:v>
                </c:pt>
                <c:pt idx="1246">
                  <c:v>45808</c:v>
                </c:pt>
              </c:numCache>
            </c:numRef>
          </c:cat>
          <c:val>
            <c:numRef>
              <c:f>FXHC!$Z$12:$Z$1258</c:f>
              <c:numCache>
                <c:formatCode>_(* #,##0.0_);_(* \(#,##0.0\);_(* "-"??_);_(@_)</c:formatCode>
                <c:ptCount val="1247"/>
                <c:pt idx="0" formatCode="General">
                  <c:v>100</c:v>
                </c:pt>
                <c:pt idx="1">
                  <c:v>100</c:v>
                </c:pt>
                <c:pt idx="2">
                  <c:v>100.00883938831433</c:v>
                </c:pt>
                <c:pt idx="3">
                  <c:v>100</c:v>
                </c:pt>
                <c:pt idx="4">
                  <c:v>99.991162174105185</c:v>
                </c:pt>
                <c:pt idx="5">
                  <c:v>99.982325910215636</c:v>
                </c:pt>
                <c:pt idx="6">
                  <c:v>99.964658066796247</c:v>
                </c:pt>
                <c:pt idx="7">
                  <c:v>99.964658066796247</c:v>
                </c:pt>
                <c:pt idx="8">
                  <c:v>99.964658066796247</c:v>
                </c:pt>
                <c:pt idx="9">
                  <c:v>99.964658066796247</c:v>
                </c:pt>
                <c:pt idx="10">
                  <c:v>99.964658066796247</c:v>
                </c:pt>
                <c:pt idx="11">
                  <c:v>99.964658066796247</c:v>
                </c:pt>
                <c:pt idx="12">
                  <c:v>99.964658066796247</c:v>
                </c:pt>
                <c:pt idx="13">
                  <c:v>99.964658066796247</c:v>
                </c:pt>
                <c:pt idx="14">
                  <c:v>99.964658066796247</c:v>
                </c:pt>
                <c:pt idx="15">
                  <c:v>99.964658066796247</c:v>
                </c:pt>
                <c:pt idx="16">
                  <c:v>99.964658066796247</c:v>
                </c:pt>
                <c:pt idx="17">
                  <c:v>99.964658066796247</c:v>
                </c:pt>
                <c:pt idx="18">
                  <c:v>99.964658066796247</c:v>
                </c:pt>
                <c:pt idx="19">
                  <c:v>99.964658066796247</c:v>
                </c:pt>
                <c:pt idx="20">
                  <c:v>99.964658066796247</c:v>
                </c:pt>
                <c:pt idx="21">
                  <c:v>99.964658066796247</c:v>
                </c:pt>
                <c:pt idx="22">
                  <c:v>99.964658066796247</c:v>
                </c:pt>
                <c:pt idx="23">
                  <c:v>99.964658066796247</c:v>
                </c:pt>
                <c:pt idx="24">
                  <c:v>99.964658066796247</c:v>
                </c:pt>
                <c:pt idx="25">
                  <c:v>99.964658066796247</c:v>
                </c:pt>
                <c:pt idx="26">
                  <c:v>99.964658066796247</c:v>
                </c:pt>
                <c:pt idx="27">
                  <c:v>99.964658066796247</c:v>
                </c:pt>
                <c:pt idx="28">
                  <c:v>99.964658066796247</c:v>
                </c:pt>
                <c:pt idx="29">
                  <c:v>99.964658066796247</c:v>
                </c:pt>
                <c:pt idx="30">
                  <c:v>102.09348493051797</c:v>
                </c:pt>
                <c:pt idx="31">
                  <c:v>102.09348493051797</c:v>
                </c:pt>
                <c:pt idx="32">
                  <c:v>102.09348493051797</c:v>
                </c:pt>
                <c:pt idx="33">
                  <c:v>102.09348493051797</c:v>
                </c:pt>
                <c:pt idx="34">
                  <c:v>102.09348493051797</c:v>
                </c:pt>
                <c:pt idx="35">
                  <c:v>102.09348493051797</c:v>
                </c:pt>
                <c:pt idx="36">
                  <c:v>102.09348493051797</c:v>
                </c:pt>
                <c:pt idx="37">
                  <c:v>99.595070422535215</c:v>
                </c:pt>
                <c:pt idx="38">
                  <c:v>99.586304022533227</c:v>
                </c:pt>
                <c:pt idx="39">
                  <c:v>99.595070422535215</c:v>
                </c:pt>
                <c:pt idx="40">
                  <c:v>99.586304022533227</c:v>
                </c:pt>
                <c:pt idx="41">
                  <c:v>99.586304022533227</c:v>
                </c:pt>
                <c:pt idx="42">
                  <c:v>99.586304022533227</c:v>
                </c:pt>
                <c:pt idx="43">
                  <c:v>99.586304022533227</c:v>
                </c:pt>
                <c:pt idx="44">
                  <c:v>99.586304022533227</c:v>
                </c:pt>
                <c:pt idx="45">
                  <c:v>99.586304022533227</c:v>
                </c:pt>
                <c:pt idx="46">
                  <c:v>99.577539165639834</c:v>
                </c:pt>
                <c:pt idx="47">
                  <c:v>99.577539165639834</c:v>
                </c:pt>
                <c:pt idx="48">
                  <c:v>99.551253849538043</c:v>
                </c:pt>
                <c:pt idx="49">
                  <c:v>99.551253849538043</c:v>
                </c:pt>
                <c:pt idx="50">
                  <c:v>99.551253849538043</c:v>
                </c:pt>
                <c:pt idx="51">
                  <c:v>99.551253849538043</c:v>
                </c:pt>
                <c:pt idx="52">
                  <c:v>99.551253849538043</c:v>
                </c:pt>
                <c:pt idx="53">
                  <c:v>99.551253849538043</c:v>
                </c:pt>
                <c:pt idx="54">
                  <c:v>99.551253849538043</c:v>
                </c:pt>
                <c:pt idx="55">
                  <c:v>99.551253849538043</c:v>
                </c:pt>
                <c:pt idx="56">
                  <c:v>99.551253849538043</c:v>
                </c:pt>
                <c:pt idx="57">
                  <c:v>99.551253849538043</c:v>
                </c:pt>
                <c:pt idx="58">
                  <c:v>99.551253849538043</c:v>
                </c:pt>
                <c:pt idx="59">
                  <c:v>99.551253849538043</c:v>
                </c:pt>
                <c:pt idx="60">
                  <c:v>99.551253849538043</c:v>
                </c:pt>
                <c:pt idx="61">
                  <c:v>99.551253849538043</c:v>
                </c:pt>
                <c:pt idx="62">
                  <c:v>99.551253849538043</c:v>
                </c:pt>
                <c:pt idx="63">
                  <c:v>99.551253849538043</c:v>
                </c:pt>
                <c:pt idx="64">
                  <c:v>99.551253849538043</c:v>
                </c:pt>
                <c:pt idx="65">
                  <c:v>99.551253849538043</c:v>
                </c:pt>
                <c:pt idx="66">
                  <c:v>99.551253849538043</c:v>
                </c:pt>
                <c:pt idx="67">
                  <c:v>99.551253849538043</c:v>
                </c:pt>
                <c:pt idx="68">
                  <c:v>99.551253849538043</c:v>
                </c:pt>
                <c:pt idx="69">
                  <c:v>99.551253849538043</c:v>
                </c:pt>
                <c:pt idx="70">
                  <c:v>99.551253849538043</c:v>
                </c:pt>
                <c:pt idx="71">
                  <c:v>99.551253849538043</c:v>
                </c:pt>
                <c:pt idx="72">
                  <c:v>99.551253849538043</c:v>
                </c:pt>
                <c:pt idx="73">
                  <c:v>99.551253849538043</c:v>
                </c:pt>
                <c:pt idx="74">
                  <c:v>99.551253849538043</c:v>
                </c:pt>
                <c:pt idx="75">
                  <c:v>99.551253849538043</c:v>
                </c:pt>
                <c:pt idx="76">
                  <c:v>99.551253849538043</c:v>
                </c:pt>
                <c:pt idx="77">
                  <c:v>99.551253849538043</c:v>
                </c:pt>
                <c:pt idx="78">
                  <c:v>99.551253849538043</c:v>
                </c:pt>
                <c:pt idx="79">
                  <c:v>99.551253849538043</c:v>
                </c:pt>
                <c:pt idx="80">
                  <c:v>99.551253849538043</c:v>
                </c:pt>
                <c:pt idx="81">
                  <c:v>101.68059674665227</c:v>
                </c:pt>
                <c:pt idx="82">
                  <c:v>101.63492633848362</c:v>
                </c:pt>
                <c:pt idx="83">
                  <c:v>101.58929693813413</c:v>
                </c:pt>
                <c:pt idx="84">
                  <c:v>101.58929693813413</c:v>
                </c:pt>
                <c:pt idx="85">
                  <c:v>101.58929693813413</c:v>
                </c:pt>
                <c:pt idx="86">
                  <c:v>101.58929693813413</c:v>
                </c:pt>
                <c:pt idx="87">
                  <c:v>101.58929693813413</c:v>
                </c:pt>
                <c:pt idx="88">
                  <c:v>101.58929693813413</c:v>
                </c:pt>
                <c:pt idx="89">
                  <c:v>101.58929693813413</c:v>
                </c:pt>
                <c:pt idx="90">
                  <c:v>101.58929693813413</c:v>
                </c:pt>
                <c:pt idx="91">
                  <c:v>101.58929693813413</c:v>
                </c:pt>
                <c:pt idx="92">
                  <c:v>101.58929693813413</c:v>
                </c:pt>
                <c:pt idx="93">
                  <c:v>101.58929693813413</c:v>
                </c:pt>
                <c:pt idx="94">
                  <c:v>101.58929693813413</c:v>
                </c:pt>
                <c:pt idx="95">
                  <c:v>101.58929693813413</c:v>
                </c:pt>
                <c:pt idx="96">
                  <c:v>101.58929693813413</c:v>
                </c:pt>
                <c:pt idx="97">
                  <c:v>101.58929693813413</c:v>
                </c:pt>
                <c:pt idx="98">
                  <c:v>101.58929693813413</c:v>
                </c:pt>
                <c:pt idx="99">
                  <c:v>101.58929693813413</c:v>
                </c:pt>
                <c:pt idx="100">
                  <c:v>101.58929693813413</c:v>
                </c:pt>
                <c:pt idx="101">
                  <c:v>101.58929693813413</c:v>
                </c:pt>
                <c:pt idx="102">
                  <c:v>101.58929693813413</c:v>
                </c:pt>
                <c:pt idx="103">
                  <c:v>101.58929693813413</c:v>
                </c:pt>
                <c:pt idx="104">
                  <c:v>101.58929693813413</c:v>
                </c:pt>
                <c:pt idx="105">
                  <c:v>101.58929693813413</c:v>
                </c:pt>
                <c:pt idx="106">
                  <c:v>101.58929693813413</c:v>
                </c:pt>
                <c:pt idx="107">
                  <c:v>101.58929693813413</c:v>
                </c:pt>
                <c:pt idx="108">
                  <c:v>101.58929693813413</c:v>
                </c:pt>
                <c:pt idx="109">
                  <c:v>101.58929693813413</c:v>
                </c:pt>
                <c:pt idx="110">
                  <c:v>101.58929693813413</c:v>
                </c:pt>
                <c:pt idx="111">
                  <c:v>101.58929693813413</c:v>
                </c:pt>
                <c:pt idx="112">
                  <c:v>101.58929693813413</c:v>
                </c:pt>
                <c:pt idx="113">
                  <c:v>101.58929693813413</c:v>
                </c:pt>
                <c:pt idx="114">
                  <c:v>101.58929693813413</c:v>
                </c:pt>
                <c:pt idx="115">
                  <c:v>101.58929693813413</c:v>
                </c:pt>
                <c:pt idx="116">
                  <c:v>101.58929693813413</c:v>
                </c:pt>
                <c:pt idx="117">
                  <c:v>101.58929693813413</c:v>
                </c:pt>
                <c:pt idx="118">
                  <c:v>101.58929693813413</c:v>
                </c:pt>
                <c:pt idx="119">
                  <c:v>101.58929693813413</c:v>
                </c:pt>
                <c:pt idx="120">
                  <c:v>101.58929693813413</c:v>
                </c:pt>
                <c:pt idx="121">
                  <c:v>101.58929693813413</c:v>
                </c:pt>
                <c:pt idx="122">
                  <c:v>101.58929693813413</c:v>
                </c:pt>
                <c:pt idx="123">
                  <c:v>101.58929693813413</c:v>
                </c:pt>
                <c:pt idx="124">
                  <c:v>101.58929693813413</c:v>
                </c:pt>
                <c:pt idx="125">
                  <c:v>101.58929693813413</c:v>
                </c:pt>
                <c:pt idx="126">
                  <c:v>101.58929693813413</c:v>
                </c:pt>
                <c:pt idx="127">
                  <c:v>101.58929693813413</c:v>
                </c:pt>
                <c:pt idx="128">
                  <c:v>101.58929693813413</c:v>
                </c:pt>
                <c:pt idx="129">
                  <c:v>101.58929693813413</c:v>
                </c:pt>
                <c:pt idx="130">
                  <c:v>101.58929693813413</c:v>
                </c:pt>
                <c:pt idx="131">
                  <c:v>101.58929693813413</c:v>
                </c:pt>
                <c:pt idx="132">
                  <c:v>101.58929693813413</c:v>
                </c:pt>
                <c:pt idx="133">
                  <c:v>101.58929693813413</c:v>
                </c:pt>
                <c:pt idx="134">
                  <c:v>101.58929693813413</c:v>
                </c:pt>
                <c:pt idx="135">
                  <c:v>101.58929693813413</c:v>
                </c:pt>
                <c:pt idx="136">
                  <c:v>101.58929693813413</c:v>
                </c:pt>
                <c:pt idx="137">
                  <c:v>101.58929693813413</c:v>
                </c:pt>
                <c:pt idx="138">
                  <c:v>101.58929693813413</c:v>
                </c:pt>
                <c:pt idx="139">
                  <c:v>101.58929693813413</c:v>
                </c:pt>
                <c:pt idx="140">
                  <c:v>101.58929693813413</c:v>
                </c:pt>
                <c:pt idx="141">
                  <c:v>101.58929693813413</c:v>
                </c:pt>
                <c:pt idx="142">
                  <c:v>101.58929693813413</c:v>
                </c:pt>
                <c:pt idx="143">
                  <c:v>101.58929693813413</c:v>
                </c:pt>
                <c:pt idx="144">
                  <c:v>101.58929693813413</c:v>
                </c:pt>
                <c:pt idx="145">
                  <c:v>101.58929693813413</c:v>
                </c:pt>
                <c:pt idx="146">
                  <c:v>101.58929693813413</c:v>
                </c:pt>
                <c:pt idx="147">
                  <c:v>101.58929693813413</c:v>
                </c:pt>
                <c:pt idx="148">
                  <c:v>101.58929693813413</c:v>
                </c:pt>
                <c:pt idx="149">
                  <c:v>101.58929693813413</c:v>
                </c:pt>
                <c:pt idx="150">
                  <c:v>101.58929693813413</c:v>
                </c:pt>
                <c:pt idx="151">
                  <c:v>101.58929693813413</c:v>
                </c:pt>
                <c:pt idx="152">
                  <c:v>101.58929693813413</c:v>
                </c:pt>
                <c:pt idx="153">
                  <c:v>96.808419611534148</c:v>
                </c:pt>
                <c:pt idx="154">
                  <c:v>96.808419611534148</c:v>
                </c:pt>
                <c:pt idx="155">
                  <c:v>96.808419611534148</c:v>
                </c:pt>
                <c:pt idx="156">
                  <c:v>96.808419611534148</c:v>
                </c:pt>
                <c:pt idx="157">
                  <c:v>96.841564666609585</c:v>
                </c:pt>
                <c:pt idx="158">
                  <c:v>96.758744548020161</c:v>
                </c:pt>
                <c:pt idx="159">
                  <c:v>96.800136892539328</c:v>
                </c:pt>
                <c:pt idx="160">
                  <c:v>96.659547202050391</c:v>
                </c:pt>
                <c:pt idx="161">
                  <c:v>96.659547202050391</c:v>
                </c:pt>
                <c:pt idx="162">
                  <c:v>96.659547202050391</c:v>
                </c:pt>
                <c:pt idx="163">
                  <c:v>96.659547202050391</c:v>
                </c:pt>
                <c:pt idx="164">
                  <c:v>96.643034082173031</c:v>
                </c:pt>
                <c:pt idx="165">
                  <c:v>96.478212671612496</c:v>
                </c:pt>
                <c:pt idx="166">
                  <c:v>96.437095124445932</c:v>
                </c:pt>
                <c:pt idx="167">
                  <c:v>96.412441414571774</c:v>
                </c:pt>
                <c:pt idx="168">
                  <c:v>96.412441414571774</c:v>
                </c:pt>
                <c:pt idx="169">
                  <c:v>96.412441414571774</c:v>
                </c:pt>
                <c:pt idx="170">
                  <c:v>96.371379897785317</c:v>
                </c:pt>
                <c:pt idx="171">
                  <c:v>96.330353341847569</c:v>
                </c:pt>
                <c:pt idx="172">
                  <c:v>96.264783459542215</c:v>
                </c:pt>
                <c:pt idx="173">
                  <c:v>96.16659583510409</c:v>
                </c:pt>
                <c:pt idx="174">
                  <c:v>96.16659583510409</c:v>
                </c:pt>
                <c:pt idx="175">
                  <c:v>96.16659583510409</c:v>
                </c:pt>
                <c:pt idx="176">
                  <c:v>96.16659583510409</c:v>
                </c:pt>
                <c:pt idx="177">
                  <c:v>96.16659583510409</c:v>
                </c:pt>
                <c:pt idx="178">
                  <c:v>96.16659583510409</c:v>
                </c:pt>
                <c:pt idx="179">
                  <c:v>96.16659583510409</c:v>
                </c:pt>
                <c:pt idx="180">
                  <c:v>95.978961655921253</c:v>
                </c:pt>
                <c:pt idx="181">
                  <c:v>95.978961655921253</c:v>
                </c:pt>
                <c:pt idx="182">
                  <c:v>95.978961655921253</c:v>
                </c:pt>
                <c:pt idx="183">
                  <c:v>95.978961655921253</c:v>
                </c:pt>
                <c:pt idx="184">
                  <c:v>95.962680237489366</c:v>
                </c:pt>
                <c:pt idx="185">
                  <c:v>95.922000847816832</c:v>
                </c:pt>
                <c:pt idx="186">
                  <c:v>95.922000847816832</c:v>
                </c:pt>
                <c:pt idx="187">
                  <c:v>95.922000847816832</c:v>
                </c:pt>
                <c:pt idx="188">
                  <c:v>95.922000847816832</c:v>
                </c:pt>
                <c:pt idx="189">
                  <c:v>95.922000847816832</c:v>
                </c:pt>
                <c:pt idx="190">
                  <c:v>95.922000847816832</c:v>
                </c:pt>
                <c:pt idx="191">
                  <c:v>95.922000847816832</c:v>
                </c:pt>
                <c:pt idx="192">
                  <c:v>95.922000847816832</c:v>
                </c:pt>
                <c:pt idx="193">
                  <c:v>95.719120135363767</c:v>
                </c:pt>
                <c:pt idx="194">
                  <c:v>95.662467235985432</c:v>
                </c:pt>
                <c:pt idx="195">
                  <c:v>95.630124249852059</c:v>
                </c:pt>
                <c:pt idx="196">
                  <c:v>95.630124249852059</c:v>
                </c:pt>
                <c:pt idx="197">
                  <c:v>95.630124249852059</c:v>
                </c:pt>
                <c:pt idx="198">
                  <c:v>95.581650756103713</c:v>
                </c:pt>
                <c:pt idx="199">
                  <c:v>95.56550384322999</c:v>
                </c:pt>
                <c:pt idx="200">
                  <c:v>95.56550384322999</c:v>
                </c:pt>
                <c:pt idx="201">
                  <c:v>95.436524673133675</c:v>
                </c:pt>
                <c:pt idx="202">
                  <c:v>95.436524673133675</c:v>
                </c:pt>
                <c:pt idx="203">
                  <c:v>95.436524673133675</c:v>
                </c:pt>
                <c:pt idx="204">
                  <c:v>95.436524673133675</c:v>
                </c:pt>
                <c:pt idx="205">
                  <c:v>95.436524673133675</c:v>
                </c:pt>
                <c:pt idx="206">
                  <c:v>95.436524673133675</c:v>
                </c:pt>
                <c:pt idx="207">
                  <c:v>95.315922493681526</c:v>
                </c:pt>
                <c:pt idx="208">
                  <c:v>95.315922493681526</c:v>
                </c:pt>
                <c:pt idx="209">
                  <c:v>95.275789473684199</c:v>
                </c:pt>
                <c:pt idx="210">
                  <c:v>95.275789473684199</c:v>
                </c:pt>
                <c:pt idx="211">
                  <c:v>95.275789473684199</c:v>
                </c:pt>
                <c:pt idx="212">
                  <c:v>95.195624737063511</c:v>
                </c:pt>
                <c:pt idx="213">
                  <c:v>95.147590614750641</c:v>
                </c:pt>
                <c:pt idx="214">
                  <c:v>95.147590614750641</c:v>
                </c:pt>
                <c:pt idx="215">
                  <c:v>95.203635139683598</c:v>
                </c:pt>
                <c:pt idx="216">
                  <c:v>94.979852249832092</c:v>
                </c:pt>
                <c:pt idx="217">
                  <c:v>94.979852249832092</c:v>
                </c:pt>
                <c:pt idx="218">
                  <c:v>94.979852249832092</c:v>
                </c:pt>
                <c:pt idx="219">
                  <c:v>94.916107382550322</c:v>
                </c:pt>
                <c:pt idx="220">
                  <c:v>94.916107382550322</c:v>
                </c:pt>
                <c:pt idx="221">
                  <c:v>94.908145289824674</c:v>
                </c:pt>
                <c:pt idx="222">
                  <c:v>94.860400771359082</c:v>
                </c:pt>
                <c:pt idx="223">
                  <c:v>94.828597770513767</c:v>
                </c:pt>
                <c:pt idx="224">
                  <c:v>94.828597770513767</c:v>
                </c:pt>
                <c:pt idx="225">
                  <c:v>94.828597770513767</c:v>
                </c:pt>
                <c:pt idx="226">
                  <c:v>94.77299380130674</c:v>
                </c:pt>
                <c:pt idx="227">
                  <c:v>94.749183485470226</c:v>
                </c:pt>
                <c:pt idx="228">
                  <c:v>94.701598727714057</c:v>
                </c:pt>
                <c:pt idx="229">
                  <c:v>94.646143550276037</c:v>
                </c:pt>
                <c:pt idx="230">
                  <c:v>94.622396922304915</c:v>
                </c:pt>
                <c:pt idx="231">
                  <c:v>94.622396922304915</c:v>
                </c:pt>
                <c:pt idx="232">
                  <c:v>94.622396922304915</c:v>
                </c:pt>
                <c:pt idx="233">
                  <c:v>94.63822668339607</c:v>
                </c:pt>
                <c:pt idx="234">
                  <c:v>94.63822668339607</c:v>
                </c:pt>
                <c:pt idx="235">
                  <c:v>94.401335002085943</c:v>
                </c:pt>
                <c:pt idx="236">
                  <c:v>94.369839019100851</c:v>
                </c:pt>
                <c:pt idx="237">
                  <c:v>94.369839019100851</c:v>
                </c:pt>
                <c:pt idx="238">
                  <c:v>94.369839019100851</c:v>
                </c:pt>
                <c:pt idx="239">
                  <c:v>94.369839019100851</c:v>
                </c:pt>
                <c:pt idx="240">
                  <c:v>94.322634431012929</c:v>
                </c:pt>
                <c:pt idx="241">
                  <c:v>94.322634431012929</c:v>
                </c:pt>
                <c:pt idx="242">
                  <c:v>94.275477043579698</c:v>
                </c:pt>
                <c:pt idx="243">
                  <c:v>94.275477043579698</c:v>
                </c:pt>
                <c:pt idx="244">
                  <c:v>94.165626300457745</c:v>
                </c:pt>
                <c:pt idx="245">
                  <c:v>94.165626300457745</c:v>
                </c:pt>
                <c:pt idx="246">
                  <c:v>94.165626300457745</c:v>
                </c:pt>
                <c:pt idx="247">
                  <c:v>94.165626300457745</c:v>
                </c:pt>
                <c:pt idx="248">
                  <c:v>94.165626300457745</c:v>
                </c:pt>
                <c:pt idx="249">
                  <c:v>94.063851014299956</c:v>
                </c:pt>
                <c:pt idx="250">
                  <c:v>94.063851014299956</c:v>
                </c:pt>
                <c:pt idx="251">
                  <c:v>94.04821280133001</c:v>
                </c:pt>
                <c:pt idx="252">
                  <c:v>94.04821280133001</c:v>
                </c:pt>
                <c:pt idx="253">
                  <c:v>94.04821280133001</c:v>
                </c:pt>
                <c:pt idx="254">
                  <c:v>94.016951969419978</c:v>
                </c:pt>
                <c:pt idx="255">
                  <c:v>94.016951969419978</c:v>
                </c:pt>
                <c:pt idx="256">
                  <c:v>94.016951969419978</c:v>
                </c:pt>
                <c:pt idx="257">
                  <c:v>93.962295490407769</c:v>
                </c:pt>
                <c:pt idx="258">
                  <c:v>93.985711912277779</c:v>
                </c:pt>
                <c:pt idx="259">
                  <c:v>93.985711912277779</c:v>
                </c:pt>
                <c:pt idx="260">
                  <c:v>93.985711912277779</c:v>
                </c:pt>
                <c:pt idx="261">
                  <c:v>93.985711912277779</c:v>
                </c:pt>
                <c:pt idx="262">
                  <c:v>93.985711912277779</c:v>
                </c:pt>
                <c:pt idx="263">
                  <c:v>93.985711912277779</c:v>
                </c:pt>
                <c:pt idx="264">
                  <c:v>93.985711912277779</c:v>
                </c:pt>
                <c:pt idx="265">
                  <c:v>93.985711912277779</c:v>
                </c:pt>
                <c:pt idx="266">
                  <c:v>93.985711912277779</c:v>
                </c:pt>
                <c:pt idx="267">
                  <c:v>93.985711912277779</c:v>
                </c:pt>
                <c:pt idx="268">
                  <c:v>93.985711912277779</c:v>
                </c:pt>
                <c:pt idx="269">
                  <c:v>93.985711912277779</c:v>
                </c:pt>
                <c:pt idx="270">
                  <c:v>93.985711912277779</c:v>
                </c:pt>
                <c:pt idx="271">
                  <c:v>93.985711912277779</c:v>
                </c:pt>
                <c:pt idx="272">
                  <c:v>93.985711912277779</c:v>
                </c:pt>
                <c:pt idx="273">
                  <c:v>93.985711912277779</c:v>
                </c:pt>
                <c:pt idx="274">
                  <c:v>93.985711912277779</c:v>
                </c:pt>
                <c:pt idx="275">
                  <c:v>93.985711912277779</c:v>
                </c:pt>
                <c:pt idx="276">
                  <c:v>93.985711912277779</c:v>
                </c:pt>
                <c:pt idx="277">
                  <c:v>93.985711912277779</c:v>
                </c:pt>
                <c:pt idx="278">
                  <c:v>93.985711912277779</c:v>
                </c:pt>
                <c:pt idx="279">
                  <c:v>93.985711912277779</c:v>
                </c:pt>
                <c:pt idx="280">
                  <c:v>93.985711912277779</c:v>
                </c:pt>
                <c:pt idx="281">
                  <c:v>93.985711912277779</c:v>
                </c:pt>
                <c:pt idx="282">
                  <c:v>93.985711912277779</c:v>
                </c:pt>
                <c:pt idx="283">
                  <c:v>93.985711912277779</c:v>
                </c:pt>
                <c:pt idx="284">
                  <c:v>93.985711912277779</c:v>
                </c:pt>
                <c:pt idx="285">
                  <c:v>93.985711912277779</c:v>
                </c:pt>
                <c:pt idx="286">
                  <c:v>93.504132231404952</c:v>
                </c:pt>
                <c:pt idx="287">
                  <c:v>93.504132231404952</c:v>
                </c:pt>
                <c:pt idx="288">
                  <c:v>93.504132231404952</c:v>
                </c:pt>
                <c:pt idx="289">
                  <c:v>93.504132231404952</c:v>
                </c:pt>
                <c:pt idx="290">
                  <c:v>93.504132231404952</c:v>
                </c:pt>
                <c:pt idx="291">
                  <c:v>93.504132231404952</c:v>
                </c:pt>
                <c:pt idx="292">
                  <c:v>93.504132231404952</c:v>
                </c:pt>
                <c:pt idx="293">
                  <c:v>93.372947099116928</c:v>
                </c:pt>
                <c:pt idx="294">
                  <c:v>93.372947099116928</c:v>
                </c:pt>
                <c:pt idx="295">
                  <c:v>93.372947099116928</c:v>
                </c:pt>
                <c:pt idx="296">
                  <c:v>93.372947099116928</c:v>
                </c:pt>
                <c:pt idx="297">
                  <c:v>93.334433261837972</c:v>
                </c:pt>
                <c:pt idx="298">
                  <c:v>93.334433261837972</c:v>
                </c:pt>
                <c:pt idx="299">
                  <c:v>93.272877164056055</c:v>
                </c:pt>
                <c:pt idx="300">
                  <c:v>93.272877164056055</c:v>
                </c:pt>
                <c:pt idx="301">
                  <c:v>93.272877164056055</c:v>
                </c:pt>
                <c:pt idx="302">
                  <c:v>93.272877164056055</c:v>
                </c:pt>
                <c:pt idx="303">
                  <c:v>93.242129553321234</c:v>
                </c:pt>
                <c:pt idx="304">
                  <c:v>93.203723535711347</c:v>
                </c:pt>
                <c:pt idx="305">
                  <c:v>93.173021493864752</c:v>
                </c:pt>
                <c:pt idx="306">
                  <c:v>93.211402207941973</c:v>
                </c:pt>
                <c:pt idx="307">
                  <c:v>93.081036610448351</c:v>
                </c:pt>
                <c:pt idx="308">
                  <c:v>93.081036610448351</c:v>
                </c:pt>
                <c:pt idx="309">
                  <c:v>93.081036610448351</c:v>
                </c:pt>
                <c:pt idx="310">
                  <c:v>93.088695079809099</c:v>
                </c:pt>
                <c:pt idx="311">
                  <c:v>93.088695079809099</c:v>
                </c:pt>
                <c:pt idx="312">
                  <c:v>93.150008233163177</c:v>
                </c:pt>
                <c:pt idx="313">
                  <c:v>93.150008233163177</c:v>
                </c:pt>
                <c:pt idx="314">
                  <c:v>93.150008233163177</c:v>
                </c:pt>
                <c:pt idx="315">
                  <c:v>93.150008233163177</c:v>
                </c:pt>
                <c:pt idx="316">
                  <c:v>93.150008233163177</c:v>
                </c:pt>
                <c:pt idx="317">
                  <c:v>93.150008233163177</c:v>
                </c:pt>
                <c:pt idx="318">
                  <c:v>93.150008233163177</c:v>
                </c:pt>
                <c:pt idx="319">
                  <c:v>93.150008233163177</c:v>
                </c:pt>
                <c:pt idx="320">
                  <c:v>93.150008233163177</c:v>
                </c:pt>
                <c:pt idx="321">
                  <c:v>92.699713232281837</c:v>
                </c:pt>
                <c:pt idx="322">
                  <c:v>92.699713232281837</c:v>
                </c:pt>
                <c:pt idx="323">
                  <c:v>92.699713232281837</c:v>
                </c:pt>
                <c:pt idx="324">
                  <c:v>92.669342288475704</c:v>
                </c:pt>
                <c:pt idx="325">
                  <c:v>92.631406582610097</c:v>
                </c:pt>
                <c:pt idx="326">
                  <c:v>92.548057259713687</c:v>
                </c:pt>
                <c:pt idx="327">
                  <c:v>92.540487485686214</c:v>
                </c:pt>
                <c:pt idx="328">
                  <c:v>92.479973843387256</c:v>
                </c:pt>
                <c:pt idx="329">
                  <c:v>92.479973843387256</c:v>
                </c:pt>
                <c:pt idx="330">
                  <c:v>92.479973843387256</c:v>
                </c:pt>
                <c:pt idx="331">
                  <c:v>92.457301626215553</c:v>
                </c:pt>
                <c:pt idx="332">
                  <c:v>92.442192989623308</c:v>
                </c:pt>
                <c:pt idx="333">
                  <c:v>92.442192989623308</c:v>
                </c:pt>
                <c:pt idx="334">
                  <c:v>92.359183673469374</c:v>
                </c:pt>
                <c:pt idx="335">
                  <c:v>92.306437137961964</c:v>
                </c:pt>
                <c:pt idx="336">
                  <c:v>92.306437137961964</c:v>
                </c:pt>
                <c:pt idx="337">
                  <c:v>92.306437137961964</c:v>
                </c:pt>
                <c:pt idx="338">
                  <c:v>92.28384991843393</c:v>
                </c:pt>
                <c:pt idx="339">
                  <c:v>92.231189369854079</c:v>
                </c:pt>
                <c:pt idx="340">
                  <c:v>92.193611473272483</c:v>
                </c:pt>
                <c:pt idx="341">
                  <c:v>92.178588887078377</c:v>
                </c:pt>
                <c:pt idx="342">
                  <c:v>92.13355048859934</c:v>
                </c:pt>
                <c:pt idx="343">
                  <c:v>92.13355048859934</c:v>
                </c:pt>
                <c:pt idx="344">
                  <c:v>92.13355048859934</c:v>
                </c:pt>
                <c:pt idx="345">
                  <c:v>92.13355048859934</c:v>
                </c:pt>
                <c:pt idx="346">
                  <c:v>92.13355048859934</c:v>
                </c:pt>
                <c:pt idx="347">
                  <c:v>92.13355048859934</c:v>
                </c:pt>
                <c:pt idx="348">
                  <c:v>92.13355048859934</c:v>
                </c:pt>
                <c:pt idx="349">
                  <c:v>92.13355048859934</c:v>
                </c:pt>
                <c:pt idx="350">
                  <c:v>92.13355048859934</c:v>
                </c:pt>
                <c:pt idx="351">
                  <c:v>92.13355048859934</c:v>
                </c:pt>
                <c:pt idx="352">
                  <c:v>92.13355048859934</c:v>
                </c:pt>
                <c:pt idx="353">
                  <c:v>92.13355048859934</c:v>
                </c:pt>
                <c:pt idx="354">
                  <c:v>91.894087069525654</c:v>
                </c:pt>
                <c:pt idx="355">
                  <c:v>91.864241636895088</c:v>
                </c:pt>
                <c:pt idx="356">
                  <c:v>91.812058751927296</c:v>
                </c:pt>
                <c:pt idx="357">
                  <c:v>91.812058751927296</c:v>
                </c:pt>
                <c:pt idx="358">
                  <c:v>91.812058751927296</c:v>
                </c:pt>
                <c:pt idx="359">
                  <c:v>91.812058751927296</c:v>
                </c:pt>
                <c:pt idx="360">
                  <c:v>91.812058751927296</c:v>
                </c:pt>
                <c:pt idx="361">
                  <c:v>91.812058751927296</c:v>
                </c:pt>
                <c:pt idx="362">
                  <c:v>91.812058751927296</c:v>
                </c:pt>
                <c:pt idx="363">
                  <c:v>91.678146017340566</c:v>
                </c:pt>
                <c:pt idx="364">
                  <c:v>91.678146017340566</c:v>
                </c:pt>
                <c:pt idx="365">
                  <c:v>91.678146017340566</c:v>
                </c:pt>
                <c:pt idx="366">
                  <c:v>91.678146017340566</c:v>
                </c:pt>
                <c:pt idx="367">
                  <c:v>91.641017333549343</c:v>
                </c:pt>
                <c:pt idx="368">
                  <c:v>91.611336032388678</c:v>
                </c:pt>
                <c:pt idx="369">
                  <c:v>91.611336032388678</c:v>
                </c:pt>
                <c:pt idx="370">
                  <c:v>91.537216828478989</c:v>
                </c:pt>
                <c:pt idx="371">
                  <c:v>91.537216828478989</c:v>
                </c:pt>
                <c:pt idx="372">
                  <c:v>91.537216828478989</c:v>
                </c:pt>
                <c:pt idx="373">
                  <c:v>91.507602717567153</c:v>
                </c:pt>
                <c:pt idx="374">
                  <c:v>91.500202183582715</c:v>
                </c:pt>
                <c:pt idx="375">
                  <c:v>91.426262626262641</c:v>
                </c:pt>
                <c:pt idx="376">
                  <c:v>91.426262626262641</c:v>
                </c:pt>
                <c:pt idx="377">
                  <c:v>91.234577856624469</c:v>
                </c:pt>
                <c:pt idx="378">
                  <c:v>91.234577856624469</c:v>
                </c:pt>
                <c:pt idx="379">
                  <c:v>91.234577856624469</c:v>
                </c:pt>
                <c:pt idx="380">
                  <c:v>91.234577856624469</c:v>
                </c:pt>
                <c:pt idx="381">
                  <c:v>91.241935483870989</c:v>
                </c:pt>
                <c:pt idx="382">
                  <c:v>91.205159209995998</c:v>
                </c:pt>
                <c:pt idx="383">
                  <c:v>91.205159209995998</c:v>
                </c:pt>
                <c:pt idx="384">
                  <c:v>91.153722204318413</c:v>
                </c:pt>
                <c:pt idx="385">
                  <c:v>91.153722204318413</c:v>
                </c:pt>
                <c:pt idx="386">
                  <c:v>91.153722204318413</c:v>
                </c:pt>
                <c:pt idx="387">
                  <c:v>91.109679497503649</c:v>
                </c:pt>
                <c:pt idx="388">
                  <c:v>91.102343183831252</c:v>
                </c:pt>
                <c:pt idx="389">
                  <c:v>91.021721641190695</c:v>
                </c:pt>
                <c:pt idx="390">
                  <c:v>91.021721641190695</c:v>
                </c:pt>
                <c:pt idx="391">
                  <c:v>91.021721641190695</c:v>
                </c:pt>
                <c:pt idx="392">
                  <c:v>91.021721641190695</c:v>
                </c:pt>
                <c:pt idx="393">
                  <c:v>91.021721641190695</c:v>
                </c:pt>
                <c:pt idx="394">
                  <c:v>91.021721641190695</c:v>
                </c:pt>
                <c:pt idx="395">
                  <c:v>91.021721641190695</c:v>
                </c:pt>
                <c:pt idx="396">
                  <c:v>90.868203357160084</c:v>
                </c:pt>
                <c:pt idx="397">
                  <c:v>90.839020473705361</c:v>
                </c:pt>
                <c:pt idx="398">
                  <c:v>90.787995506339286</c:v>
                </c:pt>
                <c:pt idx="399">
                  <c:v>90.787995506339286</c:v>
                </c:pt>
                <c:pt idx="400">
                  <c:v>90.787995506339286</c:v>
                </c:pt>
                <c:pt idx="401">
                  <c:v>90.758864110380259</c:v>
                </c:pt>
                <c:pt idx="402">
                  <c:v>90.758864110380259</c:v>
                </c:pt>
                <c:pt idx="403">
                  <c:v>90.512000000000015</c:v>
                </c:pt>
                <c:pt idx="404">
                  <c:v>90.461341648676765</c:v>
                </c:pt>
                <c:pt idx="405">
                  <c:v>90.446878247661701</c:v>
                </c:pt>
                <c:pt idx="406">
                  <c:v>90.446878247661701</c:v>
                </c:pt>
                <c:pt idx="407">
                  <c:v>90.446878247661701</c:v>
                </c:pt>
                <c:pt idx="408">
                  <c:v>90.374630561546468</c:v>
                </c:pt>
                <c:pt idx="409">
                  <c:v>90.316915462600804</c:v>
                </c:pt>
                <c:pt idx="410">
                  <c:v>90.187325627740151</c:v>
                </c:pt>
                <c:pt idx="411">
                  <c:v>90.086790349550128</c:v>
                </c:pt>
                <c:pt idx="412">
                  <c:v>90.086790349550128</c:v>
                </c:pt>
                <c:pt idx="413">
                  <c:v>90.086790349550128</c:v>
                </c:pt>
                <c:pt idx="414">
                  <c:v>90.086790349550128</c:v>
                </c:pt>
                <c:pt idx="415">
                  <c:v>90.043772383605258</c:v>
                </c:pt>
                <c:pt idx="416">
                  <c:v>90.043772383605258</c:v>
                </c:pt>
                <c:pt idx="417">
                  <c:v>90.043772383605258</c:v>
                </c:pt>
                <c:pt idx="418">
                  <c:v>90.043772383605258</c:v>
                </c:pt>
                <c:pt idx="419">
                  <c:v>90.043772383605258</c:v>
                </c:pt>
                <c:pt idx="420">
                  <c:v>90.043772383605258</c:v>
                </c:pt>
                <c:pt idx="421">
                  <c:v>90.043772383605258</c:v>
                </c:pt>
                <c:pt idx="422">
                  <c:v>89.417529439658608</c:v>
                </c:pt>
                <c:pt idx="423">
                  <c:v>89.417529439658608</c:v>
                </c:pt>
                <c:pt idx="424">
                  <c:v>88.911591355599228</c:v>
                </c:pt>
                <c:pt idx="425">
                  <c:v>88.737254901960796</c:v>
                </c:pt>
                <c:pt idx="426">
                  <c:v>88.64686985818382</c:v>
                </c:pt>
                <c:pt idx="427">
                  <c:v>88.64686985818382</c:v>
                </c:pt>
                <c:pt idx="428">
                  <c:v>88.64686985818382</c:v>
                </c:pt>
                <c:pt idx="429">
                  <c:v>88.287163480296542</c:v>
                </c:pt>
                <c:pt idx="430">
                  <c:v>88.252730109204393</c:v>
                </c:pt>
                <c:pt idx="431">
                  <c:v>88.02614175678832</c:v>
                </c:pt>
                <c:pt idx="432">
                  <c:v>87.875728155339814</c:v>
                </c:pt>
                <c:pt idx="433">
                  <c:v>87.6578600759278</c:v>
                </c:pt>
                <c:pt idx="434">
                  <c:v>87.6578600759278</c:v>
                </c:pt>
                <c:pt idx="435">
                  <c:v>87.6578600759278</c:v>
                </c:pt>
                <c:pt idx="436">
                  <c:v>87.535783365570609</c:v>
                </c:pt>
                <c:pt idx="437">
                  <c:v>87.366795366795373</c:v>
                </c:pt>
                <c:pt idx="438">
                  <c:v>87.23207401696223</c:v>
                </c:pt>
                <c:pt idx="439">
                  <c:v>87.23207401696223</c:v>
                </c:pt>
                <c:pt idx="440">
                  <c:v>87.23207401696223</c:v>
                </c:pt>
                <c:pt idx="441">
                  <c:v>87.23207401696223</c:v>
                </c:pt>
                <c:pt idx="442">
                  <c:v>87.23207401696223</c:v>
                </c:pt>
                <c:pt idx="443">
                  <c:v>86.930464848252029</c:v>
                </c:pt>
                <c:pt idx="444">
                  <c:v>86.730548102721372</c:v>
                </c:pt>
                <c:pt idx="445">
                  <c:v>86.498470948012226</c:v>
                </c:pt>
                <c:pt idx="446">
                  <c:v>86.280790055669954</c:v>
                </c:pt>
                <c:pt idx="447">
                  <c:v>86.280790055669954</c:v>
                </c:pt>
                <c:pt idx="448">
                  <c:v>86.280790055669954</c:v>
                </c:pt>
                <c:pt idx="449">
                  <c:v>86.280790055669954</c:v>
                </c:pt>
                <c:pt idx="450">
                  <c:v>86.103500761035008</c:v>
                </c:pt>
                <c:pt idx="451">
                  <c:v>85.979177749069081</c:v>
                </c:pt>
                <c:pt idx="452">
                  <c:v>85.979177749069081</c:v>
                </c:pt>
                <c:pt idx="453">
                  <c:v>85.979177749069081</c:v>
                </c:pt>
                <c:pt idx="454">
                  <c:v>85.472539094961093</c:v>
                </c:pt>
                <c:pt idx="455">
                  <c:v>85.472539094961093</c:v>
                </c:pt>
                <c:pt idx="456">
                  <c:v>85.472539094961093</c:v>
                </c:pt>
                <c:pt idx="457">
                  <c:v>85.37579233323271</c:v>
                </c:pt>
                <c:pt idx="458">
                  <c:v>85.163718479488139</c:v>
                </c:pt>
                <c:pt idx="459">
                  <c:v>85.022920267528363</c:v>
                </c:pt>
                <c:pt idx="460">
                  <c:v>84.812593703148423</c:v>
                </c:pt>
                <c:pt idx="461">
                  <c:v>84.812593703148423</c:v>
                </c:pt>
                <c:pt idx="462">
                  <c:v>84.812593703148423</c:v>
                </c:pt>
                <c:pt idx="463">
                  <c:v>84.812593703148423</c:v>
                </c:pt>
                <c:pt idx="464">
                  <c:v>84.812593703148423</c:v>
                </c:pt>
                <c:pt idx="465">
                  <c:v>84.622288706058342</c:v>
                </c:pt>
                <c:pt idx="466">
                  <c:v>84.622288706058342</c:v>
                </c:pt>
                <c:pt idx="467">
                  <c:v>84.181547619047606</c:v>
                </c:pt>
                <c:pt idx="468">
                  <c:v>84.194076499479081</c:v>
                </c:pt>
                <c:pt idx="469">
                  <c:v>84.194076499479081</c:v>
                </c:pt>
                <c:pt idx="470">
                  <c:v>84.194076499479081</c:v>
                </c:pt>
                <c:pt idx="471">
                  <c:v>84.019010842120892</c:v>
                </c:pt>
                <c:pt idx="472">
                  <c:v>83.931750741839735</c:v>
                </c:pt>
                <c:pt idx="473">
                  <c:v>83.71439141694411</c:v>
                </c:pt>
                <c:pt idx="474">
                  <c:v>83.621581670362133</c:v>
                </c:pt>
                <c:pt idx="475">
                  <c:v>83.621581670362133</c:v>
                </c:pt>
                <c:pt idx="476">
                  <c:v>83.621581670362133</c:v>
                </c:pt>
                <c:pt idx="477">
                  <c:v>83.621581670362133</c:v>
                </c:pt>
                <c:pt idx="478">
                  <c:v>83.57216723297384</c:v>
                </c:pt>
                <c:pt idx="479">
                  <c:v>83.455041675886974</c:v>
                </c:pt>
                <c:pt idx="480">
                  <c:v>83.344383057090212</c:v>
                </c:pt>
                <c:pt idx="481">
                  <c:v>83.295295590075781</c:v>
                </c:pt>
                <c:pt idx="482">
                  <c:v>83.264645275242813</c:v>
                </c:pt>
                <c:pt idx="483">
                  <c:v>83.264645275242813</c:v>
                </c:pt>
                <c:pt idx="484">
                  <c:v>83.264645275242813</c:v>
                </c:pt>
                <c:pt idx="485">
                  <c:v>83.264645275242813</c:v>
                </c:pt>
                <c:pt idx="486">
                  <c:v>83.130051432769974</c:v>
                </c:pt>
                <c:pt idx="487">
                  <c:v>83.069016152716557</c:v>
                </c:pt>
                <c:pt idx="488">
                  <c:v>83.008070432868621</c:v>
                </c:pt>
                <c:pt idx="489">
                  <c:v>82.947214076246283</c:v>
                </c:pt>
                <c:pt idx="490">
                  <c:v>82.947214076246283</c:v>
                </c:pt>
                <c:pt idx="491">
                  <c:v>82.947214076246283</c:v>
                </c:pt>
                <c:pt idx="492">
                  <c:v>82.886446886446848</c:v>
                </c:pt>
                <c:pt idx="493">
                  <c:v>82.831832491397577</c:v>
                </c:pt>
                <c:pt idx="494">
                  <c:v>82.777290020485779</c:v>
                </c:pt>
                <c:pt idx="495">
                  <c:v>82.777290020485779</c:v>
                </c:pt>
                <c:pt idx="496">
                  <c:v>82.644265887509107</c:v>
                </c:pt>
                <c:pt idx="497">
                  <c:v>82.644265887509107</c:v>
                </c:pt>
                <c:pt idx="498">
                  <c:v>82.644265887509107</c:v>
                </c:pt>
                <c:pt idx="499">
                  <c:v>82.523705324580575</c:v>
                </c:pt>
                <c:pt idx="500">
                  <c:v>82.523705324580575</c:v>
                </c:pt>
                <c:pt idx="501">
                  <c:v>82.523705324580575</c:v>
                </c:pt>
                <c:pt idx="502">
                  <c:v>82.283636363636333</c:v>
                </c:pt>
                <c:pt idx="503">
                  <c:v>82.223837209302289</c:v>
                </c:pt>
                <c:pt idx="504">
                  <c:v>82.223837209302289</c:v>
                </c:pt>
                <c:pt idx="505">
                  <c:v>82.223837209302289</c:v>
                </c:pt>
                <c:pt idx="506">
                  <c:v>82.170092236182697</c:v>
                </c:pt>
                <c:pt idx="507">
                  <c:v>81.985507246376784</c:v>
                </c:pt>
                <c:pt idx="508">
                  <c:v>81.943941478959928</c:v>
                </c:pt>
                <c:pt idx="509">
                  <c:v>81.872783848324744</c:v>
                </c:pt>
                <c:pt idx="510">
                  <c:v>81.807664497469247</c:v>
                </c:pt>
                <c:pt idx="511">
                  <c:v>81.807664497469247</c:v>
                </c:pt>
                <c:pt idx="512">
                  <c:v>81.807664497469247</c:v>
                </c:pt>
                <c:pt idx="513">
                  <c:v>81.766278817662766</c:v>
                </c:pt>
                <c:pt idx="514">
                  <c:v>81.689530685920559</c:v>
                </c:pt>
                <c:pt idx="515">
                  <c:v>81.660050523276766</c:v>
                </c:pt>
                <c:pt idx="516">
                  <c:v>81.660050523276766</c:v>
                </c:pt>
                <c:pt idx="517">
                  <c:v>81.57173756308579</c:v>
                </c:pt>
                <c:pt idx="518">
                  <c:v>81.57173756308579</c:v>
                </c:pt>
                <c:pt idx="519">
                  <c:v>81.57173756308579</c:v>
                </c:pt>
                <c:pt idx="520">
                  <c:v>81.512968299711801</c:v>
                </c:pt>
                <c:pt idx="521">
                  <c:v>81.39568345323741</c:v>
                </c:pt>
                <c:pt idx="522">
                  <c:v>81.366414958647951</c:v>
                </c:pt>
                <c:pt idx="523">
                  <c:v>81.302098304110373</c:v>
                </c:pt>
                <c:pt idx="524">
                  <c:v>81.249551166965887</c:v>
                </c:pt>
                <c:pt idx="525">
                  <c:v>81.249551166965887</c:v>
                </c:pt>
                <c:pt idx="526">
                  <c:v>81.249551166965887</c:v>
                </c:pt>
                <c:pt idx="527">
                  <c:v>81.133022588741483</c:v>
                </c:pt>
                <c:pt idx="528">
                  <c:v>81.028432285325493</c:v>
                </c:pt>
                <c:pt idx="529">
                  <c:v>81.016827783745072</c:v>
                </c:pt>
                <c:pt idx="530">
                  <c:v>80.918323558861388</c:v>
                </c:pt>
                <c:pt idx="531">
                  <c:v>80.877832582743579</c:v>
                </c:pt>
                <c:pt idx="532">
                  <c:v>80.877832582743579</c:v>
                </c:pt>
                <c:pt idx="533">
                  <c:v>80.877832582743579</c:v>
                </c:pt>
                <c:pt idx="534">
                  <c:v>80.756602426837972</c:v>
                </c:pt>
                <c:pt idx="535">
                  <c:v>80.722031963470315</c:v>
                </c:pt>
                <c:pt idx="536">
                  <c:v>80.699001426533513</c:v>
                </c:pt>
                <c:pt idx="537">
                  <c:v>80.635735157864701</c:v>
                </c:pt>
                <c:pt idx="538">
                  <c:v>80.635735157864701</c:v>
                </c:pt>
                <c:pt idx="539">
                  <c:v>80.635735157864701</c:v>
                </c:pt>
                <c:pt idx="540">
                  <c:v>80.635735157864701</c:v>
                </c:pt>
                <c:pt idx="541">
                  <c:v>80.555357778568862</c:v>
                </c:pt>
                <c:pt idx="542">
                  <c:v>80.555357778568862</c:v>
                </c:pt>
                <c:pt idx="543">
                  <c:v>80.555357778568862</c:v>
                </c:pt>
                <c:pt idx="544">
                  <c:v>80.53815489749428</c:v>
                </c:pt>
                <c:pt idx="545">
                  <c:v>80.4980434009249</c:v>
                </c:pt>
                <c:pt idx="546">
                  <c:v>80.4980434009249</c:v>
                </c:pt>
                <c:pt idx="547">
                  <c:v>80.4980434009249</c:v>
                </c:pt>
                <c:pt idx="548">
                  <c:v>80.446530147895317</c:v>
                </c:pt>
                <c:pt idx="549">
                  <c:v>80.41222459132905</c:v>
                </c:pt>
                <c:pt idx="550">
                  <c:v>80.400795906765183</c:v>
                </c:pt>
                <c:pt idx="551">
                  <c:v>81.237883248366444</c:v>
                </c:pt>
                <c:pt idx="552">
                  <c:v>80.269599148634242</c:v>
                </c:pt>
                <c:pt idx="553">
                  <c:v>80.269599148634242</c:v>
                </c:pt>
                <c:pt idx="554">
                  <c:v>80.269599148634242</c:v>
                </c:pt>
                <c:pt idx="555">
                  <c:v>80.218377765172974</c:v>
                </c:pt>
                <c:pt idx="556">
                  <c:v>80.184266477675379</c:v>
                </c:pt>
                <c:pt idx="557">
                  <c:v>80.121804404787156</c:v>
                </c:pt>
                <c:pt idx="558">
                  <c:v>80.059439569770703</c:v>
                </c:pt>
                <c:pt idx="559">
                  <c:v>79.9689001979078</c:v>
                </c:pt>
                <c:pt idx="560">
                  <c:v>79.9689001979078</c:v>
                </c:pt>
                <c:pt idx="561">
                  <c:v>79.9689001979078</c:v>
                </c:pt>
                <c:pt idx="562">
                  <c:v>79.957597173144833</c:v>
                </c:pt>
                <c:pt idx="563">
                  <c:v>79.929353585305506</c:v>
                </c:pt>
                <c:pt idx="564">
                  <c:v>79.901129943502795</c:v>
                </c:pt>
                <c:pt idx="565">
                  <c:v>79.816578483245124</c:v>
                </c:pt>
                <c:pt idx="566">
                  <c:v>79.732205778717386</c:v>
                </c:pt>
                <c:pt idx="567">
                  <c:v>79.732205778717386</c:v>
                </c:pt>
                <c:pt idx="568">
                  <c:v>79.732205778717386</c:v>
                </c:pt>
                <c:pt idx="569">
                  <c:v>79.704121169425846</c:v>
                </c:pt>
                <c:pt idx="570">
                  <c:v>79.619985925404634</c:v>
                </c:pt>
                <c:pt idx="571">
                  <c:v>79.591980302497348</c:v>
                </c:pt>
                <c:pt idx="572">
                  <c:v>79.563994374120952</c:v>
                </c:pt>
                <c:pt idx="573">
                  <c:v>79.48015454864769</c:v>
                </c:pt>
                <c:pt idx="574">
                  <c:v>79.48015454864769</c:v>
                </c:pt>
                <c:pt idx="575">
                  <c:v>79.48015454864769</c:v>
                </c:pt>
                <c:pt idx="576">
                  <c:v>79.446668071062405</c:v>
                </c:pt>
                <c:pt idx="577">
                  <c:v>79.285213735108613</c:v>
                </c:pt>
                <c:pt idx="578">
                  <c:v>79.285213735108613</c:v>
                </c:pt>
                <c:pt idx="579">
                  <c:v>79.285213735108613</c:v>
                </c:pt>
                <c:pt idx="580">
                  <c:v>79.174247725682278</c:v>
                </c:pt>
                <c:pt idx="581">
                  <c:v>79.174247725682278</c:v>
                </c:pt>
                <c:pt idx="582">
                  <c:v>79.174247725682278</c:v>
                </c:pt>
                <c:pt idx="583">
                  <c:v>79.080170545886617</c:v>
                </c:pt>
                <c:pt idx="584">
                  <c:v>79.035976248690176</c:v>
                </c:pt>
                <c:pt idx="585">
                  <c:v>78.925706313219379</c:v>
                </c:pt>
                <c:pt idx="586">
                  <c:v>78.843205574912886</c:v>
                </c:pt>
                <c:pt idx="587">
                  <c:v>78.793787868235938</c:v>
                </c:pt>
                <c:pt idx="588">
                  <c:v>78.793787868235938</c:v>
                </c:pt>
                <c:pt idx="589">
                  <c:v>78.793787868235938</c:v>
                </c:pt>
                <c:pt idx="590">
                  <c:v>78.733472512178139</c:v>
                </c:pt>
                <c:pt idx="591">
                  <c:v>78.667779168404948</c:v>
                </c:pt>
                <c:pt idx="592">
                  <c:v>78.569444444444429</c:v>
                </c:pt>
                <c:pt idx="593">
                  <c:v>78.433275563258221</c:v>
                </c:pt>
                <c:pt idx="594">
                  <c:v>78.406098406098394</c:v>
                </c:pt>
                <c:pt idx="595">
                  <c:v>78.406098406098394</c:v>
                </c:pt>
                <c:pt idx="596">
                  <c:v>78.406098406098394</c:v>
                </c:pt>
                <c:pt idx="597">
                  <c:v>78.378940076203662</c:v>
                </c:pt>
                <c:pt idx="598">
                  <c:v>78.30841638981174</c:v>
                </c:pt>
                <c:pt idx="599">
                  <c:v>78.254253700373482</c:v>
                </c:pt>
                <c:pt idx="600">
                  <c:v>78.135359116022101</c:v>
                </c:pt>
                <c:pt idx="601">
                  <c:v>78.065272890360873</c:v>
                </c:pt>
                <c:pt idx="602">
                  <c:v>78.065272890360873</c:v>
                </c:pt>
                <c:pt idx="603">
                  <c:v>78.065272890360873</c:v>
                </c:pt>
                <c:pt idx="604">
                  <c:v>77.946951429555654</c:v>
                </c:pt>
                <c:pt idx="605">
                  <c:v>77.920110192837484</c:v>
                </c:pt>
                <c:pt idx="606">
                  <c:v>77.866483138334488</c:v>
                </c:pt>
                <c:pt idx="607">
                  <c:v>77.786180818150584</c:v>
                </c:pt>
                <c:pt idx="608">
                  <c:v>77.743420600563454</c:v>
                </c:pt>
                <c:pt idx="609">
                  <c:v>77.743420600563454</c:v>
                </c:pt>
                <c:pt idx="610">
                  <c:v>77.743420600563454</c:v>
                </c:pt>
                <c:pt idx="611">
                  <c:v>77.743420600563454</c:v>
                </c:pt>
                <c:pt idx="612">
                  <c:v>77.599451303155007</c:v>
                </c:pt>
                <c:pt idx="613">
                  <c:v>77.466621020198559</c:v>
                </c:pt>
                <c:pt idx="614">
                  <c:v>77.440109514031505</c:v>
                </c:pt>
                <c:pt idx="615">
                  <c:v>77.403023876308438</c:v>
                </c:pt>
                <c:pt idx="616">
                  <c:v>77.403023876308438</c:v>
                </c:pt>
                <c:pt idx="617">
                  <c:v>77.403023876308438</c:v>
                </c:pt>
                <c:pt idx="618">
                  <c:v>77.36068376068377</c:v>
                </c:pt>
                <c:pt idx="619">
                  <c:v>77.36068376068377</c:v>
                </c:pt>
                <c:pt idx="620">
                  <c:v>77.202320027294448</c:v>
                </c:pt>
                <c:pt idx="621">
                  <c:v>77.107612621822412</c:v>
                </c:pt>
                <c:pt idx="622">
                  <c:v>77.070844686648499</c:v>
                </c:pt>
                <c:pt idx="623">
                  <c:v>77.070844686648499</c:v>
                </c:pt>
                <c:pt idx="624">
                  <c:v>77.070844686648499</c:v>
                </c:pt>
                <c:pt idx="625">
                  <c:v>76.992174208914619</c:v>
                </c:pt>
                <c:pt idx="626">
                  <c:v>76.992174208914619</c:v>
                </c:pt>
                <c:pt idx="627">
                  <c:v>76.835314091680829</c:v>
                </c:pt>
                <c:pt idx="628">
                  <c:v>76.793592615217534</c:v>
                </c:pt>
                <c:pt idx="629">
                  <c:v>76.757123473541384</c:v>
                </c:pt>
                <c:pt idx="630">
                  <c:v>76.757123473541384</c:v>
                </c:pt>
                <c:pt idx="631">
                  <c:v>76.757123473541384</c:v>
                </c:pt>
                <c:pt idx="632">
                  <c:v>76.653116531165324</c:v>
                </c:pt>
                <c:pt idx="633">
                  <c:v>76.611592632719407</c:v>
                </c:pt>
                <c:pt idx="634">
                  <c:v>76.497633536173097</c:v>
                </c:pt>
                <c:pt idx="635">
                  <c:v>76.471781007097007</c:v>
                </c:pt>
                <c:pt idx="636">
                  <c:v>76.471781007097007</c:v>
                </c:pt>
                <c:pt idx="637">
                  <c:v>76.471781007097007</c:v>
                </c:pt>
                <c:pt idx="638">
                  <c:v>76.471781007097007</c:v>
                </c:pt>
                <c:pt idx="639">
                  <c:v>76.306737708234976</c:v>
                </c:pt>
                <c:pt idx="640">
                  <c:v>76.224482921242327</c:v>
                </c:pt>
                <c:pt idx="641">
                  <c:v>76.162908111746887</c:v>
                </c:pt>
                <c:pt idx="642">
                  <c:v>76.111671712075349</c:v>
                </c:pt>
                <c:pt idx="643">
                  <c:v>76.060504201680672</c:v>
                </c:pt>
                <c:pt idx="644">
                  <c:v>76.060504201680672</c:v>
                </c:pt>
                <c:pt idx="645">
                  <c:v>76.060504201680672</c:v>
                </c:pt>
                <c:pt idx="646">
                  <c:v>76.034946236559122</c:v>
                </c:pt>
                <c:pt idx="647">
                  <c:v>76.034946236559122</c:v>
                </c:pt>
                <c:pt idx="648">
                  <c:v>75.958375293722725</c:v>
                </c:pt>
                <c:pt idx="649">
                  <c:v>75.912506709608152</c:v>
                </c:pt>
                <c:pt idx="650">
                  <c:v>75.795538286326774</c:v>
                </c:pt>
                <c:pt idx="651">
                  <c:v>75.795538286326774</c:v>
                </c:pt>
                <c:pt idx="652">
                  <c:v>75.795538286326774</c:v>
                </c:pt>
                <c:pt idx="653">
                  <c:v>75.744794804847004</c:v>
                </c:pt>
                <c:pt idx="654">
                  <c:v>75.061368009022743</c:v>
                </c:pt>
                <c:pt idx="655">
                  <c:v>75.527369826435219</c:v>
                </c:pt>
                <c:pt idx="656">
                  <c:v>74.862700985906159</c:v>
                </c:pt>
                <c:pt idx="657">
                  <c:v>74.862700985906159</c:v>
                </c:pt>
                <c:pt idx="658">
                  <c:v>74.862700985906159</c:v>
                </c:pt>
                <c:pt idx="659">
                  <c:v>74.862700985906159</c:v>
                </c:pt>
                <c:pt idx="660">
                  <c:v>75.376415722851419</c:v>
                </c:pt>
                <c:pt idx="661">
                  <c:v>74.7687020882897</c:v>
                </c:pt>
                <c:pt idx="662">
                  <c:v>74.660155734459536</c:v>
                </c:pt>
                <c:pt idx="663">
                  <c:v>74.729194187582536</c:v>
                </c:pt>
                <c:pt idx="664">
                  <c:v>74.729194187582536</c:v>
                </c:pt>
                <c:pt idx="665">
                  <c:v>74.729194187582536</c:v>
                </c:pt>
                <c:pt idx="666">
                  <c:v>74.729194187582536</c:v>
                </c:pt>
                <c:pt idx="667">
                  <c:v>75.176079734219243</c:v>
                </c:pt>
                <c:pt idx="668">
                  <c:v>75.061368009022729</c:v>
                </c:pt>
                <c:pt idx="669">
                  <c:v>75.051409618573771</c:v>
                </c:pt>
                <c:pt idx="670">
                  <c:v>74.981774802836483</c:v>
                </c:pt>
                <c:pt idx="671">
                  <c:v>74.877564526803411</c:v>
                </c:pt>
                <c:pt idx="672">
                  <c:v>74.877564526803411</c:v>
                </c:pt>
                <c:pt idx="673">
                  <c:v>74.877564526803411</c:v>
                </c:pt>
                <c:pt idx="674">
                  <c:v>74.94700582935873</c:v>
                </c:pt>
                <c:pt idx="675">
                  <c:v>74.763761316328512</c:v>
                </c:pt>
                <c:pt idx="676">
                  <c:v>74.044502617801001</c:v>
                </c:pt>
                <c:pt idx="677">
                  <c:v>74.034812197356331</c:v>
                </c:pt>
                <c:pt idx="678">
                  <c:v>73.928384736016696</c:v>
                </c:pt>
                <c:pt idx="679">
                  <c:v>73.928384736016696</c:v>
                </c:pt>
                <c:pt idx="680">
                  <c:v>73.928384736016696</c:v>
                </c:pt>
                <c:pt idx="681">
                  <c:v>73.928384736016696</c:v>
                </c:pt>
                <c:pt idx="682">
                  <c:v>74.380382617842315</c:v>
                </c:pt>
                <c:pt idx="683">
                  <c:v>73.803000652315689</c:v>
                </c:pt>
                <c:pt idx="684">
                  <c:v>73.788560620883032</c:v>
                </c:pt>
                <c:pt idx="685">
                  <c:v>74.27783613445375</c:v>
                </c:pt>
                <c:pt idx="686">
                  <c:v>74.27783613445375</c:v>
                </c:pt>
                <c:pt idx="687">
                  <c:v>74.27783613445375</c:v>
                </c:pt>
                <c:pt idx="688">
                  <c:v>74.258335521134114</c:v>
                </c:pt>
                <c:pt idx="689">
                  <c:v>73.682839465971952</c:v>
                </c:pt>
                <c:pt idx="690">
                  <c:v>73.58220603537977</c:v>
                </c:pt>
                <c:pt idx="691">
                  <c:v>74.20476159244437</c:v>
                </c:pt>
                <c:pt idx="692">
                  <c:v>74.049348779370348</c:v>
                </c:pt>
                <c:pt idx="693">
                  <c:v>74.049348779370348</c:v>
                </c:pt>
                <c:pt idx="694">
                  <c:v>74.049348779370348</c:v>
                </c:pt>
                <c:pt idx="695">
                  <c:v>73.981560190936989</c:v>
                </c:pt>
                <c:pt idx="696">
                  <c:v>73.913895603318707</c:v>
                </c:pt>
                <c:pt idx="697">
                  <c:v>73.851174934725819</c:v>
                </c:pt>
                <c:pt idx="698">
                  <c:v>73.827079934747118</c:v>
                </c:pt>
                <c:pt idx="699">
                  <c:v>73.827079934747118</c:v>
                </c:pt>
                <c:pt idx="700">
                  <c:v>73.827079934747118</c:v>
                </c:pt>
                <c:pt idx="701">
                  <c:v>73.827079934747118</c:v>
                </c:pt>
                <c:pt idx="702">
                  <c:v>73.827079934747118</c:v>
                </c:pt>
                <c:pt idx="703">
                  <c:v>73.803000652315689</c:v>
                </c:pt>
                <c:pt idx="704">
                  <c:v>73.803000652315689</c:v>
                </c:pt>
                <c:pt idx="705">
                  <c:v>73.764506454557278</c:v>
                </c:pt>
                <c:pt idx="706">
                  <c:v>73.77893707205736</c:v>
                </c:pt>
                <c:pt idx="707">
                  <c:v>73.77893707205736</c:v>
                </c:pt>
                <c:pt idx="708">
                  <c:v>73.77893707205736</c:v>
                </c:pt>
                <c:pt idx="709">
                  <c:v>73.77893707205736</c:v>
                </c:pt>
                <c:pt idx="710">
                  <c:v>73.77893707205736</c:v>
                </c:pt>
                <c:pt idx="711">
                  <c:v>73.769316033122479</c:v>
                </c:pt>
                <c:pt idx="712">
                  <c:v>73.281948312714533</c:v>
                </c:pt>
                <c:pt idx="713">
                  <c:v>73.281948312714533</c:v>
                </c:pt>
                <c:pt idx="714">
                  <c:v>73.281948312714533</c:v>
                </c:pt>
                <c:pt idx="715">
                  <c:v>73.281948312714533</c:v>
                </c:pt>
                <c:pt idx="716">
                  <c:v>73.154015259278381</c:v>
                </c:pt>
                <c:pt idx="717">
                  <c:v>73.154015259278381</c:v>
                </c:pt>
                <c:pt idx="718">
                  <c:v>73.577420823307492</c:v>
                </c:pt>
                <c:pt idx="719">
                  <c:v>73.577420823307492</c:v>
                </c:pt>
                <c:pt idx="720">
                  <c:v>72.679385880387969</c:v>
                </c:pt>
                <c:pt idx="721">
                  <c:v>72.679385880387969</c:v>
                </c:pt>
                <c:pt idx="722">
                  <c:v>72.679385880387969</c:v>
                </c:pt>
                <c:pt idx="723">
                  <c:v>72.679385880387969</c:v>
                </c:pt>
                <c:pt idx="724">
                  <c:v>72.679385880387969</c:v>
                </c:pt>
                <c:pt idx="725">
                  <c:v>72.298549428078431</c:v>
                </c:pt>
                <c:pt idx="726">
                  <c:v>72.502403075937153</c:v>
                </c:pt>
                <c:pt idx="727">
                  <c:v>72.502403075937153</c:v>
                </c:pt>
                <c:pt idx="728">
                  <c:v>72.502403075937153</c:v>
                </c:pt>
                <c:pt idx="729">
                  <c:v>72.502403075937153</c:v>
                </c:pt>
                <c:pt idx="730">
                  <c:v>72.502403075937153</c:v>
                </c:pt>
                <c:pt idx="731">
                  <c:v>71.889693734909102</c:v>
                </c:pt>
                <c:pt idx="732">
                  <c:v>71.780230935160475</c:v>
                </c:pt>
                <c:pt idx="733">
                  <c:v>71.803008186837559</c:v>
                </c:pt>
                <c:pt idx="734">
                  <c:v>71.318709026727149</c:v>
                </c:pt>
                <c:pt idx="735">
                  <c:v>71.318709026727149</c:v>
                </c:pt>
                <c:pt idx="736">
                  <c:v>71.318709026727149</c:v>
                </c:pt>
                <c:pt idx="737">
                  <c:v>71.652944901836548</c:v>
                </c:pt>
                <c:pt idx="738">
                  <c:v>71.354692230070583</c:v>
                </c:pt>
                <c:pt idx="739">
                  <c:v>71.210976837865005</c:v>
                </c:pt>
                <c:pt idx="740">
                  <c:v>71.210976837865005</c:v>
                </c:pt>
                <c:pt idx="741">
                  <c:v>71.210976837865005</c:v>
                </c:pt>
                <c:pt idx="742">
                  <c:v>71.210976837865005</c:v>
                </c:pt>
                <c:pt idx="743">
                  <c:v>71.210976837865005</c:v>
                </c:pt>
                <c:pt idx="744">
                  <c:v>70.934169278996805</c:v>
                </c:pt>
                <c:pt idx="745">
                  <c:v>70.75672295184485</c:v>
                </c:pt>
                <c:pt idx="746">
                  <c:v>70.75672295184485</c:v>
                </c:pt>
                <c:pt idx="747">
                  <c:v>70.75672295184485</c:v>
                </c:pt>
                <c:pt idx="748">
                  <c:v>70.055727554179512</c:v>
                </c:pt>
                <c:pt idx="749">
                  <c:v>70.055727554179512</c:v>
                </c:pt>
                <c:pt idx="750">
                  <c:v>70.055727554179512</c:v>
                </c:pt>
                <c:pt idx="751">
                  <c:v>70.055727554179512</c:v>
                </c:pt>
                <c:pt idx="752">
                  <c:v>69.539028887523003</c:v>
                </c:pt>
                <c:pt idx="753">
                  <c:v>69.347226478700534</c:v>
                </c:pt>
                <c:pt idx="754">
                  <c:v>69.169163049458888</c:v>
                </c:pt>
                <c:pt idx="755">
                  <c:v>69.169163049458888</c:v>
                </c:pt>
                <c:pt idx="756">
                  <c:v>69.169163049458888</c:v>
                </c:pt>
                <c:pt idx="757">
                  <c:v>69.169163049458888</c:v>
                </c:pt>
                <c:pt idx="758">
                  <c:v>69.169163049458888</c:v>
                </c:pt>
                <c:pt idx="759">
                  <c:v>69.169163049458888</c:v>
                </c:pt>
                <c:pt idx="760">
                  <c:v>69.169163049458888</c:v>
                </c:pt>
                <c:pt idx="761">
                  <c:v>69.169163049458888</c:v>
                </c:pt>
                <c:pt idx="762">
                  <c:v>69.169163049458888</c:v>
                </c:pt>
                <c:pt idx="763">
                  <c:v>69.169163049458888</c:v>
                </c:pt>
                <c:pt idx="764">
                  <c:v>69.169163049458888</c:v>
                </c:pt>
                <c:pt idx="765">
                  <c:v>69.169163049458888</c:v>
                </c:pt>
                <c:pt idx="766">
                  <c:v>69.169163049458888</c:v>
                </c:pt>
                <c:pt idx="767">
                  <c:v>70.164341085271261</c:v>
                </c:pt>
                <c:pt idx="768">
                  <c:v>70.164341085271261</c:v>
                </c:pt>
                <c:pt idx="769">
                  <c:v>70.164341085271261</c:v>
                </c:pt>
                <c:pt idx="770">
                  <c:v>70.164341085271261</c:v>
                </c:pt>
                <c:pt idx="771">
                  <c:v>70.164341085271261</c:v>
                </c:pt>
                <c:pt idx="772">
                  <c:v>70.164341085271261</c:v>
                </c:pt>
                <c:pt idx="773">
                  <c:v>72.063694267515871</c:v>
                </c:pt>
                <c:pt idx="774">
                  <c:v>73.52482453860145</c:v>
                </c:pt>
                <c:pt idx="775">
                  <c:v>73.52482453860145</c:v>
                </c:pt>
                <c:pt idx="776">
                  <c:v>73.52482453860145</c:v>
                </c:pt>
                <c:pt idx="777">
                  <c:v>73.52482453860145</c:v>
                </c:pt>
                <c:pt idx="778">
                  <c:v>73.52482453860145</c:v>
                </c:pt>
                <c:pt idx="779">
                  <c:v>77.893287435456045</c:v>
                </c:pt>
                <c:pt idx="780">
                  <c:v>78.433275563258164</c:v>
                </c:pt>
                <c:pt idx="781">
                  <c:v>77.759450171821243</c:v>
                </c:pt>
                <c:pt idx="782">
                  <c:v>77.89328743545606</c:v>
                </c:pt>
                <c:pt idx="783">
                  <c:v>77.887925099820961</c:v>
                </c:pt>
                <c:pt idx="784">
                  <c:v>77.887925099820961</c:v>
                </c:pt>
                <c:pt idx="785">
                  <c:v>77.887925099820961</c:v>
                </c:pt>
                <c:pt idx="786">
                  <c:v>77.759450171821257</c:v>
                </c:pt>
                <c:pt idx="787">
                  <c:v>77.556896078968961</c:v>
                </c:pt>
                <c:pt idx="788">
                  <c:v>77.228668941979464</c:v>
                </c:pt>
                <c:pt idx="789">
                  <c:v>77.456014239748015</c:v>
                </c:pt>
                <c:pt idx="790">
                  <c:v>77.556896078968961</c:v>
                </c:pt>
                <c:pt idx="791">
                  <c:v>77.556896078968961</c:v>
                </c:pt>
                <c:pt idx="792">
                  <c:v>77.556896078968961</c:v>
                </c:pt>
                <c:pt idx="793">
                  <c:v>78.248841551974479</c:v>
                </c:pt>
                <c:pt idx="794">
                  <c:v>79.257443082311667</c:v>
                </c:pt>
                <c:pt idx="795">
                  <c:v>79.185330347144401</c:v>
                </c:pt>
                <c:pt idx="796">
                  <c:v>79.446668071062362</c:v>
                </c:pt>
                <c:pt idx="797">
                  <c:v>80.526690391459013</c:v>
                </c:pt>
                <c:pt idx="798">
                  <c:v>80.526690391459013</c:v>
                </c:pt>
                <c:pt idx="799">
                  <c:v>80.526690391459013</c:v>
                </c:pt>
                <c:pt idx="800">
                  <c:v>81.103942652329692</c:v>
                </c:pt>
                <c:pt idx="801">
                  <c:v>81.471880175703845</c:v>
                </c:pt>
                <c:pt idx="802">
                  <c:v>82.283636363636319</c:v>
                </c:pt>
                <c:pt idx="803">
                  <c:v>83.498154981549774</c:v>
                </c:pt>
                <c:pt idx="804">
                  <c:v>84.118959107806646</c:v>
                </c:pt>
                <c:pt idx="805">
                  <c:v>84.118959107806646</c:v>
                </c:pt>
                <c:pt idx="806">
                  <c:v>84.118959107806646</c:v>
                </c:pt>
                <c:pt idx="807">
                  <c:v>84.250502643532627</c:v>
                </c:pt>
                <c:pt idx="808">
                  <c:v>84.908067542213857</c:v>
                </c:pt>
                <c:pt idx="809">
                  <c:v>85.388679245283001</c:v>
                </c:pt>
                <c:pt idx="810">
                  <c:v>85.30498378948954</c:v>
                </c:pt>
                <c:pt idx="811">
                  <c:v>85.44026582087298</c:v>
                </c:pt>
                <c:pt idx="812">
                  <c:v>85.44026582087298</c:v>
                </c:pt>
                <c:pt idx="813">
                  <c:v>85.44026582087298</c:v>
                </c:pt>
                <c:pt idx="814">
                  <c:v>85.712121212121218</c:v>
                </c:pt>
                <c:pt idx="815">
                  <c:v>85.653720947838607</c:v>
                </c:pt>
                <c:pt idx="816">
                  <c:v>85.998783824870799</c:v>
                </c:pt>
                <c:pt idx="817">
                  <c:v>86.038022813688229</c:v>
                </c:pt>
                <c:pt idx="818">
                  <c:v>86.038022813688229</c:v>
                </c:pt>
                <c:pt idx="819">
                  <c:v>86.038022813688229</c:v>
                </c:pt>
                <c:pt idx="820">
                  <c:v>86.038022813688229</c:v>
                </c:pt>
                <c:pt idx="821">
                  <c:v>86.038022813688229</c:v>
                </c:pt>
                <c:pt idx="822">
                  <c:v>86.031480495779803</c:v>
                </c:pt>
                <c:pt idx="823">
                  <c:v>86.247903643848161</c:v>
                </c:pt>
                <c:pt idx="824">
                  <c:v>86.697318007662858</c:v>
                </c:pt>
                <c:pt idx="825">
                  <c:v>87.030769230769266</c:v>
                </c:pt>
                <c:pt idx="826">
                  <c:v>87.030769230769266</c:v>
                </c:pt>
                <c:pt idx="827">
                  <c:v>87.030769230769266</c:v>
                </c:pt>
                <c:pt idx="828">
                  <c:v>86.94382540536391</c:v>
                </c:pt>
                <c:pt idx="829">
                  <c:v>87.077657200030814</c:v>
                </c:pt>
                <c:pt idx="830">
                  <c:v>87.077657200030814</c:v>
                </c:pt>
                <c:pt idx="831">
                  <c:v>87.030769230769266</c:v>
                </c:pt>
                <c:pt idx="832">
                  <c:v>86.937144613493203</c:v>
                </c:pt>
                <c:pt idx="833">
                  <c:v>86.937144613493203</c:v>
                </c:pt>
                <c:pt idx="834">
                  <c:v>86.937144613493203</c:v>
                </c:pt>
                <c:pt idx="835">
                  <c:v>86.777113054149439</c:v>
                </c:pt>
                <c:pt idx="836">
                  <c:v>86.241329369616622</c:v>
                </c:pt>
                <c:pt idx="837">
                  <c:v>86.038022813688244</c:v>
                </c:pt>
                <c:pt idx="838">
                  <c:v>85.550094517958442</c:v>
                </c:pt>
                <c:pt idx="839">
                  <c:v>84.749063670412013</c:v>
                </c:pt>
                <c:pt idx="840">
                  <c:v>84.749063670412013</c:v>
                </c:pt>
                <c:pt idx="841">
                  <c:v>84.749063670412013</c:v>
                </c:pt>
                <c:pt idx="842">
                  <c:v>84.666616777669716</c:v>
                </c:pt>
                <c:pt idx="843">
                  <c:v>84.590654205607507</c:v>
                </c:pt>
                <c:pt idx="844">
                  <c:v>83.962894248608563</c:v>
                </c:pt>
                <c:pt idx="845">
                  <c:v>83.881969157769902</c:v>
                </c:pt>
                <c:pt idx="846">
                  <c:v>83.807407407407439</c:v>
                </c:pt>
                <c:pt idx="847">
                  <c:v>83.807407407407439</c:v>
                </c:pt>
                <c:pt idx="848">
                  <c:v>83.807407407407439</c:v>
                </c:pt>
                <c:pt idx="849">
                  <c:v>84.194076499479124</c:v>
                </c:pt>
                <c:pt idx="850">
                  <c:v>83.807407407407439</c:v>
                </c:pt>
                <c:pt idx="851">
                  <c:v>83.807407407407439</c:v>
                </c:pt>
                <c:pt idx="852">
                  <c:v>83.807407407407439</c:v>
                </c:pt>
                <c:pt idx="853">
                  <c:v>84.118959107806717</c:v>
                </c:pt>
                <c:pt idx="854">
                  <c:v>84.118959107806717</c:v>
                </c:pt>
                <c:pt idx="855">
                  <c:v>84.118959107806717</c:v>
                </c:pt>
                <c:pt idx="856">
                  <c:v>84.432835820895548</c:v>
                </c:pt>
                <c:pt idx="857">
                  <c:v>84.825311141100642</c:v>
                </c:pt>
                <c:pt idx="858">
                  <c:v>85.744600227358873</c:v>
                </c:pt>
                <c:pt idx="859">
                  <c:v>86.116608311767422</c:v>
                </c:pt>
                <c:pt idx="860">
                  <c:v>86.116608311767422</c:v>
                </c:pt>
                <c:pt idx="861">
                  <c:v>86.116608311767422</c:v>
                </c:pt>
                <c:pt idx="862">
                  <c:v>86.116608311767422</c:v>
                </c:pt>
                <c:pt idx="863">
                  <c:v>86.445599022004913</c:v>
                </c:pt>
                <c:pt idx="864">
                  <c:v>86.863723608445298</c:v>
                </c:pt>
                <c:pt idx="865">
                  <c:v>86.843721215842791</c:v>
                </c:pt>
                <c:pt idx="866">
                  <c:v>86.326873187852883</c:v>
                </c:pt>
                <c:pt idx="867">
                  <c:v>86.247903643848147</c:v>
                </c:pt>
                <c:pt idx="868">
                  <c:v>86.247903643848147</c:v>
                </c:pt>
                <c:pt idx="869">
                  <c:v>86.247903643848147</c:v>
                </c:pt>
                <c:pt idx="870">
                  <c:v>86.038022813688215</c:v>
                </c:pt>
                <c:pt idx="871">
                  <c:v>86.038022813688215</c:v>
                </c:pt>
                <c:pt idx="872">
                  <c:v>85.790112223233237</c:v>
                </c:pt>
                <c:pt idx="873">
                  <c:v>85.466082489802091</c:v>
                </c:pt>
                <c:pt idx="874">
                  <c:v>85.350030175015078</c:v>
                </c:pt>
                <c:pt idx="875">
                  <c:v>85.350030175015078</c:v>
                </c:pt>
                <c:pt idx="876">
                  <c:v>85.350030175015078</c:v>
                </c:pt>
                <c:pt idx="877">
                  <c:v>85.337154925328093</c:v>
                </c:pt>
                <c:pt idx="878">
                  <c:v>85.240714231899346</c:v>
                </c:pt>
                <c:pt idx="879">
                  <c:v>85.790112223233251</c:v>
                </c:pt>
                <c:pt idx="880">
                  <c:v>86.697318007662844</c:v>
                </c:pt>
                <c:pt idx="881">
                  <c:v>86.943825405363881</c:v>
                </c:pt>
                <c:pt idx="882">
                  <c:v>86.943825405363881</c:v>
                </c:pt>
                <c:pt idx="883">
                  <c:v>86.943825405363881</c:v>
                </c:pt>
                <c:pt idx="884">
                  <c:v>86.657475490196077</c:v>
                </c:pt>
                <c:pt idx="885">
                  <c:v>86.379599938921984</c:v>
                </c:pt>
                <c:pt idx="886">
                  <c:v>86.604409063074115</c:v>
                </c:pt>
                <c:pt idx="887">
                  <c:v>86.697318007662844</c:v>
                </c:pt>
                <c:pt idx="888">
                  <c:v>87.366795366795373</c:v>
                </c:pt>
                <c:pt idx="889">
                  <c:v>87.366795366795373</c:v>
                </c:pt>
                <c:pt idx="890">
                  <c:v>87.366795366795373</c:v>
                </c:pt>
                <c:pt idx="891">
                  <c:v>87.366795366795373</c:v>
                </c:pt>
                <c:pt idx="892">
                  <c:v>87.40729295426452</c:v>
                </c:pt>
                <c:pt idx="893">
                  <c:v>88.046692607003877</c:v>
                </c:pt>
                <c:pt idx="894">
                  <c:v>88.046692607003877</c:v>
                </c:pt>
                <c:pt idx="895">
                  <c:v>88.101541815916519</c:v>
                </c:pt>
                <c:pt idx="896">
                  <c:v>88.101541815916519</c:v>
                </c:pt>
                <c:pt idx="897">
                  <c:v>88.101541815916519</c:v>
                </c:pt>
                <c:pt idx="898">
                  <c:v>88.101541815916519</c:v>
                </c:pt>
                <c:pt idx="899">
                  <c:v>88.101541815916519</c:v>
                </c:pt>
                <c:pt idx="900">
                  <c:v>87.998755541728229</c:v>
                </c:pt>
                <c:pt idx="901">
                  <c:v>87.998755541728229</c:v>
                </c:pt>
                <c:pt idx="902">
                  <c:v>87.978227060653168</c:v>
                </c:pt>
                <c:pt idx="903">
                  <c:v>87.978227060653168</c:v>
                </c:pt>
                <c:pt idx="904">
                  <c:v>87.978227060653168</c:v>
                </c:pt>
                <c:pt idx="905">
                  <c:v>87.944034201321386</c:v>
                </c:pt>
                <c:pt idx="906">
                  <c:v>88.032990974167404</c:v>
                </c:pt>
                <c:pt idx="907">
                  <c:v>87.827977022201495</c:v>
                </c:pt>
                <c:pt idx="908">
                  <c:v>87.488400866068645</c:v>
                </c:pt>
                <c:pt idx="909">
                  <c:v>87.53578336557058</c:v>
                </c:pt>
                <c:pt idx="910">
                  <c:v>87.53578336557058</c:v>
                </c:pt>
                <c:pt idx="911">
                  <c:v>87.53578336557058</c:v>
                </c:pt>
                <c:pt idx="912">
                  <c:v>87.705426356589129</c:v>
                </c:pt>
                <c:pt idx="913">
                  <c:v>87.944034201321386</c:v>
                </c:pt>
                <c:pt idx="914">
                  <c:v>87.944034201321386</c:v>
                </c:pt>
                <c:pt idx="915">
                  <c:v>88.149590962212685</c:v>
                </c:pt>
                <c:pt idx="916">
                  <c:v>88.177071155794522</c:v>
                </c:pt>
                <c:pt idx="917">
                  <c:v>88.177071155794522</c:v>
                </c:pt>
                <c:pt idx="918">
                  <c:v>88.177071155794522</c:v>
                </c:pt>
                <c:pt idx="919">
                  <c:v>88.12899205483717</c:v>
                </c:pt>
                <c:pt idx="920">
                  <c:v>88.039841257489655</c:v>
                </c:pt>
                <c:pt idx="921">
                  <c:v>87.732630272952804</c:v>
                </c:pt>
                <c:pt idx="922">
                  <c:v>87.732630272952804</c:v>
                </c:pt>
                <c:pt idx="923">
                  <c:v>87.46134817563383</c:v>
                </c:pt>
                <c:pt idx="924">
                  <c:v>87.46134817563383</c:v>
                </c:pt>
                <c:pt idx="925">
                  <c:v>87.46134817563383</c:v>
                </c:pt>
                <c:pt idx="926">
                  <c:v>87.393789587517333</c:v>
                </c:pt>
                <c:pt idx="927">
                  <c:v>86.983931729068928</c:v>
                </c:pt>
                <c:pt idx="928">
                  <c:v>86.977244772447676</c:v>
                </c:pt>
                <c:pt idx="929">
                  <c:v>86.697318007662787</c:v>
                </c:pt>
                <c:pt idx="930">
                  <c:v>86.412586878484646</c:v>
                </c:pt>
                <c:pt idx="931">
                  <c:v>86.412586878484646</c:v>
                </c:pt>
                <c:pt idx="932">
                  <c:v>86.412586878484646</c:v>
                </c:pt>
                <c:pt idx="933">
                  <c:v>86.038022813688173</c:v>
                </c:pt>
                <c:pt idx="934">
                  <c:v>86.038022813688173</c:v>
                </c:pt>
                <c:pt idx="935">
                  <c:v>85.388679245282972</c:v>
                </c:pt>
                <c:pt idx="936">
                  <c:v>85.067669172932284</c:v>
                </c:pt>
                <c:pt idx="937">
                  <c:v>86.201904761904729</c:v>
                </c:pt>
                <c:pt idx="938">
                  <c:v>86.201904761904729</c:v>
                </c:pt>
                <c:pt idx="939">
                  <c:v>86.201904761904729</c:v>
                </c:pt>
                <c:pt idx="940">
                  <c:v>86.531548757170142</c:v>
                </c:pt>
                <c:pt idx="941">
                  <c:v>86.943825405363839</c:v>
                </c:pt>
                <c:pt idx="942">
                  <c:v>87.617130024006784</c:v>
                </c:pt>
                <c:pt idx="943">
                  <c:v>87.36679536679533</c:v>
                </c:pt>
                <c:pt idx="944">
                  <c:v>87.198458574181075</c:v>
                </c:pt>
                <c:pt idx="945">
                  <c:v>87.198458574181075</c:v>
                </c:pt>
                <c:pt idx="946">
                  <c:v>87.198458574181075</c:v>
                </c:pt>
                <c:pt idx="947">
                  <c:v>86.943825405363839</c:v>
                </c:pt>
                <c:pt idx="948">
                  <c:v>87.245527452189975</c:v>
                </c:pt>
                <c:pt idx="949">
                  <c:v>87.434312210200886</c:v>
                </c:pt>
                <c:pt idx="950">
                  <c:v>87.705426356589101</c:v>
                </c:pt>
                <c:pt idx="951">
                  <c:v>87.529011295064166</c:v>
                </c:pt>
                <c:pt idx="952">
                  <c:v>87.529011295064166</c:v>
                </c:pt>
                <c:pt idx="953">
                  <c:v>87.529011295064166</c:v>
                </c:pt>
                <c:pt idx="954">
                  <c:v>87.529011295064166</c:v>
                </c:pt>
                <c:pt idx="955">
                  <c:v>87.800713953127371</c:v>
                </c:pt>
                <c:pt idx="956">
                  <c:v>87.603561749903164</c:v>
                </c:pt>
                <c:pt idx="957">
                  <c:v>87.705426356589086</c:v>
                </c:pt>
                <c:pt idx="958">
                  <c:v>87.712225753934348</c:v>
                </c:pt>
                <c:pt idx="959">
                  <c:v>87.712225753934348</c:v>
                </c:pt>
                <c:pt idx="960">
                  <c:v>87.712225753934348</c:v>
                </c:pt>
                <c:pt idx="961">
                  <c:v>87.657860075927729</c:v>
                </c:pt>
                <c:pt idx="962">
                  <c:v>87.787088764742336</c:v>
                </c:pt>
                <c:pt idx="963">
                  <c:v>87.705426356589086</c:v>
                </c:pt>
                <c:pt idx="964">
                  <c:v>87.73263027295279</c:v>
                </c:pt>
                <c:pt idx="965">
                  <c:v>87.74623856057076</c:v>
                </c:pt>
                <c:pt idx="966">
                  <c:v>87.74623856057076</c:v>
                </c:pt>
                <c:pt idx="967">
                  <c:v>87.74623856057076</c:v>
                </c:pt>
                <c:pt idx="968">
                  <c:v>87.698628013332254</c:v>
                </c:pt>
                <c:pt idx="969">
                  <c:v>87.671445176288188</c:v>
                </c:pt>
                <c:pt idx="970">
                  <c:v>87.875728155339743</c:v>
                </c:pt>
                <c:pt idx="971">
                  <c:v>87.787088764742336</c:v>
                </c:pt>
                <c:pt idx="972">
                  <c:v>87.86207967694331</c:v>
                </c:pt>
                <c:pt idx="973">
                  <c:v>87.86207967694331</c:v>
                </c:pt>
                <c:pt idx="974">
                  <c:v>87.86207967694331</c:v>
                </c:pt>
                <c:pt idx="975">
                  <c:v>87.773467804499546</c:v>
                </c:pt>
                <c:pt idx="976">
                  <c:v>87.766658909316519</c:v>
                </c:pt>
                <c:pt idx="977">
                  <c:v>87.78708876474235</c:v>
                </c:pt>
                <c:pt idx="978">
                  <c:v>87.78708876474235</c:v>
                </c:pt>
                <c:pt idx="979">
                  <c:v>87.759851070431239</c:v>
                </c:pt>
                <c:pt idx="980">
                  <c:v>87.759851070431239</c:v>
                </c:pt>
                <c:pt idx="981">
                  <c:v>87.759851070431239</c:v>
                </c:pt>
                <c:pt idx="982">
                  <c:v>87.787088764742336</c:v>
                </c:pt>
                <c:pt idx="983">
                  <c:v>87.780277756226184</c:v>
                </c:pt>
                <c:pt idx="984">
                  <c:v>87.671445176288188</c:v>
                </c:pt>
                <c:pt idx="985">
                  <c:v>87.773467804499546</c:v>
                </c:pt>
                <c:pt idx="986">
                  <c:v>87.705426356589086</c:v>
                </c:pt>
                <c:pt idx="987">
                  <c:v>87.705426356589086</c:v>
                </c:pt>
                <c:pt idx="988">
                  <c:v>87.705426356589086</c:v>
                </c:pt>
                <c:pt idx="989">
                  <c:v>87.739433889104248</c:v>
                </c:pt>
                <c:pt idx="990">
                  <c:v>87.719026205613218</c:v>
                </c:pt>
                <c:pt idx="991">
                  <c:v>87.705426356589086</c:v>
                </c:pt>
                <c:pt idx="992">
                  <c:v>87.705426356589086</c:v>
                </c:pt>
                <c:pt idx="993">
                  <c:v>87.705426356589086</c:v>
                </c:pt>
                <c:pt idx="994">
                  <c:v>87.705426356589086</c:v>
                </c:pt>
                <c:pt idx="995">
                  <c:v>87.705426356589086</c:v>
                </c:pt>
                <c:pt idx="996">
                  <c:v>87.705426356589086</c:v>
                </c:pt>
                <c:pt idx="997">
                  <c:v>87.617130024006755</c:v>
                </c:pt>
                <c:pt idx="998">
                  <c:v>87.746238560570745</c:v>
                </c:pt>
                <c:pt idx="999">
                  <c:v>87.542556484060583</c:v>
                </c:pt>
                <c:pt idx="1000">
                  <c:v>87.787088764742322</c:v>
                </c:pt>
                <c:pt idx="1001">
                  <c:v>87.787088764742322</c:v>
                </c:pt>
                <c:pt idx="1002">
                  <c:v>87.787088764742322</c:v>
                </c:pt>
                <c:pt idx="1003">
                  <c:v>87.66465209979846</c:v>
                </c:pt>
                <c:pt idx="1004">
                  <c:v>87.705426356589072</c:v>
                </c:pt>
                <c:pt idx="1005">
                  <c:v>87.753044287597859</c:v>
                </c:pt>
                <c:pt idx="1006">
                  <c:v>87.759851070431225</c:v>
                </c:pt>
                <c:pt idx="1007">
                  <c:v>87.705426356589072</c:v>
                </c:pt>
                <c:pt idx="1008">
                  <c:v>87.705426356589072</c:v>
                </c:pt>
                <c:pt idx="1009">
                  <c:v>87.705426356589072</c:v>
                </c:pt>
                <c:pt idx="1010">
                  <c:v>87.569659442724387</c:v>
                </c:pt>
                <c:pt idx="1011">
                  <c:v>87.671445176288174</c:v>
                </c:pt>
                <c:pt idx="1012">
                  <c:v>87.617130024006741</c:v>
                </c:pt>
                <c:pt idx="1013">
                  <c:v>87.617130024006741</c:v>
                </c:pt>
                <c:pt idx="1014">
                  <c:v>87.549330650777605</c:v>
                </c:pt>
                <c:pt idx="1015">
                  <c:v>87.549330650777605</c:v>
                </c:pt>
                <c:pt idx="1016">
                  <c:v>87.549330650777605</c:v>
                </c:pt>
                <c:pt idx="1017">
                  <c:v>87.64427918506459</c:v>
                </c:pt>
                <c:pt idx="1018">
                  <c:v>87.705426356589058</c:v>
                </c:pt>
                <c:pt idx="1019">
                  <c:v>87.705426356589058</c:v>
                </c:pt>
                <c:pt idx="1020">
                  <c:v>87.651069104431258</c:v>
                </c:pt>
                <c:pt idx="1021">
                  <c:v>87.549330650777591</c:v>
                </c:pt>
                <c:pt idx="1022">
                  <c:v>87.549330650777591</c:v>
                </c:pt>
                <c:pt idx="1023">
                  <c:v>87.549330650777591</c:v>
                </c:pt>
                <c:pt idx="1024">
                  <c:v>87.549330650777591</c:v>
                </c:pt>
                <c:pt idx="1025">
                  <c:v>87.515470297029609</c:v>
                </c:pt>
                <c:pt idx="1026">
                  <c:v>87.610345361622961</c:v>
                </c:pt>
                <c:pt idx="1027">
                  <c:v>87.71902620561319</c:v>
                </c:pt>
                <c:pt idx="1028">
                  <c:v>87.630702501742618</c:v>
                </c:pt>
                <c:pt idx="1029">
                  <c:v>87.630702501742618</c:v>
                </c:pt>
                <c:pt idx="1030">
                  <c:v>87.630702501742618</c:v>
                </c:pt>
                <c:pt idx="1031">
                  <c:v>87.705426356589072</c:v>
                </c:pt>
                <c:pt idx="1032">
                  <c:v>87.807528133488475</c:v>
                </c:pt>
                <c:pt idx="1033">
                  <c:v>87.66465209979846</c:v>
                </c:pt>
                <c:pt idx="1034">
                  <c:v>87.562882129866026</c:v>
                </c:pt>
                <c:pt idx="1035">
                  <c:v>87.562882129866026</c:v>
                </c:pt>
                <c:pt idx="1036">
                  <c:v>87.562882129866026</c:v>
                </c:pt>
                <c:pt idx="1037">
                  <c:v>87.562882129866026</c:v>
                </c:pt>
                <c:pt idx="1038">
                  <c:v>87.66465209979846</c:v>
                </c:pt>
                <c:pt idx="1039">
                  <c:v>87.651069104431272</c:v>
                </c:pt>
                <c:pt idx="1040">
                  <c:v>87.753044287597845</c:v>
                </c:pt>
                <c:pt idx="1041">
                  <c:v>87.691830723918699</c:v>
                </c:pt>
                <c:pt idx="1042">
                  <c:v>87.542556484060597</c:v>
                </c:pt>
                <c:pt idx="1043">
                  <c:v>87.542556484060597</c:v>
                </c:pt>
                <c:pt idx="1044">
                  <c:v>87.542556484060597</c:v>
                </c:pt>
                <c:pt idx="1045">
                  <c:v>87.589997677479232</c:v>
                </c:pt>
                <c:pt idx="1046">
                  <c:v>87.617130024006755</c:v>
                </c:pt>
                <c:pt idx="1047">
                  <c:v>87.576437804783595</c:v>
                </c:pt>
                <c:pt idx="1048">
                  <c:v>87.522240272298234</c:v>
                </c:pt>
                <c:pt idx="1049">
                  <c:v>87.501933488012313</c:v>
                </c:pt>
                <c:pt idx="1050">
                  <c:v>87.501933488012313</c:v>
                </c:pt>
                <c:pt idx="1051">
                  <c:v>87.501933488012313</c:v>
                </c:pt>
                <c:pt idx="1052">
                  <c:v>87.434312210200872</c:v>
                </c:pt>
                <c:pt idx="1053">
                  <c:v>87.447828103261671</c:v>
                </c:pt>
                <c:pt idx="1054">
                  <c:v>87.333076032419854</c:v>
                </c:pt>
                <c:pt idx="1055">
                  <c:v>87.366795366795316</c:v>
                </c:pt>
                <c:pt idx="1056">
                  <c:v>87.366795366795316</c:v>
                </c:pt>
                <c:pt idx="1057">
                  <c:v>87.366795366795316</c:v>
                </c:pt>
                <c:pt idx="1058">
                  <c:v>87.366795366795316</c:v>
                </c:pt>
                <c:pt idx="1059">
                  <c:v>87.400540749324023</c:v>
                </c:pt>
                <c:pt idx="1060">
                  <c:v>87.353304508956086</c:v>
                </c:pt>
                <c:pt idx="1061">
                  <c:v>87.333076032419854</c:v>
                </c:pt>
                <c:pt idx="1062">
                  <c:v>87.258985037791092</c:v>
                </c:pt>
                <c:pt idx="1063">
                  <c:v>87.232074016962159</c:v>
                </c:pt>
                <c:pt idx="1064">
                  <c:v>87.232074016962159</c:v>
                </c:pt>
                <c:pt idx="1065">
                  <c:v>87.232074016962159</c:v>
                </c:pt>
                <c:pt idx="1066">
                  <c:v>87.232074016962159</c:v>
                </c:pt>
                <c:pt idx="1067">
                  <c:v>87.21190164187152</c:v>
                </c:pt>
                <c:pt idx="1068">
                  <c:v>87.461348175633816</c:v>
                </c:pt>
                <c:pt idx="1069">
                  <c:v>87.508701369015327</c:v>
                </c:pt>
                <c:pt idx="1070">
                  <c:v>87.508701369015327</c:v>
                </c:pt>
                <c:pt idx="1071">
                  <c:v>87.508701369015327</c:v>
                </c:pt>
                <c:pt idx="1072">
                  <c:v>87.508701369015327</c:v>
                </c:pt>
                <c:pt idx="1073">
                  <c:v>87.508701369015327</c:v>
                </c:pt>
                <c:pt idx="1074">
                  <c:v>87.508701369015327</c:v>
                </c:pt>
                <c:pt idx="1075">
                  <c:v>87.501933488012298</c:v>
                </c:pt>
                <c:pt idx="1076">
                  <c:v>87.501933488012298</c:v>
                </c:pt>
                <c:pt idx="1077">
                  <c:v>87.501933488012298</c:v>
                </c:pt>
                <c:pt idx="1078">
                  <c:v>87.501933488012298</c:v>
                </c:pt>
                <c:pt idx="1079">
                  <c:v>87.501933488012298</c:v>
                </c:pt>
                <c:pt idx="1080">
                  <c:v>87.501933488012298</c:v>
                </c:pt>
                <c:pt idx="1081">
                  <c:v>87.508701369015341</c:v>
                </c:pt>
                <c:pt idx="1082">
                  <c:v>87.508701369015341</c:v>
                </c:pt>
                <c:pt idx="1083">
                  <c:v>87.569659442724401</c:v>
                </c:pt>
                <c:pt idx="1084">
                  <c:v>87.52224027229822</c:v>
                </c:pt>
                <c:pt idx="1085">
                  <c:v>87.52224027229822</c:v>
                </c:pt>
                <c:pt idx="1086">
                  <c:v>87.52224027229822</c:v>
                </c:pt>
                <c:pt idx="1087">
                  <c:v>87.52224027229822</c:v>
                </c:pt>
                <c:pt idx="1088">
                  <c:v>87.52224027229822</c:v>
                </c:pt>
                <c:pt idx="1089">
                  <c:v>87.52224027229822</c:v>
                </c:pt>
                <c:pt idx="1090">
                  <c:v>87.52224027229822</c:v>
                </c:pt>
                <c:pt idx="1091">
                  <c:v>87.501933488012298</c:v>
                </c:pt>
                <c:pt idx="1092">
                  <c:v>87.501933488012298</c:v>
                </c:pt>
                <c:pt idx="1093">
                  <c:v>87.501933488012298</c:v>
                </c:pt>
                <c:pt idx="1094">
                  <c:v>87.52224027229822</c:v>
                </c:pt>
                <c:pt idx="1095">
                  <c:v>87.501933488012298</c:v>
                </c:pt>
                <c:pt idx="1096">
                  <c:v>87.501933488012298</c:v>
                </c:pt>
                <c:pt idx="1097">
                  <c:v>87.515470297029637</c:v>
                </c:pt>
                <c:pt idx="1098">
                  <c:v>87.501933488012298</c:v>
                </c:pt>
                <c:pt idx="1099">
                  <c:v>87.501933488012298</c:v>
                </c:pt>
                <c:pt idx="1100">
                  <c:v>87.501933488012298</c:v>
                </c:pt>
                <c:pt idx="1101">
                  <c:v>87.468109779667515</c:v>
                </c:pt>
                <c:pt idx="1102">
                  <c:v>87.501933488012298</c:v>
                </c:pt>
                <c:pt idx="1103">
                  <c:v>87.468109779667515</c:v>
                </c:pt>
                <c:pt idx="1104">
                  <c:v>87.360049417033395</c:v>
                </c:pt>
                <c:pt idx="1105">
                  <c:v>87.3533045089561</c:v>
                </c:pt>
                <c:pt idx="1106">
                  <c:v>87.3533045089561</c:v>
                </c:pt>
                <c:pt idx="1107">
                  <c:v>87.3533045089561</c:v>
                </c:pt>
                <c:pt idx="1108">
                  <c:v>87.360049417033395</c:v>
                </c:pt>
                <c:pt idx="1109">
                  <c:v>87.366795366795316</c:v>
                </c:pt>
                <c:pt idx="1110">
                  <c:v>87.366795366795316</c:v>
                </c:pt>
                <c:pt idx="1111">
                  <c:v>87.319595585397806</c:v>
                </c:pt>
                <c:pt idx="1112">
                  <c:v>87.3061192993286</c:v>
                </c:pt>
                <c:pt idx="1113">
                  <c:v>87.3061192993286</c:v>
                </c:pt>
                <c:pt idx="1114">
                  <c:v>87.3061192993286</c:v>
                </c:pt>
                <c:pt idx="1115">
                  <c:v>87.319595585397806</c:v>
                </c:pt>
                <c:pt idx="1116">
                  <c:v>87.414046202580508</c:v>
                </c:pt>
                <c:pt idx="1117">
                  <c:v>87.508701369015355</c:v>
                </c:pt>
                <c:pt idx="1118">
                  <c:v>87.501933488012327</c:v>
                </c:pt>
                <c:pt idx="1119">
                  <c:v>87.501933488012327</c:v>
                </c:pt>
                <c:pt idx="1120">
                  <c:v>87.501933488012327</c:v>
                </c:pt>
                <c:pt idx="1121">
                  <c:v>87.501933488012327</c:v>
                </c:pt>
                <c:pt idx="1122">
                  <c:v>87.535783365570552</c:v>
                </c:pt>
                <c:pt idx="1123">
                  <c:v>87.569659442724415</c:v>
                </c:pt>
                <c:pt idx="1124">
                  <c:v>87.569659442724415</c:v>
                </c:pt>
                <c:pt idx="1125">
                  <c:v>87.569659442724415</c:v>
                </c:pt>
                <c:pt idx="1126">
                  <c:v>87.589997677479232</c:v>
                </c:pt>
                <c:pt idx="1127">
                  <c:v>87.589997677479232</c:v>
                </c:pt>
                <c:pt idx="1128">
                  <c:v>87.589997677479232</c:v>
                </c:pt>
                <c:pt idx="1129">
                  <c:v>87.583217216287281</c:v>
                </c:pt>
                <c:pt idx="1130">
                  <c:v>87.60356174990315</c:v>
                </c:pt>
                <c:pt idx="1131">
                  <c:v>87.576437804783581</c:v>
                </c:pt>
                <c:pt idx="1132">
                  <c:v>87.569659442724401</c:v>
                </c:pt>
                <c:pt idx="1133">
                  <c:v>87.583217216287267</c:v>
                </c:pt>
                <c:pt idx="1134">
                  <c:v>87.583217216287267</c:v>
                </c:pt>
                <c:pt idx="1135">
                  <c:v>87.583217216287267</c:v>
                </c:pt>
                <c:pt idx="1136">
                  <c:v>87.569659442724387</c:v>
                </c:pt>
                <c:pt idx="1137">
                  <c:v>87.617130024006741</c:v>
                </c:pt>
                <c:pt idx="1138">
                  <c:v>87.603561749903136</c:v>
                </c:pt>
                <c:pt idx="1139">
                  <c:v>87.617130024006741</c:v>
                </c:pt>
                <c:pt idx="1140">
                  <c:v>87.569659442724387</c:v>
                </c:pt>
                <c:pt idx="1141">
                  <c:v>87.569659442724387</c:v>
                </c:pt>
                <c:pt idx="1142">
                  <c:v>87.569659442724387</c:v>
                </c:pt>
                <c:pt idx="1143">
                  <c:v>87.610345361622976</c:v>
                </c:pt>
                <c:pt idx="1144">
                  <c:v>87.447828103261642</c:v>
                </c:pt>
                <c:pt idx="1145">
                  <c:v>87.380290392338509</c:v>
                </c:pt>
                <c:pt idx="1146">
                  <c:v>87.380290392338509</c:v>
                </c:pt>
                <c:pt idx="1147">
                  <c:v>87.366795366795287</c:v>
                </c:pt>
                <c:pt idx="1148">
                  <c:v>87.366795366795287</c:v>
                </c:pt>
                <c:pt idx="1149">
                  <c:v>87.366795366795287</c:v>
                </c:pt>
                <c:pt idx="1150">
                  <c:v>87.393789587517304</c:v>
                </c:pt>
                <c:pt idx="1151">
                  <c:v>87.434312210200858</c:v>
                </c:pt>
                <c:pt idx="1152">
                  <c:v>87.434312210200858</c:v>
                </c:pt>
                <c:pt idx="1153">
                  <c:v>87.501933488012284</c:v>
                </c:pt>
                <c:pt idx="1154">
                  <c:v>87.522240272298205</c:v>
                </c:pt>
                <c:pt idx="1155">
                  <c:v>87.522240272298205</c:v>
                </c:pt>
                <c:pt idx="1156">
                  <c:v>87.522240272298205</c:v>
                </c:pt>
                <c:pt idx="1157">
                  <c:v>87.617130024006727</c:v>
                </c:pt>
                <c:pt idx="1158">
                  <c:v>87.610345361622961</c:v>
                </c:pt>
                <c:pt idx="1159">
                  <c:v>87.569659442724372</c:v>
                </c:pt>
                <c:pt idx="1160">
                  <c:v>87.58999767747919</c:v>
                </c:pt>
                <c:pt idx="1161">
                  <c:v>87.617130024006713</c:v>
                </c:pt>
                <c:pt idx="1162">
                  <c:v>87.617130024006713</c:v>
                </c:pt>
                <c:pt idx="1163">
                  <c:v>87.617130024006713</c:v>
                </c:pt>
                <c:pt idx="1164">
                  <c:v>87.576437804783552</c:v>
                </c:pt>
                <c:pt idx="1165">
                  <c:v>87.481636124642279</c:v>
                </c:pt>
                <c:pt idx="1166">
                  <c:v>87.414046202580437</c:v>
                </c:pt>
                <c:pt idx="1167">
                  <c:v>87.414046202580437</c:v>
                </c:pt>
                <c:pt idx="1168">
                  <c:v>87.373542358483164</c:v>
                </c:pt>
                <c:pt idx="1169">
                  <c:v>87.373542358483164</c:v>
                </c:pt>
                <c:pt idx="1170">
                  <c:v>87.373542358483164</c:v>
                </c:pt>
                <c:pt idx="1171">
                  <c:v>87.4478281032616</c:v>
                </c:pt>
                <c:pt idx="1172">
                  <c:v>87.468109779667458</c:v>
                </c:pt>
                <c:pt idx="1173">
                  <c:v>87.468109779667458</c:v>
                </c:pt>
                <c:pt idx="1174">
                  <c:v>87.427555830306659</c:v>
                </c:pt>
                <c:pt idx="1175">
                  <c:v>87.434312210200815</c:v>
                </c:pt>
                <c:pt idx="1176">
                  <c:v>87.434312210200815</c:v>
                </c:pt>
                <c:pt idx="1177">
                  <c:v>87.434312210200815</c:v>
                </c:pt>
                <c:pt idx="1178">
                  <c:v>87.468109779667458</c:v>
                </c:pt>
                <c:pt idx="1179">
                  <c:v>87.542556484060555</c:v>
                </c:pt>
                <c:pt idx="1180">
                  <c:v>87.488400866068574</c:v>
                </c:pt>
                <c:pt idx="1181">
                  <c:v>87.468109779667472</c:v>
                </c:pt>
                <c:pt idx="1182">
                  <c:v>87.454587616912619</c:v>
                </c:pt>
                <c:pt idx="1183">
                  <c:v>87.454587616912619</c:v>
                </c:pt>
                <c:pt idx="1184">
                  <c:v>87.454587616912619</c:v>
                </c:pt>
                <c:pt idx="1185">
                  <c:v>87.454587616912619</c:v>
                </c:pt>
                <c:pt idx="1186">
                  <c:v>87.535783365570495</c:v>
                </c:pt>
                <c:pt idx="1187">
                  <c:v>87.549330650777591</c:v>
                </c:pt>
                <c:pt idx="1188">
                  <c:v>87.535783365570495</c:v>
                </c:pt>
                <c:pt idx="1189">
                  <c:v>87.522240272298191</c:v>
                </c:pt>
                <c:pt idx="1190">
                  <c:v>87.522240272298191</c:v>
                </c:pt>
                <c:pt idx="1191">
                  <c:v>87.522240272298191</c:v>
                </c:pt>
                <c:pt idx="1192">
                  <c:v>87.414046202580451</c:v>
                </c:pt>
                <c:pt idx="1193">
                  <c:v>87.306119299328557</c:v>
                </c:pt>
                <c:pt idx="1194">
                  <c:v>87.299382716049294</c:v>
                </c:pt>
                <c:pt idx="1195">
                  <c:v>87.279179202345048</c:v>
                </c:pt>
                <c:pt idx="1196">
                  <c:v>87.211901641871492</c:v>
                </c:pt>
                <c:pt idx="1197">
                  <c:v>87.211901641871492</c:v>
                </c:pt>
                <c:pt idx="1198">
                  <c:v>87.211901641871492</c:v>
                </c:pt>
                <c:pt idx="1199">
                  <c:v>87.265715387581849</c:v>
                </c:pt>
                <c:pt idx="1200">
                  <c:v>87.23207401696213</c:v>
                </c:pt>
                <c:pt idx="1201">
                  <c:v>87.265715387581864</c:v>
                </c:pt>
                <c:pt idx="1202">
                  <c:v>87.232074016962144</c:v>
                </c:pt>
                <c:pt idx="1203">
                  <c:v>87.232074016962144</c:v>
                </c:pt>
                <c:pt idx="1204">
                  <c:v>87.232074016962144</c:v>
                </c:pt>
                <c:pt idx="1205">
                  <c:v>87.232074016962144</c:v>
                </c:pt>
                <c:pt idx="1206">
                  <c:v>87.232074016962144</c:v>
                </c:pt>
                <c:pt idx="1207">
                  <c:v>87.232074016962144</c:v>
                </c:pt>
                <c:pt idx="1208">
                  <c:v>87.400540749323994</c:v>
                </c:pt>
                <c:pt idx="1209">
                  <c:v>87.420800494513912</c:v>
                </c:pt>
                <c:pt idx="1210">
                  <c:v>87.535783365570509</c:v>
                </c:pt>
                <c:pt idx="1211">
                  <c:v>87.535783365570509</c:v>
                </c:pt>
                <c:pt idx="1212">
                  <c:v>87.535783365570509</c:v>
                </c:pt>
                <c:pt idx="1213">
                  <c:v>87.535783365570509</c:v>
                </c:pt>
                <c:pt idx="1214">
                  <c:v>87.468109779667486</c:v>
                </c:pt>
                <c:pt idx="1215">
                  <c:v>87.427555830306687</c:v>
                </c:pt>
                <c:pt idx="1216">
                  <c:v>87.427555830306687</c:v>
                </c:pt>
                <c:pt idx="1217">
                  <c:v>87.50193348801227</c:v>
                </c:pt>
                <c:pt idx="1218">
                  <c:v>87.50193348801227</c:v>
                </c:pt>
                <c:pt idx="1219">
                  <c:v>87.50193348801227</c:v>
                </c:pt>
                <c:pt idx="1220">
                  <c:v>87.535783365570495</c:v>
                </c:pt>
                <c:pt idx="1221">
                  <c:v>87.535783365570495</c:v>
                </c:pt>
                <c:pt idx="1222">
                  <c:v>87.535783365570495</c:v>
                </c:pt>
                <c:pt idx="1223">
                  <c:v>87.535783365570495</c:v>
                </c:pt>
                <c:pt idx="1224">
                  <c:v>87.535783365570495</c:v>
                </c:pt>
                <c:pt idx="1225">
                  <c:v>87.535783365570495</c:v>
                </c:pt>
                <c:pt idx="1226">
                  <c:v>87.535783365570495</c:v>
                </c:pt>
                <c:pt idx="1227">
                  <c:v>87.522240272298191</c:v>
                </c:pt>
                <c:pt idx="1228">
                  <c:v>87.569659442724372</c:v>
                </c:pt>
                <c:pt idx="1229">
                  <c:v>87.515470297029609</c:v>
                </c:pt>
                <c:pt idx="1230">
                  <c:v>87.529011295064123</c:v>
                </c:pt>
                <c:pt idx="1231">
                  <c:v>87.535783365570495</c:v>
                </c:pt>
                <c:pt idx="1232">
                  <c:v>87.535783365570495</c:v>
                </c:pt>
                <c:pt idx="1233">
                  <c:v>87.535783365570495</c:v>
                </c:pt>
                <c:pt idx="1234">
                  <c:v>87.535783365570495</c:v>
                </c:pt>
                <c:pt idx="1235">
                  <c:v>87.569659442724358</c:v>
                </c:pt>
                <c:pt idx="1236">
                  <c:v>87.549330650777577</c:v>
                </c:pt>
                <c:pt idx="1237">
                  <c:v>87.54255648406054</c:v>
                </c:pt>
                <c:pt idx="1238">
                  <c:v>87.549330650777563</c:v>
                </c:pt>
                <c:pt idx="1239">
                  <c:v>87.549330650777563</c:v>
                </c:pt>
                <c:pt idx="1240">
                  <c:v>87.549330650777563</c:v>
                </c:pt>
                <c:pt idx="1241">
                  <c:v>87.576437804783524</c:v>
                </c:pt>
                <c:pt idx="1242">
                  <c:v>87.535783365570467</c:v>
                </c:pt>
                <c:pt idx="1243">
                  <c:v>87.56965944272433</c:v>
                </c:pt>
                <c:pt idx="1244">
                  <c:v>87.556105865964881</c:v>
                </c:pt>
                <c:pt idx="1245">
                  <c:v>87.569659442724316</c:v>
                </c:pt>
                <c:pt idx="1246">
                  <c:v>87.5696594427243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04F-4E1F-B06E-48D36AF55A46}"/>
            </c:ext>
          </c:extLst>
        </c:ser>
        <c:ser>
          <c:idx val="7"/>
          <c:order val="7"/>
          <c:tx>
            <c:strRef>
              <c:f>FXHC!$AA$11</c:f>
              <c:strCache>
                <c:ptCount val="1"/>
                <c:pt idx="0">
                  <c:v>100</c:v>
                </c:pt>
              </c:strCache>
            </c:strRef>
          </c:tx>
          <c:spPr>
            <a:ln w="19050" cap="rnd">
              <a:solidFill>
                <a:sysClr val="window" lastClr="FFFFFF">
                  <a:lumMod val="50000"/>
                </a:sysClr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FXHC!$S$12:$S$1258</c:f>
              <c:numCache>
                <c:formatCode>m/d/yyyy</c:formatCode>
                <c:ptCount val="1247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  <c:pt idx="243">
                  <c:v>44805</c:v>
                </c:pt>
                <c:pt idx="244">
                  <c:v>44806</c:v>
                </c:pt>
                <c:pt idx="245">
                  <c:v>44807</c:v>
                </c:pt>
                <c:pt idx="246">
                  <c:v>44808</c:v>
                </c:pt>
                <c:pt idx="247">
                  <c:v>44809</c:v>
                </c:pt>
                <c:pt idx="248">
                  <c:v>44810</c:v>
                </c:pt>
                <c:pt idx="249">
                  <c:v>44811</c:v>
                </c:pt>
                <c:pt idx="250">
                  <c:v>44812</c:v>
                </c:pt>
                <c:pt idx="251">
                  <c:v>44813</c:v>
                </c:pt>
                <c:pt idx="252">
                  <c:v>44814</c:v>
                </c:pt>
                <c:pt idx="253">
                  <c:v>44815</c:v>
                </c:pt>
                <c:pt idx="254">
                  <c:v>44816</c:v>
                </c:pt>
                <c:pt idx="255">
                  <c:v>44817</c:v>
                </c:pt>
                <c:pt idx="256">
                  <c:v>44818</c:v>
                </c:pt>
                <c:pt idx="257">
                  <c:v>44819</c:v>
                </c:pt>
                <c:pt idx="258">
                  <c:v>44820</c:v>
                </c:pt>
                <c:pt idx="259">
                  <c:v>44821</c:v>
                </c:pt>
                <c:pt idx="260">
                  <c:v>44822</c:v>
                </c:pt>
                <c:pt idx="261">
                  <c:v>44823</c:v>
                </c:pt>
                <c:pt idx="262">
                  <c:v>44824</c:v>
                </c:pt>
                <c:pt idx="263">
                  <c:v>44825</c:v>
                </c:pt>
                <c:pt idx="264">
                  <c:v>44826</c:v>
                </c:pt>
                <c:pt idx="265">
                  <c:v>44827</c:v>
                </c:pt>
                <c:pt idx="266">
                  <c:v>44828</c:v>
                </c:pt>
                <c:pt idx="267">
                  <c:v>44829</c:v>
                </c:pt>
                <c:pt idx="268">
                  <c:v>44830</c:v>
                </c:pt>
                <c:pt idx="269">
                  <c:v>44831</c:v>
                </c:pt>
                <c:pt idx="270">
                  <c:v>44832</c:v>
                </c:pt>
                <c:pt idx="271">
                  <c:v>44833</c:v>
                </c:pt>
                <c:pt idx="272">
                  <c:v>44834</c:v>
                </c:pt>
                <c:pt idx="273">
                  <c:v>44835</c:v>
                </c:pt>
                <c:pt idx="274">
                  <c:v>44836</c:v>
                </c:pt>
                <c:pt idx="275">
                  <c:v>44837</c:v>
                </c:pt>
                <c:pt idx="276">
                  <c:v>44838</c:v>
                </c:pt>
                <c:pt idx="277">
                  <c:v>44839</c:v>
                </c:pt>
                <c:pt idx="278">
                  <c:v>44840</c:v>
                </c:pt>
                <c:pt idx="279">
                  <c:v>44841</c:v>
                </c:pt>
                <c:pt idx="280">
                  <c:v>44842</c:v>
                </c:pt>
                <c:pt idx="281">
                  <c:v>44843</c:v>
                </c:pt>
                <c:pt idx="282">
                  <c:v>44844</c:v>
                </c:pt>
                <c:pt idx="283">
                  <c:v>44845</c:v>
                </c:pt>
                <c:pt idx="284">
                  <c:v>44846</c:v>
                </c:pt>
                <c:pt idx="285">
                  <c:v>44847</c:v>
                </c:pt>
                <c:pt idx="286">
                  <c:v>44848</c:v>
                </c:pt>
                <c:pt idx="287">
                  <c:v>44849</c:v>
                </c:pt>
                <c:pt idx="288">
                  <c:v>44850</c:v>
                </c:pt>
                <c:pt idx="289">
                  <c:v>44851</c:v>
                </c:pt>
                <c:pt idx="290">
                  <c:v>44852</c:v>
                </c:pt>
                <c:pt idx="291">
                  <c:v>44853</c:v>
                </c:pt>
                <c:pt idx="292">
                  <c:v>44854</c:v>
                </c:pt>
                <c:pt idx="293">
                  <c:v>44855</c:v>
                </c:pt>
                <c:pt idx="294">
                  <c:v>44856</c:v>
                </c:pt>
                <c:pt idx="295">
                  <c:v>44857</c:v>
                </c:pt>
                <c:pt idx="296">
                  <c:v>44858</c:v>
                </c:pt>
                <c:pt idx="297">
                  <c:v>44859</c:v>
                </c:pt>
                <c:pt idx="298">
                  <c:v>44860</c:v>
                </c:pt>
                <c:pt idx="299">
                  <c:v>44861</c:v>
                </c:pt>
                <c:pt idx="300">
                  <c:v>44862</c:v>
                </c:pt>
                <c:pt idx="301">
                  <c:v>44863</c:v>
                </c:pt>
                <c:pt idx="302">
                  <c:v>44864</c:v>
                </c:pt>
                <c:pt idx="303">
                  <c:v>44865</c:v>
                </c:pt>
                <c:pt idx="304">
                  <c:v>44866</c:v>
                </c:pt>
                <c:pt idx="305">
                  <c:v>44867</c:v>
                </c:pt>
                <c:pt idx="306">
                  <c:v>44868</c:v>
                </c:pt>
                <c:pt idx="307">
                  <c:v>44869</c:v>
                </c:pt>
                <c:pt idx="308">
                  <c:v>44870</c:v>
                </c:pt>
                <c:pt idx="309">
                  <c:v>44871</c:v>
                </c:pt>
                <c:pt idx="310">
                  <c:v>44872</c:v>
                </c:pt>
                <c:pt idx="311">
                  <c:v>44873</c:v>
                </c:pt>
                <c:pt idx="312">
                  <c:v>44874</c:v>
                </c:pt>
                <c:pt idx="313">
                  <c:v>44875</c:v>
                </c:pt>
                <c:pt idx="314">
                  <c:v>44876</c:v>
                </c:pt>
                <c:pt idx="315">
                  <c:v>44877</c:v>
                </c:pt>
                <c:pt idx="316">
                  <c:v>44878</c:v>
                </c:pt>
                <c:pt idx="317">
                  <c:v>44879</c:v>
                </c:pt>
                <c:pt idx="318">
                  <c:v>44880</c:v>
                </c:pt>
                <c:pt idx="319">
                  <c:v>44881</c:v>
                </c:pt>
                <c:pt idx="320">
                  <c:v>44882</c:v>
                </c:pt>
                <c:pt idx="321">
                  <c:v>44883</c:v>
                </c:pt>
                <c:pt idx="322">
                  <c:v>44884</c:v>
                </c:pt>
                <c:pt idx="323">
                  <c:v>44885</c:v>
                </c:pt>
                <c:pt idx="324">
                  <c:v>44886</c:v>
                </c:pt>
                <c:pt idx="325">
                  <c:v>44887</c:v>
                </c:pt>
                <c:pt idx="326">
                  <c:v>44888</c:v>
                </c:pt>
                <c:pt idx="327">
                  <c:v>44889</c:v>
                </c:pt>
                <c:pt idx="328">
                  <c:v>44890</c:v>
                </c:pt>
                <c:pt idx="329">
                  <c:v>44891</c:v>
                </c:pt>
                <c:pt idx="330">
                  <c:v>44892</c:v>
                </c:pt>
                <c:pt idx="331">
                  <c:v>44893</c:v>
                </c:pt>
                <c:pt idx="332">
                  <c:v>44894</c:v>
                </c:pt>
                <c:pt idx="333">
                  <c:v>44895</c:v>
                </c:pt>
                <c:pt idx="334">
                  <c:v>44896</c:v>
                </c:pt>
                <c:pt idx="335">
                  <c:v>44897</c:v>
                </c:pt>
                <c:pt idx="336">
                  <c:v>44898</c:v>
                </c:pt>
                <c:pt idx="337">
                  <c:v>44899</c:v>
                </c:pt>
                <c:pt idx="338">
                  <c:v>44900</c:v>
                </c:pt>
                <c:pt idx="339">
                  <c:v>44901</c:v>
                </c:pt>
                <c:pt idx="340">
                  <c:v>44902</c:v>
                </c:pt>
                <c:pt idx="341">
                  <c:v>44903</c:v>
                </c:pt>
                <c:pt idx="342">
                  <c:v>44904</c:v>
                </c:pt>
                <c:pt idx="343">
                  <c:v>44905</c:v>
                </c:pt>
                <c:pt idx="344">
                  <c:v>44906</c:v>
                </c:pt>
                <c:pt idx="345">
                  <c:v>44907</c:v>
                </c:pt>
                <c:pt idx="346">
                  <c:v>44908</c:v>
                </c:pt>
                <c:pt idx="347">
                  <c:v>44909</c:v>
                </c:pt>
                <c:pt idx="348">
                  <c:v>44910</c:v>
                </c:pt>
                <c:pt idx="349">
                  <c:v>44911</c:v>
                </c:pt>
                <c:pt idx="350">
                  <c:v>44912</c:v>
                </c:pt>
                <c:pt idx="351">
                  <c:v>44913</c:v>
                </c:pt>
                <c:pt idx="352">
                  <c:v>44914</c:v>
                </c:pt>
                <c:pt idx="353">
                  <c:v>44915</c:v>
                </c:pt>
                <c:pt idx="354">
                  <c:v>44916</c:v>
                </c:pt>
                <c:pt idx="355">
                  <c:v>44917</c:v>
                </c:pt>
                <c:pt idx="356">
                  <c:v>44918</c:v>
                </c:pt>
                <c:pt idx="357">
                  <c:v>44919</c:v>
                </c:pt>
                <c:pt idx="358">
                  <c:v>44920</c:v>
                </c:pt>
                <c:pt idx="359">
                  <c:v>44921</c:v>
                </c:pt>
                <c:pt idx="360">
                  <c:v>44922</c:v>
                </c:pt>
                <c:pt idx="361">
                  <c:v>44923</c:v>
                </c:pt>
                <c:pt idx="362">
                  <c:v>44924</c:v>
                </c:pt>
                <c:pt idx="363">
                  <c:v>44925</c:v>
                </c:pt>
                <c:pt idx="364">
                  <c:v>44926</c:v>
                </c:pt>
                <c:pt idx="365">
                  <c:v>44927</c:v>
                </c:pt>
                <c:pt idx="366">
                  <c:v>44928</c:v>
                </c:pt>
                <c:pt idx="367">
                  <c:v>44929</c:v>
                </c:pt>
                <c:pt idx="368">
                  <c:v>44930</c:v>
                </c:pt>
                <c:pt idx="369">
                  <c:v>44931</c:v>
                </c:pt>
                <c:pt idx="370">
                  <c:v>44932</c:v>
                </c:pt>
                <c:pt idx="371">
                  <c:v>44933</c:v>
                </c:pt>
                <c:pt idx="372">
                  <c:v>44934</c:v>
                </c:pt>
                <c:pt idx="373">
                  <c:v>44935</c:v>
                </c:pt>
                <c:pt idx="374">
                  <c:v>44936</c:v>
                </c:pt>
                <c:pt idx="375">
                  <c:v>44937</c:v>
                </c:pt>
                <c:pt idx="376">
                  <c:v>44938</c:v>
                </c:pt>
                <c:pt idx="377">
                  <c:v>44939</c:v>
                </c:pt>
                <c:pt idx="378">
                  <c:v>44940</c:v>
                </c:pt>
                <c:pt idx="379">
                  <c:v>44941</c:v>
                </c:pt>
                <c:pt idx="380">
                  <c:v>44942</c:v>
                </c:pt>
                <c:pt idx="381">
                  <c:v>44943</c:v>
                </c:pt>
                <c:pt idx="382">
                  <c:v>44944</c:v>
                </c:pt>
                <c:pt idx="383">
                  <c:v>44945</c:v>
                </c:pt>
                <c:pt idx="384">
                  <c:v>44946</c:v>
                </c:pt>
                <c:pt idx="385">
                  <c:v>44947</c:v>
                </c:pt>
                <c:pt idx="386">
                  <c:v>44948</c:v>
                </c:pt>
                <c:pt idx="387">
                  <c:v>44949</c:v>
                </c:pt>
                <c:pt idx="388">
                  <c:v>44950</c:v>
                </c:pt>
                <c:pt idx="389">
                  <c:v>44951</c:v>
                </c:pt>
                <c:pt idx="390">
                  <c:v>44952</c:v>
                </c:pt>
                <c:pt idx="391">
                  <c:v>44953</c:v>
                </c:pt>
                <c:pt idx="392">
                  <c:v>44954</c:v>
                </c:pt>
                <c:pt idx="393">
                  <c:v>44955</c:v>
                </c:pt>
                <c:pt idx="394">
                  <c:v>44956</c:v>
                </c:pt>
                <c:pt idx="395">
                  <c:v>44957</c:v>
                </c:pt>
                <c:pt idx="396">
                  <c:v>44958</c:v>
                </c:pt>
                <c:pt idx="397">
                  <c:v>44959</c:v>
                </c:pt>
                <c:pt idx="398">
                  <c:v>44960</c:v>
                </c:pt>
                <c:pt idx="399">
                  <c:v>44961</c:v>
                </c:pt>
                <c:pt idx="400">
                  <c:v>44962</c:v>
                </c:pt>
                <c:pt idx="401">
                  <c:v>44963</c:v>
                </c:pt>
                <c:pt idx="402">
                  <c:v>44964</c:v>
                </c:pt>
                <c:pt idx="403">
                  <c:v>44965</c:v>
                </c:pt>
                <c:pt idx="404">
                  <c:v>44966</c:v>
                </c:pt>
                <c:pt idx="405">
                  <c:v>44967</c:v>
                </c:pt>
                <c:pt idx="406">
                  <c:v>44968</c:v>
                </c:pt>
                <c:pt idx="407">
                  <c:v>44969</c:v>
                </c:pt>
                <c:pt idx="408">
                  <c:v>44970</c:v>
                </c:pt>
                <c:pt idx="409">
                  <c:v>44971</c:v>
                </c:pt>
                <c:pt idx="410">
                  <c:v>44972</c:v>
                </c:pt>
                <c:pt idx="411">
                  <c:v>44973</c:v>
                </c:pt>
                <c:pt idx="412">
                  <c:v>44974</c:v>
                </c:pt>
                <c:pt idx="413">
                  <c:v>44975</c:v>
                </c:pt>
                <c:pt idx="414">
                  <c:v>44976</c:v>
                </c:pt>
                <c:pt idx="415">
                  <c:v>44977</c:v>
                </c:pt>
                <c:pt idx="416">
                  <c:v>44978</c:v>
                </c:pt>
                <c:pt idx="417">
                  <c:v>44979</c:v>
                </c:pt>
                <c:pt idx="418">
                  <c:v>44980</c:v>
                </c:pt>
                <c:pt idx="419">
                  <c:v>44981</c:v>
                </c:pt>
                <c:pt idx="420">
                  <c:v>44982</c:v>
                </c:pt>
                <c:pt idx="421">
                  <c:v>44983</c:v>
                </c:pt>
                <c:pt idx="422">
                  <c:v>44984</c:v>
                </c:pt>
                <c:pt idx="423">
                  <c:v>44985</c:v>
                </c:pt>
                <c:pt idx="424">
                  <c:v>44986</c:v>
                </c:pt>
                <c:pt idx="425">
                  <c:v>44987</c:v>
                </c:pt>
                <c:pt idx="426">
                  <c:v>44988</c:v>
                </c:pt>
                <c:pt idx="427">
                  <c:v>44989</c:v>
                </c:pt>
                <c:pt idx="428">
                  <c:v>44990</c:v>
                </c:pt>
                <c:pt idx="429">
                  <c:v>44991</c:v>
                </c:pt>
                <c:pt idx="430">
                  <c:v>44992</c:v>
                </c:pt>
                <c:pt idx="431">
                  <c:v>44993</c:v>
                </c:pt>
                <c:pt idx="432">
                  <c:v>44994</c:v>
                </c:pt>
                <c:pt idx="433">
                  <c:v>44995</c:v>
                </c:pt>
                <c:pt idx="434">
                  <c:v>44996</c:v>
                </c:pt>
                <c:pt idx="435">
                  <c:v>44997</c:v>
                </c:pt>
                <c:pt idx="436">
                  <c:v>44998</c:v>
                </c:pt>
                <c:pt idx="437">
                  <c:v>44999</c:v>
                </c:pt>
                <c:pt idx="438">
                  <c:v>45000</c:v>
                </c:pt>
                <c:pt idx="439">
                  <c:v>45001</c:v>
                </c:pt>
                <c:pt idx="440">
                  <c:v>45002</c:v>
                </c:pt>
                <c:pt idx="441">
                  <c:v>45003</c:v>
                </c:pt>
                <c:pt idx="442">
                  <c:v>45004</c:v>
                </c:pt>
                <c:pt idx="443">
                  <c:v>45005</c:v>
                </c:pt>
                <c:pt idx="444">
                  <c:v>45006</c:v>
                </c:pt>
                <c:pt idx="445">
                  <c:v>45007</c:v>
                </c:pt>
                <c:pt idx="446">
                  <c:v>45008</c:v>
                </c:pt>
                <c:pt idx="447">
                  <c:v>45009</c:v>
                </c:pt>
                <c:pt idx="448">
                  <c:v>45010</c:v>
                </c:pt>
                <c:pt idx="449">
                  <c:v>45011</c:v>
                </c:pt>
                <c:pt idx="450">
                  <c:v>45012</c:v>
                </c:pt>
                <c:pt idx="451">
                  <c:v>45013</c:v>
                </c:pt>
                <c:pt idx="452">
                  <c:v>45014</c:v>
                </c:pt>
                <c:pt idx="453">
                  <c:v>45015</c:v>
                </c:pt>
                <c:pt idx="454">
                  <c:v>45016</c:v>
                </c:pt>
                <c:pt idx="455">
                  <c:v>45017</c:v>
                </c:pt>
                <c:pt idx="456">
                  <c:v>45018</c:v>
                </c:pt>
                <c:pt idx="457">
                  <c:v>45019</c:v>
                </c:pt>
                <c:pt idx="458">
                  <c:v>45020</c:v>
                </c:pt>
                <c:pt idx="459">
                  <c:v>45021</c:v>
                </c:pt>
                <c:pt idx="460">
                  <c:v>45022</c:v>
                </c:pt>
                <c:pt idx="461">
                  <c:v>45023</c:v>
                </c:pt>
                <c:pt idx="462">
                  <c:v>45024</c:v>
                </c:pt>
                <c:pt idx="463">
                  <c:v>45025</c:v>
                </c:pt>
                <c:pt idx="464">
                  <c:v>45026</c:v>
                </c:pt>
                <c:pt idx="465">
                  <c:v>45027</c:v>
                </c:pt>
                <c:pt idx="466">
                  <c:v>45028</c:v>
                </c:pt>
                <c:pt idx="467">
                  <c:v>45029</c:v>
                </c:pt>
                <c:pt idx="468">
                  <c:v>45030</c:v>
                </c:pt>
                <c:pt idx="469">
                  <c:v>45031</c:v>
                </c:pt>
                <c:pt idx="470">
                  <c:v>45032</c:v>
                </c:pt>
                <c:pt idx="471">
                  <c:v>45033</c:v>
                </c:pt>
                <c:pt idx="472">
                  <c:v>45034</c:v>
                </c:pt>
                <c:pt idx="473">
                  <c:v>45035</c:v>
                </c:pt>
                <c:pt idx="474">
                  <c:v>45036</c:v>
                </c:pt>
                <c:pt idx="475">
                  <c:v>45037</c:v>
                </c:pt>
                <c:pt idx="476">
                  <c:v>45038</c:v>
                </c:pt>
                <c:pt idx="477">
                  <c:v>45039</c:v>
                </c:pt>
                <c:pt idx="478">
                  <c:v>45040</c:v>
                </c:pt>
                <c:pt idx="479">
                  <c:v>45041</c:v>
                </c:pt>
                <c:pt idx="480">
                  <c:v>45042</c:v>
                </c:pt>
                <c:pt idx="481">
                  <c:v>45043</c:v>
                </c:pt>
                <c:pt idx="482">
                  <c:v>45044</c:v>
                </c:pt>
                <c:pt idx="483">
                  <c:v>45045</c:v>
                </c:pt>
                <c:pt idx="484">
                  <c:v>45046</c:v>
                </c:pt>
                <c:pt idx="485">
                  <c:v>45047</c:v>
                </c:pt>
                <c:pt idx="486">
                  <c:v>45048</c:v>
                </c:pt>
                <c:pt idx="487">
                  <c:v>45049</c:v>
                </c:pt>
                <c:pt idx="488">
                  <c:v>45050</c:v>
                </c:pt>
                <c:pt idx="489">
                  <c:v>45051</c:v>
                </c:pt>
                <c:pt idx="490">
                  <c:v>45052</c:v>
                </c:pt>
                <c:pt idx="491">
                  <c:v>45053</c:v>
                </c:pt>
                <c:pt idx="492">
                  <c:v>45054</c:v>
                </c:pt>
                <c:pt idx="493">
                  <c:v>45055</c:v>
                </c:pt>
                <c:pt idx="494">
                  <c:v>45056</c:v>
                </c:pt>
                <c:pt idx="495">
                  <c:v>45057</c:v>
                </c:pt>
                <c:pt idx="496">
                  <c:v>45058</c:v>
                </c:pt>
                <c:pt idx="497">
                  <c:v>45059</c:v>
                </c:pt>
                <c:pt idx="498">
                  <c:v>45060</c:v>
                </c:pt>
                <c:pt idx="499">
                  <c:v>45061</c:v>
                </c:pt>
                <c:pt idx="500">
                  <c:v>45062</c:v>
                </c:pt>
                <c:pt idx="501">
                  <c:v>45063</c:v>
                </c:pt>
                <c:pt idx="502">
                  <c:v>45064</c:v>
                </c:pt>
                <c:pt idx="503">
                  <c:v>45065</c:v>
                </c:pt>
                <c:pt idx="504">
                  <c:v>45066</c:v>
                </c:pt>
                <c:pt idx="505">
                  <c:v>45067</c:v>
                </c:pt>
                <c:pt idx="506">
                  <c:v>45068</c:v>
                </c:pt>
                <c:pt idx="507">
                  <c:v>45069</c:v>
                </c:pt>
                <c:pt idx="508">
                  <c:v>45070</c:v>
                </c:pt>
                <c:pt idx="509">
                  <c:v>45071</c:v>
                </c:pt>
                <c:pt idx="510">
                  <c:v>45072</c:v>
                </c:pt>
                <c:pt idx="511">
                  <c:v>45073</c:v>
                </c:pt>
                <c:pt idx="512">
                  <c:v>45074</c:v>
                </c:pt>
                <c:pt idx="513">
                  <c:v>45075</c:v>
                </c:pt>
                <c:pt idx="514">
                  <c:v>45076</c:v>
                </c:pt>
                <c:pt idx="515">
                  <c:v>45077</c:v>
                </c:pt>
                <c:pt idx="516">
                  <c:v>45078</c:v>
                </c:pt>
                <c:pt idx="517">
                  <c:v>45079</c:v>
                </c:pt>
                <c:pt idx="518">
                  <c:v>45080</c:v>
                </c:pt>
                <c:pt idx="519">
                  <c:v>45081</c:v>
                </c:pt>
                <c:pt idx="520">
                  <c:v>45082</c:v>
                </c:pt>
                <c:pt idx="521">
                  <c:v>45083</c:v>
                </c:pt>
                <c:pt idx="522">
                  <c:v>45084</c:v>
                </c:pt>
                <c:pt idx="523">
                  <c:v>45085</c:v>
                </c:pt>
                <c:pt idx="524">
                  <c:v>45086</c:v>
                </c:pt>
                <c:pt idx="525">
                  <c:v>45087</c:v>
                </c:pt>
                <c:pt idx="526">
                  <c:v>45088</c:v>
                </c:pt>
                <c:pt idx="527">
                  <c:v>45089</c:v>
                </c:pt>
                <c:pt idx="528">
                  <c:v>45090</c:v>
                </c:pt>
                <c:pt idx="529">
                  <c:v>45091</c:v>
                </c:pt>
                <c:pt idx="530">
                  <c:v>45092</c:v>
                </c:pt>
                <c:pt idx="531">
                  <c:v>45093</c:v>
                </c:pt>
                <c:pt idx="532">
                  <c:v>45094</c:v>
                </c:pt>
                <c:pt idx="533">
                  <c:v>45095</c:v>
                </c:pt>
                <c:pt idx="534">
                  <c:v>45096</c:v>
                </c:pt>
                <c:pt idx="535">
                  <c:v>45097</c:v>
                </c:pt>
                <c:pt idx="536">
                  <c:v>45098</c:v>
                </c:pt>
                <c:pt idx="537">
                  <c:v>45099</c:v>
                </c:pt>
                <c:pt idx="538">
                  <c:v>45100</c:v>
                </c:pt>
                <c:pt idx="539">
                  <c:v>45101</c:v>
                </c:pt>
                <c:pt idx="540">
                  <c:v>45102</c:v>
                </c:pt>
                <c:pt idx="541">
                  <c:v>45103</c:v>
                </c:pt>
                <c:pt idx="542">
                  <c:v>45104</c:v>
                </c:pt>
                <c:pt idx="543">
                  <c:v>45105</c:v>
                </c:pt>
                <c:pt idx="544">
                  <c:v>45106</c:v>
                </c:pt>
                <c:pt idx="545">
                  <c:v>45107</c:v>
                </c:pt>
                <c:pt idx="546">
                  <c:v>45108</c:v>
                </c:pt>
                <c:pt idx="547">
                  <c:v>45109</c:v>
                </c:pt>
                <c:pt idx="548">
                  <c:v>45110</c:v>
                </c:pt>
                <c:pt idx="549">
                  <c:v>45111</c:v>
                </c:pt>
                <c:pt idx="550">
                  <c:v>45112</c:v>
                </c:pt>
                <c:pt idx="551">
                  <c:v>45113</c:v>
                </c:pt>
                <c:pt idx="552">
                  <c:v>45114</c:v>
                </c:pt>
                <c:pt idx="553">
                  <c:v>45115</c:v>
                </c:pt>
                <c:pt idx="554">
                  <c:v>45116</c:v>
                </c:pt>
                <c:pt idx="555">
                  <c:v>45117</c:v>
                </c:pt>
                <c:pt idx="556">
                  <c:v>45118</c:v>
                </c:pt>
                <c:pt idx="557">
                  <c:v>45119</c:v>
                </c:pt>
                <c:pt idx="558">
                  <c:v>45120</c:v>
                </c:pt>
                <c:pt idx="559">
                  <c:v>45121</c:v>
                </c:pt>
                <c:pt idx="560">
                  <c:v>45122</c:v>
                </c:pt>
                <c:pt idx="561">
                  <c:v>45123</c:v>
                </c:pt>
                <c:pt idx="562">
                  <c:v>45124</c:v>
                </c:pt>
                <c:pt idx="563">
                  <c:v>45125</c:v>
                </c:pt>
                <c:pt idx="564">
                  <c:v>45126</c:v>
                </c:pt>
                <c:pt idx="565">
                  <c:v>45127</c:v>
                </c:pt>
                <c:pt idx="566">
                  <c:v>45128</c:v>
                </c:pt>
                <c:pt idx="567">
                  <c:v>45129</c:v>
                </c:pt>
                <c:pt idx="568">
                  <c:v>45130</c:v>
                </c:pt>
                <c:pt idx="569">
                  <c:v>45131</c:v>
                </c:pt>
                <c:pt idx="570">
                  <c:v>45132</c:v>
                </c:pt>
                <c:pt idx="571">
                  <c:v>45133</c:v>
                </c:pt>
                <c:pt idx="572">
                  <c:v>45134</c:v>
                </c:pt>
                <c:pt idx="573">
                  <c:v>45135</c:v>
                </c:pt>
                <c:pt idx="574">
                  <c:v>45136</c:v>
                </c:pt>
                <c:pt idx="575">
                  <c:v>45137</c:v>
                </c:pt>
                <c:pt idx="576">
                  <c:v>45138</c:v>
                </c:pt>
                <c:pt idx="577">
                  <c:v>45139</c:v>
                </c:pt>
                <c:pt idx="578">
                  <c:v>45140</c:v>
                </c:pt>
                <c:pt idx="579">
                  <c:v>45141</c:v>
                </c:pt>
                <c:pt idx="580">
                  <c:v>45142</c:v>
                </c:pt>
                <c:pt idx="581">
                  <c:v>45143</c:v>
                </c:pt>
                <c:pt idx="582">
                  <c:v>45144</c:v>
                </c:pt>
                <c:pt idx="583">
                  <c:v>45145</c:v>
                </c:pt>
                <c:pt idx="584">
                  <c:v>45146</c:v>
                </c:pt>
                <c:pt idx="585">
                  <c:v>45147</c:v>
                </c:pt>
                <c:pt idx="586">
                  <c:v>45148</c:v>
                </c:pt>
                <c:pt idx="587">
                  <c:v>45149</c:v>
                </c:pt>
                <c:pt idx="588">
                  <c:v>45150</c:v>
                </c:pt>
                <c:pt idx="589">
                  <c:v>45151</c:v>
                </c:pt>
                <c:pt idx="590">
                  <c:v>45152</c:v>
                </c:pt>
                <c:pt idx="591">
                  <c:v>45153</c:v>
                </c:pt>
                <c:pt idx="592">
                  <c:v>45154</c:v>
                </c:pt>
                <c:pt idx="593">
                  <c:v>45155</c:v>
                </c:pt>
                <c:pt idx="594">
                  <c:v>45156</c:v>
                </c:pt>
                <c:pt idx="595">
                  <c:v>45157</c:v>
                </c:pt>
                <c:pt idx="596">
                  <c:v>45158</c:v>
                </c:pt>
                <c:pt idx="597">
                  <c:v>45159</c:v>
                </c:pt>
                <c:pt idx="598">
                  <c:v>45160</c:v>
                </c:pt>
                <c:pt idx="599">
                  <c:v>45161</c:v>
                </c:pt>
                <c:pt idx="600">
                  <c:v>45162</c:v>
                </c:pt>
                <c:pt idx="601">
                  <c:v>45163</c:v>
                </c:pt>
                <c:pt idx="602">
                  <c:v>45164</c:v>
                </c:pt>
                <c:pt idx="603">
                  <c:v>45165</c:v>
                </c:pt>
                <c:pt idx="604">
                  <c:v>45166</c:v>
                </c:pt>
                <c:pt idx="605">
                  <c:v>45167</c:v>
                </c:pt>
                <c:pt idx="606">
                  <c:v>45168</c:v>
                </c:pt>
                <c:pt idx="607">
                  <c:v>45169</c:v>
                </c:pt>
                <c:pt idx="608">
                  <c:v>45170</c:v>
                </c:pt>
                <c:pt idx="609">
                  <c:v>45171</c:v>
                </c:pt>
                <c:pt idx="610">
                  <c:v>45172</c:v>
                </c:pt>
                <c:pt idx="611">
                  <c:v>45173</c:v>
                </c:pt>
                <c:pt idx="612">
                  <c:v>45174</c:v>
                </c:pt>
                <c:pt idx="613">
                  <c:v>45175</c:v>
                </c:pt>
                <c:pt idx="614">
                  <c:v>45176</c:v>
                </c:pt>
                <c:pt idx="615">
                  <c:v>45177</c:v>
                </c:pt>
                <c:pt idx="616">
                  <c:v>45178</c:v>
                </c:pt>
                <c:pt idx="617">
                  <c:v>45179</c:v>
                </c:pt>
                <c:pt idx="618">
                  <c:v>45180</c:v>
                </c:pt>
                <c:pt idx="619">
                  <c:v>45181</c:v>
                </c:pt>
                <c:pt idx="620">
                  <c:v>45182</c:v>
                </c:pt>
                <c:pt idx="621">
                  <c:v>45183</c:v>
                </c:pt>
                <c:pt idx="622">
                  <c:v>45184</c:v>
                </c:pt>
                <c:pt idx="623">
                  <c:v>45185</c:v>
                </c:pt>
                <c:pt idx="624">
                  <c:v>45186</c:v>
                </c:pt>
                <c:pt idx="625">
                  <c:v>45187</c:v>
                </c:pt>
                <c:pt idx="626">
                  <c:v>45188</c:v>
                </c:pt>
                <c:pt idx="627">
                  <c:v>45189</c:v>
                </c:pt>
                <c:pt idx="628">
                  <c:v>45190</c:v>
                </c:pt>
                <c:pt idx="629">
                  <c:v>45191</c:v>
                </c:pt>
                <c:pt idx="630">
                  <c:v>45192</c:v>
                </c:pt>
                <c:pt idx="631">
                  <c:v>45193</c:v>
                </c:pt>
                <c:pt idx="632">
                  <c:v>45194</c:v>
                </c:pt>
                <c:pt idx="633">
                  <c:v>45195</c:v>
                </c:pt>
                <c:pt idx="634">
                  <c:v>45196</c:v>
                </c:pt>
                <c:pt idx="635">
                  <c:v>45197</c:v>
                </c:pt>
                <c:pt idx="636">
                  <c:v>45198</c:v>
                </c:pt>
                <c:pt idx="637">
                  <c:v>45199</c:v>
                </c:pt>
                <c:pt idx="638">
                  <c:v>45200</c:v>
                </c:pt>
                <c:pt idx="639">
                  <c:v>45201</c:v>
                </c:pt>
                <c:pt idx="640">
                  <c:v>45202</c:v>
                </c:pt>
                <c:pt idx="641">
                  <c:v>45203</c:v>
                </c:pt>
                <c:pt idx="642">
                  <c:v>45204</c:v>
                </c:pt>
                <c:pt idx="643">
                  <c:v>45205</c:v>
                </c:pt>
                <c:pt idx="644">
                  <c:v>45206</c:v>
                </c:pt>
                <c:pt idx="645">
                  <c:v>45207</c:v>
                </c:pt>
                <c:pt idx="646">
                  <c:v>45208</c:v>
                </c:pt>
                <c:pt idx="647">
                  <c:v>45209</c:v>
                </c:pt>
                <c:pt idx="648">
                  <c:v>45210</c:v>
                </c:pt>
                <c:pt idx="649">
                  <c:v>45211</c:v>
                </c:pt>
                <c:pt idx="650">
                  <c:v>45212</c:v>
                </c:pt>
                <c:pt idx="651">
                  <c:v>45213</c:v>
                </c:pt>
                <c:pt idx="652">
                  <c:v>45214</c:v>
                </c:pt>
                <c:pt idx="653">
                  <c:v>45215</c:v>
                </c:pt>
                <c:pt idx="654">
                  <c:v>45216</c:v>
                </c:pt>
                <c:pt idx="655">
                  <c:v>45217</c:v>
                </c:pt>
                <c:pt idx="656">
                  <c:v>45218</c:v>
                </c:pt>
                <c:pt idx="657">
                  <c:v>45219</c:v>
                </c:pt>
                <c:pt idx="658">
                  <c:v>45220</c:v>
                </c:pt>
                <c:pt idx="659">
                  <c:v>45221</c:v>
                </c:pt>
                <c:pt idx="660">
                  <c:v>45222</c:v>
                </c:pt>
                <c:pt idx="661">
                  <c:v>45223</c:v>
                </c:pt>
                <c:pt idx="662">
                  <c:v>45224</c:v>
                </c:pt>
                <c:pt idx="663">
                  <c:v>45225</c:v>
                </c:pt>
                <c:pt idx="664">
                  <c:v>45226</c:v>
                </c:pt>
                <c:pt idx="665">
                  <c:v>45227</c:v>
                </c:pt>
                <c:pt idx="666">
                  <c:v>45228</c:v>
                </c:pt>
                <c:pt idx="667">
                  <c:v>45229</c:v>
                </c:pt>
                <c:pt idx="668">
                  <c:v>45230</c:v>
                </c:pt>
                <c:pt idx="669">
                  <c:v>45231</c:v>
                </c:pt>
                <c:pt idx="670">
                  <c:v>45232</c:v>
                </c:pt>
                <c:pt idx="671">
                  <c:v>45233</c:v>
                </c:pt>
                <c:pt idx="672">
                  <c:v>45234</c:v>
                </c:pt>
                <c:pt idx="673">
                  <c:v>45235</c:v>
                </c:pt>
                <c:pt idx="674">
                  <c:v>45236</c:v>
                </c:pt>
                <c:pt idx="675">
                  <c:v>45237</c:v>
                </c:pt>
                <c:pt idx="676">
                  <c:v>45238</c:v>
                </c:pt>
                <c:pt idx="677">
                  <c:v>45239</c:v>
                </c:pt>
                <c:pt idx="678">
                  <c:v>45240</c:v>
                </c:pt>
                <c:pt idx="679">
                  <c:v>45241</c:v>
                </c:pt>
                <c:pt idx="680">
                  <c:v>45242</c:v>
                </c:pt>
                <c:pt idx="681">
                  <c:v>45243</c:v>
                </c:pt>
                <c:pt idx="682">
                  <c:v>45244</c:v>
                </c:pt>
                <c:pt idx="683">
                  <c:v>45245</c:v>
                </c:pt>
                <c:pt idx="684">
                  <c:v>45246</c:v>
                </c:pt>
                <c:pt idx="685">
                  <c:v>45247</c:v>
                </c:pt>
                <c:pt idx="686">
                  <c:v>45248</c:v>
                </c:pt>
                <c:pt idx="687">
                  <c:v>45249</c:v>
                </c:pt>
                <c:pt idx="688">
                  <c:v>45250</c:v>
                </c:pt>
                <c:pt idx="689">
                  <c:v>45251</c:v>
                </c:pt>
                <c:pt idx="690">
                  <c:v>45252</c:v>
                </c:pt>
                <c:pt idx="691">
                  <c:v>45253</c:v>
                </c:pt>
                <c:pt idx="692">
                  <c:v>45254</c:v>
                </c:pt>
                <c:pt idx="693">
                  <c:v>45255</c:v>
                </c:pt>
                <c:pt idx="694">
                  <c:v>45256</c:v>
                </c:pt>
                <c:pt idx="695">
                  <c:v>45257</c:v>
                </c:pt>
                <c:pt idx="696">
                  <c:v>45258</c:v>
                </c:pt>
                <c:pt idx="697">
                  <c:v>45259</c:v>
                </c:pt>
                <c:pt idx="698">
                  <c:v>45260</c:v>
                </c:pt>
                <c:pt idx="699">
                  <c:v>45261</c:v>
                </c:pt>
                <c:pt idx="700">
                  <c:v>45262</c:v>
                </c:pt>
                <c:pt idx="701">
                  <c:v>45263</c:v>
                </c:pt>
                <c:pt idx="702">
                  <c:v>45264</c:v>
                </c:pt>
                <c:pt idx="703">
                  <c:v>45265</c:v>
                </c:pt>
                <c:pt idx="704">
                  <c:v>45266</c:v>
                </c:pt>
                <c:pt idx="705">
                  <c:v>45267</c:v>
                </c:pt>
                <c:pt idx="706">
                  <c:v>45268</c:v>
                </c:pt>
                <c:pt idx="707">
                  <c:v>45269</c:v>
                </c:pt>
                <c:pt idx="708">
                  <c:v>45270</c:v>
                </c:pt>
                <c:pt idx="709">
                  <c:v>45271</c:v>
                </c:pt>
                <c:pt idx="710">
                  <c:v>45272</c:v>
                </c:pt>
                <c:pt idx="711">
                  <c:v>45273</c:v>
                </c:pt>
                <c:pt idx="712">
                  <c:v>45274</c:v>
                </c:pt>
                <c:pt idx="713">
                  <c:v>45275</c:v>
                </c:pt>
                <c:pt idx="714">
                  <c:v>45276</c:v>
                </c:pt>
                <c:pt idx="715">
                  <c:v>45277</c:v>
                </c:pt>
                <c:pt idx="716">
                  <c:v>45278</c:v>
                </c:pt>
                <c:pt idx="717">
                  <c:v>45279</c:v>
                </c:pt>
                <c:pt idx="718">
                  <c:v>45280</c:v>
                </c:pt>
                <c:pt idx="719">
                  <c:v>45281</c:v>
                </c:pt>
                <c:pt idx="720">
                  <c:v>45282</c:v>
                </c:pt>
                <c:pt idx="721">
                  <c:v>45283</c:v>
                </c:pt>
                <c:pt idx="722">
                  <c:v>45284</c:v>
                </c:pt>
                <c:pt idx="723">
                  <c:v>45285</c:v>
                </c:pt>
                <c:pt idx="724">
                  <c:v>45286</c:v>
                </c:pt>
                <c:pt idx="725">
                  <c:v>45287</c:v>
                </c:pt>
                <c:pt idx="726">
                  <c:v>45288</c:v>
                </c:pt>
                <c:pt idx="727">
                  <c:v>45289</c:v>
                </c:pt>
                <c:pt idx="728">
                  <c:v>45290</c:v>
                </c:pt>
                <c:pt idx="729">
                  <c:v>45291</c:v>
                </c:pt>
                <c:pt idx="730">
                  <c:v>45292</c:v>
                </c:pt>
                <c:pt idx="731">
                  <c:v>45293</c:v>
                </c:pt>
                <c:pt idx="732">
                  <c:v>45294</c:v>
                </c:pt>
                <c:pt idx="733">
                  <c:v>45295</c:v>
                </c:pt>
                <c:pt idx="734">
                  <c:v>45296</c:v>
                </c:pt>
                <c:pt idx="735">
                  <c:v>45297</c:v>
                </c:pt>
                <c:pt idx="736">
                  <c:v>45298</c:v>
                </c:pt>
                <c:pt idx="737">
                  <c:v>45299</c:v>
                </c:pt>
                <c:pt idx="738">
                  <c:v>45300</c:v>
                </c:pt>
                <c:pt idx="739">
                  <c:v>45301</c:v>
                </c:pt>
                <c:pt idx="740">
                  <c:v>45302</c:v>
                </c:pt>
                <c:pt idx="741">
                  <c:v>45303</c:v>
                </c:pt>
                <c:pt idx="742">
                  <c:v>45304</c:v>
                </c:pt>
                <c:pt idx="743">
                  <c:v>45305</c:v>
                </c:pt>
                <c:pt idx="744">
                  <c:v>45306</c:v>
                </c:pt>
                <c:pt idx="745">
                  <c:v>45307</c:v>
                </c:pt>
                <c:pt idx="746">
                  <c:v>45308</c:v>
                </c:pt>
                <c:pt idx="747">
                  <c:v>45309</c:v>
                </c:pt>
                <c:pt idx="748">
                  <c:v>45310</c:v>
                </c:pt>
                <c:pt idx="749">
                  <c:v>45311</c:v>
                </c:pt>
                <c:pt idx="750">
                  <c:v>45312</c:v>
                </c:pt>
                <c:pt idx="751">
                  <c:v>45313</c:v>
                </c:pt>
                <c:pt idx="752">
                  <c:v>45314</c:v>
                </c:pt>
                <c:pt idx="753">
                  <c:v>45315</c:v>
                </c:pt>
                <c:pt idx="754">
                  <c:v>45316</c:v>
                </c:pt>
                <c:pt idx="755">
                  <c:v>45317</c:v>
                </c:pt>
                <c:pt idx="756">
                  <c:v>45318</c:v>
                </c:pt>
                <c:pt idx="757">
                  <c:v>45319</c:v>
                </c:pt>
                <c:pt idx="758">
                  <c:v>45320</c:v>
                </c:pt>
                <c:pt idx="759">
                  <c:v>45321</c:v>
                </c:pt>
                <c:pt idx="760">
                  <c:v>45322</c:v>
                </c:pt>
                <c:pt idx="761">
                  <c:v>45323</c:v>
                </c:pt>
                <c:pt idx="762">
                  <c:v>45324</c:v>
                </c:pt>
                <c:pt idx="763">
                  <c:v>45325</c:v>
                </c:pt>
                <c:pt idx="764">
                  <c:v>45326</c:v>
                </c:pt>
                <c:pt idx="765">
                  <c:v>45327</c:v>
                </c:pt>
                <c:pt idx="766">
                  <c:v>45328</c:v>
                </c:pt>
                <c:pt idx="767">
                  <c:v>45329</c:v>
                </c:pt>
                <c:pt idx="768">
                  <c:v>45330</c:v>
                </c:pt>
                <c:pt idx="769">
                  <c:v>45331</c:v>
                </c:pt>
                <c:pt idx="770">
                  <c:v>45332</c:v>
                </c:pt>
                <c:pt idx="771">
                  <c:v>45333</c:v>
                </c:pt>
                <c:pt idx="772">
                  <c:v>45334</c:v>
                </c:pt>
                <c:pt idx="773">
                  <c:v>45335</c:v>
                </c:pt>
                <c:pt idx="774">
                  <c:v>45336</c:v>
                </c:pt>
                <c:pt idx="775">
                  <c:v>45337</c:v>
                </c:pt>
                <c:pt idx="776">
                  <c:v>45338</c:v>
                </c:pt>
                <c:pt idx="777">
                  <c:v>45339</c:v>
                </c:pt>
                <c:pt idx="778">
                  <c:v>45340</c:v>
                </c:pt>
                <c:pt idx="779">
                  <c:v>45341</c:v>
                </c:pt>
                <c:pt idx="780">
                  <c:v>45342</c:v>
                </c:pt>
                <c:pt idx="781">
                  <c:v>45343</c:v>
                </c:pt>
                <c:pt idx="782">
                  <c:v>45344</c:v>
                </c:pt>
                <c:pt idx="783">
                  <c:v>45345</c:v>
                </c:pt>
                <c:pt idx="784">
                  <c:v>45346</c:v>
                </c:pt>
                <c:pt idx="785">
                  <c:v>45347</c:v>
                </c:pt>
                <c:pt idx="786">
                  <c:v>45348</c:v>
                </c:pt>
                <c:pt idx="787">
                  <c:v>45349</c:v>
                </c:pt>
                <c:pt idx="788">
                  <c:v>45350</c:v>
                </c:pt>
                <c:pt idx="789">
                  <c:v>45351</c:v>
                </c:pt>
                <c:pt idx="790">
                  <c:v>45352</c:v>
                </c:pt>
                <c:pt idx="791">
                  <c:v>45353</c:v>
                </c:pt>
                <c:pt idx="792">
                  <c:v>45354</c:v>
                </c:pt>
                <c:pt idx="793">
                  <c:v>45355</c:v>
                </c:pt>
                <c:pt idx="794">
                  <c:v>45356</c:v>
                </c:pt>
                <c:pt idx="795">
                  <c:v>45357</c:v>
                </c:pt>
                <c:pt idx="796">
                  <c:v>45358</c:v>
                </c:pt>
                <c:pt idx="797">
                  <c:v>45359</c:v>
                </c:pt>
                <c:pt idx="798">
                  <c:v>45360</c:v>
                </c:pt>
                <c:pt idx="799">
                  <c:v>45361</c:v>
                </c:pt>
                <c:pt idx="800">
                  <c:v>45362</c:v>
                </c:pt>
                <c:pt idx="801">
                  <c:v>45363</c:v>
                </c:pt>
                <c:pt idx="802">
                  <c:v>45364</c:v>
                </c:pt>
                <c:pt idx="803">
                  <c:v>45365</c:v>
                </c:pt>
                <c:pt idx="804">
                  <c:v>45366</c:v>
                </c:pt>
                <c:pt idx="805">
                  <c:v>45367</c:v>
                </c:pt>
                <c:pt idx="806">
                  <c:v>45368</c:v>
                </c:pt>
                <c:pt idx="807">
                  <c:v>45369</c:v>
                </c:pt>
                <c:pt idx="808">
                  <c:v>45370</c:v>
                </c:pt>
                <c:pt idx="809">
                  <c:v>45371</c:v>
                </c:pt>
                <c:pt idx="810">
                  <c:v>45372</c:v>
                </c:pt>
                <c:pt idx="811">
                  <c:v>45373</c:v>
                </c:pt>
                <c:pt idx="812">
                  <c:v>45374</c:v>
                </c:pt>
                <c:pt idx="813">
                  <c:v>45375</c:v>
                </c:pt>
                <c:pt idx="814">
                  <c:v>45376</c:v>
                </c:pt>
                <c:pt idx="815">
                  <c:v>45377</c:v>
                </c:pt>
                <c:pt idx="816">
                  <c:v>45378</c:v>
                </c:pt>
                <c:pt idx="817">
                  <c:v>45379</c:v>
                </c:pt>
                <c:pt idx="818">
                  <c:v>45380</c:v>
                </c:pt>
                <c:pt idx="819">
                  <c:v>45381</c:v>
                </c:pt>
                <c:pt idx="820">
                  <c:v>45382</c:v>
                </c:pt>
                <c:pt idx="821">
                  <c:v>45383</c:v>
                </c:pt>
                <c:pt idx="822">
                  <c:v>45384</c:v>
                </c:pt>
                <c:pt idx="823">
                  <c:v>45385</c:v>
                </c:pt>
                <c:pt idx="824">
                  <c:v>45386</c:v>
                </c:pt>
                <c:pt idx="825">
                  <c:v>45387</c:v>
                </c:pt>
                <c:pt idx="826">
                  <c:v>45388</c:v>
                </c:pt>
                <c:pt idx="827">
                  <c:v>45389</c:v>
                </c:pt>
                <c:pt idx="828">
                  <c:v>45390</c:v>
                </c:pt>
                <c:pt idx="829">
                  <c:v>45391</c:v>
                </c:pt>
                <c:pt idx="830">
                  <c:v>45392</c:v>
                </c:pt>
                <c:pt idx="831">
                  <c:v>45393</c:v>
                </c:pt>
                <c:pt idx="832">
                  <c:v>45394</c:v>
                </c:pt>
                <c:pt idx="833">
                  <c:v>45395</c:v>
                </c:pt>
                <c:pt idx="834">
                  <c:v>45396</c:v>
                </c:pt>
                <c:pt idx="835">
                  <c:v>45397</c:v>
                </c:pt>
                <c:pt idx="836">
                  <c:v>45398</c:v>
                </c:pt>
                <c:pt idx="837">
                  <c:v>45399</c:v>
                </c:pt>
                <c:pt idx="838">
                  <c:v>45400</c:v>
                </c:pt>
                <c:pt idx="839">
                  <c:v>45401</c:v>
                </c:pt>
                <c:pt idx="840">
                  <c:v>45402</c:v>
                </c:pt>
                <c:pt idx="841">
                  <c:v>45403</c:v>
                </c:pt>
                <c:pt idx="842">
                  <c:v>45404</c:v>
                </c:pt>
                <c:pt idx="843">
                  <c:v>45405</c:v>
                </c:pt>
                <c:pt idx="844">
                  <c:v>45406</c:v>
                </c:pt>
                <c:pt idx="845">
                  <c:v>45407</c:v>
                </c:pt>
                <c:pt idx="846">
                  <c:v>45408</c:v>
                </c:pt>
                <c:pt idx="847">
                  <c:v>45409</c:v>
                </c:pt>
                <c:pt idx="848">
                  <c:v>45410</c:v>
                </c:pt>
                <c:pt idx="849">
                  <c:v>45411</c:v>
                </c:pt>
                <c:pt idx="850">
                  <c:v>45412</c:v>
                </c:pt>
                <c:pt idx="851">
                  <c:v>45413</c:v>
                </c:pt>
                <c:pt idx="852">
                  <c:v>45414</c:v>
                </c:pt>
                <c:pt idx="853">
                  <c:v>45415</c:v>
                </c:pt>
                <c:pt idx="854">
                  <c:v>45416</c:v>
                </c:pt>
                <c:pt idx="855">
                  <c:v>45417</c:v>
                </c:pt>
                <c:pt idx="856">
                  <c:v>45418</c:v>
                </c:pt>
                <c:pt idx="857">
                  <c:v>45419</c:v>
                </c:pt>
                <c:pt idx="858">
                  <c:v>45420</c:v>
                </c:pt>
                <c:pt idx="859">
                  <c:v>45421</c:v>
                </c:pt>
                <c:pt idx="860">
                  <c:v>45422</c:v>
                </c:pt>
                <c:pt idx="861">
                  <c:v>45423</c:v>
                </c:pt>
                <c:pt idx="862">
                  <c:v>45424</c:v>
                </c:pt>
                <c:pt idx="863">
                  <c:v>45425</c:v>
                </c:pt>
                <c:pt idx="864">
                  <c:v>45426</c:v>
                </c:pt>
                <c:pt idx="865">
                  <c:v>45427</c:v>
                </c:pt>
                <c:pt idx="866">
                  <c:v>45428</c:v>
                </c:pt>
                <c:pt idx="867">
                  <c:v>45429</c:v>
                </c:pt>
                <c:pt idx="868">
                  <c:v>45430</c:v>
                </c:pt>
                <c:pt idx="869">
                  <c:v>45431</c:v>
                </c:pt>
                <c:pt idx="870">
                  <c:v>45432</c:v>
                </c:pt>
                <c:pt idx="871">
                  <c:v>45433</c:v>
                </c:pt>
                <c:pt idx="872">
                  <c:v>45434</c:v>
                </c:pt>
                <c:pt idx="873">
                  <c:v>45435</c:v>
                </c:pt>
                <c:pt idx="874">
                  <c:v>45436</c:v>
                </c:pt>
                <c:pt idx="875">
                  <c:v>45437</c:v>
                </c:pt>
                <c:pt idx="876">
                  <c:v>45438</c:v>
                </c:pt>
                <c:pt idx="877">
                  <c:v>45439</c:v>
                </c:pt>
                <c:pt idx="878">
                  <c:v>45440</c:v>
                </c:pt>
                <c:pt idx="879">
                  <c:v>45441</c:v>
                </c:pt>
                <c:pt idx="880">
                  <c:v>45442</c:v>
                </c:pt>
                <c:pt idx="881">
                  <c:v>45443</c:v>
                </c:pt>
                <c:pt idx="882">
                  <c:v>45444</c:v>
                </c:pt>
                <c:pt idx="883">
                  <c:v>45445</c:v>
                </c:pt>
                <c:pt idx="884">
                  <c:v>45446</c:v>
                </c:pt>
                <c:pt idx="885">
                  <c:v>45447</c:v>
                </c:pt>
                <c:pt idx="886">
                  <c:v>45448</c:v>
                </c:pt>
                <c:pt idx="887">
                  <c:v>45449</c:v>
                </c:pt>
                <c:pt idx="888">
                  <c:v>45450</c:v>
                </c:pt>
                <c:pt idx="889">
                  <c:v>45451</c:v>
                </c:pt>
                <c:pt idx="890">
                  <c:v>45452</c:v>
                </c:pt>
                <c:pt idx="891">
                  <c:v>45453</c:v>
                </c:pt>
                <c:pt idx="892">
                  <c:v>45454</c:v>
                </c:pt>
                <c:pt idx="893">
                  <c:v>45455</c:v>
                </c:pt>
                <c:pt idx="894">
                  <c:v>45456</c:v>
                </c:pt>
                <c:pt idx="895">
                  <c:v>45457</c:v>
                </c:pt>
                <c:pt idx="896">
                  <c:v>45458</c:v>
                </c:pt>
                <c:pt idx="897">
                  <c:v>45459</c:v>
                </c:pt>
                <c:pt idx="898">
                  <c:v>45460</c:v>
                </c:pt>
                <c:pt idx="899">
                  <c:v>45461</c:v>
                </c:pt>
                <c:pt idx="900">
                  <c:v>45462</c:v>
                </c:pt>
                <c:pt idx="901">
                  <c:v>45463</c:v>
                </c:pt>
                <c:pt idx="902">
                  <c:v>45464</c:v>
                </c:pt>
                <c:pt idx="903">
                  <c:v>45465</c:v>
                </c:pt>
                <c:pt idx="904">
                  <c:v>45466</c:v>
                </c:pt>
                <c:pt idx="905">
                  <c:v>45467</c:v>
                </c:pt>
                <c:pt idx="906">
                  <c:v>45468</c:v>
                </c:pt>
                <c:pt idx="907">
                  <c:v>45469</c:v>
                </c:pt>
                <c:pt idx="908">
                  <c:v>45470</c:v>
                </c:pt>
                <c:pt idx="909">
                  <c:v>45471</c:v>
                </c:pt>
                <c:pt idx="910">
                  <c:v>45472</c:v>
                </c:pt>
                <c:pt idx="911">
                  <c:v>45473</c:v>
                </c:pt>
                <c:pt idx="912">
                  <c:v>45474</c:v>
                </c:pt>
                <c:pt idx="913">
                  <c:v>45475</c:v>
                </c:pt>
                <c:pt idx="914">
                  <c:v>45476</c:v>
                </c:pt>
                <c:pt idx="915">
                  <c:v>45477</c:v>
                </c:pt>
                <c:pt idx="916">
                  <c:v>45478</c:v>
                </c:pt>
                <c:pt idx="917">
                  <c:v>45479</c:v>
                </c:pt>
                <c:pt idx="918">
                  <c:v>45480</c:v>
                </c:pt>
                <c:pt idx="919">
                  <c:v>45481</c:v>
                </c:pt>
                <c:pt idx="920">
                  <c:v>45482</c:v>
                </c:pt>
                <c:pt idx="921">
                  <c:v>45483</c:v>
                </c:pt>
                <c:pt idx="922">
                  <c:v>45484</c:v>
                </c:pt>
                <c:pt idx="923">
                  <c:v>45485</c:v>
                </c:pt>
                <c:pt idx="924">
                  <c:v>45486</c:v>
                </c:pt>
                <c:pt idx="925">
                  <c:v>45487</c:v>
                </c:pt>
                <c:pt idx="926">
                  <c:v>45488</c:v>
                </c:pt>
                <c:pt idx="927">
                  <c:v>45489</c:v>
                </c:pt>
                <c:pt idx="928">
                  <c:v>45490</c:v>
                </c:pt>
                <c:pt idx="929">
                  <c:v>45491</c:v>
                </c:pt>
                <c:pt idx="930">
                  <c:v>45492</c:v>
                </c:pt>
                <c:pt idx="931">
                  <c:v>45493</c:v>
                </c:pt>
                <c:pt idx="932">
                  <c:v>45494</c:v>
                </c:pt>
                <c:pt idx="933">
                  <c:v>45495</c:v>
                </c:pt>
                <c:pt idx="934">
                  <c:v>45496</c:v>
                </c:pt>
                <c:pt idx="935">
                  <c:v>45497</c:v>
                </c:pt>
                <c:pt idx="936">
                  <c:v>45498</c:v>
                </c:pt>
                <c:pt idx="937">
                  <c:v>45499</c:v>
                </c:pt>
                <c:pt idx="938">
                  <c:v>45500</c:v>
                </c:pt>
                <c:pt idx="939">
                  <c:v>45501</c:v>
                </c:pt>
                <c:pt idx="940">
                  <c:v>45502</c:v>
                </c:pt>
                <c:pt idx="941">
                  <c:v>45503</c:v>
                </c:pt>
                <c:pt idx="942">
                  <c:v>45504</c:v>
                </c:pt>
                <c:pt idx="943">
                  <c:v>45505</c:v>
                </c:pt>
                <c:pt idx="944">
                  <c:v>45506</c:v>
                </c:pt>
                <c:pt idx="945">
                  <c:v>45507</c:v>
                </c:pt>
                <c:pt idx="946">
                  <c:v>45508</c:v>
                </c:pt>
                <c:pt idx="947">
                  <c:v>45509</c:v>
                </c:pt>
                <c:pt idx="948">
                  <c:v>45510</c:v>
                </c:pt>
                <c:pt idx="949">
                  <c:v>45511</c:v>
                </c:pt>
                <c:pt idx="950">
                  <c:v>45512</c:v>
                </c:pt>
                <c:pt idx="951">
                  <c:v>45513</c:v>
                </c:pt>
                <c:pt idx="952">
                  <c:v>45514</c:v>
                </c:pt>
                <c:pt idx="953">
                  <c:v>45515</c:v>
                </c:pt>
                <c:pt idx="954">
                  <c:v>45516</c:v>
                </c:pt>
                <c:pt idx="955">
                  <c:v>45517</c:v>
                </c:pt>
                <c:pt idx="956">
                  <c:v>45518</c:v>
                </c:pt>
                <c:pt idx="957">
                  <c:v>45519</c:v>
                </c:pt>
                <c:pt idx="958">
                  <c:v>45520</c:v>
                </c:pt>
                <c:pt idx="959">
                  <c:v>45521</c:v>
                </c:pt>
                <c:pt idx="960">
                  <c:v>45522</c:v>
                </c:pt>
                <c:pt idx="961">
                  <c:v>45523</c:v>
                </c:pt>
                <c:pt idx="962">
                  <c:v>45524</c:v>
                </c:pt>
                <c:pt idx="963">
                  <c:v>45525</c:v>
                </c:pt>
                <c:pt idx="964">
                  <c:v>45526</c:v>
                </c:pt>
                <c:pt idx="965">
                  <c:v>45527</c:v>
                </c:pt>
                <c:pt idx="966">
                  <c:v>45528</c:v>
                </c:pt>
                <c:pt idx="967">
                  <c:v>45529</c:v>
                </c:pt>
                <c:pt idx="968">
                  <c:v>45530</c:v>
                </c:pt>
                <c:pt idx="969">
                  <c:v>45531</c:v>
                </c:pt>
                <c:pt idx="970">
                  <c:v>45532</c:v>
                </c:pt>
                <c:pt idx="971">
                  <c:v>45533</c:v>
                </c:pt>
                <c:pt idx="972">
                  <c:v>45534</c:v>
                </c:pt>
                <c:pt idx="973">
                  <c:v>45535</c:v>
                </c:pt>
                <c:pt idx="974">
                  <c:v>45536</c:v>
                </c:pt>
                <c:pt idx="975">
                  <c:v>45537</c:v>
                </c:pt>
                <c:pt idx="976">
                  <c:v>45538</c:v>
                </c:pt>
                <c:pt idx="977">
                  <c:v>45539</c:v>
                </c:pt>
                <c:pt idx="978">
                  <c:v>45540</c:v>
                </c:pt>
                <c:pt idx="979">
                  <c:v>45541</c:v>
                </c:pt>
                <c:pt idx="980">
                  <c:v>45542</c:v>
                </c:pt>
                <c:pt idx="981">
                  <c:v>45543</c:v>
                </c:pt>
                <c:pt idx="982">
                  <c:v>45544</c:v>
                </c:pt>
                <c:pt idx="983">
                  <c:v>45545</c:v>
                </c:pt>
                <c:pt idx="984">
                  <c:v>45546</c:v>
                </c:pt>
                <c:pt idx="985">
                  <c:v>45547</c:v>
                </c:pt>
                <c:pt idx="986">
                  <c:v>45548</c:v>
                </c:pt>
                <c:pt idx="987">
                  <c:v>45549</c:v>
                </c:pt>
                <c:pt idx="988">
                  <c:v>45550</c:v>
                </c:pt>
                <c:pt idx="989">
                  <c:v>45551</c:v>
                </c:pt>
                <c:pt idx="990">
                  <c:v>45552</c:v>
                </c:pt>
                <c:pt idx="991">
                  <c:v>45553</c:v>
                </c:pt>
                <c:pt idx="992">
                  <c:v>45554</c:v>
                </c:pt>
                <c:pt idx="993">
                  <c:v>45555</c:v>
                </c:pt>
                <c:pt idx="994">
                  <c:v>45556</c:v>
                </c:pt>
                <c:pt idx="995">
                  <c:v>45557</c:v>
                </c:pt>
                <c:pt idx="996">
                  <c:v>45558</c:v>
                </c:pt>
                <c:pt idx="997">
                  <c:v>45559</c:v>
                </c:pt>
                <c:pt idx="998">
                  <c:v>45560</c:v>
                </c:pt>
                <c:pt idx="999">
                  <c:v>45561</c:v>
                </c:pt>
                <c:pt idx="1000">
                  <c:v>45562</c:v>
                </c:pt>
                <c:pt idx="1001">
                  <c:v>45563</c:v>
                </c:pt>
                <c:pt idx="1002">
                  <c:v>45564</c:v>
                </c:pt>
                <c:pt idx="1003">
                  <c:v>45565</c:v>
                </c:pt>
                <c:pt idx="1004">
                  <c:v>45566</c:v>
                </c:pt>
                <c:pt idx="1005">
                  <c:v>45567</c:v>
                </c:pt>
                <c:pt idx="1006">
                  <c:v>45568</c:v>
                </c:pt>
                <c:pt idx="1007">
                  <c:v>45569</c:v>
                </c:pt>
                <c:pt idx="1008">
                  <c:v>45570</c:v>
                </c:pt>
                <c:pt idx="1009">
                  <c:v>45571</c:v>
                </c:pt>
                <c:pt idx="1010">
                  <c:v>45572</c:v>
                </c:pt>
                <c:pt idx="1011">
                  <c:v>45573</c:v>
                </c:pt>
                <c:pt idx="1012">
                  <c:v>45574</c:v>
                </c:pt>
                <c:pt idx="1013">
                  <c:v>45575</c:v>
                </c:pt>
                <c:pt idx="1014">
                  <c:v>45576</c:v>
                </c:pt>
                <c:pt idx="1015">
                  <c:v>45577</c:v>
                </c:pt>
                <c:pt idx="1016">
                  <c:v>45578</c:v>
                </c:pt>
                <c:pt idx="1017">
                  <c:v>45579</c:v>
                </c:pt>
                <c:pt idx="1018">
                  <c:v>45580</c:v>
                </c:pt>
                <c:pt idx="1019">
                  <c:v>45581</c:v>
                </c:pt>
                <c:pt idx="1020">
                  <c:v>45582</c:v>
                </c:pt>
                <c:pt idx="1021">
                  <c:v>45583</c:v>
                </c:pt>
                <c:pt idx="1022">
                  <c:v>45584</c:v>
                </c:pt>
                <c:pt idx="1023">
                  <c:v>45585</c:v>
                </c:pt>
                <c:pt idx="1024">
                  <c:v>45586</c:v>
                </c:pt>
                <c:pt idx="1025">
                  <c:v>45587</c:v>
                </c:pt>
                <c:pt idx="1026">
                  <c:v>45588</c:v>
                </c:pt>
                <c:pt idx="1027">
                  <c:v>45589</c:v>
                </c:pt>
                <c:pt idx="1028">
                  <c:v>45590</c:v>
                </c:pt>
                <c:pt idx="1029">
                  <c:v>45591</c:v>
                </c:pt>
                <c:pt idx="1030">
                  <c:v>45592</c:v>
                </c:pt>
                <c:pt idx="1031">
                  <c:v>45593</c:v>
                </c:pt>
                <c:pt idx="1032">
                  <c:v>45594</c:v>
                </c:pt>
                <c:pt idx="1033">
                  <c:v>45595</c:v>
                </c:pt>
                <c:pt idx="1034">
                  <c:v>45596</c:v>
                </c:pt>
                <c:pt idx="1035">
                  <c:v>45597</c:v>
                </c:pt>
                <c:pt idx="1036">
                  <c:v>45598</c:v>
                </c:pt>
                <c:pt idx="1037">
                  <c:v>45599</c:v>
                </c:pt>
                <c:pt idx="1038">
                  <c:v>45600</c:v>
                </c:pt>
                <c:pt idx="1039">
                  <c:v>45601</c:v>
                </c:pt>
                <c:pt idx="1040">
                  <c:v>45602</c:v>
                </c:pt>
                <c:pt idx="1041">
                  <c:v>45603</c:v>
                </c:pt>
                <c:pt idx="1042">
                  <c:v>45604</c:v>
                </c:pt>
                <c:pt idx="1043">
                  <c:v>45605</c:v>
                </c:pt>
                <c:pt idx="1044">
                  <c:v>45606</c:v>
                </c:pt>
                <c:pt idx="1045">
                  <c:v>45607</c:v>
                </c:pt>
                <c:pt idx="1046">
                  <c:v>45608</c:v>
                </c:pt>
                <c:pt idx="1047">
                  <c:v>45609</c:v>
                </c:pt>
                <c:pt idx="1048">
                  <c:v>45610</c:v>
                </c:pt>
                <c:pt idx="1049">
                  <c:v>45611</c:v>
                </c:pt>
                <c:pt idx="1050">
                  <c:v>45612</c:v>
                </c:pt>
                <c:pt idx="1051">
                  <c:v>45613</c:v>
                </c:pt>
                <c:pt idx="1052">
                  <c:v>45614</c:v>
                </c:pt>
                <c:pt idx="1053">
                  <c:v>45615</c:v>
                </c:pt>
                <c:pt idx="1054">
                  <c:v>45616</c:v>
                </c:pt>
                <c:pt idx="1055">
                  <c:v>45617</c:v>
                </c:pt>
                <c:pt idx="1056">
                  <c:v>45618</c:v>
                </c:pt>
                <c:pt idx="1057">
                  <c:v>45619</c:v>
                </c:pt>
                <c:pt idx="1058">
                  <c:v>45620</c:v>
                </c:pt>
                <c:pt idx="1059">
                  <c:v>45621</c:v>
                </c:pt>
                <c:pt idx="1060">
                  <c:v>45622</c:v>
                </c:pt>
                <c:pt idx="1061">
                  <c:v>45623</c:v>
                </c:pt>
                <c:pt idx="1062">
                  <c:v>45624</c:v>
                </c:pt>
                <c:pt idx="1063">
                  <c:v>45625</c:v>
                </c:pt>
                <c:pt idx="1064">
                  <c:v>45626</c:v>
                </c:pt>
                <c:pt idx="1065">
                  <c:v>45627</c:v>
                </c:pt>
                <c:pt idx="1066">
                  <c:v>45628</c:v>
                </c:pt>
                <c:pt idx="1067">
                  <c:v>45629</c:v>
                </c:pt>
                <c:pt idx="1068">
                  <c:v>45630</c:v>
                </c:pt>
                <c:pt idx="1069">
                  <c:v>45631</c:v>
                </c:pt>
                <c:pt idx="1070">
                  <c:v>45632</c:v>
                </c:pt>
                <c:pt idx="1071">
                  <c:v>45633</c:v>
                </c:pt>
                <c:pt idx="1072">
                  <c:v>45634</c:v>
                </c:pt>
                <c:pt idx="1073">
                  <c:v>45635</c:v>
                </c:pt>
                <c:pt idx="1074">
                  <c:v>45636</c:v>
                </c:pt>
                <c:pt idx="1075">
                  <c:v>45637</c:v>
                </c:pt>
                <c:pt idx="1076">
                  <c:v>45638</c:v>
                </c:pt>
                <c:pt idx="1077">
                  <c:v>45639</c:v>
                </c:pt>
                <c:pt idx="1078">
                  <c:v>45640</c:v>
                </c:pt>
                <c:pt idx="1079">
                  <c:v>45641</c:v>
                </c:pt>
                <c:pt idx="1080">
                  <c:v>45642</c:v>
                </c:pt>
                <c:pt idx="1081">
                  <c:v>45643</c:v>
                </c:pt>
                <c:pt idx="1082">
                  <c:v>45644</c:v>
                </c:pt>
                <c:pt idx="1083">
                  <c:v>45645</c:v>
                </c:pt>
                <c:pt idx="1084">
                  <c:v>45646</c:v>
                </c:pt>
                <c:pt idx="1085">
                  <c:v>45647</c:v>
                </c:pt>
                <c:pt idx="1086">
                  <c:v>45648</c:v>
                </c:pt>
                <c:pt idx="1087">
                  <c:v>45649</c:v>
                </c:pt>
                <c:pt idx="1088">
                  <c:v>45650</c:v>
                </c:pt>
                <c:pt idx="1089">
                  <c:v>45651</c:v>
                </c:pt>
                <c:pt idx="1090">
                  <c:v>45652</c:v>
                </c:pt>
                <c:pt idx="1091">
                  <c:v>45653</c:v>
                </c:pt>
                <c:pt idx="1092">
                  <c:v>45654</c:v>
                </c:pt>
                <c:pt idx="1093">
                  <c:v>45655</c:v>
                </c:pt>
                <c:pt idx="1094">
                  <c:v>45656</c:v>
                </c:pt>
                <c:pt idx="1095">
                  <c:v>45657</c:v>
                </c:pt>
                <c:pt idx="1096">
                  <c:v>45658</c:v>
                </c:pt>
                <c:pt idx="1097">
                  <c:v>45659</c:v>
                </c:pt>
                <c:pt idx="1098">
                  <c:v>45660</c:v>
                </c:pt>
                <c:pt idx="1099">
                  <c:v>45661</c:v>
                </c:pt>
                <c:pt idx="1100">
                  <c:v>45662</c:v>
                </c:pt>
                <c:pt idx="1101">
                  <c:v>45663</c:v>
                </c:pt>
                <c:pt idx="1102">
                  <c:v>45664</c:v>
                </c:pt>
                <c:pt idx="1103">
                  <c:v>45665</c:v>
                </c:pt>
                <c:pt idx="1104">
                  <c:v>45666</c:v>
                </c:pt>
                <c:pt idx="1105">
                  <c:v>45667</c:v>
                </c:pt>
                <c:pt idx="1106">
                  <c:v>45668</c:v>
                </c:pt>
                <c:pt idx="1107">
                  <c:v>45669</c:v>
                </c:pt>
                <c:pt idx="1108">
                  <c:v>45670</c:v>
                </c:pt>
                <c:pt idx="1109">
                  <c:v>45671</c:v>
                </c:pt>
                <c:pt idx="1110">
                  <c:v>45672</c:v>
                </c:pt>
                <c:pt idx="1111">
                  <c:v>45673</c:v>
                </c:pt>
                <c:pt idx="1112">
                  <c:v>45674</c:v>
                </c:pt>
                <c:pt idx="1113">
                  <c:v>45675</c:v>
                </c:pt>
                <c:pt idx="1114">
                  <c:v>45676</c:v>
                </c:pt>
                <c:pt idx="1115">
                  <c:v>45677</c:v>
                </c:pt>
                <c:pt idx="1116">
                  <c:v>45678</c:v>
                </c:pt>
                <c:pt idx="1117">
                  <c:v>45679</c:v>
                </c:pt>
                <c:pt idx="1118">
                  <c:v>45680</c:v>
                </c:pt>
                <c:pt idx="1119">
                  <c:v>45681</c:v>
                </c:pt>
                <c:pt idx="1120">
                  <c:v>45682</c:v>
                </c:pt>
                <c:pt idx="1121">
                  <c:v>45683</c:v>
                </c:pt>
                <c:pt idx="1122">
                  <c:v>45684</c:v>
                </c:pt>
                <c:pt idx="1123">
                  <c:v>45685</c:v>
                </c:pt>
                <c:pt idx="1124">
                  <c:v>45686</c:v>
                </c:pt>
                <c:pt idx="1125">
                  <c:v>45687</c:v>
                </c:pt>
                <c:pt idx="1126">
                  <c:v>45688</c:v>
                </c:pt>
                <c:pt idx="1127">
                  <c:v>45689</c:v>
                </c:pt>
                <c:pt idx="1128">
                  <c:v>45690</c:v>
                </c:pt>
                <c:pt idx="1129">
                  <c:v>45691</c:v>
                </c:pt>
                <c:pt idx="1130">
                  <c:v>45692</c:v>
                </c:pt>
                <c:pt idx="1131">
                  <c:v>45693</c:v>
                </c:pt>
                <c:pt idx="1132">
                  <c:v>45694</c:v>
                </c:pt>
                <c:pt idx="1133">
                  <c:v>45695</c:v>
                </c:pt>
                <c:pt idx="1134">
                  <c:v>45696</c:v>
                </c:pt>
                <c:pt idx="1135">
                  <c:v>45697</c:v>
                </c:pt>
                <c:pt idx="1136">
                  <c:v>45698</c:v>
                </c:pt>
                <c:pt idx="1137">
                  <c:v>45699</c:v>
                </c:pt>
                <c:pt idx="1138">
                  <c:v>45700</c:v>
                </c:pt>
                <c:pt idx="1139">
                  <c:v>45701</c:v>
                </c:pt>
                <c:pt idx="1140">
                  <c:v>45702</c:v>
                </c:pt>
                <c:pt idx="1141">
                  <c:v>45703</c:v>
                </c:pt>
                <c:pt idx="1142">
                  <c:v>45704</c:v>
                </c:pt>
                <c:pt idx="1143">
                  <c:v>45705</c:v>
                </c:pt>
                <c:pt idx="1144">
                  <c:v>45706</c:v>
                </c:pt>
                <c:pt idx="1145">
                  <c:v>45707</c:v>
                </c:pt>
                <c:pt idx="1146">
                  <c:v>45708</c:v>
                </c:pt>
                <c:pt idx="1147">
                  <c:v>45709</c:v>
                </c:pt>
                <c:pt idx="1148">
                  <c:v>45710</c:v>
                </c:pt>
                <c:pt idx="1149">
                  <c:v>45711</c:v>
                </c:pt>
                <c:pt idx="1150">
                  <c:v>45712</c:v>
                </c:pt>
                <c:pt idx="1151">
                  <c:v>45713</c:v>
                </c:pt>
                <c:pt idx="1152">
                  <c:v>45714</c:v>
                </c:pt>
                <c:pt idx="1153">
                  <c:v>45715</c:v>
                </c:pt>
                <c:pt idx="1154">
                  <c:v>45716</c:v>
                </c:pt>
                <c:pt idx="1155">
                  <c:v>45717</c:v>
                </c:pt>
                <c:pt idx="1156">
                  <c:v>45718</c:v>
                </c:pt>
                <c:pt idx="1157">
                  <c:v>45719</c:v>
                </c:pt>
                <c:pt idx="1158">
                  <c:v>45720</c:v>
                </c:pt>
                <c:pt idx="1159">
                  <c:v>45721</c:v>
                </c:pt>
                <c:pt idx="1160">
                  <c:v>45722</c:v>
                </c:pt>
                <c:pt idx="1161">
                  <c:v>45723</c:v>
                </c:pt>
                <c:pt idx="1162">
                  <c:v>45724</c:v>
                </c:pt>
                <c:pt idx="1163">
                  <c:v>45725</c:v>
                </c:pt>
                <c:pt idx="1164">
                  <c:v>45726</c:v>
                </c:pt>
                <c:pt idx="1165">
                  <c:v>45727</c:v>
                </c:pt>
                <c:pt idx="1166">
                  <c:v>45728</c:v>
                </c:pt>
                <c:pt idx="1167">
                  <c:v>45729</c:v>
                </c:pt>
                <c:pt idx="1168">
                  <c:v>45730</c:v>
                </c:pt>
                <c:pt idx="1169">
                  <c:v>45731</c:v>
                </c:pt>
                <c:pt idx="1170">
                  <c:v>45732</c:v>
                </c:pt>
                <c:pt idx="1171">
                  <c:v>45733</c:v>
                </c:pt>
                <c:pt idx="1172">
                  <c:v>45734</c:v>
                </c:pt>
                <c:pt idx="1173">
                  <c:v>45735</c:v>
                </c:pt>
                <c:pt idx="1174">
                  <c:v>45736</c:v>
                </c:pt>
                <c:pt idx="1175">
                  <c:v>45737</c:v>
                </c:pt>
                <c:pt idx="1176">
                  <c:v>45738</c:v>
                </c:pt>
                <c:pt idx="1177">
                  <c:v>45739</c:v>
                </c:pt>
                <c:pt idx="1178">
                  <c:v>45740</c:v>
                </c:pt>
                <c:pt idx="1179">
                  <c:v>45741</c:v>
                </c:pt>
                <c:pt idx="1180">
                  <c:v>45742</c:v>
                </c:pt>
                <c:pt idx="1181">
                  <c:v>45743</c:v>
                </c:pt>
                <c:pt idx="1182">
                  <c:v>45744</c:v>
                </c:pt>
                <c:pt idx="1183">
                  <c:v>45745</c:v>
                </c:pt>
                <c:pt idx="1184">
                  <c:v>45746</c:v>
                </c:pt>
                <c:pt idx="1185">
                  <c:v>45747</c:v>
                </c:pt>
                <c:pt idx="1186">
                  <c:v>45748</c:v>
                </c:pt>
                <c:pt idx="1187">
                  <c:v>45749</c:v>
                </c:pt>
                <c:pt idx="1188">
                  <c:v>45750</c:v>
                </c:pt>
                <c:pt idx="1189">
                  <c:v>45751</c:v>
                </c:pt>
                <c:pt idx="1190">
                  <c:v>45752</c:v>
                </c:pt>
                <c:pt idx="1191">
                  <c:v>45753</c:v>
                </c:pt>
                <c:pt idx="1192">
                  <c:v>45754</c:v>
                </c:pt>
                <c:pt idx="1193">
                  <c:v>45755</c:v>
                </c:pt>
                <c:pt idx="1194">
                  <c:v>45756</c:v>
                </c:pt>
                <c:pt idx="1195">
                  <c:v>45757</c:v>
                </c:pt>
                <c:pt idx="1196">
                  <c:v>45758</c:v>
                </c:pt>
                <c:pt idx="1197">
                  <c:v>45759</c:v>
                </c:pt>
                <c:pt idx="1198">
                  <c:v>45760</c:v>
                </c:pt>
                <c:pt idx="1199">
                  <c:v>45761</c:v>
                </c:pt>
                <c:pt idx="1200">
                  <c:v>45762</c:v>
                </c:pt>
                <c:pt idx="1201">
                  <c:v>45763</c:v>
                </c:pt>
                <c:pt idx="1202">
                  <c:v>45764</c:v>
                </c:pt>
                <c:pt idx="1203">
                  <c:v>45765</c:v>
                </c:pt>
                <c:pt idx="1204">
                  <c:v>45766</c:v>
                </c:pt>
                <c:pt idx="1205">
                  <c:v>45767</c:v>
                </c:pt>
                <c:pt idx="1206">
                  <c:v>45768</c:v>
                </c:pt>
                <c:pt idx="1207">
                  <c:v>45769</c:v>
                </c:pt>
                <c:pt idx="1208">
                  <c:v>45770</c:v>
                </c:pt>
                <c:pt idx="1209">
                  <c:v>45771</c:v>
                </c:pt>
                <c:pt idx="1210">
                  <c:v>45772</c:v>
                </c:pt>
                <c:pt idx="1211">
                  <c:v>45773</c:v>
                </c:pt>
                <c:pt idx="1212">
                  <c:v>45774</c:v>
                </c:pt>
                <c:pt idx="1213">
                  <c:v>45775</c:v>
                </c:pt>
                <c:pt idx="1214">
                  <c:v>45776</c:v>
                </c:pt>
                <c:pt idx="1215">
                  <c:v>45777</c:v>
                </c:pt>
                <c:pt idx="1216">
                  <c:v>45778</c:v>
                </c:pt>
                <c:pt idx="1217">
                  <c:v>45779</c:v>
                </c:pt>
                <c:pt idx="1218">
                  <c:v>45780</c:v>
                </c:pt>
                <c:pt idx="1219">
                  <c:v>45781</c:v>
                </c:pt>
                <c:pt idx="1220">
                  <c:v>45782</c:v>
                </c:pt>
                <c:pt idx="1221">
                  <c:v>45783</c:v>
                </c:pt>
                <c:pt idx="1222">
                  <c:v>45784</c:v>
                </c:pt>
                <c:pt idx="1223">
                  <c:v>45785</c:v>
                </c:pt>
                <c:pt idx="1224">
                  <c:v>45786</c:v>
                </c:pt>
                <c:pt idx="1225">
                  <c:v>45787</c:v>
                </c:pt>
                <c:pt idx="1226">
                  <c:v>45788</c:v>
                </c:pt>
                <c:pt idx="1227">
                  <c:v>45789</c:v>
                </c:pt>
                <c:pt idx="1228">
                  <c:v>45790</c:v>
                </c:pt>
                <c:pt idx="1229">
                  <c:v>45791</c:v>
                </c:pt>
                <c:pt idx="1230">
                  <c:v>45792</c:v>
                </c:pt>
                <c:pt idx="1231">
                  <c:v>45793</c:v>
                </c:pt>
                <c:pt idx="1232">
                  <c:v>45794</c:v>
                </c:pt>
                <c:pt idx="1233">
                  <c:v>45795</c:v>
                </c:pt>
                <c:pt idx="1234">
                  <c:v>45796</c:v>
                </c:pt>
                <c:pt idx="1235">
                  <c:v>45797</c:v>
                </c:pt>
                <c:pt idx="1236">
                  <c:v>45798</c:v>
                </c:pt>
                <c:pt idx="1237">
                  <c:v>45799</c:v>
                </c:pt>
                <c:pt idx="1238">
                  <c:v>45800</c:v>
                </c:pt>
                <c:pt idx="1239">
                  <c:v>45801</c:v>
                </c:pt>
                <c:pt idx="1240">
                  <c:v>45802</c:v>
                </c:pt>
                <c:pt idx="1241">
                  <c:v>45803</c:v>
                </c:pt>
                <c:pt idx="1242">
                  <c:v>45804</c:v>
                </c:pt>
                <c:pt idx="1243">
                  <c:v>45805</c:v>
                </c:pt>
                <c:pt idx="1244">
                  <c:v>45806</c:v>
                </c:pt>
                <c:pt idx="1245">
                  <c:v>45807</c:v>
                </c:pt>
                <c:pt idx="1246">
                  <c:v>45808</c:v>
                </c:pt>
              </c:numCache>
            </c:numRef>
          </c:cat>
          <c:val>
            <c:numRef>
              <c:f>FXHC!$AA$12:$AA$1258</c:f>
              <c:numCache>
                <c:formatCode>General</c:formatCode>
                <c:ptCount val="124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  <c:pt idx="188">
                  <c:v>100</c:v>
                </c:pt>
                <c:pt idx="189">
                  <c:v>100</c:v>
                </c:pt>
                <c:pt idx="190">
                  <c:v>100</c:v>
                </c:pt>
                <c:pt idx="191">
                  <c:v>100</c:v>
                </c:pt>
                <c:pt idx="192">
                  <c:v>100</c:v>
                </c:pt>
                <c:pt idx="193">
                  <c:v>100</c:v>
                </c:pt>
                <c:pt idx="194">
                  <c:v>100</c:v>
                </c:pt>
                <c:pt idx="195">
                  <c:v>100</c:v>
                </c:pt>
                <c:pt idx="196">
                  <c:v>100</c:v>
                </c:pt>
                <c:pt idx="197">
                  <c:v>100</c:v>
                </c:pt>
                <c:pt idx="198">
                  <c:v>100</c:v>
                </c:pt>
                <c:pt idx="199">
                  <c:v>100</c:v>
                </c:pt>
                <c:pt idx="200">
                  <c:v>100</c:v>
                </c:pt>
                <c:pt idx="201">
                  <c:v>100</c:v>
                </c:pt>
                <c:pt idx="202">
                  <c:v>100</c:v>
                </c:pt>
                <c:pt idx="203">
                  <c:v>100</c:v>
                </c:pt>
                <c:pt idx="204">
                  <c:v>100</c:v>
                </c:pt>
                <c:pt idx="205">
                  <c:v>100</c:v>
                </c:pt>
                <c:pt idx="206">
                  <c:v>100</c:v>
                </c:pt>
                <c:pt idx="207">
                  <c:v>100</c:v>
                </c:pt>
                <c:pt idx="208">
                  <c:v>100</c:v>
                </c:pt>
                <c:pt idx="209">
                  <c:v>100</c:v>
                </c:pt>
                <c:pt idx="210">
                  <c:v>100</c:v>
                </c:pt>
                <c:pt idx="211">
                  <c:v>100</c:v>
                </c:pt>
                <c:pt idx="212">
                  <c:v>100</c:v>
                </c:pt>
                <c:pt idx="213">
                  <c:v>100</c:v>
                </c:pt>
                <c:pt idx="214">
                  <c:v>100</c:v>
                </c:pt>
                <c:pt idx="215">
                  <c:v>100</c:v>
                </c:pt>
                <c:pt idx="216">
                  <c:v>100</c:v>
                </c:pt>
                <c:pt idx="217">
                  <c:v>100</c:v>
                </c:pt>
                <c:pt idx="218">
                  <c:v>100</c:v>
                </c:pt>
                <c:pt idx="219">
                  <c:v>100</c:v>
                </c:pt>
                <c:pt idx="220">
                  <c:v>100</c:v>
                </c:pt>
                <c:pt idx="221">
                  <c:v>100</c:v>
                </c:pt>
                <c:pt idx="222">
                  <c:v>100</c:v>
                </c:pt>
                <c:pt idx="223">
                  <c:v>100</c:v>
                </c:pt>
                <c:pt idx="224">
                  <c:v>100</c:v>
                </c:pt>
                <c:pt idx="225">
                  <c:v>100</c:v>
                </c:pt>
                <c:pt idx="226">
                  <c:v>100</c:v>
                </c:pt>
                <c:pt idx="227">
                  <c:v>100</c:v>
                </c:pt>
                <c:pt idx="228">
                  <c:v>100</c:v>
                </c:pt>
                <c:pt idx="229">
                  <c:v>100</c:v>
                </c:pt>
                <c:pt idx="230">
                  <c:v>100</c:v>
                </c:pt>
                <c:pt idx="231">
                  <c:v>100</c:v>
                </c:pt>
                <c:pt idx="232">
                  <c:v>100</c:v>
                </c:pt>
                <c:pt idx="233">
                  <c:v>100</c:v>
                </c:pt>
                <c:pt idx="234">
                  <c:v>100</c:v>
                </c:pt>
                <c:pt idx="235">
                  <c:v>100</c:v>
                </c:pt>
                <c:pt idx="236">
                  <c:v>100</c:v>
                </c:pt>
                <c:pt idx="237">
                  <c:v>100</c:v>
                </c:pt>
                <c:pt idx="238">
                  <c:v>100</c:v>
                </c:pt>
                <c:pt idx="239">
                  <c:v>100</c:v>
                </c:pt>
                <c:pt idx="240">
                  <c:v>100</c:v>
                </c:pt>
                <c:pt idx="241">
                  <c:v>100</c:v>
                </c:pt>
                <c:pt idx="242">
                  <c:v>100</c:v>
                </c:pt>
                <c:pt idx="243">
                  <c:v>100</c:v>
                </c:pt>
                <c:pt idx="244">
                  <c:v>100</c:v>
                </c:pt>
                <c:pt idx="245">
                  <c:v>100</c:v>
                </c:pt>
                <c:pt idx="246">
                  <c:v>100</c:v>
                </c:pt>
                <c:pt idx="247">
                  <c:v>100</c:v>
                </c:pt>
                <c:pt idx="248">
                  <c:v>100</c:v>
                </c:pt>
                <c:pt idx="249">
                  <c:v>100</c:v>
                </c:pt>
                <c:pt idx="250">
                  <c:v>100</c:v>
                </c:pt>
                <c:pt idx="251">
                  <c:v>100</c:v>
                </c:pt>
                <c:pt idx="252">
                  <c:v>100</c:v>
                </c:pt>
                <c:pt idx="253">
                  <c:v>100</c:v>
                </c:pt>
                <c:pt idx="254">
                  <c:v>100</c:v>
                </c:pt>
                <c:pt idx="255">
                  <c:v>100</c:v>
                </c:pt>
                <c:pt idx="256">
                  <c:v>100</c:v>
                </c:pt>
                <c:pt idx="257">
                  <c:v>100</c:v>
                </c:pt>
                <c:pt idx="258">
                  <c:v>100</c:v>
                </c:pt>
                <c:pt idx="259">
                  <c:v>100</c:v>
                </c:pt>
                <c:pt idx="260">
                  <c:v>100</c:v>
                </c:pt>
                <c:pt idx="261">
                  <c:v>100</c:v>
                </c:pt>
                <c:pt idx="262">
                  <c:v>100</c:v>
                </c:pt>
                <c:pt idx="263">
                  <c:v>100</c:v>
                </c:pt>
                <c:pt idx="264">
                  <c:v>100</c:v>
                </c:pt>
                <c:pt idx="265">
                  <c:v>100</c:v>
                </c:pt>
                <c:pt idx="266">
                  <c:v>100</c:v>
                </c:pt>
                <c:pt idx="267">
                  <c:v>100</c:v>
                </c:pt>
                <c:pt idx="268">
                  <c:v>100</c:v>
                </c:pt>
                <c:pt idx="269">
                  <c:v>100</c:v>
                </c:pt>
                <c:pt idx="270">
                  <c:v>100</c:v>
                </c:pt>
                <c:pt idx="271">
                  <c:v>100</c:v>
                </c:pt>
                <c:pt idx="272">
                  <c:v>100</c:v>
                </c:pt>
                <c:pt idx="273">
                  <c:v>100</c:v>
                </c:pt>
                <c:pt idx="274">
                  <c:v>100</c:v>
                </c:pt>
                <c:pt idx="275">
                  <c:v>100</c:v>
                </c:pt>
                <c:pt idx="276">
                  <c:v>100</c:v>
                </c:pt>
                <c:pt idx="277">
                  <c:v>100</c:v>
                </c:pt>
                <c:pt idx="278">
                  <c:v>100</c:v>
                </c:pt>
                <c:pt idx="279">
                  <c:v>100</c:v>
                </c:pt>
                <c:pt idx="280">
                  <c:v>100</c:v>
                </c:pt>
                <c:pt idx="281">
                  <c:v>100</c:v>
                </c:pt>
                <c:pt idx="282">
                  <c:v>100</c:v>
                </c:pt>
                <c:pt idx="283">
                  <c:v>100</c:v>
                </c:pt>
                <c:pt idx="284">
                  <c:v>100</c:v>
                </c:pt>
                <c:pt idx="285">
                  <c:v>100</c:v>
                </c:pt>
                <c:pt idx="286">
                  <c:v>100</c:v>
                </c:pt>
                <c:pt idx="287">
                  <c:v>100</c:v>
                </c:pt>
                <c:pt idx="288">
                  <c:v>100</c:v>
                </c:pt>
                <c:pt idx="289">
                  <c:v>100</c:v>
                </c:pt>
                <c:pt idx="290">
                  <c:v>100</c:v>
                </c:pt>
                <c:pt idx="291">
                  <c:v>100</c:v>
                </c:pt>
                <c:pt idx="292">
                  <c:v>100</c:v>
                </c:pt>
                <c:pt idx="293">
                  <c:v>100</c:v>
                </c:pt>
                <c:pt idx="294">
                  <c:v>100</c:v>
                </c:pt>
                <c:pt idx="295">
                  <c:v>100</c:v>
                </c:pt>
                <c:pt idx="296">
                  <c:v>100</c:v>
                </c:pt>
                <c:pt idx="297">
                  <c:v>100</c:v>
                </c:pt>
                <c:pt idx="298">
                  <c:v>100</c:v>
                </c:pt>
                <c:pt idx="299">
                  <c:v>100</c:v>
                </c:pt>
                <c:pt idx="300">
                  <c:v>100</c:v>
                </c:pt>
                <c:pt idx="301">
                  <c:v>100</c:v>
                </c:pt>
                <c:pt idx="302">
                  <c:v>100</c:v>
                </c:pt>
                <c:pt idx="303">
                  <c:v>100</c:v>
                </c:pt>
                <c:pt idx="304">
                  <c:v>100</c:v>
                </c:pt>
                <c:pt idx="305">
                  <c:v>100</c:v>
                </c:pt>
                <c:pt idx="306">
                  <c:v>100</c:v>
                </c:pt>
                <c:pt idx="307">
                  <c:v>100</c:v>
                </c:pt>
                <c:pt idx="308">
                  <c:v>100</c:v>
                </c:pt>
                <c:pt idx="309">
                  <c:v>100</c:v>
                </c:pt>
                <c:pt idx="310">
                  <c:v>100</c:v>
                </c:pt>
                <c:pt idx="311">
                  <c:v>100</c:v>
                </c:pt>
                <c:pt idx="312">
                  <c:v>100</c:v>
                </c:pt>
                <c:pt idx="313">
                  <c:v>100</c:v>
                </c:pt>
                <c:pt idx="314">
                  <c:v>100</c:v>
                </c:pt>
                <c:pt idx="315">
                  <c:v>100</c:v>
                </c:pt>
                <c:pt idx="316">
                  <c:v>100</c:v>
                </c:pt>
                <c:pt idx="317">
                  <c:v>100</c:v>
                </c:pt>
                <c:pt idx="318">
                  <c:v>100</c:v>
                </c:pt>
                <c:pt idx="319">
                  <c:v>100</c:v>
                </c:pt>
                <c:pt idx="320">
                  <c:v>100</c:v>
                </c:pt>
                <c:pt idx="321">
                  <c:v>100</c:v>
                </c:pt>
                <c:pt idx="322">
                  <c:v>100</c:v>
                </c:pt>
                <c:pt idx="323">
                  <c:v>100</c:v>
                </c:pt>
                <c:pt idx="324">
                  <c:v>100</c:v>
                </c:pt>
                <c:pt idx="325">
                  <c:v>100</c:v>
                </c:pt>
                <c:pt idx="326">
                  <c:v>100</c:v>
                </c:pt>
                <c:pt idx="327">
                  <c:v>100</c:v>
                </c:pt>
                <c:pt idx="328">
                  <c:v>100</c:v>
                </c:pt>
                <c:pt idx="329">
                  <c:v>100</c:v>
                </c:pt>
                <c:pt idx="330">
                  <c:v>100</c:v>
                </c:pt>
                <c:pt idx="331">
                  <c:v>100</c:v>
                </c:pt>
                <c:pt idx="332">
                  <c:v>100</c:v>
                </c:pt>
                <c:pt idx="333">
                  <c:v>100</c:v>
                </c:pt>
                <c:pt idx="334">
                  <c:v>100</c:v>
                </c:pt>
                <c:pt idx="335">
                  <c:v>100</c:v>
                </c:pt>
                <c:pt idx="336">
                  <c:v>100</c:v>
                </c:pt>
                <c:pt idx="337">
                  <c:v>100</c:v>
                </c:pt>
                <c:pt idx="338">
                  <c:v>100</c:v>
                </c:pt>
                <c:pt idx="339">
                  <c:v>100</c:v>
                </c:pt>
                <c:pt idx="340">
                  <c:v>100</c:v>
                </c:pt>
                <c:pt idx="341">
                  <c:v>100</c:v>
                </c:pt>
                <c:pt idx="342">
                  <c:v>100</c:v>
                </c:pt>
                <c:pt idx="343">
                  <c:v>100</c:v>
                </c:pt>
                <c:pt idx="344">
                  <c:v>100</c:v>
                </c:pt>
                <c:pt idx="345">
                  <c:v>100</c:v>
                </c:pt>
                <c:pt idx="346">
                  <c:v>100</c:v>
                </c:pt>
                <c:pt idx="347">
                  <c:v>100</c:v>
                </c:pt>
                <c:pt idx="348">
                  <c:v>100</c:v>
                </c:pt>
                <c:pt idx="349">
                  <c:v>100</c:v>
                </c:pt>
                <c:pt idx="350">
                  <c:v>100</c:v>
                </c:pt>
                <c:pt idx="351">
                  <c:v>100</c:v>
                </c:pt>
                <c:pt idx="352">
                  <c:v>100</c:v>
                </c:pt>
                <c:pt idx="353">
                  <c:v>100</c:v>
                </c:pt>
                <c:pt idx="354">
                  <c:v>100</c:v>
                </c:pt>
                <c:pt idx="355">
                  <c:v>100</c:v>
                </c:pt>
                <c:pt idx="356">
                  <c:v>100</c:v>
                </c:pt>
                <c:pt idx="357">
                  <c:v>100</c:v>
                </c:pt>
                <c:pt idx="358">
                  <c:v>100</c:v>
                </c:pt>
                <c:pt idx="359">
                  <c:v>100</c:v>
                </c:pt>
                <c:pt idx="360">
                  <c:v>100</c:v>
                </c:pt>
                <c:pt idx="361">
                  <c:v>100</c:v>
                </c:pt>
                <c:pt idx="362">
                  <c:v>100</c:v>
                </c:pt>
                <c:pt idx="363">
                  <c:v>100</c:v>
                </c:pt>
                <c:pt idx="364">
                  <c:v>100</c:v>
                </c:pt>
                <c:pt idx="365">
                  <c:v>100</c:v>
                </c:pt>
                <c:pt idx="366">
                  <c:v>100</c:v>
                </c:pt>
                <c:pt idx="367">
                  <c:v>100</c:v>
                </c:pt>
                <c:pt idx="368">
                  <c:v>100</c:v>
                </c:pt>
                <c:pt idx="369">
                  <c:v>100</c:v>
                </c:pt>
                <c:pt idx="370">
                  <c:v>100</c:v>
                </c:pt>
                <c:pt idx="371">
                  <c:v>100</c:v>
                </c:pt>
                <c:pt idx="372">
                  <c:v>100</c:v>
                </c:pt>
                <c:pt idx="373">
                  <c:v>100</c:v>
                </c:pt>
                <c:pt idx="374">
                  <c:v>100</c:v>
                </c:pt>
                <c:pt idx="375">
                  <c:v>100</c:v>
                </c:pt>
                <c:pt idx="376">
                  <c:v>100</c:v>
                </c:pt>
                <c:pt idx="377">
                  <c:v>100</c:v>
                </c:pt>
                <c:pt idx="378">
                  <c:v>100</c:v>
                </c:pt>
                <c:pt idx="379">
                  <c:v>100</c:v>
                </c:pt>
                <c:pt idx="380">
                  <c:v>100</c:v>
                </c:pt>
                <c:pt idx="381">
                  <c:v>100</c:v>
                </c:pt>
                <c:pt idx="382">
                  <c:v>100</c:v>
                </c:pt>
                <c:pt idx="383">
                  <c:v>100</c:v>
                </c:pt>
                <c:pt idx="384">
                  <c:v>100</c:v>
                </c:pt>
                <c:pt idx="385">
                  <c:v>100</c:v>
                </c:pt>
                <c:pt idx="386">
                  <c:v>100</c:v>
                </c:pt>
                <c:pt idx="387">
                  <c:v>100</c:v>
                </c:pt>
                <c:pt idx="388">
                  <c:v>100</c:v>
                </c:pt>
                <c:pt idx="389">
                  <c:v>100</c:v>
                </c:pt>
                <c:pt idx="390">
                  <c:v>100</c:v>
                </c:pt>
                <c:pt idx="391">
                  <c:v>100</c:v>
                </c:pt>
                <c:pt idx="392">
                  <c:v>100</c:v>
                </c:pt>
                <c:pt idx="393">
                  <c:v>100</c:v>
                </c:pt>
                <c:pt idx="394">
                  <c:v>100</c:v>
                </c:pt>
                <c:pt idx="395">
                  <c:v>100</c:v>
                </c:pt>
                <c:pt idx="396">
                  <c:v>100</c:v>
                </c:pt>
                <c:pt idx="397">
                  <c:v>100</c:v>
                </c:pt>
                <c:pt idx="398">
                  <c:v>100</c:v>
                </c:pt>
                <c:pt idx="399">
                  <c:v>100</c:v>
                </c:pt>
                <c:pt idx="400">
                  <c:v>100</c:v>
                </c:pt>
                <c:pt idx="401">
                  <c:v>100</c:v>
                </c:pt>
                <c:pt idx="402">
                  <c:v>100</c:v>
                </c:pt>
                <c:pt idx="403">
                  <c:v>100</c:v>
                </c:pt>
                <c:pt idx="404">
                  <c:v>100</c:v>
                </c:pt>
                <c:pt idx="405">
                  <c:v>100</c:v>
                </c:pt>
                <c:pt idx="406">
                  <c:v>100</c:v>
                </c:pt>
                <c:pt idx="407">
                  <c:v>100</c:v>
                </c:pt>
                <c:pt idx="408">
                  <c:v>100</c:v>
                </c:pt>
                <c:pt idx="409">
                  <c:v>100</c:v>
                </c:pt>
                <c:pt idx="410">
                  <c:v>100</c:v>
                </c:pt>
                <c:pt idx="411">
                  <c:v>100</c:v>
                </c:pt>
                <c:pt idx="412">
                  <c:v>100</c:v>
                </c:pt>
                <c:pt idx="413">
                  <c:v>100</c:v>
                </c:pt>
                <c:pt idx="414">
                  <c:v>100</c:v>
                </c:pt>
                <c:pt idx="415">
                  <c:v>100</c:v>
                </c:pt>
                <c:pt idx="416">
                  <c:v>100</c:v>
                </c:pt>
                <c:pt idx="417">
                  <c:v>100</c:v>
                </c:pt>
                <c:pt idx="418">
                  <c:v>100</c:v>
                </c:pt>
                <c:pt idx="419">
                  <c:v>100</c:v>
                </c:pt>
                <c:pt idx="420">
                  <c:v>100</c:v>
                </c:pt>
                <c:pt idx="421">
                  <c:v>100</c:v>
                </c:pt>
                <c:pt idx="422">
                  <c:v>100</c:v>
                </c:pt>
                <c:pt idx="423">
                  <c:v>100</c:v>
                </c:pt>
                <c:pt idx="424">
                  <c:v>100</c:v>
                </c:pt>
                <c:pt idx="425">
                  <c:v>100</c:v>
                </c:pt>
                <c:pt idx="426">
                  <c:v>100</c:v>
                </c:pt>
                <c:pt idx="427">
                  <c:v>100</c:v>
                </c:pt>
                <c:pt idx="428">
                  <c:v>100</c:v>
                </c:pt>
                <c:pt idx="429">
                  <c:v>100</c:v>
                </c:pt>
                <c:pt idx="430">
                  <c:v>100</c:v>
                </c:pt>
                <c:pt idx="431">
                  <c:v>100</c:v>
                </c:pt>
                <c:pt idx="432">
                  <c:v>100</c:v>
                </c:pt>
                <c:pt idx="433">
                  <c:v>100</c:v>
                </c:pt>
                <c:pt idx="434">
                  <c:v>100</c:v>
                </c:pt>
                <c:pt idx="435">
                  <c:v>100</c:v>
                </c:pt>
                <c:pt idx="436">
                  <c:v>100</c:v>
                </c:pt>
                <c:pt idx="437">
                  <c:v>100</c:v>
                </c:pt>
                <c:pt idx="438">
                  <c:v>100</c:v>
                </c:pt>
                <c:pt idx="439">
                  <c:v>100</c:v>
                </c:pt>
                <c:pt idx="440">
                  <c:v>100</c:v>
                </c:pt>
                <c:pt idx="441">
                  <c:v>100</c:v>
                </c:pt>
                <c:pt idx="442">
                  <c:v>100</c:v>
                </c:pt>
                <c:pt idx="443">
                  <c:v>100</c:v>
                </c:pt>
                <c:pt idx="444">
                  <c:v>100</c:v>
                </c:pt>
                <c:pt idx="445">
                  <c:v>100</c:v>
                </c:pt>
                <c:pt idx="446">
                  <c:v>100</c:v>
                </c:pt>
                <c:pt idx="447">
                  <c:v>100</c:v>
                </c:pt>
                <c:pt idx="448">
                  <c:v>100</c:v>
                </c:pt>
                <c:pt idx="449">
                  <c:v>100</c:v>
                </c:pt>
                <c:pt idx="450">
                  <c:v>100</c:v>
                </c:pt>
                <c:pt idx="451">
                  <c:v>100</c:v>
                </c:pt>
                <c:pt idx="452">
                  <c:v>100</c:v>
                </c:pt>
                <c:pt idx="453">
                  <c:v>100</c:v>
                </c:pt>
                <c:pt idx="454">
                  <c:v>100</c:v>
                </c:pt>
                <c:pt idx="455">
                  <c:v>100</c:v>
                </c:pt>
                <c:pt idx="456">
                  <c:v>100</c:v>
                </c:pt>
                <c:pt idx="457">
                  <c:v>100</c:v>
                </c:pt>
                <c:pt idx="458">
                  <c:v>100</c:v>
                </c:pt>
                <c:pt idx="459">
                  <c:v>100</c:v>
                </c:pt>
                <c:pt idx="460">
                  <c:v>100</c:v>
                </c:pt>
                <c:pt idx="461">
                  <c:v>100</c:v>
                </c:pt>
                <c:pt idx="462">
                  <c:v>100</c:v>
                </c:pt>
                <c:pt idx="463">
                  <c:v>100</c:v>
                </c:pt>
                <c:pt idx="464">
                  <c:v>100</c:v>
                </c:pt>
                <c:pt idx="465">
                  <c:v>100</c:v>
                </c:pt>
                <c:pt idx="466">
                  <c:v>100</c:v>
                </c:pt>
                <c:pt idx="467">
                  <c:v>100</c:v>
                </c:pt>
                <c:pt idx="468">
                  <c:v>100</c:v>
                </c:pt>
                <c:pt idx="469">
                  <c:v>100</c:v>
                </c:pt>
                <c:pt idx="470">
                  <c:v>100</c:v>
                </c:pt>
                <c:pt idx="471">
                  <c:v>100</c:v>
                </c:pt>
                <c:pt idx="472">
                  <c:v>100</c:v>
                </c:pt>
                <c:pt idx="473">
                  <c:v>100</c:v>
                </c:pt>
                <c:pt idx="474">
                  <c:v>100</c:v>
                </c:pt>
                <c:pt idx="475">
                  <c:v>100</c:v>
                </c:pt>
                <c:pt idx="476">
                  <c:v>100</c:v>
                </c:pt>
                <c:pt idx="477">
                  <c:v>100</c:v>
                </c:pt>
                <c:pt idx="478">
                  <c:v>100</c:v>
                </c:pt>
                <c:pt idx="479">
                  <c:v>100</c:v>
                </c:pt>
                <c:pt idx="480">
                  <c:v>100</c:v>
                </c:pt>
                <c:pt idx="481">
                  <c:v>100</c:v>
                </c:pt>
                <c:pt idx="482">
                  <c:v>100</c:v>
                </c:pt>
                <c:pt idx="483">
                  <c:v>100</c:v>
                </c:pt>
                <c:pt idx="484">
                  <c:v>100</c:v>
                </c:pt>
                <c:pt idx="485">
                  <c:v>100</c:v>
                </c:pt>
                <c:pt idx="486">
                  <c:v>100</c:v>
                </c:pt>
                <c:pt idx="487">
                  <c:v>100</c:v>
                </c:pt>
                <c:pt idx="488">
                  <c:v>100</c:v>
                </c:pt>
                <c:pt idx="489">
                  <c:v>100</c:v>
                </c:pt>
                <c:pt idx="490">
                  <c:v>100</c:v>
                </c:pt>
                <c:pt idx="491">
                  <c:v>100</c:v>
                </c:pt>
                <c:pt idx="492">
                  <c:v>100</c:v>
                </c:pt>
                <c:pt idx="493">
                  <c:v>100</c:v>
                </c:pt>
                <c:pt idx="494">
                  <c:v>100</c:v>
                </c:pt>
                <c:pt idx="495">
                  <c:v>100</c:v>
                </c:pt>
                <c:pt idx="496">
                  <c:v>100</c:v>
                </c:pt>
                <c:pt idx="497">
                  <c:v>100</c:v>
                </c:pt>
                <c:pt idx="498">
                  <c:v>100</c:v>
                </c:pt>
                <c:pt idx="499">
                  <c:v>100</c:v>
                </c:pt>
                <c:pt idx="500">
                  <c:v>100</c:v>
                </c:pt>
                <c:pt idx="501">
                  <c:v>100</c:v>
                </c:pt>
                <c:pt idx="502">
                  <c:v>100</c:v>
                </c:pt>
                <c:pt idx="503">
                  <c:v>100</c:v>
                </c:pt>
                <c:pt idx="504">
                  <c:v>100</c:v>
                </c:pt>
                <c:pt idx="505">
                  <c:v>100</c:v>
                </c:pt>
                <c:pt idx="506">
                  <c:v>100</c:v>
                </c:pt>
                <c:pt idx="507">
                  <c:v>100</c:v>
                </c:pt>
                <c:pt idx="508">
                  <c:v>100</c:v>
                </c:pt>
                <c:pt idx="509">
                  <c:v>100</c:v>
                </c:pt>
                <c:pt idx="510">
                  <c:v>100</c:v>
                </c:pt>
                <c:pt idx="511">
                  <c:v>100</c:v>
                </c:pt>
                <c:pt idx="512">
                  <c:v>100</c:v>
                </c:pt>
                <c:pt idx="513">
                  <c:v>100</c:v>
                </c:pt>
                <c:pt idx="514">
                  <c:v>100</c:v>
                </c:pt>
                <c:pt idx="515">
                  <c:v>100</c:v>
                </c:pt>
                <c:pt idx="516">
                  <c:v>100</c:v>
                </c:pt>
                <c:pt idx="517">
                  <c:v>100</c:v>
                </c:pt>
                <c:pt idx="518">
                  <c:v>100</c:v>
                </c:pt>
                <c:pt idx="519">
                  <c:v>100</c:v>
                </c:pt>
                <c:pt idx="520">
                  <c:v>100</c:v>
                </c:pt>
                <c:pt idx="521">
                  <c:v>100</c:v>
                </c:pt>
                <c:pt idx="522">
                  <c:v>100</c:v>
                </c:pt>
                <c:pt idx="523">
                  <c:v>100</c:v>
                </c:pt>
                <c:pt idx="524">
                  <c:v>100</c:v>
                </c:pt>
                <c:pt idx="525">
                  <c:v>100</c:v>
                </c:pt>
                <c:pt idx="526">
                  <c:v>100</c:v>
                </c:pt>
                <c:pt idx="527">
                  <c:v>100</c:v>
                </c:pt>
                <c:pt idx="528">
                  <c:v>100</c:v>
                </c:pt>
                <c:pt idx="529">
                  <c:v>100</c:v>
                </c:pt>
                <c:pt idx="530">
                  <c:v>100</c:v>
                </c:pt>
                <c:pt idx="531">
                  <c:v>100</c:v>
                </c:pt>
                <c:pt idx="532">
                  <c:v>100</c:v>
                </c:pt>
                <c:pt idx="533">
                  <c:v>100</c:v>
                </c:pt>
                <c:pt idx="534">
                  <c:v>100</c:v>
                </c:pt>
                <c:pt idx="535">
                  <c:v>100</c:v>
                </c:pt>
                <c:pt idx="536">
                  <c:v>100</c:v>
                </c:pt>
                <c:pt idx="537">
                  <c:v>100</c:v>
                </c:pt>
                <c:pt idx="538">
                  <c:v>100</c:v>
                </c:pt>
                <c:pt idx="539">
                  <c:v>100</c:v>
                </c:pt>
                <c:pt idx="540">
                  <c:v>100</c:v>
                </c:pt>
                <c:pt idx="541">
                  <c:v>100</c:v>
                </c:pt>
                <c:pt idx="542">
                  <c:v>100</c:v>
                </c:pt>
                <c:pt idx="543">
                  <c:v>100</c:v>
                </c:pt>
                <c:pt idx="544">
                  <c:v>100</c:v>
                </c:pt>
                <c:pt idx="545">
                  <c:v>100</c:v>
                </c:pt>
                <c:pt idx="546">
                  <c:v>100</c:v>
                </c:pt>
                <c:pt idx="547">
                  <c:v>100</c:v>
                </c:pt>
                <c:pt idx="548">
                  <c:v>100</c:v>
                </c:pt>
                <c:pt idx="549">
                  <c:v>100</c:v>
                </c:pt>
                <c:pt idx="550">
                  <c:v>100</c:v>
                </c:pt>
                <c:pt idx="551">
                  <c:v>100</c:v>
                </c:pt>
                <c:pt idx="552">
                  <c:v>100</c:v>
                </c:pt>
                <c:pt idx="553">
                  <c:v>100</c:v>
                </c:pt>
                <c:pt idx="554">
                  <c:v>100</c:v>
                </c:pt>
                <c:pt idx="555">
                  <c:v>100</c:v>
                </c:pt>
                <c:pt idx="556">
                  <c:v>100</c:v>
                </c:pt>
                <c:pt idx="557">
                  <c:v>100</c:v>
                </c:pt>
                <c:pt idx="558">
                  <c:v>100</c:v>
                </c:pt>
                <c:pt idx="559">
                  <c:v>100</c:v>
                </c:pt>
                <c:pt idx="560">
                  <c:v>100</c:v>
                </c:pt>
                <c:pt idx="561">
                  <c:v>100</c:v>
                </c:pt>
                <c:pt idx="562">
                  <c:v>100</c:v>
                </c:pt>
                <c:pt idx="563">
                  <c:v>100</c:v>
                </c:pt>
                <c:pt idx="564">
                  <c:v>100</c:v>
                </c:pt>
                <c:pt idx="565">
                  <c:v>100</c:v>
                </c:pt>
                <c:pt idx="566">
                  <c:v>100</c:v>
                </c:pt>
                <c:pt idx="567">
                  <c:v>100</c:v>
                </c:pt>
                <c:pt idx="568">
                  <c:v>100</c:v>
                </c:pt>
                <c:pt idx="569">
                  <c:v>100</c:v>
                </c:pt>
                <c:pt idx="570">
                  <c:v>100</c:v>
                </c:pt>
                <c:pt idx="571">
                  <c:v>100</c:v>
                </c:pt>
                <c:pt idx="572">
                  <c:v>100</c:v>
                </c:pt>
                <c:pt idx="573">
                  <c:v>100</c:v>
                </c:pt>
                <c:pt idx="574">
                  <c:v>100</c:v>
                </c:pt>
                <c:pt idx="575">
                  <c:v>100</c:v>
                </c:pt>
                <c:pt idx="576">
                  <c:v>100</c:v>
                </c:pt>
                <c:pt idx="577">
                  <c:v>100</c:v>
                </c:pt>
                <c:pt idx="578">
                  <c:v>100</c:v>
                </c:pt>
                <c:pt idx="579">
                  <c:v>100</c:v>
                </c:pt>
                <c:pt idx="580">
                  <c:v>100</c:v>
                </c:pt>
                <c:pt idx="581">
                  <c:v>100</c:v>
                </c:pt>
                <c:pt idx="582">
                  <c:v>100</c:v>
                </c:pt>
                <c:pt idx="583">
                  <c:v>100</c:v>
                </c:pt>
                <c:pt idx="584">
                  <c:v>100</c:v>
                </c:pt>
                <c:pt idx="585">
                  <c:v>100</c:v>
                </c:pt>
                <c:pt idx="586">
                  <c:v>100</c:v>
                </c:pt>
                <c:pt idx="587">
                  <c:v>100</c:v>
                </c:pt>
                <c:pt idx="588">
                  <c:v>100</c:v>
                </c:pt>
                <c:pt idx="589">
                  <c:v>100</c:v>
                </c:pt>
                <c:pt idx="590">
                  <c:v>100</c:v>
                </c:pt>
                <c:pt idx="591">
                  <c:v>100</c:v>
                </c:pt>
                <c:pt idx="592">
                  <c:v>100</c:v>
                </c:pt>
                <c:pt idx="593">
                  <c:v>100</c:v>
                </c:pt>
                <c:pt idx="594">
                  <c:v>100</c:v>
                </c:pt>
                <c:pt idx="595">
                  <c:v>100</c:v>
                </c:pt>
                <c:pt idx="596">
                  <c:v>100</c:v>
                </c:pt>
                <c:pt idx="597">
                  <c:v>100</c:v>
                </c:pt>
                <c:pt idx="598">
                  <c:v>100</c:v>
                </c:pt>
                <c:pt idx="599">
                  <c:v>100</c:v>
                </c:pt>
                <c:pt idx="600">
                  <c:v>100</c:v>
                </c:pt>
                <c:pt idx="601">
                  <c:v>100</c:v>
                </c:pt>
                <c:pt idx="602">
                  <c:v>100</c:v>
                </c:pt>
                <c:pt idx="603">
                  <c:v>100</c:v>
                </c:pt>
                <c:pt idx="604">
                  <c:v>100</c:v>
                </c:pt>
                <c:pt idx="605">
                  <c:v>100</c:v>
                </c:pt>
                <c:pt idx="606">
                  <c:v>100</c:v>
                </c:pt>
                <c:pt idx="607">
                  <c:v>100</c:v>
                </c:pt>
                <c:pt idx="608">
                  <c:v>100</c:v>
                </c:pt>
                <c:pt idx="609">
                  <c:v>100</c:v>
                </c:pt>
                <c:pt idx="610">
                  <c:v>100</c:v>
                </c:pt>
                <c:pt idx="611">
                  <c:v>100</c:v>
                </c:pt>
                <c:pt idx="612">
                  <c:v>100</c:v>
                </c:pt>
                <c:pt idx="613">
                  <c:v>100</c:v>
                </c:pt>
                <c:pt idx="614">
                  <c:v>100</c:v>
                </c:pt>
                <c:pt idx="615">
                  <c:v>100</c:v>
                </c:pt>
                <c:pt idx="616">
                  <c:v>100</c:v>
                </c:pt>
                <c:pt idx="617">
                  <c:v>100</c:v>
                </c:pt>
                <c:pt idx="618">
                  <c:v>100</c:v>
                </c:pt>
                <c:pt idx="619">
                  <c:v>100</c:v>
                </c:pt>
                <c:pt idx="620">
                  <c:v>100</c:v>
                </c:pt>
                <c:pt idx="621">
                  <c:v>100</c:v>
                </c:pt>
                <c:pt idx="622">
                  <c:v>100</c:v>
                </c:pt>
                <c:pt idx="623">
                  <c:v>100</c:v>
                </c:pt>
                <c:pt idx="624">
                  <c:v>100</c:v>
                </c:pt>
                <c:pt idx="625">
                  <c:v>100</c:v>
                </c:pt>
                <c:pt idx="626">
                  <c:v>100</c:v>
                </c:pt>
                <c:pt idx="627">
                  <c:v>100</c:v>
                </c:pt>
                <c:pt idx="628">
                  <c:v>100</c:v>
                </c:pt>
                <c:pt idx="629">
                  <c:v>100</c:v>
                </c:pt>
                <c:pt idx="630">
                  <c:v>100</c:v>
                </c:pt>
                <c:pt idx="631">
                  <c:v>100</c:v>
                </c:pt>
                <c:pt idx="632">
                  <c:v>100</c:v>
                </c:pt>
                <c:pt idx="633">
                  <c:v>100</c:v>
                </c:pt>
                <c:pt idx="634">
                  <c:v>100</c:v>
                </c:pt>
                <c:pt idx="635">
                  <c:v>100</c:v>
                </c:pt>
                <c:pt idx="636">
                  <c:v>100</c:v>
                </c:pt>
                <c:pt idx="637">
                  <c:v>100</c:v>
                </c:pt>
                <c:pt idx="638">
                  <c:v>100</c:v>
                </c:pt>
                <c:pt idx="639">
                  <c:v>100</c:v>
                </c:pt>
                <c:pt idx="640">
                  <c:v>100</c:v>
                </c:pt>
                <c:pt idx="641">
                  <c:v>100</c:v>
                </c:pt>
                <c:pt idx="642">
                  <c:v>100</c:v>
                </c:pt>
                <c:pt idx="643">
                  <c:v>100</c:v>
                </c:pt>
                <c:pt idx="644">
                  <c:v>100</c:v>
                </c:pt>
                <c:pt idx="645">
                  <c:v>100</c:v>
                </c:pt>
                <c:pt idx="646">
                  <c:v>100</c:v>
                </c:pt>
                <c:pt idx="647">
                  <c:v>100</c:v>
                </c:pt>
                <c:pt idx="648">
                  <c:v>100</c:v>
                </c:pt>
                <c:pt idx="649">
                  <c:v>100</c:v>
                </c:pt>
                <c:pt idx="650">
                  <c:v>100</c:v>
                </c:pt>
                <c:pt idx="651">
                  <c:v>100</c:v>
                </c:pt>
                <c:pt idx="652">
                  <c:v>100</c:v>
                </c:pt>
                <c:pt idx="653">
                  <c:v>100</c:v>
                </c:pt>
                <c:pt idx="654">
                  <c:v>100</c:v>
                </c:pt>
                <c:pt idx="655">
                  <c:v>100</c:v>
                </c:pt>
                <c:pt idx="656">
                  <c:v>100</c:v>
                </c:pt>
                <c:pt idx="657">
                  <c:v>100</c:v>
                </c:pt>
                <c:pt idx="658">
                  <c:v>100</c:v>
                </c:pt>
                <c:pt idx="659">
                  <c:v>100</c:v>
                </c:pt>
                <c:pt idx="660">
                  <c:v>100</c:v>
                </c:pt>
                <c:pt idx="661">
                  <c:v>100</c:v>
                </c:pt>
                <c:pt idx="662">
                  <c:v>100</c:v>
                </c:pt>
                <c:pt idx="663">
                  <c:v>100</c:v>
                </c:pt>
                <c:pt idx="664">
                  <c:v>100</c:v>
                </c:pt>
                <c:pt idx="665">
                  <c:v>100</c:v>
                </c:pt>
                <c:pt idx="666">
                  <c:v>100</c:v>
                </c:pt>
                <c:pt idx="667">
                  <c:v>100</c:v>
                </c:pt>
                <c:pt idx="668">
                  <c:v>100</c:v>
                </c:pt>
                <c:pt idx="669">
                  <c:v>100</c:v>
                </c:pt>
                <c:pt idx="670">
                  <c:v>100</c:v>
                </c:pt>
                <c:pt idx="671">
                  <c:v>100</c:v>
                </c:pt>
                <c:pt idx="672">
                  <c:v>100</c:v>
                </c:pt>
                <c:pt idx="673">
                  <c:v>100</c:v>
                </c:pt>
                <c:pt idx="674">
                  <c:v>100</c:v>
                </c:pt>
                <c:pt idx="675">
                  <c:v>100</c:v>
                </c:pt>
                <c:pt idx="676">
                  <c:v>100</c:v>
                </c:pt>
                <c:pt idx="677">
                  <c:v>100</c:v>
                </c:pt>
                <c:pt idx="678">
                  <c:v>100</c:v>
                </c:pt>
                <c:pt idx="679">
                  <c:v>100</c:v>
                </c:pt>
                <c:pt idx="680">
                  <c:v>100</c:v>
                </c:pt>
                <c:pt idx="681">
                  <c:v>100</c:v>
                </c:pt>
                <c:pt idx="682">
                  <c:v>100</c:v>
                </c:pt>
                <c:pt idx="683">
                  <c:v>100</c:v>
                </c:pt>
                <c:pt idx="684">
                  <c:v>100</c:v>
                </c:pt>
                <c:pt idx="685">
                  <c:v>100</c:v>
                </c:pt>
                <c:pt idx="686">
                  <c:v>100</c:v>
                </c:pt>
                <c:pt idx="687">
                  <c:v>100</c:v>
                </c:pt>
                <c:pt idx="688">
                  <c:v>100</c:v>
                </c:pt>
                <c:pt idx="689">
                  <c:v>100</c:v>
                </c:pt>
                <c:pt idx="690">
                  <c:v>100</c:v>
                </c:pt>
                <c:pt idx="691">
                  <c:v>100</c:v>
                </c:pt>
                <c:pt idx="692">
                  <c:v>100</c:v>
                </c:pt>
                <c:pt idx="693">
                  <c:v>100</c:v>
                </c:pt>
                <c:pt idx="694">
                  <c:v>100</c:v>
                </c:pt>
                <c:pt idx="695">
                  <c:v>100</c:v>
                </c:pt>
                <c:pt idx="696">
                  <c:v>100</c:v>
                </c:pt>
                <c:pt idx="697">
                  <c:v>100</c:v>
                </c:pt>
                <c:pt idx="698">
                  <c:v>100</c:v>
                </c:pt>
                <c:pt idx="699">
                  <c:v>100</c:v>
                </c:pt>
                <c:pt idx="700">
                  <c:v>100</c:v>
                </c:pt>
                <c:pt idx="701">
                  <c:v>100</c:v>
                </c:pt>
                <c:pt idx="702">
                  <c:v>100</c:v>
                </c:pt>
                <c:pt idx="703">
                  <c:v>100</c:v>
                </c:pt>
                <c:pt idx="704">
                  <c:v>100</c:v>
                </c:pt>
                <c:pt idx="705">
                  <c:v>100</c:v>
                </c:pt>
                <c:pt idx="706">
                  <c:v>100</c:v>
                </c:pt>
                <c:pt idx="707">
                  <c:v>100</c:v>
                </c:pt>
                <c:pt idx="708">
                  <c:v>100</c:v>
                </c:pt>
                <c:pt idx="709">
                  <c:v>100</c:v>
                </c:pt>
                <c:pt idx="710">
                  <c:v>100</c:v>
                </c:pt>
                <c:pt idx="711">
                  <c:v>100</c:v>
                </c:pt>
                <c:pt idx="712">
                  <c:v>100</c:v>
                </c:pt>
                <c:pt idx="713">
                  <c:v>100</c:v>
                </c:pt>
                <c:pt idx="714">
                  <c:v>100</c:v>
                </c:pt>
                <c:pt idx="715">
                  <c:v>100</c:v>
                </c:pt>
                <c:pt idx="716">
                  <c:v>100</c:v>
                </c:pt>
                <c:pt idx="717">
                  <c:v>100</c:v>
                </c:pt>
                <c:pt idx="718">
                  <c:v>100</c:v>
                </c:pt>
                <c:pt idx="719">
                  <c:v>100</c:v>
                </c:pt>
                <c:pt idx="720">
                  <c:v>100</c:v>
                </c:pt>
                <c:pt idx="721">
                  <c:v>100</c:v>
                </c:pt>
                <c:pt idx="722">
                  <c:v>100</c:v>
                </c:pt>
                <c:pt idx="723">
                  <c:v>100</c:v>
                </c:pt>
                <c:pt idx="724">
                  <c:v>100</c:v>
                </c:pt>
                <c:pt idx="725">
                  <c:v>100</c:v>
                </c:pt>
                <c:pt idx="726">
                  <c:v>100</c:v>
                </c:pt>
                <c:pt idx="727">
                  <c:v>100</c:v>
                </c:pt>
                <c:pt idx="728">
                  <c:v>100</c:v>
                </c:pt>
                <c:pt idx="729">
                  <c:v>100</c:v>
                </c:pt>
                <c:pt idx="730">
                  <c:v>100</c:v>
                </c:pt>
                <c:pt idx="731">
                  <c:v>100</c:v>
                </c:pt>
                <c:pt idx="732">
                  <c:v>100</c:v>
                </c:pt>
                <c:pt idx="733">
                  <c:v>100</c:v>
                </c:pt>
                <c:pt idx="734">
                  <c:v>100</c:v>
                </c:pt>
                <c:pt idx="735">
                  <c:v>100</c:v>
                </c:pt>
                <c:pt idx="736">
                  <c:v>100</c:v>
                </c:pt>
                <c:pt idx="737">
                  <c:v>100</c:v>
                </c:pt>
                <c:pt idx="738">
                  <c:v>100</c:v>
                </c:pt>
                <c:pt idx="739">
                  <c:v>100</c:v>
                </c:pt>
                <c:pt idx="740">
                  <c:v>100</c:v>
                </c:pt>
                <c:pt idx="741">
                  <c:v>100</c:v>
                </c:pt>
                <c:pt idx="742">
                  <c:v>100</c:v>
                </c:pt>
                <c:pt idx="743">
                  <c:v>100</c:v>
                </c:pt>
                <c:pt idx="744">
                  <c:v>100</c:v>
                </c:pt>
                <c:pt idx="745">
                  <c:v>100</c:v>
                </c:pt>
                <c:pt idx="746">
                  <c:v>100</c:v>
                </c:pt>
                <c:pt idx="747">
                  <c:v>100</c:v>
                </c:pt>
                <c:pt idx="748">
                  <c:v>100</c:v>
                </c:pt>
                <c:pt idx="749">
                  <c:v>100</c:v>
                </c:pt>
                <c:pt idx="750">
                  <c:v>100</c:v>
                </c:pt>
                <c:pt idx="751">
                  <c:v>100</c:v>
                </c:pt>
                <c:pt idx="752">
                  <c:v>100</c:v>
                </c:pt>
                <c:pt idx="753">
                  <c:v>100</c:v>
                </c:pt>
                <c:pt idx="754">
                  <c:v>100</c:v>
                </c:pt>
                <c:pt idx="755">
                  <c:v>100</c:v>
                </c:pt>
                <c:pt idx="756">
                  <c:v>100</c:v>
                </c:pt>
                <c:pt idx="757">
                  <c:v>100</c:v>
                </c:pt>
                <c:pt idx="758">
                  <c:v>100</c:v>
                </c:pt>
                <c:pt idx="759">
                  <c:v>100</c:v>
                </c:pt>
                <c:pt idx="760">
                  <c:v>100</c:v>
                </c:pt>
                <c:pt idx="761">
                  <c:v>100</c:v>
                </c:pt>
                <c:pt idx="762">
                  <c:v>100</c:v>
                </c:pt>
                <c:pt idx="763">
                  <c:v>100</c:v>
                </c:pt>
                <c:pt idx="764">
                  <c:v>100</c:v>
                </c:pt>
                <c:pt idx="765">
                  <c:v>100</c:v>
                </c:pt>
                <c:pt idx="766">
                  <c:v>100</c:v>
                </c:pt>
                <c:pt idx="767">
                  <c:v>100</c:v>
                </c:pt>
                <c:pt idx="768">
                  <c:v>100</c:v>
                </c:pt>
                <c:pt idx="769">
                  <c:v>100</c:v>
                </c:pt>
                <c:pt idx="770">
                  <c:v>100</c:v>
                </c:pt>
                <c:pt idx="771">
                  <c:v>100</c:v>
                </c:pt>
                <c:pt idx="772">
                  <c:v>100</c:v>
                </c:pt>
                <c:pt idx="773">
                  <c:v>100</c:v>
                </c:pt>
                <c:pt idx="774">
                  <c:v>100</c:v>
                </c:pt>
                <c:pt idx="775">
                  <c:v>100</c:v>
                </c:pt>
                <c:pt idx="776">
                  <c:v>100</c:v>
                </c:pt>
                <c:pt idx="777">
                  <c:v>100</c:v>
                </c:pt>
                <c:pt idx="778">
                  <c:v>100</c:v>
                </c:pt>
                <c:pt idx="779">
                  <c:v>100</c:v>
                </c:pt>
                <c:pt idx="780">
                  <c:v>100</c:v>
                </c:pt>
                <c:pt idx="781">
                  <c:v>100</c:v>
                </c:pt>
                <c:pt idx="782">
                  <c:v>100</c:v>
                </c:pt>
                <c:pt idx="783">
                  <c:v>100</c:v>
                </c:pt>
                <c:pt idx="784">
                  <c:v>100</c:v>
                </c:pt>
                <c:pt idx="785">
                  <c:v>100</c:v>
                </c:pt>
                <c:pt idx="786">
                  <c:v>100</c:v>
                </c:pt>
                <c:pt idx="787">
                  <c:v>100</c:v>
                </c:pt>
                <c:pt idx="788">
                  <c:v>100</c:v>
                </c:pt>
                <c:pt idx="789">
                  <c:v>100</c:v>
                </c:pt>
                <c:pt idx="790">
                  <c:v>100</c:v>
                </c:pt>
                <c:pt idx="791">
                  <c:v>100</c:v>
                </c:pt>
                <c:pt idx="792">
                  <c:v>100</c:v>
                </c:pt>
                <c:pt idx="793">
                  <c:v>100</c:v>
                </c:pt>
                <c:pt idx="794">
                  <c:v>100</c:v>
                </c:pt>
                <c:pt idx="795">
                  <c:v>100</c:v>
                </c:pt>
                <c:pt idx="796">
                  <c:v>100</c:v>
                </c:pt>
                <c:pt idx="797">
                  <c:v>100</c:v>
                </c:pt>
                <c:pt idx="798">
                  <c:v>100</c:v>
                </c:pt>
                <c:pt idx="799">
                  <c:v>100</c:v>
                </c:pt>
                <c:pt idx="800">
                  <c:v>100</c:v>
                </c:pt>
                <c:pt idx="801">
                  <c:v>100</c:v>
                </c:pt>
                <c:pt idx="802">
                  <c:v>100</c:v>
                </c:pt>
                <c:pt idx="803">
                  <c:v>100</c:v>
                </c:pt>
                <c:pt idx="804">
                  <c:v>100</c:v>
                </c:pt>
                <c:pt idx="805">
                  <c:v>100</c:v>
                </c:pt>
                <c:pt idx="806">
                  <c:v>100</c:v>
                </c:pt>
                <c:pt idx="807">
                  <c:v>100</c:v>
                </c:pt>
                <c:pt idx="808">
                  <c:v>100</c:v>
                </c:pt>
                <c:pt idx="809">
                  <c:v>100</c:v>
                </c:pt>
                <c:pt idx="810">
                  <c:v>100</c:v>
                </c:pt>
                <c:pt idx="811">
                  <c:v>100</c:v>
                </c:pt>
                <c:pt idx="812">
                  <c:v>100</c:v>
                </c:pt>
                <c:pt idx="813">
                  <c:v>100</c:v>
                </c:pt>
                <c:pt idx="814">
                  <c:v>100</c:v>
                </c:pt>
                <c:pt idx="815">
                  <c:v>100</c:v>
                </c:pt>
                <c:pt idx="816">
                  <c:v>100</c:v>
                </c:pt>
                <c:pt idx="817">
                  <c:v>100</c:v>
                </c:pt>
                <c:pt idx="818">
                  <c:v>100</c:v>
                </c:pt>
                <c:pt idx="819">
                  <c:v>100</c:v>
                </c:pt>
                <c:pt idx="820">
                  <c:v>100</c:v>
                </c:pt>
                <c:pt idx="821">
                  <c:v>100</c:v>
                </c:pt>
                <c:pt idx="822">
                  <c:v>100</c:v>
                </c:pt>
                <c:pt idx="823">
                  <c:v>100</c:v>
                </c:pt>
                <c:pt idx="824">
                  <c:v>100</c:v>
                </c:pt>
                <c:pt idx="825">
                  <c:v>100</c:v>
                </c:pt>
                <c:pt idx="826">
                  <c:v>100</c:v>
                </c:pt>
                <c:pt idx="827">
                  <c:v>100</c:v>
                </c:pt>
                <c:pt idx="828">
                  <c:v>100</c:v>
                </c:pt>
                <c:pt idx="829">
                  <c:v>100</c:v>
                </c:pt>
                <c:pt idx="830">
                  <c:v>100</c:v>
                </c:pt>
                <c:pt idx="831">
                  <c:v>100</c:v>
                </c:pt>
                <c:pt idx="832">
                  <c:v>100</c:v>
                </c:pt>
                <c:pt idx="833">
                  <c:v>100</c:v>
                </c:pt>
                <c:pt idx="834">
                  <c:v>100</c:v>
                </c:pt>
                <c:pt idx="835">
                  <c:v>100</c:v>
                </c:pt>
                <c:pt idx="836">
                  <c:v>100</c:v>
                </c:pt>
                <c:pt idx="837">
                  <c:v>100</c:v>
                </c:pt>
                <c:pt idx="838">
                  <c:v>100</c:v>
                </c:pt>
                <c:pt idx="839">
                  <c:v>100</c:v>
                </c:pt>
                <c:pt idx="840">
                  <c:v>100</c:v>
                </c:pt>
                <c:pt idx="841">
                  <c:v>100</c:v>
                </c:pt>
                <c:pt idx="842">
                  <c:v>100</c:v>
                </c:pt>
                <c:pt idx="843">
                  <c:v>100</c:v>
                </c:pt>
                <c:pt idx="844">
                  <c:v>100</c:v>
                </c:pt>
                <c:pt idx="845">
                  <c:v>100</c:v>
                </c:pt>
                <c:pt idx="846">
                  <c:v>100</c:v>
                </c:pt>
                <c:pt idx="847">
                  <c:v>100</c:v>
                </c:pt>
                <c:pt idx="848">
                  <c:v>100</c:v>
                </c:pt>
                <c:pt idx="849">
                  <c:v>100</c:v>
                </c:pt>
                <c:pt idx="850">
                  <c:v>100</c:v>
                </c:pt>
                <c:pt idx="851">
                  <c:v>100</c:v>
                </c:pt>
                <c:pt idx="852">
                  <c:v>100</c:v>
                </c:pt>
                <c:pt idx="853">
                  <c:v>100</c:v>
                </c:pt>
                <c:pt idx="854">
                  <c:v>100</c:v>
                </c:pt>
                <c:pt idx="855">
                  <c:v>100</c:v>
                </c:pt>
                <c:pt idx="856">
                  <c:v>100</c:v>
                </c:pt>
                <c:pt idx="857">
                  <c:v>100</c:v>
                </c:pt>
                <c:pt idx="858">
                  <c:v>100</c:v>
                </c:pt>
                <c:pt idx="859">
                  <c:v>100</c:v>
                </c:pt>
                <c:pt idx="860">
                  <c:v>100</c:v>
                </c:pt>
                <c:pt idx="861">
                  <c:v>100</c:v>
                </c:pt>
                <c:pt idx="862">
                  <c:v>100</c:v>
                </c:pt>
                <c:pt idx="863">
                  <c:v>100</c:v>
                </c:pt>
                <c:pt idx="864">
                  <c:v>100</c:v>
                </c:pt>
                <c:pt idx="865">
                  <c:v>100</c:v>
                </c:pt>
                <c:pt idx="866">
                  <c:v>100</c:v>
                </c:pt>
                <c:pt idx="867">
                  <c:v>100</c:v>
                </c:pt>
                <c:pt idx="868">
                  <c:v>100</c:v>
                </c:pt>
                <c:pt idx="869">
                  <c:v>100</c:v>
                </c:pt>
                <c:pt idx="870">
                  <c:v>100</c:v>
                </c:pt>
                <c:pt idx="871">
                  <c:v>100</c:v>
                </c:pt>
                <c:pt idx="872">
                  <c:v>100</c:v>
                </c:pt>
                <c:pt idx="873">
                  <c:v>100</c:v>
                </c:pt>
                <c:pt idx="874">
                  <c:v>100</c:v>
                </c:pt>
                <c:pt idx="875">
                  <c:v>100</c:v>
                </c:pt>
                <c:pt idx="876">
                  <c:v>100</c:v>
                </c:pt>
                <c:pt idx="877">
                  <c:v>100</c:v>
                </c:pt>
                <c:pt idx="878">
                  <c:v>100</c:v>
                </c:pt>
                <c:pt idx="879">
                  <c:v>100</c:v>
                </c:pt>
                <c:pt idx="880">
                  <c:v>100</c:v>
                </c:pt>
                <c:pt idx="881">
                  <c:v>100</c:v>
                </c:pt>
                <c:pt idx="882">
                  <c:v>100</c:v>
                </c:pt>
                <c:pt idx="883">
                  <c:v>100</c:v>
                </c:pt>
                <c:pt idx="884">
                  <c:v>100</c:v>
                </c:pt>
                <c:pt idx="885">
                  <c:v>100</c:v>
                </c:pt>
                <c:pt idx="886">
                  <c:v>100</c:v>
                </c:pt>
                <c:pt idx="887">
                  <c:v>100</c:v>
                </c:pt>
                <c:pt idx="888">
                  <c:v>100</c:v>
                </c:pt>
                <c:pt idx="889">
                  <c:v>100</c:v>
                </c:pt>
                <c:pt idx="890">
                  <c:v>100</c:v>
                </c:pt>
                <c:pt idx="891">
                  <c:v>100</c:v>
                </c:pt>
                <c:pt idx="892">
                  <c:v>100</c:v>
                </c:pt>
                <c:pt idx="893">
                  <c:v>100</c:v>
                </c:pt>
                <c:pt idx="894">
                  <c:v>100</c:v>
                </c:pt>
                <c:pt idx="895">
                  <c:v>100</c:v>
                </c:pt>
                <c:pt idx="896">
                  <c:v>100</c:v>
                </c:pt>
                <c:pt idx="897">
                  <c:v>100</c:v>
                </c:pt>
                <c:pt idx="898">
                  <c:v>100</c:v>
                </c:pt>
                <c:pt idx="899">
                  <c:v>100</c:v>
                </c:pt>
                <c:pt idx="900">
                  <c:v>100</c:v>
                </c:pt>
                <c:pt idx="901">
                  <c:v>100</c:v>
                </c:pt>
                <c:pt idx="902">
                  <c:v>100</c:v>
                </c:pt>
                <c:pt idx="903">
                  <c:v>100</c:v>
                </c:pt>
                <c:pt idx="904">
                  <c:v>100</c:v>
                </c:pt>
                <c:pt idx="905">
                  <c:v>100</c:v>
                </c:pt>
                <c:pt idx="906">
                  <c:v>100</c:v>
                </c:pt>
                <c:pt idx="907">
                  <c:v>100</c:v>
                </c:pt>
                <c:pt idx="908">
                  <c:v>100</c:v>
                </c:pt>
                <c:pt idx="909">
                  <c:v>100</c:v>
                </c:pt>
                <c:pt idx="910">
                  <c:v>100</c:v>
                </c:pt>
                <c:pt idx="911">
                  <c:v>100</c:v>
                </c:pt>
                <c:pt idx="912">
                  <c:v>100</c:v>
                </c:pt>
                <c:pt idx="913">
                  <c:v>100</c:v>
                </c:pt>
                <c:pt idx="914">
                  <c:v>100</c:v>
                </c:pt>
                <c:pt idx="915">
                  <c:v>100</c:v>
                </c:pt>
                <c:pt idx="916">
                  <c:v>100</c:v>
                </c:pt>
                <c:pt idx="917">
                  <c:v>100</c:v>
                </c:pt>
                <c:pt idx="918">
                  <c:v>100</c:v>
                </c:pt>
                <c:pt idx="919">
                  <c:v>100</c:v>
                </c:pt>
                <c:pt idx="920">
                  <c:v>100</c:v>
                </c:pt>
                <c:pt idx="921">
                  <c:v>100</c:v>
                </c:pt>
                <c:pt idx="922">
                  <c:v>100</c:v>
                </c:pt>
                <c:pt idx="923">
                  <c:v>100</c:v>
                </c:pt>
                <c:pt idx="924">
                  <c:v>100</c:v>
                </c:pt>
                <c:pt idx="925">
                  <c:v>100</c:v>
                </c:pt>
                <c:pt idx="926">
                  <c:v>100</c:v>
                </c:pt>
                <c:pt idx="927">
                  <c:v>100</c:v>
                </c:pt>
                <c:pt idx="928">
                  <c:v>100</c:v>
                </c:pt>
                <c:pt idx="929">
                  <c:v>100</c:v>
                </c:pt>
                <c:pt idx="930">
                  <c:v>100</c:v>
                </c:pt>
                <c:pt idx="931">
                  <c:v>100</c:v>
                </c:pt>
                <c:pt idx="932">
                  <c:v>100</c:v>
                </c:pt>
                <c:pt idx="933">
                  <c:v>100</c:v>
                </c:pt>
                <c:pt idx="934">
                  <c:v>100</c:v>
                </c:pt>
                <c:pt idx="935">
                  <c:v>100</c:v>
                </c:pt>
                <c:pt idx="936">
                  <c:v>100</c:v>
                </c:pt>
                <c:pt idx="937">
                  <c:v>100</c:v>
                </c:pt>
                <c:pt idx="938">
                  <c:v>100</c:v>
                </c:pt>
                <c:pt idx="939">
                  <c:v>100</c:v>
                </c:pt>
                <c:pt idx="940">
                  <c:v>100</c:v>
                </c:pt>
                <c:pt idx="941">
                  <c:v>100</c:v>
                </c:pt>
                <c:pt idx="942">
                  <c:v>100</c:v>
                </c:pt>
                <c:pt idx="943">
                  <c:v>100</c:v>
                </c:pt>
                <c:pt idx="944">
                  <c:v>100</c:v>
                </c:pt>
                <c:pt idx="945">
                  <c:v>100</c:v>
                </c:pt>
                <c:pt idx="946">
                  <c:v>100</c:v>
                </c:pt>
                <c:pt idx="947">
                  <c:v>100</c:v>
                </c:pt>
                <c:pt idx="948">
                  <c:v>100</c:v>
                </c:pt>
                <c:pt idx="949">
                  <c:v>100</c:v>
                </c:pt>
                <c:pt idx="950">
                  <c:v>100</c:v>
                </c:pt>
                <c:pt idx="951">
                  <c:v>100</c:v>
                </c:pt>
                <c:pt idx="952">
                  <c:v>100</c:v>
                </c:pt>
                <c:pt idx="953">
                  <c:v>100</c:v>
                </c:pt>
                <c:pt idx="954">
                  <c:v>100</c:v>
                </c:pt>
                <c:pt idx="955">
                  <c:v>100</c:v>
                </c:pt>
                <c:pt idx="956">
                  <c:v>100</c:v>
                </c:pt>
                <c:pt idx="957">
                  <c:v>100</c:v>
                </c:pt>
                <c:pt idx="958">
                  <c:v>100</c:v>
                </c:pt>
                <c:pt idx="959">
                  <c:v>100</c:v>
                </c:pt>
                <c:pt idx="960">
                  <c:v>100</c:v>
                </c:pt>
                <c:pt idx="961">
                  <c:v>100</c:v>
                </c:pt>
                <c:pt idx="962">
                  <c:v>100</c:v>
                </c:pt>
                <c:pt idx="963">
                  <c:v>100</c:v>
                </c:pt>
                <c:pt idx="964">
                  <c:v>100</c:v>
                </c:pt>
                <c:pt idx="965">
                  <c:v>100</c:v>
                </c:pt>
                <c:pt idx="966">
                  <c:v>100</c:v>
                </c:pt>
                <c:pt idx="967">
                  <c:v>100</c:v>
                </c:pt>
                <c:pt idx="968">
                  <c:v>100</c:v>
                </c:pt>
                <c:pt idx="969">
                  <c:v>100</c:v>
                </c:pt>
                <c:pt idx="970">
                  <c:v>100</c:v>
                </c:pt>
                <c:pt idx="971">
                  <c:v>100</c:v>
                </c:pt>
                <c:pt idx="972">
                  <c:v>100</c:v>
                </c:pt>
                <c:pt idx="973">
                  <c:v>100</c:v>
                </c:pt>
                <c:pt idx="974">
                  <c:v>100</c:v>
                </c:pt>
                <c:pt idx="975">
                  <c:v>100</c:v>
                </c:pt>
                <c:pt idx="976">
                  <c:v>100</c:v>
                </c:pt>
                <c:pt idx="977">
                  <c:v>100</c:v>
                </c:pt>
                <c:pt idx="978">
                  <c:v>100</c:v>
                </c:pt>
                <c:pt idx="979">
                  <c:v>100</c:v>
                </c:pt>
                <c:pt idx="980">
                  <c:v>100</c:v>
                </c:pt>
                <c:pt idx="981">
                  <c:v>100</c:v>
                </c:pt>
                <c:pt idx="982">
                  <c:v>100</c:v>
                </c:pt>
                <c:pt idx="983">
                  <c:v>100</c:v>
                </c:pt>
                <c:pt idx="984">
                  <c:v>100</c:v>
                </c:pt>
                <c:pt idx="985">
                  <c:v>100</c:v>
                </c:pt>
                <c:pt idx="986">
                  <c:v>100</c:v>
                </c:pt>
                <c:pt idx="987">
                  <c:v>100</c:v>
                </c:pt>
                <c:pt idx="988">
                  <c:v>100</c:v>
                </c:pt>
                <c:pt idx="989">
                  <c:v>100</c:v>
                </c:pt>
                <c:pt idx="990">
                  <c:v>100</c:v>
                </c:pt>
                <c:pt idx="991">
                  <c:v>100</c:v>
                </c:pt>
                <c:pt idx="992">
                  <c:v>100</c:v>
                </c:pt>
                <c:pt idx="993">
                  <c:v>100</c:v>
                </c:pt>
                <c:pt idx="994">
                  <c:v>100</c:v>
                </c:pt>
                <c:pt idx="995">
                  <c:v>100</c:v>
                </c:pt>
                <c:pt idx="996">
                  <c:v>100</c:v>
                </c:pt>
                <c:pt idx="997">
                  <c:v>100</c:v>
                </c:pt>
                <c:pt idx="998">
                  <c:v>100</c:v>
                </c:pt>
                <c:pt idx="999">
                  <c:v>100</c:v>
                </c:pt>
                <c:pt idx="1000">
                  <c:v>100</c:v>
                </c:pt>
                <c:pt idx="1001">
                  <c:v>100</c:v>
                </c:pt>
                <c:pt idx="1002">
                  <c:v>100</c:v>
                </c:pt>
                <c:pt idx="1003">
                  <c:v>100</c:v>
                </c:pt>
                <c:pt idx="1004">
                  <c:v>100</c:v>
                </c:pt>
                <c:pt idx="1005">
                  <c:v>100</c:v>
                </c:pt>
                <c:pt idx="1006">
                  <c:v>100</c:v>
                </c:pt>
                <c:pt idx="1007">
                  <c:v>100</c:v>
                </c:pt>
                <c:pt idx="1008">
                  <c:v>100</c:v>
                </c:pt>
                <c:pt idx="1009">
                  <c:v>100</c:v>
                </c:pt>
                <c:pt idx="1010">
                  <c:v>100</c:v>
                </c:pt>
                <c:pt idx="1011">
                  <c:v>100</c:v>
                </c:pt>
                <c:pt idx="1012">
                  <c:v>100</c:v>
                </c:pt>
                <c:pt idx="1013">
                  <c:v>100</c:v>
                </c:pt>
                <c:pt idx="1014">
                  <c:v>100</c:v>
                </c:pt>
                <c:pt idx="1015">
                  <c:v>100</c:v>
                </c:pt>
                <c:pt idx="1016">
                  <c:v>100</c:v>
                </c:pt>
                <c:pt idx="1017">
                  <c:v>100</c:v>
                </c:pt>
                <c:pt idx="1018">
                  <c:v>100</c:v>
                </c:pt>
                <c:pt idx="1019">
                  <c:v>100</c:v>
                </c:pt>
                <c:pt idx="1020">
                  <c:v>100</c:v>
                </c:pt>
                <c:pt idx="1021">
                  <c:v>100</c:v>
                </c:pt>
                <c:pt idx="1022">
                  <c:v>100</c:v>
                </c:pt>
                <c:pt idx="1023">
                  <c:v>100</c:v>
                </c:pt>
                <c:pt idx="1024">
                  <c:v>100</c:v>
                </c:pt>
                <c:pt idx="1025">
                  <c:v>100</c:v>
                </c:pt>
                <c:pt idx="1026">
                  <c:v>100</c:v>
                </c:pt>
                <c:pt idx="1027">
                  <c:v>100</c:v>
                </c:pt>
                <c:pt idx="1028">
                  <c:v>100</c:v>
                </c:pt>
                <c:pt idx="1029">
                  <c:v>100</c:v>
                </c:pt>
                <c:pt idx="1030">
                  <c:v>100</c:v>
                </c:pt>
                <c:pt idx="1031">
                  <c:v>100</c:v>
                </c:pt>
                <c:pt idx="1032">
                  <c:v>100</c:v>
                </c:pt>
                <c:pt idx="1033">
                  <c:v>100</c:v>
                </c:pt>
                <c:pt idx="1034">
                  <c:v>100</c:v>
                </c:pt>
                <c:pt idx="1035">
                  <c:v>100</c:v>
                </c:pt>
                <c:pt idx="1036">
                  <c:v>100</c:v>
                </c:pt>
                <c:pt idx="1037">
                  <c:v>100</c:v>
                </c:pt>
                <c:pt idx="1038">
                  <c:v>100</c:v>
                </c:pt>
                <c:pt idx="1039">
                  <c:v>100</c:v>
                </c:pt>
                <c:pt idx="1040">
                  <c:v>100</c:v>
                </c:pt>
                <c:pt idx="1041">
                  <c:v>100</c:v>
                </c:pt>
                <c:pt idx="1042">
                  <c:v>100</c:v>
                </c:pt>
                <c:pt idx="1043">
                  <c:v>100</c:v>
                </c:pt>
                <c:pt idx="1044">
                  <c:v>100</c:v>
                </c:pt>
                <c:pt idx="1045">
                  <c:v>100</c:v>
                </c:pt>
                <c:pt idx="1046">
                  <c:v>100</c:v>
                </c:pt>
                <c:pt idx="1047">
                  <c:v>100</c:v>
                </c:pt>
                <c:pt idx="1048">
                  <c:v>100</c:v>
                </c:pt>
                <c:pt idx="1049">
                  <c:v>100</c:v>
                </c:pt>
                <c:pt idx="1050">
                  <c:v>100</c:v>
                </c:pt>
                <c:pt idx="1051">
                  <c:v>100</c:v>
                </c:pt>
                <c:pt idx="1052">
                  <c:v>100</c:v>
                </c:pt>
                <c:pt idx="1053">
                  <c:v>100</c:v>
                </c:pt>
                <c:pt idx="1054">
                  <c:v>100</c:v>
                </c:pt>
                <c:pt idx="1055">
                  <c:v>100</c:v>
                </c:pt>
                <c:pt idx="1056">
                  <c:v>100</c:v>
                </c:pt>
                <c:pt idx="1057">
                  <c:v>100</c:v>
                </c:pt>
                <c:pt idx="1058">
                  <c:v>100</c:v>
                </c:pt>
                <c:pt idx="1059">
                  <c:v>100</c:v>
                </c:pt>
                <c:pt idx="1060">
                  <c:v>100</c:v>
                </c:pt>
                <c:pt idx="1061">
                  <c:v>100</c:v>
                </c:pt>
                <c:pt idx="1062">
                  <c:v>100</c:v>
                </c:pt>
                <c:pt idx="1063">
                  <c:v>100</c:v>
                </c:pt>
                <c:pt idx="1064">
                  <c:v>100</c:v>
                </c:pt>
                <c:pt idx="1065">
                  <c:v>100</c:v>
                </c:pt>
                <c:pt idx="1066">
                  <c:v>100</c:v>
                </c:pt>
                <c:pt idx="1067">
                  <c:v>100</c:v>
                </c:pt>
                <c:pt idx="1068">
                  <c:v>100</c:v>
                </c:pt>
                <c:pt idx="1069">
                  <c:v>100</c:v>
                </c:pt>
                <c:pt idx="1070">
                  <c:v>100</c:v>
                </c:pt>
                <c:pt idx="1071">
                  <c:v>100</c:v>
                </c:pt>
                <c:pt idx="1072">
                  <c:v>100</c:v>
                </c:pt>
                <c:pt idx="1073">
                  <c:v>100</c:v>
                </c:pt>
                <c:pt idx="1074">
                  <c:v>100</c:v>
                </c:pt>
                <c:pt idx="1075">
                  <c:v>100</c:v>
                </c:pt>
                <c:pt idx="1076">
                  <c:v>100</c:v>
                </c:pt>
                <c:pt idx="1077">
                  <c:v>100</c:v>
                </c:pt>
                <c:pt idx="1078">
                  <c:v>100</c:v>
                </c:pt>
                <c:pt idx="1079">
                  <c:v>100</c:v>
                </c:pt>
                <c:pt idx="1080">
                  <c:v>100</c:v>
                </c:pt>
                <c:pt idx="1081">
                  <c:v>100</c:v>
                </c:pt>
                <c:pt idx="1082">
                  <c:v>100</c:v>
                </c:pt>
                <c:pt idx="1083">
                  <c:v>100</c:v>
                </c:pt>
                <c:pt idx="1084">
                  <c:v>100</c:v>
                </c:pt>
                <c:pt idx="1085">
                  <c:v>100</c:v>
                </c:pt>
                <c:pt idx="1086">
                  <c:v>100</c:v>
                </c:pt>
                <c:pt idx="1087">
                  <c:v>100</c:v>
                </c:pt>
                <c:pt idx="1088">
                  <c:v>100</c:v>
                </c:pt>
                <c:pt idx="1089">
                  <c:v>100</c:v>
                </c:pt>
                <c:pt idx="1090">
                  <c:v>100</c:v>
                </c:pt>
                <c:pt idx="1091">
                  <c:v>100</c:v>
                </c:pt>
                <c:pt idx="1092">
                  <c:v>100</c:v>
                </c:pt>
                <c:pt idx="1093">
                  <c:v>100</c:v>
                </c:pt>
                <c:pt idx="1094">
                  <c:v>100</c:v>
                </c:pt>
                <c:pt idx="1095">
                  <c:v>100</c:v>
                </c:pt>
                <c:pt idx="1096">
                  <c:v>100</c:v>
                </c:pt>
                <c:pt idx="1097">
                  <c:v>100</c:v>
                </c:pt>
                <c:pt idx="1098">
                  <c:v>100</c:v>
                </c:pt>
                <c:pt idx="1099">
                  <c:v>100</c:v>
                </c:pt>
                <c:pt idx="1100">
                  <c:v>100</c:v>
                </c:pt>
                <c:pt idx="1101">
                  <c:v>100</c:v>
                </c:pt>
                <c:pt idx="1102">
                  <c:v>100</c:v>
                </c:pt>
                <c:pt idx="1103">
                  <c:v>100</c:v>
                </c:pt>
                <c:pt idx="1104">
                  <c:v>100</c:v>
                </c:pt>
                <c:pt idx="1105">
                  <c:v>100</c:v>
                </c:pt>
                <c:pt idx="1106">
                  <c:v>100</c:v>
                </c:pt>
                <c:pt idx="1107">
                  <c:v>100</c:v>
                </c:pt>
                <c:pt idx="1108">
                  <c:v>100</c:v>
                </c:pt>
                <c:pt idx="1109">
                  <c:v>100</c:v>
                </c:pt>
                <c:pt idx="1110">
                  <c:v>100</c:v>
                </c:pt>
                <c:pt idx="1111">
                  <c:v>100</c:v>
                </c:pt>
                <c:pt idx="1112">
                  <c:v>100</c:v>
                </c:pt>
                <c:pt idx="1113">
                  <c:v>100</c:v>
                </c:pt>
                <c:pt idx="1114">
                  <c:v>100</c:v>
                </c:pt>
                <c:pt idx="1115">
                  <c:v>100</c:v>
                </c:pt>
                <c:pt idx="1116">
                  <c:v>100</c:v>
                </c:pt>
                <c:pt idx="1117">
                  <c:v>100</c:v>
                </c:pt>
                <c:pt idx="1118">
                  <c:v>100</c:v>
                </c:pt>
                <c:pt idx="1119">
                  <c:v>100</c:v>
                </c:pt>
                <c:pt idx="1120">
                  <c:v>100</c:v>
                </c:pt>
                <c:pt idx="1121">
                  <c:v>100</c:v>
                </c:pt>
                <c:pt idx="1122">
                  <c:v>100</c:v>
                </c:pt>
                <c:pt idx="1123">
                  <c:v>100</c:v>
                </c:pt>
                <c:pt idx="1124">
                  <c:v>100</c:v>
                </c:pt>
                <c:pt idx="1125">
                  <c:v>100</c:v>
                </c:pt>
                <c:pt idx="1126">
                  <c:v>100</c:v>
                </c:pt>
                <c:pt idx="1127">
                  <c:v>100</c:v>
                </c:pt>
                <c:pt idx="1128">
                  <c:v>100</c:v>
                </c:pt>
                <c:pt idx="1129">
                  <c:v>100</c:v>
                </c:pt>
                <c:pt idx="1130">
                  <c:v>100</c:v>
                </c:pt>
                <c:pt idx="1131">
                  <c:v>100</c:v>
                </c:pt>
                <c:pt idx="1132">
                  <c:v>100</c:v>
                </c:pt>
                <c:pt idx="1133">
                  <c:v>100</c:v>
                </c:pt>
                <c:pt idx="1134">
                  <c:v>100</c:v>
                </c:pt>
                <c:pt idx="1135">
                  <c:v>100</c:v>
                </c:pt>
                <c:pt idx="1136">
                  <c:v>100</c:v>
                </c:pt>
                <c:pt idx="1137">
                  <c:v>100</c:v>
                </c:pt>
                <c:pt idx="1138">
                  <c:v>100</c:v>
                </c:pt>
                <c:pt idx="1139">
                  <c:v>100</c:v>
                </c:pt>
                <c:pt idx="1140">
                  <c:v>100</c:v>
                </c:pt>
                <c:pt idx="1141">
                  <c:v>100</c:v>
                </c:pt>
                <c:pt idx="1142">
                  <c:v>100</c:v>
                </c:pt>
                <c:pt idx="1143">
                  <c:v>100</c:v>
                </c:pt>
                <c:pt idx="1144">
                  <c:v>100</c:v>
                </c:pt>
                <c:pt idx="1145">
                  <c:v>100</c:v>
                </c:pt>
                <c:pt idx="1146">
                  <c:v>100</c:v>
                </c:pt>
                <c:pt idx="1147">
                  <c:v>100</c:v>
                </c:pt>
                <c:pt idx="1148">
                  <c:v>100</c:v>
                </c:pt>
                <c:pt idx="1149">
                  <c:v>100</c:v>
                </c:pt>
                <c:pt idx="1150">
                  <c:v>100</c:v>
                </c:pt>
                <c:pt idx="1151">
                  <c:v>100</c:v>
                </c:pt>
                <c:pt idx="1152">
                  <c:v>100</c:v>
                </c:pt>
                <c:pt idx="1153">
                  <c:v>100</c:v>
                </c:pt>
                <c:pt idx="1154">
                  <c:v>100</c:v>
                </c:pt>
                <c:pt idx="1155">
                  <c:v>100</c:v>
                </c:pt>
                <c:pt idx="1156">
                  <c:v>100</c:v>
                </c:pt>
                <c:pt idx="1157">
                  <c:v>100</c:v>
                </c:pt>
                <c:pt idx="1158">
                  <c:v>100</c:v>
                </c:pt>
                <c:pt idx="1159">
                  <c:v>100</c:v>
                </c:pt>
                <c:pt idx="1160">
                  <c:v>100</c:v>
                </c:pt>
                <c:pt idx="1161">
                  <c:v>100</c:v>
                </c:pt>
                <c:pt idx="1162">
                  <c:v>100</c:v>
                </c:pt>
                <c:pt idx="1163">
                  <c:v>100</c:v>
                </c:pt>
                <c:pt idx="1164">
                  <c:v>100</c:v>
                </c:pt>
                <c:pt idx="1165">
                  <c:v>100</c:v>
                </c:pt>
                <c:pt idx="1166">
                  <c:v>100</c:v>
                </c:pt>
                <c:pt idx="1167">
                  <c:v>100</c:v>
                </c:pt>
                <c:pt idx="1168">
                  <c:v>100</c:v>
                </c:pt>
                <c:pt idx="1169">
                  <c:v>100</c:v>
                </c:pt>
                <c:pt idx="1170">
                  <c:v>100</c:v>
                </c:pt>
                <c:pt idx="1171">
                  <c:v>100</c:v>
                </c:pt>
                <c:pt idx="1172">
                  <c:v>100</c:v>
                </c:pt>
                <c:pt idx="1173">
                  <c:v>100</c:v>
                </c:pt>
                <c:pt idx="1174">
                  <c:v>100</c:v>
                </c:pt>
                <c:pt idx="1175">
                  <c:v>100</c:v>
                </c:pt>
                <c:pt idx="1176">
                  <c:v>100</c:v>
                </c:pt>
                <c:pt idx="1177">
                  <c:v>100</c:v>
                </c:pt>
                <c:pt idx="1178">
                  <c:v>100</c:v>
                </c:pt>
                <c:pt idx="1179">
                  <c:v>100</c:v>
                </c:pt>
                <c:pt idx="1180">
                  <c:v>100</c:v>
                </c:pt>
                <c:pt idx="1181">
                  <c:v>100</c:v>
                </c:pt>
                <c:pt idx="1182">
                  <c:v>100</c:v>
                </c:pt>
                <c:pt idx="1183">
                  <c:v>100</c:v>
                </c:pt>
                <c:pt idx="1184">
                  <c:v>100</c:v>
                </c:pt>
                <c:pt idx="1185">
                  <c:v>100</c:v>
                </c:pt>
                <c:pt idx="1186">
                  <c:v>100</c:v>
                </c:pt>
                <c:pt idx="1187">
                  <c:v>100</c:v>
                </c:pt>
                <c:pt idx="1188">
                  <c:v>100</c:v>
                </c:pt>
                <c:pt idx="1189">
                  <c:v>100</c:v>
                </c:pt>
                <c:pt idx="1190">
                  <c:v>100</c:v>
                </c:pt>
                <c:pt idx="1191">
                  <c:v>100</c:v>
                </c:pt>
                <c:pt idx="1192">
                  <c:v>100</c:v>
                </c:pt>
                <c:pt idx="1193">
                  <c:v>100</c:v>
                </c:pt>
                <c:pt idx="1194">
                  <c:v>100</c:v>
                </c:pt>
                <c:pt idx="1195">
                  <c:v>100</c:v>
                </c:pt>
                <c:pt idx="1196">
                  <c:v>100</c:v>
                </c:pt>
                <c:pt idx="1197">
                  <c:v>100</c:v>
                </c:pt>
                <c:pt idx="1198">
                  <c:v>100</c:v>
                </c:pt>
                <c:pt idx="1199">
                  <c:v>100</c:v>
                </c:pt>
                <c:pt idx="1200">
                  <c:v>100</c:v>
                </c:pt>
                <c:pt idx="1201">
                  <c:v>100</c:v>
                </c:pt>
                <c:pt idx="1202">
                  <c:v>100</c:v>
                </c:pt>
                <c:pt idx="1203">
                  <c:v>100</c:v>
                </c:pt>
                <c:pt idx="1204">
                  <c:v>100</c:v>
                </c:pt>
                <c:pt idx="1205">
                  <c:v>100</c:v>
                </c:pt>
                <c:pt idx="1206">
                  <c:v>100</c:v>
                </c:pt>
                <c:pt idx="1207">
                  <c:v>100</c:v>
                </c:pt>
                <c:pt idx="1208">
                  <c:v>100</c:v>
                </c:pt>
                <c:pt idx="1209">
                  <c:v>100</c:v>
                </c:pt>
                <c:pt idx="1210">
                  <c:v>100</c:v>
                </c:pt>
                <c:pt idx="1211">
                  <c:v>100</c:v>
                </c:pt>
                <c:pt idx="1212">
                  <c:v>100</c:v>
                </c:pt>
                <c:pt idx="1213">
                  <c:v>100</c:v>
                </c:pt>
                <c:pt idx="1214">
                  <c:v>100</c:v>
                </c:pt>
                <c:pt idx="1215">
                  <c:v>100</c:v>
                </c:pt>
                <c:pt idx="1216">
                  <c:v>100</c:v>
                </c:pt>
                <c:pt idx="1217">
                  <c:v>100</c:v>
                </c:pt>
                <c:pt idx="1218">
                  <c:v>100</c:v>
                </c:pt>
                <c:pt idx="1219">
                  <c:v>100</c:v>
                </c:pt>
                <c:pt idx="1220">
                  <c:v>100</c:v>
                </c:pt>
                <c:pt idx="1221">
                  <c:v>100</c:v>
                </c:pt>
                <c:pt idx="1222">
                  <c:v>100</c:v>
                </c:pt>
                <c:pt idx="1223">
                  <c:v>100</c:v>
                </c:pt>
                <c:pt idx="1224">
                  <c:v>100</c:v>
                </c:pt>
                <c:pt idx="1225">
                  <c:v>100</c:v>
                </c:pt>
                <c:pt idx="1226">
                  <c:v>100</c:v>
                </c:pt>
                <c:pt idx="1227">
                  <c:v>100</c:v>
                </c:pt>
                <c:pt idx="1228">
                  <c:v>100</c:v>
                </c:pt>
                <c:pt idx="1229">
                  <c:v>100</c:v>
                </c:pt>
                <c:pt idx="1230">
                  <c:v>100</c:v>
                </c:pt>
                <c:pt idx="1231">
                  <c:v>100</c:v>
                </c:pt>
                <c:pt idx="1232">
                  <c:v>100</c:v>
                </c:pt>
                <c:pt idx="1233">
                  <c:v>100</c:v>
                </c:pt>
                <c:pt idx="1234">
                  <c:v>100</c:v>
                </c:pt>
                <c:pt idx="1235">
                  <c:v>100</c:v>
                </c:pt>
                <c:pt idx="1236">
                  <c:v>100</c:v>
                </c:pt>
                <c:pt idx="1237">
                  <c:v>100</c:v>
                </c:pt>
                <c:pt idx="1238">
                  <c:v>100</c:v>
                </c:pt>
                <c:pt idx="1239">
                  <c:v>100</c:v>
                </c:pt>
                <c:pt idx="1240">
                  <c:v>100</c:v>
                </c:pt>
                <c:pt idx="1241">
                  <c:v>100</c:v>
                </c:pt>
                <c:pt idx="1242">
                  <c:v>100</c:v>
                </c:pt>
                <c:pt idx="1243">
                  <c:v>100</c:v>
                </c:pt>
                <c:pt idx="1244">
                  <c:v>100</c:v>
                </c:pt>
                <c:pt idx="1245">
                  <c:v>100</c:v>
                </c:pt>
                <c:pt idx="1246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04F-4E1F-B06E-48D36AF55A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6916279"/>
        <c:axId val="106918439"/>
      </c:lineChart>
      <c:dateAx>
        <c:axId val="106916279"/>
        <c:scaling>
          <c:orientation val="minMax"/>
        </c:scaling>
        <c:delete val="0"/>
        <c:axPos val="b"/>
        <c:numFmt formatCode="mmm\-yy" sourceLinked="0"/>
        <c:majorTickMark val="out"/>
        <c:minorTickMark val="none"/>
        <c:tickLblPos val="low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8439"/>
        <c:crosses val="autoZero"/>
        <c:auto val="1"/>
        <c:lblOffset val="100"/>
        <c:baseTimeUnit val="days"/>
        <c:majorUnit val="6"/>
        <c:majorTimeUnit val="months"/>
      </c:dateAx>
      <c:valAx>
        <c:axId val="106918439"/>
        <c:scaling>
          <c:orientation val="minMax"/>
        </c:scaling>
        <c:delete val="0"/>
        <c:axPos val="l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Index</a:t>
                </a:r>
              </a:p>
            </c:rich>
          </c:tx>
          <c:layout>
            <c:manualLayout>
              <c:xMode val="edge"/>
              <c:yMode val="edge"/>
              <c:x val="1.1647408018182002E-2"/>
              <c:y val="1.377925152291920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8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627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egendEntry>
        <c:idx val="7"/>
        <c:delete val="1"/>
      </c:legendEntry>
      <c:layout>
        <c:manualLayout>
          <c:xMode val="edge"/>
          <c:yMode val="edge"/>
          <c:x val="0.11611649122905257"/>
          <c:y val="2.3010047767194005E-2"/>
          <c:w val="0.80276754973973574"/>
          <c:h val="0.2006043078395361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1274715660542429E-2"/>
          <c:y val="0.10816468253968252"/>
          <c:w val="0.89125975503062105"/>
          <c:h val="0.7139661131467477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Debt distress pivot'!$A$14</c:f>
              <c:strCache>
                <c:ptCount val="1"/>
                <c:pt idx="0">
                  <c:v>Africa</c:v>
                </c:pt>
              </c:strCache>
            </c:strRef>
          </c:tx>
          <c:spPr>
            <a:solidFill>
              <a:srgbClr val="F04632"/>
            </a:solidFill>
            <a:ln w="15875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ebt distress pivot'!$B$13:$F$13</c:f>
              <c:strCache>
                <c:ptCount val="5"/>
                <c:pt idx="0">
                  <c:v>In debt distress</c:v>
                </c:pt>
                <c:pt idx="1">
                  <c:v>High</c:v>
                </c:pt>
                <c:pt idx="2">
                  <c:v>In distress</c:v>
                </c:pt>
                <c:pt idx="3">
                  <c:v>Moderate</c:v>
                </c:pt>
                <c:pt idx="4">
                  <c:v>Low</c:v>
                </c:pt>
              </c:strCache>
            </c:strRef>
          </c:cat>
          <c:val>
            <c:numRef>
              <c:f>'Debt distress pivot'!$B$14:$F$14</c:f>
              <c:numCache>
                <c:formatCode>General</c:formatCode>
                <c:ptCount val="5"/>
                <c:pt idx="0">
                  <c:v>3</c:v>
                </c:pt>
                <c:pt idx="1">
                  <c:v>15</c:v>
                </c:pt>
                <c:pt idx="2">
                  <c:v>5</c:v>
                </c:pt>
                <c:pt idx="3">
                  <c:v>14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FE-4BCD-B678-8E7CE7D1BEDE}"/>
            </c:ext>
          </c:extLst>
        </c:ser>
        <c:ser>
          <c:idx val="1"/>
          <c:order val="1"/>
          <c:tx>
            <c:strRef>
              <c:f>'Debt distress pivot'!$A$15</c:f>
              <c:strCache>
                <c:ptCount val="1"/>
                <c:pt idx="0">
                  <c:v>Rest of the World</c:v>
                </c:pt>
              </c:strCache>
            </c:strRef>
          </c:tx>
          <c:spPr>
            <a:solidFill>
              <a:srgbClr val="1E32FA"/>
            </a:solidFill>
            <a:ln w="15875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ebt distress pivot'!$B$13:$F$13</c:f>
              <c:strCache>
                <c:ptCount val="5"/>
                <c:pt idx="0">
                  <c:v>In debt distress</c:v>
                </c:pt>
                <c:pt idx="1">
                  <c:v>High</c:v>
                </c:pt>
                <c:pt idx="2">
                  <c:v>In distress</c:v>
                </c:pt>
                <c:pt idx="3">
                  <c:v>Moderate</c:v>
                </c:pt>
                <c:pt idx="4">
                  <c:v>Low</c:v>
                </c:pt>
              </c:strCache>
            </c:strRef>
          </c:cat>
          <c:val>
            <c:numRef>
              <c:f>'Debt distress pivot'!$B$15:$F$15</c:f>
              <c:numCache>
                <c:formatCode>General</c:formatCode>
                <c:ptCount val="5"/>
                <c:pt idx="0">
                  <c:v>2</c:v>
                </c:pt>
                <c:pt idx="1">
                  <c:v>13</c:v>
                </c:pt>
                <c:pt idx="3">
                  <c:v>10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FE-4BCD-B678-8E7CE7D1BED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06916279"/>
        <c:axId val="106918439"/>
      </c:barChart>
      <c:catAx>
        <c:axId val="10691627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8439"/>
        <c:crosses val="autoZero"/>
        <c:auto val="1"/>
        <c:lblAlgn val="ctr"/>
        <c:lblOffset val="100"/>
        <c:noMultiLvlLbl val="0"/>
      </c:catAx>
      <c:valAx>
        <c:axId val="106918439"/>
        <c:scaling>
          <c:orientation val="minMax"/>
        </c:scaling>
        <c:delete val="0"/>
        <c:axPos val="l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umber of countries</a:t>
                </a:r>
              </a:p>
            </c:rich>
          </c:tx>
          <c:layout>
            <c:manualLayout>
              <c:xMode val="edge"/>
              <c:yMode val="edge"/>
              <c:x val="1.6482939632545919E-3"/>
              <c:y val="3.0656687716015688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8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62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2788285214348206"/>
          <c:y val="6.3913359839920997E-2"/>
          <c:w val="0.36193134882529926"/>
          <c:h val="7.53929331784871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4637795275590552E-2"/>
          <c:y val="0.14782126244120472"/>
          <c:w val="0.83569886264216975"/>
          <c:h val="0.67106286219173106"/>
        </c:manualLayout>
      </c:layout>
      <c:areaChart>
        <c:grouping val="stacked"/>
        <c:varyColors val="0"/>
        <c:ser>
          <c:idx val="6"/>
          <c:order val="0"/>
          <c:tx>
            <c:strRef>
              <c:f>Platts!$H$23</c:f>
              <c:strCache>
                <c:ptCount val="1"/>
                <c:pt idx="0">
                  <c:v> Crack spread </c:v>
                </c:pt>
              </c:strCache>
            </c:strRef>
          </c:tx>
          <c:spPr>
            <a:solidFill>
              <a:srgbClr val="FAC832"/>
            </a:solidFill>
            <a:ln>
              <a:noFill/>
            </a:ln>
          </c:spPr>
          <c:cat>
            <c:numRef>
              <c:f>Platts!$B$24:$B$6036</c:f>
              <c:numCache>
                <c:formatCode>dd\ mmm\ yyyy_);\(###0\);"-  ";" "@" "</c:formatCode>
                <c:ptCount val="6013"/>
                <c:pt idx="0">
                  <c:v>46357</c:v>
                </c:pt>
                <c:pt idx="1">
                  <c:v>46327</c:v>
                </c:pt>
                <c:pt idx="2">
                  <c:v>46296</c:v>
                </c:pt>
                <c:pt idx="3">
                  <c:v>46266</c:v>
                </c:pt>
                <c:pt idx="4">
                  <c:v>46235</c:v>
                </c:pt>
                <c:pt idx="5">
                  <c:v>46204</c:v>
                </c:pt>
                <c:pt idx="6">
                  <c:v>46174</c:v>
                </c:pt>
                <c:pt idx="7">
                  <c:v>46143</c:v>
                </c:pt>
                <c:pt idx="8">
                  <c:v>46113</c:v>
                </c:pt>
                <c:pt idx="9">
                  <c:v>46082</c:v>
                </c:pt>
                <c:pt idx="10">
                  <c:v>46054</c:v>
                </c:pt>
                <c:pt idx="11">
                  <c:v>46023</c:v>
                </c:pt>
                <c:pt idx="12">
                  <c:v>45992</c:v>
                </c:pt>
                <c:pt idx="13">
                  <c:v>45962</c:v>
                </c:pt>
                <c:pt idx="14">
                  <c:v>45931</c:v>
                </c:pt>
                <c:pt idx="15">
                  <c:v>45901</c:v>
                </c:pt>
                <c:pt idx="16">
                  <c:v>45870</c:v>
                </c:pt>
                <c:pt idx="17">
                  <c:v>45839</c:v>
                </c:pt>
                <c:pt idx="18">
                  <c:v>41639</c:v>
                </c:pt>
                <c:pt idx="19">
                  <c:v>41640</c:v>
                </c:pt>
                <c:pt idx="20">
                  <c:v>41641</c:v>
                </c:pt>
                <c:pt idx="21">
                  <c:v>41642</c:v>
                </c:pt>
                <c:pt idx="22">
                  <c:v>41645</c:v>
                </c:pt>
                <c:pt idx="23">
                  <c:v>41646</c:v>
                </c:pt>
                <c:pt idx="24">
                  <c:v>41647</c:v>
                </c:pt>
                <c:pt idx="25">
                  <c:v>41648</c:v>
                </c:pt>
                <c:pt idx="26">
                  <c:v>41649</c:v>
                </c:pt>
                <c:pt idx="27">
                  <c:v>41652</c:v>
                </c:pt>
                <c:pt idx="28">
                  <c:v>41653</c:v>
                </c:pt>
                <c:pt idx="29">
                  <c:v>41654</c:v>
                </c:pt>
                <c:pt idx="30">
                  <c:v>41655</c:v>
                </c:pt>
                <c:pt idx="31">
                  <c:v>41656</c:v>
                </c:pt>
                <c:pt idx="32">
                  <c:v>41659</c:v>
                </c:pt>
                <c:pt idx="33">
                  <c:v>41660</c:v>
                </c:pt>
                <c:pt idx="34">
                  <c:v>41661</c:v>
                </c:pt>
                <c:pt idx="35">
                  <c:v>41662</c:v>
                </c:pt>
                <c:pt idx="36">
                  <c:v>41663</c:v>
                </c:pt>
                <c:pt idx="37">
                  <c:v>41666</c:v>
                </c:pt>
                <c:pt idx="38">
                  <c:v>41667</c:v>
                </c:pt>
                <c:pt idx="39">
                  <c:v>41668</c:v>
                </c:pt>
                <c:pt idx="40">
                  <c:v>41669</c:v>
                </c:pt>
                <c:pt idx="41">
                  <c:v>41670</c:v>
                </c:pt>
                <c:pt idx="42">
                  <c:v>41673</c:v>
                </c:pt>
                <c:pt idx="43">
                  <c:v>41674</c:v>
                </c:pt>
                <c:pt idx="44">
                  <c:v>41675</c:v>
                </c:pt>
                <c:pt idx="45">
                  <c:v>41676</c:v>
                </c:pt>
                <c:pt idx="46">
                  <c:v>41677</c:v>
                </c:pt>
                <c:pt idx="47">
                  <c:v>41680</c:v>
                </c:pt>
                <c:pt idx="48">
                  <c:v>41681</c:v>
                </c:pt>
                <c:pt idx="49">
                  <c:v>41682</c:v>
                </c:pt>
                <c:pt idx="50">
                  <c:v>41683</c:v>
                </c:pt>
                <c:pt idx="51">
                  <c:v>41684</c:v>
                </c:pt>
                <c:pt idx="52">
                  <c:v>41687</c:v>
                </c:pt>
                <c:pt idx="53">
                  <c:v>41688</c:v>
                </c:pt>
                <c:pt idx="54">
                  <c:v>41689</c:v>
                </c:pt>
                <c:pt idx="55">
                  <c:v>41690</c:v>
                </c:pt>
                <c:pt idx="56">
                  <c:v>41691</c:v>
                </c:pt>
                <c:pt idx="57">
                  <c:v>41694</c:v>
                </c:pt>
                <c:pt idx="58">
                  <c:v>41695</c:v>
                </c:pt>
                <c:pt idx="59">
                  <c:v>41696</c:v>
                </c:pt>
                <c:pt idx="60">
                  <c:v>41697</c:v>
                </c:pt>
                <c:pt idx="61">
                  <c:v>41698</c:v>
                </c:pt>
                <c:pt idx="62">
                  <c:v>41701</c:v>
                </c:pt>
                <c:pt idx="63">
                  <c:v>41702</c:v>
                </c:pt>
                <c:pt idx="64">
                  <c:v>41703</c:v>
                </c:pt>
                <c:pt idx="65">
                  <c:v>41704</c:v>
                </c:pt>
                <c:pt idx="66">
                  <c:v>41705</c:v>
                </c:pt>
                <c:pt idx="67">
                  <c:v>41708</c:v>
                </c:pt>
                <c:pt idx="68">
                  <c:v>41709</c:v>
                </c:pt>
                <c:pt idx="69">
                  <c:v>41710</c:v>
                </c:pt>
                <c:pt idx="70">
                  <c:v>41711</c:v>
                </c:pt>
                <c:pt idx="71">
                  <c:v>41712</c:v>
                </c:pt>
                <c:pt idx="72">
                  <c:v>41715</c:v>
                </c:pt>
                <c:pt idx="73">
                  <c:v>41716</c:v>
                </c:pt>
                <c:pt idx="74">
                  <c:v>41717</c:v>
                </c:pt>
                <c:pt idx="75">
                  <c:v>41718</c:v>
                </c:pt>
                <c:pt idx="76">
                  <c:v>41719</c:v>
                </c:pt>
                <c:pt idx="77">
                  <c:v>41722</c:v>
                </c:pt>
                <c:pt idx="78">
                  <c:v>41723</c:v>
                </c:pt>
                <c:pt idx="79">
                  <c:v>41724</c:v>
                </c:pt>
                <c:pt idx="80">
                  <c:v>41725</c:v>
                </c:pt>
                <c:pt idx="81">
                  <c:v>41726</c:v>
                </c:pt>
                <c:pt idx="82">
                  <c:v>41729</c:v>
                </c:pt>
                <c:pt idx="83">
                  <c:v>41730</c:v>
                </c:pt>
                <c:pt idx="84">
                  <c:v>41731</c:v>
                </c:pt>
                <c:pt idx="85">
                  <c:v>41732</c:v>
                </c:pt>
                <c:pt idx="86">
                  <c:v>41733</c:v>
                </c:pt>
                <c:pt idx="87">
                  <c:v>41736</c:v>
                </c:pt>
                <c:pt idx="88">
                  <c:v>41737</c:v>
                </c:pt>
                <c:pt idx="89">
                  <c:v>41738</c:v>
                </c:pt>
                <c:pt idx="90">
                  <c:v>41739</c:v>
                </c:pt>
                <c:pt idx="91">
                  <c:v>41740</c:v>
                </c:pt>
                <c:pt idx="92">
                  <c:v>41743</c:v>
                </c:pt>
                <c:pt idx="93">
                  <c:v>41744</c:v>
                </c:pt>
                <c:pt idx="94">
                  <c:v>41745</c:v>
                </c:pt>
                <c:pt idx="95">
                  <c:v>41746</c:v>
                </c:pt>
                <c:pt idx="96">
                  <c:v>41747</c:v>
                </c:pt>
                <c:pt idx="97">
                  <c:v>41750</c:v>
                </c:pt>
                <c:pt idx="98">
                  <c:v>41751</c:v>
                </c:pt>
                <c:pt idx="99">
                  <c:v>41752</c:v>
                </c:pt>
                <c:pt idx="100">
                  <c:v>41753</c:v>
                </c:pt>
                <c:pt idx="101">
                  <c:v>41754</c:v>
                </c:pt>
                <c:pt idx="102">
                  <c:v>41757</c:v>
                </c:pt>
                <c:pt idx="103">
                  <c:v>41758</c:v>
                </c:pt>
                <c:pt idx="104">
                  <c:v>41759</c:v>
                </c:pt>
                <c:pt idx="105">
                  <c:v>41760</c:v>
                </c:pt>
                <c:pt idx="106">
                  <c:v>41761</c:v>
                </c:pt>
                <c:pt idx="107">
                  <c:v>41764</c:v>
                </c:pt>
                <c:pt idx="108">
                  <c:v>41765</c:v>
                </c:pt>
                <c:pt idx="109">
                  <c:v>41766</c:v>
                </c:pt>
                <c:pt idx="110">
                  <c:v>41767</c:v>
                </c:pt>
                <c:pt idx="111">
                  <c:v>41768</c:v>
                </c:pt>
                <c:pt idx="112">
                  <c:v>41771</c:v>
                </c:pt>
                <c:pt idx="113">
                  <c:v>41772</c:v>
                </c:pt>
                <c:pt idx="114">
                  <c:v>41773</c:v>
                </c:pt>
                <c:pt idx="115">
                  <c:v>41774</c:v>
                </c:pt>
                <c:pt idx="116">
                  <c:v>41775</c:v>
                </c:pt>
                <c:pt idx="117">
                  <c:v>41778</c:v>
                </c:pt>
                <c:pt idx="118">
                  <c:v>41779</c:v>
                </c:pt>
                <c:pt idx="119">
                  <c:v>41780</c:v>
                </c:pt>
                <c:pt idx="120">
                  <c:v>41781</c:v>
                </c:pt>
                <c:pt idx="121">
                  <c:v>41782</c:v>
                </c:pt>
                <c:pt idx="122">
                  <c:v>41785</c:v>
                </c:pt>
                <c:pt idx="123">
                  <c:v>41786</c:v>
                </c:pt>
                <c:pt idx="124">
                  <c:v>41787</c:v>
                </c:pt>
                <c:pt idx="125">
                  <c:v>41788</c:v>
                </c:pt>
                <c:pt idx="126">
                  <c:v>41789</c:v>
                </c:pt>
                <c:pt idx="127">
                  <c:v>41792</c:v>
                </c:pt>
                <c:pt idx="128">
                  <c:v>41793</c:v>
                </c:pt>
                <c:pt idx="129">
                  <c:v>41794</c:v>
                </c:pt>
                <c:pt idx="130">
                  <c:v>41795</c:v>
                </c:pt>
                <c:pt idx="131">
                  <c:v>41796</c:v>
                </c:pt>
                <c:pt idx="132">
                  <c:v>41799</c:v>
                </c:pt>
                <c:pt idx="133">
                  <c:v>41800</c:v>
                </c:pt>
                <c:pt idx="134">
                  <c:v>41801</c:v>
                </c:pt>
                <c:pt idx="135">
                  <c:v>41802</c:v>
                </c:pt>
                <c:pt idx="136">
                  <c:v>41803</c:v>
                </c:pt>
                <c:pt idx="137">
                  <c:v>41806</c:v>
                </c:pt>
                <c:pt idx="138">
                  <c:v>41807</c:v>
                </c:pt>
                <c:pt idx="139">
                  <c:v>41808</c:v>
                </c:pt>
                <c:pt idx="140">
                  <c:v>41809</c:v>
                </c:pt>
                <c:pt idx="141">
                  <c:v>41810</c:v>
                </c:pt>
                <c:pt idx="142">
                  <c:v>41813</c:v>
                </c:pt>
                <c:pt idx="143">
                  <c:v>41814</c:v>
                </c:pt>
                <c:pt idx="144">
                  <c:v>41815</c:v>
                </c:pt>
                <c:pt idx="145">
                  <c:v>41816</c:v>
                </c:pt>
                <c:pt idx="146">
                  <c:v>41817</c:v>
                </c:pt>
                <c:pt idx="147">
                  <c:v>41820</c:v>
                </c:pt>
                <c:pt idx="148">
                  <c:v>41821</c:v>
                </c:pt>
                <c:pt idx="149">
                  <c:v>41822</c:v>
                </c:pt>
                <c:pt idx="150">
                  <c:v>41823</c:v>
                </c:pt>
                <c:pt idx="151">
                  <c:v>41824</c:v>
                </c:pt>
                <c:pt idx="152">
                  <c:v>41827</c:v>
                </c:pt>
                <c:pt idx="153">
                  <c:v>41828</c:v>
                </c:pt>
                <c:pt idx="154">
                  <c:v>41829</c:v>
                </c:pt>
                <c:pt idx="155">
                  <c:v>41830</c:v>
                </c:pt>
                <c:pt idx="156">
                  <c:v>41831</c:v>
                </c:pt>
                <c:pt idx="157">
                  <c:v>41834</c:v>
                </c:pt>
                <c:pt idx="158">
                  <c:v>41835</c:v>
                </c:pt>
                <c:pt idx="159">
                  <c:v>41836</c:v>
                </c:pt>
                <c:pt idx="160">
                  <c:v>41837</c:v>
                </c:pt>
                <c:pt idx="161">
                  <c:v>41838</c:v>
                </c:pt>
                <c:pt idx="162">
                  <c:v>41841</c:v>
                </c:pt>
                <c:pt idx="163">
                  <c:v>41842</c:v>
                </c:pt>
                <c:pt idx="164">
                  <c:v>41843</c:v>
                </c:pt>
                <c:pt idx="165">
                  <c:v>41844</c:v>
                </c:pt>
                <c:pt idx="166">
                  <c:v>41845</c:v>
                </c:pt>
                <c:pt idx="167">
                  <c:v>41848</c:v>
                </c:pt>
                <c:pt idx="168">
                  <c:v>41849</c:v>
                </c:pt>
                <c:pt idx="169">
                  <c:v>41850</c:v>
                </c:pt>
                <c:pt idx="170">
                  <c:v>41851</c:v>
                </c:pt>
                <c:pt idx="171">
                  <c:v>41852</c:v>
                </c:pt>
                <c:pt idx="172">
                  <c:v>41855</c:v>
                </c:pt>
                <c:pt idx="173">
                  <c:v>41856</c:v>
                </c:pt>
                <c:pt idx="174">
                  <c:v>41857</c:v>
                </c:pt>
                <c:pt idx="175">
                  <c:v>41858</c:v>
                </c:pt>
                <c:pt idx="176">
                  <c:v>41859</c:v>
                </c:pt>
                <c:pt idx="177">
                  <c:v>41862</c:v>
                </c:pt>
                <c:pt idx="178">
                  <c:v>41863</c:v>
                </c:pt>
                <c:pt idx="179">
                  <c:v>41864</c:v>
                </c:pt>
                <c:pt idx="180">
                  <c:v>41865</c:v>
                </c:pt>
                <c:pt idx="181">
                  <c:v>41866</c:v>
                </c:pt>
                <c:pt idx="182">
                  <c:v>41869</c:v>
                </c:pt>
                <c:pt idx="183">
                  <c:v>41870</c:v>
                </c:pt>
                <c:pt idx="184">
                  <c:v>41871</c:v>
                </c:pt>
                <c:pt idx="185">
                  <c:v>41872</c:v>
                </c:pt>
                <c:pt idx="186">
                  <c:v>41873</c:v>
                </c:pt>
                <c:pt idx="187">
                  <c:v>41876</c:v>
                </c:pt>
                <c:pt idx="188">
                  <c:v>41877</c:v>
                </c:pt>
                <c:pt idx="189">
                  <c:v>41878</c:v>
                </c:pt>
                <c:pt idx="190">
                  <c:v>41879</c:v>
                </c:pt>
                <c:pt idx="191">
                  <c:v>41880</c:v>
                </c:pt>
                <c:pt idx="192">
                  <c:v>41883</c:v>
                </c:pt>
                <c:pt idx="193">
                  <c:v>41884</c:v>
                </c:pt>
                <c:pt idx="194">
                  <c:v>41885</c:v>
                </c:pt>
                <c:pt idx="195">
                  <c:v>41886</c:v>
                </c:pt>
                <c:pt idx="196">
                  <c:v>41887</c:v>
                </c:pt>
                <c:pt idx="197">
                  <c:v>41890</c:v>
                </c:pt>
                <c:pt idx="198">
                  <c:v>41891</c:v>
                </c:pt>
                <c:pt idx="199">
                  <c:v>41892</c:v>
                </c:pt>
                <c:pt idx="200">
                  <c:v>41893</c:v>
                </c:pt>
                <c:pt idx="201">
                  <c:v>41894</c:v>
                </c:pt>
                <c:pt idx="202">
                  <c:v>41897</c:v>
                </c:pt>
                <c:pt idx="203">
                  <c:v>41898</c:v>
                </c:pt>
                <c:pt idx="204">
                  <c:v>41899</c:v>
                </c:pt>
                <c:pt idx="205">
                  <c:v>41900</c:v>
                </c:pt>
                <c:pt idx="206">
                  <c:v>41901</c:v>
                </c:pt>
                <c:pt idx="207">
                  <c:v>41904</c:v>
                </c:pt>
                <c:pt idx="208">
                  <c:v>41905</c:v>
                </c:pt>
                <c:pt idx="209">
                  <c:v>41906</c:v>
                </c:pt>
                <c:pt idx="210">
                  <c:v>41907</c:v>
                </c:pt>
                <c:pt idx="211">
                  <c:v>41908</c:v>
                </c:pt>
                <c:pt idx="212">
                  <c:v>41911</c:v>
                </c:pt>
                <c:pt idx="213">
                  <c:v>41912</c:v>
                </c:pt>
                <c:pt idx="214">
                  <c:v>41913</c:v>
                </c:pt>
                <c:pt idx="215">
                  <c:v>41914</c:v>
                </c:pt>
                <c:pt idx="216">
                  <c:v>41915</c:v>
                </c:pt>
                <c:pt idx="217">
                  <c:v>41918</c:v>
                </c:pt>
                <c:pt idx="218">
                  <c:v>41919</c:v>
                </c:pt>
                <c:pt idx="219">
                  <c:v>41920</c:v>
                </c:pt>
                <c:pt idx="220">
                  <c:v>41921</c:v>
                </c:pt>
                <c:pt idx="221">
                  <c:v>41922</c:v>
                </c:pt>
                <c:pt idx="222">
                  <c:v>41925</c:v>
                </c:pt>
                <c:pt idx="223">
                  <c:v>41926</c:v>
                </c:pt>
                <c:pt idx="224">
                  <c:v>41927</c:v>
                </c:pt>
                <c:pt idx="225">
                  <c:v>41928</c:v>
                </c:pt>
                <c:pt idx="226">
                  <c:v>41929</c:v>
                </c:pt>
                <c:pt idx="227">
                  <c:v>41932</c:v>
                </c:pt>
                <c:pt idx="228">
                  <c:v>41933</c:v>
                </c:pt>
                <c:pt idx="229">
                  <c:v>41934</c:v>
                </c:pt>
                <c:pt idx="230">
                  <c:v>41935</c:v>
                </c:pt>
                <c:pt idx="231">
                  <c:v>41936</c:v>
                </c:pt>
                <c:pt idx="232">
                  <c:v>41939</c:v>
                </c:pt>
                <c:pt idx="233">
                  <c:v>41940</c:v>
                </c:pt>
                <c:pt idx="234">
                  <c:v>41941</c:v>
                </c:pt>
                <c:pt idx="235">
                  <c:v>41942</c:v>
                </c:pt>
                <c:pt idx="236">
                  <c:v>41943</c:v>
                </c:pt>
                <c:pt idx="237">
                  <c:v>41946</c:v>
                </c:pt>
                <c:pt idx="238">
                  <c:v>41947</c:v>
                </c:pt>
                <c:pt idx="239">
                  <c:v>41948</c:v>
                </c:pt>
                <c:pt idx="240">
                  <c:v>41949</c:v>
                </c:pt>
                <c:pt idx="241">
                  <c:v>41950</c:v>
                </c:pt>
                <c:pt idx="242">
                  <c:v>41953</c:v>
                </c:pt>
                <c:pt idx="243">
                  <c:v>41954</c:v>
                </c:pt>
                <c:pt idx="244">
                  <c:v>41955</c:v>
                </c:pt>
                <c:pt idx="245">
                  <c:v>41956</c:v>
                </c:pt>
                <c:pt idx="246">
                  <c:v>41957</c:v>
                </c:pt>
                <c:pt idx="247">
                  <c:v>41960</c:v>
                </c:pt>
                <c:pt idx="248">
                  <c:v>41961</c:v>
                </c:pt>
                <c:pt idx="249">
                  <c:v>41962</c:v>
                </c:pt>
                <c:pt idx="250">
                  <c:v>41963</c:v>
                </c:pt>
                <c:pt idx="251">
                  <c:v>41964</c:v>
                </c:pt>
                <c:pt idx="252">
                  <c:v>41967</c:v>
                </c:pt>
                <c:pt idx="253">
                  <c:v>41968</c:v>
                </c:pt>
                <c:pt idx="254">
                  <c:v>41969</c:v>
                </c:pt>
                <c:pt idx="255">
                  <c:v>41970</c:v>
                </c:pt>
                <c:pt idx="256">
                  <c:v>41971</c:v>
                </c:pt>
                <c:pt idx="257">
                  <c:v>41974</c:v>
                </c:pt>
                <c:pt idx="258">
                  <c:v>41975</c:v>
                </c:pt>
                <c:pt idx="259">
                  <c:v>41976</c:v>
                </c:pt>
                <c:pt idx="260">
                  <c:v>41977</c:v>
                </c:pt>
                <c:pt idx="261">
                  <c:v>41978</c:v>
                </c:pt>
                <c:pt idx="262">
                  <c:v>41981</c:v>
                </c:pt>
                <c:pt idx="263">
                  <c:v>41982</c:v>
                </c:pt>
                <c:pt idx="264">
                  <c:v>41983</c:v>
                </c:pt>
                <c:pt idx="265">
                  <c:v>41984</c:v>
                </c:pt>
                <c:pt idx="266">
                  <c:v>41985</c:v>
                </c:pt>
                <c:pt idx="267">
                  <c:v>41988</c:v>
                </c:pt>
                <c:pt idx="268">
                  <c:v>41989</c:v>
                </c:pt>
                <c:pt idx="269">
                  <c:v>41990</c:v>
                </c:pt>
                <c:pt idx="270">
                  <c:v>41991</c:v>
                </c:pt>
                <c:pt idx="271">
                  <c:v>41992</c:v>
                </c:pt>
                <c:pt idx="272">
                  <c:v>41995</c:v>
                </c:pt>
                <c:pt idx="273">
                  <c:v>41996</c:v>
                </c:pt>
                <c:pt idx="274">
                  <c:v>41997</c:v>
                </c:pt>
                <c:pt idx="275">
                  <c:v>42002</c:v>
                </c:pt>
                <c:pt idx="276">
                  <c:v>42003</c:v>
                </c:pt>
                <c:pt idx="277">
                  <c:v>42004</c:v>
                </c:pt>
                <c:pt idx="278">
                  <c:v>42006</c:v>
                </c:pt>
                <c:pt idx="279">
                  <c:v>42009</c:v>
                </c:pt>
                <c:pt idx="280">
                  <c:v>42010</c:v>
                </c:pt>
                <c:pt idx="281">
                  <c:v>42011</c:v>
                </c:pt>
                <c:pt idx="282">
                  <c:v>42012</c:v>
                </c:pt>
                <c:pt idx="283">
                  <c:v>42013</c:v>
                </c:pt>
                <c:pt idx="284">
                  <c:v>42016</c:v>
                </c:pt>
                <c:pt idx="285">
                  <c:v>42017</c:v>
                </c:pt>
                <c:pt idx="286">
                  <c:v>42018</c:v>
                </c:pt>
                <c:pt idx="287">
                  <c:v>42019</c:v>
                </c:pt>
                <c:pt idx="288">
                  <c:v>42020</c:v>
                </c:pt>
                <c:pt idx="289">
                  <c:v>42023</c:v>
                </c:pt>
                <c:pt idx="290">
                  <c:v>42024</c:v>
                </c:pt>
                <c:pt idx="291">
                  <c:v>42025</c:v>
                </c:pt>
                <c:pt idx="292">
                  <c:v>42026</c:v>
                </c:pt>
                <c:pt idx="293">
                  <c:v>42027</c:v>
                </c:pt>
                <c:pt idx="294">
                  <c:v>42030</c:v>
                </c:pt>
                <c:pt idx="295">
                  <c:v>42031</c:v>
                </c:pt>
                <c:pt idx="296">
                  <c:v>42032</c:v>
                </c:pt>
                <c:pt idx="297">
                  <c:v>42033</c:v>
                </c:pt>
                <c:pt idx="298">
                  <c:v>42034</c:v>
                </c:pt>
                <c:pt idx="299">
                  <c:v>42037</c:v>
                </c:pt>
                <c:pt idx="300">
                  <c:v>42038</c:v>
                </c:pt>
                <c:pt idx="301">
                  <c:v>42039</c:v>
                </c:pt>
                <c:pt idx="302">
                  <c:v>42040</c:v>
                </c:pt>
                <c:pt idx="303">
                  <c:v>42041</c:v>
                </c:pt>
                <c:pt idx="304">
                  <c:v>42044</c:v>
                </c:pt>
                <c:pt idx="305">
                  <c:v>42045</c:v>
                </c:pt>
                <c:pt idx="306">
                  <c:v>42046</c:v>
                </c:pt>
                <c:pt idx="307">
                  <c:v>42047</c:v>
                </c:pt>
                <c:pt idx="308">
                  <c:v>42048</c:v>
                </c:pt>
                <c:pt idx="309">
                  <c:v>42051</c:v>
                </c:pt>
                <c:pt idx="310">
                  <c:v>42052</c:v>
                </c:pt>
                <c:pt idx="311">
                  <c:v>42053</c:v>
                </c:pt>
                <c:pt idx="312">
                  <c:v>42054</c:v>
                </c:pt>
                <c:pt idx="313">
                  <c:v>42055</c:v>
                </c:pt>
                <c:pt idx="314">
                  <c:v>42058</c:v>
                </c:pt>
                <c:pt idx="315">
                  <c:v>42059</c:v>
                </c:pt>
                <c:pt idx="316">
                  <c:v>42060</c:v>
                </c:pt>
                <c:pt idx="317">
                  <c:v>42061</c:v>
                </c:pt>
                <c:pt idx="318">
                  <c:v>42062</c:v>
                </c:pt>
                <c:pt idx="319">
                  <c:v>42065</c:v>
                </c:pt>
                <c:pt idx="320">
                  <c:v>42066</c:v>
                </c:pt>
                <c:pt idx="321">
                  <c:v>42067</c:v>
                </c:pt>
                <c:pt idx="322">
                  <c:v>42068</c:v>
                </c:pt>
                <c:pt idx="323">
                  <c:v>42069</c:v>
                </c:pt>
                <c:pt idx="324">
                  <c:v>42072</c:v>
                </c:pt>
                <c:pt idx="325">
                  <c:v>42073</c:v>
                </c:pt>
                <c:pt idx="326">
                  <c:v>42074</c:v>
                </c:pt>
                <c:pt idx="327">
                  <c:v>42075</c:v>
                </c:pt>
                <c:pt idx="328">
                  <c:v>42076</c:v>
                </c:pt>
                <c:pt idx="329">
                  <c:v>42079</c:v>
                </c:pt>
                <c:pt idx="330">
                  <c:v>42080</c:v>
                </c:pt>
                <c:pt idx="331">
                  <c:v>42081</c:v>
                </c:pt>
                <c:pt idx="332">
                  <c:v>42082</c:v>
                </c:pt>
                <c:pt idx="333">
                  <c:v>42083</c:v>
                </c:pt>
                <c:pt idx="334">
                  <c:v>42086</c:v>
                </c:pt>
                <c:pt idx="335">
                  <c:v>42087</c:v>
                </c:pt>
                <c:pt idx="336">
                  <c:v>42088</c:v>
                </c:pt>
                <c:pt idx="337">
                  <c:v>42089</c:v>
                </c:pt>
                <c:pt idx="338">
                  <c:v>42090</c:v>
                </c:pt>
                <c:pt idx="339">
                  <c:v>42093</c:v>
                </c:pt>
                <c:pt idx="340">
                  <c:v>42094</c:v>
                </c:pt>
                <c:pt idx="341">
                  <c:v>42095</c:v>
                </c:pt>
                <c:pt idx="342">
                  <c:v>42096</c:v>
                </c:pt>
                <c:pt idx="343">
                  <c:v>42100</c:v>
                </c:pt>
                <c:pt idx="344">
                  <c:v>42101</c:v>
                </c:pt>
                <c:pt idx="345">
                  <c:v>42102</c:v>
                </c:pt>
                <c:pt idx="346">
                  <c:v>42103</c:v>
                </c:pt>
                <c:pt idx="347">
                  <c:v>42104</c:v>
                </c:pt>
                <c:pt idx="348">
                  <c:v>42107</c:v>
                </c:pt>
                <c:pt idx="349">
                  <c:v>42108</c:v>
                </c:pt>
                <c:pt idx="350">
                  <c:v>42109</c:v>
                </c:pt>
                <c:pt idx="351">
                  <c:v>42110</c:v>
                </c:pt>
                <c:pt idx="352">
                  <c:v>42111</c:v>
                </c:pt>
                <c:pt idx="353">
                  <c:v>42114</c:v>
                </c:pt>
                <c:pt idx="354">
                  <c:v>42115</c:v>
                </c:pt>
                <c:pt idx="355">
                  <c:v>42116</c:v>
                </c:pt>
                <c:pt idx="356">
                  <c:v>42117</c:v>
                </c:pt>
                <c:pt idx="357">
                  <c:v>42118</c:v>
                </c:pt>
                <c:pt idx="358">
                  <c:v>42121</c:v>
                </c:pt>
                <c:pt idx="359">
                  <c:v>42122</c:v>
                </c:pt>
                <c:pt idx="360">
                  <c:v>42123</c:v>
                </c:pt>
                <c:pt idx="361">
                  <c:v>42124</c:v>
                </c:pt>
                <c:pt idx="362">
                  <c:v>42125</c:v>
                </c:pt>
                <c:pt idx="363">
                  <c:v>42128</c:v>
                </c:pt>
                <c:pt idx="364">
                  <c:v>42129</c:v>
                </c:pt>
                <c:pt idx="365">
                  <c:v>42130</c:v>
                </c:pt>
                <c:pt idx="366">
                  <c:v>42131</c:v>
                </c:pt>
                <c:pt idx="367">
                  <c:v>42132</c:v>
                </c:pt>
                <c:pt idx="368">
                  <c:v>42135</c:v>
                </c:pt>
                <c:pt idx="369">
                  <c:v>42136</c:v>
                </c:pt>
                <c:pt idx="370">
                  <c:v>42137</c:v>
                </c:pt>
                <c:pt idx="371">
                  <c:v>42138</c:v>
                </c:pt>
                <c:pt idx="372">
                  <c:v>42139</c:v>
                </c:pt>
                <c:pt idx="373">
                  <c:v>42142</c:v>
                </c:pt>
                <c:pt idx="374">
                  <c:v>42143</c:v>
                </c:pt>
                <c:pt idx="375">
                  <c:v>42144</c:v>
                </c:pt>
                <c:pt idx="376">
                  <c:v>42145</c:v>
                </c:pt>
                <c:pt idx="377">
                  <c:v>42146</c:v>
                </c:pt>
                <c:pt idx="378">
                  <c:v>42150</c:v>
                </c:pt>
                <c:pt idx="379">
                  <c:v>42151</c:v>
                </c:pt>
                <c:pt idx="380">
                  <c:v>42152</c:v>
                </c:pt>
                <c:pt idx="381">
                  <c:v>42153</c:v>
                </c:pt>
                <c:pt idx="382">
                  <c:v>42156</c:v>
                </c:pt>
                <c:pt idx="383">
                  <c:v>42157</c:v>
                </c:pt>
                <c:pt idx="384">
                  <c:v>42158</c:v>
                </c:pt>
                <c:pt idx="385">
                  <c:v>42159</c:v>
                </c:pt>
                <c:pt idx="386">
                  <c:v>42160</c:v>
                </c:pt>
                <c:pt idx="387">
                  <c:v>42163</c:v>
                </c:pt>
                <c:pt idx="388">
                  <c:v>42164</c:v>
                </c:pt>
                <c:pt idx="389">
                  <c:v>42165</c:v>
                </c:pt>
                <c:pt idx="390">
                  <c:v>42166</c:v>
                </c:pt>
                <c:pt idx="391">
                  <c:v>42167</c:v>
                </c:pt>
                <c:pt idx="392">
                  <c:v>42170</c:v>
                </c:pt>
                <c:pt idx="393">
                  <c:v>42171</c:v>
                </c:pt>
                <c:pt idx="394">
                  <c:v>42172</c:v>
                </c:pt>
                <c:pt idx="395">
                  <c:v>42173</c:v>
                </c:pt>
                <c:pt idx="396">
                  <c:v>42174</c:v>
                </c:pt>
                <c:pt idx="397">
                  <c:v>42177</c:v>
                </c:pt>
                <c:pt idx="398">
                  <c:v>42178</c:v>
                </c:pt>
                <c:pt idx="399">
                  <c:v>42179</c:v>
                </c:pt>
                <c:pt idx="400">
                  <c:v>42180</c:v>
                </c:pt>
                <c:pt idx="401">
                  <c:v>42181</c:v>
                </c:pt>
                <c:pt idx="402">
                  <c:v>42184</c:v>
                </c:pt>
                <c:pt idx="403">
                  <c:v>42185</c:v>
                </c:pt>
                <c:pt idx="404">
                  <c:v>42186</c:v>
                </c:pt>
                <c:pt idx="405">
                  <c:v>42187</c:v>
                </c:pt>
                <c:pt idx="406">
                  <c:v>42188</c:v>
                </c:pt>
                <c:pt idx="407">
                  <c:v>42191</c:v>
                </c:pt>
                <c:pt idx="408">
                  <c:v>42192</c:v>
                </c:pt>
                <c:pt idx="409">
                  <c:v>42193</c:v>
                </c:pt>
                <c:pt idx="410">
                  <c:v>42194</c:v>
                </c:pt>
                <c:pt idx="411">
                  <c:v>42195</c:v>
                </c:pt>
                <c:pt idx="412">
                  <c:v>42198</c:v>
                </c:pt>
                <c:pt idx="413">
                  <c:v>42199</c:v>
                </c:pt>
                <c:pt idx="414">
                  <c:v>42200</c:v>
                </c:pt>
                <c:pt idx="415">
                  <c:v>42201</c:v>
                </c:pt>
                <c:pt idx="416">
                  <c:v>42202</c:v>
                </c:pt>
                <c:pt idx="417">
                  <c:v>42205</c:v>
                </c:pt>
                <c:pt idx="418">
                  <c:v>42206</c:v>
                </c:pt>
                <c:pt idx="419">
                  <c:v>42207</c:v>
                </c:pt>
                <c:pt idx="420">
                  <c:v>42208</c:v>
                </c:pt>
                <c:pt idx="421">
                  <c:v>42209</c:v>
                </c:pt>
                <c:pt idx="422">
                  <c:v>42212</c:v>
                </c:pt>
                <c:pt idx="423">
                  <c:v>42213</c:v>
                </c:pt>
                <c:pt idx="424">
                  <c:v>42214</c:v>
                </c:pt>
                <c:pt idx="425">
                  <c:v>42215</c:v>
                </c:pt>
                <c:pt idx="426">
                  <c:v>42216</c:v>
                </c:pt>
                <c:pt idx="427">
                  <c:v>42219</c:v>
                </c:pt>
                <c:pt idx="428">
                  <c:v>42220</c:v>
                </c:pt>
                <c:pt idx="429">
                  <c:v>42221</c:v>
                </c:pt>
                <c:pt idx="430">
                  <c:v>42222</c:v>
                </c:pt>
                <c:pt idx="431">
                  <c:v>42223</c:v>
                </c:pt>
                <c:pt idx="432">
                  <c:v>42226</c:v>
                </c:pt>
                <c:pt idx="433">
                  <c:v>42227</c:v>
                </c:pt>
                <c:pt idx="434">
                  <c:v>42228</c:v>
                </c:pt>
                <c:pt idx="435">
                  <c:v>42229</c:v>
                </c:pt>
                <c:pt idx="436">
                  <c:v>42230</c:v>
                </c:pt>
                <c:pt idx="437">
                  <c:v>42233</c:v>
                </c:pt>
                <c:pt idx="438">
                  <c:v>42234</c:v>
                </c:pt>
                <c:pt idx="439">
                  <c:v>42235</c:v>
                </c:pt>
                <c:pt idx="440">
                  <c:v>42236</c:v>
                </c:pt>
                <c:pt idx="441">
                  <c:v>42237</c:v>
                </c:pt>
                <c:pt idx="442">
                  <c:v>42240</c:v>
                </c:pt>
                <c:pt idx="443">
                  <c:v>42241</c:v>
                </c:pt>
                <c:pt idx="444">
                  <c:v>42242</c:v>
                </c:pt>
                <c:pt idx="445">
                  <c:v>42243</c:v>
                </c:pt>
                <c:pt idx="446">
                  <c:v>42244</c:v>
                </c:pt>
                <c:pt idx="447">
                  <c:v>42247</c:v>
                </c:pt>
                <c:pt idx="448">
                  <c:v>42248</c:v>
                </c:pt>
                <c:pt idx="449">
                  <c:v>42249</c:v>
                </c:pt>
                <c:pt idx="450">
                  <c:v>42250</c:v>
                </c:pt>
                <c:pt idx="451">
                  <c:v>42251</c:v>
                </c:pt>
                <c:pt idx="452">
                  <c:v>42254</c:v>
                </c:pt>
                <c:pt idx="453">
                  <c:v>42255</c:v>
                </c:pt>
                <c:pt idx="454">
                  <c:v>42256</c:v>
                </c:pt>
                <c:pt idx="455">
                  <c:v>42257</c:v>
                </c:pt>
                <c:pt idx="456">
                  <c:v>42258</c:v>
                </c:pt>
                <c:pt idx="457">
                  <c:v>42261</c:v>
                </c:pt>
                <c:pt idx="458">
                  <c:v>42262</c:v>
                </c:pt>
                <c:pt idx="459">
                  <c:v>42263</c:v>
                </c:pt>
                <c:pt idx="460">
                  <c:v>42264</c:v>
                </c:pt>
                <c:pt idx="461">
                  <c:v>42265</c:v>
                </c:pt>
                <c:pt idx="462">
                  <c:v>42268</c:v>
                </c:pt>
                <c:pt idx="463">
                  <c:v>42269</c:v>
                </c:pt>
                <c:pt idx="464">
                  <c:v>42270</c:v>
                </c:pt>
                <c:pt idx="465">
                  <c:v>42271</c:v>
                </c:pt>
                <c:pt idx="466">
                  <c:v>42272</c:v>
                </c:pt>
                <c:pt idx="467">
                  <c:v>42275</c:v>
                </c:pt>
                <c:pt idx="468">
                  <c:v>42276</c:v>
                </c:pt>
                <c:pt idx="469">
                  <c:v>42277</c:v>
                </c:pt>
                <c:pt idx="470">
                  <c:v>42278</c:v>
                </c:pt>
                <c:pt idx="471">
                  <c:v>42279</c:v>
                </c:pt>
                <c:pt idx="472">
                  <c:v>42282</c:v>
                </c:pt>
                <c:pt idx="473">
                  <c:v>42283</c:v>
                </c:pt>
                <c:pt idx="474">
                  <c:v>42284</c:v>
                </c:pt>
                <c:pt idx="475">
                  <c:v>42285</c:v>
                </c:pt>
                <c:pt idx="476">
                  <c:v>42286</c:v>
                </c:pt>
                <c:pt idx="477">
                  <c:v>42289</c:v>
                </c:pt>
                <c:pt idx="478">
                  <c:v>42290</c:v>
                </c:pt>
                <c:pt idx="479">
                  <c:v>42291</c:v>
                </c:pt>
                <c:pt idx="480">
                  <c:v>42292</c:v>
                </c:pt>
                <c:pt idx="481">
                  <c:v>42293</c:v>
                </c:pt>
                <c:pt idx="482">
                  <c:v>42296</c:v>
                </c:pt>
                <c:pt idx="483">
                  <c:v>42297</c:v>
                </c:pt>
                <c:pt idx="484">
                  <c:v>42298</c:v>
                </c:pt>
                <c:pt idx="485">
                  <c:v>42299</c:v>
                </c:pt>
                <c:pt idx="486">
                  <c:v>42300</c:v>
                </c:pt>
                <c:pt idx="487">
                  <c:v>42303</c:v>
                </c:pt>
                <c:pt idx="488">
                  <c:v>42304</c:v>
                </c:pt>
                <c:pt idx="489">
                  <c:v>42305</c:v>
                </c:pt>
                <c:pt idx="490">
                  <c:v>42306</c:v>
                </c:pt>
                <c:pt idx="491">
                  <c:v>42307</c:v>
                </c:pt>
                <c:pt idx="492">
                  <c:v>42310</c:v>
                </c:pt>
                <c:pt idx="493">
                  <c:v>42311</c:v>
                </c:pt>
                <c:pt idx="494">
                  <c:v>42312</c:v>
                </c:pt>
                <c:pt idx="495">
                  <c:v>42313</c:v>
                </c:pt>
                <c:pt idx="496">
                  <c:v>42314</c:v>
                </c:pt>
                <c:pt idx="497">
                  <c:v>42317</c:v>
                </c:pt>
                <c:pt idx="498">
                  <c:v>42318</c:v>
                </c:pt>
                <c:pt idx="499">
                  <c:v>42319</c:v>
                </c:pt>
                <c:pt idx="500">
                  <c:v>42320</c:v>
                </c:pt>
                <c:pt idx="501">
                  <c:v>42321</c:v>
                </c:pt>
                <c:pt idx="502">
                  <c:v>42324</c:v>
                </c:pt>
                <c:pt idx="503">
                  <c:v>42325</c:v>
                </c:pt>
                <c:pt idx="504">
                  <c:v>42326</c:v>
                </c:pt>
                <c:pt idx="505">
                  <c:v>42327</c:v>
                </c:pt>
                <c:pt idx="506">
                  <c:v>42328</c:v>
                </c:pt>
                <c:pt idx="507">
                  <c:v>42331</c:v>
                </c:pt>
                <c:pt idx="508">
                  <c:v>42332</c:v>
                </c:pt>
                <c:pt idx="509">
                  <c:v>42333</c:v>
                </c:pt>
                <c:pt idx="510">
                  <c:v>42334</c:v>
                </c:pt>
                <c:pt idx="511">
                  <c:v>42335</c:v>
                </c:pt>
                <c:pt idx="512">
                  <c:v>42338</c:v>
                </c:pt>
                <c:pt idx="513">
                  <c:v>42339</c:v>
                </c:pt>
                <c:pt idx="514">
                  <c:v>42340</c:v>
                </c:pt>
                <c:pt idx="515">
                  <c:v>42341</c:v>
                </c:pt>
                <c:pt idx="516">
                  <c:v>42342</c:v>
                </c:pt>
                <c:pt idx="517">
                  <c:v>42345</c:v>
                </c:pt>
                <c:pt idx="518">
                  <c:v>42346</c:v>
                </c:pt>
                <c:pt idx="519">
                  <c:v>42347</c:v>
                </c:pt>
                <c:pt idx="520">
                  <c:v>42348</c:v>
                </c:pt>
                <c:pt idx="521">
                  <c:v>42349</c:v>
                </c:pt>
                <c:pt idx="522">
                  <c:v>42352</c:v>
                </c:pt>
                <c:pt idx="523">
                  <c:v>42353</c:v>
                </c:pt>
                <c:pt idx="524">
                  <c:v>42354</c:v>
                </c:pt>
                <c:pt idx="525">
                  <c:v>42355</c:v>
                </c:pt>
                <c:pt idx="526">
                  <c:v>42356</c:v>
                </c:pt>
                <c:pt idx="527">
                  <c:v>42359</c:v>
                </c:pt>
                <c:pt idx="528">
                  <c:v>42360</c:v>
                </c:pt>
                <c:pt idx="529">
                  <c:v>42361</c:v>
                </c:pt>
                <c:pt idx="530">
                  <c:v>42362</c:v>
                </c:pt>
                <c:pt idx="531">
                  <c:v>42366</c:v>
                </c:pt>
                <c:pt idx="532">
                  <c:v>42367</c:v>
                </c:pt>
                <c:pt idx="533">
                  <c:v>42368</c:v>
                </c:pt>
                <c:pt idx="534">
                  <c:v>42369</c:v>
                </c:pt>
                <c:pt idx="535">
                  <c:v>42373</c:v>
                </c:pt>
                <c:pt idx="536">
                  <c:v>42374</c:v>
                </c:pt>
                <c:pt idx="537">
                  <c:v>42375</c:v>
                </c:pt>
                <c:pt idx="538">
                  <c:v>42376</c:v>
                </c:pt>
                <c:pt idx="539">
                  <c:v>42377</c:v>
                </c:pt>
                <c:pt idx="540">
                  <c:v>42380</c:v>
                </c:pt>
                <c:pt idx="541">
                  <c:v>42381</c:v>
                </c:pt>
                <c:pt idx="542">
                  <c:v>42382</c:v>
                </c:pt>
                <c:pt idx="543">
                  <c:v>42383</c:v>
                </c:pt>
                <c:pt idx="544">
                  <c:v>42384</c:v>
                </c:pt>
                <c:pt idx="545">
                  <c:v>42387</c:v>
                </c:pt>
                <c:pt idx="546">
                  <c:v>42388</c:v>
                </c:pt>
                <c:pt idx="547">
                  <c:v>42389</c:v>
                </c:pt>
                <c:pt idx="548">
                  <c:v>42390</c:v>
                </c:pt>
                <c:pt idx="549">
                  <c:v>42391</c:v>
                </c:pt>
                <c:pt idx="550">
                  <c:v>42394</c:v>
                </c:pt>
                <c:pt idx="551">
                  <c:v>42395</c:v>
                </c:pt>
                <c:pt idx="552">
                  <c:v>42396</c:v>
                </c:pt>
                <c:pt idx="553">
                  <c:v>42397</c:v>
                </c:pt>
                <c:pt idx="554">
                  <c:v>42398</c:v>
                </c:pt>
                <c:pt idx="555">
                  <c:v>42401</c:v>
                </c:pt>
                <c:pt idx="556">
                  <c:v>42402</c:v>
                </c:pt>
                <c:pt idx="557">
                  <c:v>42403</c:v>
                </c:pt>
                <c:pt idx="558">
                  <c:v>42404</c:v>
                </c:pt>
                <c:pt idx="559">
                  <c:v>42405</c:v>
                </c:pt>
                <c:pt idx="560">
                  <c:v>42408</c:v>
                </c:pt>
                <c:pt idx="561">
                  <c:v>42409</c:v>
                </c:pt>
                <c:pt idx="562">
                  <c:v>42410</c:v>
                </c:pt>
                <c:pt idx="563">
                  <c:v>42411</c:v>
                </c:pt>
                <c:pt idx="564">
                  <c:v>42412</c:v>
                </c:pt>
                <c:pt idx="565">
                  <c:v>42415</c:v>
                </c:pt>
                <c:pt idx="566">
                  <c:v>42416</c:v>
                </c:pt>
                <c:pt idx="567">
                  <c:v>42417</c:v>
                </c:pt>
                <c:pt idx="568">
                  <c:v>42418</c:v>
                </c:pt>
                <c:pt idx="569">
                  <c:v>42419</c:v>
                </c:pt>
                <c:pt idx="570">
                  <c:v>42422</c:v>
                </c:pt>
                <c:pt idx="571">
                  <c:v>42423</c:v>
                </c:pt>
                <c:pt idx="572">
                  <c:v>42424</c:v>
                </c:pt>
                <c:pt idx="573">
                  <c:v>42425</c:v>
                </c:pt>
                <c:pt idx="574">
                  <c:v>42426</c:v>
                </c:pt>
                <c:pt idx="575">
                  <c:v>42429</c:v>
                </c:pt>
                <c:pt idx="576">
                  <c:v>42430</c:v>
                </c:pt>
                <c:pt idx="577">
                  <c:v>42431</c:v>
                </c:pt>
                <c:pt idx="578">
                  <c:v>42432</c:v>
                </c:pt>
                <c:pt idx="579">
                  <c:v>42433</c:v>
                </c:pt>
                <c:pt idx="580">
                  <c:v>42436</c:v>
                </c:pt>
                <c:pt idx="581">
                  <c:v>42437</c:v>
                </c:pt>
                <c:pt idx="582">
                  <c:v>42438</c:v>
                </c:pt>
                <c:pt idx="583">
                  <c:v>42439</c:v>
                </c:pt>
                <c:pt idx="584">
                  <c:v>42440</c:v>
                </c:pt>
                <c:pt idx="585">
                  <c:v>42443</c:v>
                </c:pt>
                <c:pt idx="586">
                  <c:v>42444</c:v>
                </c:pt>
                <c:pt idx="587">
                  <c:v>42445</c:v>
                </c:pt>
                <c:pt idx="588">
                  <c:v>42446</c:v>
                </c:pt>
                <c:pt idx="589">
                  <c:v>42447</c:v>
                </c:pt>
                <c:pt idx="590">
                  <c:v>42450</c:v>
                </c:pt>
                <c:pt idx="591">
                  <c:v>42451</c:v>
                </c:pt>
                <c:pt idx="592">
                  <c:v>42452</c:v>
                </c:pt>
                <c:pt idx="593">
                  <c:v>42453</c:v>
                </c:pt>
                <c:pt idx="594">
                  <c:v>42457</c:v>
                </c:pt>
                <c:pt idx="595">
                  <c:v>42458</c:v>
                </c:pt>
                <c:pt idx="596">
                  <c:v>42459</c:v>
                </c:pt>
                <c:pt idx="597">
                  <c:v>42460</c:v>
                </c:pt>
                <c:pt idx="598">
                  <c:v>42461</c:v>
                </c:pt>
                <c:pt idx="599">
                  <c:v>42464</c:v>
                </c:pt>
                <c:pt idx="600">
                  <c:v>42465</c:v>
                </c:pt>
                <c:pt idx="601">
                  <c:v>42466</c:v>
                </c:pt>
                <c:pt idx="602">
                  <c:v>42467</c:v>
                </c:pt>
                <c:pt idx="603">
                  <c:v>42468</c:v>
                </c:pt>
                <c:pt idx="604">
                  <c:v>42471</c:v>
                </c:pt>
                <c:pt idx="605">
                  <c:v>42472</c:v>
                </c:pt>
                <c:pt idx="606">
                  <c:v>42473</c:v>
                </c:pt>
                <c:pt idx="607">
                  <c:v>42474</c:v>
                </c:pt>
                <c:pt idx="608">
                  <c:v>42475</c:v>
                </c:pt>
                <c:pt idx="609">
                  <c:v>42478</c:v>
                </c:pt>
                <c:pt idx="610">
                  <c:v>42479</c:v>
                </c:pt>
                <c:pt idx="611">
                  <c:v>42480</c:v>
                </c:pt>
                <c:pt idx="612">
                  <c:v>42481</c:v>
                </c:pt>
                <c:pt idx="613">
                  <c:v>42482</c:v>
                </c:pt>
                <c:pt idx="614">
                  <c:v>42485</c:v>
                </c:pt>
                <c:pt idx="615">
                  <c:v>42486</c:v>
                </c:pt>
                <c:pt idx="616">
                  <c:v>42487</c:v>
                </c:pt>
                <c:pt idx="617">
                  <c:v>42488</c:v>
                </c:pt>
                <c:pt idx="618">
                  <c:v>42489</c:v>
                </c:pt>
                <c:pt idx="619">
                  <c:v>42492</c:v>
                </c:pt>
                <c:pt idx="620">
                  <c:v>42493</c:v>
                </c:pt>
                <c:pt idx="621">
                  <c:v>42494</c:v>
                </c:pt>
                <c:pt idx="622">
                  <c:v>42495</c:v>
                </c:pt>
                <c:pt idx="623">
                  <c:v>42496</c:v>
                </c:pt>
                <c:pt idx="624">
                  <c:v>42499</c:v>
                </c:pt>
                <c:pt idx="625">
                  <c:v>42500</c:v>
                </c:pt>
                <c:pt idx="626">
                  <c:v>42501</c:v>
                </c:pt>
                <c:pt idx="627">
                  <c:v>42502</c:v>
                </c:pt>
                <c:pt idx="628">
                  <c:v>42503</c:v>
                </c:pt>
                <c:pt idx="629">
                  <c:v>42506</c:v>
                </c:pt>
                <c:pt idx="630">
                  <c:v>42507</c:v>
                </c:pt>
                <c:pt idx="631">
                  <c:v>42508</c:v>
                </c:pt>
                <c:pt idx="632">
                  <c:v>42509</c:v>
                </c:pt>
                <c:pt idx="633">
                  <c:v>42510</c:v>
                </c:pt>
                <c:pt idx="634">
                  <c:v>42513</c:v>
                </c:pt>
                <c:pt idx="635">
                  <c:v>42514</c:v>
                </c:pt>
                <c:pt idx="636">
                  <c:v>42515</c:v>
                </c:pt>
                <c:pt idx="637">
                  <c:v>42516</c:v>
                </c:pt>
                <c:pt idx="638">
                  <c:v>42517</c:v>
                </c:pt>
                <c:pt idx="639">
                  <c:v>42521</c:v>
                </c:pt>
                <c:pt idx="640">
                  <c:v>42522</c:v>
                </c:pt>
                <c:pt idx="641">
                  <c:v>42523</c:v>
                </c:pt>
                <c:pt idx="642">
                  <c:v>42524</c:v>
                </c:pt>
                <c:pt idx="643">
                  <c:v>42527</c:v>
                </c:pt>
                <c:pt idx="644">
                  <c:v>42528</c:v>
                </c:pt>
                <c:pt idx="645">
                  <c:v>42529</c:v>
                </c:pt>
                <c:pt idx="646">
                  <c:v>42530</c:v>
                </c:pt>
                <c:pt idx="647">
                  <c:v>42531</c:v>
                </c:pt>
                <c:pt idx="648">
                  <c:v>42534</c:v>
                </c:pt>
                <c:pt idx="649">
                  <c:v>42535</c:v>
                </c:pt>
                <c:pt idx="650">
                  <c:v>42536</c:v>
                </c:pt>
                <c:pt idx="651">
                  <c:v>42537</c:v>
                </c:pt>
                <c:pt idx="652">
                  <c:v>42538</c:v>
                </c:pt>
                <c:pt idx="653">
                  <c:v>42541</c:v>
                </c:pt>
                <c:pt idx="654">
                  <c:v>42542</c:v>
                </c:pt>
                <c:pt idx="655">
                  <c:v>42543</c:v>
                </c:pt>
                <c:pt idx="656">
                  <c:v>42544</c:v>
                </c:pt>
                <c:pt idx="657">
                  <c:v>42545</c:v>
                </c:pt>
                <c:pt idx="658">
                  <c:v>42548</c:v>
                </c:pt>
                <c:pt idx="659">
                  <c:v>42549</c:v>
                </c:pt>
                <c:pt idx="660">
                  <c:v>42550</c:v>
                </c:pt>
                <c:pt idx="661">
                  <c:v>42551</c:v>
                </c:pt>
                <c:pt idx="662">
                  <c:v>42552</c:v>
                </c:pt>
                <c:pt idx="663">
                  <c:v>42555</c:v>
                </c:pt>
                <c:pt idx="664">
                  <c:v>42556</c:v>
                </c:pt>
                <c:pt idx="665">
                  <c:v>42557</c:v>
                </c:pt>
                <c:pt idx="666">
                  <c:v>42558</c:v>
                </c:pt>
                <c:pt idx="667">
                  <c:v>42559</c:v>
                </c:pt>
                <c:pt idx="668">
                  <c:v>42562</c:v>
                </c:pt>
                <c:pt idx="669">
                  <c:v>42563</c:v>
                </c:pt>
                <c:pt idx="670">
                  <c:v>42564</c:v>
                </c:pt>
                <c:pt idx="671">
                  <c:v>42565</c:v>
                </c:pt>
                <c:pt idx="672">
                  <c:v>42566</c:v>
                </c:pt>
                <c:pt idx="673">
                  <c:v>42569</c:v>
                </c:pt>
                <c:pt idx="674">
                  <c:v>42570</c:v>
                </c:pt>
                <c:pt idx="675">
                  <c:v>42571</c:v>
                </c:pt>
                <c:pt idx="676">
                  <c:v>42572</c:v>
                </c:pt>
                <c:pt idx="677">
                  <c:v>42573</c:v>
                </c:pt>
                <c:pt idx="678">
                  <c:v>42576</c:v>
                </c:pt>
                <c:pt idx="679">
                  <c:v>42577</c:v>
                </c:pt>
                <c:pt idx="680">
                  <c:v>42578</c:v>
                </c:pt>
                <c:pt idx="681">
                  <c:v>42579</c:v>
                </c:pt>
                <c:pt idx="682">
                  <c:v>42580</c:v>
                </c:pt>
                <c:pt idx="683">
                  <c:v>42583</c:v>
                </c:pt>
                <c:pt idx="684">
                  <c:v>42584</c:v>
                </c:pt>
                <c:pt idx="685">
                  <c:v>42585</c:v>
                </c:pt>
                <c:pt idx="686">
                  <c:v>42586</c:v>
                </c:pt>
                <c:pt idx="687">
                  <c:v>42587</c:v>
                </c:pt>
                <c:pt idx="688">
                  <c:v>42590</c:v>
                </c:pt>
                <c:pt idx="689">
                  <c:v>42591</c:v>
                </c:pt>
                <c:pt idx="690">
                  <c:v>42592</c:v>
                </c:pt>
                <c:pt idx="691">
                  <c:v>42593</c:v>
                </c:pt>
                <c:pt idx="692">
                  <c:v>42594</c:v>
                </c:pt>
                <c:pt idx="693">
                  <c:v>42597</c:v>
                </c:pt>
                <c:pt idx="694">
                  <c:v>42598</c:v>
                </c:pt>
                <c:pt idx="695">
                  <c:v>42599</c:v>
                </c:pt>
                <c:pt idx="696">
                  <c:v>42600</c:v>
                </c:pt>
                <c:pt idx="697">
                  <c:v>42601</c:v>
                </c:pt>
                <c:pt idx="698">
                  <c:v>42604</c:v>
                </c:pt>
                <c:pt idx="699">
                  <c:v>42605</c:v>
                </c:pt>
                <c:pt idx="700">
                  <c:v>42606</c:v>
                </c:pt>
                <c:pt idx="701">
                  <c:v>42607</c:v>
                </c:pt>
                <c:pt idx="702">
                  <c:v>42608</c:v>
                </c:pt>
                <c:pt idx="703">
                  <c:v>42611</c:v>
                </c:pt>
                <c:pt idx="704">
                  <c:v>42612</c:v>
                </c:pt>
                <c:pt idx="705">
                  <c:v>42613</c:v>
                </c:pt>
                <c:pt idx="706">
                  <c:v>42614</c:v>
                </c:pt>
                <c:pt idx="707">
                  <c:v>42615</c:v>
                </c:pt>
                <c:pt idx="708">
                  <c:v>42618</c:v>
                </c:pt>
                <c:pt idx="709">
                  <c:v>42619</c:v>
                </c:pt>
                <c:pt idx="710">
                  <c:v>42620</c:v>
                </c:pt>
                <c:pt idx="711">
                  <c:v>42621</c:v>
                </c:pt>
                <c:pt idx="712">
                  <c:v>42622</c:v>
                </c:pt>
                <c:pt idx="713">
                  <c:v>42625</c:v>
                </c:pt>
                <c:pt idx="714">
                  <c:v>42626</c:v>
                </c:pt>
                <c:pt idx="715">
                  <c:v>42627</c:v>
                </c:pt>
                <c:pt idx="716">
                  <c:v>42628</c:v>
                </c:pt>
                <c:pt idx="717">
                  <c:v>42629</c:v>
                </c:pt>
                <c:pt idx="718">
                  <c:v>42632</c:v>
                </c:pt>
                <c:pt idx="719">
                  <c:v>42633</c:v>
                </c:pt>
                <c:pt idx="720">
                  <c:v>42634</c:v>
                </c:pt>
                <c:pt idx="721">
                  <c:v>42635</c:v>
                </c:pt>
                <c:pt idx="722">
                  <c:v>42636</c:v>
                </c:pt>
                <c:pt idx="723">
                  <c:v>42639</c:v>
                </c:pt>
                <c:pt idx="724">
                  <c:v>42640</c:v>
                </c:pt>
                <c:pt idx="725">
                  <c:v>42641</c:v>
                </c:pt>
                <c:pt idx="726">
                  <c:v>42642</c:v>
                </c:pt>
                <c:pt idx="727">
                  <c:v>42643</c:v>
                </c:pt>
                <c:pt idx="728">
                  <c:v>42646</c:v>
                </c:pt>
                <c:pt idx="729">
                  <c:v>42647</c:v>
                </c:pt>
                <c:pt idx="730">
                  <c:v>42648</c:v>
                </c:pt>
                <c:pt idx="731">
                  <c:v>42649</c:v>
                </c:pt>
                <c:pt idx="732">
                  <c:v>42650</c:v>
                </c:pt>
                <c:pt idx="733">
                  <c:v>42653</c:v>
                </c:pt>
                <c:pt idx="734">
                  <c:v>42654</c:v>
                </c:pt>
                <c:pt idx="735">
                  <c:v>42655</c:v>
                </c:pt>
                <c:pt idx="736">
                  <c:v>42656</c:v>
                </c:pt>
                <c:pt idx="737">
                  <c:v>42657</c:v>
                </c:pt>
                <c:pt idx="738">
                  <c:v>42660</c:v>
                </c:pt>
                <c:pt idx="739">
                  <c:v>42661</c:v>
                </c:pt>
                <c:pt idx="740">
                  <c:v>42662</c:v>
                </c:pt>
                <c:pt idx="741">
                  <c:v>42663</c:v>
                </c:pt>
                <c:pt idx="742">
                  <c:v>42664</c:v>
                </c:pt>
                <c:pt idx="743">
                  <c:v>42667</c:v>
                </c:pt>
                <c:pt idx="744">
                  <c:v>42668</c:v>
                </c:pt>
                <c:pt idx="745">
                  <c:v>42669</c:v>
                </c:pt>
                <c:pt idx="746">
                  <c:v>42670</c:v>
                </c:pt>
                <c:pt idx="747">
                  <c:v>42671</c:v>
                </c:pt>
                <c:pt idx="748">
                  <c:v>42674</c:v>
                </c:pt>
                <c:pt idx="749">
                  <c:v>42675</c:v>
                </c:pt>
                <c:pt idx="750">
                  <c:v>42676</c:v>
                </c:pt>
                <c:pt idx="751">
                  <c:v>42677</c:v>
                </c:pt>
                <c:pt idx="752">
                  <c:v>42678</c:v>
                </c:pt>
                <c:pt idx="753">
                  <c:v>42681</c:v>
                </c:pt>
                <c:pt idx="754">
                  <c:v>42682</c:v>
                </c:pt>
                <c:pt idx="755">
                  <c:v>42683</c:v>
                </c:pt>
                <c:pt idx="756">
                  <c:v>42684</c:v>
                </c:pt>
                <c:pt idx="757">
                  <c:v>42685</c:v>
                </c:pt>
                <c:pt idx="758">
                  <c:v>42688</c:v>
                </c:pt>
                <c:pt idx="759">
                  <c:v>42689</c:v>
                </c:pt>
                <c:pt idx="760">
                  <c:v>42690</c:v>
                </c:pt>
                <c:pt idx="761">
                  <c:v>42691</c:v>
                </c:pt>
                <c:pt idx="762">
                  <c:v>42692</c:v>
                </c:pt>
                <c:pt idx="763">
                  <c:v>42695</c:v>
                </c:pt>
                <c:pt idx="764">
                  <c:v>42696</c:v>
                </c:pt>
                <c:pt idx="765">
                  <c:v>42697</c:v>
                </c:pt>
                <c:pt idx="766">
                  <c:v>42698</c:v>
                </c:pt>
                <c:pt idx="767">
                  <c:v>42699</c:v>
                </c:pt>
                <c:pt idx="768">
                  <c:v>42702</c:v>
                </c:pt>
                <c:pt idx="769">
                  <c:v>42703</c:v>
                </c:pt>
                <c:pt idx="770">
                  <c:v>42704</c:v>
                </c:pt>
                <c:pt idx="771">
                  <c:v>42705</c:v>
                </c:pt>
                <c:pt idx="772">
                  <c:v>42706</c:v>
                </c:pt>
                <c:pt idx="773">
                  <c:v>42709</c:v>
                </c:pt>
                <c:pt idx="774">
                  <c:v>42710</c:v>
                </c:pt>
                <c:pt idx="775">
                  <c:v>42711</c:v>
                </c:pt>
                <c:pt idx="776">
                  <c:v>42712</c:v>
                </c:pt>
                <c:pt idx="777">
                  <c:v>42713</c:v>
                </c:pt>
                <c:pt idx="778">
                  <c:v>42716</c:v>
                </c:pt>
                <c:pt idx="779">
                  <c:v>42717</c:v>
                </c:pt>
                <c:pt idx="780">
                  <c:v>42718</c:v>
                </c:pt>
                <c:pt idx="781">
                  <c:v>42719</c:v>
                </c:pt>
                <c:pt idx="782">
                  <c:v>42720</c:v>
                </c:pt>
                <c:pt idx="783">
                  <c:v>42723</c:v>
                </c:pt>
                <c:pt idx="784">
                  <c:v>42724</c:v>
                </c:pt>
                <c:pt idx="785">
                  <c:v>42725</c:v>
                </c:pt>
                <c:pt idx="786">
                  <c:v>42726</c:v>
                </c:pt>
                <c:pt idx="787">
                  <c:v>42727</c:v>
                </c:pt>
                <c:pt idx="788">
                  <c:v>42731</c:v>
                </c:pt>
                <c:pt idx="789">
                  <c:v>42732</c:v>
                </c:pt>
                <c:pt idx="790">
                  <c:v>42733</c:v>
                </c:pt>
                <c:pt idx="791">
                  <c:v>42734</c:v>
                </c:pt>
                <c:pt idx="792">
                  <c:v>42738</c:v>
                </c:pt>
                <c:pt idx="793">
                  <c:v>42739</c:v>
                </c:pt>
                <c:pt idx="794">
                  <c:v>42740</c:v>
                </c:pt>
                <c:pt idx="795">
                  <c:v>42741</c:v>
                </c:pt>
                <c:pt idx="796">
                  <c:v>42744</c:v>
                </c:pt>
                <c:pt idx="797">
                  <c:v>42745</c:v>
                </c:pt>
                <c:pt idx="798">
                  <c:v>42746</c:v>
                </c:pt>
                <c:pt idx="799">
                  <c:v>42747</c:v>
                </c:pt>
                <c:pt idx="800">
                  <c:v>42748</c:v>
                </c:pt>
                <c:pt idx="801">
                  <c:v>42751</c:v>
                </c:pt>
                <c:pt idx="802">
                  <c:v>42752</c:v>
                </c:pt>
                <c:pt idx="803">
                  <c:v>42753</c:v>
                </c:pt>
                <c:pt idx="804">
                  <c:v>42754</c:v>
                </c:pt>
                <c:pt idx="805">
                  <c:v>42755</c:v>
                </c:pt>
                <c:pt idx="806">
                  <c:v>42758</c:v>
                </c:pt>
                <c:pt idx="807">
                  <c:v>42759</c:v>
                </c:pt>
                <c:pt idx="808">
                  <c:v>42760</c:v>
                </c:pt>
                <c:pt idx="809">
                  <c:v>42761</c:v>
                </c:pt>
                <c:pt idx="810">
                  <c:v>42762</c:v>
                </c:pt>
                <c:pt idx="811">
                  <c:v>42765</c:v>
                </c:pt>
                <c:pt idx="812">
                  <c:v>42766</c:v>
                </c:pt>
                <c:pt idx="813">
                  <c:v>42767</c:v>
                </c:pt>
                <c:pt idx="814">
                  <c:v>42768</c:v>
                </c:pt>
                <c:pt idx="815">
                  <c:v>42769</c:v>
                </c:pt>
                <c:pt idx="816">
                  <c:v>42772</c:v>
                </c:pt>
                <c:pt idx="817">
                  <c:v>42773</c:v>
                </c:pt>
                <c:pt idx="818">
                  <c:v>42774</c:v>
                </c:pt>
                <c:pt idx="819">
                  <c:v>42775</c:v>
                </c:pt>
                <c:pt idx="820">
                  <c:v>42776</c:v>
                </c:pt>
                <c:pt idx="821">
                  <c:v>42779</c:v>
                </c:pt>
                <c:pt idx="822">
                  <c:v>42780</c:v>
                </c:pt>
                <c:pt idx="823">
                  <c:v>42781</c:v>
                </c:pt>
                <c:pt idx="824">
                  <c:v>42782</c:v>
                </c:pt>
                <c:pt idx="825">
                  <c:v>42783</c:v>
                </c:pt>
                <c:pt idx="826">
                  <c:v>42786</c:v>
                </c:pt>
                <c:pt idx="827">
                  <c:v>42787</c:v>
                </c:pt>
                <c:pt idx="828">
                  <c:v>42788</c:v>
                </c:pt>
                <c:pt idx="829">
                  <c:v>42789</c:v>
                </c:pt>
                <c:pt idx="830">
                  <c:v>42790</c:v>
                </c:pt>
                <c:pt idx="831">
                  <c:v>42793</c:v>
                </c:pt>
                <c:pt idx="832">
                  <c:v>42794</c:v>
                </c:pt>
                <c:pt idx="833">
                  <c:v>42795</c:v>
                </c:pt>
                <c:pt idx="834">
                  <c:v>42796</c:v>
                </c:pt>
                <c:pt idx="835">
                  <c:v>42797</c:v>
                </c:pt>
                <c:pt idx="836">
                  <c:v>42800</c:v>
                </c:pt>
                <c:pt idx="837">
                  <c:v>42801</c:v>
                </c:pt>
                <c:pt idx="838">
                  <c:v>42802</c:v>
                </c:pt>
                <c:pt idx="839">
                  <c:v>42803</c:v>
                </c:pt>
                <c:pt idx="840">
                  <c:v>42804</c:v>
                </c:pt>
                <c:pt idx="841">
                  <c:v>42807</c:v>
                </c:pt>
                <c:pt idx="842">
                  <c:v>42808</c:v>
                </c:pt>
                <c:pt idx="843">
                  <c:v>42809</c:v>
                </c:pt>
                <c:pt idx="844">
                  <c:v>42810</c:v>
                </c:pt>
                <c:pt idx="845">
                  <c:v>42811</c:v>
                </c:pt>
                <c:pt idx="846">
                  <c:v>42814</c:v>
                </c:pt>
                <c:pt idx="847">
                  <c:v>42815</c:v>
                </c:pt>
                <c:pt idx="848">
                  <c:v>42816</c:v>
                </c:pt>
                <c:pt idx="849">
                  <c:v>42817</c:v>
                </c:pt>
                <c:pt idx="850">
                  <c:v>42818</c:v>
                </c:pt>
                <c:pt idx="851">
                  <c:v>42821</c:v>
                </c:pt>
                <c:pt idx="852">
                  <c:v>42822</c:v>
                </c:pt>
                <c:pt idx="853">
                  <c:v>42823</c:v>
                </c:pt>
                <c:pt idx="854">
                  <c:v>42824</c:v>
                </c:pt>
                <c:pt idx="855">
                  <c:v>42825</c:v>
                </c:pt>
                <c:pt idx="856">
                  <c:v>42828</c:v>
                </c:pt>
                <c:pt idx="857">
                  <c:v>42829</c:v>
                </c:pt>
                <c:pt idx="858">
                  <c:v>42830</c:v>
                </c:pt>
                <c:pt idx="859">
                  <c:v>42831</c:v>
                </c:pt>
                <c:pt idx="860">
                  <c:v>42832</c:v>
                </c:pt>
                <c:pt idx="861">
                  <c:v>42835</c:v>
                </c:pt>
                <c:pt idx="862">
                  <c:v>42836</c:v>
                </c:pt>
                <c:pt idx="863">
                  <c:v>42837</c:v>
                </c:pt>
                <c:pt idx="864">
                  <c:v>42838</c:v>
                </c:pt>
                <c:pt idx="865">
                  <c:v>42842</c:v>
                </c:pt>
                <c:pt idx="866">
                  <c:v>42843</c:v>
                </c:pt>
                <c:pt idx="867">
                  <c:v>42844</c:v>
                </c:pt>
                <c:pt idx="868">
                  <c:v>42845</c:v>
                </c:pt>
                <c:pt idx="869">
                  <c:v>42846</c:v>
                </c:pt>
                <c:pt idx="870">
                  <c:v>42849</c:v>
                </c:pt>
                <c:pt idx="871">
                  <c:v>42850</c:v>
                </c:pt>
                <c:pt idx="872">
                  <c:v>42851</c:v>
                </c:pt>
                <c:pt idx="873">
                  <c:v>42852</c:v>
                </c:pt>
                <c:pt idx="874">
                  <c:v>42853</c:v>
                </c:pt>
                <c:pt idx="875">
                  <c:v>42856</c:v>
                </c:pt>
                <c:pt idx="876">
                  <c:v>42857</c:v>
                </c:pt>
                <c:pt idx="877">
                  <c:v>42858</c:v>
                </c:pt>
                <c:pt idx="878">
                  <c:v>42859</c:v>
                </c:pt>
                <c:pt idx="879">
                  <c:v>42860</c:v>
                </c:pt>
                <c:pt idx="880">
                  <c:v>42863</c:v>
                </c:pt>
                <c:pt idx="881">
                  <c:v>42864</c:v>
                </c:pt>
                <c:pt idx="882">
                  <c:v>42865</c:v>
                </c:pt>
                <c:pt idx="883">
                  <c:v>42866</c:v>
                </c:pt>
                <c:pt idx="884">
                  <c:v>42867</c:v>
                </c:pt>
                <c:pt idx="885">
                  <c:v>42870</c:v>
                </c:pt>
                <c:pt idx="886">
                  <c:v>42871</c:v>
                </c:pt>
                <c:pt idx="887">
                  <c:v>42872</c:v>
                </c:pt>
                <c:pt idx="888">
                  <c:v>42873</c:v>
                </c:pt>
                <c:pt idx="889">
                  <c:v>42874</c:v>
                </c:pt>
                <c:pt idx="890">
                  <c:v>42877</c:v>
                </c:pt>
                <c:pt idx="891">
                  <c:v>42878</c:v>
                </c:pt>
                <c:pt idx="892">
                  <c:v>42879</c:v>
                </c:pt>
                <c:pt idx="893">
                  <c:v>42880</c:v>
                </c:pt>
                <c:pt idx="894">
                  <c:v>42881</c:v>
                </c:pt>
                <c:pt idx="895">
                  <c:v>42885</c:v>
                </c:pt>
                <c:pt idx="896">
                  <c:v>42886</c:v>
                </c:pt>
                <c:pt idx="897">
                  <c:v>42887</c:v>
                </c:pt>
                <c:pt idx="898">
                  <c:v>42888</c:v>
                </c:pt>
                <c:pt idx="899">
                  <c:v>42891</c:v>
                </c:pt>
                <c:pt idx="900">
                  <c:v>42892</c:v>
                </c:pt>
                <c:pt idx="901">
                  <c:v>42893</c:v>
                </c:pt>
                <c:pt idx="902">
                  <c:v>42894</c:v>
                </c:pt>
                <c:pt idx="903">
                  <c:v>42895</c:v>
                </c:pt>
                <c:pt idx="904">
                  <c:v>42898</c:v>
                </c:pt>
                <c:pt idx="905">
                  <c:v>42899</c:v>
                </c:pt>
                <c:pt idx="906">
                  <c:v>42900</c:v>
                </c:pt>
                <c:pt idx="907">
                  <c:v>42901</c:v>
                </c:pt>
                <c:pt idx="908">
                  <c:v>42902</c:v>
                </c:pt>
                <c:pt idx="909">
                  <c:v>42905</c:v>
                </c:pt>
                <c:pt idx="910">
                  <c:v>42906</c:v>
                </c:pt>
                <c:pt idx="911">
                  <c:v>42907</c:v>
                </c:pt>
                <c:pt idx="912">
                  <c:v>42908</c:v>
                </c:pt>
                <c:pt idx="913">
                  <c:v>42909</c:v>
                </c:pt>
                <c:pt idx="914">
                  <c:v>42912</c:v>
                </c:pt>
                <c:pt idx="915">
                  <c:v>42913</c:v>
                </c:pt>
                <c:pt idx="916">
                  <c:v>42914</c:v>
                </c:pt>
                <c:pt idx="917">
                  <c:v>42915</c:v>
                </c:pt>
                <c:pt idx="918">
                  <c:v>42916</c:v>
                </c:pt>
                <c:pt idx="919">
                  <c:v>42919</c:v>
                </c:pt>
                <c:pt idx="920">
                  <c:v>42920</c:v>
                </c:pt>
                <c:pt idx="921">
                  <c:v>42921</c:v>
                </c:pt>
                <c:pt idx="922">
                  <c:v>42922</c:v>
                </c:pt>
                <c:pt idx="923">
                  <c:v>42923</c:v>
                </c:pt>
                <c:pt idx="924">
                  <c:v>42926</c:v>
                </c:pt>
                <c:pt idx="925">
                  <c:v>42927</c:v>
                </c:pt>
                <c:pt idx="926">
                  <c:v>42928</c:v>
                </c:pt>
                <c:pt idx="927">
                  <c:v>42929</c:v>
                </c:pt>
                <c:pt idx="928">
                  <c:v>42930</c:v>
                </c:pt>
                <c:pt idx="929">
                  <c:v>42933</c:v>
                </c:pt>
                <c:pt idx="930">
                  <c:v>42934</c:v>
                </c:pt>
                <c:pt idx="931">
                  <c:v>42935</c:v>
                </c:pt>
                <c:pt idx="932">
                  <c:v>42936</c:v>
                </c:pt>
                <c:pt idx="933">
                  <c:v>42937</c:v>
                </c:pt>
                <c:pt idx="934">
                  <c:v>42940</c:v>
                </c:pt>
                <c:pt idx="935">
                  <c:v>42941</c:v>
                </c:pt>
                <c:pt idx="936">
                  <c:v>42942</c:v>
                </c:pt>
                <c:pt idx="937">
                  <c:v>42943</c:v>
                </c:pt>
                <c:pt idx="938">
                  <c:v>42944</c:v>
                </c:pt>
                <c:pt idx="939">
                  <c:v>42947</c:v>
                </c:pt>
                <c:pt idx="940">
                  <c:v>42948</c:v>
                </c:pt>
                <c:pt idx="941">
                  <c:v>42949</c:v>
                </c:pt>
                <c:pt idx="942">
                  <c:v>42950</c:v>
                </c:pt>
                <c:pt idx="943">
                  <c:v>42951</c:v>
                </c:pt>
                <c:pt idx="944">
                  <c:v>42954</c:v>
                </c:pt>
                <c:pt idx="945">
                  <c:v>42955</c:v>
                </c:pt>
                <c:pt idx="946">
                  <c:v>42956</c:v>
                </c:pt>
                <c:pt idx="947">
                  <c:v>42957</c:v>
                </c:pt>
                <c:pt idx="948">
                  <c:v>42958</c:v>
                </c:pt>
                <c:pt idx="949">
                  <c:v>42961</c:v>
                </c:pt>
                <c:pt idx="950">
                  <c:v>42962</c:v>
                </c:pt>
                <c:pt idx="951">
                  <c:v>42963</c:v>
                </c:pt>
                <c:pt idx="952">
                  <c:v>42964</c:v>
                </c:pt>
                <c:pt idx="953">
                  <c:v>42965</c:v>
                </c:pt>
                <c:pt idx="954">
                  <c:v>42968</c:v>
                </c:pt>
                <c:pt idx="955">
                  <c:v>42969</c:v>
                </c:pt>
                <c:pt idx="956">
                  <c:v>42970</c:v>
                </c:pt>
                <c:pt idx="957">
                  <c:v>42971</c:v>
                </c:pt>
                <c:pt idx="958">
                  <c:v>42972</c:v>
                </c:pt>
                <c:pt idx="959">
                  <c:v>42975</c:v>
                </c:pt>
                <c:pt idx="960">
                  <c:v>42976</c:v>
                </c:pt>
                <c:pt idx="961">
                  <c:v>42977</c:v>
                </c:pt>
                <c:pt idx="962">
                  <c:v>42978</c:v>
                </c:pt>
                <c:pt idx="963">
                  <c:v>42979</c:v>
                </c:pt>
                <c:pt idx="964">
                  <c:v>42982</c:v>
                </c:pt>
                <c:pt idx="965">
                  <c:v>42983</c:v>
                </c:pt>
                <c:pt idx="966">
                  <c:v>42984</c:v>
                </c:pt>
                <c:pt idx="967">
                  <c:v>42985</c:v>
                </c:pt>
                <c:pt idx="968">
                  <c:v>42986</c:v>
                </c:pt>
                <c:pt idx="969">
                  <c:v>42989</c:v>
                </c:pt>
                <c:pt idx="970">
                  <c:v>42990</c:v>
                </c:pt>
                <c:pt idx="971">
                  <c:v>42991</c:v>
                </c:pt>
                <c:pt idx="972">
                  <c:v>42992</c:v>
                </c:pt>
                <c:pt idx="973">
                  <c:v>42993</c:v>
                </c:pt>
                <c:pt idx="974">
                  <c:v>42996</c:v>
                </c:pt>
                <c:pt idx="975">
                  <c:v>42997</c:v>
                </c:pt>
                <c:pt idx="976">
                  <c:v>42998</c:v>
                </c:pt>
                <c:pt idx="977">
                  <c:v>42999</c:v>
                </c:pt>
                <c:pt idx="978">
                  <c:v>43000</c:v>
                </c:pt>
                <c:pt idx="979">
                  <c:v>43003</c:v>
                </c:pt>
                <c:pt idx="980">
                  <c:v>43004</c:v>
                </c:pt>
                <c:pt idx="981">
                  <c:v>43005</c:v>
                </c:pt>
                <c:pt idx="982">
                  <c:v>43006</c:v>
                </c:pt>
                <c:pt idx="983">
                  <c:v>43007</c:v>
                </c:pt>
                <c:pt idx="984">
                  <c:v>43010</c:v>
                </c:pt>
                <c:pt idx="985">
                  <c:v>43011</c:v>
                </c:pt>
                <c:pt idx="986">
                  <c:v>43012</c:v>
                </c:pt>
                <c:pt idx="987">
                  <c:v>43013</c:v>
                </c:pt>
                <c:pt idx="988">
                  <c:v>43014</c:v>
                </c:pt>
                <c:pt idx="989">
                  <c:v>43017</c:v>
                </c:pt>
                <c:pt idx="990">
                  <c:v>43018</c:v>
                </c:pt>
                <c:pt idx="991">
                  <c:v>43019</c:v>
                </c:pt>
                <c:pt idx="992">
                  <c:v>43020</c:v>
                </c:pt>
                <c:pt idx="993">
                  <c:v>43021</c:v>
                </c:pt>
                <c:pt idx="994">
                  <c:v>43024</c:v>
                </c:pt>
                <c:pt idx="995">
                  <c:v>43025</c:v>
                </c:pt>
                <c:pt idx="996">
                  <c:v>43026</c:v>
                </c:pt>
                <c:pt idx="997">
                  <c:v>43027</c:v>
                </c:pt>
                <c:pt idx="998">
                  <c:v>43028</c:v>
                </c:pt>
                <c:pt idx="999">
                  <c:v>43031</c:v>
                </c:pt>
                <c:pt idx="1000">
                  <c:v>43032</c:v>
                </c:pt>
                <c:pt idx="1001">
                  <c:v>43033</c:v>
                </c:pt>
                <c:pt idx="1002">
                  <c:v>43034</c:v>
                </c:pt>
                <c:pt idx="1003">
                  <c:v>43035</c:v>
                </c:pt>
                <c:pt idx="1004">
                  <c:v>43038</c:v>
                </c:pt>
                <c:pt idx="1005">
                  <c:v>43039</c:v>
                </c:pt>
                <c:pt idx="1006">
                  <c:v>43040</c:v>
                </c:pt>
                <c:pt idx="1007">
                  <c:v>43041</c:v>
                </c:pt>
                <c:pt idx="1008">
                  <c:v>43042</c:v>
                </c:pt>
                <c:pt idx="1009">
                  <c:v>43045</c:v>
                </c:pt>
                <c:pt idx="1010">
                  <c:v>43046</c:v>
                </c:pt>
                <c:pt idx="1011">
                  <c:v>43047</c:v>
                </c:pt>
                <c:pt idx="1012">
                  <c:v>43048</c:v>
                </c:pt>
                <c:pt idx="1013">
                  <c:v>43049</c:v>
                </c:pt>
                <c:pt idx="1014">
                  <c:v>43052</c:v>
                </c:pt>
                <c:pt idx="1015">
                  <c:v>43053</c:v>
                </c:pt>
                <c:pt idx="1016">
                  <c:v>43054</c:v>
                </c:pt>
                <c:pt idx="1017">
                  <c:v>43055</c:v>
                </c:pt>
                <c:pt idx="1018">
                  <c:v>43056</c:v>
                </c:pt>
                <c:pt idx="1019">
                  <c:v>43059</c:v>
                </c:pt>
                <c:pt idx="1020">
                  <c:v>43060</c:v>
                </c:pt>
                <c:pt idx="1021">
                  <c:v>43061</c:v>
                </c:pt>
                <c:pt idx="1022">
                  <c:v>43062</c:v>
                </c:pt>
                <c:pt idx="1023">
                  <c:v>43063</c:v>
                </c:pt>
                <c:pt idx="1024">
                  <c:v>43066</c:v>
                </c:pt>
                <c:pt idx="1025">
                  <c:v>43067</c:v>
                </c:pt>
                <c:pt idx="1026">
                  <c:v>43068</c:v>
                </c:pt>
                <c:pt idx="1027">
                  <c:v>43069</c:v>
                </c:pt>
                <c:pt idx="1028">
                  <c:v>43070</c:v>
                </c:pt>
                <c:pt idx="1029">
                  <c:v>43073</c:v>
                </c:pt>
                <c:pt idx="1030">
                  <c:v>43074</c:v>
                </c:pt>
                <c:pt idx="1031">
                  <c:v>43075</c:v>
                </c:pt>
                <c:pt idx="1032">
                  <c:v>43076</c:v>
                </c:pt>
                <c:pt idx="1033">
                  <c:v>43077</c:v>
                </c:pt>
                <c:pt idx="1034">
                  <c:v>43080</c:v>
                </c:pt>
                <c:pt idx="1035">
                  <c:v>43081</c:v>
                </c:pt>
                <c:pt idx="1036">
                  <c:v>43082</c:v>
                </c:pt>
                <c:pt idx="1037">
                  <c:v>43083</c:v>
                </c:pt>
                <c:pt idx="1038">
                  <c:v>43084</c:v>
                </c:pt>
                <c:pt idx="1039">
                  <c:v>43087</c:v>
                </c:pt>
                <c:pt idx="1040">
                  <c:v>43088</c:v>
                </c:pt>
                <c:pt idx="1041">
                  <c:v>43089</c:v>
                </c:pt>
                <c:pt idx="1042">
                  <c:v>43090</c:v>
                </c:pt>
                <c:pt idx="1043">
                  <c:v>43091</c:v>
                </c:pt>
                <c:pt idx="1044">
                  <c:v>43095</c:v>
                </c:pt>
                <c:pt idx="1045">
                  <c:v>43096</c:v>
                </c:pt>
                <c:pt idx="1046">
                  <c:v>43097</c:v>
                </c:pt>
                <c:pt idx="1047">
                  <c:v>43098</c:v>
                </c:pt>
                <c:pt idx="1048">
                  <c:v>43102</c:v>
                </c:pt>
                <c:pt idx="1049">
                  <c:v>43103</c:v>
                </c:pt>
                <c:pt idx="1050">
                  <c:v>43104</c:v>
                </c:pt>
                <c:pt idx="1051">
                  <c:v>43105</c:v>
                </c:pt>
                <c:pt idx="1052">
                  <c:v>43108</c:v>
                </c:pt>
                <c:pt idx="1053">
                  <c:v>43109</c:v>
                </c:pt>
                <c:pt idx="1054">
                  <c:v>43110</c:v>
                </c:pt>
                <c:pt idx="1055">
                  <c:v>43111</c:v>
                </c:pt>
                <c:pt idx="1056">
                  <c:v>43112</c:v>
                </c:pt>
                <c:pt idx="1057">
                  <c:v>43115</c:v>
                </c:pt>
                <c:pt idx="1058">
                  <c:v>43116</c:v>
                </c:pt>
                <c:pt idx="1059">
                  <c:v>43117</c:v>
                </c:pt>
                <c:pt idx="1060">
                  <c:v>43118</c:v>
                </c:pt>
                <c:pt idx="1061">
                  <c:v>43119</c:v>
                </c:pt>
                <c:pt idx="1062">
                  <c:v>43122</c:v>
                </c:pt>
                <c:pt idx="1063">
                  <c:v>43123</c:v>
                </c:pt>
                <c:pt idx="1064">
                  <c:v>43124</c:v>
                </c:pt>
                <c:pt idx="1065">
                  <c:v>43125</c:v>
                </c:pt>
                <c:pt idx="1066">
                  <c:v>43126</c:v>
                </c:pt>
                <c:pt idx="1067">
                  <c:v>43129</c:v>
                </c:pt>
                <c:pt idx="1068">
                  <c:v>43130</c:v>
                </c:pt>
                <c:pt idx="1069">
                  <c:v>43131</c:v>
                </c:pt>
                <c:pt idx="1070">
                  <c:v>43132</c:v>
                </c:pt>
                <c:pt idx="1071">
                  <c:v>43133</c:v>
                </c:pt>
                <c:pt idx="1072">
                  <c:v>43136</c:v>
                </c:pt>
                <c:pt idx="1073">
                  <c:v>43137</c:v>
                </c:pt>
                <c:pt idx="1074">
                  <c:v>43138</c:v>
                </c:pt>
                <c:pt idx="1075">
                  <c:v>43139</c:v>
                </c:pt>
                <c:pt idx="1076">
                  <c:v>43140</c:v>
                </c:pt>
                <c:pt idx="1077">
                  <c:v>43143</c:v>
                </c:pt>
                <c:pt idx="1078">
                  <c:v>43144</c:v>
                </c:pt>
                <c:pt idx="1079">
                  <c:v>43145</c:v>
                </c:pt>
                <c:pt idx="1080">
                  <c:v>43146</c:v>
                </c:pt>
                <c:pt idx="1081">
                  <c:v>43147</c:v>
                </c:pt>
                <c:pt idx="1082">
                  <c:v>43150</c:v>
                </c:pt>
                <c:pt idx="1083">
                  <c:v>43151</c:v>
                </c:pt>
                <c:pt idx="1084">
                  <c:v>43152</c:v>
                </c:pt>
                <c:pt idx="1085">
                  <c:v>43153</c:v>
                </c:pt>
                <c:pt idx="1086">
                  <c:v>43154</c:v>
                </c:pt>
                <c:pt idx="1087">
                  <c:v>43157</c:v>
                </c:pt>
                <c:pt idx="1088">
                  <c:v>43158</c:v>
                </c:pt>
                <c:pt idx="1089">
                  <c:v>43159</c:v>
                </c:pt>
                <c:pt idx="1090">
                  <c:v>43160</c:v>
                </c:pt>
                <c:pt idx="1091">
                  <c:v>43161</c:v>
                </c:pt>
                <c:pt idx="1092">
                  <c:v>43164</c:v>
                </c:pt>
                <c:pt idx="1093">
                  <c:v>43165</c:v>
                </c:pt>
                <c:pt idx="1094">
                  <c:v>43166</c:v>
                </c:pt>
                <c:pt idx="1095">
                  <c:v>43167</c:v>
                </c:pt>
                <c:pt idx="1096">
                  <c:v>43168</c:v>
                </c:pt>
                <c:pt idx="1097">
                  <c:v>43171</c:v>
                </c:pt>
                <c:pt idx="1098">
                  <c:v>43172</c:v>
                </c:pt>
                <c:pt idx="1099">
                  <c:v>43173</c:v>
                </c:pt>
                <c:pt idx="1100">
                  <c:v>43174</c:v>
                </c:pt>
                <c:pt idx="1101">
                  <c:v>43175</c:v>
                </c:pt>
                <c:pt idx="1102">
                  <c:v>43178</c:v>
                </c:pt>
                <c:pt idx="1103">
                  <c:v>43179</c:v>
                </c:pt>
                <c:pt idx="1104">
                  <c:v>43180</c:v>
                </c:pt>
                <c:pt idx="1105">
                  <c:v>43181</c:v>
                </c:pt>
                <c:pt idx="1106">
                  <c:v>43182</c:v>
                </c:pt>
                <c:pt idx="1107">
                  <c:v>43185</c:v>
                </c:pt>
                <c:pt idx="1108">
                  <c:v>43186</c:v>
                </c:pt>
                <c:pt idx="1109">
                  <c:v>43187</c:v>
                </c:pt>
                <c:pt idx="1110">
                  <c:v>43188</c:v>
                </c:pt>
                <c:pt idx="1111">
                  <c:v>43192</c:v>
                </c:pt>
                <c:pt idx="1112">
                  <c:v>43193</c:v>
                </c:pt>
                <c:pt idx="1113">
                  <c:v>43194</c:v>
                </c:pt>
                <c:pt idx="1114">
                  <c:v>43195</c:v>
                </c:pt>
                <c:pt idx="1115">
                  <c:v>43196</c:v>
                </c:pt>
                <c:pt idx="1116">
                  <c:v>43199</c:v>
                </c:pt>
                <c:pt idx="1117">
                  <c:v>43200</c:v>
                </c:pt>
                <c:pt idx="1118">
                  <c:v>43201</c:v>
                </c:pt>
                <c:pt idx="1119">
                  <c:v>43202</c:v>
                </c:pt>
                <c:pt idx="1120">
                  <c:v>43203</c:v>
                </c:pt>
                <c:pt idx="1121">
                  <c:v>43206</c:v>
                </c:pt>
                <c:pt idx="1122">
                  <c:v>43207</c:v>
                </c:pt>
                <c:pt idx="1123">
                  <c:v>43208</c:v>
                </c:pt>
                <c:pt idx="1124">
                  <c:v>43209</c:v>
                </c:pt>
                <c:pt idx="1125">
                  <c:v>43210</c:v>
                </c:pt>
                <c:pt idx="1126">
                  <c:v>43213</c:v>
                </c:pt>
                <c:pt idx="1127">
                  <c:v>43214</c:v>
                </c:pt>
                <c:pt idx="1128">
                  <c:v>43215</c:v>
                </c:pt>
                <c:pt idx="1129">
                  <c:v>43216</c:v>
                </c:pt>
                <c:pt idx="1130">
                  <c:v>43217</c:v>
                </c:pt>
                <c:pt idx="1131">
                  <c:v>43220</c:v>
                </c:pt>
                <c:pt idx="1132">
                  <c:v>43221</c:v>
                </c:pt>
                <c:pt idx="1133">
                  <c:v>43222</c:v>
                </c:pt>
                <c:pt idx="1134">
                  <c:v>43223</c:v>
                </c:pt>
                <c:pt idx="1135">
                  <c:v>43224</c:v>
                </c:pt>
                <c:pt idx="1136">
                  <c:v>43227</c:v>
                </c:pt>
                <c:pt idx="1137">
                  <c:v>43228</c:v>
                </c:pt>
                <c:pt idx="1138">
                  <c:v>43229</c:v>
                </c:pt>
                <c:pt idx="1139">
                  <c:v>43230</c:v>
                </c:pt>
                <c:pt idx="1140">
                  <c:v>43231</c:v>
                </c:pt>
                <c:pt idx="1141">
                  <c:v>43234</c:v>
                </c:pt>
                <c:pt idx="1142">
                  <c:v>43235</c:v>
                </c:pt>
                <c:pt idx="1143">
                  <c:v>43236</c:v>
                </c:pt>
                <c:pt idx="1144">
                  <c:v>43237</c:v>
                </c:pt>
                <c:pt idx="1145">
                  <c:v>43238</c:v>
                </c:pt>
                <c:pt idx="1146">
                  <c:v>43241</c:v>
                </c:pt>
                <c:pt idx="1147">
                  <c:v>43242</c:v>
                </c:pt>
                <c:pt idx="1148">
                  <c:v>43243</c:v>
                </c:pt>
                <c:pt idx="1149">
                  <c:v>43244</c:v>
                </c:pt>
                <c:pt idx="1150">
                  <c:v>43245</c:v>
                </c:pt>
                <c:pt idx="1151">
                  <c:v>43249</c:v>
                </c:pt>
                <c:pt idx="1152">
                  <c:v>43250</c:v>
                </c:pt>
                <c:pt idx="1153">
                  <c:v>43251</c:v>
                </c:pt>
                <c:pt idx="1154">
                  <c:v>43252</c:v>
                </c:pt>
                <c:pt idx="1155">
                  <c:v>43255</c:v>
                </c:pt>
                <c:pt idx="1156">
                  <c:v>43256</c:v>
                </c:pt>
                <c:pt idx="1157">
                  <c:v>43257</c:v>
                </c:pt>
                <c:pt idx="1158">
                  <c:v>43258</c:v>
                </c:pt>
                <c:pt idx="1159">
                  <c:v>43259</c:v>
                </c:pt>
                <c:pt idx="1160">
                  <c:v>43262</c:v>
                </c:pt>
                <c:pt idx="1161">
                  <c:v>43263</c:v>
                </c:pt>
                <c:pt idx="1162">
                  <c:v>43264</c:v>
                </c:pt>
                <c:pt idx="1163">
                  <c:v>43265</c:v>
                </c:pt>
                <c:pt idx="1164">
                  <c:v>43266</c:v>
                </c:pt>
                <c:pt idx="1165">
                  <c:v>43269</c:v>
                </c:pt>
                <c:pt idx="1166">
                  <c:v>43270</c:v>
                </c:pt>
                <c:pt idx="1167">
                  <c:v>43271</c:v>
                </c:pt>
                <c:pt idx="1168">
                  <c:v>43272</c:v>
                </c:pt>
                <c:pt idx="1169">
                  <c:v>43273</c:v>
                </c:pt>
                <c:pt idx="1170">
                  <c:v>43276</c:v>
                </c:pt>
                <c:pt idx="1171">
                  <c:v>43277</c:v>
                </c:pt>
                <c:pt idx="1172">
                  <c:v>43278</c:v>
                </c:pt>
                <c:pt idx="1173">
                  <c:v>43279</c:v>
                </c:pt>
                <c:pt idx="1174">
                  <c:v>43280</c:v>
                </c:pt>
                <c:pt idx="1175">
                  <c:v>43283</c:v>
                </c:pt>
                <c:pt idx="1176">
                  <c:v>43284</c:v>
                </c:pt>
                <c:pt idx="1177">
                  <c:v>43285</c:v>
                </c:pt>
                <c:pt idx="1178">
                  <c:v>43286</c:v>
                </c:pt>
                <c:pt idx="1179">
                  <c:v>43287</c:v>
                </c:pt>
                <c:pt idx="1180">
                  <c:v>43290</c:v>
                </c:pt>
                <c:pt idx="1181">
                  <c:v>43291</c:v>
                </c:pt>
                <c:pt idx="1182">
                  <c:v>43292</c:v>
                </c:pt>
                <c:pt idx="1183">
                  <c:v>43293</c:v>
                </c:pt>
                <c:pt idx="1184">
                  <c:v>43294</c:v>
                </c:pt>
                <c:pt idx="1185">
                  <c:v>43297</c:v>
                </c:pt>
                <c:pt idx="1186">
                  <c:v>43298</c:v>
                </c:pt>
                <c:pt idx="1187">
                  <c:v>43299</c:v>
                </c:pt>
                <c:pt idx="1188">
                  <c:v>43300</c:v>
                </c:pt>
                <c:pt idx="1189">
                  <c:v>43301</c:v>
                </c:pt>
                <c:pt idx="1190">
                  <c:v>43304</c:v>
                </c:pt>
                <c:pt idx="1191">
                  <c:v>43305</c:v>
                </c:pt>
                <c:pt idx="1192">
                  <c:v>43306</c:v>
                </c:pt>
                <c:pt idx="1193">
                  <c:v>43307</c:v>
                </c:pt>
                <c:pt idx="1194">
                  <c:v>43308</c:v>
                </c:pt>
                <c:pt idx="1195">
                  <c:v>43311</c:v>
                </c:pt>
                <c:pt idx="1196">
                  <c:v>43312</c:v>
                </c:pt>
                <c:pt idx="1197">
                  <c:v>43313</c:v>
                </c:pt>
                <c:pt idx="1198">
                  <c:v>43314</c:v>
                </c:pt>
                <c:pt idx="1199">
                  <c:v>43315</c:v>
                </c:pt>
                <c:pt idx="1200">
                  <c:v>43318</c:v>
                </c:pt>
                <c:pt idx="1201">
                  <c:v>43319</c:v>
                </c:pt>
                <c:pt idx="1202">
                  <c:v>43320</c:v>
                </c:pt>
                <c:pt idx="1203">
                  <c:v>43321</c:v>
                </c:pt>
                <c:pt idx="1204">
                  <c:v>43322</c:v>
                </c:pt>
                <c:pt idx="1205">
                  <c:v>43325</c:v>
                </c:pt>
                <c:pt idx="1206">
                  <c:v>43326</c:v>
                </c:pt>
                <c:pt idx="1207">
                  <c:v>43327</c:v>
                </c:pt>
                <c:pt idx="1208">
                  <c:v>43328</c:v>
                </c:pt>
                <c:pt idx="1209">
                  <c:v>43329</c:v>
                </c:pt>
                <c:pt idx="1210">
                  <c:v>43332</c:v>
                </c:pt>
                <c:pt idx="1211">
                  <c:v>43333</c:v>
                </c:pt>
                <c:pt idx="1212">
                  <c:v>43334</c:v>
                </c:pt>
                <c:pt idx="1213">
                  <c:v>43335</c:v>
                </c:pt>
                <c:pt idx="1214">
                  <c:v>43336</c:v>
                </c:pt>
                <c:pt idx="1215">
                  <c:v>43339</c:v>
                </c:pt>
                <c:pt idx="1216">
                  <c:v>43340</c:v>
                </c:pt>
                <c:pt idx="1217">
                  <c:v>43341</c:v>
                </c:pt>
                <c:pt idx="1218">
                  <c:v>43342</c:v>
                </c:pt>
                <c:pt idx="1219">
                  <c:v>43343</c:v>
                </c:pt>
                <c:pt idx="1220">
                  <c:v>43346</c:v>
                </c:pt>
                <c:pt idx="1221">
                  <c:v>43347</c:v>
                </c:pt>
                <c:pt idx="1222">
                  <c:v>43348</c:v>
                </c:pt>
                <c:pt idx="1223">
                  <c:v>43349</c:v>
                </c:pt>
                <c:pt idx="1224">
                  <c:v>43350</c:v>
                </c:pt>
                <c:pt idx="1225">
                  <c:v>43353</c:v>
                </c:pt>
                <c:pt idx="1226">
                  <c:v>43354</c:v>
                </c:pt>
                <c:pt idx="1227">
                  <c:v>43355</c:v>
                </c:pt>
                <c:pt idx="1228">
                  <c:v>43356</c:v>
                </c:pt>
                <c:pt idx="1229">
                  <c:v>43357</c:v>
                </c:pt>
                <c:pt idx="1230">
                  <c:v>43360</c:v>
                </c:pt>
                <c:pt idx="1231">
                  <c:v>43361</c:v>
                </c:pt>
                <c:pt idx="1232">
                  <c:v>43362</c:v>
                </c:pt>
                <c:pt idx="1233">
                  <c:v>43363</c:v>
                </c:pt>
                <c:pt idx="1234">
                  <c:v>43364</c:v>
                </c:pt>
                <c:pt idx="1235">
                  <c:v>43367</c:v>
                </c:pt>
                <c:pt idx="1236">
                  <c:v>43368</c:v>
                </c:pt>
                <c:pt idx="1237">
                  <c:v>43369</c:v>
                </c:pt>
                <c:pt idx="1238">
                  <c:v>43370</c:v>
                </c:pt>
                <c:pt idx="1239">
                  <c:v>43371</c:v>
                </c:pt>
                <c:pt idx="1240">
                  <c:v>43374</c:v>
                </c:pt>
                <c:pt idx="1241">
                  <c:v>43375</c:v>
                </c:pt>
                <c:pt idx="1242">
                  <c:v>43376</c:v>
                </c:pt>
                <c:pt idx="1243">
                  <c:v>43377</c:v>
                </c:pt>
                <c:pt idx="1244">
                  <c:v>43378</c:v>
                </c:pt>
                <c:pt idx="1245">
                  <c:v>43381</c:v>
                </c:pt>
                <c:pt idx="1246">
                  <c:v>43382</c:v>
                </c:pt>
                <c:pt idx="1247">
                  <c:v>43383</c:v>
                </c:pt>
                <c:pt idx="1248">
                  <c:v>43384</c:v>
                </c:pt>
                <c:pt idx="1249">
                  <c:v>43385</c:v>
                </c:pt>
                <c:pt idx="1250">
                  <c:v>43388</c:v>
                </c:pt>
                <c:pt idx="1251">
                  <c:v>43389</c:v>
                </c:pt>
                <c:pt idx="1252">
                  <c:v>43390</c:v>
                </c:pt>
                <c:pt idx="1253">
                  <c:v>43391</c:v>
                </c:pt>
                <c:pt idx="1254">
                  <c:v>43392</c:v>
                </c:pt>
                <c:pt idx="1255">
                  <c:v>43395</c:v>
                </c:pt>
                <c:pt idx="1256">
                  <c:v>43396</c:v>
                </c:pt>
                <c:pt idx="1257">
                  <c:v>43397</c:v>
                </c:pt>
                <c:pt idx="1258">
                  <c:v>43398</c:v>
                </c:pt>
                <c:pt idx="1259">
                  <c:v>43399</c:v>
                </c:pt>
                <c:pt idx="1260">
                  <c:v>43402</c:v>
                </c:pt>
                <c:pt idx="1261">
                  <c:v>43403</c:v>
                </c:pt>
                <c:pt idx="1262">
                  <c:v>43404</c:v>
                </c:pt>
                <c:pt idx="1263">
                  <c:v>43405</c:v>
                </c:pt>
                <c:pt idx="1264">
                  <c:v>43406</c:v>
                </c:pt>
                <c:pt idx="1265">
                  <c:v>43409</c:v>
                </c:pt>
                <c:pt idx="1266">
                  <c:v>43410</c:v>
                </c:pt>
                <c:pt idx="1267">
                  <c:v>43411</c:v>
                </c:pt>
                <c:pt idx="1268">
                  <c:v>43412</c:v>
                </c:pt>
                <c:pt idx="1269">
                  <c:v>43413</c:v>
                </c:pt>
                <c:pt idx="1270">
                  <c:v>43416</c:v>
                </c:pt>
                <c:pt idx="1271">
                  <c:v>43417</c:v>
                </c:pt>
                <c:pt idx="1272">
                  <c:v>43418</c:v>
                </c:pt>
                <c:pt idx="1273">
                  <c:v>43419</c:v>
                </c:pt>
                <c:pt idx="1274">
                  <c:v>43420</c:v>
                </c:pt>
                <c:pt idx="1275">
                  <c:v>43423</c:v>
                </c:pt>
                <c:pt idx="1276">
                  <c:v>43424</c:v>
                </c:pt>
                <c:pt idx="1277">
                  <c:v>43425</c:v>
                </c:pt>
                <c:pt idx="1278">
                  <c:v>43426</c:v>
                </c:pt>
                <c:pt idx="1279">
                  <c:v>43427</c:v>
                </c:pt>
                <c:pt idx="1280">
                  <c:v>43430</c:v>
                </c:pt>
                <c:pt idx="1281">
                  <c:v>43431</c:v>
                </c:pt>
                <c:pt idx="1282">
                  <c:v>43432</c:v>
                </c:pt>
                <c:pt idx="1283">
                  <c:v>43433</c:v>
                </c:pt>
                <c:pt idx="1284">
                  <c:v>43434</c:v>
                </c:pt>
                <c:pt idx="1285">
                  <c:v>43437</c:v>
                </c:pt>
                <c:pt idx="1286">
                  <c:v>43438</c:v>
                </c:pt>
                <c:pt idx="1287">
                  <c:v>43439</c:v>
                </c:pt>
                <c:pt idx="1288">
                  <c:v>43440</c:v>
                </c:pt>
                <c:pt idx="1289">
                  <c:v>43441</c:v>
                </c:pt>
                <c:pt idx="1290">
                  <c:v>43444</c:v>
                </c:pt>
                <c:pt idx="1291">
                  <c:v>43445</c:v>
                </c:pt>
                <c:pt idx="1292">
                  <c:v>43446</c:v>
                </c:pt>
                <c:pt idx="1293">
                  <c:v>43447</c:v>
                </c:pt>
                <c:pt idx="1294">
                  <c:v>43448</c:v>
                </c:pt>
                <c:pt idx="1295">
                  <c:v>43451</c:v>
                </c:pt>
                <c:pt idx="1296">
                  <c:v>43452</c:v>
                </c:pt>
                <c:pt idx="1297">
                  <c:v>43453</c:v>
                </c:pt>
                <c:pt idx="1298">
                  <c:v>43454</c:v>
                </c:pt>
                <c:pt idx="1299">
                  <c:v>43455</c:v>
                </c:pt>
                <c:pt idx="1300">
                  <c:v>43460</c:v>
                </c:pt>
                <c:pt idx="1301">
                  <c:v>43461</c:v>
                </c:pt>
                <c:pt idx="1302">
                  <c:v>43462</c:v>
                </c:pt>
                <c:pt idx="1303">
                  <c:v>43467</c:v>
                </c:pt>
                <c:pt idx="1304">
                  <c:v>43468</c:v>
                </c:pt>
                <c:pt idx="1305">
                  <c:v>43469</c:v>
                </c:pt>
                <c:pt idx="1306">
                  <c:v>43472</c:v>
                </c:pt>
                <c:pt idx="1307">
                  <c:v>43473</c:v>
                </c:pt>
                <c:pt idx="1308">
                  <c:v>43474</c:v>
                </c:pt>
                <c:pt idx="1309">
                  <c:v>43475</c:v>
                </c:pt>
                <c:pt idx="1310">
                  <c:v>43476</c:v>
                </c:pt>
                <c:pt idx="1311">
                  <c:v>43479</c:v>
                </c:pt>
                <c:pt idx="1312">
                  <c:v>43480</c:v>
                </c:pt>
                <c:pt idx="1313">
                  <c:v>43481</c:v>
                </c:pt>
                <c:pt idx="1314">
                  <c:v>43482</c:v>
                </c:pt>
                <c:pt idx="1315">
                  <c:v>43483</c:v>
                </c:pt>
                <c:pt idx="1316">
                  <c:v>43486</c:v>
                </c:pt>
                <c:pt idx="1317">
                  <c:v>43487</c:v>
                </c:pt>
                <c:pt idx="1318">
                  <c:v>43488</c:v>
                </c:pt>
                <c:pt idx="1319">
                  <c:v>43489</c:v>
                </c:pt>
                <c:pt idx="1320">
                  <c:v>43490</c:v>
                </c:pt>
                <c:pt idx="1321">
                  <c:v>43493</c:v>
                </c:pt>
                <c:pt idx="1322">
                  <c:v>43494</c:v>
                </c:pt>
                <c:pt idx="1323">
                  <c:v>43495</c:v>
                </c:pt>
                <c:pt idx="1324">
                  <c:v>43496</c:v>
                </c:pt>
                <c:pt idx="1325">
                  <c:v>43497</c:v>
                </c:pt>
                <c:pt idx="1326">
                  <c:v>43500</c:v>
                </c:pt>
                <c:pt idx="1327">
                  <c:v>43501</c:v>
                </c:pt>
                <c:pt idx="1328">
                  <c:v>43502</c:v>
                </c:pt>
                <c:pt idx="1329">
                  <c:v>43503</c:v>
                </c:pt>
                <c:pt idx="1330">
                  <c:v>43504</c:v>
                </c:pt>
                <c:pt idx="1331">
                  <c:v>43507</c:v>
                </c:pt>
                <c:pt idx="1332">
                  <c:v>43508</c:v>
                </c:pt>
                <c:pt idx="1333">
                  <c:v>43509</c:v>
                </c:pt>
                <c:pt idx="1334">
                  <c:v>43510</c:v>
                </c:pt>
                <c:pt idx="1335">
                  <c:v>43511</c:v>
                </c:pt>
                <c:pt idx="1336">
                  <c:v>43514</c:v>
                </c:pt>
                <c:pt idx="1337">
                  <c:v>43515</c:v>
                </c:pt>
                <c:pt idx="1338">
                  <c:v>43516</c:v>
                </c:pt>
                <c:pt idx="1339">
                  <c:v>43517</c:v>
                </c:pt>
                <c:pt idx="1340">
                  <c:v>43518</c:v>
                </c:pt>
                <c:pt idx="1341">
                  <c:v>43521</c:v>
                </c:pt>
                <c:pt idx="1342">
                  <c:v>43522</c:v>
                </c:pt>
                <c:pt idx="1343">
                  <c:v>43523</c:v>
                </c:pt>
                <c:pt idx="1344">
                  <c:v>43524</c:v>
                </c:pt>
                <c:pt idx="1345">
                  <c:v>43525</c:v>
                </c:pt>
                <c:pt idx="1346">
                  <c:v>43528</c:v>
                </c:pt>
                <c:pt idx="1347">
                  <c:v>43529</c:v>
                </c:pt>
                <c:pt idx="1348">
                  <c:v>43530</c:v>
                </c:pt>
                <c:pt idx="1349">
                  <c:v>43531</c:v>
                </c:pt>
                <c:pt idx="1350">
                  <c:v>43532</c:v>
                </c:pt>
                <c:pt idx="1351">
                  <c:v>43535</c:v>
                </c:pt>
                <c:pt idx="1352">
                  <c:v>43536</c:v>
                </c:pt>
                <c:pt idx="1353">
                  <c:v>43537</c:v>
                </c:pt>
                <c:pt idx="1354">
                  <c:v>43538</c:v>
                </c:pt>
                <c:pt idx="1355">
                  <c:v>43539</c:v>
                </c:pt>
                <c:pt idx="1356">
                  <c:v>43542</c:v>
                </c:pt>
                <c:pt idx="1357">
                  <c:v>43543</c:v>
                </c:pt>
                <c:pt idx="1358">
                  <c:v>43544</c:v>
                </c:pt>
                <c:pt idx="1359">
                  <c:v>43545</c:v>
                </c:pt>
                <c:pt idx="1360">
                  <c:v>43546</c:v>
                </c:pt>
                <c:pt idx="1361">
                  <c:v>43549</c:v>
                </c:pt>
                <c:pt idx="1362">
                  <c:v>43550</c:v>
                </c:pt>
                <c:pt idx="1363">
                  <c:v>43551</c:v>
                </c:pt>
                <c:pt idx="1364">
                  <c:v>43552</c:v>
                </c:pt>
                <c:pt idx="1365">
                  <c:v>43553</c:v>
                </c:pt>
                <c:pt idx="1366">
                  <c:v>43556</c:v>
                </c:pt>
                <c:pt idx="1367">
                  <c:v>43557</c:v>
                </c:pt>
                <c:pt idx="1368">
                  <c:v>43558</c:v>
                </c:pt>
                <c:pt idx="1369">
                  <c:v>43559</c:v>
                </c:pt>
                <c:pt idx="1370">
                  <c:v>43560</c:v>
                </c:pt>
                <c:pt idx="1371">
                  <c:v>43563</c:v>
                </c:pt>
                <c:pt idx="1372">
                  <c:v>43564</c:v>
                </c:pt>
                <c:pt idx="1373">
                  <c:v>43565</c:v>
                </c:pt>
                <c:pt idx="1374">
                  <c:v>43566</c:v>
                </c:pt>
                <c:pt idx="1375">
                  <c:v>43567</c:v>
                </c:pt>
                <c:pt idx="1376">
                  <c:v>43570</c:v>
                </c:pt>
                <c:pt idx="1377">
                  <c:v>43571</c:v>
                </c:pt>
                <c:pt idx="1378">
                  <c:v>43572</c:v>
                </c:pt>
                <c:pt idx="1379">
                  <c:v>43573</c:v>
                </c:pt>
                <c:pt idx="1380">
                  <c:v>43577</c:v>
                </c:pt>
                <c:pt idx="1381">
                  <c:v>43578</c:v>
                </c:pt>
                <c:pt idx="1382">
                  <c:v>43579</c:v>
                </c:pt>
                <c:pt idx="1383">
                  <c:v>43580</c:v>
                </c:pt>
                <c:pt idx="1384">
                  <c:v>43581</c:v>
                </c:pt>
                <c:pt idx="1385">
                  <c:v>43584</c:v>
                </c:pt>
                <c:pt idx="1386">
                  <c:v>43585</c:v>
                </c:pt>
                <c:pt idx="1387">
                  <c:v>43586</c:v>
                </c:pt>
                <c:pt idx="1388">
                  <c:v>43587</c:v>
                </c:pt>
                <c:pt idx="1389">
                  <c:v>43588</c:v>
                </c:pt>
                <c:pt idx="1390">
                  <c:v>43591</c:v>
                </c:pt>
                <c:pt idx="1391">
                  <c:v>43592</c:v>
                </c:pt>
                <c:pt idx="1392">
                  <c:v>43593</c:v>
                </c:pt>
                <c:pt idx="1393">
                  <c:v>43594</c:v>
                </c:pt>
                <c:pt idx="1394">
                  <c:v>43595</c:v>
                </c:pt>
                <c:pt idx="1395">
                  <c:v>43598</c:v>
                </c:pt>
                <c:pt idx="1396">
                  <c:v>43599</c:v>
                </c:pt>
                <c:pt idx="1397">
                  <c:v>43600</c:v>
                </c:pt>
                <c:pt idx="1398">
                  <c:v>43601</c:v>
                </c:pt>
                <c:pt idx="1399">
                  <c:v>43602</c:v>
                </c:pt>
                <c:pt idx="1400">
                  <c:v>43605</c:v>
                </c:pt>
                <c:pt idx="1401">
                  <c:v>43606</c:v>
                </c:pt>
                <c:pt idx="1402">
                  <c:v>43607</c:v>
                </c:pt>
                <c:pt idx="1403">
                  <c:v>43608</c:v>
                </c:pt>
                <c:pt idx="1404">
                  <c:v>43609</c:v>
                </c:pt>
                <c:pt idx="1405">
                  <c:v>43613</c:v>
                </c:pt>
                <c:pt idx="1406">
                  <c:v>43614</c:v>
                </c:pt>
                <c:pt idx="1407">
                  <c:v>43615</c:v>
                </c:pt>
                <c:pt idx="1408">
                  <c:v>43616</c:v>
                </c:pt>
                <c:pt idx="1409">
                  <c:v>43619</c:v>
                </c:pt>
                <c:pt idx="1410">
                  <c:v>43620</c:v>
                </c:pt>
                <c:pt idx="1411">
                  <c:v>43621</c:v>
                </c:pt>
                <c:pt idx="1412">
                  <c:v>43622</c:v>
                </c:pt>
                <c:pt idx="1413">
                  <c:v>43623</c:v>
                </c:pt>
                <c:pt idx="1414">
                  <c:v>43626</c:v>
                </c:pt>
                <c:pt idx="1415">
                  <c:v>43627</c:v>
                </c:pt>
                <c:pt idx="1416">
                  <c:v>43628</c:v>
                </c:pt>
                <c:pt idx="1417">
                  <c:v>43629</c:v>
                </c:pt>
                <c:pt idx="1418">
                  <c:v>43630</c:v>
                </c:pt>
                <c:pt idx="1419">
                  <c:v>43633</c:v>
                </c:pt>
                <c:pt idx="1420">
                  <c:v>43634</c:v>
                </c:pt>
                <c:pt idx="1421">
                  <c:v>43635</c:v>
                </c:pt>
                <c:pt idx="1422">
                  <c:v>43636</c:v>
                </c:pt>
                <c:pt idx="1423">
                  <c:v>43637</c:v>
                </c:pt>
                <c:pt idx="1424">
                  <c:v>43640</c:v>
                </c:pt>
                <c:pt idx="1425">
                  <c:v>43641</c:v>
                </c:pt>
                <c:pt idx="1426">
                  <c:v>43642</c:v>
                </c:pt>
                <c:pt idx="1427">
                  <c:v>43643</c:v>
                </c:pt>
                <c:pt idx="1428">
                  <c:v>43644</c:v>
                </c:pt>
                <c:pt idx="1429">
                  <c:v>43647</c:v>
                </c:pt>
                <c:pt idx="1430">
                  <c:v>43648</c:v>
                </c:pt>
                <c:pt idx="1431">
                  <c:v>43649</c:v>
                </c:pt>
                <c:pt idx="1432">
                  <c:v>43650</c:v>
                </c:pt>
                <c:pt idx="1433">
                  <c:v>43651</c:v>
                </c:pt>
                <c:pt idx="1434">
                  <c:v>43654</c:v>
                </c:pt>
                <c:pt idx="1435">
                  <c:v>43655</c:v>
                </c:pt>
                <c:pt idx="1436">
                  <c:v>43656</c:v>
                </c:pt>
                <c:pt idx="1437">
                  <c:v>43657</c:v>
                </c:pt>
                <c:pt idx="1438">
                  <c:v>43658</c:v>
                </c:pt>
                <c:pt idx="1439">
                  <c:v>43661</c:v>
                </c:pt>
                <c:pt idx="1440">
                  <c:v>43662</c:v>
                </c:pt>
                <c:pt idx="1441">
                  <c:v>43663</c:v>
                </c:pt>
                <c:pt idx="1442">
                  <c:v>43664</c:v>
                </c:pt>
                <c:pt idx="1443">
                  <c:v>43665</c:v>
                </c:pt>
                <c:pt idx="1444">
                  <c:v>43668</c:v>
                </c:pt>
                <c:pt idx="1445">
                  <c:v>43669</c:v>
                </c:pt>
                <c:pt idx="1446">
                  <c:v>43670</c:v>
                </c:pt>
                <c:pt idx="1447">
                  <c:v>43671</c:v>
                </c:pt>
                <c:pt idx="1448">
                  <c:v>43672</c:v>
                </c:pt>
                <c:pt idx="1449">
                  <c:v>43675</c:v>
                </c:pt>
                <c:pt idx="1450">
                  <c:v>43676</c:v>
                </c:pt>
                <c:pt idx="1451">
                  <c:v>43677</c:v>
                </c:pt>
                <c:pt idx="1452">
                  <c:v>43678</c:v>
                </c:pt>
                <c:pt idx="1453">
                  <c:v>43679</c:v>
                </c:pt>
                <c:pt idx="1454">
                  <c:v>43682</c:v>
                </c:pt>
                <c:pt idx="1455">
                  <c:v>43683</c:v>
                </c:pt>
                <c:pt idx="1456">
                  <c:v>43684</c:v>
                </c:pt>
                <c:pt idx="1457">
                  <c:v>43685</c:v>
                </c:pt>
                <c:pt idx="1458">
                  <c:v>43686</c:v>
                </c:pt>
                <c:pt idx="1459">
                  <c:v>43689</c:v>
                </c:pt>
                <c:pt idx="1460">
                  <c:v>43690</c:v>
                </c:pt>
                <c:pt idx="1461">
                  <c:v>43691</c:v>
                </c:pt>
                <c:pt idx="1462">
                  <c:v>43692</c:v>
                </c:pt>
                <c:pt idx="1463">
                  <c:v>43693</c:v>
                </c:pt>
                <c:pt idx="1464">
                  <c:v>43696</c:v>
                </c:pt>
                <c:pt idx="1465">
                  <c:v>43697</c:v>
                </c:pt>
                <c:pt idx="1466">
                  <c:v>43698</c:v>
                </c:pt>
                <c:pt idx="1467">
                  <c:v>43699</c:v>
                </c:pt>
                <c:pt idx="1468">
                  <c:v>43700</c:v>
                </c:pt>
                <c:pt idx="1469">
                  <c:v>43703</c:v>
                </c:pt>
                <c:pt idx="1470">
                  <c:v>43704</c:v>
                </c:pt>
                <c:pt idx="1471">
                  <c:v>43705</c:v>
                </c:pt>
                <c:pt idx="1472">
                  <c:v>43706</c:v>
                </c:pt>
                <c:pt idx="1473">
                  <c:v>43707</c:v>
                </c:pt>
                <c:pt idx="1474">
                  <c:v>43710</c:v>
                </c:pt>
                <c:pt idx="1475">
                  <c:v>43711</c:v>
                </c:pt>
                <c:pt idx="1476">
                  <c:v>43712</c:v>
                </c:pt>
                <c:pt idx="1477">
                  <c:v>43713</c:v>
                </c:pt>
                <c:pt idx="1478">
                  <c:v>43714</c:v>
                </c:pt>
                <c:pt idx="1479">
                  <c:v>43717</c:v>
                </c:pt>
                <c:pt idx="1480">
                  <c:v>43718</c:v>
                </c:pt>
                <c:pt idx="1481">
                  <c:v>43719</c:v>
                </c:pt>
                <c:pt idx="1482">
                  <c:v>43720</c:v>
                </c:pt>
                <c:pt idx="1483">
                  <c:v>43721</c:v>
                </c:pt>
                <c:pt idx="1484">
                  <c:v>43724</c:v>
                </c:pt>
                <c:pt idx="1485">
                  <c:v>43725</c:v>
                </c:pt>
                <c:pt idx="1486">
                  <c:v>43726</c:v>
                </c:pt>
                <c:pt idx="1487">
                  <c:v>43727</c:v>
                </c:pt>
                <c:pt idx="1488">
                  <c:v>43728</c:v>
                </c:pt>
                <c:pt idx="1489">
                  <c:v>43731</c:v>
                </c:pt>
                <c:pt idx="1490">
                  <c:v>43732</c:v>
                </c:pt>
                <c:pt idx="1491">
                  <c:v>43733</c:v>
                </c:pt>
                <c:pt idx="1492">
                  <c:v>43734</c:v>
                </c:pt>
                <c:pt idx="1493">
                  <c:v>43735</c:v>
                </c:pt>
                <c:pt idx="1494">
                  <c:v>43738</c:v>
                </c:pt>
                <c:pt idx="1495">
                  <c:v>43739</c:v>
                </c:pt>
                <c:pt idx="1496">
                  <c:v>43740</c:v>
                </c:pt>
                <c:pt idx="1497">
                  <c:v>43741</c:v>
                </c:pt>
                <c:pt idx="1498">
                  <c:v>43742</c:v>
                </c:pt>
                <c:pt idx="1499">
                  <c:v>43745</c:v>
                </c:pt>
                <c:pt idx="1500">
                  <c:v>43746</c:v>
                </c:pt>
                <c:pt idx="1501">
                  <c:v>43747</c:v>
                </c:pt>
                <c:pt idx="1502">
                  <c:v>43748</c:v>
                </c:pt>
                <c:pt idx="1503">
                  <c:v>43749</c:v>
                </c:pt>
                <c:pt idx="1504">
                  <c:v>43752</c:v>
                </c:pt>
                <c:pt idx="1505">
                  <c:v>43753</c:v>
                </c:pt>
                <c:pt idx="1506">
                  <c:v>43754</c:v>
                </c:pt>
                <c:pt idx="1507">
                  <c:v>43755</c:v>
                </c:pt>
                <c:pt idx="1508">
                  <c:v>43756</c:v>
                </c:pt>
                <c:pt idx="1509">
                  <c:v>43759</c:v>
                </c:pt>
                <c:pt idx="1510">
                  <c:v>43760</c:v>
                </c:pt>
                <c:pt idx="1511">
                  <c:v>43761</c:v>
                </c:pt>
                <c:pt idx="1512">
                  <c:v>43762</c:v>
                </c:pt>
                <c:pt idx="1513">
                  <c:v>43763</c:v>
                </c:pt>
                <c:pt idx="1514">
                  <c:v>43766</c:v>
                </c:pt>
                <c:pt idx="1515">
                  <c:v>43767</c:v>
                </c:pt>
                <c:pt idx="1516">
                  <c:v>43768</c:v>
                </c:pt>
                <c:pt idx="1517">
                  <c:v>43769</c:v>
                </c:pt>
                <c:pt idx="1518">
                  <c:v>43770</c:v>
                </c:pt>
                <c:pt idx="1519">
                  <c:v>43773</c:v>
                </c:pt>
                <c:pt idx="1520">
                  <c:v>43774</c:v>
                </c:pt>
                <c:pt idx="1521">
                  <c:v>43775</c:v>
                </c:pt>
                <c:pt idx="1522">
                  <c:v>43776</c:v>
                </c:pt>
                <c:pt idx="1523">
                  <c:v>43777</c:v>
                </c:pt>
                <c:pt idx="1524">
                  <c:v>43780</c:v>
                </c:pt>
                <c:pt idx="1525">
                  <c:v>43781</c:v>
                </c:pt>
                <c:pt idx="1526">
                  <c:v>43782</c:v>
                </c:pt>
                <c:pt idx="1527">
                  <c:v>43783</c:v>
                </c:pt>
                <c:pt idx="1528">
                  <c:v>43784</c:v>
                </c:pt>
                <c:pt idx="1529">
                  <c:v>43787</c:v>
                </c:pt>
                <c:pt idx="1530">
                  <c:v>43788</c:v>
                </c:pt>
                <c:pt idx="1531">
                  <c:v>43789</c:v>
                </c:pt>
                <c:pt idx="1532">
                  <c:v>43790</c:v>
                </c:pt>
                <c:pt idx="1533">
                  <c:v>43791</c:v>
                </c:pt>
                <c:pt idx="1534">
                  <c:v>43794</c:v>
                </c:pt>
                <c:pt idx="1535">
                  <c:v>43795</c:v>
                </c:pt>
                <c:pt idx="1536">
                  <c:v>43796</c:v>
                </c:pt>
                <c:pt idx="1537">
                  <c:v>43797</c:v>
                </c:pt>
                <c:pt idx="1538">
                  <c:v>43798</c:v>
                </c:pt>
                <c:pt idx="1539">
                  <c:v>43801</c:v>
                </c:pt>
                <c:pt idx="1540">
                  <c:v>43802</c:v>
                </c:pt>
                <c:pt idx="1541">
                  <c:v>43803</c:v>
                </c:pt>
                <c:pt idx="1542">
                  <c:v>43804</c:v>
                </c:pt>
                <c:pt idx="1543">
                  <c:v>43805</c:v>
                </c:pt>
                <c:pt idx="1544">
                  <c:v>43808</c:v>
                </c:pt>
                <c:pt idx="1545">
                  <c:v>43809</c:v>
                </c:pt>
                <c:pt idx="1546">
                  <c:v>43810</c:v>
                </c:pt>
                <c:pt idx="1547">
                  <c:v>43811</c:v>
                </c:pt>
                <c:pt idx="1548">
                  <c:v>43812</c:v>
                </c:pt>
                <c:pt idx="1549">
                  <c:v>43815</c:v>
                </c:pt>
                <c:pt idx="1550">
                  <c:v>43816</c:v>
                </c:pt>
                <c:pt idx="1551">
                  <c:v>43817</c:v>
                </c:pt>
                <c:pt idx="1552">
                  <c:v>43818</c:v>
                </c:pt>
                <c:pt idx="1553">
                  <c:v>43819</c:v>
                </c:pt>
                <c:pt idx="1554">
                  <c:v>43822</c:v>
                </c:pt>
                <c:pt idx="1555">
                  <c:v>43823</c:v>
                </c:pt>
                <c:pt idx="1556">
                  <c:v>43825</c:v>
                </c:pt>
                <c:pt idx="1557">
                  <c:v>43826</c:v>
                </c:pt>
                <c:pt idx="1558">
                  <c:v>43829</c:v>
                </c:pt>
                <c:pt idx="1559">
                  <c:v>43830</c:v>
                </c:pt>
                <c:pt idx="1560">
                  <c:v>43832</c:v>
                </c:pt>
                <c:pt idx="1561">
                  <c:v>43833</c:v>
                </c:pt>
                <c:pt idx="1562">
                  <c:v>43836</c:v>
                </c:pt>
                <c:pt idx="1563">
                  <c:v>43837</c:v>
                </c:pt>
                <c:pt idx="1564">
                  <c:v>43838</c:v>
                </c:pt>
                <c:pt idx="1565">
                  <c:v>43839</c:v>
                </c:pt>
                <c:pt idx="1566">
                  <c:v>43840</c:v>
                </c:pt>
                <c:pt idx="1567">
                  <c:v>43843</c:v>
                </c:pt>
                <c:pt idx="1568">
                  <c:v>43844</c:v>
                </c:pt>
                <c:pt idx="1569">
                  <c:v>43845</c:v>
                </c:pt>
                <c:pt idx="1570">
                  <c:v>43846</c:v>
                </c:pt>
                <c:pt idx="1571">
                  <c:v>43847</c:v>
                </c:pt>
                <c:pt idx="1572">
                  <c:v>43850</c:v>
                </c:pt>
                <c:pt idx="1573">
                  <c:v>43851</c:v>
                </c:pt>
                <c:pt idx="1574">
                  <c:v>43852</c:v>
                </c:pt>
                <c:pt idx="1575">
                  <c:v>43853</c:v>
                </c:pt>
                <c:pt idx="1576">
                  <c:v>43854</c:v>
                </c:pt>
                <c:pt idx="1577">
                  <c:v>43857</c:v>
                </c:pt>
                <c:pt idx="1578">
                  <c:v>43858</c:v>
                </c:pt>
                <c:pt idx="1579">
                  <c:v>43859</c:v>
                </c:pt>
                <c:pt idx="1580">
                  <c:v>43860</c:v>
                </c:pt>
                <c:pt idx="1581">
                  <c:v>43861</c:v>
                </c:pt>
                <c:pt idx="1582">
                  <c:v>43864</c:v>
                </c:pt>
                <c:pt idx="1583">
                  <c:v>43865</c:v>
                </c:pt>
                <c:pt idx="1584">
                  <c:v>43866</c:v>
                </c:pt>
                <c:pt idx="1585">
                  <c:v>43867</c:v>
                </c:pt>
                <c:pt idx="1586">
                  <c:v>43868</c:v>
                </c:pt>
                <c:pt idx="1587">
                  <c:v>43871</c:v>
                </c:pt>
                <c:pt idx="1588">
                  <c:v>43872</c:v>
                </c:pt>
                <c:pt idx="1589">
                  <c:v>43873</c:v>
                </c:pt>
                <c:pt idx="1590">
                  <c:v>43874</c:v>
                </c:pt>
                <c:pt idx="1591">
                  <c:v>43875</c:v>
                </c:pt>
                <c:pt idx="1592">
                  <c:v>43878</c:v>
                </c:pt>
                <c:pt idx="1593">
                  <c:v>43879</c:v>
                </c:pt>
                <c:pt idx="1594">
                  <c:v>43880</c:v>
                </c:pt>
                <c:pt idx="1595">
                  <c:v>43881</c:v>
                </c:pt>
                <c:pt idx="1596">
                  <c:v>43882</c:v>
                </c:pt>
                <c:pt idx="1597">
                  <c:v>43885</c:v>
                </c:pt>
                <c:pt idx="1598">
                  <c:v>43886</c:v>
                </c:pt>
                <c:pt idx="1599">
                  <c:v>43887</c:v>
                </c:pt>
                <c:pt idx="1600">
                  <c:v>43888</c:v>
                </c:pt>
                <c:pt idx="1601">
                  <c:v>43889</c:v>
                </c:pt>
                <c:pt idx="1602">
                  <c:v>43892</c:v>
                </c:pt>
                <c:pt idx="1603">
                  <c:v>43893</c:v>
                </c:pt>
                <c:pt idx="1604">
                  <c:v>43894</c:v>
                </c:pt>
                <c:pt idx="1605">
                  <c:v>43895</c:v>
                </c:pt>
                <c:pt idx="1606">
                  <c:v>43896</c:v>
                </c:pt>
                <c:pt idx="1607">
                  <c:v>43899</c:v>
                </c:pt>
                <c:pt idx="1608">
                  <c:v>43900</c:v>
                </c:pt>
                <c:pt idx="1609">
                  <c:v>43901</c:v>
                </c:pt>
                <c:pt idx="1610">
                  <c:v>43902</c:v>
                </c:pt>
                <c:pt idx="1611">
                  <c:v>43903</c:v>
                </c:pt>
                <c:pt idx="1612">
                  <c:v>43906</c:v>
                </c:pt>
                <c:pt idx="1613">
                  <c:v>43907</c:v>
                </c:pt>
                <c:pt idx="1614">
                  <c:v>43908</c:v>
                </c:pt>
                <c:pt idx="1615">
                  <c:v>43909</c:v>
                </c:pt>
                <c:pt idx="1616">
                  <c:v>43910</c:v>
                </c:pt>
                <c:pt idx="1617">
                  <c:v>43913</c:v>
                </c:pt>
                <c:pt idx="1618">
                  <c:v>43914</c:v>
                </c:pt>
                <c:pt idx="1619">
                  <c:v>43915</c:v>
                </c:pt>
                <c:pt idx="1620">
                  <c:v>43916</c:v>
                </c:pt>
                <c:pt idx="1621">
                  <c:v>43917</c:v>
                </c:pt>
                <c:pt idx="1622">
                  <c:v>43920</c:v>
                </c:pt>
                <c:pt idx="1623">
                  <c:v>43921</c:v>
                </c:pt>
                <c:pt idx="1624">
                  <c:v>43922</c:v>
                </c:pt>
                <c:pt idx="1625">
                  <c:v>43923</c:v>
                </c:pt>
                <c:pt idx="1626">
                  <c:v>43924</c:v>
                </c:pt>
                <c:pt idx="1627">
                  <c:v>43927</c:v>
                </c:pt>
                <c:pt idx="1628">
                  <c:v>43928</c:v>
                </c:pt>
                <c:pt idx="1629">
                  <c:v>43929</c:v>
                </c:pt>
                <c:pt idx="1630">
                  <c:v>43930</c:v>
                </c:pt>
                <c:pt idx="1631">
                  <c:v>43934</c:v>
                </c:pt>
                <c:pt idx="1632">
                  <c:v>43935</c:v>
                </c:pt>
                <c:pt idx="1633">
                  <c:v>43936</c:v>
                </c:pt>
                <c:pt idx="1634">
                  <c:v>43937</c:v>
                </c:pt>
                <c:pt idx="1635">
                  <c:v>43938</c:v>
                </c:pt>
                <c:pt idx="1636">
                  <c:v>43941</c:v>
                </c:pt>
                <c:pt idx="1637">
                  <c:v>43942</c:v>
                </c:pt>
                <c:pt idx="1638">
                  <c:v>43943</c:v>
                </c:pt>
                <c:pt idx="1639">
                  <c:v>43944</c:v>
                </c:pt>
                <c:pt idx="1640">
                  <c:v>43945</c:v>
                </c:pt>
                <c:pt idx="1641">
                  <c:v>43948</c:v>
                </c:pt>
                <c:pt idx="1642">
                  <c:v>43949</c:v>
                </c:pt>
                <c:pt idx="1643">
                  <c:v>43950</c:v>
                </c:pt>
                <c:pt idx="1644">
                  <c:v>43951</c:v>
                </c:pt>
                <c:pt idx="1645">
                  <c:v>43952</c:v>
                </c:pt>
                <c:pt idx="1646">
                  <c:v>43955</c:v>
                </c:pt>
                <c:pt idx="1647">
                  <c:v>43956</c:v>
                </c:pt>
                <c:pt idx="1648">
                  <c:v>43957</c:v>
                </c:pt>
                <c:pt idx="1649">
                  <c:v>43958</c:v>
                </c:pt>
                <c:pt idx="1650">
                  <c:v>43959</c:v>
                </c:pt>
                <c:pt idx="1651">
                  <c:v>43962</c:v>
                </c:pt>
                <c:pt idx="1652">
                  <c:v>43963</c:v>
                </c:pt>
                <c:pt idx="1653">
                  <c:v>43964</c:v>
                </c:pt>
                <c:pt idx="1654">
                  <c:v>43965</c:v>
                </c:pt>
                <c:pt idx="1655">
                  <c:v>43966</c:v>
                </c:pt>
                <c:pt idx="1656">
                  <c:v>43969</c:v>
                </c:pt>
                <c:pt idx="1657">
                  <c:v>43970</c:v>
                </c:pt>
                <c:pt idx="1658">
                  <c:v>43971</c:v>
                </c:pt>
                <c:pt idx="1659">
                  <c:v>43972</c:v>
                </c:pt>
                <c:pt idx="1660">
                  <c:v>43973</c:v>
                </c:pt>
                <c:pt idx="1661">
                  <c:v>43977</c:v>
                </c:pt>
                <c:pt idx="1662">
                  <c:v>43978</c:v>
                </c:pt>
                <c:pt idx="1663">
                  <c:v>43979</c:v>
                </c:pt>
                <c:pt idx="1664">
                  <c:v>43980</c:v>
                </c:pt>
                <c:pt idx="1665">
                  <c:v>43983</c:v>
                </c:pt>
                <c:pt idx="1666">
                  <c:v>43984</c:v>
                </c:pt>
                <c:pt idx="1667">
                  <c:v>43985</c:v>
                </c:pt>
                <c:pt idx="1668">
                  <c:v>43986</c:v>
                </c:pt>
                <c:pt idx="1669">
                  <c:v>43987</c:v>
                </c:pt>
                <c:pt idx="1670">
                  <c:v>43990</c:v>
                </c:pt>
                <c:pt idx="1671">
                  <c:v>43991</c:v>
                </c:pt>
                <c:pt idx="1672">
                  <c:v>43992</c:v>
                </c:pt>
                <c:pt idx="1673">
                  <c:v>43993</c:v>
                </c:pt>
                <c:pt idx="1674">
                  <c:v>43994</c:v>
                </c:pt>
                <c:pt idx="1675">
                  <c:v>43997</c:v>
                </c:pt>
                <c:pt idx="1676">
                  <c:v>43998</c:v>
                </c:pt>
                <c:pt idx="1677">
                  <c:v>43999</c:v>
                </c:pt>
                <c:pt idx="1678">
                  <c:v>44000</c:v>
                </c:pt>
                <c:pt idx="1679">
                  <c:v>44001</c:v>
                </c:pt>
                <c:pt idx="1680">
                  <c:v>44004</c:v>
                </c:pt>
                <c:pt idx="1681">
                  <c:v>44005</c:v>
                </c:pt>
                <c:pt idx="1682">
                  <c:v>44006</c:v>
                </c:pt>
                <c:pt idx="1683">
                  <c:v>44007</c:v>
                </c:pt>
                <c:pt idx="1684">
                  <c:v>44008</c:v>
                </c:pt>
                <c:pt idx="1685">
                  <c:v>44011</c:v>
                </c:pt>
                <c:pt idx="1686">
                  <c:v>44012</c:v>
                </c:pt>
                <c:pt idx="1687">
                  <c:v>44013</c:v>
                </c:pt>
                <c:pt idx="1688">
                  <c:v>44014</c:v>
                </c:pt>
                <c:pt idx="1689">
                  <c:v>44015</c:v>
                </c:pt>
                <c:pt idx="1690">
                  <c:v>44018</c:v>
                </c:pt>
                <c:pt idx="1691">
                  <c:v>44019</c:v>
                </c:pt>
                <c:pt idx="1692">
                  <c:v>44020</c:v>
                </c:pt>
                <c:pt idx="1693">
                  <c:v>44021</c:v>
                </c:pt>
                <c:pt idx="1694">
                  <c:v>44022</c:v>
                </c:pt>
                <c:pt idx="1695">
                  <c:v>44025</c:v>
                </c:pt>
                <c:pt idx="1696">
                  <c:v>44026</c:v>
                </c:pt>
                <c:pt idx="1697">
                  <c:v>44027</c:v>
                </c:pt>
                <c:pt idx="1698">
                  <c:v>44028</c:v>
                </c:pt>
                <c:pt idx="1699">
                  <c:v>44029</c:v>
                </c:pt>
                <c:pt idx="1700">
                  <c:v>44032</c:v>
                </c:pt>
                <c:pt idx="1701">
                  <c:v>44033</c:v>
                </c:pt>
                <c:pt idx="1702">
                  <c:v>44034</c:v>
                </c:pt>
                <c:pt idx="1703">
                  <c:v>44035</c:v>
                </c:pt>
                <c:pt idx="1704">
                  <c:v>44036</c:v>
                </c:pt>
                <c:pt idx="1705">
                  <c:v>44039</c:v>
                </c:pt>
                <c:pt idx="1706">
                  <c:v>44040</c:v>
                </c:pt>
                <c:pt idx="1707">
                  <c:v>44041</c:v>
                </c:pt>
                <c:pt idx="1708">
                  <c:v>44042</c:v>
                </c:pt>
                <c:pt idx="1709">
                  <c:v>44043</c:v>
                </c:pt>
                <c:pt idx="1710">
                  <c:v>44046</c:v>
                </c:pt>
                <c:pt idx="1711">
                  <c:v>44047</c:v>
                </c:pt>
                <c:pt idx="1712">
                  <c:v>44048</c:v>
                </c:pt>
                <c:pt idx="1713">
                  <c:v>44049</c:v>
                </c:pt>
                <c:pt idx="1714">
                  <c:v>44050</c:v>
                </c:pt>
                <c:pt idx="1715">
                  <c:v>44053</c:v>
                </c:pt>
                <c:pt idx="1716">
                  <c:v>44054</c:v>
                </c:pt>
                <c:pt idx="1717">
                  <c:v>44055</c:v>
                </c:pt>
                <c:pt idx="1718">
                  <c:v>44056</c:v>
                </c:pt>
                <c:pt idx="1719">
                  <c:v>44057</c:v>
                </c:pt>
                <c:pt idx="1720">
                  <c:v>44060</c:v>
                </c:pt>
                <c:pt idx="1721">
                  <c:v>44061</c:v>
                </c:pt>
                <c:pt idx="1722">
                  <c:v>44062</c:v>
                </c:pt>
                <c:pt idx="1723">
                  <c:v>44063</c:v>
                </c:pt>
                <c:pt idx="1724">
                  <c:v>44064</c:v>
                </c:pt>
                <c:pt idx="1725">
                  <c:v>44067</c:v>
                </c:pt>
                <c:pt idx="1726">
                  <c:v>44068</c:v>
                </c:pt>
                <c:pt idx="1727">
                  <c:v>44069</c:v>
                </c:pt>
                <c:pt idx="1728">
                  <c:v>44070</c:v>
                </c:pt>
                <c:pt idx="1729">
                  <c:v>44071</c:v>
                </c:pt>
                <c:pt idx="1730">
                  <c:v>44074</c:v>
                </c:pt>
                <c:pt idx="1731">
                  <c:v>44075</c:v>
                </c:pt>
                <c:pt idx="1732">
                  <c:v>44076</c:v>
                </c:pt>
                <c:pt idx="1733">
                  <c:v>44077</c:v>
                </c:pt>
                <c:pt idx="1734">
                  <c:v>44078</c:v>
                </c:pt>
                <c:pt idx="1735">
                  <c:v>44081</c:v>
                </c:pt>
                <c:pt idx="1736">
                  <c:v>44082</c:v>
                </c:pt>
                <c:pt idx="1737">
                  <c:v>44083</c:v>
                </c:pt>
                <c:pt idx="1738">
                  <c:v>44084</c:v>
                </c:pt>
                <c:pt idx="1739">
                  <c:v>44085</c:v>
                </c:pt>
                <c:pt idx="1740">
                  <c:v>44088</c:v>
                </c:pt>
                <c:pt idx="1741">
                  <c:v>44089</c:v>
                </c:pt>
                <c:pt idx="1742">
                  <c:v>44090</c:v>
                </c:pt>
                <c:pt idx="1743">
                  <c:v>44091</c:v>
                </c:pt>
                <c:pt idx="1744">
                  <c:v>44092</c:v>
                </c:pt>
                <c:pt idx="1745">
                  <c:v>44095</c:v>
                </c:pt>
                <c:pt idx="1746">
                  <c:v>44096</c:v>
                </c:pt>
                <c:pt idx="1747">
                  <c:v>44097</c:v>
                </c:pt>
                <c:pt idx="1748">
                  <c:v>44098</c:v>
                </c:pt>
                <c:pt idx="1749">
                  <c:v>44099</c:v>
                </c:pt>
                <c:pt idx="1750">
                  <c:v>44102</c:v>
                </c:pt>
                <c:pt idx="1751">
                  <c:v>44103</c:v>
                </c:pt>
                <c:pt idx="1752">
                  <c:v>44104</c:v>
                </c:pt>
                <c:pt idx="1753">
                  <c:v>44105</c:v>
                </c:pt>
                <c:pt idx="1754">
                  <c:v>44106</c:v>
                </c:pt>
                <c:pt idx="1755">
                  <c:v>44109</c:v>
                </c:pt>
                <c:pt idx="1756">
                  <c:v>44110</c:v>
                </c:pt>
                <c:pt idx="1757">
                  <c:v>44111</c:v>
                </c:pt>
                <c:pt idx="1758">
                  <c:v>44112</c:v>
                </c:pt>
                <c:pt idx="1759">
                  <c:v>44113</c:v>
                </c:pt>
                <c:pt idx="1760">
                  <c:v>44116</c:v>
                </c:pt>
                <c:pt idx="1761">
                  <c:v>44117</c:v>
                </c:pt>
                <c:pt idx="1762">
                  <c:v>44118</c:v>
                </c:pt>
                <c:pt idx="1763">
                  <c:v>44119</c:v>
                </c:pt>
                <c:pt idx="1764">
                  <c:v>44120</c:v>
                </c:pt>
                <c:pt idx="1765">
                  <c:v>44123</c:v>
                </c:pt>
                <c:pt idx="1766">
                  <c:v>44124</c:v>
                </c:pt>
                <c:pt idx="1767">
                  <c:v>44125</c:v>
                </c:pt>
                <c:pt idx="1768">
                  <c:v>44126</c:v>
                </c:pt>
                <c:pt idx="1769">
                  <c:v>44127</c:v>
                </c:pt>
                <c:pt idx="1770">
                  <c:v>44130</c:v>
                </c:pt>
                <c:pt idx="1771">
                  <c:v>44131</c:v>
                </c:pt>
                <c:pt idx="1772">
                  <c:v>44132</c:v>
                </c:pt>
                <c:pt idx="1773">
                  <c:v>44133</c:v>
                </c:pt>
                <c:pt idx="1774">
                  <c:v>44134</c:v>
                </c:pt>
                <c:pt idx="1775">
                  <c:v>44137</c:v>
                </c:pt>
                <c:pt idx="1776">
                  <c:v>44138</c:v>
                </c:pt>
                <c:pt idx="1777">
                  <c:v>44139</c:v>
                </c:pt>
                <c:pt idx="1778">
                  <c:v>44140</c:v>
                </c:pt>
                <c:pt idx="1779">
                  <c:v>44141</c:v>
                </c:pt>
                <c:pt idx="1780">
                  <c:v>44144</c:v>
                </c:pt>
                <c:pt idx="1781">
                  <c:v>44145</c:v>
                </c:pt>
                <c:pt idx="1782">
                  <c:v>44146</c:v>
                </c:pt>
                <c:pt idx="1783">
                  <c:v>44147</c:v>
                </c:pt>
                <c:pt idx="1784">
                  <c:v>44148</c:v>
                </c:pt>
                <c:pt idx="1785">
                  <c:v>44151</c:v>
                </c:pt>
                <c:pt idx="1786">
                  <c:v>44152</c:v>
                </c:pt>
                <c:pt idx="1787">
                  <c:v>44153</c:v>
                </c:pt>
                <c:pt idx="1788">
                  <c:v>44154</c:v>
                </c:pt>
                <c:pt idx="1789">
                  <c:v>44155</c:v>
                </c:pt>
                <c:pt idx="1790">
                  <c:v>44158</c:v>
                </c:pt>
                <c:pt idx="1791">
                  <c:v>44159</c:v>
                </c:pt>
                <c:pt idx="1792">
                  <c:v>44160</c:v>
                </c:pt>
                <c:pt idx="1793">
                  <c:v>44161</c:v>
                </c:pt>
                <c:pt idx="1794">
                  <c:v>44162</c:v>
                </c:pt>
                <c:pt idx="1795">
                  <c:v>44165</c:v>
                </c:pt>
                <c:pt idx="1796">
                  <c:v>44166</c:v>
                </c:pt>
                <c:pt idx="1797">
                  <c:v>44167</c:v>
                </c:pt>
                <c:pt idx="1798">
                  <c:v>44168</c:v>
                </c:pt>
                <c:pt idx="1799">
                  <c:v>44169</c:v>
                </c:pt>
                <c:pt idx="1800">
                  <c:v>44172</c:v>
                </c:pt>
                <c:pt idx="1801">
                  <c:v>44173</c:v>
                </c:pt>
                <c:pt idx="1802">
                  <c:v>44174</c:v>
                </c:pt>
                <c:pt idx="1803">
                  <c:v>44175</c:v>
                </c:pt>
                <c:pt idx="1804">
                  <c:v>44176</c:v>
                </c:pt>
                <c:pt idx="1805">
                  <c:v>44179</c:v>
                </c:pt>
                <c:pt idx="1806">
                  <c:v>44180</c:v>
                </c:pt>
                <c:pt idx="1807">
                  <c:v>44181</c:v>
                </c:pt>
                <c:pt idx="1808">
                  <c:v>44182</c:v>
                </c:pt>
                <c:pt idx="1809">
                  <c:v>44183</c:v>
                </c:pt>
                <c:pt idx="1810">
                  <c:v>44186</c:v>
                </c:pt>
                <c:pt idx="1811">
                  <c:v>44187</c:v>
                </c:pt>
                <c:pt idx="1812">
                  <c:v>44188</c:v>
                </c:pt>
                <c:pt idx="1813">
                  <c:v>44189</c:v>
                </c:pt>
                <c:pt idx="1814">
                  <c:v>44193</c:v>
                </c:pt>
                <c:pt idx="1815">
                  <c:v>44194</c:v>
                </c:pt>
                <c:pt idx="1816">
                  <c:v>44195</c:v>
                </c:pt>
                <c:pt idx="1817">
                  <c:v>44196</c:v>
                </c:pt>
                <c:pt idx="1818">
                  <c:v>44200</c:v>
                </c:pt>
                <c:pt idx="1819">
                  <c:v>44201</c:v>
                </c:pt>
                <c:pt idx="1820">
                  <c:v>44202</c:v>
                </c:pt>
                <c:pt idx="1821">
                  <c:v>44203</c:v>
                </c:pt>
                <c:pt idx="1822">
                  <c:v>44204</c:v>
                </c:pt>
                <c:pt idx="1823">
                  <c:v>44207</c:v>
                </c:pt>
                <c:pt idx="1824">
                  <c:v>44208</c:v>
                </c:pt>
                <c:pt idx="1825">
                  <c:v>44209</c:v>
                </c:pt>
                <c:pt idx="1826">
                  <c:v>44210</c:v>
                </c:pt>
                <c:pt idx="1827">
                  <c:v>44211</c:v>
                </c:pt>
                <c:pt idx="1828">
                  <c:v>44214</c:v>
                </c:pt>
                <c:pt idx="1829">
                  <c:v>44215</c:v>
                </c:pt>
                <c:pt idx="1830">
                  <c:v>44216</c:v>
                </c:pt>
                <c:pt idx="1831">
                  <c:v>44217</c:v>
                </c:pt>
                <c:pt idx="1832">
                  <c:v>44218</c:v>
                </c:pt>
                <c:pt idx="1833">
                  <c:v>44221</c:v>
                </c:pt>
                <c:pt idx="1834">
                  <c:v>44222</c:v>
                </c:pt>
                <c:pt idx="1835">
                  <c:v>44223</c:v>
                </c:pt>
                <c:pt idx="1836">
                  <c:v>44224</c:v>
                </c:pt>
                <c:pt idx="1837">
                  <c:v>44225</c:v>
                </c:pt>
                <c:pt idx="1838">
                  <c:v>44228</c:v>
                </c:pt>
                <c:pt idx="1839">
                  <c:v>44229</c:v>
                </c:pt>
                <c:pt idx="1840">
                  <c:v>44230</c:v>
                </c:pt>
                <c:pt idx="1841">
                  <c:v>44231</c:v>
                </c:pt>
                <c:pt idx="1842">
                  <c:v>44232</c:v>
                </c:pt>
                <c:pt idx="1843">
                  <c:v>44235</c:v>
                </c:pt>
                <c:pt idx="1844">
                  <c:v>44236</c:v>
                </c:pt>
                <c:pt idx="1845">
                  <c:v>44237</c:v>
                </c:pt>
                <c:pt idx="1846">
                  <c:v>44238</c:v>
                </c:pt>
                <c:pt idx="1847">
                  <c:v>44239</c:v>
                </c:pt>
                <c:pt idx="1848">
                  <c:v>44242</c:v>
                </c:pt>
                <c:pt idx="1849">
                  <c:v>44243</c:v>
                </c:pt>
                <c:pt idx="1850">
                  <c:v>44244</c:v>
                </c:pt>
                <c:pt idx="1851">
                  <c:v>44245</c:v>
                </c:pt>
                <c:pt idx="1852">
                  <c:v>44246</c:v>
                </c:pt>
                <c:pt idx="1853">
                  <c:v>44249</c:v>
                </c:pt>
                <c:pt idx="1854">
                  <c:v>44250</c:v>
                </c:pt>
                <c:pt idx="1855">
                  <c:v>44251</c:v>
                </c:pt>
                <c:pt idx="1856">
                  <c:v>44252</c:v>
                </c:pt>
                <c:pt idx="1857">
                  <c:v>44253</c:v>
                </c:pt>
                <c:pt idx="1858">
                  <c:v>44256</c:v>
                </c:pt>
                <c:pt idx="1859">
                  <c:v>44257</c:v>
                </c:pt>
                <c:pt idx="1860">
                  <c:v>44258</c:v>
                </c:pt>
                <c:pt idx="1861">
                  <c:v>44259</c:v>
                </c:pt>
                <c:pt idx="1862">
                  <c:v>44260</c:v>
                </c:pt>
                <c:pt idx="1863">
                  <c:v>44263</c:v>
                </c:pt>
                <c:pt idx="1864">
                  <c:v>44264</c:v>
                </c:pt>
                <c:pt idx="1865">
                  <c:v>44265</c:v>
                </c:pt>
                <c:pt idx="1866">
                  <c:v>44266</c:v>
                </c:pt>
                <c:pt idx="1867">
                  <c:v>44267</c:v>
                </c:pt>
                <c:pt idx="1868">
                  <c:v>44270</c:v>
                </c:pt>
                <c:pt idx="1869">
                  <c:v>44271</c:v>
                </c:pt>
                <c:pt idx="1870">
                  <c:v>44272</c:v>
                </c:pt>
                <c:pt idx="1871">
                  <c:v>44273</c:v>
                </c:pt>
                <c:pt idx="1872">
                  <c:v>44274</c:v>
                </c:pt>
                <c:pt idx="1873">
                  <c:v>44277</c:v>
                </c:pt>
                <c:pt idx="1874">
                  <c:v>44278</c:v>
                </c:pt>
                <c:pt idx="1875">
                  <c:v>44279</c:v>
                </c:pt>
                <c:pt idx="1876">
                  <c:v>44280</c:v>
                </c:pt>
                <c:pt idx="1877">
                  <c:v>44281</c:v>
                </c:pt>
                <c:pt idx="1878">
                  <c:v>44284</c:v>
                </c:pt>
                <c:pt idx="1879">
                  <c:v>44285</c:v>
                </c:pt>
                <c:pt idx="1880">
                  <c:v>44286</c:v>
                </c:pt>
                <c:pt idx="1881">
                  <c:v>44287</c:v>
                </c:pt>
                <c:pt idx="1882">
                  <c:v>44291</c:v>
                </c:pt>
                <c:pt idx="1883">
                  <c:v>44292</c:v>
                </c:pt>
                <c:pt idx="1884">
                  <c:v>44293</c:v>
                </c:pt>
                <c:pt idx="1885">
                  <c:v>44294</c:v>
                </c:pt>
                <c:pt idx="1886">
                  <c:v>44295</c:v>
                </c:pt>
                <c:pt idx="1887">
                  <c:v>44298</c:v>
                </c:pt>
                <c:pt idx="1888">
                  <c:v>44299</c:v>
                </c:pt>
                <c:pt idx="1889">
                  <c:v>44300</c:v>
                </c:pt>
                <c:pt idx="1890">
                  <c:v>44301</c:v>
                </c:pt>
                <c:pt idx="1891">
                  <c:v>44302</c:v>
                </c:pt>
                <c:pt idx="1892">
                  <c:v>44305</c:v>
                </c:pt>
                <c:pt idx="1893">
                  <c:v>44306</c:v>
                </c:pt>
                <c:pt idx="1894">
                  <c:v>44307</c:v>
                </c:pt>
                <c:pt idx="1895">
                  <c:v>44308</c:v>
                </c:pt>
                <c:pt idx="1896">
                  <c:v>44309</c:v>
                </c:pt>
                <c:pt idx="1897">
                  <c:v>44312</c:v>
                </c:pt>
                <c:pt idx="1898">
                  <c:v>44313</c:v>
                </c:pt>
                <c:pt idx="1899">
                  <c:v>44314</c:v>
                </c:pt>
                <c:pt idx="1900">
                  <c:v>44315</c:v>
                </c:pt>
                <c:pt idx="1901">
                  <c:v>44316</c:v>
                </c:pt>
                <c:pt idx="1902">
                  <c:v>44319</c:v>
                </c:pt>
                <c:pt idx="1903">
                  <c:v>44320</c:v>
                </c:pt>
                <c:pt idx="1904">
                  <c:v>44321</c:v>
                </c:pt>
                <c:pt idx="1905">
                  <c:v>44322</c:v>
                </c:pt>
                <c:pt idx="1906">
                  <c:v>44323</c:v>
                </c:pt>
                <c:pt idx="1907">
                  <c:v>44326</c:v>
                </c:pt>
                <c:pt idx="1908">
                  <c:v>44327</c:v>
                </c:pt>
                <c:pt idx="1909">
                  <c:v>44328</c:v>
                </c:pt>
                <c:pt idx="1910">
                  <c:v>44329</c:v>
                </c:pt>
                <c:pt idx="1911">
                  <c:v>44330</c:v>
                </c:pt>
                <c:pt idx="1912">
                  <c:v>44333</c:v>
                </c:pt>
                <c:pt idx="1913">
                  <c:v>44334</c:v>
                </c:pt>
                <c:pt idx="1914">
                  <c:v>44335</c:v>
                </c:pt>
                <c:pt idx="1915">
                  <c:v>44336</c:v>
                </c:pt>
                <c:pt idx="1916">
                  <c:v>44337</c:v>
                </c:pt>
                <c:pt idx="1917">
                  <c:v>44340</c:v>
                </c:pt>
                <c:pt idx="1918">
                  <c:v>44341</c:v>
                </c:pt>
                <c:pt idx="1919">
                  <c:v>44342</c:v>
                </c:pt>
                <c:pt idx="1920">
                  <c:v>44343</c:v>
                </c:pt>
                <c:pt idx="1921">
                  <c:v>44344</c:v>
                </c:pt>
                <c:pt idx="1922">
                  <c:v>44348</c:v>
                </c:pt>
                <c:pt idx="1923">
                  <c:v>44349</c:v>
                </c:pt>
                <c:pt idx="1924">
                  <c:v>44350</c:v>
                </c:pt>
                <c:pt idx="1925">
                  <c:v>44351</c:v>
                </c:pt>
                <c:pt idx="1926">
                  <c:v>44354</c:v>
                </c:pt>
                <c:pt idx="1927">
                  <c:v>44355</c:v>
                </c:pt>
                <c:pt idx="1928">
                  <c:v>44356</c:v>
                </c:pt>
                <c:pt idx="1929">
                  <c:v>44357</c:v>
                </c:pt>
                <c:pt idx="1930">
                  <c:v>44358</c:v>
                </c:pt>
                <c:pt idx="1931">
                  <c:v>44361</c:v>
                </c:pt>
                <c:pt idx="1932">
                  <c:v>44362</c:v>
                </c:pt>
                <c:pt idx="1933">
                  <c:v>44363</c:v>
                </c:pt>
                <c:pt idx="1934">
                  <c:v>44364</c:v>
                </c:pt>
                <c:pt idx="1935">
                  <c:v>44365</c:v>
                </c:pt>
                <c:pt idx="1936">
                  <c:v>44368</c:v>
                </c:pt>
                <c:pt idx="1937">
                  <c:v>44369</c:v>
                </c:pt>
                <c:pt idx="1938">
                  <c:v>44370</c:v>
                </c:pt>
                <c:pt idx="1939">
                  <c:v>44371</c:v>
                </c:pt>
                <c:pt idx="1940">
                  <c:v>44372</c:v>
                </c:pt>
                <c:pt idx="1941">
                  <c:v>44375</c:v>
                </c:pt>
                <c:pt idx="1942">
                  <c:v>44376</c:v>
                </c:pt>
                <c:pt idx="1943">
                  <c:v>44377</c:v>
                </c:pt>
                <c:pt idx="1944">
                  <c:v>44378</c:v>
                </c:pt>
                <c:pt idx="1945">
                  <c:v>44379</c:v>
                </c:pt>
                <c:pt idx="1946">
                  <c:v>44382</c:v>
                </c:pt>
                <c:pt idx="1947">
                  <c:v>44383</c:v>
                </c:pt>
                <c:pt idx="1948">
                  <c:v>44384</c:v>
                </c:pt>
                <c:pt idx="1949">
                  <c:v>44385</c:v>
                </c:pt>
                <c:pt idx="1950">
                  <c:v>44386</c:v>
                </c:pt>
                <c:pt idx="1951">
                  <c:v>44389</c:v>
                </c:pt>
                <c:pt idx="1952">
                  <c:v>44390</c:v>
                </c:pt>
                <c:pt idx="1953">
                  <c:v>44391</c:v>
                </c:pt>
                <c:pt idx="1954">
                  <c:v>44392</c:v>
                </c:pt>
                <c:pt idx="1955">
                  <c:v>44393</c:v>
                </c:pt>
                <c:pt idx="1956">
                  <c:v>44396</c:v>
                </c:pt>
                <c:pt idx="1957">
                  <c:v>44397</c:v>
                </c:pt>
                <c:pt idx="1958">
                  <c:v>44398</c:v>
                </c:pt>
                <c:pt idx="1959">
                  <c:v>44399</c:v>
                </c:pt>
                <c:pt idx="1960">
                  <c:v>44400</c:v>
                </c:pt>
                <c:pt idx="1961">
                  <c:v>44403</c:v>
                </c:pt>
                <c:pt idx="1962">
                  <c:v>44404</c:v>
                </c:pt>
                <c:pt idx="1963">
                  <c:v>44405</c:v>
                </c:pt>
                <c:pt idx="1964">
                  <c:v>44406</c:v>
                </c:pt>
                <c:pt idx="1965">
                  <c:v>44407</c:v>
                </c:pt>
                <c:pt idx="1966">
                  <c:v>44410</c:v>
                </c:pt>
                <c:pt idx="1967">
                  <c:v>44411</c:v>
                </c:pt>
                <c:pt idx="1968">
                  <c:v>44412</c:v>
                </c:pt>
                <c:pt idx="1969">
                  <c:v>44413</c:v>
                </c:pt>
                <c:pt idx="1970">
                  <c:v>44414</c:v>
                </c:pt>
                <c:pt idx="1971">
                  <c:v>44417</c:v>
                </c:pt>
                <c:pt idx="1972">
                  <c:v>44418</c:v>
                </c:pt>
                <c:pt idx="1973">
                  <c:v>44419</c:v>
                </c:pt>
                <c:pt idx="1974">
                  <c:v>44420</c:v>
                </c:pt>
                <c:pt idx="1975">
                  <c:v>44421</c:v>
                </c:pt>
                <c:pt idx="1976">
                  <c:v>44424</c:v>
                </c:pt>
                <c:pt idx="1977">
                  <c:v>44425</c:v>
                </c:pt>
                <c:pt idx="1978">
                  <c:v>44426</c:v>
                </c:pt>
                <c:pt idx="1979">
                  <c:v>44427</c:v>
                </c:pt>
                <c:pt idx="1980">
                  <c:v>44428</c:v>
                </c:pt>
                <c:pt idx="1981">
                  <c:v>44431</c:v>
                </c:pt>
                <c:pt idx="1982">
                  <c:v>44432</c:v>
                </c:pt>
                <c:pt idx="1983">
                  <c:v>44433</c:v>
                </c:pt>
                <c:pt idx="1984">
                  <c:v>44434</c:v>
                </c:pt>
                <c:pt idx="1985">
                  <c:v>44435</c:v>
                </c:pt>
                <c:pt idx="1986">
                  <c:v>44438</c:v>
                </c:pt>
                <c:pt idx="1987">
                  <c:v>44439</c:v>
                </c:pt>
                <c:pt idx="1988">
                  <c:v>44440</c:v>
                </c:pt>
                <c:pt idx="1989">
                  <c:v>44441</c:v>
                </c:pt>
                <c:pt idx="1990">
                  <c:v>44442</c:v>
                </c:pt>
                <c:pt idx="1991">
                  <c:v>44445</c:v>
                </c:pt>
                <c:pt idx="1992">
                  <c:v>44446</c:v>
                </c:pt>
                <c:pt idx="1993">
                  <c:v>44447</c:v>
                </c:pt>
                <c:pt idx="1994">
                  <c:v>44448</c:v>
                </c:pt>
                <c:pt idx="1995">
                  <c:v>44449</c:v>
                </c:pt>
                <c:pt idx="1996">
                  <c:v>44452</c:v>
                </c:pt>
                <c:pt idx="1997">
                  <c:v>44453</c:v>
                </c:pt>
                <c:pt idx="1998">
                  <c:v>44454</c:v>
                </c:pt>
                <c:pt idx="1999">
                  <c:v>44455</c:v>
                </c:pt>
                <c:pt idx="2000">
                  <c:v>44456</c:v>
                </c:pt>
                <c:pt idx="2001">
                  <c:v>44459</c:v>
                </c:pt>
                <c:pt idx="2002">
                  <c:v>44460</c:v>
                </c:pt>
                <c:pt idx="2003">
                  <c:v>44461</c:v>
                </c:pt>
                <c:pt idx="2004">
                  <c:v>44462</c:v>
                </c:pt>
                <c:pt idx="2005">
                  <c:v>44463</c:v>
                </c:pt>
                <c:pt idx="2006">
                  <c:v>44466</c:v>
                </c:pt>
                <c:pt idx="2007">
                  <c:v>44467</c:v>
                </c:pt>
                <c:pt idx="2008">
                  <c:v>44468</c:v>
                </c:pt>
                <c:pt idx="2009">
                  <c:v>44469</c:v>
                </c:pt>
                <c:pt idx="2010">
                  <c:v>44470</c:v>
                </c:pt>
                <c:pt idx="2011">
                  <c:v>44473</c:v>
                </c:pt>
                <c:pt idx="2012">
                  <c:v>44474</c:v>
                </c:pt>
                <c:pt idx="2013">
                  <c:v>44475</c:v>
                </c:pt>
                <c:pt idx="2014">
                  <c:v>44476</c:v>
                </c:pt>
                <c:pt idx="2015">
                  <c:v>44477</c:v>
                </c:pt>
                <c:pt idx="2016">
                  <c:v>44480</c:v>
                </c:pt>
                <c:pt idx="2017">
                  <c:v>44481</c:v>
                </c:pt>
                <c:pt idx="2018">
                  <c:v>44482</c:v>
                </c:pt>
                <c:pt idx="2019">
                  <c:v>44483</c:v>
                </c:pt>
                <c:pt idx="2020">
                  <c:v>44484</c:v>
                </c:pt>
                <c:pt idx="2021">
                  <c:v>44487</c:v>
                </c:pt>
                <c:pt idx="2022">
                  <c:v>44488</c:v>
                </c:pt>
                <c:pt idx="2023">
                  <c:v>44489</c:v>
                </c:pt>
                <c:pt idx="2024">
                  <c:v>44490</c:v>
                </c:pt>
                <c:pt idx="2025">
                  <c:v>44491</c:v>
                </c:pt>
                <c:pt idx="2026">
                  <c:v>44494</c:v>
                </c:pt>
                <c:pt idx="2027">
                  <c:v>44495</c:v>
                </c:pt>
                <c:pt idx="2028">
                  <c:v>44496</c:v>
                </c:pt>
                <c:pt idx="2029">
                  <c:v>44497</c:v>
                </c:pt>
                <c:pt idx="2030">
                  <c:v>44498</c:v>
                </c:pt>
                <c:pt idx="2031">
                  <c:v>44501</c:v>
                </c:pt>
                <c:pt idx="2032">
                  <c:v>44502</c:v>
                </c:pt>
                <c:pt idx="2033">
                  <c:v>44503</c:v>
                </c:pt>
                <c:pt idx="2034">
                  <c:v>44504</c:v>
                </c:pt>
                <c:pt idx="2035">
                  <c:v>44505</c:v>
                </c:pt>
                <c:pt idx="2036">
                  <c:v>44508</c:v>
                </c:pt>
                <c:pt idx="2037">
                  <c:v>44509</c:v>
                </c:pt>
                <c:pt idx="2038">
                  <c:v>44510</c:v>
                </c:pt>
                <c:pt idx="2039">
                  <c:v>44511</c:v>
                </c:pt>
                <c:pt idx="2040">
                  <c:v>44512</c:v>
                </c:pt>
                <c:pt idx="2041">
                  <c:v>44515</c:v>
                </c:pt>
                <c:pt idx="2042">
                  <c:v>44516</c:v>
                </c:pt>
                <c:pt idx="2043">
                  <c:v>44517</c:v>
                </c:pt>
                <c:pt idx="2044">
                  <c:v>44518</c:v>
                </c:pt>
                <c:pt idx="2045">
                  <c:v>44519</c:v>
                </c:pt>
                <c:pt idx="2046">
                  <c:v>44522</c:v>
                </c:pt>
                <c:pt idx="2047">
                  <c:v>44523</c:v>
                </c:pt>
                <c:pt idx="2048">
                  <c:v>44524</c:v>
                </c:pt>
                <c:pt idx="2049">
                  <c:v>44525</c:v>
                </c:pt>
                <c:pt idx="2050">
                  <c:v>44526</c:v>
                </c:pt>
                <c:pt idx="2051">
                  <c:v>44529</c:v>
                </c:pt>
                <c:pt idx="2052">
                  <c:v>44530</c:v>
                </c:pt>
                <c:pt idx="2053">
                  <c:v>44531</c:v>
                </c:pt>
                <c:pt idx="2054">
                  <c:v>44532</c:v>
                </c:pt>
                <c:pt idx="2055">
                  <c:v>44533</c:v>
                </c:pt>
                <c:pt idx="2056">
                  <c:v>44536</c:v>
                </c:pt>
                <c:pt idx="2057">
                  <c:v>44537</c:v>
                </c:pt>
                <c:pt idx="2058">
                  <c:v>44538</c:v>
                </c:pt>
                <c:pt idx="2059">
                  <c:v>44539</c:v>
                </c:pt>
                <c:pt idx="2060">
                  <c:v>44540</c:v>
                </c:pt>
                <c:pt idx="2061">
                  <c:v>44543</c:v>
                </c:pt>
                <c:pt idx="2062">
                  <c:v>44544</c:v>
                </c:pt>
                <c:pt idx="2063">
                  <c:v>44545</c:v>
                </c:pt>
                <c:pt idx="2064">
                  <c:v>44546</c:v>
                </c:pt>
                <c:pt idx="2065">
                  <c:v>44547</c:v>
                </c:pt>
                <c:pt idx="2066">
                  <c:v>44550</c:v>
                </c:pt>
                <c:pt idx="2067">
                  <c:v>44551</c:v>
                </c:pt>
                <c:pt idx="2068">
                  <c:v>44552</c:v>
                </c:pt>
                <c:pt idx="2069">
                  <c:v>44553</c:v>
                </c:pt>
                <c:pt idx="2070">
                  <c:v>44554</c:v>
                </c:pt>
                <c:pt idx="2071">
                  <c:v>44557</c:v>
                </c:pt>
                <c:pt idx="2072">
                  <c:v>44558</c:v>
                </c:pt>
                <c:pt idx="2073">
                  <c:v>44559</c:v>
                </c:pt>
                <c:pt idx="2074">
                  <c:v>44560</c:v>
                </c:pt>
                <c:pt idx="2075">
                  <c:v>44561</c:v>
                </c:pt>
                <c:pt idx="2076">
                  <c:v>44564</c:v>
                </c:pt>
                <c:pt idx="2077">
                  <c:v>44565</c:v>
                </c:pt>
                <c:pt idx="2078">
                  <c:v>44566</c:v>
                </c:pt>
                <c:pt idx="2079">
                  <c:v>44567</c:v>
                </c:pt>
                <c:pt idx="2080">
                  <c:v>44568</c:v>
                </c:pt>
                <c:pt idx="2081">
                  <c:v>44571</c:v>
                </c:pt>
                <c:pt idx="2082">
                  <c:v>44572</c:v>
                </c:pt>
                <c:pt idx="2083">
                  <c:v>44573</c:v>
                </c:pt>
                <c:pt idx="2084">
                  <c:v>44574</c:v>
                </c:pt>
                <c:pt idx="2085">
                  <c:v>44575</c:v>
                </c:pt>
                <c:pt idx="2086">
                  <c:v>44578</c:v>
                </c:pt>
                <c:pt idx="2087">
                  <c:v>44579</c:v>
                </c:pt>
                <c:pt idx="2088">
                  <c:v>44580</c:v>
                </c:pt>
                <c:pt idx="2089">
                  <c:v>44581</c:v>
                </c:pt>
                <c:pt idx="2090">
                  <c:v>44582</c:v>
                </c:pt>
                <c:pt idx="2091">
                  <c:v>44585</c:v>
                </c:pt>
                <c:pt idx="2092">
                  <c:v>44586</c:v>
                </c:pt>
                <c:pt idx="2093">
                  <c:v>44587</c:v>
                </c:pt>
                <c:pt idx="2094">
                  <c:v>44588</c:v>
                </c:pt>
                <c:pt idx="2095">
                  <c:v>44589</c:v>
                </c:pt>
                <c:pt idx="2096">
                  <c:v>44592</c:v>
                </c:pt>
                <c:pt idx="2097">
                  <c:v>44593</c:v>
                </c:pt>
                <c:pt idx="2098">
                  <c:v>44594</c:v>
                </c:pt>
                <c:pt idx="2099">
                  <c:v>44595</c:v>
                </c:pt>
                <c:pt idx="2100">
                  <c:v>44596</c:v>
                </c:pt>
                <c:pt idx="2101">
                  <c:v>44599</c:v>
                </c:pt>
                <c:pt idx="2102">
                  <c:v>44600</c:v>
                </c:pt>
                <c:pt idx="2103">
                  <c:v>44601</c:v>
                </c:pt>
                <c:pt idx="2104">
                  <c:v>44602</c:v>
                </c:pt>
                <c:pt idx="2105">
                  <c:v>44603</c:v>
                </c:pt>
                <c:pt idx="2106">
                  <c:v>44606</c:v>
                </c:pt>
                <c:pt idx="2107">
                  <c:v>44607</c:v>
                </c:pt>
                <c:pt idx="2108">
                  <c:v>44608</c:v>
                </c:pt>
                <c:pt idx="2109">
                  <c:v>44609</c:v>
                </c:pt>
                <c:pt idx="2110">
                  <c:v>44610</c:v>
                </c:pt>
                <c:pt idx="2111">
                  <c:v>44613</c:v>
                </c:pt>
                <c:pt idx="2112">
                  <c:v>44614</c:v>
                </c:pt>
                <c:pt idx="2113">
                  <c:v>44615</c:v>
                </c:pt>
                <c:pt idx="2114">
                  <c:v>44616</c:v>
                </c:pt>
                <c:pt idx="2115">
                  <c:v>44617</c:v>
                </c:pt>
                <c:pt idx="2116">
                  <c:v>44620</c:v>
                </c:pt>
                <c:pt idx="2117">
                  <c:v>44621</c:v>
                </c:pt>
                <c:pt idx="2118">
                  <c:v>44622</c:v>
                </c:pt>
                <c:pt idx="2119">
                  <c:v>44623</c:v>
                </c:pt>
                <c:pt idx="2120">
                  <c:v>44624</c:v>
                </c:pt>
                <c:pt idx="2121">
                  <c:v>44627</c:v>
                </c:pt>
                <c:pt idx="2122">
                  <c:v>44628</c:v>
                </c:pt>
                <c:pt idx="2123">
                  <c:v>44629</c:v>
                </c:pt>
                <c:pt idx="2124">
                  <c:v>44630</c:v>
                </c:pt>
                <c:pt idx="2125">
                  <c:v>44631</c:v>
                </c:pt>
                <c:pt idx="2126">
                  <c:v>44634</c:v>
                </c:pt>
                <c:pt idx="2127">
                  <c:v>44635</c:v>
                </c:pt>
                <c:pt idx="2128">
                  <c:v>44636</c:v>
                </c:pt>
                <c:pt idx="2129">
                  <c:v>44637</c:v>
                </c:pt>
                <c:pt idx="2130">
                  <c:v>44638</c:v>
                </c:pt>
                <c:pt idx="2131">
                  <c:v>44641</c:v>
                </c:pt>
                <c:pt idx="2132">
                  <c:v>44642</c:v>
                </c:pt>
                <c:pt idx="2133">
                  <c:v>44643</c:v>
                </c:pt>
                <c:pt idx="2134">
                  <c:v>44644</c:v>
                </c:pt>
                <c:pt idx="2135">
                  <c:v>44645</c:v>
                </c:pt>
                <c:pt idx="2136">
                  <c:v>44648</c:v>
                </c:pt>
                <c:pt idx="2137">
                  <c:v>44649</c:v>
                </c:pt>
                <c:pt idx="2138">
                  <c:v>44650</c:v>
                </c:pt>
                <c:pt idx="2139">
                  <c:v>44651</c:v>
                </c:pt>
                <c:pt idx="2140">
                  <c:v>44652</c:v>
                </c:pt>
                <c:pt idx="2141">
                  <c:v>44655</c:v>
                </c:pt>
                <c:pt idx="2142">
                  <c:v>44656</c:v>
                </c:pt>
                <c:pt idx="2143">
                  <c:v>44657</c:v>
                </c:pt>
                <c:pt idx="2144">
                  <c:v>44658</c:v>
                </c:pt>
                <c:pt idx="2145">
                  <c:v>44659</c:v>
                </c:pt>
                <c:pt idx="2146">
                  <c:v>44662</c:v>
                </c:pt>
                <c:pt idx="2147">
                  <c:v>44663</c:v>
                </c:pt>
                <c:pt idx="2148">
                  <c:v>44664</c:v>
                </c:pt>
                <c:pt idx="2149">
                  <c:v>44665</c:v>
                </c:pt>
                <c:pt idx="2150">
                  <c:v>44669</c:v>
                </c:pt>
                <c:pt idx="2151">
                  <c:v>44670</c:v>
                </c:pt>
                <c:pt idx="2152">
                  <c:v>44671</c:v>
                </c:pt>
                <c:pt idx="2153">
                  <c:v>44672</c:v>
                </c:pt>
                <c:pt idx="2154">
                  <c:v>44673</c:v>
                </c:pt>
                <c:pt idx="2155">
                  <c:v>44676</c:v>
                </c:pt>
                <c:pt idx="2156">
                  <c:v>44677</c:v>
                </c:pt>
                <c:pt idx="2157">
                  <c:v>44678</c:v>
                </c:pt>
                <c:pt idx="2158">
                  <c:v>44679</c:v>
                </c:pt>
                <c:pt idx="2159">
                  <c:v>44680</c:v>
                </c:pt>
                <c:pt idx="2160">
                  <c:v>44683</c:v>
                </c:pt>
                <c:pt idx="2161">
                  <c:v>44684</c:v>
                </c:pt>
                <c:pt idx="2162">
                  <c:v>44685</c:v>
                </c:pt>
                <c:pt idx="2163">
                  <c:v>44686</c:v>
                </c:pt>
                <c:pt idx="2164">
                  <c:v>44687</c:v>
                </c:pt>
                <c:pt idx="2165">
                  <c:v>44690</c:v>
                </c:pt>
                <c:pt idx="2166">
                  <c:v>44691</c:v>
                </c:pt>
                <c:pt idx="2167">
                  <c:v>44692</c:v>
                </c:pt>
                <c:pt idx="2168">
                  <c:v>44693</c:v>
                </c:pt>
                <c:pt idx="2169">
                  <c:v>44694</c:v>
                </c:pt>
                <c:pt idx="2170">
                  <c:v>44697</c:v>
                </c:pt>
                <c:pt idx="2171">
                  <c:v>44698</c:v>
                </c:pt>
                <c:pt idx="2172">
                  <c:v>44699</c:v>
                </c:pt>
                <c:pt idx="2173">
                  <c:v>44700</c:v>
                </c:pt>
                <c:pt idx="2174">
                  <c:v>44701</c:v>
                </c:pt>
                <c:pt idx="2175">
                  <c:v>44704</c:v>
                </c:pt>
                <c:pt idx="2176">
                  <c:v>44705</c:v>
                </c:pt>
                <c:pt idx="2177">
                  <c:v>44706</c:v>
                </c:pt>
                <c:pt idx="2178">
                  <c:v>44707</c:v>
                </c:pt>
                <c:pt idx="2179">
                  <c:v>44708</c:v>
                </c:pt>
                <c:pt idx="2180">
                  <c:v>44711</c:v>
                </c:pt>
                <c:pt idx="2181">
                  <c:v>44712</c:v>
                </c:pt>
                <c:pt idx="2182">
                  <c:v>44713</c:v>
                </c:pt>
                <c:pt idx="2183">
                  <c:v>44714</c:v>
                </c:pt>
                <c:pt idx="2184">
                  <c:v>44715</c:v>
                </c:pt>
                <c:pt idx="2185">
                  <c:v>44718</c:v>
                </c:pt>
                <c:pt idx="2186">
                  <c:v>44719</c:v>
                </c:pt>
                <c:pt idx="2187">
                  <c:v>44720</c:v>
                </c:pt>
                <c:pt idx="2188">
                  <c:v>44721</c:v>
                </c:pt>
                <c:pt idx="2189">
                  <c:v>44722</c:v>
                </c:pt>
                <c:pt idx="2190">
                  <c:v>44725</c:v>
                </c:pt>
                <c:pt idx="2191">
                  <c:v>44726</c:v>
                </c:pt>
                <c:pt idx="2192">
                  <c:v>44727</c:v>
                </c:pt>
                <c:pt idx="2193">
                  <c:v>44728</c:v>
                </c:pt>
                <c:pt idx="2194">
                  <c:v>44729</c:v>
                </c:pt>
                <c:pt idx="2195">
                  <c:v>44732</c:v>
                </c:pt>
                <c:pt idx="2196">
                  <c:v>44733</c:v>
                </c:pt>
                <c:pt idx="2197">
                  <c:v>44734</c:v>
                </c:pt>
                <c:pt idx="2198">
                  <c:v>44735</c:v>
                </c:pt>
                <c:pt idx="2199">
                  <c:v>44736</c:v>
                </c:pt>
                <c:pt idx="2200">
                  <c:v>44739</c:v>
                </c:pt>
                <c:pt idx="2201">
                  <c:v>44740</c:v>
                </c:pt>
                <c:pt idx="2202">
                  <c:v>44741</c:v>
                </c:pt>
                <c:pt idx="2203">
                  <c:v>44742</c:v>
                </c:pt>
                <c:pt idx="2204">
                  <c:v>44743</c:v>
                </c:pt>
                <c:pt idx="2205">
                  <c:v>44746</c:v>
                </c:pt>
                <c:pt idx="2206">
                  <c:v>44747</c:v>
                </c:pt>
                <c:pt idx="2207">
                  <c:v>44748</c:v>
                </c:pt>
                <c:pt idx="2208">
                  <c:v>44749</c:v>
                </c:pt>
                <c:pt idx="2209">
                  <c:v>44750</c:v>
                </c:pt>
                <c:pt idx="2210">
                  <c:v>44753</c:v>
                </c:pt>
                <c:pt idx="2211">
                  <c:v>44754</c:v>
                </c:pt>
                <c:pt idx="2212">
                  <c:v>44755</c:v>
                </c:pt>
                <c:pt idx="2213">
                  <c:v>44756</c:v>
                </c:pt>
                <c:pt idx="2214">
                  <c:v>44757</c:v>
                </c:pt>
                <c:pt idx="2215">
                  <c:v>44760</c:v>
                </c:pt>
                <c:pt idx="2216">
                  <c:v>44761</c:v>
                </c:pt>
                <c:pt idx="2217">
                  <c:v>44762</c:v>
                </c:pt>
                <c:pt idx="2218">
                  <c:v>44763</c:v>
                </c:pt>
                <c:pt idx="2219">
                  <c:v>44764</c:v>
                </c:pt>
                <c:pt idx="2220">
                  <c:v>44767</c:v>
                </c:pt>
                <c:pt idx="2221">
                  <c:v>44768</c:v>
                </c:pt>
                <c:pt idx="2222">
                  <c:v>44769</c:v>
                </c:pt>
                <c:pt idx="2223">
                  <c:v>44770</c:v>
                </c:pt>
                <c:pt idx="2224">
                  <c:v>44771</c:v>
                </c:pt>
                <c:pt idx="2225">
                  <c:v>44774</c:v>
                </c:pt>
                <c:pt idx="2226">
                  <c:v>44775</c:v>
                </c:pt>
                <c:pt idx="2227">
                  <c:v>44776</c:v>
                </c:pt>
                <c:pt idx="2228">
                  <c:v>44777</c:v>
                </c:pt>
                <c:pt idx="2229">
                  <c:v>44778</c:v>
                </c:pt>
                <c:pt idx="2230">
                  <c:v>44781</c:v>
                </c:pt>
                <c:pt idx="2231">
                  <c:v>44782</c:v>
                </c:pt>
                <c:pt idx="2232">
                  <c:v>44783</c:v>
                </c:pt>
                <c:pt idx="2233">
                  <c:v>44784</c:v>
                </c:pt>
                <c:pt idx="2234">
                  <c:v>44785</c:v>
                </c:pt>
                <c:pt idx="2235">
                  <c:v>44788</c:v>
                </c:pt>
                <c:pt idx="2236">
                  <c:v>44789</c:v>
                </c:pt>
                <c:pt idx="2237">
                  <c:v>44790</c:v>
                </c:pt>
                <c:pt idx="2238">
                  <c:v>44791</c:v>
                </c:pt>
                <c:pt idx="2239">
                  <c:v>44792</c:v>
                </c:pt>
                <c:pt idx="2240">
                  <c:v>44795</c:v>
                </c:pt>
                <c:pt idx="2241">
                  <c:v>44796</c:v>
                </c:pt>
                <c:pt idx="2242">
                  <c:v>44797</c:v>
                </c:pt>
                <c:pt idx="2243">
                  <c:v>44798</c:v>
                </c:pt>
                <c:pt idx="2244">
                  <c:v>44799</c:v>
                </c:pt>
                <c:pt idx="2245">
                  <c:v>44802</c:v>
                </c:pt>
                <c:pt idx="2246">
                  <c:v>44803</c:v>
                </c:pt>
                <c:pt idx="2247">
                  <c:v>44804</c:v>
                </c:pt>
                <c:pt idx="2248">
                  <c:v>44805</c:v>
                </c:pt>
                <c:pt idx="2249">
                  <c:v>44806</c:v>
                </c:pt>
                <c:pt idx="2250">
                  <c:v>44809</c:v>
                </c:pt>
                <c:pt idx="2251">
                  <c:v>44810</c:v>
                </c:pt>
                <c:pt idx="2252">
                  <c:v>44811</c:v>
                </c:pt>
                <c:pt idx="2253">
                  <c:v>44812</c:v>
                </c:pt>
                <c:pt idx="2254">
                  <c:v>44813</c:v>
                </c:pt>
                <c:pt idx="2255">
                  <c:v>44816</c:v>
                </c:pt>
                <c:pt idx="2256">
                  <c:v>44817</c:v>
                </c:pt>
                <c:pt idx="2257">
                  <c:v>44818</c:v>
                </c:pt>
                <c:pt idx="2258">
                  <c:v>44819</c:v>
                </c:pt>
                <c:pt idx="2259">
                  <c:v>44820</c:v>
                </c:pt>
                <c:pt idx="2260">
                  <c:v>44823</c:v>
                </c:pt>
                <c:pt idx="2261">
                  <c:v>44824</c:v>
                </c:pt>
                <c:pt idx="2262">
                  <c:v>44825</c:v>
                </c:pt>
                <c:pt idx="2263">
                  <c:v>44826</c:v>
                </c:pt>
                <c:pt idx="2264">
                  <c:v>44827</c:v>
                </c:pt>
                <c:pt idx="2265">
                  <c:v>44830</c:v>
                </c:pt>
                <c:pt idx="2266">
                  <c:v>44831</c:v>
                </c:pt>
                <c:pt idx="2267">
                  <c:v>44832</c:v>
                </c:pt>
                <c:pt idx="2268">
                  <c:v>44833</c:v>
                </c:pt>
                <c:pt idx="2269">
                  <c:v>44834</c:v>
                </c:pt>
                <c:pt idx="2270">
                  <c:v>44837</c:v>
                </c:pt>
                <c:pt idx="2271">
                  <c:v>44838</c:v>
                </c:pt>
                <c:pt idx="2272">
                  <c:v>44839</c:v>
                </c:pt>
                <c:pt idx="2273">
                  <c:v>44840</c:v>
                </c:pt>
                <c:pt idx="2274">
                  <c:v>44841</c:v>
                </c:pt>
                <c:pt idx="2275">
                  <c:v>44844</c:v>
                </c:pt>
                <c:pt idx="2276">
                  <c:v>44845</c:v>
                </c:pt>
                <c:pt idx="2277">
                  <c:v>44846</c:v>
                </c:pt>
                <c:pt idx="2278">
                  <c:v>44847</c:v>
                </c:pt>
                <c:pt idx="2279">
                  <c:v>44848</c:v>
                </c:pt>
                <c:pt idx="2280">
                  <c:v>44851</c:v>
                </c:pt>
                <c:pt idx="2281">
                  <c:v>44852</c:v>
                </c:pt>
                <c:pt idx="2282">
                  <c:v>44853</c:v>
                </c:pt>
                <c:pt idx="2283">
                  <c:v>44854</c:v>
                </c:pt>
                <c:pt idx="2284">
                  <c:v>44855</c:v>
                </c:pt>
                <c:pt idx="2285">
                  <c:v>44858</c:v>
                </c:pt>
                <c:pt idx="2286">
                  <c:v>44859</c:v>
                </c:pt>
                <c:pt idx="2287">
                  <c:v>44860</c:v>
                </c:pt>
                <c:pt idx="2288">
                  <c:v>44861</c:v>
                </c:pt>
                <c:pt idx="2289">
                  <c:v>44862</c:v>
                </c:pt>
                <c:pt idx="2290">
                  <c:v>44865</c:v>
                </c:pt>
                <c:pt idx="2291">
                  <c:v>44866</c:v>
                </c:pt>
                <c:pt idx="2292">
                  <c:v>44867</c:v>
                </c:pt>
                <c:pt idx="2293">
                  <c:v>44868</c:v>
                </c:pt>
                <c:pt idx="2294">
                  <c:v>44869</c:v>
                </c:pt>
                <c:pt idx="2295">
                  <c:v>44872</c:v>
                </c:pt>
                <c:pt idx="2296">
                  <c:v>44873</c:v>
                </c:pt>
                <c:pt idx="2297">
                  <c:v>44874</c:v>
                </c:pt>
                <c:pt idx="2298">
                  <c:v>44875</c:v>
                </c:pt>
                <c:pt idx="2299">
                  <c:v>44876</c:v>
                </c:pt>
                <c:pt idx="2300">
                  <c:v>44879</c:v>
                </c:pt>
                <c:pt idx="2301">
                  <c:v>44880</c:v>
                </c:pt>
                <c:pt idx="2302">
                  <c:v>44881</c:v>
                </c:pt>
                <c:pt idx="2303">
                  <c:v>44882</c:v>
                </c:pt>
                <c:pt idx="2304">
                  <c:v>44883</c:v>
                </c:pt>
                <c:pt idx="2305">
                  <c:v>44886</c:v>
                </c:pt>
                <c:pt idx="2306">
                  <c:v>44887</c:v>
                </c:pt>
                <c:pt idx="2307">
                  <c:v>44888</c:v>
                </c:pt>
                <c:pt idx="2308">
                  <c:v>44889</c:v>
                </c:pt>
                <c:pt idx="2309">
                  <c:v>44890</c:v>
                </c:pt>
                <c:pt idx="2310">
                  <c:v>44893</c:v>
                </c:pt>
                <c:pt idx="2311">
                  <c:v>44894</c:v>
                </c:pt>
                <c:pt idx="2312">
                  <c:v>44895</c:v>
                </c:pt>
                <c:pt idx="2313">
                  <c:v>44896</c:v>
                </c:pt>
                <c:pt idx="2314">
                  <c:v>44897</c:v>
                </c:pt>
                <c:pt idx="2315">
                  <c:v>44900</c:v>
                </c:pt>
                <c:pt idx="2316">
                  <c:v>44901</c:v>
                </c:pt>
                <c:pt idx="2317">
                  <c:v>44902</c:v>
                </c:pt>
                <c:pt idx="2318">
                  <c:v>44903</c:v>
                </c:pt>
                <c:pt idx="2319">
                  <c:v>44904</c:v>
                </c:pt>
                <c:pt idx="2320">
                  <c:v>44907</c:v>
                </c:pt>
                <c:pt idx="2321">
                  <c:v>44908</c:v>
                </c:pt>
                <c:pt idx="2322">
                  <c:v>44909</c:v>
                </c:pt>
                <c:pt idx="2323">
                  <c:v>44910</c:v>
                </c:pt>
                <c:pt idx="2324">
                  <c:v>44911</c:v>
                </c:pt>
                <c:pt idx="2325">
                  <c:v>44914</c:v>
                </c:pt>
                <c:pt idx="2326">
                  <c:v>44915</c:v>
                </c:pt>
                <c:pt idx="2327">
                  <c:v>44916</c:v>
                </c:pt>
                <c:pt idx="2328">
                  <c:v>44917</c:v>
                </c:pt>
                <c:pt idx="2329">
                  <c:v>44918</c:v>
                </c:pt>
                <c:pt idx="2330">
                  <c:v>44922</c:v>
                </c:pt>
                <c:pt idx="2331">
                  <c:v>44923</c:v>
                </c:pt>
                <c:pt idx="2332">
                  <c:v>44924</c:v>
                </c:pt>
                <c:pt idx="2333">
                  <c:v>44925</c:v>
                </c:pt>
                <c:pt idx="2334">
                  <c:v>44929</c:v>
                </c:pt>
                <c:pt idx="2335">
                  <c:v>44930</c:v>
                </c:pt>
                <c:pt idx="2336">
                  <c:v>44931</c:v>
                </c:pt>
                <c:pt idx="2337">
                  <c:v>44932</c:v>
                </c:pt>
                <c:pt idx="2338">
                  <c:v>44935</c:v>
                </c:pt>
                <c:pt idx="2339">
                  <c:v>44936</c:v>
                </c:pt>
                <c:pt idx="2340">
                  <c:v>44937</c:v>
                </c:pt>
                <c:pt idx="2341">
                  <c:v>44938</c:v>
                </c:pt>
                <c:pt idx="2342">
                  <c:v>44939</c:v>
                </c:pt>
                <c:pt idx="2343">
                  <c:v>44942</c:v>
                </c:pt>
                <c:pt idx="2344">
                  <c:v>44943</c:v>
                </c:pt>
                <c:pt idx="2345">
                  <c:v>44944</c:v>
                </c:pt>
                <c:pt idx="2346">
                  <c:v>44945</c:v>
                </c:pt>
                <c:pt idx="2347">
                  <c:v>44946</c:v>
                </c:pt>
                <c:pt idx="2348">
                  <c:v>44949</c:v>
                </c:pt>
                <c:pt idx="2349">
                  <c:v>44950</c:v>
                </c:pt>
                <c:pt idx="2350">
                  <c:v>44951</c:v>
                </c:pt>
                <c:pt idx="2351">
                  <c:v>44952</c:v>
                </c:pt>
                <c:pt idx="2352">
                  <c:v>44953</c:v>
                </c:pt>
                <c:pt idx="2353">
                  <c:v>44956</c:v>
                </c:pt>
                <c:pt idx="2354">
                  <c:v>44957</c:v>
                </c:pt>
                <c:pt idx="2355">
                  <c:v>44958</c:v>
                </c:pt>
                <c:pt idx="2356">
                  <c:v>44959</c:v>
                </c:pt>
                <c:pt idx="2357">
                  <c:v>44960</c:v>
                </c:pt>
                <c:pt idx="2358">
                  <c:v>44963</c:v>
                </c:pt>
                <c:pt idx="2359">
                  <c:v>44964</c:v>
                </c:pt>
                <c:pt idx="2360">
                  <c:v>44965</c:v>
                </c:pt>
                <c:pt idx="2361">
                  <c:v>44966</c:v>
                </c:pt>
                <c:pt idx="2362">
                  <c:v>44967</c:v>
                </c:pt>
                <c:pt idx="2363">
                  <c:v>44970</c:v>
                </c:pt>
                <c:pt idx="2364">
                  <c:v>44971</c:v>
                </c:pt>
                <c:pt idx="2365">
                  <c:v>44972</c:v>
                </c:pt>
                <c:pt idx="2366">
                  <c:v>44973</c:v>
                </c:pt>
                <c:pt idx="2367">
                  <c:v>44974</c:v>
                </c:pt>
                <c:pt idx="2368">
                  <c:v>44977</c:v>
                </c:pt>
                <c:pt idx="2369">
                  <c:v>44978</c:v>
                </c:pt>
                <c:pt idx="2370">
                  <c:v>44979</c:v>
                </c:pt>
                <c:pt idx="2371">
                  <c:v>44980</c:v>
                </c:pt>
                <c:pt idx="2372">
                  <c:v>44981</c:v>
                </c:pt>
                <c:pt idx="2373">
                  <c:v>44984</c:v>
                </c:pt>
                <c:pt idx="2374">
                  <c:v>44985</c:v>
                </c:pt>
                <c:pt idx="2375">
                  <c:v>44986</c:v>
                </c:pt>
                <c:pt idx="2376">
                  <c:v>44987</c:v>
                </c:pt>
                <c:pt idx="2377">
                  <c:v>44988</c:v>
                </c:pt>
                <c:pt idx="2378">
                  <c:v>44991</c:v>
                </c:pt>
                <c:pt idx="2379">
                  <c:v>44992</c:v>
                </c:pt>
                <c:pt idx="2380">
                  <c:v>44993</c:v>
                </c:pt>
                <c:pt idx="2381">
                  <c:v>44994</c:v>
                </c:pt>
                <c:pt idx="2382">
                  <c:v>44995</c:v>
                </c:pt>
                <c:pt idx="2383">
                  <c:v>44998</c:v>
                </c:pt>
                <c:pt idx="2384">
                  <c:v>44999</c:v>
                </c:pt>
                <c:pt idx="2385">
                  <c:v>45000</c:v>
                </c:pt>
                <c:pt idx="2386">
                  <c:v>45001</c:v>
                </c:pt>
                <c:pt idx="2387">
                  <c:v>45002</c:v>
                </c:pt>
                <c:pt idx="2388">
                  <c:v>45005</c:v>
                </c:pt>
                <c:pt idx="2389">
                  <c:v>45006</c:v>
                </c:pt>
                <c:pt idx="2390">
                  <c:v>45007</c:v>
                </c:pt>
                <c:pt idx="2391">
                  <c:v>45008</c:v>
                </c:pt>
                <c:pt idx="2392">
                  <c:v>45009</c:v>
                </c:pt>
                <c:pt idx="2393">
                  <c:v>45012</c:v>
                </c:pt>
                <c:pt idx="2394">
                  <c:v>45013</c:v>
                </c:pt>
                <c:pt idx="2395">
                  <c:v>45014</c:v>
                </c:pt>
                <c:pt idx="2396">
                  <c:v>45015</c:v>
                </c:pt>
                <c:pt idx="2397">
                  <c:v>45016</c:v>
                </c:pt>
                <c:pt idx="2398">
                  <c:v>45019</c:v>
                </c:pt>
                <c:pt idx="2399">
                  <c:v>45020</c:v>
                </c:pt>
                <c:pt idx="2400">
                  <c:v>45021</c:v>
                </c:pt>
                <c:pt idx="2401">
                  <c:v>45022</c:v>
                </c:pt>
                <c:pt idx="2402">
                  <c:v>45026</c:v>
                </c:pt>
                <c:pt idx="2403">
                  <c:v>45027</c:v>
                </c:pt>
                <c:pt idx="2404">
                  <c:v>45028</c:v>
                </c:pt>
                <c:pt idx="2405">
                  <c:v>45029</c:v>
                </c:pt>
                <c:pt idx="2406">
                  <c:v>45030</c:v>
                </c:pt>
                <c:pt idx="2407">
                  <c:v>45033</c:v>
                </c:pt>
                <c:pt idx="2408">
                  <c:v>45034</c:v>
                </c:pt>
                <c:pt idx="2409">
                  <c:v>45035</c:v>
                </c:pt>
                <c:pt idx="2410">
                  <c:v>45036</c:v>
                </c:pt>
                <c:pt idx="2411">
                  <c:v>45037</c:v>
                </c:pt>
                <c:pt idx="2412">
                  <c:v>45040</c:v>
                </c:pt>
                <c:pt idx="2413">
                  <c:v>45041</c:v>
                </c:pt>
                <c:pt idx="2414">
                  <c:v>45042</c:v>
                </c:pt>
                <c:pt idx="2415">
                  <c:v>45043</c:v>
                </c:pt>
                <c:pt idx="2416">
                  <c:v>45044</c:v>
                </c:pt>
                <c:pt idx="2417">
                  <c:v>45047</c:v>
                </c:pt>
                <c:pt idx="2418">
                  <c:v>45048</c:v>
                </c:pt>
                <c:pt idx="2419">
                  <c:v>45049</c:v>
                </c:pt>
                <c:pt idx="2420">
                  <c:v>45050</c:v>
                </c:pt>
                <c:pt idx="2421">
                  <c:v>45051</c:v>
                </c:pt>
                <c:pt idx="2422">
                  <c:v>45054</c:v>
                </c:pt>
                <c:pt idx="2423">
                  <c:v>45055</c:v>
                </c:pt>
                <c:pt idx="2424">
                  <c:v>45056</c:v>
                </c:pt>
                <c:pt idx="2425">
                  <c:v>45057</c:v>
                </c:pt>
                <c:pt idx="2426">
                  <c:v>45058</c:v>
                </c:pt>
                <c:pt idx="2427">
                  <c:v>45061</c:v>
                </c:pt>
                <c:pt idx="2428">
                  <c:v>45062</c:v>
                </c:pt>
                <c:pt idx="2429">
                  <c:v>45063</c:v>
                </c:pt>
                <c:pt idx="2430">
                  <c:v>45064</c:v>
                </c:pt>
                <c:pt idx="2431">
                  <c:v>45065</c:v>
                </c:pt>
                <c:pt idx="2432">
                  <c:v>45068</c:v>
                </c:pt>
                <c:pt idx="2433">
                  <c:v>45069</c:v>
                </c:pt>
                <c:pt idx="2434">
                  <c:v>45070</c:v>
                </c:pt>
                <c:pt idx="2435">
                  <c:v>45071</c:v>
                </c:pt>
                <c:pt idx="2436">
                  <c:v>45072</c:v>
                </c:pt>
                <c:pt idx="2437">
                  <c:v>45075</c:v>
                </c:pt>
                <c:pt idx="2438">
                  <c:v>45076</c:v>
                </c:pt>
                <c:pt idx="2439">
                  <c:v>45077</c:v>
                </c:pt>
                <c:pt idx="2440">
                  <c:v>45078</c:v>
                </c:pt>
                <c:pt idx="2441">
                  <c:v>45079</c:v>
                </c:pt>
                <c:pt idx="2442">
                  <c:v>45082</c:v>
                </c:pt>
                <c:pt idx="2443">
                  <c:v>45083</c:v>
                </c:pt>
                <c:pt idx="2444">
                  <c:v>45084</c:v>
                </c:pt>
                <c:pt idx="2445">
                  <c:v>45085</c:v>
                </c:pt>
                <c:pt idx="2446">
                  <c:v>45086</c:v>
                </c:pt>
                <c:pt idx="2447">
                  <c:v>45089</c:v>
                </c:pt>
                <c:pt idx="2448">
                  <c:v>45090</c:v>
                </c:pt>
                <c:pt idx="2449">
                  <c:v>45091</c:v>
                </c:pt>
                <c:pt idx="2450">
                  <c:v>45092</c:v>
                </c:pt>
                <c:pt idx="2451">
                  <c:v>45093</c:v>
                </c:pt>
                <c:pt idx="2452">
                  <c:v>45096</c:v>
                </c:pt>
                <c:pt idx="2453">
                  <c:v>45097</c:v>
                </c:pt>
                <c:pt idx="2454">
                  <c:v>45098</c:v>
                </c:pt>
                <c:pt idx="2455">
                  <c:v>45099</c:v>
                </c:pt>
                <c:pt idx="2456">
                  <c:v>45100</c:v>
                </c:pt>
                <c:pt idx="2457">
                  <c:v>45103</c:v>
                </c:pt>
                <c:pt idx="2458">
                  <c:v>45104</c:v>
                </c:pt>
                <c:pt idx="2459">
                  <c:v>45105</c:v>
                </c:pt>
                <c:pt idx="2460">
                  <c:v>45106</c:v>
                </c:pt>
                <c:pt idx="2461">
                  <c:v>45107</c:v>
                </c:pt>
                <c:pt idx="2462">
                  <c:v>45110</c:v>
                </c:pt>
                <c:pt idx="2463">
                  <c:v>45111</c:v>
                </c:pt>
                <c:pt idx="2464">
                  <c:v>45112</c:v>
                </c:pt>
                <c:pt idx="2465">
                  <c:v>45113</c:v>
                </c:pt>
                <c:pt idx="2466">
                  <c:v>45114</c:v>
                </c:pt>
                <c:pt idx="2467">
                  <c:v>45117</c:v>
                </c:pt>
                <c:pt idx="2468">
                  <c:v>45118</c:v>
                </c:pt>
                <c:pt idx="2469">
                  <c:v>45119</c:v>
                </c:pt>
                <c:pt idx="2470">
                  <c:v>45120</c:v>
                </c:pt>
                <c:pt idx="2471">
                  <c:v>45121</c:v>
                </c:pt>
                <c:pt idx="2472">
                  <c:v>45124</c:v>
                </c:pt>
                <c:pt idx="2473">
                  <c:v>45125</c:v>
                </c:pt>
                <c:pt idx="2474">
                  <c:v>45126</c:v>
                </c:pt>
                <c:pt idx="2475">
                  <c:v>45127</c:v>
                </c:pt>
                <c:pt idx="2476">
                  <c:v>45128</c:v>
                </c:pt>
                <c:pt idx="2477">
                  <c:v>45131</c:v>
                </c:pt>
                <c:pt idx="2478">
                  <c:v>45132</c:v>
                </c:pt>
                <c:pt idx="2479">
                  <c:v>45133</c:v>
                </c:pt>
                <c:pt idx="2480">
                  <c:v>45134</c:v>
                </c:pt>
                <c:pt idx="2481">
                  <c:v>45135</c:v>
                </c:pt>
                <c:pt idx="2482">
                  <c:v>45138</c:v>
                </c:pt>
                <c:pt idx="2483">
                  <c:v>45139</c:v>
                </c:pt>
                <c:pt idx="2484">
                  <c:v>45140</c:v>
                </c:pt>
                <c:pt idx="2485">
                  <c:v>45141</c:v>
                </c:pt>
                <c:pt idx="2486">
                  <c:v>45142</c:v>
                </c:pt>
                <c:pt idx="2487">
                  <c:v>45145</c:v>
                </c:pt>
                <c:pt idx="2488">
                  <c:v>45146</c:v>
                </c:pt>
                <c:pt idx="2489">
                  <c:v>45147</c:v>
                </c:pt>
                <c:pt idx="2490">
                  <c:v>45148</c:v>
                </c:pt>
                <c:pt idx="2491">
                  <c:v>45149</c:v>
                </c:pt>
                <c:pt idx="2492">
                  <c:v>45152</c:v>
                </c:pt>
                <c:pt idx="2493">
                  <c:v>45153</c:v>
                </c:pt>
                <c:pt idx="2494">
                  <c:v>45154</c:v>
                </c:pt>
                <c:pt idx="2495">
                  <c:v>45155</c:v>
                </c:pt>
                <c:pt idx="2496">
                  <c:v>45156</c:v>
                </c:pt>
                <c:pt idx="2497">
                  <c:v>45159</c:v>
                </c:pt>
                <c:pt idx="2498">
                  <c:v>45160</c:v>
                </c:pt>
                <c:pt idx="2499">
                  <c:v>45161</c:v>
                </c:pt>
                <c:pt idx="2500">
                  <c:v>45162</c:v>
                </c:pt>
                <c:pt idx="2501">
                  <c:v>45163</c:v>
                </c:pt>
                <c:pt idx="2502">
                  <c:v>45166</c:v>
                </c:pt>
                <c:pt idx="2503">
                  <c:v>45167</c:v>
                </c:pt>
                <c:pt idx="2504">
                  <c:v>45168</c:v>
                </c:pt>
                <c:pt idx="2505">
                  <c:v>45169</c:v>
                </c:pt>
                <c:pt idx="2506">
                  <c:v>45170</c:v>
                </c:pt>
                <c:pt idx="2507">
                  <c:v>45173</c:v>
                </c:pt>
                <c:pt idx="2508">
                  <c:v>45174</c:v>
                </c:pt>
                <c:pt idx="2509">
                  <c:v>45175</c:v>
                </c:pt>
                <c:pt idx="2510">
                  <c:v>45176</c:v>
                </c:pt>
                <c:pt idx="2511">
                  <c:v>45177</c:v>
                </c:pt>
                <c:pt idx="2512">
                  <c:v>45180</c:v>
                </c:pt>
                <c:pt idx="2513">
                  <c:v>45181</c:v>
                </c:pt>
                <c:pt idx="2514">
                  <c:v>45182</c:v>
                </c:pt>
                <c:pt idx="2515">
                  <c:v>45183</c:v>
                </c:pt>
                <c:pt idx="2516">
                  <c:v>45184</c:v>
                </c:pt>
                <c:pt idx="2517">
                  <c:v>45187</c:v>
                </c:pt>
                <c:pt idx="2518">
                  <c:v>45188</c:v>
                </c:pt>
                <c:pt idx="2519">
                  <c:v>45189</c:v>
                </c:pt>
                <c:pt idx="2520">
                  <c:v>45190</c:v>
                </c:pt>
                <c:pt idx="2521">
                  <c:v>45191</c:v>
                </c:pt>
                <c:pt idx="2522">
                  <c:v>45194</c:v>
                </c:pt>
                <c:pt idx="2523">
                  <c:v>45195</c:v>
                </c:pt>
                <c:pt idx="2524">
                  <c:v>45196</c:v>
                </c:pt>
                <c:pt idx="2525">
                  <c:v>45197</c:v>
                </c:pt>
                <c:pt idx="2526">
                  <c:v>45198</c:v>
                </c:pt>
                <c:pt idx="2527">
                  <c:v>45201</c:v>
                </c:pt>
                <c:pt idx="2528">
                  <c:v>45202</c:v>
                </c:pt>
                <c:pt idx="2529">
                  <c:v>45203</c:v>
                </c:pt>
                <c:pt idx="2530">
                  <c:v>45204</c:v>
                </c:pt>
                <c:pt idx="2531">
                  <c:v>45205</c:v>
                </c:pt>
                <c:pt idx="2532">
                  <c:v>45208</c:v>
                </c:pt>
                <c:pt idx="2533">
                  <c:v>45209</c:v>
                </c:pt>
                <c:pt idx="2534">
                  <c:v>45210</c:v>
                </c:pt>
                <c:pt idx="2535">
                  <c:v>45211</c:v>
                </c:pt>
                <c:pt idx="2536">
                  <c:v>45212</c:v>
                </c:pt>
                <c:pt idx="2537">
                  <c:v>45215</c:v>
                </c:pt>
                <c:pt idx="2538">
                  <c:v>45216</c:v>
                </c:pt>
                <c:pt idx="2539">
                  <c:v>45217</c:v>
                </c:pt>
                <c:pt idx="2540">
                  <c:v>45218</c:v>
                </c:pt>
                <c:pt idx="2541">
                  <c:v>45219</c:v>
                </c:pt>
                <c:pt idx="2542">
                  <c:v>45222</c:v>
                </c:pt>
                <c:pt idx="2543">
                  <c:v>45223</c:v>
                </c:pt>
                <c:pt idx="2544">
                  <c:v>45224</c:v>
                </c:pt>
                <c:pt idx="2545">
                  <c:v>45225</c:v>
                </c:pt>
                <c:pt idx="2546">
                  <c:v>45226</c:v>
                </c:pt>
                <c:pt idx="2547">
                  <c:v>45229</c:v>
                </c:pt>
                <c:pt idx="2548">
                  <c:v>45230</c:v>
                </c:pt>
                <c:pt idx="2549">
                  <c:v>45231</c:v>
                </c:pt>
                <c:pt idx="2550">
                  <c:v>45232</c:v>
                </c:pt>
                <c:pt idx="2551">
                  <c:v>45233</c:v>
                </c:pt>
                <c:pt idx="2552">
                  <c:v>45236</c:v>
                </c:pt>
                <c:pt idx="2553">
                  <c:v>45237</c:v>
                </c:pt>
                <c:pt idx="2554">
                  <c:v>45238</c:v>
                </c:pt>
                <c:pt idx="2555">
                  <c:v>45239</c:v>
                </c:pt>
                <c:pt idx="2556">
                  <c:v>45240</c:v>
                </c:pt>
                <c:pt idx="2557">
                  <c:v>45243</c:v>
                </c:pt>
                <c:pt idx="2558">
                  <c:v>45244</c:v>
                </c:pt>
                <c:pt idx="2559">
                  <c:v>45245</c:v>
                </c:pt>
                <c:pt idx="2560">
                  <c:v>45246</c:v>
                </c:pt>
                <c:pt idx="2561">
                  <c:v>45247</c:v>
                </c:pt>
                <c:pt idx="2562">
                  <c:v>45250</c:v>
                </c:pt>
                <c:pt idx="2563">
                  <c:v>45251</c:v>
                </c:pt>
                <c:pt idx="2564">
                  <c:v>45252</c:v>
                </c:pt>
                <c:pt idx="2565">
                  <c:v>45253</c:v>
                </c:pt>
                <c:pt idx="2566">
                  <c:v>45254</c:v>
                </c:pt>
                <c:pt idx="2567">
                  <c:v>45257</c:v>
                </c:pt>
                <c:pt idx="2568">
                  <c:v>45258</c:v>
                </c:pt>
                <c:pt idx="2569">
                  <c:v>45259</c:v>
                </c:pt>
                <c:pt idx="2570">
                  <c:v>45260</c:v>
                </c:pt>
                <c:pt idx="2571">
                  <c:v>45261</c:v>
                </c:pt>
                <c:pt idx="2572">
                  <c:v>45264</c:v>
                </c:pt>
                <c:pt idx="2573">
                  <c:v>45265</c:v>
                </c:pt>
                <c:pt idx="2574">
                  <c:v>45266</c:v>
                </c:pt>
                <c:pt idx="2575">
                  <c:v>45267</c:v>
                </c:pt>
                <c:pt idx="2576">
                  <c:v>45268</c:v>
                </c:pt>
                <c:pt idx="2577">
                  <c:v>45271</c:v>
                </c:pt>
                <c:pt idx="2578">
                  <c:v>45272</c:v>
                </c:pt>
                <c:pt idx="2579">
                  <c:v>45273</c:v>
                </c:pt>
                <c:pt idx="2580">
                  <c:v>45274</c:v>
                </c:pt>
                <c:pt idx="2581">
                  <c:v>45275</c:v>
                </c:pt>
                <c:pt idx="2582">
                  <c:v>45278</c:v>
                </c:pt>
                <c:pt idx="2583">
                  <c:v>45279</c:v>
                </c:pt>
                <c:pt idx="2584">
                  <c:v>45280</c:v>
                </c:pt>
                <c:pt idx="2585">
                  <c:v>45281</c:v>
                </c:pt>
                <c:pt idx="2586">
                  <c:v>45282</c:v>
                </c:pt>
                <c:pt idx="2587">
                  <c:v>45287</c:v>
                </c:pt>
                <c:pt idx="2588">
                  <c:v>45288</c:v>
                </c:pt>
                <c:pt idx="2589">
                  <c:v>45289</c:v>
                </c:pt>
                <c:pt idx="2590">
                  <c:v>45293</c:v>
                </c:pt>
                <c:pt idx="2591">
                  <c:v>45294</c:v>
                </c:pt>
                <c:pt idx="2592">
                  <c:v>45295</c:v>
                </c:pt>
                <c:pt idx="2593">
                  <c:v>45296</c:v>
                </c:pt>
                <c:pt idx="2594">
                  <c:v>45299</c:v>
                </c:pt>
                <c:pt idx="2595">
                  <c:v>45300</c:v>
                </c:pt>
                <c:pt idx="2596">
                  <c:v>45301</c:v>
                </c:pt>
                <c:pt idx="2597">
                  <c:v>45302</c:v>
                </c:pt>
                <c:pt idx="2598">
                  <c:v>45303</c:v>
                </c:pt>
                <c:pt idx="2599">
                  <c:v>45306</c:v>
                </c:pt>
                <c:pt idx="2600">
                  <c:v>45307</c:v>
                </c:pt>
                <c:pt idx="2601">
                  <c:v>45308</c:v>
                </c:pt>
                <c:pt idx="2602">
                  <c:v>45309</c:v>
                </c:pt>
                <c:pt idx="2603">
                  <c:v>45310</c:v>
                </c:pt>
                <c:pt idx="2604">
                  <c:v>45313</c:v>
                </c:pt>
                <c:pt idx="2605">
                  <c:v>45314</c:v>
                </c:pt>
                <c:pt idx="2606">
                  <c:v>45315</c:v>
                </c:pt>
                <c:pt idx="2607">
                  <c:v>45316</c:v>
                </c:pt>
                <c:pt idx="2608">
                  <c:v>45317</c:v>
                </c:pt>
                <c:pt idx="2609">
                  <c:v>45320</c:v>
                </c:pt>
                <c:pt idx="2610">
                  <c:v>45321</c:v>
                </c:pt>
                <c:pt idx="2611">
                  <c:v>45322</c:v>
                </c:pt>
                <c:pt idx="2612">
                  <c:v>45323</c:v>
                </c:pt>
                <c:pt idx="2613">
                  <c:v>45324</c:v>
                </c:pt>
                <c:pt idx="2614">
                  <c:v>45327</c:v>
                </c:pt>
                <c:pt idx="2615">
                  <c:v>45328</c:v>
                </c:pt>
                <c:pt idx="2616">
                  <c:v>45329</c:v>
                </c:pt>
                <c:pt idx="2617">
                  <c:v>45330</c:v>
                </c:pt>
                <c:pt idx="2618">
                  <c:v>45331</c:v>
                </c:pt>
                <c:pt idx="2619">
                  <c:v>45334</c:v>
                </c:pt>
                <c:pt idx="2620">
                  <c:v>45335</c:v>
                </c:pt>
                <c:pt idx="2621">
                  <c:v>45336</c:v>
                </c:pt>
                <c:pt idx="2622">
                  <c:v>45337</c:v>
                </c:pt>
                <c:pt idx="2623">
                  <c:v>45338</c:v>
                </c:pt>
                <c:pt idx="2624">
                  <c:v>45341</c:v>
                </c:pt>
                <c:pt idx="2625">
                  <c:v>45342</c:v>
                </c:pt>
                <c:pt idx="2626">
                  <c:v>45343</c:v>
                </c:pt>
                <c:pt idx="2627">
                  <c:v>45344</c:v>
                </c:pt>
                <c:pt idx="2628">
                  <c:v>45345</c:v>
                </c:pt>
                <c:pt idx="2629">
                  <c:v>45348</c:v>
                </c:pt>
                <c:pt idx="2630">
                  <c:v>45349</c:v>
                </c:pt>
                <c:pt idx="2631">
                  <c:v>45350</c:v>
                </c:pt>
                <c:pt idx="2632">
                  <c:v>45351</c:v>
                </c:pt>
                <c:pt idx="2633">
                  <c:v>45352</c:v>
                </c:pt>
                <c:pt idx="2634">
                  <c:v>45355</c:v>
                </c:pt>
                <c:pt idx="2635">
                  <c:v>45356</c:v>
                </c:pt>
                <c:pt idx="2636">
                  <c:v>45357</c:v>
                </c:pt>
                <c:pt idx="2637">
                  <c:v>45358</c:v>
                </c:pt>
                <c:pt idx="2638">
                  <c:v>45359</c:v>
                </c:pt>
                <c:pt idx="2639">
                  <c:v>45362</c:v>
                </c:pt>
                <c:pt idx="2640">
                  <c:v>45363</c:v>
                </c:pt>
                <c:pt idx="2641">
                  <c:v>45364</c:v>
                </c:pt>
                <c:pt idx="2642">
                  <c:v>45365</c:v>
                </c:pt>
                <c:pt idx="2643">
                  <c:v>45366</c:v>
                </c:pt>
                <c:pt idx="2644">
                  <c:v>45369</c:v>
                </c:pt>
                <c:pt idx="2645">
                  <c:v>45370</c:v>
                </c:pt>
                <c:pt idx="2646">
                  <c:v>45371</c:v>
                </c:pt>
                <c:pt idx="2647">
                  <c:v>45372</c:v>
                </c:pt>
                <c:pt idx="2648">
                  <c:v>45373</c:v>
                </c:pt>
                <c:pt idx="2649">
                  <c:v>45376</c:v>
                </c:pt>
                <c:pt idx="2650">
                  <c:v>45377</c:v>
                </c:pt>
                <c:pt idx="2651">
                  <c:v>45378</c:v>
                </c:pt>
                <c:pt idx="2652">
                  <c:v>45379</c:v>
                </c:pt>
                <c:pt idx="2653">
                  <c:v>45383</c:v>
                </c:pt>
                <c:pt idx="2654">
                  <c:v>45384</c:v>
                </c:pt>
                <c:pt idx="2655">
                  <c:v>45385</c:v>
                </c:pt>
                <c:pt idx="2656">
                  <c:v>45386</c:v>
                </c:pt>
                <c:pt idx="2657">
                  <c:v>45387</c:v>
                </c:pt>
                <c:pt idx="2658">
                  <c:v>45390</c:v>
                </c:pt>
                <c:pt idx="2659">
                  <c:v>45391</c:v>
                </c:pt>
                <c:pt idx="2660">
                  <c:v>45392</c:v>
                </c:pt>
                <c:pt idx="2661">
                  <c:v>45393</c:v>
                </c:pt>
                <c:pt idx="2662">
                  <c:v>45394</c:v>
                </c:pt>
                <c:pt idx="2663">
                  <c:v>45397</c:v>
                </c:pt>
                <c:pt idx="2664">
                  <c:v>45398</c:v>
                </c:pt>
                <c:pt idx="2665">
                  <c:v>45399</c:v>
                </c:pt>
                <c:pt idx="2666">
                  <c:v>45400</c:v>
                </c:pt>
                <c:pt idx="2667">
                  <c:v>45401</c:v>
                </c:pt>
                <c:pt idx="2668">
                  <c:v>45404</c:v>
                </c:pt>
                <c:pt idx="2669">
                  <c:v>45405</c:v>
                </c:pt>
                <c:pt idx="2670">
                  <c:v>45406</c:v>
                </c:pt>
                <c:pt idx="2671">
                  <c:v>45407</c:v>
                </c:pt>
                <c:pt idx="2672">
                  <c:v>45408</c:v>
                </c:pt>
                <c:pt idx="2673">
                  <c:v>45411</c:v>
                </c:pt>
                <c:pt idx="2674">
                  <c:v>45412</c:v>
                </c:pt>
                <c:pt idx="2675">
                  <c:v>45413</c:v>
                </c:pt>
                <c:pt idx="2676">
                  <c:v>45414</c:v>
                </c:pt>
                <c:pt idx="2677">
                  <c:v>45415</c:v>
                </c:pt>
                <c:pt idx="2678">
                  <c:v>45418</c:v>
                </c:pt>
                <c:pt idx="2679">
                  <c:v>45419</c:v>
                </c:pt>
                <c:pt idx="2680">
                  <c:v>45420</c:v>
                </c:pt>
                <c:pt idx="2681">
                  <c:v>45421</c:v>
                </c:pt>
                <c:pt idx="2682">
                  <c:v>45422</c:v>
                </c:pt>
                <c:pt idx="2683">
                  <c:v>45425</c:v>
                </c:pt>
                <c:pt idx="2684">
                  <c:v>45426</c:v>
                </c:pt>
                <c:pt idx="2685">
                  <c:v>45427</c:v>
                </c:pt>
                <c:pt idx="2686">
                  <c:v>45428</c:v>
                </c:pt>
                <c:pt idx="2687">
                  <c:v>45429</c:v>
                </c:pt>
                <c:pt idx="2688">
                  <c:v>45432</c:v>
                </c:pt>
                <c:pt idx="2689">
                  <c:v>45433</c:v>
                </c:pt>
                <c:pt idx="2690">
                  <c:v>45434</c:v>
                </c:pt>
                <c:pt idx="2691">
                  <c:v>45435</c:v>
                </c:pt>
                <c:pt idx="2692">
                  <c:v>45436</c:v>
                </c:pt>
                <c:pt idx="2693">
                  <c:v>45440</c:v>
                </c:pt>
                <c:pt idx="2694">
                  <c:v>45441</c:v>
                </c:pt>
                <c:pt idx="2695">
                  <c:v>45442</c:v>
                </c:pt>
                <c:pt idx="2696">
                  <c:v>45443</c:v>
                </c:pt>
                <c:pt idx="2697">
                  <c:v>45446</c:v>
                </c:pt>
                <c:pt idx="2698">
                  <c:v>45447</c:v>
                </c:pt>
                <c:pt idx="2699">
                  <c:v>45448</c:v>
                </c:pt>
                <c:pt idx="2700">
                  <c:v>45449</c:v>
                </c:pt>
                <c:pt idx="2701">
                  <c:v>45450</c:v>
                </c:pt>
                <c:pt idx="2702">
                  <c:v>45453</c:v>
                </c:pt>
                <c:pt idx="2703">
                  <c:v>45454</c:v>
                </c:pt>
                <c:pt idx="2704">
                  <c:v>45455</c:v>
                </c:pt>
                <c:pt idx="2705">
                  <c:v>45456</c:v>
                </c:pt>
                <c:pt idx="2706">
                  <c:v>45457</c:v>
                </c:pt>
                <c:pt idx="2707">
                  <c:v>45460</c:v>
                </c:pt>
                <c:pt idx="2708">
                  <c:v>45461</c:v>
                </c:pt>
                <c:pt idx="2709">
                  <c:v>45462</c:v>
                </c:pt>
                <c:pt idx="2710">
                  <c:v>45463</c:v>
                </c:pt>
                <c:pt idx="2711">
                  <c:v>45464</c:v>
                </c:pt>
                <c:pt idx="2712">
                  <c:v>45467</c:v>
                </c:pt>
                <c:pt idx="2713">
                  <c:v>45468</c:v>
                </c:pt>
                <c:pt idx="2714">
                  <c:v>45469</c:v>
                </c:pt>
                <c:pt idx="2715">
                  <c:v>45470</c:v>
                </c:pt>
                <c:pt idx="2716">
                  <c:v>45471</c:v>
                </c:pt>
                <c:pt idx="2717">
                  <c:v>45474</c:v>
                </c:pt>
                <c:pt idx="2718">
                  <c:v>45475</c:v>
                </c:pt>
                <c:pt idx="2719">
                  <c:v>45476</c:v>
                </c:pt>
                <c:pt idx="2720">
                  <c:v>45477</c:v>
                </c:pt>
                <c:pt idx="2721">
                  <c:v>45478</c:v>
                </c:pt>
                <c:pt idx="2722">
                  <c:v>45481</c:v>
                </c:pt>
                <c:pt idx="2723">
                  <c:v>45482</c:v>
                </c:pt>
                <c:pt idx="2724">
                  <c:v>45483</c:v>
                </c:pt>
                <c:pt idx="2725">
                  <c:v>45484</c:v>
                </c:pt>
                <c:pt idx="2726">
                  <c:v>45485</c:v>
                </c:pt>
                <c:pt idx="2727">
                  <c:v>45488</c:v>
                </c:pt>
                <c:pt idx="2728">
                  <c:v>45489</c:v>
                </c:pt>
                <c:pt idx="2729">
                  <c:v>45490</c:v>
                </c:pt>
                <c:pt idx="2730">
                  <c:v>45491</c:v>
                </c:pt>
                <c:pt idx="2731">
                  <c:v>45492</c:v>
                </c:pt>
                <c:pt idx="2732">
                  <c:v>45495</c:v>
                </c:pt>
                <c:pt idx="2733">
                  <c:v>45496</c:v>
                </c:pt>
                <c:pt idx="2734">
                  <c:v>45497</c:v>
                </c:pt>
                <c:pt idx="2735">
                  <c:v>45498</c:v>
                </c:pt>
                <c:pt idx="2736">
                  <c:v>45499</c:v>
                </c:pt>
                <c:pt idx="2737">
                  <c:v>45502</c:v>
                </c:pt>
                <c:pt idx="2738">
                  <c:v>45503</c:v>
                </c:pt>
                <c:pt idx="2739">
                  <c:v>45504</c:v>
                </c:pt>
                <c:pt idx="2740">
                  <c:v>45505</c:v>
                </c:pt>
                <c:pt idx="2741">
                  <c:v>45506</c:v>
                </c:pt>
                <c:pt idx="2742">
                  <c:v>45509</c:v>
                </c:pt>
                <c:pt idx="2743">
                  <c:v>45510</c:v>
                </c:pt>
                <c:pt idx="2744">
                  <c:v>45511</c:v>
                </c:pt>
                <c:pt idx="2745">
                  <c:v>45512</c:v>
                </c:pt>
                <c:pt idx="2746">
                  <c:v>45513</c:v>
                </c:pt>
                <c:pt idx="2747">
                  <c:v>45516</c:v>
                </c:pt>
                <c:pt idx="2748">
                  <c:v>45517</c:v>
                </c:pt>
                <c:pt idx="2749">
                  <c:v>45518</c:v>
                </c:pt>
                <c:pt idx="2750">
                  <c:v>45519</c:v>
                </c:pt>
                <c:pt idx="2751">
                  <c:v>45520</c:v>
                </c:pt>
                <c:pt idx="2752">
                  <c:v>45523</c:v>
                </c:pt>
                <c:pt idx="2753">
                  <c:v>45524</c:v>
                </c:pt>
                <c:pt idx="2754">
                  <c:v>45525</c:v>
                </c:pt>
                <c:pt idx="2755">
                  <c:v>45526</c:v>
                </c:pt>
                <c:pt idx="2756">
                  <c:v>45527</c:v>
                </c:pt>
                <c:pt idx="2757">
                  <c:v>45530</c:v>
                </c:pt>
                <c:pt idx="2758">
                  <c:v>45531</c:v>
                </c:pt>
                <c:pt idx="2759">
                  <c:v>45532</c:v>
                </c:pt>
                <c:pt idx="2760">
                  <c:v>45533</c:v>
                </c:pt>
                <c:pt idx="2761">
                  <c:v>45534</c:v>
                </c:pt>
                <c:pt idx="2762">
                  <c:v>45537</c:v>
                </c:pt>
                <c:pt idx="2763">
                  <c:v>45538</c:v>
                </c:pt>
                <c:pt idx="2764">
                  <c:v>45539</c:v>
                </c:pt>
                <c:pt idx="2765">
                  <c:v>45540</c:v>
                </c:pt>
                <c:pt idx="2766">
                  <c:v>45541</c:v>
                </c:pt>
                <c:pt idx="2767">
                  <c:v>45544</c:v>
                </c:pt>
                <c:pt idx="2768">
                  <c:v>45545</c:v>
                </c:pt>
                <c:pt idx="2769">
                  <c:v>45546</c:v>
                </c:pt>
                <c:pt idx="2770">
                  <c:v>45547</c:v>
                </c:pt>
                <c:pt idx="2771">
                  <c:v>45548</c:v>
                </c:pt>
                <c:pt idx="2772">
                  <c:v>45551</c:v>
                </c:pt>
                <c:pt idx="2773">
                  <c:v>45552</c:v>
                </c:pt>
                <c:pt idx="2774">
                  <c:v>45553</c:v>
                </c:pt>
                <c:pt idx="2775">
                  <c:v>45554</c:v>
                </c:pt>
                <c:pt idx="2776">
                  <c:v>45555</c:v>
                </c:pt>
                <c:pt idx="2777">
                  <c:v>45558</c:v>
                </c:pt>
                <c:pt idx="2778">
                  <c:v>45559</c:v>
                </c:pt>
                <c:pt idx="2779">
                  <c:v>45560</c:v>
                </c:pt>
                <c:pt idx="2780">
                  <c:v>45561</c:v>
                </c:pt>
                <c:pt idx="2781">
                  <c:v>45562</c:v>
                </c:pt>
                <c:pt idx="2782">
                  <c:v>45565</c:v>
                </c:pt>
                <c:pt idx="2783">
                  <c:v>45566</c:v>
                </c:pt>
                <c:pt idx="2784">
                  <c:v>45567</c:v>
                </c:pt>
                <c:pt idx="2785">
                  <c:v>45568</c:v>
                </c:pt>
                <c:pt idx="2786">
                  <c:v>45569</c:v>
                </c:pt>
                <c:pt idx="2787">
                  <c:v>45572</c:v>
                </c:pt>
                <c:pt idx="2788">
                  <c:v>45573</c:v>
                </c:pt>
                <c:pt idx="2789">
                  <c:v>45574</c:v>
                </c:pt>
                <c:pt idx="2790">
                  <c:v>45575</c:v>
                </c:pt>
                <c:pt idx="2791">
                  <c:v>45576</c:v>
                </c:pt>
                <c:pt idx="2792">
                  <c:v>45579</c:v>
                </c:pt>
                <c:pt idx="2793">
                  <c:v>45580</c:v>
                </c:pt>
                <c:pt idx="2794">
                  <c:v>45581</c:v>
                </c:pt>
                <c:pt idx="2795">
                  <c:v>45582</c:v>
                </c:pt>
                <c:pt idx="2796">
                  <c:v>45583</c:v>
                </c:pt>
                <c:pt idx="2797">
                  <c:v>45586</c:v>
                </c:pt>
                <c:pt idx="2798">
                  <c:v>45587</c:v>
                </c:pt>
                <c:pt idx="2799">
                  <c:v>45588</c:v>
                </c:pt>
                <c:pt idx="2800">
                  <c:v>45589</c:v>
                </c:pt>
                <c:pt idx="2801">
                  <c:v>45590</c:v>
                </c:pt>
                <c:pt idx="2802">
                  <c:v>45593</c:v>
                </c:pt>
                <c:pt idx="2803">
                  <c:v>45594</c:v>
                </c:pt>
                <c:pt idx="2804">
                  <c:v>45595</c:v>
                </c:pt>
                <c:pt idx="2805">
                  <c:v>45596</c:v>
                </c:pt>
                <c:pt idx="2806">
                  <c:v>45597</c:v>
                </c:pt>
                <c:pt idx="2807">
                  <c:v>45600</c:v>
                </c:pt>
                <c:pt idx="2808">
                  <c:v>45601</c:v>
                </c:pt>
                <c:pt idx="2809">
                  <c:v>45602</c:v>
                </c:pt>
                <c:pt idx="2810">
                  <c:v>45603</c:v>
                </c:pt>
                <c:pt idx="2811">
                  <c:v>45604</c:v>
                </c:pt>
                <c:pt idx="2812">
                  <c:v>45607</c:v>
                </c:pt>
                <c:pt idx="2813">
                  <c:v>45608</c:v>
                </c:pt>
                <c:pt idx="2814">
                  <c:v>45609</c:v>
                </c:pt>
                <c:pt idx="2815">
                  <c:v>45610</c:v>
                </c:pt>
                <c:pt idx="2816">
                  <c:v>45611</c:v>
                </c:pt>
                <c:pt idx="2817">
                  <c:v>45614</c:v>
                </c:pt>
                <c:pt idx="2818">
                  <c:v>45615</c:v>
                </c:pt>
                <c:pt idx="2819">
                  <c:v>45616</c:v>
                </c:pt>
                <c:pt idx="2820">
                  <c:v>45617</c:v>
                </c:pt>
                <c:pt idx="2821">
                  <c:v>45618</c:v>
                </c:pt>
                <c:pt idx="2822">
                  <c:v>45621</c:v>
                </c:pt>
                <c:pt idx="2823">
                  <c:v>45622</c:v>
                </c:pt>
                <c:pt idx="2824">
                  <c:v>45623</c:v>
                </c:pt>
                <c:pt idx="2825">
                  <c:v>45624</c:v>
                </c:pt>
                <c:pt idx="2826">
                  <c:v>45625</c:v>
                </c:pt>
                <c:pt idx="2827">
                  <c:v>45628</c:v>
                </c:pt>
                <c:pt idx="2828">
                  <c:v>45629</c:v>
                </c:pt>
                <c:pt idx="2829">
                  <c:v>45630</c:v>
                </c:pt>
                <c:pt idx="2830">
                  <c:v>45631</c:v>
                </c:pt>
                <c:pt idx="2831">
                  <c:v>45632</c:v>
                </c:pt>
                <c:pt idx="2832">
                  <c:v>45635</c:v>
                </c:pt>
                <c:pt idx="2833">
                  <c:v>45636</c:v>
                </c:pt>
                <c:pt idx="2834">
                  <c:v>45637</c:v>
                </c:pt>
                <c:pt idx="2835">
                  <c:v>45638</c:v>
                </c:pt>
                <c:pt idx="2836">
                  <c:v>45639</c:v>
                </c:pt>
                <c:pt idx="2837">
                  <c:v>45642</c:v>
                </c:pt>
                <c:pt idx="2838">
                  <c:v>45643</c:v>
                </c:pt>
                <c:pt idx="2839">
                  <c:v>45644</c:v>
                </c:pt>
                <c:pt idx="2840">
                  <c:v>45645</c:v>
                </c:pt>
                <c:pt idx="2841">
                  <c:v>45646</c:v>
                </c:pt>
                <c:pt idx="2842">
                  <c:v>45649</c:v>
                </c:pt>
                <c:pt idx="2843">
                  <c:v>45650</c:v>
                </c:pt>
                <c:pt idx="2844">
                  <c:v>45652</c:v>
                </c:pt>
                <c:pt idx="2845">
                  <c:v>45653</c:v>
                </c:pt>
                <c:pt idx="2846">
                  <c:v>45656</c:v>
                </c:pt>
                <c:pt idx="2847">
                  <c:v>45657</c:v>
                </c:pt>
                <c:pt idx="2848">
                  <c:v>45659</c:v>
                </c:pt>
                <c:pt idx="2849">
                  <c:v>45660</c:v>
                </c:pt>
                <c:pt idx="2850">
                  <c:v>45663</c:v>
                </c:pt>
                <c:pt idx="2851">
                  <c:v>45664</c:v>
                </c:pt>
                <c:pt idx="2852">
                  <c:v>45665</c:v>
                </c:pt>
                <c:pt idx="2853">
                  <c:v>45666</c:v>
                </c:pt>
                <c:pt idx="2854">
                  <c:v>45667</c:v>
                </c:pt>
                <c:pt idx="2855">
                  <c:v>45670</c:v>
                </c:pt>
                <c:pt idx="2856">
                  <c:v>45671</c:v>
                </c:pt>
                <c:pt idx="2857">
                  <c:v>45672</c:v>
                </c:pt>
                <c:pt idx="2858">
                  <c:v>45673</c:v>
                </c:pt>
                <c:pt idx="2859">
                  <c:v>45674</c:v>
                </c:pt>
                <c:pt idx="2860">
                  <c:v>45677</c:v>
                </c:pt>
                <c:pt idx="2861">
                  <c:v>45678</c:v>
                </c:pt>
                <c:pt idx="2862">
                  <c:v>45679</c:v>
                </c:pt>
                <c:pt idx="2863">
                  <c:v>45680</c:v>
                </c:pt>
                <c:pt idx="2864">
                  <c:v>45681</c:v>
                </c:pt>
                <c:pt idx="2865">
                  <c:v>45684</c:v>
                </c:pt>
                <c:pt idx="2866">
                  <c:v>45685</c:v>
                </c:pt>
                <c:pt idx="2867">
                  <c:v>45686</c:v>
                </c:pt>
                <c:pt idx="2868">
                  <c:v>45687</c:v>
                </c:pt>
                <c:pt idx="2869">
                  <c:v>45688</c:v>
                </c:pt>
                <c:pt idx="2870">
                  <c:v>45691</c:v>
                </c:pt>
                <c:pt idx="2871">
                  <c:v>45692</c:v>
                </c:pt>
                <c:pt idx="2872">
                  <c:v>45693</c:v>
                </c:pt>
                <c:pt idx="2873">
                  <c:v>45694</c:v>
                </c:pt>
                <c:pt idx="2874">
                  <c:v>45695</c:v>
                </c:pt>
                <c:pt idx="2875">
                  <c:v>45698</c:v>
                </c:pt>
                <c:pt idx="2876">
                  <c:v>45699</c:v>
                </c:pt>
                <c:pt idx="2877">
                  <c:v>45700</c:v>
                </c:pt>
                <c:pt idx="2878">
                  <c:v>45701</c:v>
                </c:pt>
                <c:pt idx="2879">
                  <c:v>45702</c:v>
                </c:pt>
                <c:pt idx="2880">
                  <c:v>45705</c:v>
                </c:pt>
                <c:pt idx="2881">
                  <c:v>45706</c:v>
                </c:pt>
                <c:pt idx="2882">
                  <c:v>45707</c:v>
                </c:pt>
                <c:pt idx="2883">
                  <c:v>45708</c:v>
                </c:pt>
                <c:pt idx="2884">
                  <c:v>45709</c:v>
                </c:pt>
                <c:pt idx="2885">
                  <c:v>45712</c:v>
                </c:pt>
                <c:pt idx="2886">
                  <c:v>45713</c:v>
                </c:pt>
                <c:pt idx="2887">
                  <c:v>45714</c:v>
                </c:pt>
                <c:pt idx="2888">
                  <c:v>45715</c:v>
                </c:pt>
                <c:pt idx="2889">
                  <c:v>45716</c:v>
                </c:pt>
                <c:pt idx="2890">
                  <c:v>45719</c:v>
                </c:pt>
                <c:pt idx="2891">
                  <c:v>45720</c:v>
                </c:pt>
                <c:pt idx="2892">
                  <c:v>45721</c:v>
                </c:pt>
                <c:pt idx="2893">
                  <c:v>45722</c:v>
                </c:pt>
                <c:pt idx="2894">
                  <c:v>45723</c:v>
                </c:pt>
                <c:pt idx="2895">
                  <c:v>45726</c:v>
                </c:pt>
                <c:pt idx="2896">
                  <c:v>45727</c:v>
                </c:pt>
                <c:pt idx="2897">
                  <c:v>45728</c:v>
                </c:pt>
                <c:pt idx="2898">
                  <c:v>45729</c:v>
                </c:pt>
                <c:pt idx="2899">
                  <c:v>45730</c:v>
                </c:pt>
                <c:pt idx="2900">
                  <c:v>45733</c:v>
                </c:pt>
                <c:pt idx="2901">
                  <c:v>45734</c:v>
                </c:pt>
                <c:pt idx="2902">
                  <c:v>45735</c:v>
                </c:pt>
                <c:pt idx="2903">
                  <c:v>45736</c:v>
                </c:pt>
                <c:pt idx="2904">
                  <c:v>45737</c:v>
                </c:pt>
                <c:pt idx="2905">
                  <c:v>45740</c:v>
                </c:pt>
                <c:pt idx="2906">
                  <c:v>45741</c:v>
                </c:pt>
                <c:pt idx="2907">
                  <c:v>45742</c:v>
                </c:pt>
                <c:pt idx="2908">
                  <c:v>45743</c:v>
                </c:pt>
                <c:pt idx="2909">
                  <c:v>45744</c:v>
                </c:pt>
                <c:pt idx="2910">
                  <c:v>45747</c:v>
                </c:pt>
                <c:pt idx="2911">
                  <c:v>45748</c:v>
                </c:pt>
                <c:pt idx="2912">
                  <c:v>45749</c:v>
                </c:pt>
                <c:pt idx="2913">
                  <c:v>45750</c:v>
                </c:pt>
                <c:pt idx="2914">
                  <c:v>45751</c:v>
                </c:pt>
                <c:pt idx="2915">
                  <c:v>45754</c:v>
                </c:pt>
                <c:pt idx="2916">
                  <c:v>45755</c:v>
                </c:pt>
                <c:pt idx="2917">
                  <c:v>45756</c:v>
                </c:pt>
                <c:pt idx="2918">
                  <c:v>45757</c:v>
                </c:pt>
                <c:pt idx="2919">
                  <c:v>45758</c:v>
                </c:pt>
                <c:pt idx="2920">
                  <c:v>45761</c:v>
                </c:pt>
                <c:pt idx="2921">
                  <c:v>45762</c:v>
                </c:pt>
                <c:pt idx="2922">
                  <c:v>45763</c:v>
                </c:pt>
                <c:pt idx="2923">
                  <c:v>45764</c:v>
                </c:pt>
                <c:pt idx="2924">
                  <c:v>45768</c:v>
                </c:pt>
                <c:pt idx="2925">
                  <c:v>45769</c:v>
                </c:pt>
                <c:pt idx="2926">
                  <c:v>45770</c:v>
                </c:pt>
                <c:pt idx="2927">
                  <c:v>45771</c:v>
                </c:pt>
                <c:pt idx="2928">
                  <c:v>45772</c:v>
                </c:pt>
                <c:pt idx="2929">
                  <c:v>45775</c:v>
                </c:pt>
                <c:pt idx="2930">
                  <c:v>45776</c:v>
                </c:pt>
                <c:pt idx="2931">
                  <c:v>45777</c:v>
                </c:pt>
                <c:pt idx="2932">
                  <c:v>45778</c:v>
                </c:pt>
                <c:pt idx="2933">
                  <c:v>45779</c:v>
                </c:pt>
                <c:pt idx="2934">
                  <c:v>45782</c:v>
                </c:pt>
                <c:pt idx="2935">
                  <c:v>45783</c:v>
                </c:pt>
                <c:pt idx="2936">
                  <c:v>45784</c:v>
                </c:pt>
                <c:pt idx="2937">
                  <c:v>45785</c:v>
                </c:pt>
                <c:pt idx="2938">
                  <c:v>45786</c:v>
                </c:pt>
                <c:pt idx="2939">
                  <c:v>45789</c:v>
                </c:pt>
                <c:pt idx="2940">
                  <c:v>45790</c:v>
                </c:pt>
                <c:pt idx="2941">
                  <c:v>45791</c:v>
                </c:pt>
                <c:pt idx="2942">
                  <c:v>45792</c:v>
                </c:pt>
                <c:pt idx="2943">
                  <c:v>45793</c:v>
                </c:pt>
                <c:pt idx="2944">
                  <c:v>0</c:v>
                </c:pt>
                <c:pt idx="2945">
                  <c:v>0</c:v>
                </c:pt>
                <c:pt idx="2946">
                  <c:v>0</c:v>
                </c:pt>
                <c:pt idx="2947">
                  <c:v>0</c:v>
                </c:pt>
                <c:pt idx="2948">
                  <c:v>0</c:v>
                </c:pt>
                <c:pt idx="2949">
                  <c:v>0</c:v>
                </c:pt>
                <c:pt idx="2950">
                  <c:v>0</c:v>
                </c:pt>
                <c:pt idx="2951">
                  <c:v>0</c:v>
                </c:pt>
                <c:pt idx="2952">
                  <c:v>0</c:v>
                </c:pt>
                <c:pt idx="2953">
                  <c:v>0</c:v>
                </c:pt>
                <c:pt idx="2954">
                  <c:v>0</c:v>
                </c:pt>
                <c:pt idx="2955">
                  <c:v>0</c:v>
                </c:pt>
                <c:pt idx="2956">
                  <c:v>0</c:v>
                </c:pt>
                <c:pt idx="2957">
                  <c:v>0</c:v>
                </c:pt>
                <c:pt idx="2958">
                  <c:v>0</c:v>
                </c:pt>
                <c:pt idx="2959">
                  <c:v>0</c:v>
                </c:pt>
                <c:pt idx="2960">
                  <c:v>0</c:v>
                </c:pt>
                <c:pt idx="2961">
                  <c:v>0</c:v>
                </c:pt>
                <c:pt idx="2962">
                  <c:v>0</c:v>
                </c:pt>
                <c:pt idx="2963">
                  <c:v>0</c:v>
                </c:pt>
                <c:pt idx="2964">
                  <c:v>0</c:v>
                </c:pt>
                <c:pt idx="2965">
                  <c:v>0</c:v>
                </c:pt>
                <c:pt idx="2966">
                  <c:v>0</c:v>
                </c:pt>
                <c:pt idx="2967">
                  <c:v>0</c:v>
                </c:pt>
                <c:pt idx="2968">
                  <c:v>0</c:v>
                </c:pt>
                <c:pt idx="2969">
                  <c:v>0</c:v>
                </c:pt>
                <c:pt idx="2970">
                  <c:v>0</c:v>
                </c:pt>
                <c:pt idx="2971">
                  <c:v>0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0</c:v>
                </c:pt>
                <c:pt idx="2977">
                  <c:v>0</c:v>
                </c:pt>
                <c:pt idx="2978">
                  <c:v>0</c:v>
                </c:pt>
                <c:pt idx="2979">
                  <c:v>0</c:v>
                </c:pt>
                <c:pt idx="2980">
                  <c:v>0</c:v>
                </c:pt>
                <c:pt idx="2981">
                  <c:v>0</c:v>
                </c:pt>
                <c:pt idx="2982">
                  <c:v>0</c:v>
                </c:pt>
                <c:pt idx="2983">
                  <c:v>0</c:v>
                </c:pt>
                <c:pt idx="2984">
                  <c:v>0</c:v>
                </c:pt>
                <c:pt idx="2985">
                  <c:v>0</c:v>
                </c:pt>
                <c:pt idx="2986">
                  <c:v>0</c:v>
                </c:pt>
                <c:pt idx="2987">
                  <c:v>0</c:v>
                </c:pt>
                <c:pt idx="2988">
                  <c:v>0</c:v>
                </c:pt>
                <c:pt idx="2989">
                  <c:v>0</c:v>
                </c:pt>
                <c:pt idx="2990">
                  <c:v>0</c:v>
                </c:pt>
                <c:pt idx="2991">
                  <c:v>0</c:v>
                </c:pt>
                <c:pt idx="2992">
                  <c:v>0</c:v>
                </c:pt>
                <c:pt idx="2993">
                  <c:v>0</c:v>
                </c:pt>
                <c:pt idx="2994">
                  <c:v>0</c:v>
                </c:pt>
                <c:pt idx="2995">
                  <c:v>0</c:v>
                </c:pt>
                <c:pt idx="2996">
                  <c:v>0</c:v>
                </c:pt>
                <c:pt idx="2997">
                  <c:v>0</c:v>
                </c:pt>
                <c:pt idx="2998">
                  <c:v>0</c:v>
                </c:pt>
                <c:pt idx="2999">
                  <c:v>0</c:v>
                </c:pt>
                <c:pt idx="3000">
                  <c:v>0</c:v>
                </c:pt>
                <c:pt idx="3001">
                  <c:v>0</c:v>
                </c:pt>
                <c:pt idx="3002">
                  <c:v>0</c:v>
                </c:pt>
                <c:pt idx="3003">
                  <c:v>0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0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0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0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0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0</c:v>
                </c:pt>
                <c:pt idx="3049">
                  <c:v>0</c:v>
                </c:pt>
                <c:pt idx="3050">
                  <c:v>0</c:v>
                </c:pt>
                <c:pt idx="3051">
                  <c:v>0</c:v>
                </c:pt>
                <c:pt idx="3052">
                  <c:v>0</c:v>
                </c:pt>
                <c:pt idx="3053">
                  <c:v>0</c:v>
                </c:pt>
                <c:pt idx="3054">
                  <c:v>0</c:v>
                </c:pt>
                <c:pt idx="3055">
                  <c:v>0</c:v>
                </c:pt>
                <c:pt idx="3056">
                  <c:v>0</c:v>
                </c:pt>
                <c:pt idx="3057">
                  <c:v>0</c:v>
                </c:pt>
                <c:pt idx="3058">
                  <c:v>0</c:v>
                </c:pt>
                <c:pt idx="3059">
                  <c:v>0</c:v>
                </c:pt>
                <c:pt idx="3060">
                  <c:v>0</c:v>
                </c:pt>
                <c:pt idx="3061">
                  <c:v>0</c:v>
                </c:pt>
                <c:pt idx="3062">
                  <c:v>0</c:v>
                </c:pt>
                <c:pt idx="3063">
                  <c:v>0</c:v>
                </c:pt>
                <c:pt idx="3064">
                  <c:v>0</c:v>
                </c:pt>
                <c:pt idx="3065">
                  <c:v>0</c:v>
                </c:pt>
                <c:pt idx="3066">
                  <c:v>0</c:v>
                </c:pt>
                <c:pt idx="3067">
                  <c:v>0</c:v>
                </c:pt>
                <c:pt idx="3068">
                  <c:v>0</c:v>
                </c:pt>
                <c:pt idx="3069">
                  <c:v>0</c:v>
                </c:pt>
                <c:pt idx="3070">
                  <c:v>0</c:v>
                </c:pt>
                <c:pt idx="3071">
                  <c:v>0</c:v>
                </c:pt>
                <c:pt idx="3072">
                  <c:v>0</c:v>
                </c:pt>
                <c:pt idx="3073">
                  <c:v>0</c:v>
                </c:pt>
                <c:pt idx="3074">
                  <c:v>0</c:v>
                </c:pt>
                <c:pt idx="3075">
                  <c:v>0</c:v>
                </c:pt>
                <c:pt idx="3076">
                  <c:v>0</c:v>
                </c:pt>
                <c:pt idx="3077">
                  <c:v>0</c:v>
                </c:pt>
                <c:pt idx="3078">
                  <c:v>0</c:v>
                </c:pt>
                <c:pt idx="3079">
                  <c:v>0</c:v>
                </c:pt>
                <c:pt idx="3080">
                  <c:v>0</c:v>
                </c:pt>
                <c:pt idx="3081">
                  <c:v>0</c:v>
                </c:pt>
                <c:pt idx="3082">
                  <c:v>0</c:v>
                </c:pt>
                <c:pt idx="3083">
                  <c:v>0</c:v>
                </c:pt>
                <c:pt idx="3084">
                  <c:v>0</c:v>
                </c:pt>
                <c:pt idx="3085">
                  <c:v>0</c:v>
                </c:pt>
                <c:pt idx="3086">
                  <c:v>0</c:v>
                </c:pt>
                <c:pt idx="3087">
                  <c:v>0</c:v>
                </c:pt>
                <c:pt idx="3088">
                  <c:v>0</c:v>
                </c:pt>
                <c:pt idx="3089">
                  <c:v>0</c:v>
                </c:pt>
                <c:pt idx="3090">
                  <c:v>0</c:v>
                </c:pt>
                <c:pt idx="3091">
                  <c:v>0</c:v>
                </c:pt>
                <c:pt idx="3092">
                  <c:v>0</c:v>
                </c:pt>
                <c:pt idx="3093">
                  <c:v>0</c:v>
                </c:pt>
                <c:pt idx="3094">
                  <c:v>0</c:v>
                </c:pt>
                <c:pt idx="3095">
                  <c:v>0</c:v>
                </c:pt>
                <c:pt idx="3096">
                  <c:v>0</c:v>
                </c:pt>
                <c:pt idx="3097">
                  <c:v>0</c:v>
                </c:pt>
                <c:pt idx="3098">
                  <c:v>0</c:v>
                </c:pt>
                <c:pt idx="3099">
                  <c:v>0</c:v>
                </c:pt>
                <c:pt idx="3100">
                  <c:v>0</c:v>
                </c:pt>
                <c:pt idx="3101">
                  <c:v>0</c:v>
                </c:pt>
                <c:pt idx="3102">
                  <c:v>0</c:v>
                </c:pt>
                <c:pt idx="3103">
                  <c:v>0</c:v>
                </c:pt>
                <c:pt idx="3104">
                  <c:v>0</c:v>
                </c:pt>
                <c:pt idx="3105">
                  <c:v>0</c:v>
                </c:pt>
                <c:pt idx="3106">
                  <c:v>0</c:v>
                </c:pt>
                <c:pt idx="3107">
                  <c:v>0</c:v>
                </c:pt>
                <c:pt idx="3108">
                  <c:v>0</c:v>
                </c:pt>
                <c:pt idx="3109">
                  <c:v>0</c:v>
                </c:pt>
                <c:pt idx="3110">
                  <c:v>0</c:v>
                </c:pt>
                <c:pt idx="3111">
                  <c:v>0</c:v>
                </c:pt>
                <c:pt idx="3112">
                  <c:v>0</c:v>
                </c:pt>
                <c:pt idx="3113">
                  <c:v>0</c:v>
                </c:pt>
                <c:pt idx="3114">
                  <c:v>0</c:v>
                </c:pt>
                <c:pt idx="3115">
                  <c:v>0</c:v>
                </c:pt>
                <c:pt idx="3116">
                  <c:v>0</c:v>
                </c:pt>
                <c:pt idx="3117">
                  <c:v>0</c:v>
                </c:pt>
                <c:pt idx="3118">
                  <c:v>0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0</c:v>
                </c:pt>
                <c:pt idx="3123">
                  <c:v>0</c:v>
                </c:pt>
                <c:pt idx="3124">
                  <c:v>0</c:v>
                </c:pt>
                <c:pt idx="3125">
                  <c:v>0</c:v>
                </c:pt>
                <c:pt idx="3126">
                  <c:v>0</c:v>
                </c:pt>
                <c:pt idx="3127">
                  <c:v>0</c:v>
                </c:pt>
                <c:pt idx="3128">
                  <c:v>0</c:v>
                </c:pt>
                <c:pt idx="3129">
                  <c:v>0</c:v>
                </c:pt>
                <c:pt idx="3130">
                  <c:v>0</c:v>
                </c:pt>
                <c:pt idx="3131">
                  <c:v>0</c:v>
                </c:pt>
                <c:pt idx="3132">
                  <c:v>0</c:v>
                </c:pt>
                <c:pt idx="3133">
                  <c:v>0</c:v>
                </c:pt>
                <c:pt idx="3134">
                  <c:v>0</c:v>
                </c:pt>
                <c:pt idx="3135">
                  <c:v>0</c:v>
                </c:pt>
                <c:pt idx="3136">
                  <c:v>0</c:v>
                </c:pt>
                <c:pt idx="3137">
                  <c:v>0</c:v>
                </c:pt>
                <c:pt idx="3138">
                  <c:v>0</c:v>
                </c:pt>
                <c:pt idx="3139">
                  <c:v>0</c:v>
                </c:pt>
                <c:pt idx="3140">
                  <c:v>0</c:v>
                </c:pt>
                <c:pt idx="3141">
                  <c:v>0</c:v>
                </c:pt>
                <c:pt idx="3142">
                  <c:v>0</c:v>
                </c:pt>
                <c:pt idx="3143">
                  <c:v>0</c:v>
                </c:pt>
                <c:pt idx="3144">
                  <c:v>0</c:v>
                </c:pt>
                <c:pt idx="3145">
                  <c:v>0</c:v>
                </c:pt>
                <c:pt idx="3146">
                  <c:v>0</c:v>
                </c:pt>
                <c:pt idx="3147">
                  <c:v>0</c:v>
                </c:pt>
                <c:pt idx="3148">
                  <c:v>0</c:v>
                </c:pt>
                <c:pt idx="3149">
                  <c:v>0</c:v>
                </c:pt>
                <c:pt idx="3150">
                  <c:v>0</c:v>
                </c:pt>
                <c:pt idx="3151">
                  <c:v>0</c:v>
                </c:pt>
                <c:pt idx="3152">
                  <c:v>0</c:v>
                </c:pt>
                <c:pt idx="3153">
                  <c:v>0</c:v>
                </c:pt>
                <c:pt idx="3154">
                  <c:v>0</c:v>
                </c:pt>
                <c:pt idx="3155">
                  <c:v>0</c:v>
                </c:pt>
                <c:pt idx="3156">
                  <c:v>0</c:v>
                </c:pt>
                <c:pt idx="3157">
                  <c:v>0</c:v>
                </c:pt>
                <c:pt idx="3158">
                  <c:v>0</c:v>
                </c:pt>
                <c:pt idx="3159">
                  <c:v>0</c:v>
                </c:pt>
                <c:pt idx="3160">
                  <c:v>0</c:v>
                </c:pt>
                <c:pt idx="3161">
                  <c:v>0</c:v>
                </c:pt>
                <c:pt idx="3162">
                  <c:v>0</c:v>
                </c:pt>
                <c:pt idx="3163">
                  <c:v>0</c:v>
                </c:pt>
                <c:pt idx="3164">
                  <c:v>0</c:v>
                </c:pt>
                <c:pt idx="3165">
                  <c:v>0</c:v>
                </c:pt>
                <c:pt idx="3166">
                  <c:v>0</c:v>
                </c:pt>
                <c:pt idx="3167">
                  <c:v>0</c:v>
                </c:pt>
                <c:pt idx="3168">
                  <c:v>0</c:v>
                </c:pt>
                <c:pt idx="3169">
                  <c:v>0</c:v>
                </c:pt>
                <c:pt idx="3170">
                  <c:v>0</c:v>
                </c:pt>
                <c:pt idx="3171">
                  <c:v>0</c:v>
                </c:pt>
                <c:pt idx="3172">
                  <c:v>0</c:v>
                </c:pt>
                <c:pt idx="3173">
                  <c:v>0</c:v>
                </c:pt>
                <c:pt idx="3174">
                  <c:v>0</c:v>
                </c:pt>
                <c:pt idx="3175">
                  <c:v>0</c:v>
                </c:pt>
                <c:pt idx="3176">
                  <c:v>0</c:v>
                </c:pt>
                <c:pt idx="3177">
                  <c:v>0</c:v>
                </c:pt>
                <c:pt idx="3178">
                  <c:v>0</c:v>
                </c:pt>
                <c:pt idx="3179">
                  <c:v>0</c:v>
                </c:pt>
                <c:pt idx="3180">
                  <c:v>0</c:v>
                </c:pt>
                <c:pt idx="3181">
                  <c:v>0</c:v>
                </c:pt>
                <c:pt idx="3182">
                  <c:v>0</c:v>
                </c:pt>
                <c:pt idx="3183">
                  <c:v>0</c:v>
                </c:pt>
                <c:pt idx="3184">
                  <c:v>0</c:v>
                </c:pt>
                <c:pt idx="3185">
                  <c:v>0</c:v>
                </c:pt>
                <c:pt idx="3186">
                  <c:v>0</c:v>
                </c:pt>
                <c:pt idx="3187">
                  <c:v>0</c:v>
                </c:pt>
                <c:pt idx="3188">
                  <c:v>0</c:v>
                </c:pt>
                <c:pt idx="3189">
                  <c:v>0</c:v>
                </c:pt>
                <c:pt idx="3190">
                  <c:v>0</c:v>
                </c:pt>
                <c:pt idx="3191">
                  <c:v>0</c:v>
                </c:pt>
                <c:pt idx="3192">
                  <c:v>0</c:v>
                </c:pt>
                <c:pt idx="3193">
                  <c:v>0</c:v>
                </c:pt>
                <c:pt idx="3194">
                  <c:v>0</c:v>
                </c:pt>
                <c:pt idx="3195">
                  <c:v>0</c:v>
                </c:pt>
                <c:pt idx="3196">
                  <c:v>0</c:v>
                </c:pt>
                <c:pt idx="3197">
                  <c:v>0</c:v>
                </c:pt>
                <c:pt idx="3198">
                  <c:v>0</c:v>
                </c:pt>
                <c:pt idx="3199">
                  <c:v>0</c:v>
                </c:pt>
                <c:pt idx="3200">
                  <c:v>0</c:v>
                </c:pt>
                <c:pt idx="3201">
                  <c:v>0</c:v>
                </c:pt>
                <c:pt idx="3202">
                  <c:v>0</c:v>
                </c:pt>
                <c:pt idx="3203">
                  <c:v>0</c:v>
                </c:pt>
                <c:pt idx="3204">
                  <c:v>0</c:v>
                </c:pt>
                <c:pt idx="3205">
                  <c:v>0</c:v>
                </c:pt>
                <c:pt idx="3206">
                  <c:v>0</c:v>
                </c:pt>
                <c:pt idx="3207">
                  <c:v>0</c:v>
                </c:pt>
                <c:pt idx="3208">
                  <c:v>0</c:v>
                </c:pt>
                <c:pt idx="3209">
                  <c:v>0</c:v>
                </c:pt>
                <c:pt idx="3210">
                  <c:v>0</c:v>
                </c:pt>
                <c:pt idx="3211">
                  <c:v>0</c:v>
                </c:pt>
                <c:pt idx="3212">
                  <c:v>0</c:v>
                </c:pt>
                <c:pt idx="3213">
                  <c:v>0</c:v>
                </c:pt>
                <c:pt idx="3214">
                  <c:v>0</c:v>
                </c:pt>
                <c:pt idx="3215">
                  <c:v>0</c:v>
                </c:pt>
                <c:pt idx="3216">
                  <c:v>0</c:v>
                </c:pt>
                <c:pt idx="3217">
                  <c:v>0</c:v>
                </c:pt>
                <c:pt idx="3218">
                  <c:v>0</c:v>
                </c:pt>
                <c:pt idx="3219">
                  <c:v>0</c:v>
                </c:pt>
                <c:pt idx="3220">
                  <c:v>0</c:v>
                </c:pt>
                <c:pt idx="3221">
                  <c:v>0</c:v>
                </c:pt>
                <c:pt idx="3222">
                  <c:v>0</c:v>
                </c:pt>
                <c:pt idx="3223">
                  <c:v>0</c:v>
                </c:pt>
                <c:pt idx="3224">
                  <c:v>0</c:v>
                </c:pt>
                <c:pt idx="3225">
                  <c:v>0</c:v>
                </c:pt>
                <c:pt idx="3226">
                  <c:v>0</c:v>
                </c:pt>
                <c:pt idx="3227">
                  <c:v>0</c:v>
                </c:pt>
                <c:pt idx="3228">
                  <c:v>0</c:v>
                </c:pt>
                <c:pt idx="3229">
                  <c:v>0</c:v>
                </c:pt>
                <c:pt idx="3230">
                  <c:v>0</c:v>
                </c:pt>
                <c:pt idx="3231">
                  <c:v>0</c:v>
                </c:pt>
                <c:pt idx="3232">
                  <c:v>0</c:v>
                </c:pt>
                <c:pt idx="3233">
                  <c:v>0</c:v>
                </c:pt>
                <c:pt idx="3234">
                  <c:v>0</c:v>
                </c:pt>
                <c:pt idx="3235">
                  <c:v>0</c:v>
                </c:pt>
                <c:pt idx="3236">
                  <c:v>0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0</c:v>
                </c:pt>
                <c:pt idx="3246">
                  <c:v>0</c:v>
                </c:pt>
                <c:pt idx="3247">
                  <c:v>0</c:v>
                </c:pt>
                <c:pt idx="3248">
                  <c:v>0</c:v>
                </c:pt>
                <c:pt idx="3249">
                  <c:v>0</c:v>
                </c:pt>
                <c:pt idx="3250">
                  <c:v>0</c:v>
                </c:pt>
                <c:pt idx="3251">
                  <c:v>0</c:v>
                </c:pt>
                <c:pt idx="3252">
                  <c:v>0</c:v>
                </c:pt>
                <c:pt idx="3253">
                  <c:v>0</c:v>
                </c:pt>
                <c:pt idx="3254">
                  <c:v>0</c:v>
                </c:pt>
                <c:pt idx="3255">
                  <c:v>0</c:v>
                </c:pt>
                <c:pt idx="3256">
                  <c:v>0</c:v>
                </c:pt>
                <c:pt idx="3257">
                  <c:v>0</c:v>
                </c:pt>
                <c:pt idx="3258">
                  <c:v>0</c:v>
                </c:pt>
                <c:pt idx="3259">
                  <c:v>0</c:v>
                </c:pt>
                <c:pt idx="3260">
                  <c:v>0</c:v>
                </c:pt>
                <c:pt idx="3261">
                  <c:v>0</c:v>
                </c:pt>
                <c:pt idx="3262">
                  <c:v>0</c:v>
                </c:pt>
                <c:pt idx="3263">
                  <c:v>0</c:v>
                </c:pt>
                <c:pt idx="3264">
                  <c:v>0</c:v>
                </c:pt>
                <c:pt idx="3265">
                  <c:v>0</c:v>
                </c:pt>
                <c:pt idx="3266">
                  <c:v>0</c:v>
                </c:pt>
                <c:pt idx="3267">
                  <c:v>0</c:v>
                </c:pt>
                <c:pt idx="3268">
                  <c:v>0</c:v>
                </c:pt>
                <c:pt idx="3269">
                  <c:v>0</c:v>
                </c:pt>
                <c:pt idx="3270">
                  <c:v>0</c:v>
                </c:pt>
                <c:pt idx="3271">
                  <c:v>0</c:v>
                </c:pt>
                <c:pt idx="3272">
                  <c:v>0</c:v>
                </c:pt>
                <c:pt idx="3273">
                  <c:v>0</c:v>
                </c:pt>
                <c:pt idx="3274">
                  <c:v>0</c:v>
                </c:pt>
                <c:pt idx="3275">
                  <c:v>0</c:v>
                </c:pt>
                <c:pt idx="3276">
                  <c:v>0</c:v>
                </c:pt>
                <c:pt idx="3277">
                  <c:v>0</c:v>
                </c:pt>
                <c:pt idx="3278">
                  <c:v>0</c:v>
                </c:pt>
                <c:pt idx="3279">
                  <c:v>0</c:v>
                </c:pt>
                <c:pt idx="3280">
                  <c:v>0</c:v>
                </c:pt>
                <c:pt idx="3281">
                  <c:v>0</c:v>
                </c:pt>
                <c:pt idx="3282">
                  <c:v>0</c:v>
                </c:pt>
                <c:pt idx="3283">
                  <c:v>0</c:v>
                </c:pt>
                <c:pt idx="3284">
                  <c:v>0</c:v>
                </c:pt>
                <c:pt idx="3285">
                  <c:v>0</c:v>
                </c:pt>
                <c:pt idx="3286">
                  <c:v>0</c:v>
                </c:pt>
                <c:pt idx="3287">
                  <c:v>0</c:v>
                </c:pt>
                <c:pt idx="3288">
                  <c:v>0</c:v>
                </c:pt>
                <c:pt idx="3289">
                  <c:v>0</c:v>
                </c:pt>
                <c:pt idx="3290">
                  <c:v>0</c:v>
                </c:pt>
                <c:pt idx="3291">
                  <c:v>0</c:v>
                </c:pt>
                <c:pt idx="3292">
                  <c:v>0</c:v>
                </c:pt>
                <c:pt idx="3293">
                  <c:v>0</c:v>
                </c:pt>
                <c:pt idx="3294">
                  <c:v>0</c:v>
                </c:pt>
                <c:pt idx="3295">
                  <c:v>0</c:v>
                </c:pt>
                <c:pt idx="3296">
                  <c:v>0</c:v>
                </c:pt>
                <c:pt idx="3297">
                  <c:v>0</c:v>
                </c:pt>
                <c:pt idx="3298">
                  <c:v>0</c:v>
                </c:pt>
                <c:pt idx="3299">
                  <c:v>0</c:v>
                </c:pt>
                <c:pt idx="3300">
                  <c:v>0</c:v>
                </c:pt>
                <c:pt idx="3301">
                  <c:v>0</c:v>
                </c:pt>
                <c:pt idx="3302">
                  <c:v>0</c:v>
                </c:pt>
                <c:pt idx="3303">
                  <c:v>0</c:v>
                </c:pt>
                <c:pt idx="3304">
                  <c:v>0</c:v>
                </c:pt>
                <c:pt idx="3305">
                  <c:v>0</c:v>
                </c:pt>
                <c:pt idx="3306">
                  <c:v>0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0</c:v>
                </c:pt>
                <c:pt idx="3311">
                  <c:v>0</c:v>
                </c:pt>
                <c:pt idx="3312">
                  <c:v>0</c:v>
                </c:pt>
                <c:pt idx="3313">
                  <c:v>0</c:v>
                </c:pt>
                <c:pt idx="3314">
                  <c:v>0</c:v>
                </c:pt>
                <c:pt idx="3315">
                  <c:v>0</c:v>
                </c:pt>
                <c:pt idx="3316">
                  <c:v>0</c:v>
                </c:pt>
                <c:pt idx="3317">
                  <c:v>0</c:v>
                </c:pt>
                <c:pt idx="3318">
                  <c:v>0</c:v>
                </c:pt>
                <c:pt idx="3319">
                  <c:v>0</c:v>
                </c:pt>
                <c:pt idx="3320">
                  <c:v>0</c:v>
                </c:pt>
                <c:pt idx="3321">
                  <c:v>0</c:v>
                </c:pt>
                <c:pt idx="3322">
                  <c:v>0</c:v>
                </c:pt>
                <c:pt idx="3323">
                  <c:v>0</c:v>
                </c:pt>
                <c:pt idx="3324">
                  <c:v>0</c:v>
                </c:pt>
                <c:pt idx="3325">
                  <c:v>0</c:v>
                </c:pt>
                <c:pt idx="3326">
                  <c:v>0</c:v>
                </c:pt>
                <c:pt idx="3327">
                  <c:v>0</c:v>
                </c:pt>
                <c:pt idx="3328">
                  <c:v>0</c:v>
                </c:pt>
                <c:pt idx="3329">
                  <c:v>0</c:v>
                </c:pt>
                <c:pt idx="3330">
                  <c:v>0</c:v>
                </c:pt>
                <c:pt idx="3331">
                  <c:v>0</c:v>
                </c:pt>
                <c:pt idx="3332">
                  <c:v>0</c:v>
                </c:pt>
                <c:pt idx="3333">
                  <c:v>0</c:v>
                </c:pt>
                <c:pt idx="3334">
                  <c:v>0</c:v>
                </c:pt>
                <c:pt idx="3335">
                  <c:v>0</c:v>
                </c:pt>
                <c:pt idx="3336">
                  <c:v>0</c:v>
                </c:pt>
                <c:pt idx="3337">
                  <c:v>0</c:v>
                </c:pt>
                <c:pt idx="3338">
                  <c:v>0</c:v>
                </c:pt>
                <c:pt idx="3339">
                  <c:v>0</c:v>
                </c:pt>
                <c:pt idx="3340">
                  <c:v>0</c:v>
                </c:pt>
                <c:pt idx="3341">
                  <c:v>0</c:v>
                </c:pt>
                <c:pt idx="3342">
                  <c:v>0</c:v>
                </c:pt>
                <c:pt idx="3343">
                  <c:v>0</c:v>
                </c:pt>
                <c:pt idx="3344">
                  <c:v>0</c:v>
                </c:pt>
                <c:pt idx="3345">
                  <c:v>0</c:v>
                </c:pt>
                <c:pt idx="3346">
                  <c:v>0</c:v>
                </c:pt>
                <c:pt idx="3347">
                  <c:v>0</c:v>
                </c:pt>
                <c:pt idx="3348">
                  <c:v>0</c:v>
                </c:pt>
                <c:pt idx="3349">
                  <c:v>0</c:v>
                </c:pt>
                <c:pt idx="3350">
                  <c:v>0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0</c:v>
                </c:pt>
                <c:pt idx="3356">
                  <c:v>0</c:v>
                </c:pt>
                <c:pt idx="3357">
                  <c:v>0</c:v>
                </c:pt>
                <c:pt idx="3358">
                  <c:v>0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0</c:v>
                </c:pt>
                <c:pt idx="3363">
                  <c:v>0</c:v>
                </c:pt>
                <c:pt idx="3364">
                  <c:v>0</c:v>
                </c:pt>
                <c:pt idx="3365">
                  <c:v>0</c:v>
                </c:pt>
                <c:pt idx="3366">
                  <c:v>0</c:v>
                </c:pt>
                <c:pt idx="3367">
                  <c:v>0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0</c:v>
                </c:pt>
                <c:pt idx="3373">
                  <c:v>0</c:v>
                </c:pt>
                <c:pt idx="3374">
                  <c:v>0</c:v>
                </c:pt>
                <c:pt idx="3375">
                  <c:v>0</c:v>
                </c:pt>
                <c:pt idx="3376">
                  <c:v>0</c:v>
                </c:pt>
                <c:pt idx="3377">
                  <c:v>0</c:v>
                </c:pt>
                <c:pt idx="3378">
                  <c:v>0</c:v>
                </c:pt>
                <c:pt idx="3379">
                  <c:v>0</c:v>
                </c:pt>
                <c:pt idx="3380">
                  <c:v>0</c:v>
                </c:pt>
                <c:pt idx="3381">
                  <c:v>0</c:v>
                </c:pt>
                <c:pt idx="3382">
                  <c:v>0</c:v>
                </c:pt>
                <c:pt idx="3383">
                  <c:v>0</c:v>
                </c:pt>
                <c:pt idx="3384">
                  <c:v>0</c:v>
                </c:pt>
                <c:pt idx="3385">
                  <c:v>0</c:v>
                </c:pt>
                <c:pt idx="3386">
                  <c:v>0</c:v>
                </c:pt>
                <c:pt idx="3387">
                  <c:v>0</c:v>
                </c:pt>
                <c:pt idx="3388">
                  <c:v>0</c:v>
                </c:pt>
                <c:pt idx="3389">
                  <c:v>0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0</c:v>
                </c:pt>
                <c:pt idx="3397">
                  <c:v>0</c:v>
                </c:pt>
                <c:pt idx="3398">
                  <c:v>0</c:v>
                </c:pt>
                <c:pt idx="3399">
                  <c:v>0</c:v>
                </c:pt>
                <c:pt idx="3400">
                  <c:v>0</c:v>
                </c:pt>
                <c:pt idx="3401">
                  <c:v>0</c:v>
                </c:pt>
                <c:pt idx="3402">
                  <c:v>0</c:v>
                </c:pt>
                <c:pt idx="3403">
                  <c:v>0</c:v>
                </c:pt>
                <c:pt idx="3404">
                  <c:v>0</c:v>
                </c:pt>
                <c:pt idx="3405">
                  <c:v>0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0</c:v>
                </c:pt>
                <c:pt idx="3411">
                  <c:v>0</c:v>
                </c:pt>
                <c:pt idx="3412">
                  <c:v>0</c:v>
                </c:pt>
                <c:pt idx="3413">
                  <c:v>0</c:v>
                </c:pt>
                <c:pt idx="3414">
                  <c:v>0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0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0</c:v>
                </c:pt>
                <c:pt idx="3427">
                  <c:v>0</c:v>
                </c:pt>
                <c:pt idx="3428">
                  <c:v>0</c:v>
                </c:pt>
                <c:pt idx="3429">
                  <c:v>0</c:v>
                </c:pt>
                <c:pt idx="3430">
                  <c:v>0</c:v>
                </c:pt>
                <c:pt idx="3431">
                  <c:v>0</c:v>
                </c:pt>
                <c:pt idx="3432">
                  <c:v>0</c:v>
                </c:pt>
                <c:pt idx="3433">
                  <c:v>0</c:v>
                </c:pt>
                <c:pt idx="3434">
                  <c:v>0</c:v>
                </c:pt>
                <c:pt idx="3435">
                  <c:v>0</c:v>
                </c:pt>
                <c:pt idx="3436">
                  <c:v>0</c:v>
                </c:pt>
                <c:pt idx="3437">
                  <c:v>0</c:v>
                </c:pt>
                <c:pt idx="3438">
                  <c:v>0</c:v>
                </c:pt>
                <c:pt idx="3439">
                  <c:v>0</c:v>
                </c:pt>
                <c:pt idx="3440">
                  <c:v>0</c:v>
                </c:pt>
                <c:pt idx="3441">
                  <c:v>0</c:v>
                </c:pt>
                <c:pt idx="3442">
                  <c:v>0</c:v>
                </c:pt>
                <c:pt idx="3443">
                  <c:v>0</c:v>
                </c:pt>
                <c:pt idx="3444">
                  <c:v>0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0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0</c:v>
                </c:pt>
                <c:pt idx="3460">
                  <c:v>0</c:v>
                </c:pt>
                <c:pt idx="3461">
                  <c:v>0</c:v>
                </c:pt>
                <c:pt idx="3462">
                  <c:v>0</c:v>
                </c:pt>
                <c:pt idx="3463">
                  <c:v>0</c:v>
                </c:pt>
                <c:pt idx="3464">
                  <c:v>0</c:v>
                </c:pt>
                <c:pt idx="3465">
                  <c:v>0</c:v>
                </c:pt>
                <c:pt idx="3466">
                  <c:v>0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0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0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0</c:v>
                </c:pt>
                <c:pt idx="3753">
                  <c:v>0</c:v>
                </c:pt>
                <c:pt idx="3754">
                  <c:v>0</c:v>
                </c:pt>
                <c:pt idx="3755">
                  <c:v>0</c:v>
                </c:pt>
                <c:pt idx="3756">
                  <c:v>0</c:v>
                </c:pt>
                <c:pt idx="3757">
                  <c:v>0</c:v>
                </c:pt>
                <c:pt idx="3758">
                  <c:v>0</c:v>
                </c:pt>
                <c:pt idx="3759">
                  <c:v>0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0</c:v>
                </c:pt>
                <c:pt idx="3781">
                  <c:v>0</c:v>
                </c:pt>
                <c:pt idx="3782">
                  <c:v>0</c:v>
                </c:pt>
                <c:pt idx="3783">
                  <c:v>0</c:v>
                </c:pt>
                <c:pt idx="3784">
                  <c:v>0</c:v>
                </c:pt>
                <c:pt idx="3785">
                  <c:v>0</c:v>
                </c:pt>
                <c:pt idx="3786">
                  <c:v>0</c:v>
                </c:pt>
                <c:pt idx="3787">
                  <c:v>0</c:v>
                </c:pt>
                <c:pt idx="3788">
                  <c:v>0</c:v>
                </c:pt>
                <c:pt idx="3789">
                  <c:v>0</c:v>
                </c:pt>
                <c:pt idx="3790">
                  <c:v>0</c:v>
                </c:pt>
                <c:pt idx="3791">
                  <c:v>0</c:v>
                </c:pt>
                <c:pt idx="3792">
                  <c:v>0</c:v>
                </c:pt>
                <c:pt idx="3793">
                  <c:v>0</c:v>
                </c:pt>
                <c:pt idx="3794">
                  <c:v>0</c:v>
                </c:pt>
                <c:pt idx="3795">
                  <c:v>0</c:v>
                </c:pt>
                <c:pt idx="3796">
                  <c:v>0</c:v>
                </c:pt>
                <c:pt idx="3797">
                  <c:v>0</c:v>
                </c:pt>
                <c:pt idx="3798">
                  <c:v>0</c:v>
                </c:pt>
                <c:pt idx="3799">
                  <c:v>0</c:v>
                </c:pt>
                <c:pt idx="3800">
                  <c:v>0</c:v>
                </c:pt>
                <c:pt idx="3801">
                  <c:v>0</c:v>
                </c:pt>
                <c:pt idx="3802">
                  <c:v>0</c:v>
                </c:pt>
                <c:pt idx="3803">
                  <c:v>0</c:v>
                </c:pt>
                <c:pt idx="3804">
                  <c:v>0</c:v>
                </c:pt>
                <c:pt idx="3805">
                  <c:v>0</c:v>
                </c:pt>
                <c:pt idx="3806">
                  <c:v>0</c:v>
                </c:pt>
                <c:pt idx="3807">
                  <c:v>0</c:v>
                </c:pt>
                <c:pt idx="3808">
                  <c:v>0</c:v>
                </c:pt>
                <c:pt idx="3809">
                  <c:v>0</c:v>
                </c:pt>
                <c:pt idx="3810">
                  <c:v>0</c:v>
                </c:pt>
                <c:pt idx="3811">
                  <c:v>0</c:v>
                </c:pt>
                <c:pt idx="3812">
                  <c:v>0</c:v>
                </c:pt>
                <c:pt idx="3813">
                  <c:v>0</c:v>
                </c:pt>
                <c:pt idx="3814">
                  <c:v>0</c:v>
                </c:pt>
                <c:pt idx="3815">
                  <c:v>0</c:v>
                </c:pt>
                <c:pt idx="3816">
                  <c:v>0</c:v>
                </c:pt>
                <c:pt idx="3817">
                  <c:v>0</c:v>
                </c:pt>
                <c:pt idx="3818">
                  <c:v>0</c:v>
                </c:pt>
                <c:pt idx="3819">
                  <c:v>0</c:v>
                </c:pt>
                <c:pt idx="3820">
                  <c:v>0</c:v>
                </c:pt>
                <c:pt idx="3821">
                  <c:v>0</c:v>
                </c:pt>
                <c:pt idx="3822">
                  <c:v>0</c:v>
                </c:pt>
                <c:pt idx="3823">
                  <c:v>0</c:v>
                </c:pt>
                <c:pt idx="3824">
                  <c:v>0</c:v>
                </c:pt>
                <c:pt idx="3825">
                  <c:v>0</c:v>
                </c:pt>
                <c:pt idx="3826">
                  <c:v>0</c:v>
                </c:pt>
                <c:pt idx="3827">
                  <c:v>0</c:v>
                </c:pt>
                <c:pt idx="3828">
                  <c:v>0</c:v>
                </c:pt>
                <c:pt idx="3829">
                  <c:v>0</c:v>
                </c:pt>
                <c:pt idx="3830">
                  <c:v>0</c:v>
                </c:pt>
                <c:pt idx="3831">
                  <c:v>0</c:v>
                </c:pt>
                <c:pt idx="3832">
                  <c:v>0</c:v>
                </c:pt>
                <c:pt idx="3833">
                  <c:v>0</c:v>
                </c:pt>
                <c:pt idx="3834">
                  <c:v>0</c:v>
                </c:pt>
                <c:pt idx="3835">
                  <c:v>0</c:v>
                </c:pt>
                <c:pt idx="3836">
                  <c:v>0</c:v>
                </c:pt>
                <c:pt idx="3837">
                  <c:v>0</c:v>
                </c:pt>
                <c:pt idx="3838">
                  <c:v>0</c:v>
                </c:pt>
                <c:pt idx="3839">
                  <c:v>0</c:v>
                </c:pt>
                <c:pt idx="3840">
                  <c:v>0</c:v>
                </c:pt>
                <c:pt idx="3841">
                  <c:v>0</c:v>
                </c:pt>
                <c:pt idx="3842">
                  <c:v>0</c:v>
                </c:pt>
                <c:pt idx="3843">
                  <c:v>0</c:v>
                </c:pt>
                <c:pt idx="3844">
                  <c:v>0</c:v>
                </c:pt>
                <c:pt idx="3845">
                  <c:v>0</c:v>
                </c:pt>
                <c:pt idx="3846">
                  <c:v>0</c:v>
                </c:pt>
                <c:pt idx="3847">
                  <c:v>0</c:v>
                </c:pt>
                <c:pt idx="3848">
                  <c:v>0</c:v>
                </c:pt>
                <c:pt idx="3849">
                  <c:v>0</c:v>
                </c:pt>
                <c:pt idx="3850">
                  <c:v>0</c:v>
                </c:pt>
                <c:pt idx="3851">
                  <c:v>0</c:v>
                </c:pt>
                <c:pt idx="3852">
                  <c:v>0</c:v>
                </c:pt>
                <c:pt idx="3853">
                  <c:v>0</c:v>
                </c:pt>
                <c:pt idx="3854">
                  <c:v>0</c:v>
                </c:pt>
                <c:pt idx="3855">
                  <c:v>0</c:v>
                </c:pt>
                <c:pt idx="3856">
                  <c:v>0</c:v>
                </c:pt>
                <c:pt idx="3857">
                  <c:v>0</c:v>
                </c:pt>
                <c:pt idx="3858">
                  <c:v>0</c:v>
                </c:pt>
                <c:pt idx="3859">
                  <c:v>0</c:v>
                </c:pt>
                <c:pt idx="3860">
                  <c:v>0</c:v>
                </c:pt>
                <c:pt idx="3861">
                  <c:v>0</c:v>
                </c:pt>
                <c:pt idx="3862">
                  <c:v>0</c:v>
                </c:pt>
                <c:pt idx="3863">
                  <c:v>0</c:v>
                </c:pt>
                <c:pt idx="3864">
                  <c:v>0</c:v>
                </c:pt>
                <c:pt idx="3865">
                  <c:v>0</c:v>
                </c:pt>
                <c:pt idx="3866">
                  <c:v>0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0</c:v>
                </c:pt>
                <c:pt idx="3871">
                  <c:v>0</c:v>
                </c:pt>
                <c:pt idx="3872">
                  <c:v>0</c:v>
                </c:pt>
                <c:pt idx="3873">
                  <c:v>0</c:v>
                </c:pt>
                <c:pt idx="3874">
                  <c:v>0</c:v>
                </c:pt>
                <c:pt idx="3875">
                  <c:v>0</c:v>
                </c:pt>
                <c:pt idx="3876">
                  <c:v>0</c:v>
                </c:pt>
                <c:pt idx="3877">
                  <c:v>0</c:v>
                </c:pt>
                <c:pt idx="3878">
                  <c:v>0</c:v>
                </c:pt>
                <c:pt idx="3879">
                  <c:v>0</c:v>
                </c:pt>
                <c:pt idx="3880">
                  <c:v>0</c:v>
                </c:pt>
                <c:pt idx="3881">
                  <c:v>0</c:v>
                </c:pt>
                <c:pt idx="3882">
                  <c:v>0</c:v>
                </c:pt>
                <c:pt idx="3883">
                  <c:v>0</c:v>
                </c:pt>
                <c:pt idx="3884">
                  <c:v>0</c:v>
                </c:pt>
                <c:pt idx="3885">
                  <c:v>0</c:v>
                </c:pt>
                <c:pt idx="3886">
                  <c:v>0</c:v>
                </c:pt>
                <c:pt idx="3887">
                  <c:v>0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0</c:v>
                </c:pt>
                <c:pt idx="3892">
                  <c:v>0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0</c:v>
                </c:pt>
                <c:pt idx="3903">
                  <c:v>0</c:v>
                </c:pt>
                <c:pt idx="3904">
                  <c:v>0</c:v>
                </c:pt>
                <c:pt idx="3905">
                  <c:v>0</c:v>
                </c:pt>
                <c:pt idx="3906">
                  <c:v>0</c:v>
                </c:pt>
                <c:pt idx="3907">
                  <c:v>0</c:v>
                </c:pt>
                <c:pt idx="3908">
                  <c:v>0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0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0</c:v>
                </c:pt>
                <c:pt idx="3918">
                  <c:v>0</c:v>
                </c:pt>
                <c:pt idx="3919">
                  <c:v>0</c:v>
                </c:pt>
                <c:pt idx="3920">
                  <c:v>0</c:v>
                </c:pt>
                <c:pt idx="3921">
                  <c:v>0</c:v>
                </c:pt>
                <c:pt idx="3922">
                  <c:v>0</c:v>
                </c:pt>
                <c:pt idx="3923">
                  <c:v>0</c:v>
                </c:pt>
                <c:pt idx="3924">
                  <c:v>0</c:v>
                </c:pt>
                <c:pt idx="3925">
                  <c:v>0</c:v>
                </c:pt>
                <c:pt idx="3926">
                  <c:v>0</c:v>
                </c:pt>
                <c:pt idx="3927">
                  <c:v>0</c:v>
                </c:pt>
                <c:pt idx="3928">
                  <c:v>0</c:v>
                </c:pt>
                <c:pt idx="3929">
                  <c:v>0</c:v>
                </c:pt>
                <c:pt idx="3930">
                  <c:v>0</c:v>
                </c:pt>
                <c:pt idx="3931">
                  <c:v>0</c:v>
                </c:pt>
                <c:pt idx="3932">
                  <c:v>0</c:v>
                </c:pt>
                <c:pt idx="3933">
                  <c:v>0</c:v>
                </c:pt>
                <c:pt idx="3934">
                  <c:v>0</c:v>
                </c:pt>
                <c:pt idx="3935">
                  <c:v>0</c:v>
                </c:pt>
                <c:pt idx="3936">
                  <c:v>0</c:v>
                </c:pt>
                <c:pt idx="3937">
                  <c:v>0</c:v>
                </c:pt>
                <c:pt idx="3938">
                  <c:v>0</c:v>
                </c:pt>
                <c:pt idx="3939">
                  <c:v>0</c:v>
                </c:pt>
                <c:pt idx="3940">
                  <c:v>0</c:v>
                </c:pt>
                <c:pt idx="3941">
                  <c:v>0</c:v>
                </c:pt>
                <c:pt idx="3942">
                  <c:v>0</c:v>
                </c:pt>
                <c:pt idx="3943">
                  <c:v>0</c:v>
                </c:pt>
                <c:pt idx="3944">
                  <c:v>0</c:v>
                </c:pt>
                <c:pt idx="3945">
                  <c:v>0</c:v>
                </c:pt>
                <c:pt idx="3946">
                  <c:v>0</c:v>
                </c:pt>
                <c:pt idx="3947">
                  <c:v>0</c:v>
                </c:pt>
                <c:pt idx="3948">
                  <c:v>0</c:v>
                </c:pt>
                <c:pt idx="3949">
                  <c:v>0</c:v>
                </c:pt>
                <c:pt idx="3950">
                  <c:v>0</c:v>
                </c:pt>
                <c:pt idx="3951">
                  <c:v>0</c:v>
                </c:pt>
                <c:pt idx="3952">
                  <c:v>0</c:v>
                </c:pt>
                <c:pt idx="3953">
                  <c:v>0</c:v>
                </c:pt>
                <c:pt idx="3954">
                  <c:v>0</c:v>
                </c:pt>
                <c:pt idx="3955">
                  <c:v>0</c:v>
                </c:pt>
                <c:pt idx="3956">
                  <c:v>0</c:v>
                </c:pt>
                <c:pt idx="3957">
                  <c:v>0</c:v>
                </c:pt>
                <c:pt idx="3958">
                  <c:v>0</c:v>
                </c:pt>
                <c:pt idx="3959">
                  <c:v>0</c:v>
                </c:pt>
                <c:pt idx="3960">
                  <c:v>0</c:v>
                </c:pt>
                <c:pt idx="3961">
                  <c:v>0</c:v>
                </c:pt>
                <c:pt idx="3962">
                  <c:v>0</c:v>
                </c:pt>
                <c:pt idx="3963">
                  <c:v>0</c:v>
                </c:pt>
                <c:pt idx="3964">
                  <c:v>0</c:v>
                </c:pt>
                <c:pt idx="3965">
                  <c:v>0</c:v>
                </c:pt>
                <c:pt idx="3966">
                  <c:v>0</c:v>
                </c:pt>
                <c:pt idx="3967">
                  <c:v>0</c:v>
                </c:pt>
                <c:pt idx="3968">
                  <c:v>0</c:v>
                </c:pt>
                <c:pt idx="3969">
                  <c:v>0</c:v>
                </c:pt>
                <c:pt idx="3970">
                  <c:v>0</c:v>
                </c:pt>
                <c:pt idx="3971">
                  <c:v>0</c:v>
                </c:pt>
                <c:pt idx="3972">
                  <c:v>0</c:v>
                </c:pt>
                <c:pt idx="3973">
                  <c:v>0</c:v>
                </c:pt>
                <c:pt idx="3974">
                  <c:v>0</c:v>
                </c:pt>
                <c:pt idx="3975">
                  <c:v>0</c:v>
                </c:pt>
                <c:pt idx="3976">
                  <c:v>0</c:v>
                </c:pt>
                <c:pt idx="3977">
                  <c:v>0</c:v>
                </c:pt>
                <c:pt idx="3978">
                  <c:v>0</c:v>
                </c:pt>
                <c:pt idx="3979">
                  <c:v>0</c:v>
                </c:pt>
                <c:pt idx="3980">
                  <c:v>0</c:v>
                </c:pt>
                <c:pt idx="3981">
                  <c:v>0</c:v>
                </c:pt>
                <c:pt idx="3982">
                  <c:v>0</c:v>
                </c:pt>
                <c:pt idx="3983">
                  <c:v>0</c:v>
                </c:pt>
                <c:pt idx="3984">
                  <c:v>0</c:v>
                </c:pt>
                <c:pt idx="3985">
                  <c:v>0</c:v>
                </c:pt>
                <c:pt idx="3986">
                  <c:v>0</c:v>
                </c:pt>
                <c:pt idx="3987">
                  <c:v>0</c:v>
                </c:pt>
                <c:pt idx="3988">
                  <c:v>0</c:v>
                </c:pt>
                <c:pt idx="3989">
                  <c:v>0</c:v>
                </c:pt>
                <c:pt idx="3990">
                  <c:v>0</c:v>
                </c:pt>
                <c:pt idx="3991">
                  <c:v>0</c:v>
                </c:pt>
                <c:pt idx="3992">
                  <c:v>0</c:v>
                </c:pt>
                <c:pt idx="3993">
                  <c:v>0</c:v>
                </c:pt>
                <c:pt idx="3994">
                  <c:v>0</c:v>
                </c:pt>
                <c:pt idx="3995">
                  <c:v>0</c:v>
                </c:pt>
                <c:pt idx="3996">
                  <c:v>0</c:v>
                </c:pt>
                <c:pt idx="3997">
                  <c:v>0</c:v>
                </c:pt>
                <c:pt idx="3998">
                  <c:v>0</c:v>
                </c:pt>
                <c:pt idx="3999">
                  <c:v>0</c:v>
                </c:pt>
                <c:pt idx="4000">
                  <c:v>0</c:v>
                </c:pt>
                <c:pt idx="4001">
                  <c:v>0</c:v>
                </c:pt>
                <c:pt idx="4002">
                  <c:v>0</c:v>
                </c:pt>
                <c:pt idx="4003">
                  <c:v>0</c:v>
                </c:pt>
                <c:pt idx="4004">
                  <c:v>0</c:v>
                </c:pt>
                <c:pt idx="4005">
                  <c:v>0</c:v>
                </c:pt>
                <c:pt idx="4006">
                  <c:v>0</c:v>
                </c:pt>
                <c:pt idx="4007">
                  <c:v>0</c:v>
                </c:pt>
                <c:pt idx="4008">
                  <c:v>0</c:v>
                </c:pt>
                <c:pt idx="4009">
                  <c:v>0</c:v>
                </c:pt>
                <c:pt idx="4010">
                  <c:v>0</c:v>
                </c:pt>
                <c:pt idx="4011">
                  <c:v>0</c:v>
                </c:pt>
                <c:pt idx="4012">
                  <c:v>0</c:v>
                </c:pt>
                <c:pt idx="4013">
                  <c:v>0</c:v>
                </c:pt>
                <c:pt idx="4014">
                  <c:v>0</c:v>
                </c:pt>
                <c:pt idx="4015">
                  <c:v>0</c:v>
                </c:pt>
                <c:pt idx="4016">
                  <c:v>0</c:v>
                </c:pt>
                <c:pt idx="4017">
                  <c:v>0</c:v>
                </c:pt>
                <c:pt idx="4018">
                  <c:v>0</c:v>
                </c:pt>
                <c:pt idx="4019">
                  <c:v>0</c:v>
                </c:pt>
                <c:pt idx="4020">
                  <c:v>0</c:v>
                </c:pt>
                <c:pt idx="4021">
                  <c:v>0</c:v>
                </c:pt>
                <c:pt idx="4022">
                  <c:v>0</c:v>
                </c:pt>
                <c:pt idx="4023">
                  <c:v>0</c:v>
                </c:pt>
                <c:pt idx="4024">
                  <c:v>0</c:v>
                </c:pt>
                <c:pt idx="4025">
                  <c:v>0</c:v>
                </c:pt>
                <c:pt idx="4026">
                  <c:v>0</c:v>
                </c:pt>
                <c:pt idx="4027">
                  <c:v>0</c:v>
                </c:pt>
                <c:pt idx="4028">
                  <c:v>0</c:v>
                </c:pt>
                <c:pt idx="4029">
                  <c:v>0</c:v>
                </c:pt>
                <c:pt idx="4030">
                  <c:v>0</c:v>
                </c:pt>
                <c:pt idx="4031">
                  <c:v>0</c:v>
                </c:pt>
                <c:pt idx="4032">
                  <c:v>0</c:v>
                </c:pt>
                <c:pt idx="4033">
                  <c:v>0</c:v>
                </c:pt>
                <c:pt idx="4034">
                  <c:v>0</c:v>
                </c:pt>
                <c:pt idx="4035">
                  <c:v>0</c:v>
                </c:pt>
                <c:pt idx="4036">
                  <c:v>0</c:v>
                </c:pt>
                <c:pt idx="4037">
                  <c:v>0</c:v>
                </c:pt>
                <c:pt idx="4038">
                  <c:v>0</c:v>
                </c:pt>
                <c:pt idx="4039">
                  <c:v>0</c:v>
                </c:pt>
                <c:pt idx="4040">
                  <c:v>0</c:v>
                </c:pt>
                <c:pt idx="4041">
                  <c:v>0</c:v>
                </c:pt>
                <c:pt idx="4042">
                  <c:v>0</c:v>
                </c:pt>
                <c:pt idx="4043">
                  <c:v>0</c:v>
                </c:pt>
                <c:pt idx="4044">
                  <c:v>0</c:v>
                </c:pt>
                <c:pt idx="4045">
                  <c:v>0</c:v>
                </c:pt>
                <c:pt idx="4046">
                  <c:v>0</c:v>
                </c:pt>
                <c:pt idx="4047">
                  <c:v>0</c:v>
                </c:pt>
                <c:pt idx="4048">
                  <c:v>0</c:v>
                </c:pt>
                <c:pt idx="4049">
                  <c:v>0</c:v>
                </c:pt>
                <c:pt idx="4050">
                  <c:v>0</c:v>
                </c:pt>
                <c:pt idx="4051">
                  <c:v>0</c:v>
                </c:pt>
                <c:pt idx="4052">
                  <c:v>0</c:v>
                </c:pt>
                <c:pt idx="4053">
                  <c:v>0</c:v>
                </c:pt>
                <c:pt idx="4054">
                  <c:v>0</c:v>
                </c:pt>
                <c:pt idx="4055">
                  <c:v>0</c:v>
                </c:pt>
                <c:pt idx="4056">
                  <c:v>0</c:v>
                </c:pt>
                <c:pt idx="4057">
                  <c:v>0</c:v>
                </c:pt>
                <c:pt idx="4058">
                  <c:v>0</c:v>
                </c:pt>
                <c:pt idx="4059">
                  <c:v>0</c:v>
                </c:pt>
                <c:pt idx="4060">
                  <c:v>0</c:v>
                </c:pt>
                <c:pt idx="4061">
                  <c:v>0</c:v>
                </c:pt>
                <c:pt idx="4062">
                  <c:v>0</c:v>
                </c:pt>
                <c:pt idx="4063">
                  <c:v>0</c:v>
                </c:pt>
                <c:pt idx="4064">
                  <c:v>0</c:v>
                </c:pt>
                <c:pt idx="4065">
                  <c:v>0</c:v>
                </c:pt>
                <c:pt idx="4066">
                  <c:v>0</c:v>
                </c:pt>
                <c:pt idx="4067">
                  <c:v>0</c:v>
                </c:pt>
                <c:pt idx="4068">
                  <c:v>0</c:v>
                </c:pt>
                <c:pt idx="4069">
                  <c:v>0</c:v>
                </c:pt>
                <c:pt idx="4070">
                  <c:v>0</c:v>
                </c:pt>
                <c:pt idx="4071">
                  <c:v>0</c:v>
                </c:pt>
                <c:pt idx="4072">
                  <c:v>0</c:v>
                </c:pt>
                <c:pt idx="4073">
                  <c:v>0</c:v>
                </c:pt>
                <c:pt idx="4074">
                  <c:v>0</c:v>
                </c:pt>
                <c:pt idx="4075">
                  <c:v>0</c:v>
                </c:pt>
                <c:pt idx="4076">
                  <c:v>0</c:v>
                </c:pt>
                <c:pt idx="4077">
                  <c:v>0</c:v>
                </c:pt>
                <c:pt idx="4078">
                  <c:v>0</c:v>
                </c:pt>
                <c:pt idx="4079">
                  <c:v>0</c:v>
                </c:pt>
                <c:pt idx="4080">
                  <c:v>0</c:v>
                </c:pt>
                <c:pt idx="4081">
                  <c:v>0</c:v>
                </c:pt>
                <c:pt idx="4082">
                  <c:v>0</c:v>
                </c:pt>
                <c:pt idx="4083">
                  <c:v>0</c:v>
                </c:pt>
                <c:pt idx="4084">
                  <c:v>0</c:v>
                </c:pt>
                <c:pt idx="4085">
                  <c:v>0</c:v>
                </c:pt>
                <c:pt idx="4086">
                  <c:v>0</c:v>
                </c:pt>
                <c:pt idx="4087">
                  <c:v>0</c:v>
                </c:pt>
                <c:pt idx="4088">
                  <c:v>0</c:v>
                </c:pt>
                <c:pt idx="4089">
                  <c:v>0</c:v>
                </c:pt>
                <c:pt idx="4090">
                  <c:v>0</c:v>
                </c:pt>
                <c:pt idx="4091">
                  <c:v>0</c:v>
                </c:pt>
                <c:pt idx="4092">
                  <c:v>0</c:v>
                </c:pt>
                <c:pt idx="4093">
                  <c:v>0</c:v>
                </c:pt>
                <c:pt idx="4094">
                  <c:v>0</c:v>
                </c:pt>
                <c:pt idx="4095">
                  <c:v>0</c:v>
                </c:pt>
                <c:pt idx="4096">
                  <c:v>0</c:v>
                </c:pt>
                <c:pt idx="4097">
                  <c:v>0</c:v>
                </c:pt>
                <c:pt idx="4098">
                  <c:v>0</c:v>
                </c:pt>
                <c:pt idx="4099">
                  <c:v>0</c:v>
                </c:pt>
                <c:pt idx="4100">
                  <c:v>0</c:v>
                </c:pt>
                <c:pt idx="4101">
                  <c:v>0</c:v>
                </c:pt>
                <c:pt idx="4102">
                  <c:v>0</c:v>
                </c:pt>
                <c:pt idx="4103">
                  <c:v>0</c:v>
                </c:pt>
                <c:pt idx="4104">
                  <c:v>0</c:v>
                </c:pt>
                <c:pt idx="4105">
                  <c:v>0</c:v>
                </c:pt>
                <c:pt idx="4106">
                  <c:v>0</c:v>
                </c:pt>
                <c:pt idx="4107">
                  <c:v>0</c:v>
                </c:pt>
                <c:pt idx="4108">
                  <c:v>0</c:v>
                </c:pt>
                <c:pt idx="4109">
                  <c:v>0</c:v>
                </c:pt>
                <c:pt idx="4110">
                  <c:v>0</c:v>
                </c:pt>
                <c:pt idx="4111">
                  <c:v>0</c:v>
                </c:pt>
                <c:pt idx="4112">
                  <c:v>0</c:v>
                </c:pt>
                <c:pt idx="4113">
                  <c:v>0</c:v>
                </c:pt>
                <c:pt idx="4114">
                  <c:v>0</c:v>
                </c:pt>
                <c:pt idx="4115">
                  <c:v>0</c:v>
                </c:pt>
                <c:pt idx="4116">
                  <c:v>0</c:v>
                </c:pt>
                <c:pt idx="4117">
                  <c:v>0</c:v>
                </c:pt>
                <c:pt idx="4118">
                  <c:v>0</c:v>
                </c:pt>
                <c:pt idx="4119">
                  <c:v>0</c:v>
                </c:pt>
                <c:pt idx="4120">
                  <c:v>0</c:v>
                </c:pt>
                <c:pt idx="4121">
                  <c:v>0</c:v>
                </c:pt>
                <c:pt idx="4122">
                  <c:v>0</c:v>
                </c:pt>
                <c:pt idx="4123">
                  <c:v>0</c:v>
                </c:pt>
                <c:pt idx="4124">
                  <c:v>0</c:v>
                </c:pt>
                <c:pt idx="4125">
                  <c:v>0</c:v>
                </c:pt>
                <c:pt idx="4126">
                  <c:v>0</c:v>
                </c:pt>
                <c:pt idx="4127">
                  <c:v>0</c:v>
                </c:pt>
                <c:pt idx="4128">
                  <c:v>0</c:v>
                </c:pt>
                <c:pt idx="4129">
                  <c:v>0</c:v>
                </c:pt>
                <c:pt idx="4130">
                  <c:v>0</c:v>
                </c:pt>
                <c:pt idx="4131">
                  <c:v>0</c:v>
                </c:pt>
                <c:pt idx="4132">
                  <c:v>0</c:v>
                </c:pt>
                <c:pt idx="4133">
                  <c:v>0</c:v>
                </c:pt>
                <c:pt idx="4134">
                  <c:v>0</c:v>
                </c:pt>
                <c:pt idx="4135">
                  <c:v>0</c:v>
                </c:pt>
                <c:pt idx="4136">
                  <c:v>0</c:v>
                </c:pt>
                <c:pt idx="4137">
                  <c:v>0</c:v>
                </c:pt>
                <c:pt idx="4138">
                  <c:v>0</c:v>
                </c:pt>
                <c:pt idx="4139">
                  <c:v>0</c:v>
                </c:pt>
                <c:pt idx="4140">
                  <c:v>0</c:v>
                </c:pt>
                <c:pt idx="4141">
                  <c:v>0</c:v>
                </c:pt>
                <c:pt idx="4142">
                  <c:v>0</c:v>
                </c:pt>
                <c:pt idx="4143">
                  <c:v>0</c:v>
                </c:pt>
                <c:pt idx="4144">
                  <c:v>0</c:v>
                </c:pt>
                <c:pt idx="4145">
                  <c:v>0</c:v>
                </c:pt>
                <c:pt idx="4146">
                  <c:v>0</c:v>
                </c:pt>
                <c:pt idx="4147">
                  <c:v>0</c:v>
                </c:pt>
                <c:pt idx="4148">
                  <c:v>0</c:v>
                </c:pt>
                <c:pt idx="4149">
                  <c:v>0</c:v>
                </c:pt>
                <c:pt idx="4150">
                  <c:v>0</c:v>
                </c:pt>
                <c:pt idx="4151">
                  <c:v>0</c:v>
                </c:pt>
                <c:pt idx="4152">
                  <c:v>0</c:v>
                </c:pt>
                <c:pt idx="4153">
                  <c:v>0</c:v>
                </c:pt>
                <c:pt idx="4154">
                  <c:v>0</c:v>
                </c:pt>
                <c:pt idx="4155">
                  <c:v>0</c:v>
                </c:pt>
                <c:pt idx="4156">
                  <c:v>0</c:v>
                </c:pt>
                <c:pt idx="4157">
                  <c:v>0</c:v>
                </c:pt>
                <c:pt idx="4158">
                  <c:v>0</c:v>
                </c:pt>
                <c:pt idx="4159">
                  <c:v>0</c:v>
                </c:pt>
                <c:pt idx="4160">
                  <c:v>0</c:v>
                </c:pt>
                <c:pt idx="4161">
                  <c:v>0</c:v>
                </c:pt>
                <c:pt idx="4162">
                  <c:v>0</c:v>
                </c:pt>
                <c:pt idx="4163">
                  <c:v>0</c:v>
                </c:pt>
                <c:pt idx="4164">
                  <c:v>0</c:v>
                </c:pt>
                <c:pt idx="4165">
                  <c:v>0</c:v>
                </c:pt>
                <c:pt idx="4166">
                  <c:v>0</c:v>
                </c:pt>
                <c:pt idx="4167">
                  <c:v>0</c:v>
                </c:pt>
                <c:pt idx="4168">
                  <c:v>0</c:v>
                </c:pt>
                <c:pt idx="4169">
                  <c:v>0</c:v>
                </c:pt>
                <c:pt idx="4170">
                  <c:v>0</c:v>
                </c:pt>
                <c:pt idx="4171">
                  <c:v>0</c:v>
                </c:pt>
                <c:pt idx="4172">
                  <c:v>0</c:v>
                </c:pt>
                <c:pt idx="4173">
                  <c:v>0</c:v>
                </c:pt>
                <c:pt idx="4174">
                  <c:v>0</c:v>
                </c:pt>
                <c:pt idx="4175">
                  <c:v>0</c:v>
                </c:pt>
                <c:pt idx="4176">
                  <c:v>0</c:v>
                </c:pt>
                <c:pt idx="4177">
                  <c:v>0</c:v>
                </c:pt>
                <c:pt idx="4178">
                  <c:v>0</c:v>
                </c:pt>
                <c:pt idx="4179">
                  <c:v>0</c:v>
                </c:pt>
                <c:pt idx="4180">
                  <c:v>0</c:v>
                </c:pt>
                <c:pt idx="4181">
                  <c:v>0</c:v>
                </c:pt>
                <c:pt idx="4182">
                  <c:v>0</c:v>
                </c:pt>
                <c:pt idx="4183">
                  <c:v>0</c:v>
                </c:pt>
                <c:pt idx="4184">
                  <c:v>0</c:v>
                </c:pt>
                <c:pt idx="4185">
                  <c:v>0</c:v>
                </c:pt>
                <c:pt idx="4186">
                  <c:v>0</c:v>
                </c:pt>
                <c:pt idx="4187">
                  <c:v>0</c:v>
                </c:pt>
                <c:pt idx="4188">
                  <c:v>0</c:v>
                </c:pt>
                <c:pt idx="4189">
                  <c:v>0</c:v>
                </c:pt>
                <c:pt idx="4190">
                  <c:v>0</c:v>
                </c:pt>
                <c:pt idx="4191">
                  <c:v>0</c:v>
                </c:pt>
                <c:pt idx="4192">
                  <c:v>0</c:v>
                </c:pt>
                <c:pt idx="4193">
                  <c:v>0</c:v>
                </c:pt>
                <c:pt idx="4194">
                  <c:v>0</c:v>
                </c:pt>
                <c:pt idx="4195">
                  <c:v>0</c:v>
                </c:pt>
                <c:pt idx="4196">
                  <c:v>0</c:v>
                </c:pt>
                <c:pt idx="4197">
                  <c:v>0</c:v>
                </c:pt>
                <c:pt idx="4198">
                  <c:v>0</c:v>
                </c:pt>
                <c:pt idx="4199">
                  <c:v>0</c:v>
                </c:pt>
                <c:pt idx="4200">
                  <c:v>0</c:v>
                </c:pt>
                <c:pt idx="4201">
                  <c:v>0</c:v>
                </c:pt>
                <c:pt idx="4202">
                  <c:v>0</c:v>
                </c:pt>
                <c:pt idx="4203">
                  <c:v>0</c:v>
                </c:pt>
                <c:pt idx="4204">
                  <c:v>0</c:v>
                </c:pt>
                <c:pt idx="4205">
                  <c:v>0</c:v>
                </c:pt>
                <c:pt idx="4206">
                  <c:v>0</c:v>
                </c:pt>
                <c:pt idx="4207">
                  <c:v>0</c:v>
                </c:pt>
                <c:pt idx="4208">
                  <c:v>0</c:v>
                </c:pt>
                <c:pt idx="4209">
                  <c:v>0</c:v>
                </c:pt>
                <c:pt idx="4210">
                  <c:v>0</c:v>
                </c:pt>
                <c:pt idx="4211">
                  <c:v>0</c:v>
                </c:pt>
                <c:pt idx="4212">
                  <c:v>0</c:v>
                </c:pt>
                <c:pt idx="4213">
                  <c:v>0</c:v>
                </c:pt>
                <c:pt idx="4214">
                  <c:v>0</c:v>
                </c:pt>
                <c:pt idx="4215">
                  <c:v>0</c:v>
                </c:pt>
                <c:pt idx="4216">
                  <c:v>0</c:v>
                </c:pt>
                <c:pt idx="4217">
                  <c:v>0</c:v>
                </c:pt>
                <c:pt idx="4218">
                  <c:v>0</c:v>
                </c:pt>
                <c:pt idx="4219">
                  <c:v>0</c:v>
                </c:pt>
                <c:pt idx="4220">
                  <c:v>0</c:v>
                </c:pt>
                <c:pt idx="4221">
                  <c:v>0</c:v>
                </c:pt>
                <c:pt idx="4222">
                  <c:v>0</c:v>
                </c:pt>
                <c:pt idx="4223">
                  <c:v>0</c:v>
                </c:pt>
                <c:pt idx="4224">
                  <c:v>0</c:v>
                </c:pt>
                <c:pt idx="4225">
                  <c:v>0</c:v>
                </c:pt>
                <c:pt idx="4226">
                  <c:v>0</c:v>
                </c:pt>
                <c:pt idx="4227">
                  <c:v>0</c:v>
                </c:pt>
                <c:pt idx="4228">
                  <c:v>0</c:v>
                </c:pt>
                <c:pt idx="4229">
                  <c:v>0</c:v>
                </c:pt>
                <c:pt idx="4230">
                  <c:v>0</c:v>
                </c:pt>
                <c:pt idx="4231">
                  <c:v>0</c:v>
                </c:pt>
                <c:pt idx="4232">
                  <c:v>0</c:v>
                </c:pt>
                <c:pt idx="4233">
                  <c:v>0</c:v>
                </c:pt>
                <c:pt idx="4234">
                  <c:v>0</c:v>
                </c:pt>
                <c:pt idx="4235">
                  <c:v>0</c:v>
                </c:pt>
                <c:pt idx="4236">
                  <c:v>0</c:v>
                </c:pt>
                <c:pt idx="4237">
                  <c:v>0</c:v>
                </c:pt>
                <c:pt idx="4238">
                  <c:v>0</c:v>
                </c:pt>
                <c:pt idx="4239">
                  <c:v>0</c:v>
                </c:pt>
                <c:pt idx="4240">
                  <c:v>0</c:v>
                </c:pt>
                <c:pt idx="4241">
                  <c:v>0</c:v>
                </c:pt>
                <c:pt idx="4242">
                  <c:v>0</c:v>
                </c:pt>
                <c:pt idx="4243">
                  <c:v>0</c:v>
                </c:pt>
                <c:pt idx="4244">
                  <c:v>0</c:v>
                </c:pt>
                <c:pt idx="4245">
                  <c:v>0</c:v>
                </c:pt>
                <c:pt idx="4246">
                  <c:v>0</c:v>
                </c:pt>
                <c:pt idx="4247">
                  <c:v>0</c:v>
                </c:pt>
                <c:pt idx="4248">
                  <c:v>0</c:v>
                </c:pt>
                <c:pt idx="4249">
                  <c:v>0</c:v>
                </c:pt>
                <c:pt idx="4250">
                  <c:v>0</c:v>
                </c:pt>
                <c:pt idx="4251">
                  <c:v>0</c:v>
                </c:pt>
                <c:pt idx="4252">
                  <c:v>0</c:v>
                </c:pt>
                <c:pt idx="4253">
                  <c:v>0</c:v>
                </c:pt>
                <c:pt idx="4254">
                  <c:v>0</c:v>
                </c:pt>
                <c:pt idx="4255">
                  <c:v>0</c:v>
                </c:pt>
                <c:pt idx="4256">
                  <c:v>0</c:v>
                </c:pt>
                <c:pt idx="4257">
                  <c:v>0</c:v>
                </c:pt>
                <c:pt idx="4258">
                  <c:v>0</c:v>
                </c:pt>
                <c:pt idx="4259">
                  <c:v>0</c:v>
                </c:pt>
                <c:pt idx="4260">
                  <c:v>0</c:v>
                </c:pt>
                <c:pt idx="4261">
                  <c:v>0</c:v>
                </c:pt>
                <c:pt idx="4262">
                  <c:v>0</c:v>
                </c:pt>
                <c:pt idx="4263">
                  <c:v>0</c:v>
                </c:pt>
                <c:pt idx="4264">
                  <c:v>0</c:v>
                </c:pt>
                <c:pt idx="4265">
                  <c:v>0</c:v>
                </c:pt>
                <c:pt idx="4266">
                  <c:v>0</c:v>
                </c:pt>
                <c:pt idx="4267">
                  <c:v>0</c:v>
                </c:pt>
                <c:pt idx="4268">
                  <c:v>0</c:v>
                </c:pt>
                <c:pt idx="4269">
                  <c:v>0</c:v>
                </c:pt>
                <c:pt idx="4270">
                  <c:v>0</c:v>
                </c:pt>
                <c:pt idx="4271">
                  <c:v>0</c:v>
                </c:pt>
                <c:pt idx="4272">
                  <c:v>0</c:v>
                </c:pt>
                <c:pt idx="4273">
                  <c:v>0</c:v>
                </c:pt>
                <c:pt idx="4274">
                  <c:v>0</c:v>
                </c:pt>
                <c:pt idx="4275">
                  <c:v>0</c:v>
                </c:pt>
                <c:pt idx="4276">
                  <c:v>0</c:v>
                </c:pt>
                <c:pt idx="4277">
                  <c:v>0</c:v>
                </c:pt>
                <c:pt idx="4278">
                  <c:v>0</c:v>
                </c:pt>
                <c:pt idx="4279">
                  <c:v>0</c:v>
                </c:pt>
                <c:pt idx="4280">
                  <c:v>0</c:v>
                </c:pt>
                <c:pt idx="4281">
                  <c:v>0</c:v>
                </c:pt>
                <c:pt idx="4282">
                  <c:v>0</c:v>
                </c:pt>
                <c:pt idx="4283">
                  <c:v>0</c:v>
                </c:pt>
                <c:pt idx="4284">
                  <c:v>0</c:v>
                </c:pt>
                <c:pt idx="4285">
                  <c:v>0</c:v>
                </c:pt>
                <c:pt idx="4286">
                  <c:v>0</c:v>
                </c:pt>
                <c:pt idx="4287">
                  <c:v>0</c:v>
                </c:pt>
                <c:pt idx="4288">
                  <c:v>0</c:v>
                </c:pt>
                <c:pt idx="4289">
                  <c:v>0</c:v>
                </c:pt>
                <c:pt idx="4290">
                  <c:v>0</c:v>
                </c:pt>
                <c:pt idx="4291">
                  <c:v>0</c:v>
                </c:pt>
                <c:pt idx="4292">
                  <c:v>0</c:v>
                </c:pt>
                <c:pt idx="4293">
                  <c:v>0</c:v>
                </c:pt>
                <c:pt idx="4294">
                  <c:v>0</c:v>
                </c:pt>
                <c:pt idx="4295">
                  <c:v>0</c:v>
                </c:pt>
                <c:pt idx="4296">
                  <c:v>0</c:v>
                </c:pt>
                <c:pt idx="4297">
                  <c:v>0</c:v>
                </c:pt>
                <c:pt idx="4298">
                  <c:v>0</c:v>
                </c:pt>
                <c:pt idx="4299">
                  <c:v>0</c:v>
                </c:pt>
                <c:pt idx="4300">
                  <c:v>0</c:v>
                </c:pt>
                <c:pt idx="4301">
                  <c:v>0</c:v>
                </c:pt>
                <c:pt idx="4302">
                  <c:v>0</c:v>
                </c:pt>
                <c:pt idx="4303">
                  <c:v>0</c:v>
                </c:pt>
                <c:pt idx="4304">
                  <c:v>0</c:v>
                </c:pt>
                <c:pt idx="4305">
                  <c:v>0</c:v>
                </c:pt>
                <c:pt idx="4306">
                  <c:v>0</c:v>
                </c:pt>
                <c:pt idx="4307">
                  <c:v>0</c:v>
                </c:pt>
                <c:pt idx="4308">
                  <c:v>0</c:v>
                </c:pt>
                <c:pt idx="4309">
                  <c:v>0</c:v>
                </c:pt>
                <c:pt idx="4310">
                  <c:v>0</c:v>
                </c:pt>
                <c:pt idx="4311">
                  <c:v>0</c:v>
                </c:pt>
                <c:pt idx="4312">
                  <c:v>0</c:v>
                </c:pt>
                <c:pt idx="4313">
                  <c:v>0</c:v>
                </c:pt>
                <c:pt idx="4314">
                  <c:v>0</c:v>
                </c:pt>
                <c:pt idx="4315">
                  <c:v>0</c:v>
                </c:pt>
                <c:pt idx="4316">
                  <c:v>0</c:v>
                </c:pt>
                <c:pt idx="4317">
                  <c:v>0</c:v>
                </c:pt>
                <c:pt idx="4318">
                  <c:v>0</c:v>
                </c:pt>
                <c:pt idx="4319">
                  <c:v>0</c:v>
                </c:pt>
                <c:pt idx="4320">
                  <c:v>0</c:v>
                </c:pt>
                <c:pt idx="4321">
                  <c:v>0</c:v>
                </c:pt>
                <c:pt idx="4322">
                  <c:v>0</c:v>
                </c:pt>
                <c:pt idx="4323">
                  <c:v>0</c:v>
                </c:pt>
                <c:pt idx="4324">
                  <c:v>0</c:v>
                </c:pt>
                <c:pt idx="4325">
                  <c:v>0</c:v>
                </c:pt>
                <c:pt idx="4326">
                  <c:v>0</c:v>
                </c:pt>
                <c:pt idx="4327">
                  <c:v>0</c:v>
                </c:pt>
                <c:pt idx="4328">
                  <c:v>0</c:v>
                </c:pt>
                <c:pt idx="4329">
                  <c:v>0</c:v>
                </c:pt>
                <c:pt idx="4330">
                  <c:v>0</c:v>
                </c:pt>
                <c:pt idx="4331">
                  <c:v>0</c:v>
                </c:pt>
                <c:pt idx="4332">
                  <c:v>0</c:v>
                </c:pt>
                <c:pt idx="4333">
                  <c:v>0</c:v>
                </c:pt>
                <c:pt idx="4334">
                  <c:v>0</c:v>
                </c:pt>
                <c:pt idx="4335">
                  <c:v>0</c:v>
                </c:pt>
                <c:pt idx="4336">
                  <c:v>0</c:v>
                </c:pt>
                <c:pt idx="4337">
                  <c:v>0</c:v>
                </c:pt>
                <c:pt idx="4338">
                  <c:v>0</c:v>
                </c:pt>
                <c:pt idx="4339">
                  <c:v>0</c:v>
                </c:pt>
                <c:pt idx="4340">
                  <c:v>0</c:v>
                </c:pt>
                <c:pt idx="4341">
                  <c:v>0</c:v>
                </c:pt>
                <c:pt idx="4342">
                  <c:v>0</c:v>
                </c:pt>
                <c:pt idx="4343">
                  <c:v>0</c:v>
                </c:pt>
                <c:pt idx="4344">
                  <c:v>0</c:v>
                </c:pt>
                <c:pt idx="4345">
                  <c:v>0</c:v>
                </c:pt>
                <c:pt idx="4346">
                  <c:v>0</c:v>
                </c:pt>
                <c:pt idx="4347">
                  <c:v>0</c:v>
                </c:pt>
                <c:pt idx="4348">
                  <c:v>0</c:v>
                </c:pt>
                <c:pt idx="4349">
                  <c:v>0</c:v>
                </c:pt>
                <c:pt idx="4350">
                  <c:v>0</c:v>
                </c:pt>
                <c:pt idx="4351">
                  <c:v>0</c:v>
                </c:pt>
                <c:pt idx="4352">
                  <c:v>0</c:v>
                </c:pt>
                <c:pt idx="4353">
                  <c:v>0</c:v>
                </c:pt>
                <c:pt idx="4354">
                  <c:v>0</c:v>
                </c:pt>
                <c:pt idx="4355">
                  <c:v>0</c:v>
                </c:pt>
                <c:pt idx="4356">
                  <c:v>0</c:v>
                </c:pt>
                <c:pt idx="4357">
                  <c:v>0</c:v>
                </c:pt>
                <c:pt idx="4358">
                  <c:v>0</c:v>
                </c:pt>
                <c:pt idx="4359">
                  <c:v>0</c:v>
                </c:pt>
                <c:pt idx="4360">
                  <c:v>0</c:v>
                </c:pt>
                <c:pt idx="4361">
                  <c:v>0</c:v>
                </c:pt>
                <c:pt idx="4362">
                  <c:v>0</c:v>
                </c:pt>
                <c:pt idx="4363">
                  <c:v>0</c:v>
                </c:pt>
                <c:pt idx="4364">
                  <c:v>0</c:v>
                </c:pt>
                <c:pt idx="4365">
                  <c:v>0</c:v>
                </c:pt>
                <c:pt idx="4366">
                  <c:v>0</c:v>
                </c:pt>
                <c:pt idx="4367">
                  <c:v>0</c:v>
                </c:pt>
                <c:pt idx="4368">
                  <c:v>0</c:v>
                </c:pt>
                <c:pt idx="4369">
                  <c:v>0</c:v>
                </c:pt>
                <c:pt idx="4370">
                  <c:v>0</c:v>
                </c:pt>
                <c:pt idx="4371">
                  <c:v>0</c:v>
                </c:pt>
                <c:pt idx="4372">
                  <c:v>0</c:v>
                </c:pt>
                <c:pt idx="4373">
                  <c:v>0</c:v>
                </c:pt>
                <c:pt idx="4374">
                  <c:v>0</c:v>
                </c:pt>
                <c:pt idx="4375">
                  <c:v>0</c:v>
                </c:pt>
                <c:pt idx="4376">
                  <c:v>0</c:v>
                </c:pt>
                <c:pt idx="4377">
                  <c:v>0</c:v>
                </c:pt>
                <c:pt idx="4378">
                  <c:v>0</c:v>
                </c:pt>
                <c:pt idx="4379">
                  <c:v>0</c:v>
                </c:pt>
                <c:pt idx="4380">
                  <c:v>0</c:v>
                </c:pt>
                <c:pt idx="4381">
                  <c:v>0</c:v>
                </c:pt>
                <c:pt idx="4382">
                  <c:v>0</c:v>
                </c:pt>
                <c:pt idx="4383">
                  <c:v>0</c:v>
                </c:pt>
                <c:pt idx="4384">
                  <c:v>0</c:v>
                </c:pt>
                <c:pt idx="4385">
                  <c:v>0</c:v>
                </c:pt>
                <c:pt idx="4386">
                  <c:v>0</c:v>
                </c:pt>
                <c:pt idx="4387">
                  <c:v>0</c:v>
                </c:pt>
                <c:pt idx="4388">
                  <c:v>0</c:v>
                </c:pt>
                <c:pt idx="4389">
                  <c:v>0</c:v>
                </c:pt>
                <c:pt idx="4390">
                  <c:v>0</c:v>
                </c:pt>
                <c:pt idx="4391">
                  <c:v>0</c:v>
                </c:pt>
                <c:pt idx="4392">
                  <c:v>0</c:v>
                </c:pt>
                <c:pt idx="4393">
                  <c:v>0</c:v>
                </c:pt>
                <c:pt idx="4394">
                  <c:v>0</c:v>
                </c:pt>
                <c:pt idx="4395">
                  <c:v>0</c:v>
                </c:pt>
                <c:pt idx="4396">
                  <c:v>0</c:v>
                </c:pt>
                <c:pt idx="4397">
                  <c:v>0</c:v>
                </c:pt>
                <c:pt idx="4398">
                  <c:v>0</c:v>
                </c:pt>
                <c:pt idx="4399">
                  <c:v>0</c:v>
                </c:pt>
                <c:pt idx="4400">
                  <c:v>0</c:v>
                </c:pt>
                <c:pt idx="4401">
                  <c:v>0</c:v>
                </c:pt>
                <c:pt idx="4402">
                  <c:v>0</c:v>
                </c:pt>
                <c:pt idx="4403">
                  <c:v>0</c:v>
                </c:pt>
                <c:pt idx="4404">
                  <c:v>0</c:v>
                </c:pt>
                <c:pt idx="4405">
                  <c:v>0</c:v>
                </c:pt>
                <c:pt idx="4406">
                  <c:v>0</c:v>
                </c:pt>
                <c:pt idx="4407">
                  <c:v>0</c:v>
                </c:pt>
                <c:pt idx="4408">
                  <c:v>0</c:v>
                </c:pt>
                <c:pt idx="4409">
                  <c:v>0</c:v>
                </c:pt>
                <c:pt idx="4410">
                  <c:v>0</c:v>
                </c:pt>
                <c:pt idx="4411">
                  <c:v>0</c:v>
                </c:pt>
                <c:pt idx="4412">
                  <c:v>0</c:v>
                </c:pt>
                <c:pt idx="4413">
                  <c:v>0</c:v>
                </c:pt>
                <c:pt idx="4414">
                  <c:v>0</c:v>
                </c:pt>
                <c:pt idx="4415">
                  <c:v>0</c:v>
                </c:pt>
                <c:pt idx="4416">
                  <c:v>0</c:v>
                </c:pt>
                <c:pt idx="4417">
                  <c:v>0</c:v>
                </c:pt>
                <c:pt idx="4418">
                  <c:v>0</c:v>
                </c:pt>
                <c:pt idx="4419">
                  <c:v>0</c:v>
                </c:pt>
                <c:pt idx="4420">
                  <c:v>0</c:v>
                </c:pt>
                <c:pt idx="4421">
                  <c:v>0</c:v>
                </c:pt>
                <c:pt idx="4422">
                  <c:v>0</c:v>
                </c:pt>
                <c:pt idx="4423">
                  <c:v>0</c:v>
                </c:pt>
                <c:pt idx="4424">
                  <c:v>0</c:v>
                </c:pt>
                <c:pt idx="4425">
                  <c:v>0</c:v>
                </c:pt>
                <c:pt idx="4426">
                  <c:v>0</c:v>
                </c:pt>
                <c:pt idx="4427">
                  <c:v>0</c:v>
                </c:pt>
                <c:pt idx="4428">
                  <c:v>0</c:v>
                </c:pt>
                <c:pt idx="4429">
                  <c:v>0</c:v>
                </c:pt>
                <c:pt idx="4430">
                  <c:v>0</c:v>
                </c:pt>
                <c:pt idx="4431">
                  <c:v>0</c:v>
                </c:pt>
                <c:pt idx="4432">
                  <c:v>0</c:v>
                </c:pt>
                <c:pt idx="4433">
                  <c:v>0</c:v>
                </c:pt>
                <c:pt idx="4434">
                  <c:v>0</c:v>
                </c:pt>
                <c:pt idx="4435">
                  <c:v>0</c:v>
                </c:pt>
                <c:pt idx="4436">
                  <c:v>0</c:v>
                </c:pt>
                <c:pt idx="4437">
                  <c:v>0</c:v>
                </c:pt>
                <c:pt idx="4438">
                  <c:v>0</c:v>
                </c:pt>
                <c:pt idx="4439">
                  <c:v>0</c:v>
                </c:pt>
                <c:pt idx="4440">
                  <c:v>0</c:v>
                </c:pt>
                <c:pt idx="4441">
                  <c:v>0</c:v>
                </c:pt>
                <c:pt idx="4442">
                  <c:v>0</c:v>
                </c:pt>
                <c:pt idx="4443">
                  <c:v>0</c:v>
                </c:pt>
                <c:pt idx="4444">
                  <c:v>0</c:v>
                </c:pt>
                <c:pt idx="4445">
                  <c:v>0</c:v>
                </c:pt>
                <c:pt idx="4446">
                  <c:v>0</c:v>
                </c:pt>
                <c:pt idx="4447">
                  <c:v>0</c:v>
                </c:pt>
                <c:pt idx="4448">
                  <c:v>0</c:v>
                </c:pt>
                <c:pt idx="4449">
                  <c:v>0</c:v>
                </c:pt>
                <c:pt idx="4450">
                  <c:v>0</c:v>
                </c:pt>
                <c:pt idx="4451">
                  <c:v>0</c:v>
                </c:pt>
                <c:pt idx="4452">
                  <c:v>0</c:v>
                </c:pt>
                <c:pt idx="4453">
                  <c:v>0</c:v>
                </c:pt>
                <c:pt idx="4454">
                  <c:v>0</c:v>
                </c:pt>
                <c:pt idx="4455">
                  <c:v>0</c:v>
                </c:pt>
                <c:pt idx="4456">
                  <c:v>0</c:v>
                </c:pt>
                <c:pt idx="4457">
                  <c:v>0</c:v>
                </c:pt>
                <c:pt idx="4458">
                  <c:v>0</c:v>
                </c:pt>
                <c:pt idx="4459">
                  <c:v>0</c:v>
                </c:pt>
                <c:pt idx="4460">
                  <c:v>0</c:v>
                </c:pt>
                <c:pt idx="4461">
                  <c:v>0</c:v>
                </c:pt>
                <c:pt idx="4462">
                  <c:v>0</c:v>
                </c:pt>
                <c:pt idx="4463">
                  <c:v>0</c:v>
                </c:pt>
                <c:pt idx="4464">
                  <c:v>0</c:v>
                </c:pt>
                <c:pt idx="4465">
                  <c:v>0</c:v>
                </c:pt>
                <c:pt idx="4466">
                  <c:v>0</c:v>
                </c:pt>
                <c:pt idx="4467">
                  <c:v>0</c:v>
                </c:pt>
                <c:pt idx="4468">
                  <c:v>0</c:v>
                </c:pt>
                <c:pt idx="4469">
                  <c:v>0</c:v>
                </c:pt>
                <c:pt idx="4470">
                  <c:v>0</c:v>
                </c:pt>
                <c:pt idx="4471">
                  <c:v>0</c:v>
                </c:pt>
                <c:pt idx="4472">
                  <c:v>0</c:v>
                </c:pt>
                <c:pt idx="4473">
                  <c:v>0</c:v>
                </c:pt>
                <c:pt idx="4474">
                  <c:v>0</c:v>
                </c:pt>
                <c:pt idx="4475">
                  <c:v>0</c:v>
                </c:pt>
                <c:pt idx="4476">
                  <c:v>0</c:v>
                </c:pt>
                <c:pt idx="4477">
                  <c:v>0</c:v>
                </c:pt>
                <c:pt idx="4478">
                  <c:v>0</c:v>
                </c:pt>
                <c:pt idx="4479">
                  <c:v>0</c:v>
                </c:pt>
                <c:pt idx="4480">
                  <c:v>0</c:v>
                </c:pt>
                <c:pt idx="4481">
                  <c:v>0</c:v>
                </c:pt>
                <c:pt idx="4482">
                  <c:v>0</c:v>
                </c:pt>
                <c:pt idx="4483">
                  <c:v>0</c:v>
                </c:pt>
                <c:pt idx="4484">
                  <c:v>0</c:v>
                </c:pt>
                <c:pt idx="4485">
                  <c:v>0</c:v>
                </c:pt>
                <c:pt idx="4486">
                  <c:v>0</c:v>
                </c:pt>
                <c:pt idx="4487">
                  <c:v>0</c:v>
                </c:pt>
                <c:pt idx="4488">
                  <c:v>0</c:v>
                </c:pt>
                <c:pt idx="4489">
                  <c:v>0</c:v>
                </c:pt>
                <c:pt idx="4490">
                  <c:v>0</c:v>
                </c:pt>
                <c:pt idx="4491">
                  <c:v>0</c:v>
                </c:pt>
                <c:pt idx="4492">
                  <c:v>0</c:v>
                </c:pt>
                <c:pt idx="4493">
                  <c:v>0</c:v>
                </c:pt>
                <c:pt idx="4494">
                  <c:v>0</c:v>
                </c:pt>
                <c:pt idx="4495">
                  <c:v>0</c:v>
                </c:pt>
                <c:pt idx="4496">
                  <c:v>0</c:v>
                </c:pt>
                <c:pt idx="4497">
                  <c:v>0</c:v>
                </c:pt>
                <c:pt idx="4498">
                  <c:v>0</c:v>
                </c:pt>
                <c:pt idx="4499">
                  <c:v>0</c:v>
                </c:pt>
                <c:pt idx="4500">
                  <c:v>0</c:v>
                </c:pt>
                <c:pt idx="4501">
                  <c:v>0</c:v>
                </c:pt>
                <c:pt idx="4502">
                  <c:v>0</c:v>
                </c:pt>
                <c:pt idx="4503">
                  <c:v>0</c:v>
                </c:pt>
                <c:pt idx="4504">
                  <c:v>0</c:v>
                </c:pt>
                <c:pt idx="4505">
                  <c:v>0</c:v>
                </c:pt>
                <c:pt idx="4506">
                  <c:v>0</c:v>
                </c:pt>
                <c:pt idx="4507">
                  <c:v>0</c:v>
                </c:pt>
                <c:pt idx="4508">
                  <c:v>0</c:v>
                </c:pt>
                <c:pt idx="4509">
                  <c:v>0</c:v>
                </c:pt>
                <c:pt idx="4510">
                  <c:v>0</c:v>
                </c:pt>
                <c:pt idx="4511">
                  <c:v>0</c:v>
                </c:pt>
                <c:pt idx="4512">
                  <c:v>0</c:v>
                </c:pt>
                <c:pt idx="4513">
                  <c:v>0</c:v>
                </c:pt>
                <c:pt idx="4514">
                  <c:v>0</c:v>
                </c:pt>
                <c:pt idx="4515">
                  <c:v>0</c:v>
                </c:pt>
                <c:pt idx="4516">
                  <c:v>0</c:v>
                </c:pt>
                <c:pt idx="4517">
                  <c:v>0</c:v>
                </c:pt>
                <c:pt idx="4518">
                  <c:v>0</c:v>
                </c:pt>
                <c:pt idx="4519">
                  <c:v>0</c:v>
                </c:pt>
                <c:pt idx="4520">
                  <c:v>0</c:v>
                </c:pt>
                <c:pt idx="4521">
                  <c:v>0</c:v>
                </c:pt>
                <c:pt idx="4522">
                  <c:v>0</c:v>
                </c:pt>
                <c:pt idx="4523">
                  <c:v>0</c:v>
                </c:pt>
                <c:pt idx="4524">
                  <c:v>0</c:v>
                </c:pt>
                <c:pt idx="4525">
                  <c:v>0</c:v>
                </c:pt>
                <c:pt idx="4526">
                  <c:v>0</c:v>
                </c:pt>
                <c:pt idx="4527">
                  <c:v>0</c:v>
                </c:pt>
                <c:pt idx="4528">
                  <c:v>0</c:v>
                </c:pt>
                <c:pt idx="4529">
                  <c:v>0</c:v>
                </c:pt>
                <c:pt idx="4530">
                  <c:v>0</c:v>
                </c:pt>
                <c:pt idx="4531">
                  <c:v>0</c:v>
                </c:pt>
                <c:pt idx="4532">
                  <c:v>0</c:v>
                </c:pt>
                <c:pt idx="4533">
                  <c:v>0</c:v>
                </c:pt>
                <c:pt idx="4534">
                  <c:v>0</c:v>
                </c:pt>
                <c:pt idx="4535">
                  <c:v>0</c:v>
                </c:pt>
                <c:pt idx="4536">
                  <c:v>0</c:v>
                </c:pt>
                <c:pt idx="4537">
                  <c:v>0</c:v>
                </c:pt>
                <c:pt idx="4538">
                  <c:v>0</c:v>
                </c:pt>
                <c:pt idx="4539">
                  <c:v>0</c:v>
                </c:pt>
                <c:pt idx="4540">
                  <c:v>0</c:v>
                </c:pt>
                <c:pt idx="4541">
                  <c:v>0</c:v>
                </c:pt>
                <c:pt idx="4542">
                  <c:v>0</c:v>
                </c:pt>
                <c:pt idx="4543">
                  <c:v>0</c:v>
                </c:pt>
                <c:pt idx="4544">
                  <c:v>0</c:v>
                </c:pt>
                <c:pt idx="4545">
                  <c:v>0</c:v>
                </c:pt>
                <c:pt idx="4546">
                  <c:v>0</c:v>
                </c:pt>
                <c:pt idx="4547">
                  <c:v>0</c:v>
                </c:pt>
                <c:pt idx="4548">
                  <c:v>0</c:v>
                </c:pt>
                <c:pt idx="4549">
                  <c:v>0</c:v>
                </c:pt>
                <c:pt idx="4550">
                  <c:v>0</c:v>
                </c:pt>
                <c:pt idx="4551">
                  <c:v>0</c:v>
                </c:pt>
                <c:pt idx="4552">
                  <c:v>0</c:v>
                </c:pt>
                <c:pt idx="4553">
                  <c:v>0</c:v>
                </c:pt>
                <c:pt idx="4554">
                  <c:v>0</c:v>
                </c:pt>
                <c:pt idx="4555">
                  <c:v>0</c:v>
                </c:pt>
                <c:pt idx="4556">
                  <c:v>0</c:v>
                </c:pt>
                <c:pt idx="4557">
                  <c:v>0</c:v>
                </c:pt>
                <c:pt idx="4558">
                  <c:v>0</c:v>
                </c:pt>
                <c:pt idx="4559">
                  <c:v>0</c:v>
                </c:pt>
                <c:pt idx="4560">
                  <c:v>0</c:v>
                </c:pt>
                <c:pt idx="4561">
                  <c:v>0</c:v>
                </c:pt>
                <c:pt idx="4562">
                  <c:v>0</c:v>
                </c:pt>
                <c:pt idx="4563">
                  <c:v>0</c:v>
                </c:pt>
                <c:pt idx="4564">
                  <c:v>0</c:v>
                </c:pt>
                <c:pt idx="4565">
                  <c:v>0</c:v>
                </c:pt>
                <c:pt idx="4566">
                  <c:v>0</c:v>
                </c:pt>
                <c:pt idx="4567">
                  <c:v>0</c:v>
                </c:pt>
                <c:pt idx="4568">
                  <c:v>0</c:v>
                </c:pt>
                <c:pt idx="4569">
                  <c:v>0</c:v>
                </c:pt>
                <c:pt idx="4570">
                  <c:v>0</c:v>
                </c:pt>
                <c:pt idx="4571">
                  <c:v>0</c:v>
                </c:pt>
                <c:pt idx="4572">
                  <c:v>0</c:v>
                </c:pt>
                <c:pt idx="4573">
                  <c:v>0</c:v>
                </c:pt>
                <c:pt idx="4574">
                  <c:v>0</c:v>
                </c:pt>
                <c:pt idx="4575">
                  <c:v>0</c:v>
                </c:pt>
                <c:pt idx="4576">
                  <c:v>0</c:v>
                </c:pt>
                <c:pt idx="4577">
                  <c:v>0</c:v>
                </c:pt>
                <c:pt idx="4578">
                  <c:v>0</c:v>
                </c:pt>
                <c:pt idx="4579">
                  <c:v>0</c:v>
                </c:pt>
                <c:pt idx="4580">
                  <c:v>0</c:v>
                </c:pt>
                <c:pt idx="4581">
                  <c:v>0</c:v>
                </c:pt>
                <c:pt idx="4582">
                  <c:v>0</c:v>
                </c:pt>
                <c:pt idx="4583">
                  <c:v>0</c:v>
                </c:pt>
                <c:pt idx="4584">
                  <c:v>0</c:v>
                </c:pt>
                <c:pt idx="4585">
                  <c:v>0</c:v>
                </c:pt>
                <c:pt idx="4586">
                  <c:v>0</c:v>
                </c:pt>
                <c:pt idx="4587">
                  <c:v>0</c:v>
                </c:pt>
                <c:pt idx="4588">
                  <c:v>0</c:v>
                </c:pt>
                <c:pt idx="4589">
                  <c:v>0</c:v>
                </c:pt>
                <c:pt idx="4590">
                  <c:v>0</c:v>
                </c:pt>
                <c:pt idx="4591">
                  <c:v>0</c:v>
                </c:pt>
                <c:pt idx="4592">
                  <c:v>0</c:v>
                </c:pt>
                <c:pt idx="4593">
                  <c:v>0</c:v>
                </c:pt>
                <c:pt idx="4594">
                  <c:v>0</c:v>
                </c:pt>
                <c:pt idx="4595">
                  <c:v>0</c:v>
                </c:pt>
                <c:pt idx="4596">
                  <c:v>0</c:v>
                </c:pt>
                <c:pt idx="4597">
                  <c:v>0</c:v>
                </c:pt>
                <c:pt idx="4598">
                  <c:v>0</c:v>
                </c:pt>
                <c:pt idx="4599">
                  <c:v>0</c:v>
                </c:pt>
                <c:pt idx="4600">
                  <c:v>0</c:v>
                </c:pt>
                <c:pt idx="4601">
                  <c:v>0</c:v>
                </c:pt>
                <c:pt idx="4602">
                  <c:v>0</c:v>
                </c:pt>
                <c:pt idx="4603">
                  <c:v>0</c:v>
                </c:pt>
                <c:pt idx="4604">
                  <c:v>0</c:v>
                </c:pt>
                <c:pt idx="4605">
                  <c:v>0</c:v>
                </c:pt>
                <c:pt idx="4606">
                  <c:v>0</c:v>
                </c:pt>
                <c:pt idx="4607">
                  <c:v>0</c:v>
                </c:pt>
                <c:pt idx="4608">
                  <c:v>0</c:v>
                </c:pt>
                <c:pt idx="4609">
                  <c:v>0</c:v>
                </c:pt>
                <c:pt idx="4610">
                  <c:v>0</c:v>
                </c:pt>
                <c:pt idx="4611">
                  <c:v>0</c:v>
                </c:pt>
                <c:pt idx="4612">
                  <c:v>0</c:v>
                </c:pt>
                <c:pt idx="4613">
                  <c:v>0</c:v>
                </c:pt>
                <c:pt idx="4614">
                  <c:v>0</c:v>
                </c:pt>
                <c:pt idx="4615">
                  <c:v>0</c:v>
                </c:pt>
                <c:pt idx="4616">
                  <c:v>0</c:v>
                </c:pt>
                <c:pt idx="4617">
                  <c:v>0</c:v>
                </c:pt>
                <c:pt idx="4618">
                  <c:v>0</c:v>
                </c:pt>
                <c:pt idx="4619">
                  <c:v>0</c:v>
                </c:pt>
                <c:pt idx="4620">
                  <c:v>0</c:v>
                </c:pt>
                <c:pt idx="4621">
                  <c:v>0</c:v>
                </c:pt>
                <c:pt idx="4622">
                  <c:v>0</c:v>
                </c:pt>
                <c:pt idx="4623">
                  <c:v>0</c:v>
                </c:pt>
                <c:pt idx="4624">
                  <c:v>0</c:v>
                </c:pt>
                <c:pt idx="4625">
                  <c:v>0</c:v>
                </c:pt>
                <c:pt idx="4626">
                  <c:v>0</c:v>
                </c:pt>
                <c:pt idx="4627">
                  <c:v>0</c:v>
                </c:pt>
                <c:pt idx="4628">
                  <c:v>0</c:v>
                </c:pt>
                <c:pt idx="4629">
                  <c:v>0</c:v>
                </c:pt>
                <c:pt idx="4630">
                  <c:v>0</c:v>
                </c:pt>
                <c:pt idx="4631">
                  <c:v>0</c:v>
                </c:pt>
                <c:pt idx="4632">
                  <c:v>0</c:v>
                </c:pt>
                <c:pt idx="4633">
                  <c:v>0</c:v>
                </c:pt>
                <c:pt idx="4634">
                  <c:v>0</c:v>
                </c:pt>
                <c:pt idx="4635">
                  <c:v>0</c:v>
                </c:pt>
                <c:pt idx="4636">
                  <c:v>0</c:v>
                </c:pt>
                <c:pt idx="4637">
                  <c:v>0</c:v>
                </c:pt>
                <c:pt idx="4638">
                  <c:v>0</c:v>
                </c:pt>
                <c:pt idx="4639">
                  <c:v>0</c:v>
                </c:pt>
                <c:pt idx="4640">
                  <c:v>0</c:v>
                </c:pt>
                <c:pt idx="4641">
                  <c:v>0</c:v>
                </c:pt>
                <c:pt idx="4642">
                  <c:v>0</c:v>
                </c:pt>
                <c:pt idx="4643">
                  <c:v>0</c:v>
                </c:pt>
                <c:pt idx="4644">
                  <c:v>0</c:v>
                </c:pt>
                <c:pt idx="4645">
                  <c:v>0</c:v>
                </c:pt>
                <c:pt idx="4646">
                  <c:v>0</c:v>
                </c:pt>
                <c:pt idx="4647">
                  <c:v>0</c:v>
                </c:pt>
                <c:pt idx="4648">
                  <c:v>0</c:v>
                </c:pt>
                <c:pt idx="4649">
                  <c:v>0</c:v>
                </c:pt>
                <c:pt idx="4650">
                  <c:v>0</c:v>
                </c:pt>
                <c:pt idx="4651">
                  <c:v>0</c:v>
                </c:pt>
                <c:pt idx="4652">
                  <c:v>0</c:v>
                </c:pt>
                <c:pt idx="4653">
                  <c:v>0</c:v>
                </c:pt>
                <c:pt idx="4654">
                  <c:v>0</c:v>
                </c:pt>
                <c:pt idx="4655">
                  <c:v>0</c:v>
                </c:pt>
                <c:pt idx="4656">
                  <c:v>0</c:v>
                </c:pt>
                <c:pt idx="4657">
                  <c:v>0</c:v>
                </c:pt>
                <c:pt idx="4658">
                  <c:v>0</c:v>
                </c:pt>
                <c:pt idx="4659">
                  <c:v>0</c:v>
                </c:pt>
                <c:pt idx="4660">
                  <c:v>0</c:v>
                </c:pt>
                <c:pt idx="4661">
                  <c:v>0</c:v>
                </c:pt>
                <c:pt idx="4662">
                  <c:v>0</c:v>
                </c:pt>
                <c:pt idx="4663">
                  <c:v>0</c:v>
                </c:pt>
                <c:pt idx="4664">
                  <c:v>0</c:v>
                </c:pt>
                <c:pt idx="4665">
                  <c:v>0</c:v>
                </c:pt>
                <c:pt idx="4666">
                  <c:v>0</c:v>
                </c:pt>
                <c:pt idx="4667">
                  <c:v>0</c:v>
                </c:pt>
                <c:pt idx="4668">
                  <c:v>0</c:v>
                </c:pt>
                <c:pt idx="4669">
                  <c:v>0</c:v>
                </c:pt>
                <c:pt idx="4670">
                  <c:v>0</c:v>
                </c:pt>
                <c:pt idx="4671">
                  <c:v>0</c:v>
                </c:pt>
                <c:pt idx="4672">
                  <c:v>0</c:v>
                </c:pt>
                <c:pt idx="4673">
                  <c:v>0</c:v>
                </c:pt>
                <c:pt idx="4674">
                  <c:v>0</c:v>
                </c:pt>
                <c:pt idx="4675">
                  <c:v>0</c:v>
                </c:pt>
                <c:pt idx="4676">
                  <c:v>0</c:v>
                </c:pt>
                <c:pt idx="4677">
                  <c:v>0</c:v>
                </c:pt>
                <c:pt idx="4678">
                  <c:v>0</c:v>
                </c:pt>
                <c:pt idx="4679">
                  <c:v>0</c:v>
                </c:pt>
                <c:pt idx="4680">
                  <c:v>0</c:v>
                </c:pt>
                <c:pt idx="4681">
                  <c:v>0</c:v>
                </c:pt>
                <c:pt idx="4682">
                  <c:v>0</c:v>
                </c:pt>
                <c:pt idx="4683">
                  <c:v>0</c:v>
                </c:pt>
                <c:pt idx="4684">
                  <c:v>0</c:v>
                </c:pt>
                <c:pt idx="4685">
                  <c:v>0</c:v>
                </c:pt>
                <c:pt idx="4686">
                  <c:v>0</c:v>
                </c:pt>
                <c:pt idx="4687">
                  <c:v>0</c:v>
                </c:pt>
                <c:pt idx="4688">
                  <c:v>0</c:v>
                </c:pt>
                <c:pt idx="4689">
                  <c:v>0</c:v>
                </c:pt>
                <c:pt idx="4690">
                  <c:v>0</c:v>
                </c:pt>
                <c:pt idx="4691">
                  <c:v>0</c:v>
                </c:pt>
                <c:pt idx="4692">
                  <c:v>0</c:v>
                </c:pt>
                <c:pt idx="4693">
                  <c:v>0</c:v>
                </c:pt>
                <c:pt idx="4694">
                  <c:v>0</c:v>
                </c:pt>
                <c:pt idx="4695">
                  <c:v>0</c:v>
                </c:pt>
                <c:pt idx="4696">
                  <c:v>0</c:v>
                </c:pt>
                <c:pt idx="4697">
                  <c:v>0</c:v>
                </c:pt>
                <c:pt idx="4698">
                  <c:v>0</c:v>
                </c:pt>
                <c:pt idx="4699">
                  <c:v>0</c:v>
                </c:pt>
                <c:pt idx="4700">
                  <c:v>0</c:v>
                </c:pt>
                <c:pt idx="4701">
                  <c:v>0</c:v>
                </c:pt>
                <c:pt idx="4702">
                  <c:v>0</c:v>
                </c:pt>
                <c:pt idx="4703">
                  <c:v>0</c:v>
                </c:pt>
                <c:pt idx="4704">
                  <c:v>0</c:v>
                </c:pt>
                <c:pt idx="4705">
                  <c:v>0</c:v>
                </c:pt>
                <c:pt idx="4706">
                  <c:v>0</c:v>
                </c:pt>
                <c:pt idx="4707">
                  <c:v>0</c:v>
                </c:pt>
                <c:pt idx="4708">
                  <c:v>0</c:v>
                </c:pt>
                <c:pt idx="4709">
                  <c:v>0</c:v>
                </c:pt>
                <c:pt idx="4710">
                  <c:v>0</c:v>
                </c:pt>
                <c:pt idx="4711">
                  <c:v>0</c:v>
                </c:pt>
                <c:pt idx="4712">
                  <c:v>0</c:v>
                </c:pt>
                <c:pt idx="4713">
                  <c:v>0</c:v>
                </c:pt>
                <c:pt idx="4714">
                  <c:v>0</c:v>
                </c:pt>
                <c:pt idx="4715">
                  <c:v>0</c:v>
                </c:pt>
                <c:pt idx="4716">
                  <c:v>0</c:v>
                </c:pt>
                <c:pt idx="4717">
                  <c:v>0</c:v>
                </c:pt>
                <c:pt idx="4718">
                  <c:v>0</c:v>
                </c:pt>
                <c:pt idx="4719">
                  <c:v>0</c:v>
                </c:pt>
                <c:pt idx="4720">
                  <c:v>0</c:v>
                </c:pt>
                <c:pt idx="4721">
                  <c:v>0</c:v>
                </c:pt>
                <c:pt idx="4722">
                  <c:v>0</c:v>
                </c:pt>
                <c:pt idx="4723">
                  <c:v>0</c:v>
                </c:pt>
                <c:pt idx="4724">
                  <c:v>0</c:v>
                </c:pt>
                <c:pt idx="4725">
                  <c:v>0</c:v>
                </c:pt>
                <c:pt idx="4726">
                  <c:v>0</c:v>
                </c:pt>
                <c:pt idx="4727">
                  <c:v>0</c:v>
                </c:pt>
                <c:pt idx="4728">
                  <c:v>0</c:v>
                </c:pt>
                <c:pt idx="4729">
                  <c:v>0</c:v>
                </c:pt>
                <c:pt idx="4730">
                  <c:v>0</c:v>
                </c:pt>
                <c:pt idx="4731">
                  <c:v>0</c:v>
                </c:pt>
                <c:pt idx="4732">
                  <c:v>0</c:v>
                </c:pt>
                <c:pt idx="4733">
                  <c:v>0</c:v>
                </c:pt>
                <c:pt idx="4734">
                  <c:v>0</c:v>
                </c:pt>
                <c:pt idx="4735">
                  <c:v>0</c:v>
                </c:pt>
                <c:pt idx="4736">
                  <c:v>0</c:v>
                </c:pt>
                <c:pt idx="4737">
                  <c:v>0</c:v>
                </c:pt>
                <c:pt idx="4738">
                  <c:v>0</c:v>
                </c:pt>
                <c:pt idx="4739">
                  <c:v>0</c:v>
                </c:pt>
                <c:pt idx="4740">
                  <c:v>0</c:v>
                </c:pt>
                <c:pt idx="4741">
                  <c:v>0</c:v>
                </c:pt>
                <c:pt idx="4742">
                  <c:v>0</c:v>
                </c:pt>
                <c:pt idx="4743">
                  <c:v>0</c:v>
                </c:pt>
                <c:pt idx="4744">
                  <c:v>0</c:v>
                </c:pt>
                <c:pt idx="4745">
                  <c:v>0</c:v>
                </c:pt>
                <c:pt idx="4746">
                  <c:v>0</c:v>
                </c:pt>
                <c:pt idx="4747">
                  <c:v>0</c:v>
                </c:pt>
                <c:pt idx="4748">
                  <c:v>0</c:v>
                </c:pt>
                <c:pt idx="4749">
                  <c:v>0</c:v>
                </c:pt>
                <c:pt idx="4750">
                  <c:v>0</c:v>
                </c:pt>
                <c:pt idx="4751">
                  <c:v>0</c:v>
                </c:pt>
                <c:pt idx="4752">
                  <c:v>0</c:v>
                </c:pt>
                <c:pt idx="4753">
                  <c:v>0</c:v>
                </c:pt>
                <c:pt idx="4754">
                  <c:v>0</c:v>
                </c:pt>
                <c:pt idx="4755">
                  <c:v>0</c:v>
                </c:pt>
                <c:pt idx="4756">
                  <c:v>0</c:v>
                </c:pt>
                <c:pt idx="4757">
                  <c:v>0</c:v>
                </c:pt>
                <c:pt idx="4758">
                  <c:v>0</c:v>
                </c:pt>
                <c:pt idx="4759">
                  <c:v>0</c:v>
                </c:pt>
                <c:pt idx="4760">
                  <c:v>0</c:v>
                </c:pt>
                <c:pt idx="4761">
                  <c:v>0</c:v>
                </c:pt>
                <c:pt idx="4762">
                  <c:v>0</c:v>
                </c:pt>
                <c:pt idx="4763">
                  <c:v>0</c:v>
                </c:pt>
                <c:pt idx="4764">
                  <c:v>0</c:v>
                </c:pt>
                <c:pt idx="4765">
                  <c:v>0</c:v>
                </c:pt>
                <c:pt idx="4766">
                  <c:v>0</c:v>
                </c:pt>
                <c:pt idx="4767">
                  <c:v>0</c:v>
                </c:pt>
                <c:pt idx="4768">
                  <c:v>0</c:v>
                </c:pt>
                <c:pt idx="4769">
                  <c:v>0</c:v>
                </c:pt>
                <c:pt idx="4770">
                  <c:v>0</c:v>
                </c:pt>
                <c:pt idx="4771">
                  <c:v>0</c:v>
                </c:pt>
                <c:pt idx="4772">
                  <c:v>0</c:v>
                </c:pt>
                <c:pt idx="4773">
                  <c:v>0</c:v>
                </c:pt>
                <c:pt idx="4774">
                  <c:v>0</c:v>
                </c:pt>
                <c:pt idx="4775">
                  <c:v>0</c:v>
                </c:pt>
                <c:pt idx="4776">
                  <c:v>0</c:v>
                </c:pt>
                <c:pt idx="4777">
                  <c:v>0</c:v>
                </c:pt>
                <c:pt idx="4778">
                  <c:v>0</c:v>
                </c:pt>
                <c:pt idx="4779">
                  <c:v>0</c:v>
                </c:pt>
                <c:pt idx="4780">
                  <c:v>0</c:v>
                </c:pt>
                <c:pt idx="4781">
                  <c:v>0</c:v>
                </c:pt>
                <c:pt idx="4782">
                  <c:v>0</c:v>
                </c:pt>
                <c:pt idx="4783">
                  <c:v>0</c:v>
                </c:pt>
                <c:pt idx="4784">
                  <c:v>0</c:v>
                </c:pt>
                <c:pt idx="4785">
                  <c:v>0</c:v>
                </c:pt>
                <c:pt idx="4786">
                  <c:v>0</c:v>
                </c:pt>
                <c:pt idx="4787">
                  <c:v>0</c:v>
                </c:pt>
                <c:pt idx="4788">
                  <c:v>0</c:v>
                </c:pt>
                <c:pt idx="4789">
                  <c:v>0</c:v>
                </c:pt>
                <c:pt idx="4790">
                  <c:v>0</c:v>
                </c:pt>
                <c:pt idx="4791">
                  <c:v>0</c:v>
                </c:pt>
                <c:pt idx="4792">
                  <c:v>0</c:v>
                </c:pt>
                <c:pt idx="4793">
                  <c:v>0</c:v>
                </c:pt>
                <c:pt idx="4794">
                  <c:v>0</c:v>
                </c:pt>
                <c:pt idx="4795">
                  <c:v>0</c:v>
                </c:pt>
                <c:pt idx="4796">
                  <c:v>0</c:v>
                </c:pt>
                <c:pt idx="4797">
                  <c:v>0</c:v>
                </c:pt>
                <c:pt idx="4798">
                  <c:v>0</c:v>
                </c:pt>
                <c:pt idx="4799">
                  <c:v>0</c:v>
                </c:pt>
                <c:pt idx="4800">
                  <c:v>0</c:v>
                </c:pt>
                <c:pt idx="4801">
                  <c:v>0</c:v>
                </c:pt>
                <c:pt idx="4802">
                  <c:v>0</c:v>
                </c:pt>
                <c:pt idx="4803">
                  <c:v>0</c:v>
                </c:pt>
                <c:pt idx="4804">
                  <c:v>0</c:v>
                </c:pt>
                <c:pt idx="4805">
                  <c:v>0</c:v>
                </c:pt>
                <c:pt idx="4806">
                  <c:v>0</c:v>
                </c:pt>
                <c:pt idx="4807">
                  <c:v>0</c:v>
                </c:pt>
                <c:pt idx="4808">
                  <c:v>0</c:v>
                </c:pt>
                <c:pt idx="4809">
                  <c:v>0</c:v>
                </c:pt>
                <c:pt idx="4810">
                  <c:v>0</c:v>
                </c:pt>
                <c:pt idx="4811">
                  <c:v>0</c:v>
                </c:pt>
                <c:pt idx="4812">
                  <c:v>0</c:v>
                </c:pt>
                <c:pt idx="4813">
                  <c:v>0</c:v>
                </c:pt>
                <c:pt idx="4814">
                  <c:v>0</c:v>
                </c:pt>
                <c:pt idx="4815">
                  <c:v>0</c:v>
                </c:pt>
                <c:pt idx="4816">
                  <c:v>0</c:v>
                </c:pt>
                <c:pt idx="4817">
                  <c:v>0</c:v>
                </c:pt>
                <c:pt idx="4818">
                  <c:v>0</c:v>
                </c:pt>
                <c:pt idx="4819">
                  <c:v>0</c:v>
                </c:pt>
                <c:pt idx="4820">
                  <c:v>0</c:v>
                </c:pt>
                <c:pt idx="4821">
                  <c:v>0</c:v>
                </c:pt>
                <c:pt idx="4822">
                  <c:v>0</c:v>
                </c:pt>
                <c:pt idx="4823">
                  <c:v>0</c:v>
                </c:pt>
                <c:pt idx="4824">
                  <c:v>0</c:v>
                </c:pt>
                <c:pt idx="4825">
                  <c:v>0</c:v>
                </c:pt>
                <c:pt idx="4826">
                  <c:v>0</c:v>
                </c:pt>
                <c:pt idx="4827">
                  <c:v>0</c:v>
                </c:pt>
                <c:pt idx="4828">
                  <c:v>0</c:v>
                </c:pt>
                <c:pt idx="4829">
                  <c:v>0</c:v>
                </c:pt>
                <c:pt idx="4830">
                  <c:v>0</c:v>
                </c:pt>
                <c:pt idx="4831">
                  <c:v>0</c:v>
                </c:pt>
                <c:pt idx="4832">
                  <c:v>0</c:v>
                </c:pt>
                <c:pt idx="4833">
                  <c:v>0</c:v>
                </c:pt>
                <c:pt idx="4834">
                  <c:v>0</c:v>
                </c:pt>
                <c:pt idx="4835">
                  <c:v>0</c:v>
                </c:pt>
                <c:pt idx="4836">
                  <c:v>0</c:v>
                </c:pt>
                <c:pt idx="4837">
                  <c:v>0</c:v>
                </c:pt>
                <c:pt idx="4838">
                  <c:v>0</c:v>
                </c:pt>
                <c:pt idx="4839">
                  <c:v>0</c:v>
                </c:pt>
                <c:pt idx="4840">
                  <c:v>0</c:v>
                </c:pt>
                <c:pt idx="4841">
                  <c:v>0</c:v>
                </c:pt>
                <c:pt idx="4842">
                  <c:v>0</c:v>
                </c:pt>
                <c:pt idx="4843">
                  <c:v>0</c:v>
                </c:pt>
                <c:pt idx="4844">
                  <c:v>0</c:v>
                </c:pt>
                <c:pt idx="4845">
                  <c:v>0</c:v>
                </c:pt>
                <c:pt idx="4846">
                  <c:v>0</c:v>
                </c:pt>
                <c:pt idx="4847">
                  <c:v>0</c:v>
                </c:pt>
                <c:pt idx="4848">
                  <c:v>0</c:v>
                </c:pt>
                <c:pt idx="4849">
                  <c:v>0</c:v>
                </c:pt>
                <c:pt idx="4850">
                  <c:v>0</c:v>
                </c:pt>
                <c:pt idx="4851">
                  <c:v>0</c:v>
                </c:pt>
                <c:pt idx="4852">
                  <c:v>0</c:v>
                </c:pt>
                <c:pt idx="4853">
                  <c:v>0</c:v>
                </c:pt>
                <c:pt idx="4854">
                  <c:v>0</c:v>
                </c:pt>
                <c:pt idx="4855">
                  <c:v>0</c:v>
                </c:pt>
                <c:pt idx="4856">
                  <c:v>0</c:v>
                </c:pt>
                <c:pt idx="4857">
                  <c:v>0</c:v>
                </c:pt>
                <c:pt idx="4858">
                  <c:v>0</c:v>
                </c:pt>
                <c:pt idx="4859">
                  <c:v>0</c:v>
                </c:pt>
                <c:pt idx="4860">
                  <c:v>0</c:v>
                </c:pt>
                <c:pt idx="4861">
                  <c:v>0</c:v>
                </c:pt>
                <c:pt idx="4862">
                  <c:v>0</c:v>
                </c:pt>
                <c:pt idx="4863">
                  <c:v>0</c:v>
                </c:pt>
                <c:pt idx="4864">
                  <c:v>0</c:v>
                </c:pt>
                <c:pt idx="4865">
                  <c:v>0</c:v>
                </c:pt>
                <c:pt idx="4866">
                  <c:v>0</c:v>
                </c:pt>
                <c:pt idx="4867">
                  <c:v>0</c:v>
                </c:pt>
                <c:pt idx="4868">
                  <c:v>0</c:v>
                </c:pt>
                <c:pt idx="4869">
                  <c:v>0</c:v>
                </c:pt>
                <c:pt idx="4870">
                  <c:v>0</c:v>
                </c:pt>
                <c:pt idx="4871">
                  <c:v>0</c:v>
                </c:pt>
                <c:pt idx="4872">
                  <c:v>0</c:v>
                </c:pt>
                <c:pt idx="4873">
                  <c:v>0</c:v>
                </c:pt>
                <c:pt idx="4874">
                  <c:v>0</c:v>
                </c:pt>
                <c:pt idx="4875">
                  <c:v>0</c:v>
                </c:pt>
                <c:pt idx="4876">
                  <c:v>0</c:v>
                </c:pt>
                <c:pt idx="4877">
                  <c:v>0</c:v>
                </c:pt>
                <c:pt idx="4878">
                  <c:v>0</c:v>
                </c:pt>
                <c:pt idx="4879">
                  <c:v>0</c:v>
                </c:pt>
                <c:pt idx="4880">
                  <c:v>0</c:v>
                </c:pt>
                <c:pt idx="4881">
                  <c:v>0</c:v>
                </c:pt>
                <c:pt idx="4882">
                  <c:v>0</c:v>
                </c:pt>
                <c:pt idx="4883">
                  <c:v>0</c:v>
                </c:pt>
                <c:pt idx="4884">
                  <c:v>0</c:v>
                </c:pt>
                <c:pt idx="4885">
                  <c:v>0</c:v>
                </c:pt>
                <c:pt idx="4886">
                  <c:v>0</c:v>
                </c:pt>
                <c:pt idx="4887">
                  <c:v>0</c:v>
                </c:pt>
                <c:pt idx="4888">
                  <c:v>0</c:v>
                </c:pt>
                <c:pt idx="4889">
                  <c:v>0</c:v>
                </c:pt>
                <c:pt idx="4890">
                  <c:v>0</c:v>
                </c:pt>
                <c:pt idx="4891">
                  <c:v>0</c:v>
                </c:pt>
                <c:pt idx="4892">
                  <c:v>0</c:v>
                </c:pt>
                <c:pt idx="4893">
                  <c:v>0</c:v>
                </c:pt>
                <c:pt idx="4894">
                  <c:v>0</c:v>
                </c:pt>
                <c:pt idx="4895">
                  <c:v>0</c:v>
                </c:pt>
                <c:pt idx="4896">
                  <c:v>0</c:v>
                </c:pt>
                <c:pt idx="4897">
                  <c:v>0</c:v>
                </c:pt>
                <c:pt idx="4898">
                  <c:v>0</c:v>
                </c:pt>
                <c:pt idx="4899">
                  <c:v>0</c:v>
                </c:pt>
                <c:pt idx="4900">
                  <c:v>0</c:v>
                </c:pt>
                <c:pt idx="4901">
                  <c:v>0</c:v>
                </c:pt>
                <c:pt idx="4902">
                  <c:v>0</c:v>
                </c:pt>
                <c:pt idx="4903">
                  <c:v>0</c:v>
                </c:pt>
                <c:pt idx="4904">
                  <c:v>0</c:v>
                </c:pt>
                <c:pt idx="4905">
                  <c:v>0</c:v>
                </c:pt>
                <c:pt idx="4906">
                  <c:v>0</c:v>
                </c:pt>
                <c:pt idx="4907">
                  <c:v>0</c:v>
                </c:pt>
                <c:pt idx="4908">
                  <c:v>0</c:v>
                </c:pt>
                <c:pt idx="4909">
                  <c:v>0</c:v>
                </c:pt>
                <c:pt idx="4910">
                  <c:v>0</c:v>
                </c:pt>
                <c:pt idx="4911">
                  <c:v>0</c:v>
                </c:pt>
                <c:pt idx="4912">
                  <c:v>0</c:v>
                </c:pt>
                <c:pt idx="4913">
                  <c:v>0</c:v>
                </c:pt>
                <c:pt idx="4914">
                  <c:v>0</c:v>
                </c:pt>
                <c:pt idx="4915">
                  <c:v>0</c:v>
                </c:pt>
                <c:pt idx="4916">
                  <c:v>0</c:v>
                </c:pt>
                <c:pt idx="4917">
                  <c:v>0</c:v>
                </c:pt>
                <c:pt idx="4918">
                  <c:v>0</c:v>
                </c:pt>
                <c:pt idx="4919">
                  <c:v>0</c:v>
                </c:pt>
                <c:pt idx="4920">
                  <c:v>0</c:v>
                </c:pt>
                <c:pt idx="4921">
                  <c:v>0</c:v>
                </c:pt>
                <c:pt idx="4922">
                  <c:v>0</c:v>
                </c:pt>
                <c:pt idx="4923">
                  <c:v>0</c:v>
                </c:pt>
                <c:pt idx="4924">
                  <c:v>0</c:v>
                </c:pt>
                <c:pt idx="4925">
                  <c:v>0</c:v>
                </c:pt>
                <c:pt idx="4926">
                  <c:v>0</c:v>
                </c:pt>
                <c:pt idx="4927">
                  <c:v>0</c:v>
                </c:pt>
                <c:pt idx="4928">
                  <c:v>0</c:v>
                </c:pt>
                <c:pt idx="4929">
                  <c:v>0</c:v>
                </c:pt>
                <c:pt idx="4930">
                  <c:v>0</c:v>
                </c:pt>
                <c:pt idx="4931">
                  <c:v>0</c:v>
                </c:pt>
                <c:pt idx="4932">
                  <c:v>0</c:v>
                </c:pt>
                <c:pt idx="4933">
                  <c:v>0</c:v>
                </c:pt>
                <c:pt idx="4934">
                  <c:v>0</c:v>
                </c:pt>
                <c:pt idx="4935">
                  <c:v>0</c:v>
                </c:pt>
                <c:pt idx="4936">
                  <c:v>0</c:v>
                </c:pt>
                <c:pt idx="4937">
                  <c:v>0</c:v>
                </c:pt>
                <c:pt idx="4938">
                  <c:v>0</c:v>
                </c:pt>
                <c:pt idx="4939">
                  <c:v>0</c:v>
                </c:pt>
                <c:pt idx="4940">
                  <c:v>0</c:v>
                </c:pt>
                <c:pt idx="4941">
                  <c:v>0</c:v>
                </c:pt>
                <c:pt idx="4942">
                  <c:v>0</c:v>
                </c:pt>
                <c:pt idx="4943">
                  <c:v>0</c:v>
                </c:pt>
                <c:pt idx="4944">
                  <c:v>0</c:v>
                </c:pt>
                <c:pt idx="4945">
                  <c:v>0</c:v>
                </c:pt>
                <c:pt idx="4946">
                  <c:v>0</c:v>
                </c:pt>
                <c:pt idx="4947">
                  <c:v>0</c:v>
                </c:pt>
                <c:pt idx="4948">
                  <c:v>0</c:v>
                </c:pt>
                <c:pt idx="4949">
                  <c:v>0</c:v>
                </c:pt>
                <c:pt idx="4950">
                  <c:v>0</c:v>
                </c:pt>
                <c:pt idx="4951">
                  <c:v>0</c:v>
                </c:pt>
                <c:pt idx="4952">
                  <c:v>0</c:v>
                </c:pt>
                <c:pt idx="4953">
                  <c:v>0</c:v>
                </c:pt>
                <c:pt idx="4954">
                  <c:v>0</c:v>
                </c:pt>
                <c:pt idx="4955">
                  <c:v>0</c:v>
                </c:pt>
                <c:pt idx="4956">
                  <c:v>0</c:v>
                </c:pt>
                <c:pt idx="4957">
                  <c:v>0</c:v>
                </c:pt>
                <c:pt idx="4958">
                  <c:v>0</c:v>
                </c:pt>
                <c:pt idx="4959">
                  <c:v>0</c:v>
                </c:pt>
                <c:pt idx="4960">
                  <c:v>0</c:v>
                </c:pt>
                <c:pt idx="4961">
                  <c:v>0</c:v>
                </c:pt>
                <c:pt idx="4962">
                  <c:v>0</c:v>
                </c:pt>
                <c:pt idx="4963">
                  <c:v>0</c:v>
                </c:pt>
                <c:pt idx="4964">
                  <c:v>0</c:v>
                </c:pt>
                <c:pt idx="4965">
                  <c:v>0</c:v>
                </c:pt>
                <c:pt idx="4966">
                  <c:v>0</c:v>
                </c:pt>
                <c:pt idx="4967">
                  <c:v>0</c:v>
                </c:pt>
                <c:pt idx="4968">
                  <c:v>0</c:v>
                </c:pt>
                <c:pt idx="4969">
                  <c:v>0</c:v>
                </c:pt>
                <c:pt idx="4970">
                  <c:v>0</c:v>
                </c:pt>
                <c:pt idx="4971">
                  <c:v>0</c:v>
                </c:pt>
                <c:pt idx="4972">
                  <c:v>0</c:v>
                </c:pt>
                <c:pt idx="4973">
                  <c:v>0</c:v>
                </c:pt>
                <c:pt idx="4974">
                  <c:v>0</c:v>
                </c:pt>
                <c:pt idx="4975">
                  <c:v>0</c:v>
                </c:pt>
                <c:pt idx="4976">
                  <c:v>0</c:v>
                </c:pt>
                <c:pt idx="4977">
                  <c:v>0</c:v>
                </c:pt>
                <c:pt idx="4978">
                  <c:v>0</c:v>
                </c:pt>
                <c:pt idx="4979">
                  <c:v>0</c:v>
                </c:pt>
                <c:pt idx="4980">
                  <c:v>0</c:v>
                </c:pt>
                <c:pt idx="4981">
                  <c:v>0</c:v>
                </c:pt>
                <c:pt idx="4982">
                  <c:v>0</c:v>
                </c:pt>
                <c:pt idx="4983">
                  <c:v>0</c:v>
                </c:pt>
                <c:pt idx="4984">
                  <c:v>0</c:v>
                </c:pt>
                <c:pt idx="4985">
                  <c:v>0</c:v>
                </c:pt>
                <c:pt idx="4986">
                  <c:v>0</c:v>
                </c:pt>
                <c:pt idx="4987">
                  <c:v>0</c:v>
                </c:pt>
                <c:pt idx="4988">
                  <c:v>0</c:v>
                </c:pt>
                <c:pt idx="4989">
                  <c:v>0</c:v>
                </c:pt>
                <c:pt idx="4990">
                  <c:v>0</c:v>
                </c:pt>
                <c:pt idx="4991">
                  <c:v>0</c:v>
                </c:pt>
                <c:pt idx="4992">
                  <c:v>0</c:v>
                </c:pt>
                <c:pt idx="4993">
                  <c:v>0</c:v>
                </c:pt>
                <c:pt idx="4994">
                  <c:v>0</c:v>
                </c:pt>
                <c:pt idx="4995">
                  <c:v>0</c:v>
                </c:pt>
                <c:pt idx="4996">
                  <c:v>0</c:v>
                </c:pt>
                <c:pt idx="4997">
                  <c:v>0</c:v>
                </c:pt>
                <c:pt idx="4998">
                  <c:v>0</c:v>
                </c:pt>
                <c:pt idx="4999">
                  <c:v>0</c:v>
                </c:pt>
                <c:pt idx="5000">
                  <c:v>0</c:v>
                </c:pt>
                <c:pt idx="5001">
                  <c:v>0</c:v>
                </c:pt>
                <c:pt idx="5002">
                  <c:v>0</c:v>
                </c:pt>
                <c:pt idx="5003">
                  <c:v>0</c:v>
                </c:pt>
                <c:pt idx="5004">
                  <c:v>0</c:v>
                </c:pt>
                <c:pt idx="5005">
                  <c:v>0</c:v>
                </c:pt>
                <c:pt idx="5006">
                  <c:v>0</c:v>
                </c:pt>
                <c:pt idx="5007">
                  <c:v>0</c:v>
                </c:pt>
                <c:pt idx="5008">
                  <c:v>0</c:v>
                </c:pt>
                <c:pt idx="5009">
                  <c:v>0</c:v>
                </c:pt>
                <c:pt idx="5010">
                  <c:v>0</c:v>
                </c:pt>
                <c:pt idx="5011">
                  <c:v>0</c:v>
                </c:pt>
                <c:pt idx="5012">
                  <c:v>0</c:v>
                </c:pt>
                <c:pt idx="5013">
                  <c:v>0</c:v>
                </c:pt>
                <c:pt idx="5014">
                  <c:v>0</c:v>
                </c:pt>
                <c:pt idx="5015">
                  <c:v>0</c:v>
                </c:pt>
                <c:pt idx="5016">
                  <c:v>0</c:v>
                </c:pt>
                <c:pt idx="5017">
                  <c:v>0</c:v>
                </c:pt>
                <c:pt idx="5018">
                  <c:v>0</c:v>
                </c:pt>
                <c:pt idx="5019">
                  <c:v>0</c:v>
                </c:pt>
                <c:pt idx="5020">
                  <c:v>0</c:v>
                </c:pt>
                <c:pt idx="5021">
                  <c:v>0</c:v>
                </c:pt>
                <c:pt idx="5022">
                  <c:v>0</c:v>
                </c:pt>
                <c:pt idx="5023">
                  <c:v>0</c:v>
                </c:pt>
                <c:pt idx="5024">
                  <c:v>0</c:v>
                </c:pt>
                <c:pt idx="5025">
                  <c:v>0</c:v>
                </c:pt>
                <c:pt idx="5026">
                  <c:v>0</c:v>
                </c:pt>
                <c:pt idx="5027">
                  <c:v>0</c:v>
                </c:pt>
                <c:pt idx="5028">
                  <c:v>0</c:v>
                </c:pt>
                <c:pt idx="5029">
                  <c:v>0</c:v>
                </c:pt>
                <c:pt idx="5030">
                  <c:v>0</c:v>
                </c:pt>
                <c:pt idx="5031">
                  <c:v>0</c:v>
                </c:pt>
                <c:pt idx="5032">
                  <c:v>0</c:v>
                </c:pt>
                <c:pt idx="5033">
                  <c:v>0</c:v>
                </c:pt>
                <c:pt idx="5034">
                  <c:v>0</c:v>
                </c:pt>
                <c:pt idx="5035">
                  <c:v>0</c:v>
                </c:pt>
                <c:pt idx="5036">
                  <c:v>0</c:v>
                </c:pt>
                <c:pt idx="5037">
                  <c:v>0</c:v>
                </c:pt>
                <c:pt idx="5038">
                  <c:v>0</c:v>
                </c:pt>
                <c:pt idx="5039">
                  <c:v>0</c:v>
                </c:pt>
                <c:pt idx="5040">
                  <c:v>0</c:v>
                </c:pt>
                <c:pt idx="5041">
                  <c:v>0</c:v>
                </c:pt>
                <c:pt idx="5042">
                  <c:v>0</c:v>
                </c:pt>
                <c:pt idx="5043">
                  <c:v>0</c:v>
                </c:pt>
                <c:pt idx="5044">
                  <c:v>0</c:v>
                </c:pt>
                <c:pt idx="5045">
                  <c:v>0</c:v>
                </c:pt>
                <c:pt idx="5046">
                  <c:v>0</c:v>
                </c:pt>
                <c:pt idx="5047">
                  <c:v>0</c:v>
                </c:pt>
                <c:pt idx="5048">
                  <c:v>0</c:v>
                </c:pt>
                <c:pt idx="5049">
                  <c:v>0</c:v>
                </c:pt>
                <c:pt idx="5050">
                  <c:v>0</c:v>
                </c:pt>
                <c:pt idx="5051">
                  <c:v>0</c:v>
                </c:pt>
                <c:pt idx="5052">
                  <c:v>0</c:v>
                </c:pt>
                <c:pt idx="5053">
                  <c:v>0</c:v>
                </c:pt>
                <c:pt idx="5054">
                  <c:v>0</c:v>
                </c:pt>
                <c:pt idx="5055">
                  <c:v>0</c:v>
                </c:pt>
                <c:pt idx="5056">
                  <c:v>0</c:v>
                </c:pt>
                <c:pt idx="5057">
                  <c:v>0</c:v>
                </c:pt>
                <c:pt idx="5058">
                  <c:v>0</c:v>
                </c:pt>
                <c:pt idx="5059">
                  <c:v>0</c:v>
                </c:pt>
                <c:pt idx="5060">
                  <c:v>0</c:v>
                </c:pt>
                <c:pt idx="5061">
                  <c:v>0</c:v>
                </c:pt>
                <c:pt idx="5062">
                  <c:v>0</c:v>
                </c:pt>
                <c:pt idx="5063">
                  <c:v>0</c:v>
                </c:pt>
                <c:pt idx="5064">
                  <c:v>0</c:v>
                </c:pt>
                <c:pt idx="5065">
                  <c:v>0</c:v>
                </c:pt>
                <c:pt idx="5066">
                  <c:v>0</c:v>
                </c:pt>
                <c:pt idx="5067">
                  <c:v>0</c:v>
                </c:pt>
                <c:pt idx="5068">
                  <c:v>0</c:v>
                </c:pt>
                <c:pt idx="5069">
                  <c:v>0</c:v>
                </c:pt>
                <c:pt idx="5070">
                  <c:v>0</c:v>
                </c:pt>
                <c:pt idx="5071">
                  <c:v>0</c:v>
                </c:pt>
                <c:pt idx="5072">
                  <c:v>0</c:v>
                </c:pt>
                <c:pt idx="5073">
                  <c:v>0</c:v>
                </c:pt>
                <c:pt idx="5074">
                  <c:v>0</c:v>
                </c:pt>
                <c:pt idx="5075">
                  <c:v>0</c:v>
                </c:pt>
                <c:pt idx="5076">
                  <c:v>0</c:v>
                </c:pt>
                <c:pt idx="5077">
                  <c:v>0</c:v>
                </c:pt>
                <c:pt idx="5078">
                  <c:v>0</c:v>
                </c:pt>
                <c:pt idx="5079">
                  <c:v>0</c:v>
                </c:pt>
                <c:pt idx="5080">
                  <c:v>0</c:v>
                </c:pt>
                <c:pt idx="5081">
                  <c:v>0</c:v>
                </c:pt>
                <c:pt idx="5082">
                  <c:v>0</c:v>
                </c:pt>
                <c:pt idx="5083">
                  <c:v>0</c:v>
                </c:pt>
                <c:pt idx="5084">
                  <c:v>0</c:v>
                </c:pt>
                <c:pt idx="5085">
                  <c:v>0</c:v>
                </c:pt>
                <c:pt idx="5086">
                  <c:v>0</c:v>
                </c:pt>
                <c:pt idx="5087">
                  <c:v>0</c:v>
                </c:pt>
                <c:pt idx="5088">
                  <c:v>0</c:v>
                </c:pt>
                <c:pt idx="5089">
                  <c:v>0</c:v>
                </c:pt>
                <c:pt idx="5090">
                  <c:v>0</c:v>
                </c:pt>
                <c:pt idx="5091">
                  <c:v>0</c:v>
                </c:pt>
                <c:pt idx="5092">
                  <c:v>0</c:v>
                </c:pt>
                <c:pt idx="5093">
                  <c:v>0</c:v>
                </c:pt>
                <c:pt idx="5094">
                  <c:v>0</c:v>
                </c:pt>
                <c:pt idx="5095">
                  <c:v>0</c:v>
                </c:pt>
                <c:pt idx="5096">
                  <c:v>0</c:v>
                </c:pt>
                <c:pt idx="5097">
                  <c:v>0</c:v>
                </c:pt>
                <c:pt idx="5098">
                  <c:v>0</c:v>
                </c:pt>
                <c:pt idx="5099">
                  <c:v>0</c:v>
                </c:pt>
                <c:pt idx="5100">
                  <c:v>0</c:v>
                </c:pt>
                <c:pt idx="5101">
                  <c:v>0</c:v>
                </c:pt>
                <c:pt idx="5102">
                  <c:v>0</c:v>
                </c:pt>
                <c:pt idx="5103">
                  <c:v>0</c:v>
                </c:pt>
                <c:pt idx="5104">
                  <c:v>0</c:v>
                </c:pt>
                <c:pt idx="5105">
                  <c:v>0</c:v>
                </c:pt>
                <c:pt idx="5106">
                  <c:v>0</c:v>
                </c:pt>
                <c:pt idx="5107">
                  <c:v>0</c:v>
                </c:pt>
                <c:pt idx="5108">
                  <c:v>0</c:v>
                </c:pt>
                <c:pt idx="5109">
                  <c:v>0</c:v>
                </c:pt>
                <c:pt idx="5110">
                  <c:v>0</c:v>
                </c:pt>
                <c:pt idx="5111">
                  <c:v>0</c:v>
                </c:pt>
                <c:pt idx="5112">
                  <c:v>0</c:v>
                </c:pt>
                <c:pt idx="5113">
                  <c:v>0</c:v>
                </c:pt>
                <c:pt idx="5114">
                  <c:v>0</c:v>
                </c:pt>
                <c:pt idx="5115">
                  <c:v>0</c:v>
                </c:pt>
                <c:pt idx="5116">
                  <c:v>0</c:v>
                </c:pt>
                <c:pt idx="5117">
                  <c:v>0</c:v>
                </c:pt>
                <c:pt idx="5118">
                  <c:v>0</c:v>
                </c:pt>
                <c:pt idx="5119">
                  <c:v>0</c:v>
                </c:pt>
                <c:pt idx="5120">
                  <c:v>0</c:v>
                </c:pt>
                <c:pt idx="5121">
                  <c:v>0</c:v>
                </c:pt>
                <c:pt idx="5122">
                  <c:v>0</c:v>
                </c:pt>
                <c:pt idx="5123">
                  <c:v>0</c:v>
                </c:pt>
                <c:pt idx="5124">
                  <c:v>0</c:v>
                </c:pt>
                <c:pt idx="5125">
                  <c:v>0</c:v>
                </c:pt>
                <c:pt idx="5126">
                  <c:v>0</c:v>
                </c:pt>
                <c:pt idx="5127">
                  <c:v>0</c:v>
                </c:pt>
                <c:pt idx="5128">
                  <c:v>0</c:v>
                </c:pt>
                <c:pt idx="5129">
                  <c:v>0</c:v>
                </c:pt>
                <c:pt idx="5130">
                  <c:v>0</c:v>
                </c:pt>
                <c:pt idx="5131">
                  <c:v>0</c:v>
                </c:pt>
                <c:pt idx="5132">
                  <c:v>0</c:v>
                </c:pt>
                <c:pt idx="5133">
                  <c:v>0</c:v>
                </c:pt>
                <c:pt idx="5134">
                  <c:v>0</c:v>
                </c:pt>
                <c:pt idx="5135">
                  <c:v>0</c:v>
                </c:pt>
                <c:pt idx="5136">
                  <c:v>0</c:v>
                </c:pt>
                <c:pt idx="5137">
                  <c:v>0</c:v>
                </c:pt>
                <c:pt idx="5138">
                  <c:v>0</c:v>
                </c:pt>
                <c:pt idx="5139">
                  <c:v>0</c:v>
                </c:pt>
                <c:pt idx="5140">
                  <c:v>0</c:v>
                </c:pt>
                <c:pt idx="5141">
                  <c:v>0</c:v>
                </c:pt>
                <c:pt idx="5142">
                  <c:v>0</c:v>
                </c:pt>
                <c:pt idx="5143">
                  <c:v>0</c:v>
                </c:pt>
                <c:pt idx="5144">
                  <c:v>0</c:v>
                </c:pt>
                <c:pt idx="5145">
                  <c:v>0</c:v>
                </c:pt>
                <c:pt idx="5146">
                  <c:v>0</c:v>
                </c:pt>
                <c:pt idx="5147">
                  <c:v>0</c:v>
                </c:pt>
                <c:pt idx="5148">
                  <c:v>0</c:v>
                </c:pt>
                <c:pt idx="5149">
                  <c:v>0</c:v>
                </c:pt>
                <c:pt idx="5150">
                  <c:v>0</c:v>
                </c:pt>
                <c:pt idx="5151">
                  <c:v>0</c:v>
                </c:pt>
                <c:pt idx="5152">
                  <c:v>0</c:v>
                </c:pt>
                <c:pt idx="5153">
                  <c:v>0</c:v>
                </c:pt>
                <c:pt idx="5154">
                  <c:v>0</c:v>
                </c:pt>
                <c:pt idx="5155">
                  <c:v>0</c:v>
                </c:pt>
                <c:pt idx="5156">
                  <c:v>0</c:v>
                </c:pt>
                <c:pt idx="5157">
                  <c:v>0</c:v>
                </c:pt>
                <c:pt idx="5158">
                  <c:v>0</c:v>
                </c:pt>
                <c:pt idx="5159">
                  <c:v>0</c:v>
                </c:pt>
                <c:pt idx="5160">
                  <c:v>0</c:v>
                </c:pt>
                <c:pt idx="5161">
                  <c:v>0</c:v>
                </c:pt>
                <c:pt idx="5162">
                  <c:v>0</c:v>
                </c:pt>
                <c:pt idx="5163">
                  <c:v>0</c:v>
                </c:pt>
                <c:pt idx="5164">
                  <c:v>0</c:v>
                </c:pt>
                <c:pt idx="5165">
                  <c:v>0</c:v>
                </c:pt>
                <c:pt idx="5166">
                  <c:v>0</c:v>
                </c:pt>
                <c:pt idx="5167">
                  <c:v>0</c:v>
                </c:pt>
                <c:pt idx="5168">
                  <c:v>0</c:v>
                </c:pt>
                <c:pt idx="5169">
                  <c:v>0</c:v>
                </c:pt>
                <c:pt idx="5170">
                  <c:v>0</c:v>
                </c:pt>
                <c:pt idx="5171">
                  <c:v>0</c:v>
                </c:pt>
                <c:pt idx="5172">
                  <c:v>0</c:v>
                </c:pt>
                <c:pt idx="5173">
                  <c:v>0</c:v>
                </c:pt>
                <c:pt idx="5174">
                  <c:v>0</c:v>
                </c:pt>
                <c:pt idx="5175">
                  <c:v>0</c:v>
                </c:pt>
                <c:pt idx="5176">
                  <c:v>0</c:v>
                </c:pt>
                <c:pt idx="5177">
                  <c:v>0</c:v>
                </c:pt>
                <c:pt idx="5178">
                  <c:v>0</c:v>
                </c:pt>
                <c:pt idx="5179">
                  <c:v>0</c:v>
                </c:pt>
                <c:pt idx="5180">
                  <c:v>0</c:v>
                </c:pt>
                <c:pt idx="5181">
                  <c:v>0</c:v>
                </c:pt>
                <c:pt idx="5182">
                  <c:v>0</c:v>
                </c:pt>
                <c:pt idx="5183">
                  <c:v>0</c:v>
                </c:pt>
                <c:pt idx="5184">
                  <c:v>0</c:v>
                </c:pt>
                <c:pt idx="5185">
                  <c:v>0</c:v>
                </c:pt>
                <c:pt idx="5186">
                  <c:v>0</c:v>
                </c:pt>
                <c:pt idx="5187">
                  <c:v>0</c:v>
                </c:pt>
                <c:pt idx="5188">
                  <c:v>0</c:v>
                </c:pt>
                <c:pt idx="5189">
                  <c:v>0</c:v>
                </c:pt>
                <c:pt idx="5190">
                  <c:v>0</c:v>
                </c:pt>
                <c:pt idx="5191">
                  <c:v>0</c:v>
                </c:pt>
                <c:pt idx="5192">
                  <c:v>0</c:v>
                </c:pt>
                <c:pt idx="5193">
                  <c:v>0</c:v>
                </c:pt>
                <c:pt idx="5194">
                  <c:v>0</c:v>
                </c:pt>
                <c:pt idx="5195">
                  <c:v>0</c:v>
                </c:pt>
                <c:pt idx="5196">
                  <c:v>0</c:v>
                </c:pt>
                <c:pt idx="5197">
                  <c:v>0</c:v>
                </c:pt>
                <c:pt idx="5198">
                  <c:v>0</c:v>
                </c:pt>
                <c:pt idx="5199">
                  <c:v>0</c:v>
                </c:pt>
                <c:pt idx="5200">
                  <c:v>0</c:v>
                </c:pt>
                <c:pt idx="5201">
                  <c:v>0</c:v>
                </c:pt>
                <c:pt idx="5202">
                  <c:v>0</c:v>
                </c:pt>
                <c:pt idx="5203">
                  <c:v>0</c:v>
                </c:pt>
                <c:pt idx="5204">
                  <c:v>0</c:v>
                </c:pt>
                <c:pt idx="5205">
                  <c:v>0</c:v>
                </c:pt>
                <c:pt idx="5206">
                  <c:v>0</c:v>
                </c:pt>
                <c:pt idx="5207">
                  <c:v>0</c:v>
                </c:pt>
                <c:pt idx="5208">
                  <c:v>0</c:v>
                </c:pt>
                <c:pt idx="5209">
                  <c:v>0</c:v>
                </c:pt>
                <c:pt idx="5210">
                  <c:v>0</c:v>
                </c:pt>
                <c:pt idx="5211">
                  <c:v>0</c:v>
                </c:pt>
                <c:pt idx="5212">
                  <c:v>0</c:v>
                </c:pt>
                <c:pt idx="5213">
                  <c:v>0</c:v>
                </c:pt>
                <c:pt idx="5214">
                  <c:v>0</c:v>
                </c:pt>
                <c:pt idx="5215">
                  <c:v>0</c:v>
                </c:pt>
                <c:pt idx="5216">
                  <c:v>0</c:v>
                </c:pt>
                <c:pt idx="5217">
                  <c:v>0</c:v>
                </c:pt>
                <c:pt idx="5218">
                  <c:v>0</c:v>
                </c:pt>
                <c:pt idx="5219">
                  <c:v>0</c:v>
                </c:pt>
                <c:pt idx="5220">
                  <c:v>0</c:v>
                </c:pt>
                <c:pt idx="5221">
                  <c:v>0</c:v>
                </c:pt>
                <c:pt idx="5222">
                  <c:v>0</c:v>
                </c:pt>
                <c:pt idx="5223">
                  <c:v>0</c:v>
                </c:pt>
                <c:pt idx="5224">
                  <c:v>0</c:v>
                </c:pt>
                <c:pt idx="5225">
                  <c:v>0</c:v>
                </c:pt>
                <c:pt idx="5226">
                  <c:v>0</c:v>
                </c:pt>
                <c:pt idx="5227">
                  <c:v>0</c:v>
                </c:pt>
                <c:pt idx="5228">
                  <c:v>0</c:v>
                </c:pt>
                <c:pt idx="5229">
                  <c:v>0</c:v>
                </c:pt>
                <c:pt idx="5230">
                  <c:v>0</c:v>
                </c:pt>
                <c:pt idx="5231">
                  <c:v>0</c:v>
                </c:pt>
                <c:pt idx="5232">
                  <c:v>0</c:v>
                </c:pt>
                <c:pt idx="5233">
                  <c:v>0</c:v>
                </c:pt>
                <c:pt idx="5234">
                  <c:v>0</c:v>
                </c:pt>
                <c:pt idx="5235">
                  <c:v>0</c:v>
                </c:pt>
                <c:pt idx="5236">
                  <c:v>0</c:v>
                </c:pt>
                <c:pt idx="5237">
                  <c:v>0</c:v>
                </c:pt>
                <c:pt idx="5238">
                  <c:v>0</c:v>
                </c:pt>
                <c:pt idx="5239">
                  <c:v>0</c:v>
                </c:pt>
                <c:pt idx="5240">
                  <c:v>0</c:v>
                </c:pt>
                <c:pt idx="5241">
                  <c:v>0</c:v>
                </c:pt>
                <c:pt idx="5242">
                  <c:v>0</c:v>
                </c:pt>
                <c:pt idx="5243">
                  <c:v>0</c:v>
                </c:pt>
                <c:pt idx="5244">
                  <c:v>0</c:v>
                </c:pt>
                <c:pt idx="5245">
                  <c:v>0</c:v>
                </c:pt>
                <c:pt idx="5246">
                  <c:v>0</c:v>
                </c:pt>
                <c:pt idx="5247">
                  <c:v>0</c:v>
                </c:pt>
                <c:pt idx="5248">
                  <c:v>0</c:v>
                </c:pt>
                <c:pt idx="5249">
                  <c:v>0</c:v>
                </c:pt>
                <c:pt idx="5250">
                  <c:v>0</c:v>
                </c:pt>
                <c:pt idx="5251">
                  <c:v>0</c:v>
                </c:pt>
                <c:pt idx="5252">
                  <c:v>0</c:v>
                </c:pt>
                <c:pt idx="5253">
                  <c:v>0</c:v>
                </c:pt>
                <c:pt idx="5254">
                  <c:v>0</c:v>
                </c:pt>
                <c:pt idx="5255">
                  <c:v>0</c:v>
                </c:pt>
                <c:pt idx="5256">
                  <c:v>0</c:v>
                </c:pt>
                <c:pt idx="5257">
                  <c:v>0</c:v>
                </c:pt>
                <c:pt idx="5258">
                  <c:v>0</c:v>
                </c:pt>
                <c:pt idx="5259">
                  <c:v>0</c:v>
                </c:pt>
                <c:pt idx="5260">
                  <c:v>0</c:v>
                </c:pt>
                <c:pt idx="5261">
                  <c:v>0</c:v>
                </c:pt>
                <c:pt idx="5262">
                  <c:v>0</c:v>
                </c:pt>
                <c:pt idx="5263">
                  <c:v>0</c:v>
                </c:pt>
                <c:pt idx="5264">
                  <c:v>0</c:v>
                </c:pt>
                <c:pt idx="5265">
                  <c:v>0</c:v>
                </c:pt>
                <c:pt idx="5266">
                  <c:v>0</c:v>
                </c:pt>
                <c:pt idx="5267">
                  <c:v>0</c:v>
                </c:pt>
                <c:pt idx="5268">
                  <c:v>0</c:v>
                </c:pt>
                <c:pt idx="5269">
                  <c:v>0</c:v>
                </c:pt>
                <c:pt idx="5270">
                  <c:v>0</c:v>
                </c:pt>
                <c:pt idx="5271">
                  <c:v>0</c:v>
                </c:pt>
                <c:pt idx="5272">
                  <c:v>0</c:v>
                </c:pt>
                <c:pt idx="5273">
                  <c:v>0</c:v>
                </c:pt>
                <c:pt idx="5274">
                  <c:v>0</c:v>
                </c:pt>
                <c:pt idx="5275">
                  <c:v>0</c:v>
                </c:pt>
                <c:pt idx="5276">
                  <c:v>0</c:v>
                </c:pt>
                <c:pt idx="5277">
                  <c:v>0</c:v>
                </c:pt>
                <c:pt idx="5278">
                  <c:v>0</c:v>
                </c:pt>
                <c:pt idx="5279">
                  <c:v>0</c:v>
                </c:pt>
                <c:pt idx="5280">
                  <c:v>0</c:v>
                </c:pt>
                <c:pt idx="5281">
                  <c:v>0</c:v>
                </c:pt>
                <c:pt idx="5282">
                  <c:v>0</c:v>
                </c:pt>
                <c:pt idx="5283">
                  <c:v>0</c:v>
                </c:pt>
                <c:pt idx="5284">
                  <c:v>0</c:v>
                </c:pt>
                <c:pt idx="5285">
                  <c:v>0</c:v>
                </c:pt>
                <c:pt idx="5286">
                  <c:v>0</c:v>
                </c:pt>
                <c:pt idx="5287">
                  <c:v>0</c:v>
                </c:pt>
                <c:pt idx="5288">
                  <c:v>0</c:v>
                </c:pt>
                <c:pt idx="5289">
                  <c:v>0</c:v>
                </c:pt>
                <c:pt idx="5290">
                  <c:v>0</c:v>
                </c:pt>
                <c:pt idx="5291">
                  <c:v>0</c:v>
                </c:pt>
                <c:pt idx="5292">
                  <c:v>0</c:v>
                </c:pt>
                <c:pt idx="5293">
                  <c:v>0</c:v>
                </c:pt>
                <c:pt idx="5294">
                  <c:v>0</c:v>
                </c:pt>
                <c:pt idx="5295">
                  <c:v>0</c:v>
                </c:pt>
                <c:pt idx="5296">
                  <c:v>0</c:v>
                </c:pt>
                <c:pt idx="5297">
                  <c:v>0</c:v>
                </c:pt>
                <c:pt idx="5298">
                  <c:v>0</c:v>
                </c:pt>
                <c:pt idx="5299">
                  <c:v>0</c:v>
                </c:pt>
                <c:pt idx="5300">
                  <c:v>0</c:v>
                </c:pt>
                <c:pt idx="5301">
                  <c:v>0</c:v>
                </c:pt>
                <c:pt idx="5302">
                  <c:v>0</c:v>
                </c:pt>
                <c:pt idx="5303">
                  <c:v>0</c:v>
                </c:pt>
                <c:pt idx="5304">
                  <c:v>0</c:v>
                </c:pt>
                <c:pt idx="5305">
                  <c:v>0</c:v>
                </c:pt>
                <c:pt idx="5306">
                  <c:v>0</c:v>
                </c:pt>
                <c:pt idx="5307">
                  <c:v>0</c:v>
                </c:pt>
                <c:pt idx="5308">
                  <c:v>0</c:v>
                </c:pt>
                <c:pt idx="5309">
                  <c:v>0</c:v>
                </c:pt>
                <c:pt idx="5310">
                  <c:v>0</c:v>
                </c:pt>
                <c:pt idx="5311">
                  <c:v>0</c:v>
                </c:pt>
                <c:pt idx="5312">
                  <c:v>0</c:v>
                </c:pt>
                <c:pt idx="5313">
                  <c:v>0</c:v>
                </c:pt>
                <c:pt idx="5314">
                  <c:v>0</c:v>
                </c:pt>
                <c:pt idx="5315">
                  <c:v>0</c:v>
                </c:pt>
                <c:pt idx="5316">
                  <c:v>0</c:v>
                </c:pt>
                <c:pt idx="5317">
                  <c:v>0</c:v>
                </c:pt>
                <c:pt idx="5318">
                  <c:v>0</c:v>
                </c:pt>
                <c:pt idx="5319">
                  <c:v>0</c:v>
                </c:pt>
                <c:pt idx="5320">
                  <c:v>0</c:v>
                </c:pt>
                <c:pt idx="5321">
                  <c:v>0</c:v>
                </c:pt>
                <c:pt idx="5322">
                  <c:v>0</c:v>
                </c:pt>
                <c:pt idx="5323">
                  <c:v>0</c:v>
                </c:pt>
                <c:pt idx="5324">
                  <c:v>0</c:v>
                </c:pt>
                <c:pt idx="5325">
                  <c:v>0</c:v>
                </c:pt>
                <c:pt idx="5326">
                  <c:v>0</c:v>
                </c:pt>
                <c:pt idx="5327">
                  <c:v>0</c:v>
                </c:pt>
                <c:pt idx="5328">
                  <c:v>0</c:v>
                </c:pt>
                <c:pt idx="5329">
                  <c:v>0</c:v>
                </c:pt>
                <c:pt idx="5330">
                  <c:v>0</c:v>
                </c:pt>
                <c:pt idx="5331">
                  <c:v>0</c:v>
                </c:pt>
                <c:pt idx="5332">
                  <c:v>0</c:v>
                </c:pt>
                <c:pt idx="5333">
                  <c:v>0</c:v>
                </c:pt>
                <c:pt idx="5334">
                  <c:v>0</c:v>
                </c:pt>
                <c:pt idx="5335">
                  <c:v>0</c:v>
                </c:pt>
                <c:pt idx="5336">
                  <c:v>0</c:v>
                </c:pt>
                <c:pt idx="5337">
                  <c:v>0</c:v>
                </c:pt>
                <c:pt idx="5338">
                  <c:v>0</c:v>
                </c:pt>
                <c:pt idx="5339">
                  <c:v>0</c:v>
                </c:pt>
                <c:pt idx="5340">
                  <c:v>0</c:v>
                </c:pt>
                <c:pt idx="5341">
                  <c:v>0</c:v>
                </c:pt>
                <c:pt idx="5342">
                  <c:v>0</c:v>
                </c:pt>
                <c:pt idx="5343">
                  <c:v>0</c:v>
                </c:pt>
                <c:pt idx="5344">
                  <c:v>0</c:v>
                </c:pt>
                <c:pt idx="5345">
                  <c:v>0</c:v>
                </c:pt>
                <c:pt idx="5346">
                  <c:v>0</c:v>
                </c:pt>
                <c:pt idx="5347">
                  <c:v>0</c:v>
                </c:pt>
                <c:pt idx="5348">
                  <c:v>0</c:v>
                </c:pt>
                <c:pt idx="5349">
                  <c:v>0</c:v>
                </c:pt>
                <c:pt idx="5350">
                  <c:v>0</c:v>
                </c:pt>
                <c:pt idx="5351">
                  <c:v>0</c:v>
                </c:pt>
                <c:pt idx="5352">
                  <c:v>0</c:v>
                </c:pt>
                <c:pt idx="5353">
                  <c:v>0</c:v>
                </c:pt>
                <c:pt idx="5354">
                  <c:v>0</c:v>
                </c:pt>
                <c:pt idx="5355">
                  <c:v>0</c:v>
                </c:pt>
                <c:pt idx="5356">
                  <c:v>0</c:v>
                </c:pt>
                <c:pt idx="5357">
                  <c:v>0</c:v>
                </c:pt>
                <c:pt idx="5358">
                  <c:v>0</c:v>
                </c:pt>
                <c:pt idx="5359">
                  <c:v>0</c:v>
                </c:pt>
                <c:pt idx="5360">
                  <c:v>0</c:v>
                </c:pt>
                <c:pt idx="5361">
                  <c:v>0</c:v>
                </c:pt>
                <c:pt idx="5362">
                  <c:v>0</c:v>
                </c:pt>
                <c:pt idx="5363">
                  <c:v>0</c:v>
                </c:pt>
                <c:pt idx="5364">
                  <c:v>0</c:v>
                </c:pt>
                <c:pt idx="5365">
                  <c:v>0</c:v>
                </c:pt>
                <c:pt idx="5366">
                  <c:v>0</c:v>
                </c:pt>
                <c:pt idx="5367">
                  <c:v>0</c:v>
                </c:pt>
                <c:pt idx="5368">
                  <c:v>0</c:v>
                </c:pt>
                <c:pt idx="5369">
                  <c:v>0</c:v>
                </c:pt>
                <c:pt idx="5370">
                  <c:v>0</c:v>
                </c:pt>
                <c:pt idx="5371">
                  <c:v>0</c:v>
                </c:pt>
                <c:pt idx="5372">
                  <c:v>0</c:v>
                </c:pt>
                <c:pt idx="5373">
                  <c:v>0</c:v>
                </c:pt>
                <c:pt idx="5374">
                  <c:v>0</c:v>
                </c:pt>
                <c:pt idx="5375">
                  <c:v>0</c:v>
                </c:pt>
                <c:pt idx="5376">
                  <c:v>0</c:v>
                </c:pt>
                <c:pt idx="5377">
                  <c:v>0</c:v>
                </c:pt>
                <c:pt idx="5378">
                  <c:v>0</c:v>
                </c:pt>
                <c:pt idx="5379">
                  <c:v>0</c:v>
                </c:pt>
                <c:pt idx="5380">
                  <c:v>0</c:v>
                </c:pt>
                <c:pt idx="5381">
                  <c:v>0</c:v>
                </c:pt>
                <c:pt idx="5382">
                  <c:v>0</c:v>
                </c:pt>
                <c:pt idx="5383">
                  <c:v>0</c:v>
                </c:pt>
                <c:pt idx="5384">
                  <c:v>0</c:v>
                </c:pt>
                <c:pt idx="5385">
                  <c:v>0</c:v>
                </c:pt>
                <c:pt idx="5386">
                  <c:v>0</c:v>
                </c:pt>
                <c:pt idx="5387">
                  <c:v>0</c:v>
                </c:pt>
                <c:pt idx="5388">
                  <c:v>0</c:v>
                </c:pt>
                <c:pt idx="5389">
                  <c:v>0</c:v>
                </c:pt>
                <c:pt idx="5390">
                  <c:v>0</c:v>
                </c:pt>
                <c:pt idx="5391">
                  <c:v>0</c:v>
                </c:pt>
                <c:pt idx="5392">
                  <c:v>0</c:v>
                </c:pt>
                <c:pt idx="5393">
                  <c:v>0</c:v>
                </c:pt>
                <c:pt idx="5394">
                  <c:v>0</c:v>
                </c:pt>
                <c:pt idx="5395">
                  <c:v>0</c:v>
                </c:pt>
                <c:pt idx="5396">
                  <c:v>0</c:v>
                </c:pt>
                <c:pt idx="5397">
                  <c:v>0</c:v>
                </c:pt>
                <c:pt idx="5398">
                  <c:v>0</c:v>
                </c:pt>
                <c:pt idx="5399">
                  <c:v>0</c:v>
                </c:pt>
                <c:pt idx="5400">
                  <c:v>0</c:v>
                </c:pt>
                <c:pt idx="5401">
                  <c:v>0</c:v>
                </c:pt>
                <c:pt idx="5402">
                  <c:v>0</c:v>
                </c:pt>
                <c:pt idx="5403">
                  <c:v>0</c:v>
                </c:pt>
                <c:pt idx="5404">
                  <c:v>0</c:v>
                </c:pt>
                <c:pt idx="5405">
                  <c:v>0</c:v>
                </c:pt>
                <c:pt idx="5406">
                  <c:v>0</c:v>
                </c:pt>
                <c:pt idx="5407">
                  <c:v>0</c:v>
                </c:pt>
                <c:pt idx="5408">
                  <c:v>0</c:v>
                </c:pt>
                <c:pt idx="5409">
                  <c:v>0</c:v>
                </c:pt>
                <c:pt idx="5410">
                  <c:v>0</c:v>
                </c:pt>
                <c:pt idx="5411">
                  <c:v>0</c:v>
                </c:pt>
                <c:pt idx="5412">
                  <c:v>0</c:v>
                </c:pt>
                <c:pt idx="5413">
                  <c:v>0</c:v>
                </c:pt>
                <c:pt idx="5414">
                  <c:v>0</c:v>
                </c:pt>
                <c:pt idx="5415">
                  <c:v>0</c:v>
                </c:pt>
                <c:pt idx="5416">
                  <c:v>0</c:v>
                </c:pt>
                <c:pt idx="5417">
                  <c:v>0</c:v>
                </c:pt>
                <c:pt idx="5418">
                  <c:v>0</c:v>
                </c:pt>
                <c:pt idx="5419">
                  <c:v>0</c:v>
                </c:pt>
                <c:pt idx="5420">
                  <c:v>0</c:v>
                </c:pt>
                <c:pt idx="5421">
                  <c:v>0</c:v>
                </c:pt>
                <c:pt idx="5422">
                  <c:v>0</c:v>
                </c:pt>
                <c:pt idx="5423">
                  <c:v>0</c:v>
                </c:pt>
                <c:pt idx="5424">
                  <c:v>0</c:v>
                </c:pt>
                <c:pt idx="5425">
                  <c:v>0</c:v>
                </c:pt>
                <c:pt idx="5426">
                  <c:v>0</c:v>
                </c:pt>
                <c:pt idx="5427">
                  <c:v>0</c:v>
                </c:pt>
                <c:pt idx="5428">
                  <c:v>0</c:v>
                </c:pt>
                <c:pt idx="5429">
                  <c:v>0</c:v>
                </c:pt>
                <c:pt idx="5430">
                  <c:v>0</c:v>
                </c:pt>
                <c:pt idx="5431">
                  <c:v>0</c:v>
                </c:pt>
                <c:pt idx="5432">
                  <c:v>0</c:v>
                </c:pt>
                <c:pt idx="5433">
                  <c:v>0</c:v>
                </c:pt>
                <c:pt idx="5434">
                  <c:v>0</c:v>
                </c:pt>
                <c:pt idx="5435">
                  <c:v>0</c:v>
                </c:pt>
                <c:pt idx="5436">
                  <c:v>0</c:v>
                </c:pt>
                <c:pt idx="5437">
                  <c:v>0</c:v>
                </c:pt>
                <c:pt idx="5438">
                  <c:v>0</c:v>
                </c:pt>
                <c:pt idx="5439">
                  <c:v>0</c:v>
                </c:pt>
                <c:pt idx="5440">
                  <c:v>0</c:v>
                </c:pt>
                <c:pt idx="5441">
                  <c:v>0</c:v>
                </c:pt>
                <c:pt idx="5442">
                  <c:v>0</c:v>
                </c:pt>
                <c:pt idx="5443">
                  <c:v>0</c:v>
                </c:pt>
                <c:pt idx="5444">
                  <c:v>0</c:v>
                </c:pt>
                <c:pt idx="5445">
                  <c:v>0</c:v>
                </c:pt>
                <c:pt idx="5446">
                  <c:v>0</c:v>
                </c:pt>
                <c:pt idx="5447">
                  <c:v>0</c:v>
                </c:pt>
                <c:pt idx="5448">
                  <c:v>0</c:v>
                </c:pt>
                <c:pt idx="5449">
                  <c:v>0</c:v>
                </c:pt>
                <c:pt idx="5450">
                  <c:v>0</c:v>
                </c:pt>
                <c:pt idx="5451">
                  <c:v>0</c:v>
                </c:pt>
                <c:pt idx="5452">
                  <c:v>0</c:v>
                </c:pt>
                <c:pt idx="5453">
                  <c:v>0</c:v>
                </c:pt>
                <c:pt idx="5454">
                  <c:v>0</c:v>
                </c:pt>
                <c:pt idx="5455">
                  <c:v>0</c:v>
                </c:pt>
                <c:pt idx="5456">
                  <c:v>0</c:v>
                </c:pt>
                <c:pt idx="5457">
                  <c:v>0</c:v>
                </c:pt>
                <c:pt idx="5458">
                  <c:v>0</c:v>
                </c:pt>
                <c:pt idx="5459">
                  <c:v>0</c:v>
                </c:pt>
                <c:pt idx="5460">
                  <c:v>0</c:v>
                </c:pt>
                <c:pt idx="5461">
                  <c:v>0</c:v>
                </c:pt>
                <c:pt idx="5462">
                  <c:v>0</c:v>
                </c:pt>
                <c:pt idx="5463">
                  <c:v>0</c:v>
                </c:pt>
                <c:pt idx="5464">
                  <c:v>0</c:v>
                </c:pt>
                <c:pt idx="5465">
                  <c:v>0</c:v>
                </c:pt>
                <c:pt idx="5466">
                  <c:v>0</c:v>
                </c:pt>
                <c:pt idx="5467">
                  <c:v>0</c:v>
                </c:pt>
                <c:pt idx="5468">
                  <c:v>0</c:v>
                </c:pt>
                <c:pt idx="5469">
                  <c:v>0</c:v>
                </c:pt>
                <c:pt idx="5470">
                  <c:v>0</c:v>
                </c:pt>
                <c:pt idx="5471">
                  <c:v>0</c:v>
                </c:pt>
                <c:pt idx="5472">
                  <c:v>0</c:v>
                </c:pt>
                <c:pt idx="5473">
                  <c:v>0</c:v>
                </c:pt>
                <c:pt idx="5474">
                  <c:v>0</c:v>
                </c:pt>
                <c:pt idx="5475">
                  <c:v>0</c:v>
                </c:pt>
                <c:pt idx="5476">
                  <c:v>0</c:v>
                </c:pt>
                <c:pt idx="5477">
                  <c:v>0</c:v>
                </c:pt>
                <c:pt idx="5478">
                  <c:v>0</c:v>
                </c:pt>
                <c:pt idx="5479">
                  <c:v>0</c:v>
                </c:pt>
                <c:pt idx="5480">
                  <c:v>0</c:v>
                </c:pt>
                <c:pt idx="5481">
                  <c:v>0</c:v>
                </c:pt>
                <c:pt idx="5482">
                  <c:v>0</c:v>
                </c:pt>
                <c:pt idx="5483">
                  <c:v>0</c:v>
                </c:pt>
                <c:pt idx="5484">
                  <c:v>0</c:v>
                </c:pt>
                <c:pt idx="5485">
                  <c:v>0</c:v>
                </c:pt>
                <c:pt idx="5486">
                  <c:v>0</c:v>
                </c:pt>
                <c:pt idx="5487">
                  <c:v>0</c:v>
                </c:pt>
                <c:pt idx="5488">
                  <c:v>0</c:v>
                </c:pt>
                <c:pt idx="5489">
                  <c:v>0</c:v>
                </c:pt>
                <c:pt idx="5490">
                  <c:v>0</c:v>
                </c:pt>
                <c:pt idx="5491">
                  <c:v>0</c:v>
                </c:pt>
                <c:pt idx="5492">
                  <c:v>0</c:v>
                </c:pt>
                <c:pt idx="5493">
                  <c:v>0</c:v>
                </c:pt>
                <c:pt idx="5494">
                  <c:v>0</c:v>
                </c:pt>
                <c:pt idx="5495">
                  <c:v>0</c:v>
                </c:pt>
                <c:pt idx="5496">
                  <c:v>0</c:v>
                </c:pt>
                <c:pt idx="5497">
                  <c:v>0</c:v>
                </c:pt>
                <c:pt idx="5498">
                  <c:v>0</c:v>
                </c:pt>
                <c:pt idx="5499">
                  <c:v>0</c:v>
                </c:pt>
                <c:pt idx="5500">
                  <c:v>0</c:v>
                </c:pt>
                <c:pt idx="5501">
                  <c:v>0</c:v>
                </c:pt>
                <c:pt idx="5502">
                  <c:v>0</c:v>
                </c:pt>
                <c:pt idx="5503">
                  <c:v>0</c:v>
                </c:pt>
                <c:pt idx="5504">
                  <c:v>0</c:v>
                </c:pt>
                <c:pt idx="5505">
                  <c:v>0</c:v>
                </c:pt>
                <c:pt idx="5506">
                  <c:v>0</c:v>
                </c:pt>
                <c:pt idx="5507">
                  <c:v>0</c:v>
                </c:pt>
                <c:pt idx="5508">
                  <c:v>0</c:v>
                </c:pt>
                <c:pt idx="5509">
                  <c:v>0</c:v>
                </c:pt>
                <c:pt idx="5510">
                  <c:v>0</c:v>
                </c:pt>
                <c:pt idx="5511">
                  <c:v>0</c:v>
                </c:pt>
                <c:pt idx="5512">
                  <c:v>0</c:v>
                </c:pt>
                <c:pt idx="5513">
                  <c:v>0</c:v>
                </c:pt>
                <c:pt idx="5514">
                  <c:v>0</c:v>
                </c:pt>
                <c:pt idx="5515">
                  <c:v>0</c:v>
                </c:pt>
                <c:pt idx="5516">
                  <c:v>0</c:v>
                </c:pt>
                <c:pt idx="5517">
                  <c:v>0</c:v>
                </c:pt>
                <c:pt idx="5518">
                  <c:v>0</c:v>
                </c:pt>
                <c:pt idx="5519">
                  <c:v>0</c:v>
                </c:pt>
                <c:pt idx="5520">
                  <c:v>0</c:v>
                </c:pt>
                <c:pt idx="5521">
                  <c:v>0</c:v>
                </c:pt>
                <c:pt idx="5522">
                  <c:v>0</c:v>
                </c:pt>
                <c:pt idx="5523">
                  <c:v>0</c:v>
                </c:pt>
                <c:pt idx="5524">
                  <c:v>0</c:v>
                </c:pt>
                <c:pt idx="5525">
                  <c:v>0</c:v>
                </c:pt>
                <c:pt idx="5526">
                  <c:v>0</c:v>
                </c:pt>
                <c:pt idx="5527">
                  <c:v>0</c:v>
                </c:pt>
                <c:pt idx="5528">
                  <c:v>0</c:v>
                </c:pt>
                <c:pt idx="5529">
                  <c:v>0</c:v>
                </c:pt>
                <c:pt idx="5530">
                  <c:v>0</c:v>
                </c:pt>
                <c:pt idx="5531">
                  <c:v>0</c:v>
                </c:pt>
                <c:pt idx="5532">
                  <c:v>0</c:v>
                </c:pt>
                <c:pt idx="5533">
                  <c:v>0</c:v>
                </c:pt>
                <c:pt idx="5534">
                  <c:v>0</c:v>
                </c:pt>
                <c:pt idx="5535">
                  <c:v>0</c:v>
                </c:pt>
                <c:pt idx="5536">
                  <c:v>0</c:v>
                </c:pt>
                <c:pt idx="5537">
                  <c:v>0</c:v>
                </c:pt>
                <c:pt idx="5538">
                  <c:v>0</c:v>
                </c:pt>
                <c:pt idx="5539">
                  <c:v>0</c:v>
                </c:pt>
                <c:pt idx="5540">
                  <c:v>0</c:v>
                </c:pt>
                <c:pt idx="5541">
                  <c:v>0</c:v>
                </c:pt>
                <c:pt idx="5542">
                  <c:v>0</c:v>
                </c:pt>
                <c:pt idx="5543">
                  <c:v>0</c:v>
                </c:pt>
                <c:pt idx="5544">
                  <c:v>0</c:v>
                </c:pt>
                <c:pt idx="5545">
                  <c:v>0</c:v>
                </c:pt>
                <c:pt idx="5546">
                  <c:v>0</c:v>
                </c:pt>
                <c:pt idx="5547">
                  <c:v>0</c:v>
                </c:pt>
                <c:pt idx="5548">
                  <c:v>0</c:v>
                </c:pt>
                <c:pt idx="5549">
                  <c:v>0</c:v>
                </c:pt>
                <c:pt idx="5550">
                  <c:v>0</c:v>
                </c:pt>
                <c:pt idx="5551">
                  <c:v>0</c:v>
                </c:pt>
                <c:pt idx="5552">
                  <c:v>0</c:v>
                </c:pt>
                <c:pt idx="5553">
                  <c:v>0</c:v>
                </c:pt>
                <c:pt idx="5554">
                  <c:v>0</c:v>
                </c:pt>
                <c:pt idx="5555">
                  <c:v>0</c:v>
                </c:pt>
                <c:pt idx="5556">
                  <c:v>0</c:v>
                </c:pt>
                <c:pt idx="5557">
                  <c:v>0</c:v>
                </c:pt>
                <c:pt idx="5558">
                  <c:v>0</c:v>
                </c:pt>
                <c:pt idx="5559">
                  <c:v>0</c:v>
                </c:pt>
                <c:pt idx="5560">
                  <c:v>0</c:v>
                </c:pt>
                <c:pt idx="5561">
                  <c:v>0</c:v>
                </c:pt>
                <c:pt idx="5562">
                  <c:v>0</c:v>
                </c:pt>
                <c:pt idx="5563">
                  <c:v>0</c:v>
                </c:pt>
                <c:pt idx="5564">
                  <c:v>0</c:v>
                </c:pt>
                <c:pt idx="5565">
                  <c:v>0</c:v>
                </c:pt>
                <c:pt idx="5566">
                  <c:v>0</c:v>
                </c:pt>
                <c:pt idx="5567">
                  <c:v>0</c:v>
                </c:pt>
                <c:pt idx="5568">
                  <c:v>0</c:v>
                </c:pt>
                <c:pt idx="5569">
                  <c:v>0</c:v>
                </c:pt>
                <c:pt idx="5570">
                  <c:v>0</c:v>
                </c:pt>
                <c:pt idx="5571">
                  <c:v>0</c:v>
                </c:pt>
                <c:pt idx="5572">
                  <c:v>0</c:v>
                </c:pt>
                <c:pt idx="5573">
                  <c:v>0</c:v>
                </c:pt>
                <c:pt idx="5574">
                  <c:v>0</c:v>
                </c:pt>
                <c:pt idx="5575">
                  <c:v>0</c:v>
                </c:pt>
                <c:pt idx="5576">
                  <c:v>0</c:v>
                </c:pt>
                <c:pt idx="5577">
                  <c:v>0</c:v>
                </c:pt>
                <c:pt idx="5578">
                  <c:v>0</c:v>
                </c:pt>
                <c:pt idx="5579">
                  <c:v>0</c:v>
                </c:pt>
                <c:pt idx="5580">
                  <c:v>0</c:v>
                </c:pt>
                <c:pt idx="5581">
                  <c:v>0</c:v>
                </c:pt>
                <c:pt idx="5582">
                  <c:v>0</c:v>
                </c:pt>
                <c:pt idx="5583">
                  <c:v>0</c:v>
                </c:pt>
                <c:pt idx="5584">
                  <c:v>0</c:v>
                </c:pt>
                <c:pt idx="5585">
                  <c:v>0</c:v>
                </c:pt>
                <c:pt idx="5586">
                  <c:v>0</c:v>
                </c:pt>
                <c:pt idx="5587">
                  <c:v>0</c:v>
                </c:pt>
                <c:pt idx="5588">
                  <c:v>0</c:v>
                </c:pt>
                <c:pt idx="5589">
                  <c:v>0</c:v>
                </c:pt>
                <c:pt idx="5590">
                  <c:v>0</c:v>
                </c:pt>
                <c:pt idx="5591">
                  <c:v>0</c:v>
                </c:pt>
                <c:pt idx="5592">
                  <c:v>0</c:v>
                </c:pt>
                <c:pt idx="5593">
                  <c:v>0</c:v>
                </c:pt>
                <c:pt idx="5594">
                  <c:v>0</c:v>
                </c:pt>
                <c:pt idx="5595">
                  <c:v>0</c:v>
                </c:pt>
                <c:pt idx="5596">
                  <c:v>0</c:v>
                </c:pt>
                <c:pt idx="5597">
                  <c:v>0</c:v>
                </c:pt>
                <c:pt idx="5598">
                  <c:v>0</c:v>
                </c:pt>
                <c:pt idx="5599">
                  <c:v>0</c:v>
                </c:pt>
                <c:pt idx="5600">
                  <c:v>0</c:v>
                </c:pt>
                <c:pt idx="5601">
                  <c:v>0</c:v>
                </c:pt>
                <c:pt idx="5602">
                  <c:v>0</c:v>
                </c:pt>
                <c:pt idx="5603">
                  <c:v>0</c:v>
                </c:pt>
                <c:pt idx="5604">
                  <c:v>0</c:v>
                </c:pt>
                <c:pt idx="5605">
                  <c:v>0</c:v>
                </c:pt>
                <c:pt idx="5606">
                  <c:v>0</c:v>
                </c:pt>
                <c:pt idx="5607">
                  <c:v>0</c:v>
                </c:pt>
                <c:pt idx="5608">
                  <c:v>0</c:v>
                </c:pt>
                <c:pt idx="5609">
                  <c:v>0</c:v>
                </c:pt>
                <c:pt idx="5610">
                  <c:v>0</c:v>
                </c:pt>
                <c:pt idx="5611">
                  <c:v>0</c:v>
                </c:pt>
                <c:pt idx="5612">
                  <c:v>0</c:v>
                </c:pt>
                <c:pt idx="5613">
                  <c:v>0</c:v>
                </c:pt>
                <c:pt idx="5614">
                  <c:v>0</c:v>
                </c:pt>
                <c:pt idx="5615">
                  <c:v>0</c:v>
                </c:pt>
                <c:pt idx="5616">
                  <c:v>0</c:v>
                </c:pt>
                <c:pt idx="5617">
                  <c:v>0</c:v>
                </c:pt>
                <c:pt idx="5618">
                  <c:v>0</c:v>
                </c:pt>
                <c:pt idx="5619">
                  <c:v>0</c:v>
                </c:pt>
                <c:pt idx="5620">
                  <c:v>0</c:v>
                </c:pt>
                <c:pt idx="5621">
                  <c:v>0</c:v>
                </c:pt>
                <c:pt idx="5622">
                  <c:v>0</c:v>
                </c:pt>
                <c:pt idx="5623">
                  <c:v>0</c:v>
                </c:pt>
                <c:pt idx="5624">
                  <c:v>0</c:v>
                </c:pt>
                <c:pt idx="5625">
                  <c:v>0</c:v>
                </c:pt>
                <c:pt idx="5626">
                  <c:v>0</c:v>
                </c:pt>
                <c:pt idx="5627">
                  <c:v>0</c:v>
                </c:pt>
                <c:pt idx="5628">
                  <c:v>0</c:v>
                </c:pt>
                <c:pt idx="5629">
                  <c:v>0</c:v>
                </c:pt>
                <c:pt idx="5630">
                  <c:v>0</c:v>
                </c:pt>
                <c:pt idx="5631">
                  <c:v>0</c:v>
                </c:pt>
                <c:pt idx="5632">
                  <c:v>0</c:v>
                </c:pt>
                <c:pt idx="5633">
                  <c:v>0</c:v>
                </c:pt>
                <c:pt idx="5634">
                  <c:v>0</c:v>
                </c:pt>
                <c:pt idx="5635">
                  <c:v>0</c:v>
                </c:pt>
                <c:pt idx="5636">
                  <c:v>0</c:v>
                </c:pt>
                <c:pt idx="5637">
                  <c:v>0</c:v>
                </c:pt>
                <c:pt idx="5638">
                  <c:v>0</c:v>
                </c:pt>
                <c:pt idx="5639">
                  <c:v>0</c:v>
                </c:pt>
                <c:pt idx="5640">
                  <c:v>0</c:v>
                </c:pt>
                <c:pt idx="5641">
                  <c:v>0</c:v>
                </c:pt>
                <c:pt idx="5642">
                  <c:v>0</c:v>
                </c:pt>
                <c:pt idx="5643">
                  <c:v>0</c:v>
                </c:pt>
                <c:pt idx="5644">
                  <c:v>0</c:v>
                </c:pt>
                <c:pt idx="5645">
                  <c:v>0</c:v>
                </c:pt>
                <c:pt idx="5646">
                  <c:v>0</c:v>
                </c:pt>
                <c:pt idx="5647">
                  <c:v>0</c:v>
                </c:pt>
                <c:pt idx="5648">
                  <c:v>0</c:v>
                </c:pt>
                <c:pt idx="5649">
                  <c:v>0</c:v>
                </c:pt>
                <c:pt idx="5650">
                  <c:v>0</c:v>
                </c:pt>
                <c:pt idx="5651">
                  <c:v>0</c:v>
                </c:pt>
                <c:pt idx="5652">
                  <c:v>0</c:v>
                </c:pt>
                <c:pt idx="5653">
                  <c:v>0</c:v>
                </c:pt>
                <c:pt idx="5654">
                  <c:v>0</c:v>
                </c:pt>
                <c:pt idx="5655">
                  <c:v>0</c:v>
                </c:pt>
                <c:pt idx="5656">
                  <c:v>0</c:v>
                </c:pt>
                <c:pt idx="5657">
                  <c:v>0</c:v>
                </c:pt>
                <c:pt idx="5658">
                  <c:v>0</c:v>
                </c:pt>
                <c:pt idx="5659">
                  <c:v>0</c:v>
                </c:pt>
                <c:pt idx="5660">
                  <c:v>0</c:v>
                </c:pt>
                <c:pt idx="5661">
                  <c:v>0</c:v>
                </c:pt>
                <c:pt idx="5662">
                  <c:v>0</c:v>
                </c:pt>
                <c:pt idx="5663">
                  <c:v>0</c:v>
                </c:pt>
                <c:pt idx="5664">
                  <c:v>0</c:v>
                </c:pt>
                <c:pt idx="5665">
                  <c:v>0</c:v>
                </c:pt>
                <c:pt idx="5666">
                  <c:v>0</c:v>
                </c:pt>
                <c:pt idx="5667">
                  <c:v>0</c:v>
                </c:pt>
                <c:pt idx="5668">
                  <c:v>0</c:v>
                </c:pt>
                <c:pt idx="5669">
                  <c:v>0</c:v>
                </c:pt>
                <c:pt idx="5670">
                  <c:v>0</c:v>
                </c:pt>
                <c:pt idx="5671">
                  <c:v>0</c:v>
                </c:pt>
                <c:pt idx="5672">
                  <c:v>0</c:v>
                </c:pt>
                <c:pt idx="5673">
                  <c:v>0</c:v>
                </c:pt>
                <c:pt idx="5674">
                  <c:v>0</c:v>
                </c:pt>
                <c:pt idx="5675">
                  <c:v>0</c:v>
                </c:pt>
                <c:pt idx="5676">
                  <c:v>0</c:v>
                </c:pt>
                <c:pt idx="5677">
                  <c:v>0</c:v>
                </c:pt>
                <c:pt idx="5678">
                  <c:v>0</c:v>
                </c:pt>
                <c:pt idx="5679">
                  <c:v>0</c:v>
                </c:pt>
                <c:pt idx="5680">
                  <c:v>0</c:v>
                </c:pt>
                <c:pt idx="5681">
                  <c:v>0</c:v>
                </c:pt>
                <c:pt idx="5682">
                  <c:v>0</c:v>
                </c:pt>
                <c:pt idx="5683">
                  <c:v>0</c:v>
                </c:pt>
                <c:pt idx="5684">
                  <c:v>0</c:v>
                </c:pt>
                <c:pt idx="5685">
                  <c:v>0</c:v>
                </c:pt>
                <c:pt idx="5686">
                  <c:v>0</c:v>
                </c:pt>
                <c:pt idx="5687">
                  <c:v>0</c:v>
                </c:pt>
                <c:pt idx="5688">
                  <c:v>0</c:v>
                </c:pt>
                <c:pt idx="5689">
                  <c:v>0</c:v>
                </c:pt>
                <c:pt idx="5690">
                  <c:v>0</c:v>
                </c:pt>
                <c:pt idx="5691">
                  <c:v>0</c:v>
                </c:pt>
                <c:pt idx="5692">
                  <c:v>0</c:v>
                </c:pt>
                <c:pt idx="5693">
                  <c:v>0</c:v>
                </c:pt>
                <c:pt idx="5694">
                  <c:v>0</c:v>
                </c:pt>
                <c:pt idx="5695">
                  <c:v>0</c:v>
                </c:pt>
                <c:pt idx="5696">
                  <c:v>0</c:v>
                </c:pt>
                <c:pt idx="5697">
                  <c:v>0</c:v>
                </c:pt>
                <c:pt idx="5698">
                  <c:v>0</c:v>
                </c:pt>
                <c:pt idx="5699">
                  <c:v>0</c:v>
                </c:pt>
                <c:pt idx="5700">
                  <c:v>0</c:v>
                </c:pt>
                <c:pt idx="5701">
                  <c:v>0</c:v>
                </c:pt>
                <c:pt idx="5702">
                  <c:v>0</c:v>
                </c:pt>
                <c:pt idx="5703">
                  <c:v>0</c:v>
                </c:pt>
                <c:pt idx="5704">
                  <c:v>0</c:v>
                </c:pt>
                <c:pt idx="5705">
                  <c:v>0</c:v>
                </c:pt>
                <c:pt idx="5706">
                  <c:v>0</c:v>
                </c:pt>
                <c:pt idx="5707">
                  <c:v>0</c:v>
                </c:pt>
                <c:pt idx="5708">
                  <c:v>0</c:v>
                </c:pt>
                <c:pt idx="5709">
                  <c:v>0</c:v>
                </c:pt>
                <c:pt idx="5710">
                  <c:v>0</c:v>
                </c:pt>
                <c:pt idx="5711">
                  <c:v>0</c:v>
                </c:pt>
                <c:pt idx="5712">
                  <c:v>0</c:v>
                </c:pt>
                <c:pt idx="5713">
                  <c:v>0</c:v>
                </c:pt>
                <c:pt idx="5714">
                  <c:v>0</c:v>
                </c:pt>
                <c:pt idx="5715">
                  <c:v>0</c:v>
                </c:pt>
                <c:pt idx="5716">
                  <c:v>0</c:v>
                </c:pt>
                <c:pt idx="5717">
                  <c:v>0</c:v>
                </c:pt>
                <c:pt idx="5718">
                  <c:v>0</c:v>
                </c:pt>
                <c:pt idx="5719">
                  <c:v>0</c:v>
                </c:pt>
                <c:pt idx="5720">
                  <c:v>0</c:v>
                </c:pt>
                <c:pt idx="5721">
                  <c:v>0</c:v>
                </c:pt>
                <c:pt idx="5722">
                  <c:v>0</c:v>
                </c:pt>
                <c:pt idx="5723">
                  <c:v>0</c:v>
                </c:pt>
                <c:pt idx="5724">
                  <c:v>0</c:v>
                </c:pt>
                <c:pt idx="5725">
                  <c:v>0</c:v>
                </c:pt>
                <c:pt idx="5726">
                  <c:v>0</c:v>
                </c:pt>
                <c:pt idx="5727">
                  <c:v>0</c:v>
                </c:pt>
                <c:pt idx="5728">
                  <c:v>0</c:v>
                </c:pt>
                <c:pt idx="5729">
                  <c:v>0</c:v>
                </c:pt>
                <c:pt idx="5730">
                  <c:v>0</c:v>
                </c:pt>
                <c:pt idx="5731">
                  <c:v>0</c:v>
                </c:pt>
                <c:pt idx="5732">
                  <c:v>0</c:v>
                </c:pt>
                <c:pt idx="5733">
                  <c:v>0</c:v>
                </c:pt>
                <c:pt idx="5734">
                  <c:v>0</c:v>
                </c:pt>
                <c:pt idx="5735">
                  <c:v>0</c:v>
                </c:pt>
                <c:pt idx="5736">
                  <c:v>0</c:v>
                </c:pt>
                <c:pt idx="5737">
                  <c:v>0</c:v>
                </c:pt>
                <c:pt idx="5738">
                  <c:v>0</c:v>
                </c:pt>
                <c:pt idx="5739">
                  <c:v>0</c:v>
                </c:pt>
                <c:pt idx="5740">
                  <c:v>0</c:v>
                </c:pt>
                <c:pt idx="5741">
                  <c:v>0</c:v>
                </c:pt>
                <c:pt idx="5742">
                  <c:v>0</c:v>
                </c:pt>
                <c:pt idx="5743">
                  <c:v>0</c:v>
                </c:pt>
                <c:pt idx="5744">
                  <c:v>0</c:v>
                </c:pt>
                <c:pt idx="5745">
                  <c:v>0</c:v>
                </c:pt>
                <c:pt idx="5746">
                  <c:v>0</c:v>
                </c:pt>
                <c:pt idx="5747">
                  <c:v>0</c:v>
                </c:pt>
                <c:pt idx="5748">
                  <c:v>0</c:v>
                </c:pt>
                <c:pt idx="5749">
                  <c:v>0</c:v>
                </c:pt>
                <c:pt idx="5750">
                  <c:v>0</c:v>
                </c:pt>
                <c:pt idx="5751">
                  <c:v>0</c:v>
                </c:pt>
                <c:pt idx="5752">
                  <c:v>0</c:v>
                </c:pt>
                <c:pt idx="5753">
                  <c:v>0</c:v>
                </c:pt>
                <c:pt idx="5754">
                  <c:v>0</c:v>
                </c:pt>
                <c:pt idx="5755">
                  <c:v>0</c:v>
                </c:pt>
                <c:pt idx="5756">
                  <c:v>0</c:v>
                </c:pt>
                <c:pt idx="5757">
                  <c:v>0</c:v>
                </c:pt>
                <c:pt idx="5758">
                  <c:v>0</c:v>
                </c:pt>
                <c:pt idx="5759">
                  <c:v>0</c:v>
                </c:pt>
                <c:pt idx="5760">
                  <c:v>0</c:v>
                </c:pt>
                <c:pt idx="5761">
                  <c:v>0</c:v>
                </c:pt>
                <c:pt idx="5762">
                  <c:v>0</c:v>
                </c:pt>
                <c:pt idx="5763">
                  <c:v>0</c:v>
                </c:pt>
                <c:pt idx="5764">
                  <c:v>0</c:v>
                </c:pt>
                <c:pt idx="5765">
                  <c:v>0</c:v>
                </c:pt>
                <c:pt idx="5766">
                  <c:v>0</c:v>
                </c:pt>
                <c:pt idx="5767">
                  <c:v>0</c:v>
                </c:pt>
                <c:pt idx="5768">
                  <c:v>0</c:v>
                </c:pt>
                <c:pt idx="5769">
                  <c:v>0</c:v>
                </c:pt>
                <c:pt idx="5770">
                  <c:v>0</c:v>
                </c:pt>
                <c:pt idx="5771">
                  <c:v>0</c:v>
                </c:pt>
                <c:pt idx="5772">
                  <c:v>0</c:v>
                </c:pt>
                <c:pt idx="5773">
                  <c:v>0</c:v>
                </c:pt>
                <c:pt idx="5774">
                  <c:v>0</c:v>
                </c:pt>
                <c:pt idx="5775">
                  <c:v>0</c:v>
                </c:pt>
                <c:pt idx="5776">
                  <c:v>0</c:v>
                </c:pt>
                <c:pt idx="5777">
                  <c:v>0</c:v>
                </c:pt>
                <c:pt idx="5778">
                  <c:v>0</c:v>
                </c:pt>
                <c:pt idx="5779">
                  <c:v>0</c:v>
                </c:pt>
                <c:pt idx="5780">
                  <c:v>0</c:v>
                </c:pt>
                <c:pt idx="5781">
                  <c:v>0</c:v>
                </c:pt>
                <c:pt idx="5782">
                  <c:v>0</c:v>
                </c:pt>
                <c:pt idx="5783">
                  <c:v>0</c:v>
                </c:pt>
                <c:pt idx="5784">
                  <c:v>0</c:v>
                </c:pt>
                <c:pt idx="5785">
                  <c:v>0</c:v>
                </c:pt>
                <c:pt idx="5786">
                  <c:v>0</c:v>
                </c:pt>
                <c:pt idx="5787">
                  <c:v>0</c:v>
                </c:pt>
                <c:pt idx="5788">
                  <c:v>0</c:v>
                </c:pt>
                <c:pt idx="5789">
                  <c:v>0</c:v>
                </c:pt>
                <c:pt idx="5790">
                  <c:v>0</c:v>
                </c:pt>
                <c:pt idx="5791">
                  <c:v>0</c:v>
                </c:pt>
                <c:pt idx="5792">
                  <c:v>0</c:v>
                </c:pt>
                <c:pt idx="5793">
                  <c:v>0</c:v>
                </c:pt>
                <c:pt idx="5794">
                  <c:v>0</c:v>
                </c:pt>
                <c:pt idx="5795">
                  <c:v>0</c:v>
                </c:pt>
                <c:pt idx="5796">
                  <c:v>0</c:v>
                </c:pt>
                <c:pt idx="5797">
                  <c:v>0</c:v>
                </c:pt>
                <c:pt idx="5798">
                  <c:v>0</c:v>
                </c:pt>
                <c:pt idx="5799">
                  <c:v>0</c:v>
                </c:pt>
                <c:pt idx="5800">
                  <c:v>0</c:v>
                </c:pt>
                <c:pt idx="5801">
                  <c:v>0</c:v>
                </c:pt>
                <c:pt idx="5802">
                  <c:v>0</c:v>
                </c:pt>
                <c:pt idx="5803">
                  <c:v>0</c:v>
                </c:pt>
                <c:pt idx="5804">
                  <c:v>0</c:v>
                </c:pt>
                <c:pt idx="5805">
                  <c:v>0</c:v>
                </c:pt>
                <c:pt idx="5806">
                  <c:v>0</c:v>
                </c:pt>
                <c:pt idx="5807">
                  <c:v>0</c:v>
                </c:pt>
                <c:pt idx="5808">
                  <c:v>0</c:v>
                </c:pt>
                <c:pt idx="5809">
                  <c:v>0</c:v>
                </c:pt>
                <c:pt idx="5810">
                  <c:v>0</c:v>
                </c:pt>
                <c:pt idx="5811">
                  <c:v>0</c:v>
                </c:pt>
                <c:pt idx="5812">
                  <c:v>0</c:v>
                </c:pt>
                <c:pt idx="5813">
                  <c:v>0</c:v>
                </c:pt>
                <c:pt idx="5814">
                  <c:v>0</c:v>
                </c:pt>
                <c:pt idx="5815">
                  <c:v>0</c:v>
                </c:pt>
                <c:pt idx="5816">
                  <c:v>0</c:v>
                </c:pt>
                <c:pt idx="5817">
                  <c:v>0</c:v>
                </c:pt>
                <c:pt idx="5818">
                  <c:v>0</c:v>
                </c:pt>
                <c:pt idx="5819">
                  <c:v>0</c:v>
                </c:pt>
                <c:pt idx="5820">
                  <c:v>0</c:v>
                </c:pt>
                <c:pt idx="5821">
                  <c:v>0</c:v>
                </c:pt>
                <c:pt idx="5822">
                  <c:v>0</c:v>
                </c:pt>
                <c:pt idx="5823">
                  <c:v>0</c:v>
                </c:pt>
                <c:pt idx="5824">
                  <c:v>0</c:v>
                </c:pt>
                <c:pt idx="5825">
                  <c:v>0</c:v>
                </c:pt>
                <c:pt idx="5826">
                  <c:v>0</c:v>
                </c:pt>
                <c:pt idx="5827">
                  <c:v>0</c:v>
                </c:pt>
                <c:pt idx="5828">
                  <c:v>0</c:v>
                </c:pt>
                <c:pt idx="5829">
                  <c:v>0</c:v>
                </c:pt>
                <c:pt idx="5830">
                  <c:v>0</c:v>
                </c:pt>
                <c:pt idx="5831">
                  <c:v>0</c:v>
                </c:pt>
                <c:pt idx="5832">
                  <c:v>0</c:v>
                </c:pt>
                <c:pt idx="5833">
                  <c:v>0</c:v>
                </c:pt>
                <c:pt idx="5834">
                  <c:v>0</c:v>
                </c:pt>
                <c:pt idx="5835">
                  <c:v>0</c:v>
                </c:pt>
                <c:pt idx="5836">
                  <c:v>0</c:v>
                </c:pt>
                <c:pt idx="5837">
                  <c:v>0</c:v>
                </c:pt>
                <c:pt idx="5838">
                  <c:v>0</c:v>
                </c:pt>
                <c:pt idx="5839">
                  <c:v>0</c:v>
                </c:pt>
                <c:pt idx="5840">
                  <c:v>0</c:v>
                </c:pt>
                <c:pt idx="5841">
                  <c:v>0</c:v>
                </c:pt>
                <c:pt idx="5842">
                  <c:v>0</c:v>
                </c:pt>
                <c:pt idx="5843">
                  <c:v>0</c:v>
                </c:pt>
                <c:pt idx="5844">
                  <c:v>0</c:v>
                </c:pt>
                <c:pt idx="5845">
                  <c:v>0</c:v>
                </c:pt>
                <c:pt idx="5846">
                  <c:v>0</c:v>
                </c:pt>
                <c:pt idx="5847">
                  <c:v>0</c:v>
                </c:pt>
                <c:pt idx="5848">
                  <c:v>0</c:v>
                </c:pt>
                <c:pt idx="5849">
                  <c:v>0</c:v>
                </c:pt>
                <c:pt idx="5850">
                  <c:v>0</c:v>
                </c:pt>
                <c:pt idx="5851">
                  <c:v>0</c:v>
                </c:pt>
                <c:pt idx="5852">
                  <c:v>0</c:v>
                </c:pt>
                <c:pt idx="5853">
                  <c:v>0</c:v>
                </c:pt>
                <c:pt idx="5854">
                  <c:v>0</c:v>
                </c:pt>
                <c:pt idx="5855">
                  <c:v>0</c:v>
                </c:pt>
                <c:pt idx="5856">
                  <c:v>0</c:v>
                </c:pt>
                <c:pt idx="5857">
                  <c:v>0</c:v>
                </c:pt>
                <c:pt idx="5858">
                  <c:v>0</c:v>
                </c:pt>
                <c:pt idx="5859">
                  <c:v>0</c:v>
                </c:pt>
                <c:pt idx="5860">
                  <c:v>0</c:v>
                </c:pt>
                <c:pt idx="5861">
                  <c:v>0</c:v>
                </c:pt>
                <c:pt idx="5862">
                  <c:v>0</c:v>
                </c:pt>
                <c:pt idx="5863">
                  <c:v>0</c:v>
                </c:pt>
                <c:pt idx="5864">
                  <c:v>0</c:v>
                </c:pt>
                <c:pt idx="5865">
                  <c:v>0</c:v>
                </c:pt>
                <c:pt idx="5866">
                  <c:v>0</c:v>
                </c:pt>
                <c:pt idx="5867">
                  <c:v>0</c:v>
                </c:pt>
                <c:pt idx="5868">
                  <c:v>0</c:v>
                </c:pt>
                <c:pt idx="5869">
                  <c:v>0</c:v>
                </c:pt>
                <c:pt idx="5870">
                  <c:v>0</c:v>
                </c:pt>
                <c:pt idx="5871">
                  <c:v>0</c:v>
                </c:pt>
                <c:pt idx="5872">
                  <c:v>0</c:v>
                </c:pt>
                <c:pt idx="5873">
                  <c:v>0</c:v>
                </c:pt>
                <c:pt idx="5874">
                  <c:v>0</c:v>
                </c:pt>
                <c:pt idx="5875">
                  <c:v>0</c:v>
                </c:pt>
                <c:pt idx="5876">
                  <c:v>0</c:v>
                </c:pt>
                <c:pt idx="5877">
                  <c:v>0</c:v>
                </c:pt>
                <c:pt idx="5878">
                  <c:v>0</c:v>
                </c:pt>
                <c:pt idx="5879">
                  <c:v>0</c:v>
                </c:pt>
                <c:pt idx="5880">
                  <c:v>0</c:v>
                </c:pt>
                <c:pt idx="5881">
                  <c:v>0</c:v>
                </c:pt>
                <c:pt idx="5882">
                  <c:v>0</c:v>
                </c:pt>
                <c:pt idx="5883">
                  <c:v>0</c:v>
                </c:pt>
                <c:pt idx="5884">
                  <c:v>0</c:v>
                </c:pt>
                <c:pt idx="5885">
                  <c:v>0</c:v>
                </c:pt>
                <c:pt idx="5886">
                  <c:v>0</c:v>
                </c:pt>
                <c:pt idx="5887">
                  <c:v>0</c:v>
                </c:pt>
                <c:pt idx="5888">
                  <c:v>0</c:v>
                </c:pt>
                <c:pt idx="5889">
                  <c:v>0</c:v>
                </c:pt>
                <c:pt idx="5890">
                  <c:v>0</c:v>
                </c:pt>
                <c:pt idx="5891">
                  <c:v>0</c:v>
                </c:pt>
                <c:pt idx="5892">
                  <c:v>0</c:v>
                </c:pt>
                <c:pt idx="5893">
                  <c:v>0</c:v>
                </c:pt>
                <c:pt idx="5894">
                  <c:v>0</c:v>
                </c:pt>
                <c:pt idx="5895">
                  <c:v>0</c:v>
                </c:pt>
                <c:pt idx="5896">
                  <c:v>0</c:v>
                </c:pt>
                <c:pt idx="5897">
                  <c:v>0</c:v>
                </c:pt>
                <c:pt idx="5898">
                  <c:v>0</c:v>
                </c:pt>
                <c:pt idx="5899">
                  <c:v>0</c:v>
                </c:pt>
                <c:pt idx="5900">
                  <c:v>0</c:v>
                </c:pt>
                <c:pt idx="5901">
                  <c:v>0</c:v>
                </c:pt>
                <c:pt idx="5902">
                  <c:v>0</c:v>
                </c:pt>
                <c:pt idx="5903">
                  <c:v>0</c:v>
                </c:pt>
                <c:pt idx="5904">
                  <c:v>0</c:v>
                </c:pt>
                <c:pt idx="5905">
                  <c:v>0</c:v>
                </c:pt>
                <c:pt idx="5906">
                  <c:v>0</c:v>
                </c:pt>
                <c:pt idx="5907">
                  <c:v>0</c:v>
                </c:pt>
                <c:pt idx="5908">
                  <c:v>0</c:v>
                </c:pt>
                <c:pt idx="5909">
                  <c:v>0</c:v>
                </c:pt>
                <c:pt idx="5910">
                  <c:v>0</c:v>
                </c:pt>
                <c:pt idx="5911">
                  <c:v>0</c:v>
                </c:pt>
                <c:pt idx="5912">
                  <c:v>0</c:v>
                </c:pt>
                <c:pt idx="5913">
                  <c:v>0</c:v>
                </c:pt>
                <c:pt idx="5914">
                  <c:v>0</c:v>
                </c:pt>
                <c:pt idx="5915">
                  <c:v>0</c:v>
                </c:pt>
                <c:pt idx="5916">
                  <c:v>0</c:v>
                </c:pt>
                <c:pt idx="5917">
                  <c:v>0</c:v>
                </c:pt>
                <c:pt idx="5918">
                  <c:v>0</c:v>
                </c:pt>
                <c:pt idx="5919">
                  <c:v>0</c:v>
                </c:pt>
                <c:pt idx="5920">
                  <c:v>0</c:v>
                </c:pt>
                <c:pt idx="5921">
                  <c:v>0</c:v>
                </c:pt>
                <c:pt idx="5922">
                  <c:v>0</c:v>
                </c:pt>
                <c:pt idx="5923">
                  <c:v>0</c:v>
                </c:pt>
                <c:pt idx="5924">
                  <c:v>0</c:v>
                </c:pt>
                <c:pt idx="5925">
                  <c:v>0</c:v>
                </c:pt>
                <c:pt idx="5926">
                  <c:v>0</c:v>
                </c:pt>
                <c:pt idx="5927">
                  <c:v>0</c:v>
                </c:pt>
                <c:pt idx="5928">
                  <c:v>0</c:v>
                </c:pt>
                <c:pt idx="5929">
                  <c:v>0</c:v>
                </c:pt>
                <c:pt idx="5930">
                  <c:v>0</c:v>
                </c:pt>
                <c:pt idx="5931">
                  <c:v>0</c:v>
                </c:pt>
                <c:pt idx="5932">
                  <c:v>0</c:v>
                </c:pt>
                <c:pt idx="5933">
                  <c:v>0</c:v>
                </c:pt>
                <c:pt idx="5934">
                  <c:v>0</c:v>
                </c:pt>
                <c:pt idx="5935">
                  <c:v>0</c:v>
                </c:pt>
                <c:pt idx="5936">
                  <c:v>0</c:v>
                </c:pt>
                <c:pt idx="5937">
                  <c:v>0</c:v>
                </c:pt>
                <c:pt idx="5938">
                  <c:v>0</c:v>
                </c:pt>
                <c:pt idx="5939">
                  <c:v>0</c:v>
                </c:pt>
                <c:pt idx="5940">
                  <c:v>0</c:v>
                </c:pt>
                <c:pt idx="5941">
                  <c:v>0</c:v>
                </c:pt>
                <c:pt idx="5942">
                  <c:v>0</c:v>
                </c:pt>
                <c:pt idx="5943">
                  <c:v>0</c:v>
                </c:pt>
                <c:pt idx="5944">
                  <c:v>0</c:v>
                </c:pt>
                <c:pt idx="5945">
                  <c:v>0</c:v>
                </c:pt>
                <c:pt idx="5946">
                  <c:v>0</c:v>
                </c:pt>
                <c:pt idx="5947">
                  <c:v>0</c:v>
                </c:pt>
                <c:pt idx="5948">
                  <c:v>0</c:v>
                </c:pt>
                <c:pt idx="5949">
                  <c:v>0</c:v>
                </c:pt>
                <c:pt idx="5950">
                  <c:v>0</c:v>
                </c:pt>
                <c:pt idx="5951">
                  <c:v>0</c:v>
                </c:pt>
                <c:pt idx="5952">
                  <c:v>0</c:v>
                </c:pt>
                <c:pt idx="5953">
                  <c:v>0</c:v>
                </c:pt>
                <c:pt idx="5954">
                  <c:v>0</c:v>
                </c:pt>
                <c:pt idx="5955">
                  <c:v>0</c:v>
                </c:pt>
                <c:pt idx="5956">
                  <c:v>0</c:v>
                </c:pt>
                <c:pt idx="5957">
                  <c:v>0</c:v>
                </c:pt>
                <c:pt idx="5958">
                  <c:v>0</c:v>
                </c:pt>
                <c:pt idx="5959">
                  <c:v>0</c:v>
                </c:pt>
                <c:pt idx="5960">
                  <c:v>0</c:v>
                </c:pt>
                <c:pt idx="5961">
                  <c:v>0</c:v>
                </c:pt>
                <c:pt idx="5962">
                  <c:v>0</c:v>
                </c:pt>
                <c:pt idx="5963">
                  <c:v>0</c:v>
                </c:pt>
                <c:pt idx="5964">
                  <c:v>0</c:v>
                </c:pt>
                <c:pt idx="5965">
                  <c:v>0</c:v>
                </c:pt>
                <c:pt idx="5966">
                  <c:v>0</c:v>
                </c:pt>
                <c:pt idx="5967">
                  <c:v>0</c:v>
                </c:pt>
                <c:pt idx="5968">
                  <c:v>0</c:v>
                </c:pt>
                <c:pt idx="5969">
                  <c:v>0</c:v>
                </c:pt>
                <c:pt idx="5970">
                  <c:v>0</c:v>
                </c:pt>
                <c:pt idx="5971">
                  <c:v>0</c:v>
                </c:pt>
                <c:pt idx="5972">
                  <c:v>0</c:v>
                </c:pt>
                <c:pt idx="5973">
                  <c:v>0</c:v>
                </c:pt>
                <c:pt idx="5974">
                  <c:v>0</c:v>
                </c:pt>
                <c:pt idx="5975">
                  <c:v>0</c:v>
                </c:pt>
                <c:pt idx="5976">
                  <c:v>0</c:v>
                </c:pt>
                <c:pt idx="5977">
                  <c:v>0</c:v>
                </c:pt>
                <c:pt idx="5978">
                  <c:v>0</c:v>
                </c:pt>
                <c:pt idx="5979">
                  <c:v>0</c:v>
                </c:pt>
                <c:pt idx="5980">
                  <c:v>0</c:v>
                </c:pt>
                <c:pt idx="5981">
                  <c:v>0</c:v>
                </c:pt>
                <c:pt idx="5982">
                  <c:v>0</c:v>
                </c:pt>
                <c:pt idx="5983">
                  <c:v>0</c:v>
                </c:pt>
                <c:pt idx="5984">
                  <c:v>0</c:v>
                </c:pt>
                <c:pt idx="5985">
                  <c:v>0</c:v>
                </c:pt>
                <c:pt idx="5986">
                  <c:v>0</c:v>
                </c:pt>
                <c:pt idx="5987">
                  <c:v>0</c:v>
                </c:pt>
                <c:pt idx="5988">
                  <c:v>0</c:v>
                </c:pt>
                <c:pt idx="5989">
                  <c:v>0</c:v>
                </c:pt>
                <c:pt idx="5990">
                  <c:v>0</c:v>
                </c:pt>
                <c:pt idx="5991">
                  <c:v>0</c:v>
                </c:pt>
                <c:pt idx="5992">
                  <c:v>0</c:v>
                </c:pt>
                <c:pt idx="5993">
                  <c:v>0</c:v>
                </c:pt>
                <c:pt idx="5994">
                  <c:v>0</c:v>
                </c:pt>
                <c:pt idx="5995">
                  <c:v>0</c:v>
                </c:pt>
                <c:pt idx="5996">
                  <c:v>0</c:v>
                </c:pt>
                <c:pt idx="5997">
                  <c:v>0</c:v>
                </c:pt>
                <c:pt idx="5998">
                  <c:v>0</c:v>
                </c:pt>
                <c:pt idx="5999">
                  <c:v>0</c:v>
                </c:pt>
                <c:pt idx="6000">
                  <c:v>0</c:v>
                </c:pt>
                <c:pt idx="6001">
                  <c:v>0</c:v>
                </c:pt>
                <c:pt idx="6002">
                  <c:v>0</c:v>
                </c:pt>
                <c:pt idx="6003">
                  <c:v>0</c:v>
                </c:pt>
                <c:pt idx="6004">
                  <c:v>0</c:v>
                </c:pt>
                <c:pt idx="6005">
                  <c:v>0</c:v>
                </c:pt>
                <c:pt idx="6006">
                  <c:v>0</c:v>
                </c:pt>
                <c:pt idx="6007">
                  <c:v>0</c:v>
                </c:pt>
                <c:pt idx="6008">
                  <c:v>0</c:v>
                </c:pt>
                <c:pt idx="6009">
                  <c:v>0</c:v>
                </c:pt>
                <c:pt idx="6010">
                  <c:v>0</c:v>
                </c:pt>
                <c:pt idx="6011">
                  <c:v>0</c:v>
                </c:pt>
                <c:pt idx="6012">
                  <c:v>0</c:v>
                </c:pt>
              </c:numCache>
            </c:numRef>
          </c:cat>
          <c:val>
            <c:numRef>
              <c:f>Platts!$H$24:$H$6036</c:f>
              <c:numCache>
                <c:formatCode>General</c:formatCode>
                <c:ptCount val="6013"/>
                <c:pt idx="18" formatCode="#,##0_);\(#,##0\);&quot;-  &quot;;&quot; &quot;@&quot; &quot;">
                  <c:v>18.330000000000013</c:v>
                </c:pt>
                <c:pt idx="19" formatCode="#,##0_);\(#,##0\);&quot;-  &quot;;&quot; &quot;@&quot; &quot;">
                  <c:v>20.590000000000018</c:v>
                </c:pt>
                <c:pt idx="20" formatCode="#,##0_);\(#,##0\);&quot;-  &quot;;&quot; &quot;@&quot; &quot;">
                  <c:v>18.36</c:v>
                </c:pt>
                <c:pt idx="21" formatCode="#,##0_);\(#,##0\);&quot;-  &quot;;&quot; &quot;@&quot; &quot;">
                  <c:v>18.10499999999999</c:v>
                </c:pt>
                <c:pt idx="22" formatCode="#,##0_);\(#,##0\);&quot;-  &quot;;&quot; &quot;@&quot; &quot;">
                  <c:v>18.220000000000013</c:v>
                </c:pt>
                <c:pt idx="23" formatCode="#,##0_);\(#,##0\);&quot;-  &quot;;&quot; &quot;@&quot; &quot;">
                  <c:v>17.774999999999991</c:v>
                </c:pt>
                <c:pt idx="24" formatCode="#,##0_);\(#,##0\);&quot;-  &quot;;&quot; &quot;@&quot; &quot;">
                  <c:v>16.85499999999999</c:v>
                </c:pt>
                <c:pt idx="25" formatCode="#,##0_);\(#,##0\);&quot;-  &quot;;&quot; &quot;@&quot; &quot;">
                  <c:v>16.14</c:v>
                </c:pt>
                <c:pt idx="26" formatCode="#,##0_);\(#,##0\);&quot;-  &quot;;&quot; &quot;@&quot; &quot;">
                  <c:v>16.97</c:v>
                </c:pt>
                <c:pt idx="27" formatCode="#,##0_);\(#,##0\);&quot;-  &quot;;&quot; &quot;@&quot; &quot;">
                  <c:v>14.754999999999995</c:v>
                </c:pt>
                <c:pt idx="28" formatCode="#,##0_);\(#,##0\);&quot;-  &quot;;&quot; &quot;@&quot; &quot;">
                  <c:v>14.829999999999998</c:v>
                </c:pt>
                <c:pt idx="29" formatCode="#,##0_);\(#,##0\);&quot;-  &quot;;&quot; &quot;@&quot; &quot;">
                  <c:v>15.004999999999995</c:v>
                </c:pt>
                <c:pt idx="30" formatCode="#,##0_);\(#,##0\);&quot;-  &quot;;&quot; &quot;@&quot; &quot;">
                  <c:v>15.174999999999997</c:v>
                </c:pt>
                <c:pt idx="31" formatCode="#,##0_);\(#,##0\);&quot;-  &quot;;&quot; &quot;@&quot; &quot;">
                  <c:v>14.784999999999997</c:v>
                </c:pt>
                <c:pt idx="32" formatCode="#,##0_);\(#,##0\);&quot;-  &quot;;&quot; &quot;@&quot; &quot;">
                  <c:v>14.400000000000006</c:v>
                </c:pt>
                <c:pt idx="33" formatCode="#,##0_);\(#,##0\);&quot;-  &quot;;&quot; &quot;@&quot; &quot;">
                  <c:v>13.590000000000003</c:v>
                </c:pt>
                <c:pt idx="34" formatCode="#,##0_);\(#,##0\);&quot;-  &quot;;&quot; &quot;@&quot; &quot;">
                  <c:v>13.539999999999992</c:v>
                </c:pt>
                <c:pt idx="35" formatCode="#,##0_);\(#,##0\);&quot;-  &quot;;&quot; &quot;@&quot; &quot;">
                  <c:v>14.135000000000005</c:v>
                </c:pt>
                <c:pt idx="36" formatCode="#,##0_);\(#,##0\);&quot;-  &quot;;&quot; &quot;@&quot; &quot;">
                  <c:v>15.200000000000003</c:v>
                </c:pt>
                <c:pt idx="37" formatCode="#,##0_);\(#,##0\);&quot;-  &quot;;&quot; &quot;@&quot; &quot;">
                  <c:v>15.280000000000001</c:v>
                </c:pt>
                <c:pt idx="38" formatCode="#,##0_);\(#,##0\);&quot;-  &quot;;&quot; &quot;@&quot; &quot;">
                  <c:v>15.875</c:v>
                </c:pt>
                <c:pt idx="39" formatCode="#,##0_);\(#,##0\);&quot;-  &quot;;&quot; &quot;@&quot; &quot;">
                  <c:v>16.125</c:v>
                </c:pt>
                <c:pt idx="40" formatCode="#,##0_);\(#,##0\);&quot;-  &quot;;&quot; &quot;@&quot; &quot;">
                  <c:v>14.924999999999997</c:v>
                </c:pt>
                <c:pt idx="41" formatCode="#,##0_);\(#,##0\);&quot;-  &quot;;&quot; &quot;@&quot; &quot;">
                  <c:v>15.515000000000001</c:v>
                </c:pt>
                <c:pt idx="42" formatCode="#,##0_);\(#,##0\);&quot;-  &quot;;&quot; &quot;@&quot; &quot;">
                  <c:v>15.970000000000013</c:v>
                </c:pt>
                <c:pt idx="43" formatCode="#,##0_);\(#,##0\);&quot;-  &quot;;&quot; &quot;@&quot; &quot;">
                  <c:v>15.195000000000007</c:v>
                </c:pt>
                <c:pt idx="44" formatCode="#,##0_);\(#,##0\);&quot;-  &quot;;&quot; &quot;@&quot; &quot;">
                  <c:v>15.280000000000001</c:v>
                </c:pt>
                <c:pt idx="45" formatCode="#,##0_);\(#,##0\);&quot;-  &quot;;&quot; &quot;@&quot; &quot;">
                  <c:v>14.969999999999999</c:v>
                </c:pt>
                <c:pt idx="46" formatCode="#,##0_);\(#,##0\);&quot;-  &quot;;&quot; &quot;@&quot; &quot;">
                  <c:v>15.795000000000002</c:v>
                </c:pt>
                <c:pt idx="47" formatCode="#,##0_);\(#,##0\);&quot;-  &quot;;&quot; &quot;@&quot; &quot;">
                  <c:v>14.704999999999998</c:v>
                </c:pt>
                <c:pt idx="48" formatCode="#,##0_);\(#,##0\);&quot;-  &quot;;&quot; &quot;@&quot; &quot;">
                  <c:v>15.834999999999994</c:v>
                </c:pt>
                <c:pt idx="49" formatCode="#,##0_);\(#,##0\);&quot;-  &quot;;&quot; &quot;@&quot; &quot;">
                  <c:v>16.22</c:v>
                </c:pt>
                <c:pt idx="50" formatCode="#,##0_);\(#,##0\);&quot;-  &quot;;&quot; &quot;@&quot; &quot;">
                  <c:v>16.414999999999992</c:v>
                </c:pt>
                <c:pt idx="51" formatCode="#,##0_);\(#,##0\);&quot;-  &quot;;&quot; &quot;@&quot; &quot;">
                  <c:v>16.984999999999999</c:v>
                </c:pt>
                <c:pt idx="52" formatCode="#,##0_);\(#,##0\);&quot;-  &quot;;&quot; &quot;@&quot; &quot;">
                  <c:v>16.935000000000002</c:v>
                </c:pt>
                <c:pt idx="53" formatCode="#,##0_);\(#,##0\);&quot;-  &quot;;&quot; &quot;@&quot; &quot;">
                  <c:v>16.855000000000004</c:v>
                </c:pt>
                <c:pt idx="54" formatCode="#,##0_);\(#,##0\);&quot;-  &quot;;&quot; &quot;@&quot; &quot;">
                  <c:v>17.344999999999999</c:v>
                </c:pt>
                <c:pt idx="55" formatCode="#,##0_);\(#,##0\);&quot;-  &quot;;&quot; &quot;@&quot; &quot;">
                  <c:v>18.240000000000009</c:v>
                </c:pt>
                <c:pt idx="56" formatCode="#,##0_);\(#,##0\);&quot;-  &quot;;&quot; &quot;@&quot; &quot;">
                  <c:v>17.310000000000002</c:v>
                </c:pt>
                <c:pt idx="57" formatCode="#,##0_);\(#,##0\);&quot;-  &quot;;&quot; &quot;@&quot; &quot;">
                  <c:v>16.89</c:v>
                </c:pt>
                <c:pt idx="58" formatCode="#,##0_);\(#,##0\);&quot;-  &quot;;&quot; &quot;@&quot; &quot;">
                  <c:v>16.490000000000009</c:v>
                </c:pt>
                <c:pt idx="59" formatCode="#,##0_);\(#,##0\);&quot;-  &quot;;&quot; &quot;@&quot; &quot;">
                  <c:v>15.649999999999991</c:v>
                </c:pt>
                <c:pt idx="60" formatCode="#,##0_);\(#,##0\);&quot;-  &quot;;&quot; &quot;@&quot; &quot;">
                  <c:v>15.614999999999995</c:v>
                </c:pt>
                <c:pt idx="61" formatCode="#,##0_);\(#,##0\);&quot;-  &quot;;&quot; &quot;@&quot; &quot;">
                  <c:v>15.304999999999993</c:v>
                </c:pt>
                <c:pt idx="62" formatCode="#,##0_);\(#,##0\);&quot;-  &quot;;&quot; &quot;@&quot; &quot;">
                  <c:v>15.034999999999997</c:v>
                </c:pt>
                <c:pt idx="63" formatCode="#,##0_);\(#,##0\);&quot;-  &quot;;&quot; &quot;@&quot; &quot;">
                  <c:v>15.689999999999998</c:v>
                </c:pt>
                <c:pt idx="64" formatCode="#,##0_);\(#,##0\);&quot;-  &quot;;&quot; &quot;@&quot; &quot;">
                  <c:v>14.825000000000003</c:v>
                </c:pt>
                <c:pt idx="65" formatCode="#,##0_);\(#,##0\);&quot;-  &quot;;&quot; &quot;@&quot; &quot;">
                  <c:v>14.585000000000008</c:v>
                </c:pt>
                <c:pt idx="66" formatCode="#,##0_);\(#,##0\);&quot;-  &quot;;&quot; &quot;@&quot; &quot;">
                  <c:v>14.210000000000008</c:v>
                </c:pt>
                <c:pt idx="67" formatCode="#,##0_);\(#,##0\);&quot;-  &quot;;&quot; &quot;@&quot; &quot;">
                  <c:v>13.934999999999988</c:v>
                </c:pt>
                <c:pt idx="68" formatCode="#,##0_);\(#,##0\);&quot;-  &quot;;&quot; &quot;@&quot; &quot;">
                  <c:v>13.444999999999993</c:v>
                </c:pt>
                <c:pt idx="69" formatCode="#,##0_);\(#,##0\);&quot;-  &quot;;&quot; &quot;@&quot; &quot;">
                  <c:v>12.694999999999993</c:v>
                </c:pt>
                <c:pt idx="70" formatCode="#,##0_);\(#,##0\);&quot;-  &quot;;&quot; &quot;@&quot; &quot;">
                  <c:v>13.475000000000009</c:v>
                </c:pt>
                <c:pt idx="71" formatCode="#,##0_);\(#,##0\);&quot;-  &quot;;&quot; &quot;@&quot; &quot;">
                  <c:v>13.265000000000001</c:v>
                </c:pt>
                <c:pt idx="72" formatCode="#,##0_);\(#,##0\);&quot;-  &quot;;&quot; &quot;@&quot; &quot;">
                  <c:v>12.819999999999993</c:v>
                </c:pt>
                <c:pt idx="73" formatCode="#,##0_);\(#,##0\);&quot;-  &quot;;&quot; &quot;@&quot; &quot;">
                  <c:v>12.830000000000013</c:v>
                </c:pt>
                <c:pt idx="74" formatCode="#,##0_);\(#,##0\);&quot;-  &quot;;&quot; &quot;@&quot; &quot;">
                  <c:v>13.200000000000003</c:v>
                </c:pt>
                <c:pt idx="75" formatCode="#,##0_);\(#,##0\);&quot;-  &quot;;&quot; &quot;@&quot; &quot;">
                  <c:v>13.905000000000001</c:v>
                </c:pt>
                <c:pt idx="76" formatCode="#,##0_);\(#,##0\);&quot;-  &quot;;&quot; &quot;@&quot; &quot;">
                  <c:v>13.174999999999997</c:v>
                </c:pt>
                <c:pt idx="77" formatCode="#,##0_);\(#,##0\);&quot;-  &quot;;&quot; &quot;@&quot; &quot;">
                  <c:v>13.375</c:v>
                </c:pt>
                <c:pt idx="78" formatCode="#,##0_);\(#,##0\);&quot;-  &quot;;&quot; &quot;@&quot; &quot;">
                  <c:v>13.670000000000002</c:v>
                </c:pt>
                <c:pt idx="79" formatCode="#,##0_);\(#,##0\);&quot;-  &quot;;&quot; &quot;@&quot; &quot;">
                  <c:v>14.39500000000001</c:v>
                </c:pt>
                <c:pt idx="80" formatCode="#,##0_);\(#,##0\);&quot;-  &quot;;&quot; &quot;@&quot; &quot;">
                  <c:v>14.504999999999995</c:v>
                </c:pt>
                <c:pt idx="81" formatCode="#,##0_);\(#,##0\);&quot;-  &quot;;&quot; &quot;@&quot; &quot;">
                  <c:v>15.085000000000008</c:v>
                </c:pt>
                <c:pt idx="82" formatCode="#,##0_);\(#,##0\);&quot;-  &quot;;&quot; &quot;@&quot; &quot;">
                  <c:v>15.10499999999999</c:v>
                </c:pt>
                <c:pt idx="83" formatCode="#,##0_);\(#,##0\);&quot;-  &quot;;&quot; &quot;@&quot; &quot;">
                  <c:v>14.504999999999995</c:v>
                </c:pt>
                <c:pt idx="84" formatCode="#,##0_);\(#,##0\);&quot;-  &quot;;&quot; &quot;@&quot; &quot;">
                  <c:v>15.445000000000007</c:v>
                </c:pt>
                <c:pt idx="85" formatCode="#,##0_);\(#,##0\);&quot;-  &quot;;&quot; &quot;@&quot; &quot;">
                  <c:v>14.314999999999998</c:v>
                </c:pt>
                <c:pt idx="86" formatCode="#,##0_);\(#,##0\);&quot;-  &quot;;&quot; &quot;@&quot; &quot;">
                  <c:v>13.769999999999996</c:v>
                </c:pt>
                <c:pt idx="87" formatCode="#,##0_);\(#,##0\);&quot;-  &quot;;&quot; &quot;@&quot; &quot;">
                  <c:v>14.469999999999999</c:v>
                </c:pt>
                <c:pt idx="88" formatCode="#,##0_);\(#,##0\);&quot;-  &quot;;&quot; &quot;@&quot; &quot;">
                  <c:v>14.754999999999995</c:v>
                </c:pt>
                <c:pt idx="89" formatCode="#,##0_);\(#,##0\);&quot;-  &quot;;&quot; &quot;@&quot; &quot;">
                  <c:v>13.984999999999999</c:v>
                </c:pt>
                <c:pt idx="90" formatCode="#,##0_);\(#,##0\);&quot;-  &quot;;&quot; &quot;@&quot; &quot;">
                  <c:v>14.135000000000005</c:v>
                </c:pt>
                <c:pt idx="91" formatCode="#,##0_);\(#,##0\);&quot;-  &quot;;&quot; &quot;@&quot; &quot;">
                  <c:v>13.415000000000006</c:v>
                </c:pt>
                <c:pt idx="92" formatCode="#,##0_);\(#,##0\);&quot;-  &quot;;&quot; &quot;@&quot; &quot;">
                  <c:v>14.64</c:v>
                </c:pt>
                <c:pt idx="93" formatCode="#,##0_);\(#,##0\);&quot;-  &quot;;&quot; &quot;@&quot; &quot;">
                  <c:v>14.234999999999999</c:v>
                </c:pt>
                <c:pt idx="94" formatCode="#,##0_);\(#,##0\);&quot;-  &quot;;&quot; &quot;@&quot; &quot;">
                  <c:v>14.484999999999999</c:v>
                </c:pt>
                <c:pt idx="95" formatCode="#,##0_);\(#,##0\);&quot;-  &quot;;&quot; &quot;@&quot; &quot;">
                  <c:v>15.269999999999996</c:v>
                </c:pt>
                <c:pt idx="96" formatCode="#,##0_);\(#,##0\);&quot;-  &quot;;&quot; &quot;@&quot; &quot;">
                  <c:v>15.715000000000003</c:v>
                </c:pt>
                <c:pt idx="97" formatCode="#,##0_);\(#,##0\);&quot;-  &quot;;&quot; &quot;@&quot; &quot;">
                  <c:v>15.655000000000001</c:v>
                </c:pt>
                <c:pt idx="98" formatCode="#,##0_);\(#,##0\);&quot;-  &quot;;&quot; &quot;@&quot; &quot;">
                  <c:v>15.835000000000008</c:v>
                </c:pt>
                <c:pt idx="99" formatCode="#,##0_);\(#,##0\);&quot;-  &quot;;&quot; &quot;@&quot; &quot;">
                  <c:v>15.015000000000001</c:v>
                </c:pt>
                <c:pt idx="100" formatCode="#,##0_);\(#,##0\);&quot;-  &quot;;&quot; &quot;@&quot; &quot;">
                  <c:v>14.465000000000003</c:v>
                </c:pt>
                <c:pt idx="101" formatCode="#,##0_);\(#,##0\);&quot;-  &quot;;&quot; &quot;@&quot; &quot;">
                  <c:v>14.290000000000006</c:v>
                </c:pt>
                <c:pt idx="102" formatCode="#,##0_);\(#,##0\);&quot;-  &quot;;&quot; &quot;@&quot; &quot;">
                  <c:v>13.650000000000006</c:v>
                </c:pt>
                <c:pt idx="103" formatCode="#,##0_);\(#,##0\);&quot;-  &quot;;&quot; &quot;@&quot; &quot;">
                  <c:v>13.120000000000005</c:v>
                </c:pt>
                <c:pt idx="104" formatCode="#,##0_);\(#,##0\);&quot;-  &quot;;&quot; &quot;@&quot; &quot;">
                  <c:v>13.545000000000002</c:v>
                </c:pt>
                <c:pt idx="105" formatCode="#,##0_);\(#,##0\);&quot;-  &quot;;&quot; &quot;@&quot; &quot;">
                  <c:v>13.434999999999988</c:v>
                </c:pt>
                <c:pt idx="106" formatCode="#,##0_);\(#,##0\);&quot;-  &quot;;&quot; &quot;@&quot; &quot;">
                  <c:v>12.535000000000011</c:v>
                </c:pt>
                <c:pt idx="107" formatCode="#,##0_);\(#,##0\);&quot;-  &quot;;&quot; &quot;@&quot; &quot;">
                  <c:v>13.429999999999993</c:v>
                </c:pt>
                <c:pt idx="108" formatCode="#,##0_);\(#,##0\);&quot;-  &quot;;&quot; &quot;@&quot; &quot;">
                  <c:v>13.129999999999995</c:v>
                </c:pt>
                <c:pt idx="109" formatCode="#,##0_);\(#,##0\);&quot;-  &quot;;&quot; &quot;@&quot; &quot;">
                  <c:v>13.920000000000002</c:v>
                </c:pt>
                <c:pt idx="110" formatCode="#,##0_);\(#,##0\);&quot;-  &quot;;&quot; &quot;@&quot; &quot;">
                  <c:v>13.474999999999994</c:v>
                </c:pt>
                <c:pt idx="111" formatCode="#,##0_);\(#,##0\);&quot;-  &quot;;&quot; &quot;@&quot; &quot;">
                  <c:v>13.620000000000005</c:v>
                </c:pt>
                <c:pt idx="112" formatCode="#,##0_);\(#,##0\);&quot;-  &quot;;&quot; &quot;@&quot; &quot;">
                  <c:v>13.715000000000003</c:v>
                </c:pt>
                <c:pt idx="113" formatCode="#,##0_);\(#,##0\);&quot;-  &quot;;&quot; &quot;@&quot; &quot;">
                  <c:v>13.35499999999999</c:v>
                </c:pt>
                <c:pt idx="114" formatCode="#,##0_);\(#,##0\);&quot;-  &quot;;&quot; &quot;@&quot; &quot;">
                  <c:v>13.36</c:v>
                </c:pt>
                <c:pt idx="115" formatCode="#,##0_);\(#,##0\);&quot;-  &quot;;&quot; &quot;@&quot; &quot;">
                  <c:v>13.179999999999993</c:v>
                </c:pt>
                <c:pt idx="116" formatCode="#,##0_);\(#,##0\);&quot;-  &quot;;&quot; &quot;@&quot; &quot;">
                  <c:v>11.850000000000009</c:v>
                </c:pt>
                <c:pt idx="117" formatCode="#,##0_);\(#,##0\);&quot;-  &quot;;&quot; &quot;@&quot; &quot;">
                  <c:v>12.13000000000001</c:v>
                </c:pt>
                <c:pt idx="118" formatCode="#,##0_);\(#,##0\);&quot;-  &quot;;&quot; &quot;@&quot; &quot;">
                  <c:v>12.230000000000004</c:v>
                </c:pt>
                <c:pt idx="119" formatCode="#,##0_);\(#,##0\);&quot;-  &quot;;&quot; &quot;@&quot; &quot;">
                  <c:v>11.650000000000006</c:v>
                </c:pt>
                <c:pt idx="120" formatCode="#,##0_);\(#,##0\);&quot;-  &quot;;&quot; &quot;@&quot; &quot;">
                  <c:v>11.370000000000005</c:v>
                </c:pt>
                <c:pt idx="121" formatCode="#,##0_);\(#,##0\);&quot;-  &quot;;&quot; &quot;@&quot; &quot;">
                  <c:v>11.829999999999998</c:v>
                </c:pt>
                <c:pt idx="122" formatCode="#,##0_);\(#,##0\);&quot;-  &quot;;&quot; &quot;@&quot; &quot;">
                  <c:v>12.445000000000007</c:v>
                </c:pt>
                <c:pt idx="123" formatCode="#,##0_);\(#,##0\);&quot;-  &quot;;&quot; &quot;@&quot; &quot;">
                  <c:v>12.405000000000001</c:v>
                </c:pt>
                <c:pt idx="124" formatCode="#,##0_);\(#,##0\);&quot;-  &quot;;&quot; &quot;@&quot; &quot;">
                  <c:v>12.234999999999999</c:v>
                </c:pt>
                <c:pt idx="125" formatCode="#,##0_);\(#,##0\);&quot;-  &quot;;&quot; &quot;@&quot; &quot;">
                  <c:v>11.199999999999989</c:v>
                </c:pt>
                <c:pt idx="126" formatCode="#,##0_);\(#,##0\);&quot;-  &quot;;&quot; &quot;@&quot; &quot;">
                  <c:v>10.915000000000006</c:v>
                </c:pt>
                <c:pt idx="127" formatCode="#,##0_);\(#,##0\);&quot;-  &quot;;&quot; &quot;@&quot; &quot;">
                  <c:v>10.5</c:v>
                </c:pt>
                <c:pt idx="128" formatCode="#,##0_);\(#,##0\);&quot;-  &quot;;&quot; &quot;@&quot; &quot;">
                  <c:v>10.015000000000001</c:v>
                </c:pt>
                <c:pt idx="129" formatCode="#,##0_);\(#,##0\);&quot;-  &quot;;&quot; &quot;@&quot; &quot;">
                  <c:v>9.4650000000000034</c:v>
                </c:pt>
                <c:pt idx="130" formatCode="#,##0_);\(#,##0\);&quot;-  &quot;;&quot; &quot;@&quot; &quot;">
                  <c:v>10.815000000000012</c:v>
                </c:pt>
                <c:pt idx="131" formatCode="#,##0_);\(#,##0\);&quot;-  &quot;;&quot; &quot;@&quot; &quot;">
                  <c:v>10.689999999999998</c:v>
                </c:pt>
                <c:pt idx="132" formatCode="#,##0_);\(#,##0\);&quot;-  &quot;;&quot; &quot;@&quot; &quot;">
                  <c:v>9.5550000000000068</c:v>
                </c:pt>
                <c:pt idx="133" formatCode="#,##0_);\(#,##0\);&quot;-  &quot;;&quot; &quot;@&quot; &quot;">
                  <c:v>10.515000000000001</c:v>
                </c:pt>
                <c:pt idx="134" formatCode="#,##0_);\(#,##0\);&quot;-  &quot;;&quot; &quot;@&quot; &quot;">
                  <c:v>10.439999999999998</c:v>
                </c:pt>
                <c:pt idx="135" formatCode="#,##0_);\(#,##0\);&quot;-  &quot;;&quot; &quot;@&quot; &quot;">
                  <c:v>10.77000000000001</c:v>
                </c:pt>
                <c:pt idx="136" formatCode="#,##0_);\(#,##0\);&quot;-  &quot;;&quot; &quot;@&quot; &quot;">
                  <c:v>11.114999999999995</c:v>
                </c:pt>
                <c:pt idx="137" formatCode="#,##0_);\(#,##0\);&quot;-  &quot;;&quot; &quot;@&quot; &quot;">
                  <c:v>10.969999999999999</c:v>
                </c:pt>
                <c:pt idx="138" formatCode="#,##0_);\(#,##0\);&quot;-  &quot;;&quot; &quot;@&quot; &quot;">
                  <c:v>10.674999999999997</c:v>
                </c:pt>
                <c:pt idx="139" formatCode="#,##0_);\(#,##0\);&quot;-  &quot;;&quot; &quot;@&quot; &quot;">
                  <c:v>11.709999999999994</c:v>
                </c:pt>
                <c:pt idx="140" formatCode="#,##0_);\(#,##0\);&quot;-  &quot;;&quot; &quot;@&quot; &quot;">
                  <c:v>11.375</c:v>
                </c:pt>
                <c:pt idx="141" formatCode="#,##0_);\(#,##0\);&quot;-  &quot;;&quot; &quot;@&quot; &quot;">
                  <c:v>12.200000000000003</c:v>
                </c:pt>
                <c:pt idx="142" formatCode="#,##0_);\(#,##0\);&quot;-  &quot;;&quot; &quot;@&quot; &quot;">
                  <c:v>12.944999999999993</c:v>
                </c:pt>
                <c:pt idx="143" formatCode="#,##0_);\(#,##0\);&quot;-  &quot;;&quot; &quot;@&quot; &quot;">
                  <c:v>12.280000000000001</c:v>
                </c:pt>
                <c:pt idx="144" formatCode="#,##0_);\(#,##0\);&quot;-  &quot;;&quot; &quot;@&quot; &quot;">
                  <c:v>12.805000000000007</c:v>
                </c:pt>
                <c:pt idx="145" formatCode="#,##0_);\(#,##0\);&quot;-  &quot;;&quot; &quot;@&quot; &quot;">
                  <c:v>12.409999999999997</c:v>
                </c:pt>
                <c:pt idx="146" formatCode="#,##0_);\(#,##0\);&quot;-  &quot;;&quot; &quot;@&quot; &quot;">
                  <c:v>12.225000000000009</c:v>
                </c:pt>
                <c:pt idx="147" formatCode="#,##0_);\(#,##0\);&quot;-  &quot;;&quot; &quot;@&quot; &quot;">
                  <c:v>12.13000000000001</c:v>
                </c:pt>
                <c:pt idx="148" formatCode="#,##0_);\(#,##0\);&quot;-  &quot;;&quot; &quot;@&quot; &quot;">
                  <c:v>12.510000000000005</c:v>
                </c:pt>
                <c:pt idx="149" formatCode="#,##0_);\(#,##0\);&quot;-  &quot;;&quot; &quot;@&quot; &quot;">
                  <c:v>12.375</c:v>
                </c:pt>
                <c:pt idx="150" formatCode="#,##0_);\(#,##0\);&quot;-  &quot;;&quot; &quot;@&quot; &quot;">
                  <c:v>12.449999999999989</c:v>
                </c:pt>
                <c:pt idx="151" formatCode="#,##0_);\(#,##0\);&quot;-  &quot;;&quot; &quot;@&quot; &quot;">
                  <c:v>12.475000000000009</c:v>
                </c:pt>
                <c:pt idx="152" formatCode="#,##0_);\(#,##0\);&quot;-  &quot;;&quot; &quot;@&quot; &quot;">
                  <c:v>11.900000000000006</c:v>
                </c:pt>
                <c:pt idx="153" formatCode="#,##0_);\(#,##0\);&quot;-  &quot;;&quot; &quot;@&quot; &quot;">
                  <c:v>12.160000000000011</c:v>
                </c:pt>
                <c:pt idx="154" formatCode="#,##0_);\(#,##0\);&quot;-  &quot;;&quot; &quot;@&quot; &quot;">
                  <c:v>12.424999999999997</c:v>
                </c:pt>
                <c:pt idx="155" formatCode="#,##0_);\(#,##0\);&quot;-  &quot;;&quot; &quot;@&quot; &quot;">
                  <c:v>14.414999999999992</c:v>
                </c:pt>
                <c:pt idx="156" formatCode="#,##0_);\(#,##0\);&quot;-  &quot;;&quot; &quot;@&quot; &quot;">
                  <c:v>14.719999999999999</c:v>
                </c:pt>
                <c:pt idx="157" formatCode="#,##0_);\(#,##0\);&quot;-  &quot;;&quot; &quot;@&quot; &quot;">
                  <c:v>15.310000000000002</c:v>
                </c:pt>
                <c:pt idx="158" formatCode="#,##0_);\(#,##0\);&quot;-  &quot;;&quot; &quot;@&quot; &quot;">
                  <c:v>16.334999999999994</c:v>
                </c:pt>
                <c:pt idx="159" formatCode="#,##0_);\(#,##0\);&quot;-  &quot;;&quot; &quot;@&quot; &quot;">
                  <c:v>14.324999999999989</c:v>
                </c:pt>
                <c:pt idx="160" formatCode="#,##0_);\(#,##0\);&quot;-  &quot;;&quot; &quot;@&quot; &quot;">
                  <c:v>13.804999999999993</c:v>
                </c:pt>
                <c:pt idx="161" formatCode="#,##0_);\(#,##0\);&quot;-  &quot;;&quot; &quot;@&quot; &quot;">
                  <c:v>13.340000000000003</c:v>
                </c:pt>
                <c:pt idx="162" formatCode="#,##0_);\(#,##0\);&quot;-  &quot;;&quot; &quot;@&quot; &quot;">
                  <c:v>14.420000000000002</c:v>
                </c:pt>
                <c:pt idx="163" formatCode="#,##0_);\(#,##0\);&quot;-  &quot;;&quot; &quot;@&quot; &quot;">
                  <c:v>14.155000000000001</c:v>
                </c:pt>
                <c:pt idx="164" formatCode="#,##0_);\(#,##0\);&quot;-  &quot;;&quot; &quot;@&quot; &quot;">
                  <c:v>13.959999999999994</c:v>
                </c:pt>
                <c:pt idx="165" formatCode="#,##0_);\(#,##0\);&quot;-  &quot;;&quot; &quot;@&quot; &quot;">
                  <c:v>14.77000000000001</c:v>
                </c:pt>
                <c:pt idx="166" formatCode="#,##0_);\(#,##0\);&quot;-  &quot;;&quot; &quot;@&quot; &quot;">
                  <c:v>14.990000000000009</c:v>
                </c:pt>
                <c:pt idx="167" formatCode="#,##0_);\(#,##0\);&quot;-  &quot;;&quot; &quot;@&quot; &quot;">
                  <c:v>14.560000000000002</c:v>
                </c:pt>
                <c:pt idx="168" formatCode="#,##0_);\(#,##0\);&quot;-  &quot;;&quot; &quot;@&quot; &quot;">
                  <c:v>14.97999999999999</c:v>
                </c:pt>
                <c:pt idx="169" formatCode="#,##0_);\(#,##0\);&quot;-  &quot;;&quot; &quot;@&quot; &quot;">
                  <c:v>15.13000000000001</c:v>
                </c:pt>
                <c:pt idx="170" formatCode="#,##0_);\(#,##0\);&quot;-  &quot;;&quot; &quot;@&quot; &quot;">
                  <c:v>16.275000000000006</c:v>
                </c:pt>
                <c:pt idx="171" formatCode="#,##0_);\(#,##0\);&quot;-  &quot;;&quot; &quot;@&quot; &quot;">
                  <c:v>17.509999999999991</c:v>
                </c:pt>
                <c:pt idx="172" formatCode="#,##0_);\(#,##0\);&quot;-  &quot;;&quot; &quot;@&quot; &quot;">
                  <c:v>17.120000000000005</c:v>
                </c:pt>
                <c:pt idx="173" formatCode="#,##0_);\(#,##0\);&quot;-  &quot;;&quot; &quot;@&quot; &quot;">
                  <c:v>16.734999999999999</c:v>
                </c:pt>
                <c:pt idx="174" formatCode="#,##0_);\(#,##0\);&quot;-  &quot;;&quot; &quot;@&quot; &quot;">
                  <c:v>16.894999999999996</c:v>
                </c:pt>
                <c:pt idx="175" formatCode="#,##0_);\(#,##0\);&quot;-  &quot;;&quot; &quot;@&quot; &quot;">
                  <c:v>17.77000000000001</c:v>
                </c:pt>
                <c:pt idx="176" formatCode="#,##0_);\(#,##0\);&quot;-  &quot;;&quot; &quot;@&quot; &quot;">
                  <c:v>17.805000000000007</c:v>
                </c:pt>
                <c:pt idx="177" formatCode="#,##0_);\(#,##0\);&quot;-  &quot;;&quot; &quot;@&quot; &quot;">
                  <c:v>17.375</c:v>
                </c:pt>
                <c:pt idx="178" formatCode="#,##0_);\(#,##0\);&quot;-  &quot;;&quot; &quot;@&quot; &quot;">
                  <c:v>18.135000000000005</c:v>
                </c:pt>
                <c:pt idx="179" formatCode="#,##0_);\(#,##0\);&quot;-  &quot;;&quot; &quot;@&quot; &quot;">
                  <c:v>18.765000000000001</c:v>
                </c:pt>
                <c:pt idx="180" formatCode="#,##0_);\(#,##0\);&quot;-  &quot;;&quot; &quot;@&quot; &quot;">
                  <c:v>19.095000000000013</c:v>
                </c:pt>
                <c:pt idx="181" formatCode="#,##0_);\(#,##0\);&quot;-  &quot;;&quot; &quot;@&quot; &quot;">
                  <c:v>18.974999999999994</c:v>
                </c:pt>
                <c:pt idx="182" formatCode="#,##0_);\(#,##0\);&quot;-  &quot;;&quot; &quot;@&quot; &quot;">
                  <c:v>19.605000000000004</c:v>
                </c:pt>
                <c:pt idx="183" formatCode="#,##0_);\(#,##0\);&quot;-  &quot;;&quot; &quot;@&quot; &quot;">
                  <c:v>18.790000000000006</c:v>
                </c:pt>
                <c:pt idx="184" formatCode="#,##0_);\(#,##0\);&quot;-  &quot;;&quot; &quot;@&quot; &quot;">
                  <c:v>18.464999999999989</c:v>
                </c:pt>
                <c:pt idx="185" formatCode="#,##0_);\(#,##0\);&quot;-  &quot;;&quot; &quot;@&quot; &quot;">
                  <c:v>18.210000000000008</c:v>
                </c:pt>
                <c:pt idx="186" formatCode="#,##0_);\(#,##0\);&quot;-  &quot;;&quot; &quot;@&quot; &quot;">
                  <c:v>18.875</c:v>
                </c:pt>
                <c:pt idx="187" formatCode="#,##0_);\(#,##0\);&quot;-  &quot;;&quot; &quot;@&quot; &quot;">
                  <c:v>18.730000000000004</c:v>
                </c:pt>
                <c:pt idx="188" formatCode="#,##0_);\(#,##0\);&quot;-  &quot;;&quot; &quot;@&quot; &quot;">
                  <c:v>18.739999999999995</c:v>
                </c:pt>
                <c:pt idx="189" formatCode="#,##0_);\(#,##0\);&quot;-  &quot;;&quot; &quot;@&quot; &quot;">
                  <c:v>19.484999999999999</c:v>
                </c:pt>
                <c:pt idx="190" formatCode="#,##0_);\(#,##0\);&quot;-  &quot;;&quot; &quot;@&quot; &quot;">
                  <c:v>19.099999999999994</c:v>
                </c:pt>
                <c:pt idx="191" formatCode="#,##0_);\(#,##0\);&quot;-  &quot;;&quot; &quot;@&quot; &quot;">
                  <c:v>19.254999999999995</c:v>
                </c:pt>
                <c:pt idx="192" formatCode="#,##0_);\(#,##0\);&quot;-  &quot;;&quot; &quot;@&quot; &quot;">
                  <c:v>19.069999999999993</c:v>
                </c:pt>
                <c:pt idx="193" formatCode="#,##0_);\(#,##0\);&quot;-  &quot;;&quot; &quot;@&quot; &quot;">
                  <c:v>18.615000000000009</c:v>
                </c:pt>
                <c:pt idx="194" formatCode="#,##0_);\(#,##0\);&quot;-  &quot;;&quot; &quot;@&quot; &quot;">
                  <c:v>18.525000000000006</c:v>
                </c:pt>
                <c:pt idx="195" formatCode="#,##0_);\(#,##0\);&quot;-  &quot;;&quot; &quot;@&quot; &quot;">
                  <c:v>17.765000000000001</c:v>
                </c:pt>
                <c:pt idx="196" formatCode="#,##0_);\(#,##0\);&quot;-  &quot;;&quot; &quot;@&quot; &quot;">
                  <c:v>18.334999999999994</c:v>
                </c:pt>
                <c:pt idx="197" formatCode="#,##0_);\(#,##0\);&quot;-  &quot;;&quot; &quot;@&quot; &quot;">
                  <c:v>18.730000000000004</c:v>
                </c:pt>
                <c:pt idx="198" formatCode="#,##0_);\(#,##0\);&quot;-  &quot;;&quot; &quot;@&quot; &quot;">
                  <c:v>18.319999999999993</c:v>
                </c:pt>
                <c:pt idx="199" formatCode="#,##0_);\(#,##0\);&quot;-  &quot;;&quot; &quot;@&quot; &quot;">
                  <c:v>18.679999999999993</c:v>
                </c:pt>
                <c:pt idx="200" formatCode="#,##0_);\(#,##0\);&quot;-  &quot;;&quot; &quot;@&quot; &quot;">
                  <c:v>18.394999999999996</c:v>
                </c:pt>
                <c:pt idx="201" formatCode="#,##0_);\(#,##0\);&quot;-  &quot;;&quot; &quot;@&quot; &quot;">
                  <c:v>18.399999999999991</c:v>
                </c:pt>
                <c:pt idx="202" formatCode="#,##0_);\(#,##0\);&quot;-  &quot;;&quot; &quot;@&quot; &quot;">
                  <c:v>17.61</c:v>
                </c:pt>
                <c:pt idx="203" formatCode="#,##0_);\(#,##0\);&quot;-  &quot;;&quot; &quot;@&quot; &quot;">
                  <c:v>16.765000000000001</c:v>
                </c:pt>
                <c:pt idx="204" formatCode="#,##0_);\(#,##0\);&quot;-  &quot;;&quot; &quot;@&quot; &quot;">
                  <c:v>16.259999999999991</c:v>
                </c:pt>
                <c:pt idx="205" formatCode="#,##0_);\(#,##0\);&quot;-  &quot;;&quot; &quot;@&quot; &quot;">
                  <c:v>16.484999999999999</c:v>
                </c:pt>
                <c:pt idx="206" formatCode="#,##0_);\(#,##0\);&quot;-  &quot;;&quot; &quot;@&quot; &quot;">
                  <c:v>16.195000000000007</c:v>
                </c:pt>
                <c:pt idx="207" formatCode="#,##0_);\(#,##0\);&quot;-  &quot;;&quot; &quot;@&quot; &quot;">
                  <c:v>16.865000000000009</c:v>
                </c:pt>
                <c:pt idx="208" formatCode="#,##0_);\(#,##0\);&quot;-  &quot;;&quot; &quot;@&quot; &quot;">
                  <c:v>16.784999999999997</c:v>
                </c:pt>
                <c:pt idx="209" formatCode="#,##0_);\(#,##0\);&quot;-  &quot;;&quot; &quot;@&quot; &quot;">
                  <c:v>17.00500000000001</c:v>
                </c:pt>
                <c:pt idx="210" formatCode="#,##0_);\(#,##0\);&quot;-  &quot;;&quot; &quot;@&quot; &quot;">
                  <c:v>16.564999999999998</c:v>
                </c:pt>
                <c:pt idx="211" formatCode="#,##0_);\(#,##0\);&quot;-  &quot;;&quot; &quot;@&quot; &quot;">
                  <c:v>16.769999999999996</c:v>
                </c:pt>
                <c:pt idx="212" formatCode="#,##0_);\(#,##0\);&quot;-  &quot;;&quot; &quot;@&quot; &quot;">
                  <c:v>16.5</c:v>
                </c:pt>
                <c:pt idx="213" formatCode="#,##0_);\(#,##0\);&quot;-  &quot;;&quot; &quot;@&quot; &quot;">
                  <c:v>16.480000000000004</c:v>
                </c:pt>
                <c:pt idx="214" formatCode="#,##0_);\(#,##0\);&quot;-  &quot;;&quot; &quot;@&quot; &quot;">
                  <c:v>16.254999999999995</c:v>
                </c:pt>
                <c:pt idx="215" formatCode="#,##0_);\(#,##0\);&quot;-  &quot;;&quot; &quot;@&quot; &quot;">
                  <c:v>17.774999999999991</c:v>
                </c:pt>
                <c:pt idx="216" formatCode="#,##0_);\(#,##0\);&quot;-  &quot;;&quot; &quot;@&quot; &quot;">
                  <c:v>17.150000000000006</c:v>
                </c:pt>
                <c:pt idx="217" formatCode="#,##0_);\(#,##0\);&quot;-  &quot;;&quot; &quot;@&quot; &quot;">
                  <c:v>17.189999999999998</c:v>
                </c:pt>
                <c:pt idx="218" formatCode="#,##0_);\(#,##0\);&quot;-  &quot;;&quot; &quot;@&quot; &quot;">
                  <c:v>16.519999999999996</c:v>
                </c:pt>
                <c:pt idx="219" formatCode="#,##0_);\(#,##0\);&quot;-  &quot;;&quot; &quot;@&quot; &quot;">
                  <c:v>16.170000000000002</c:v>
                </c:pt>
                <c:pt idx="220" formatCode="#,##0_);\(#,##0\);&quot;-  &quot;;&quot; &quot;@&quot; &quot;">
                  <c:v>14.670000000000002</c:v>
                </c:pt>
                <c:pt idx="221" formatCode="#,##0_);\(#,##0\);&quot;-  &quot;;&quot; &quot;@&quot; &quot;">
                  <c:v>16.274999999999991</c:v>
                </c:pt>
                <c:pt idx="222" formatCode="#,##0_);\(#,##0\);&quot;-  &quot;;&quot; &quot;@&quot; &quot;">
                  <c:v>16.705000000000013</c:v>
                </c:pt>
                <c:pt idx="223" formatCode="#,##0_);\(#,##0\);&quot;-  &quot;;&quot; &quot;@&quot; &quot;">
                  <c:v>16.295000000000002</c:v>
                </c:pt>
                <c:pt idx="224" formatCode="#,##0_);\(#,##0\);&quot;-  &quot;;&quot; &quot;@&quot; &quot;">
                  <c:v>16.545000000000002</c:v>
                </c:pt>
                <c:pt idx="225" formatCode="#,##0_);\(#,##0\);&quot;-  &quot;;&quot; &quot;@&quot; &quot;">
                  <c:v>17.364999999999995</c:v>
                </c:pt>
                <c:pt idx="226" formatCode="#,##0_);\(#,##0\);&quot;-  &quot;;&quot; &quot;@&quot; &quot;">
                  <c:v>17.455000000000013</c:v>
                </c:pt>
                <c:pt idx="227" formatCode="#,##0_);\(#,##0\);&quot;-  &quot;;&quot; &quot;@&quot; &quot;">
                  <c:v>17.774999999999991</c:v>
                </c:pt>
                <c:pt idx="228" formatCode="#,##0_);\(#,##0\);&quot;-  &quot;;&quot; &quot;@&quot; &quot;">
                  <c:v>17.230000000000004</c:v>
                </c:pt>
                <c:pt idx="229" formatCode="#,##0_);\(#,##0\);&quot;-  &quot;;&quot; &quot;@&quot; &quot;">
                  <c:v>15.25500000000001</c:v>
                </c:pt>
                <c:pt idx="230" formatCode="#,##0_);\(#,##0\);&quot;-  &quot;;&quot; &quot;@&quot; &quot;">
                  <c:v>16.165000000000006</c:v>
                </c:pt>
                <c:pt idx="231" formatCode="#,##0_);\(#,##0\);&quot;-  &quot;;&quot; &quot;@&quot; &quot;">
                  <c:v>15.839999999999989</c:v>
                </c:pt>
                <c:pt idx="232" formatCode="#,##0_);\(#,##0\);&quot;-  &quot;;&quot; &quot;@&quot; &quot;">
                  <c:v>16.284999999999997</c:v>
                </c:pt>
                <c:pt idx="233" formatCode="#,##0_);\(#,##0\);&quot;-  &quot;;&quot; &quot;@&quot; &quot;">
                  <c:v>16.570000000000007</c:v>
                </c:pt>
                <c:pt idx="234" formatCode="#,##0_);\(#,##0\);&quot;-  &quot;;&quot; &quot;@&quot; &quot;">
                  <c:v>17.334999999999994</c:v>
                </c:pt>
                <c:pt idx="235" formatCode="#,##0_);\(#,##0\);&quot;-  &quot;;&quot; &quot;@&quot; &quot;">
                  <c:v>17.980000000000004</c:v>
                </c:pt>
                <c:pt idx="236" formatCode="#,##0_);\(#,##0\);&quot;-  &quot;;&quot; &quot;@&quot; &quot;">
                  <c:v>19.585000000000008</c:v>
                </c:pt>
                <c:pt idx="237" formatCode="#,##0_);\(#,##0\);&quot;-  &quot;;&quot; &quot;@&quot; &quot;">
                  <c:v>18.605000000000004</c:v>
                </c:pt>
                <c:pt idx="238" formatCode="#,##0_);\(#,##0\);&quot;-  &quot;;&quot; &quot;@&quot; &quot;">
                  <c:v>19.170000000000002</c:v>
                </c:pt>
                <c:pt idx="239" formatCode="#,##0_);\(#,##0\);&quot;-  &quot;;&quot; &quot;@&quot; &quot;">
                  <c:v>18.180000000000007</c:v>
                </c:pt>
                <c:pt idx="240" formatCode="#,##0_);\(#,##0\);&quot;-  &quot;;&quot; &quot;@&quot; &quot;">
                  <c:v>19.340000000000003</c:v>
                </c:pt>
                <c:pt idx="241" formatCode="#,##0_);\(#,##0\);&quot;-  &quot;;&quot; &quot;@&quot; &quot;">
                  <c:v>19.445000000000007</c:v>
                </c:pt>
                <c:pt idx="242" formatCode="#,##0_);\(#,##0\);&quot;-  &quot;;&quot; &quot;@&quot; &quot;">
                  <c:v>20.064999999999998</c:v>
                </c:pt>
                <c:pt idx="243" formatCode="#,##0_);\(#,##0\);&quot;-  &quot;;&quot; &quot;@&quot; &quot;">
                  <c:v>20.870000000000005</c:v>
                </c:pt>
                <c:pt idx="244" formatCode="#,##0_);\(#,##0\);&quot;-  &quot;;&quot; &quot;@&quot; &quot;">
                  <c:v>20.234999999999999</c:v>
                </c:pt>
                <c:pt idx="245" formatCode="#,##0_);\(#,##0\);&quot;-  &quot;;&quot; &quot;@&quot; &quot;">
                  <c:v>20.14</c:v>
                </c:pt>
                <c:pt idx="246" formatCode="#,##0_);\(#,##0\);&quot;-  &quot;;&quot; &quot;@&quot; &quot;">
                  <c:v>20.47</c:v>
                </c:pt>
                <c:pt idx="247" formatCode="#,##0_);\(#,##0\);&quot;-  &quot;;&quot; &quot;@&quot; &quot;">
                  <c:v>20.385000000000005</c:v>
                </c:pt>
                <c:pt idx="248" formatCode="#,##0_);\(#,##0\);&quot;-  &quot;;&quot; &quot;@&quot; &quot;">
                  <c:v>19.924999999999997</c:v>
                </c:pt>
                <c:pt idx="249" formatCode="#,##0_);\(#,##0\);&quot;-  &quot;;&quot; &quot;@&quot; &quot;">
                  <c:v>19.534999999999997</c:v>
                </c:pt>
                <c:pt idx="250" formatCode="#,##0_);\(#,##0\);&quot;-  &quot;;&quot; &quot;@&quot; &quot;">
                  <c:v>19.435000000000002</c:v>
                </c:pt>
                <c:pt idx="251" formatCode="#,##0_);\(#,##0\);&quot;-  &quot;;&quot; &quot;@&quot; &quot;">
                  <c:v>18.765000000000001</c:v>
                </c:pt>
                <c:pt idx="252" formatCode="#,##0_);\(#,##0\);&quot;-  &quot;;&quot; &quot;@&quot; &quot;">
                  <c:v>18.379999999999995</c:v>
                </c:pt>
                <c:pt idx="253" formatCode="#,##0_);\(#,##0\);&quot;-  &quot;;&quot; &quot;@&quot; &quot;">
                  <c:v>18.840000000000003</c:v>
                </c:pt>
                <c:pt idx="254" formatCode="#,##0_);\(#,##0\);&quot;-  &quot;;&quot; &quot;@&quot; &quot;">
                  <c:v>18.47</c:v>
                </c:pt>
                <c:pt idx="255" formatCode="#,##0_);\(#,##0\);&quot;-  &quot;;&quot; &quot;@&quot; &quot;">
                  <c:v>22.620000000000005</c:v>
                </c:pt>
                <c:pt idx="256" formatCode="#,##0_);\(#,##0\);&quot;-  &quot;;&quot; &quot;@&quot; &quot;">
                  <c:v>21.149999999999991</c:v>
                </c:pt>
                <c:pt idx="257" formatCode="#,##0_);\(#,##0\);&quot;-  &quot;;&quot; &quot;@&quot; &quot;">
                  <c:v>17.975000000000009</c:v>
                </c:pt>
                <c:pt idx="258" formatCode="#,##0_);\(#,##0\);&quot;-  &quot;;&quot; &quot;@&quot; &quot;">
                  <c:v>17.295000000000002</c:v>
                </c:pt>
                <c:pt idx="259" formatCode="#,##0_);\(#,##0\);&quot;-  &quot;;&quot; &quot;@&quot; &quot;">
                  <c:v>17.405000000000001</c:v>
                </c:pt>
                <c:pt idx="260" formatCode="#,##0_);\(#,##0\);&quot;-  &quot;;&quot; &quot;@&quot; &quot;">
                  <c:v>18.11</c:v>
                </c:pt>
                <c:pt idx="261" formatCode="#,##0_);\(#,##0\);&quot;-  &quot;;&quot; &quot;@&quot; &quot;">
                  <c:v>17.804999999999993</c:v>
                </c:pt>
                <c:pt idx="262" formatCode="#,##0_);\(#,##0\);&quot;-  &quot;;&quot; &quot;@&quot; &quot;">
                  <c:v>17.810000000000002</c:v>
                </c:pt>
                <c:pt idx="263" formatCode="#,##0_);\(#,##0\);&quot;-  &quot;;&quot; &quot;@&quot; &quot;">
                  <c:v>16.930000000000007</c:v>
                </c:pt>
                <c:pt idx="264" formatCode="#,##0_);\(#,##0\);&quot;-  &quot;;&quot; &quot;@&quot; &quot;">
                  <c:v>18.120000000000005</c:v>
                </c:pt>
                <c:pt idx="265" formatCode="#,##0_);\(#,##0\);&quot;-  &quot;;&quot; &quot;@&quot; &quot;">
                  <c:v>16.805000000000007</c:v>
                </c:pt>
                <c:pt idx="266" formatCode="#,##0_);\(#,##0\);&quot;-  &quot;;&quot; &quot;@&quot; &quot;">
                  <c:v>16.875</c:v>
                </c:pt>
                <c:pt idx="267" formatCode="#,##0_);\(#,##0\);&quot;-  &quot;;&quot; &quot;@&quot; &quot;">
                  <c:v>16.870000000000005</c:v>
                </c:pt>
                <c:pt idx="268" formatCode="#,##0_);\(#,##0\);&quot;-  &quot;;&quot; &quot;@&quot; &quot;">
                  <c:v>16.63000000000001</c:v>
                </c:pt>
                <c:pt idx="269" formatCode="#,##0_);\(#,##0\);&quot;-  &quot;;&quot; &quot;@&quot; &quot;">
                  <c:v>17.504999999999995</c:v>
                </c:pt>
                <c:pt idx="270" formatCode="#,##0_);\(#,##0\);&quot;-  &quot;;&quot; &quot;@&quot; &quot;">
                  <c:v>17.54</c:v>
                </c:pt>
                <c:pt idx="271" formatCode="#,##0_);\(#,##0\);&quot;-  &quot;;&quot; &quot;@&quot; &quot;">
                  <c:v>17.200000000000003</c:v>
                </c:pt>
                <c:pt idx="272" formatCode="#,##0_);\(#,##0\);&quot;-  &quot;;&quot; &quot;@&quot; &quot;">
                  <c:v>16.43</c:v>
                </c:pt>
                <c:pt idx="273" formatCode="#,##0_);\(#,##0\);&quot;-  &quot;;&quot; &quot;@&quot; &quot;">
                  <c:v>17.854999999999997</c:v>
                </c:pt>
                <c:pt idx="274" formatCode="#,##0_);\(#,##0\);&quot;-  &quot;;&quot; &quot;@&quot; &quot;">
                  <c:v>16.389999999999993</c:v>
                </c:pt>
                <c:pt idx="275" formatCode="#,##0_);\(#,##0\);&quot;-  &quot;;&quot; &quot;@&quot; &quot;">
                  <c:v>15.229999999999997</c:v>
                </c:pt>
                <c:pt idx="276" formatCode="#,##0_);\(#,##0\);&quot;-  &quot;;&quot; &quot;@&quot; &quot;">
                  <c:v>16.650000000000006</c:v>
                </c:pt>
                <c:pt idx="277" formatCode="#,##0_);\(#,##0\);&quot;-  &quot;;&quot; &quot;@&quot; &quot;">
                  <c:v>16.884999999999998</c:v>
                </c:pt>
                <c:pt idx="278" formatCode="#,##0_);\(#,##0\);&quot;-  &quot;;&quot; &quot;@&quot; &quot;">
                  <c:v>16.759999999999998</c:v>
                </c:pt>
                <c:pt idx="279" formatCode="#,##0_);\(#,##0\);&quot;-  &quot;;&quot; &quot;@&quot; &quot;">
                  <c:v>18.409999999999997</c:v>
                </c:pt>
                <c:pt idx="280" formatCode="#,##0_);\(#,##0\);&quot;-  &quot;;&quot; &quot;@&quot; &quot;">
                  <c:v>18.465000000000003</c:v>
                </c:pt>
                <c:pt idx="281" formatCode="#,##0_);\(#,##0\);&quot;-  &quot;;&quot; &quot;@&quot; &quot;">
                  <c:v>17.309999999999995</c:v>
                </c:pt>
                <c:pt idx="282" formatCode="#,##0_);\(#,##0\);&quot;-  &quot;;&quot; &quot;@&quot; &quot;">
                  <c:v>16.940000000000005</c:v>
                </c:pt>
                <c:pt idx="283" formatCode="#,##0_);\(#,##0\);&quot;-  &quot;;&quot; &quot;@&quot; &quot;">
                  <c:v>18.125</c:v>
                </c:pt>
                <c:pt idx="284" formatCode="#,##0_);\(#,##0\);&quot;-  &quot;;&quot; &quot;@&quot; &quot;">
                  <c:v>17.464999999999996</c:v>
                </c:pt>
                <c:pt idx="285" formatCode="#,##0_);\(#,##0\);&quot;-  &quot;;&quot; &quot;@&quot; &quot;">
                  <c:v>17.61</c:v>
                </c:pt>
                <c:pt idx="286" formatCode="#,##0_);\(#,##0\);&quot;-  &quot;;&quot; &quot;@&quot; &quot;">
                  <c:v>17.5</c:v>
                </c:pt>
                <c:pt idx="287" formatCode="#,##0_);\(#,##0\);&quot;-  &quot;;&quot; &quot;@&quot; &quot;">
                  <c:v>16.530000000000008</c:v>
                </c:pt>
                <c:pt idx="288" formatCode="#,##0_);\(#,##0\);&quot;-  &quot;;&quot; &quot;@&quot; &quot;">
                  <c:v>17.684999999999995</c:v>
                </c:pt>
                <c:pt idx="289" formatCode="#,##0_);\(#,##0\);&quot;-  &quot;;&quot; &quot;@&quot; &quot;">
                  <c:v>18.014999999999993</c:v>
                </c:pt>
                <c:pt idx="290" formatCode="#,##0_);\(#,##0\);&quot;-  &quot;;&quot; &quot;@&quot; &quot;">
                  <c:v>17.234999999999992</c:v>
                </c:pt>
                <c:pt idx="291" formatCode="#,##0_);\(#,##0\);&quot;-  &quot;;&quot; &quot;@&quot; &quot;">
                  <c:v>17.164999999999999</c:v>
                </c:pt>
                <c:pt idx="292" formatCode="#,##0_);\(#,##0\);&quot;-  &quot;;&quot; &quot;@&quot; &quot;">
                  <c:v>17.79</c:v>
                </c:pt>
                <c:pt idx="293" formatCode="#,##0_);\(#,##0\);&quot;-  &quot;;&quot; &quot;@&quot; &quot;">
                  <c:v>17.950000000000003</c:v>
                </c:pt>
                <c:pt idx="294" formatCode="#,##0_);\(#,##0\);&quot;-  &quot;;&quot; &quot;@&quot; &quot;">
                  <c:v>17.790000000000006</c:v>
                </c:pt>
                <c:pt idx="295" formatCode="#,##0_);\(#,##0\);&quot;-  &quot;;&quot; &quot;@&quot; &quot;">
                  <c:v>17.735000000000007</c:v>
                </c:pt>
                <c:pt idx="296" formatCode="#,##0_);\(#,##0\);&quot;-  &quot;;&quot; &quot;@&quot; &quot;">
                  <c:v>16.78</c:v>
                </c:pt>
                <c:pt idx="297" formatCode="#,##0_);\(#,##0\);&quot;-  &quot;;&quot; &quot;@&quot; &quot;">
                  <c:v>17.060000000000002</c:v>
                </c:pt>
                <c:pt idx="298" formatCode="#,##0_);\(#,##0\);&quot;-  &quot;;&quot; &quot;@&quot; &quot;">
                  <c:v>17.895000000000003</c:v>
                </c:pt>
                <c:pt idx="299" formatCode="#,##0_);\(#,##0\);&quot;-  &quot;;&quot; &quot;@&quot; &quot;">
                  <c:v>16.984999999999999</c:v>
                </c:pt>
                <c:pt idx="300" formatCode="#,##0_);\(#,##0\);&quot;-  &quot;;&quot; &quot;@&quot; &quot;">
                  <c:v>17.980000000000004</c:v>
                </c:pt>
                <c:pt idx="301" formatCode="#,##0_);\(#,##0\);&quot;-  &quot;;&quot; &quot;@&quot; &quot;">
                  <c:v>17.134999999999998</c:v>
                </c:pt>
                <c:pt idx="302" formatCode="#,##0_);\(#,##0\);&quot;-  &quot;;&quot; &quot;@&quot; &quot;">
                  <c:v>16.309999999999995</c:v>
                </c:pt>
                <c:pt idx="303" formatCode="#,##0_);\(#,##0\);&quot;-  &quot;;&quot; &quot;@&quot; &quot;">
                  <c:v>17.275000000000006</c:v>
                </c:pt>
                <c:pt idx="304" formatCode="#,##0_);\(#,##0\);&quot;-  &quot;;&quot; &quot;@&quot; &quot;">
                  <c:v>17.89</c:v>
                </c:pt>
                <c:pt idx="305" formatCode="#,##0_);\(#,##0\);&quot;-  &quot;;&quot; &quot;@&quot; &quot;">
                  <c:v>18.324999999999996</c:v>
                </c:pt>
                <c:pt idx="306" formatCode="#,##0_);\(#,##0\);&quot;-  &quot;;&quot; &quot;@&quot; &quot;">
                  <c:v>19.209999999999994</c:v>
                </c:pt>
                <c:pt idx="307" formatCode="#,##0_);\(#,##0\);&quot;-  &quot;;&quot; &quot;@&quot; &quot;">
                  <c:v>19.275000000000006</c:v>
                </c:pt>
                <c:pt idx="308" formatCode="#,##0_);\(#,##0\);&quot;-  &quot;;&quot; &quot;@&quot; &quot;">
                  <c:v>17.545000000000009</c:v>
                </c:pt>
                <c:pt idx="309" formatCode="#,##0_);\(#,##0\);&quot;-  &quot;;&quot; &quot;@&quot; &quot;">
                  <c:v>16.5</c:v>
                </c:pt>
                <c:pt idx="310" formatCode="#,##0_);\(#,##0\);&quot;-  &quot;;&quot; &quot;@&quot; &quot;">
                  <c:v>17.034999999999997</c:v>
                </c:pt>
                <c:pt idx="311" formatCode="#,##0_);\(#,##0\);&quot;-  &quot;;&quot; &quot;@&quot; &quot;">
                  <c:v>15.730000000000004</c:v>
                </c:pt>
                <c:pt idx="312" formatCode="#,##0_);\(#,##0\);&quot;-  &quot;;&quot; &quot;@&quot; &quot;">
                  <c:v>17.579999999999998</c:v>
                </c:pt>
                <c:pt idx="313" formatCode="#,##0_);\(#,##0\);&quot;-  &quot;;&quot; &quot;@&quot; &quot;">
                  <c:v>16.769999999999996</c:v>
                </c:pt>
                <c:pt idx="314" formatCode="#,##0_);\(#,##0\);&quot;-  &quot;;&quot; &quot;@&quot; &quot;">
                  <c:v>15.704999999999991</c:v>
                </c:pt>
                <c:pt idx="315" formatCode="#,##0_);\(#,##0\);&quot;-  &quot;;&quot; &quot;@&quot; &quot;">
                  <c:v>14.584999999999994</c:v>
                </c:pt>
                <c:pt idx="316" formatCode="#,##0_);\(#,##0\);&quot;-  &quot;;&quot; &quot;@&quot; &quot;">
                  <c:v>16.854999999999997</c:v>
                </c:pt>
                <c:pt idx="317" formatCode="#,##0_);\(#,##0\);&quot;-  &quot;;&quot; &quot;@&quot; &quot;">
                  <c:v>15.189999999999998</c:v>
                </c:pt>
                <c:pt idx="318" formatCode="#,##0_);\(#,##0\);&quot;-  &quot;;&quot; &quot;@&quot; &quot;">
                  <c:v>15.520000000000003</c:v>
                </c:pt>
                <c:pt idx="319" formatCode="#,##0_);\(#,##0\);&quot;-  &quot;;&quot; &quot;@&quot; &quot;">
                  <c:v>15.265000000000001</c:v>
                </c:pt>
                <c:pt idx="320" formatCode="#,##0_);\(#,##0\);&quot;-  &quot;;&quot; &quot;@&quot; &quot;">
                  <c:v>15.579999999999991</c:v>
                </c:pt>
                <c:pt idx="321" formatCode="#,##0_);\(#,##0\);&quot;-  &quot;;&quot; &quot;@&quot; &quot;">
                  <c:v>16.875</c:v>
                </c:pt>
                <c:pt idx="322" formatCode="#,##0_);\(#,##0\);&quot;-  &quot;;&quot; &quot;@&quot; &quot;">
                  <c:v>15.305000000000007</c:v>
                </c:pt>
                <c:pt idx="323" formatCode="#,##0_);\(#,##0\);&quot;-  &quot;;&quot; &quot;@&quot; &quot;">
                  <c:v>15.155000000000001</c:v>
                </c:pt>
                <c:pt idx="324" formatCode="#,##0_);\(#,##0\);&quot;-  &quot;;&quot; &quot;@&quot; &quot;">
                  <c:v>14.795000000000002</c:v>
                </c:pt>
                <c:pt idx="325" formatCode="#,##0_);\(#,##0\);&quot;-  &quot;;&quot; &quot;@&quot; &quot;">
                  <c:v>15.920000000000002</c:v>
                </c:pt>
                <c:pt idx="326" formatCode="#,##0_);\(#,##0\);&quot;-  &quot;;&quot; &quot;@&quot; &quot;">
                  <c:v>15.234999999999992</c:v>
                </c:pt>
                <c:pt idx="327" formatCode="#,##0_);\(#,##0\);&quot;-  &quot;;&quot; &quot;@&quot; &quot;">
                  <c:v>14.644999999999996</c:v>
                </c:pt>
                <c:pt idx="328" formatCode="#,##0_);\(#,##0\);&quot;-  &quot;;&quot; &quot;@&quot; &quot;">
                  <c:v>14.584999999999994</c:v>
                </c:pt>
                <c:pt idx="329" formatCode="#,##0_);\(#,##0\);&quot;-  &quot;;&quot; &quot;@&quot; &quot;">
                  <c:v>15.724999999999994</c:v>
                </c:pt>
                <c:pt idx="330" formatCode="#,##0_);\(#,##0\);&quot;-  &quot;;&quot; &quot;@&quot; &quot;">
                  <c:v>15.719999999999999</c:v>
                </c:pt>
                <c:pt idx="331" formatCode="#,##0_);\(#,##0\);&quot;-  &quot;;&quot; &quot;@&quot; &quot;">
                  <c:v>16.229999999999997</c:v>
                </c:pt>
                <c:pt idx="332" formatCode="#,##0_);\(#,##0\);&quot;-  &quot;;&quot; &quot;@&quot; &quot;">
                  <c:v>15.644999999999996</c:v>
                </c:pt>
                <c:pt idx="333" formatCode="#,##0_);\(#,##0\);&quot;-  &quot;;&quot; &quot;@&quot; &quot;">
                  <c:v>14.564999999999998</c:v>
                </c:pt>
                <c:pt idx="334" formatCode="#,##0_);\(#,##0\);&quot;-  &quot;;&quot; &quot;@&quot; &quot;">
                  <c:v>14.869999999999997</c:v>
                </c:pt>
                <c:pt idx="335" formatCode="#,##0_);\(#,##0\);&quot;-  &quot;;&quot; &quot;@&quot; &quot;">
                  <c:v>14.650000000000006</c:v>
                </c:pt>
                <c:pt idx="336" formatCode="#,##0_);\(#,##0\);&quot;-  &quot;;&quot; &quot;@&quot; &quot;">
                  <c:v>14.324999999999996</c:v>
                </c:pt>
                <c:pt idx="337" formatCode="#,##0_);\(#,##0\);&quot;-  &quot;;&quot; &quot;@&quot; &quot;">
                  <c:v>14.52000000000001</c:v>
                </c:pt>
                <c:pt idx="338" formatCode="#,##0_);\(#,##0\);&quot;-  &quot;;&quot; &quot;@&quot; &quot;">
                  <c:v>13.655000000000001</c:v>
                </c:pt>
                <c:pt idx="339" formatCode="#,##0_);\(#,##0\);&quot;-  &quot;;&quot; &quot;@&quot; &quot;">
                  <c:v>15.185000000000009</c:v>
                </c:pt>
                <c:pt idx="340" formatCode="#,##0_);\(#,##0\);&quot;-  &quot;;&quot; &quot;@&quot; &quot;">
                  <c:v>14.834999999999994</c:v>
                </c:pt>
                <c:pt idx="341" formatCode="#,##0_);\(#,##0\);&quot;-  &quot;;&quot; &quot;@&quot; &quot;">
                  <c:v>13.949999999999996</c:v>
                </c:pt>
                <c:pt idx="342" formatCode="#,##0_);\(#,##0\);&quot;-  &quot;;&quot; &quot;@&quot; &quot;">
                  <c:v>14.190000000000005</c:v>
                </c:pt>
                <c:pt idx="343" formatCode="#,##0_);\(#,##0\);&quot;-  &quot;;&quot; &quot;@&quot; &quot;">
                  <c:v>12.044999999999995</c:v>
                </c:pt>
                <c:pt idx="344" formatCode="#,##0_);\(#,##0\);&quot;-  &quot;;&quot; &quot;@&quot; &quot;">
                  <c:v>13.514999999999993</c:v>
                </c:pt>
                <c:pt idx="345" formatCode="#,##0_);\(#,##0\);&quot;-  &quot;;&quot; &quot;@&quot; &quot;">
                  <c:v>12.905000000000001</c:v>
                </c:pt>
                <c:pt idx="346" formatCode="#,##0_);\(#,##0\);&quot;-  &quot;;&quot; &quot;@&quot; &quot;">
                  <c:v>13.310000000000002</c:v>
                </c:pt>
                <c:pt idx="347" formatCode="#,##0_);\(#,##0\);&quot;-  &quot;;&quot; &quot;@&quot; &quot;">
                  <c:v>13.405000000000001</c:v>
                </c:pt>
                <c:pt idx="348" formatCode="#,##0_);\(#,##0\);&quot;-  &quot;;&quot; &quot;@&quot; &quot;">
                  <c:v>14.449999999999996</c:v>
                </c:pt>
                <c:pt idx="349" formatCode="#,##0_);\(#,##0\);&quot;-  &quot;;&quot; &quot;@&quot; &quot;">
                  <c:v>14.119999999999997</c:v>
                </c:pt>
                <c:pt idx="350" formatCode="#,##0_);\(#,##0\);&quot;-  &quot;;&quot; &quot;@&quot; &quot;">
                  <c:v>15</c:v>
                </c:pt>
                <c:pt idx="351" formatCode="#,##0_);\(#,##0\);&quot;-  &quot;;&quot; &quot;@&quot; &quot;">
                  <c:v>14.979999999999997</c:v>
                </c:pt>
                <c:pt idx="352" formatCode="#,##0_);\(#,##0\);&quot;-  &quot;;&quot; &quot;@&quot; &quot;">
                  <c:v>13.765000000000008</c:v>
                </c:pt>
                <c:pt idx="353" formatCode="#,##0_);\(#,##0\);&quot;-  &quot;;&quot; &quot;@&quot; &quot;">
                  <c:v>13.990000000000009</c:v>
                </c:pt>
                <c:pt idx="354" formatCode="#,##0_);\(#,##0\);&quot;-  &quot;;&quot; &quot;@&quot; &quot;">
                  <c:v>13.86</c:v>
                </c:pt>
                <c:pt idx="355" formatCode="#,##0_);\(#,##0\);&quot;-  &quot;;&quot; &quot;@&quot; &quot;">
                  <c:v>13.475000000000001</c:v>
                </c:pt>
                <c:pt idx="356" formatCode="#,##0_);\(#,##0\);&quot;-  &quot;;&quot; &quot;@&quot; &quot;">
                  <c:v>13.044999999999995</c:v>
                </c:pt>
                <c:pt idx="357" formatCode="#,##0_);\(#,##0\);&quot;-  &quot;;&quot; &quot;@&quot; &quot;">
                  <c:v>13.854999999999997</c:v>
                </c:pt>
                <c:pt idx="358" formatCode="#,##0_);\(#,##0\);&quot;-  &quot;;&quot; &quot;@&quot; &quot;">
                  <c:v>13.619999999999997</c:v>
                </c:pt>
                <c:pt idx="359" formatCode="#,##0_);\(#,##0\);&quot;-  &quot;;&quot; &quot;@&quot; &quot;">
                  <c:v>13.64</c:v>
                </c:pt>
                <c:pt idx="360" formatCode="#,##0_);\(#,##0\);&quot;-  &quot;;&quot; &quot;@&quot; &quot;">
                  <c:v>13.25</c:v>
                </c:pt>
                <c:pt idx="361" formatCode="#,##0_);\(#,##0\);&quot;-  &quot;;&quot; &quot;@&quot; &quot;">
                  <c:v>14.659999999999997</c:v>
                </c:pt>
                <c:pt idx="362" formatCode="#,##0_);\(#,##0\);&quot;-  &quot;;&quot; &quot;@&quot; &quot;">
                  <c:v>14.920000000000002</c:v>
                </c:pt>
                <c:pt idx="363" formatCode="#,##0_);\(#,##0\);&quot;-  &quot;;&quot; &quot;@&quot; &quot;">
                  <c:v>13.495000000000005</c:v>
                </c:pt>
                <c:pt idx="364" formatCode="#,##0_);\(#,##0\);&quot;-  &quot;;&quot; &quot;@&quot; &quot;">
                  <c:v>14.995000000000005</c:v>
                </c:pt>
                <c:pt idx="365" formatCode="#,##0_);\(#,##0\);&quot;-  &quot;;&quot; &quot;@&quot; &quot;">
                  <c:v>15.530000000000001</c:v>
                </c:pt>
                <c:pt idx="366" formatCode="#,##0_);\(#,##0\);&quot;-  &quot;;&quot; &quot;@&quot; &quot;">
                  <c:v>15.789999999999992</c:v>
                </c:pt>
                <c:pt idx="367" formatCode="#,##0_);\(#,##0\);&quot;-  &quot;;&quot; &quot;@&quot; &quot;">
                  <c:v>15.774999999999991</c:v>
                </c:pt>
                <c:pt idx="368" formatCode="#,##0_);\(#,##0\);&quot;-  &quot;;&quot; &quot;@&quot; &quot;">
                  <c:v>16.125</c:v>
                </c:pt>
                <c:pt idx="369" formatCode="#,##0_);\(#,##0\);&quot;-  &quot;;&quot; &quot;@&quot; &quot;">
                  <c:v>15.295000000000002</c:v>
                </c:pt>
                <c:pt idx="370" formatCode="#,##0_);\(#,##0\);&quot;-  &quot;;&quot; &quot;@&quot; &quot;">
                  <c:v>14.899999999999991</c:v>
                </c:pt>
                <c:pt idx="371" formatCode="#,##0_);\(#,##0\);&quot;-  &quot;;&quot; &quot;@&quot; &quot;">
                  <c:v>15.829999999999998</c:v>
                </c:pt>
                <c:pt idx="372" formatCode="#,##0_);\(#,##0\);&quot;-  &quot;;&quot; &quot;@&quot; &quot;">
                  <c:v>17.689999999999998</c:v>
                </c:pt>
                <c:pt idx="373" formatCode="#,##0_);\(#,##0\);&quot;-  &quot;;&quot; &quot;@&quot; &quot;">
                  <c:v>16.64</c:v>
                </c:pt>
                <c:pt idx="374" formatCode="#,##0_);\(#,##0\);&quot;-  &quot;;&quot; &quot;@&quot; &quot;">
                  <c:v>15.585000000000001</c:v>
                </c:pt>
                <c:pt idx="375" formatCode="#,##0_);\(#,##0\);&quot;-  &quot;;&quot; &quot;@&quot; &quot;">
                  <c:v>16.310000000000002</c:v>
                </c:pt>
                <c:pt idx="376" formatCode="#,##0_);\(#,##0\);&quot;-  &quot;;&quot; &quot;@&quot; &quot;">
                  <c:v>15.379999999999995</c:v>
                </c:pt>
                <c:pt idx="377" formatCode="#,##0_);\(#,##0\);&quot;-  &quot;;&quot; &quot;@&quot; &quot;">
                  <c:v>15.449999999999989</c:v>
                </c:pt>
                <c:pt idx="378" formatCode="#,##0_);\(#,##0\);&quot;-  &quot;;&quot; &quot;@&quot; &quot;">
                  <c:v>15.475000000000001</c:v>
                </c:pt>
                <c:pt idx="379" formatCode="#,##0_);\(#,##0\);&quot;-  &quot;;&quot; &quot;@&quot; &quot;">
                  <c:v>14.434999999999995</c:v>
                </c:pt>
                <c:pt idx="380" formatCode="#,##0_);\(#,##0\);&quot;-  &quot;;&quot; &quot;@&quot; &quot;">
                  <c:v>15.154999999999994</c:v>
                </c:pt>
                <c:pt idx="381" formatCode="#,##0_);\(#,##0\);&quot;-  &quot;;&quot; &quot;@&quot; &quot;">
                  <c:v>14.800000000000004</c:v>
                </c:pt>
                <c:pt idx="382" formatCode="#,##0_);\(#,##0\);&quot;-  &quot;;&quot; &quot;@&quot; &quot;">
                  <c:v>14.5</c:v>
                </c:pt>
                <c:pt idx="383" formatCode="#,##0_);\(#,##0\);&quot;-  &quot;;&quot; &quot;@&quot; &quot;">
                  <c:v>15.13000000000001</c:v>
                </c:pt>
                <c:pt idx="384" formatCode="#,##0_);\(#,##0\);&quot;-  &quot;;&quot; &quot;@&quot; &quot;">
                  <c:v>14.464999999999996</c:v>
                </c:pt>
                <c:pt idx="385" formatCode="#,##0_);\(#,##0\);&quot;-  &quot;;&quot; &quot;@&quot; &quot;">
                  <c:v>14.255000000000003</c:v>
                </c:pt>
                <c:pt idx="386" formatCode="#,##0_);\(#,##0\);&quot;-  &quot;;&quot; &quot;@&quot; &quot;">
                  <c:v>14.100000000000001</c:v>
                </c:pt>
                <c:pt idx="387" formatCode="#,##0_);\(#,##0\);&quot;-  &quot;;&quot; &quot;@&quot; &quot;">
                  <c:v>13.254999999999995</c:v>
                </c:pt>
                <c:pt idx="388" formatCode="#,##0_);\(#,##0\);&quot;-  &quot;;&quot; &quot;@&quot; &quot;">
                  <c:v>12.760000000000005</c:v>
                </c:pt>
                <c:pt idx="389" formatCode="#,##0_);\(#,##0\);&quot;-  &quot;;&quot; &quot;@&quot; &quot;">
                  <c:v>13.750000000000007</c:v>
                </c:pt>
                <c:pt idx="390" formatCode="#,##0_);\(#,##0\);&quot;-  &quot;;&quot; &quot;@&quot; &quot;">
                  <c:v>13.225000000000001</c:v>
                </c:pt>
                <c:pt idx="391" formatCode="#,##0_);\(#,##0\);&quot;-  &quot;;&quot; &quot;@&quot; &quot;">
                  <c:v>12.920000000000002</c:v>
                </c:pt>
                <c:pt idx="392" formatCode="#,##0_);\(#,##0\);&quot;-  &quot;;&quot; &quot;@&quot; &quot;">
                  <c:v>13.349999999999994</c:v>
                </c:pt>
                <c:pt idx="393" formatCode="#,##0_);\(#,##0\);&quot;-  &quot;;&quot; &quot;@&quot; &quot;">
                  <c:v>13.85499999999999</c:v>
                </c:pt>
                <c:pt idx="394" formatCode="#,##0_);\(#,##0\);&quot;-  &quot;;&quot; &quot;@&quot; &quot;">
                  <c:v>14.800000000000004</c:v>
                </c:pt>
                <c:pt idx="395" formatCode="#,##0_);\(#,##0\);&quot;-  &quot;;&quot; &quot;@&quot; &quot;">
                  <c:v>14.499999999999993</c:v>
                </c:pt>
                <c:pt idx="396" formatCode="#,##0_);\(#,##0\);&quot;-  &quot;;&quot; &quot;@&quot; &quot;">
                  <c:v>14.239999999999995</c:v>
                </c:pt>
                <c:pt idx="397" formatCode="#,##0_);\(#,##0\);&quot;-  &quot;;&quot; &quot;@&quot; &quot;">
                  <c:v>13.965000000000003</c:v>
                </c:pt>
                <c:pt idx="398" formatCode="#,##0_);\(#,##0\);&quot;-  &quot;;&quot; &quot;@&quot; &quot;">
                  <c:v>14.055000000000007</c:v>
                </c:pt>
                <c:pt idx="399" formatCode="#,##0_);\(#,##0\);&quot;-  &quot;;&quot; &quot;@&quot; &quot;">
                  <c:v>13.774999999999999</c:v>
                </c:pt>
                <c:pt idx="400" formatCode="#,##0_);\(#,##0\);&quot;-  &quot;;&quot; &quot;@&quot; &quot;">
                  <c:v>14.025000000000006</c:v>
                </c:pt>
                <c:pt idx="401" formatCode="#,##0_);\(#,##0\);&quot;-  &quot;;&quot; &quot;@&quot; &quot;">
                  <c:v>13.839999999999996</c:v>
                </c:pt>
                <c:pt idx="402" formatCode="#,##0_);\(#,##0\);&quot;-  &quot;;&quot; &quot;@&quot; &quot;">
                  <c:v>13.554999999999993</c:v>
                </c:pt>
                <c:pt idx="403" formatCode="#,##0_);\(#,##0\);&quot;-  &quot;;&quot; &quot;@&quot; &quot;">
                  <c:v>13.829999999999998</c:v>
                </c:pt>
                <c:pt idx="404" formatCode="#,##0_);\(#,##0\);&quot;-  &quot;;&quot; &quot;@&quot; &quot;">
                  <c:v>12.689999999999998</c:v>
                </c:pt>
                <c:pt idx="405" formatCode="#,##0_);\(#,##0\);&quot;-  &quot;;&quot; &quot;@&quot; &quot;">
                  <c:v>12.600000000000001</c:v>
                </c:pt>
                <c:pt idx="406" formatCode="#,##0_);\(#,##0\);&quot;-  &quot;;&quot; &quot;@&quot; &quot;">
                  <c:v>14.085000000000001</c:v>
                </c:pt>
                <c:pt idx="407" formatCode="#,##0_);\(#,##0\);&quot;-  &quot;;&quot; &quot;@&quot; &quot;">
                  <c:v>11.935000000000002</c:v>
                </c:pt>
                <c:pt idx="408" formatCode="#,##0_);\(#,##0\);&quot;-  &quot;;&quot; &quot;@&quot; &quot;">
                  <c:v>13.050000000000004</c:v>
                </c:pt>
                <c:pt idx="409" formatCode="#,##0_);\(#,##0\);&quot;-  &quot;;&quot; &quot;@&quot; &quot;">
                  <c:v>11.814999999999998</c:v>
                </c:pt>
                <c:pt idx="410" formatCode="#,##0_);\(#,##0\);&quot;-  &quot;;&quot; &quot;@&quot; &quot;">
                  <c:v>10.774999999999999</c:v>
                </c:pt>
                <c:pt idx="411" formatCode="#,##0_);\(#,##0\);&quot;-  &quot;;&quot; &quot;@&quot; &quot;">
                  <c:v>11.195000000000007</c:v>
                </c:pt>
                <c:pt idx="412" formatCode="#,##0_);\(#,##0\);&quot;-  &quot;;&quot; &quot;@&quot; &quot;">
                  <c:v>10.759999999999991</c:v>
                </c:pt>
                <c:pt idx="413" formatCode="#,##0_);\(#,##0\);&quot;-  &quot;;&quot; &quot;@&quot; &quot;">
                  <c:v>10.564999999999998</c:v>
                </c:pt>
                <c:pt idx="414" formatCode="#,##0_);\(#,##0\);&quot;-  &quot;;&quot; &quot;@&quot; &quot;">
                  <c:v>9.1599999999999966</c:v>
                </c:pt>
                <c:pt idx="415" formatCode="#,##0_);\(#,##0\);&quot;-  &quot;;&quot; &quot;@&quot; &quot;">
                  <c:v>9.095000000000006</c:v>
                </c:pt>
                <c:pt idx="416" formatCode="#,##0_);\(#,##0\);&quot;-  &quot;;&quot; &quot;@&quot; &quot;">
                  <c:v>9.5549999999999997</c:v>
                </c:pt>
                <c:pt idx="417" formatCode="#,##0_);\(#,##0\);&quot;-  &quot;;&quot; &quot;@&quot; &quot;">
                  <c:v>9.460000000000008</c:v>
                </c:pt>
                <c:pt idx="418" formatCode="#,##0_);\(#,##0\);&quot;-  &quot;;&quot; &quot;@&quot; &quot;">
                  <c:v>10.36</c:v>
                </c:pt>
                <c:pt idx="419" formatCode="#,##0_);\(#,##0\);&quot;-  &quot;;&quot; &quot;@&quot; &quot;">
                  <c:v>10.185000000000002</c:v>
                </c:pt>
                <c:pt idx="420" formatCode="#,##0_);\(#,##0\);&quot;-  &quot;;&quot; &quot;@&quot; &quot;">
                  <c:v>10.49499999999999</c:v>
                </c:pt>
                <c:pt idx="421" formatCode="#,##0_);\(#,##0\);&quot;-  &quot;;&quot; &quot;@&quot; &quot;">
                  <c:v>10.765000000000001</c:v>
                </c:pt>
                <c:pt idx="422" formatCode="#,##0_);\(#,##0\);&quot;-  &quot;;&quot; &quot;@&quot; &quot;">
                  <c:v>9.8399999999999963</c:v>
                </c:pt>
                <c:pt idx="423" formatCode="#,##0_);\(#,##0\);&quot;-  &quot;;&quot; &quot;@&quot; &quot;">
                  <c:v>9.5150000000000006</c:v>
                </c:pt>
                <c:pt idx="424" formatCode="#,##0_);\(#,##0\);&quot;-  &quot;;&quot; &quot;@&quot; &quot;">
                  <c:v>9.3099999999999952</c:v>
                </c:pt>
                <c:pt idx="425" formatCode="#,##0_);\(#,##0\);&quot;-  &quot;;&quot; &quot;@&quot; &quot;">
                  <c:v>10.154999999999994</c:v>
                </c:pt>
                <c:pt idx="426" formatCode="#,##0_);\(#,##0\);&quot;-  &quot;;&quot; &quot;@&quot; &quot;">
                  <c:v>10.46</c:v>
                </c:pt>
                <c:pt idx="427" formatCode="#,##0_);\(#,##0\);&quot;-  &quot;;&quot; &quot;@&quot; &quot;">
                  <c:v>11.814999999999998</c:v>
                </c:pt>
                <c:pt idx="428" formatCode="#,##0_);\(#,##0\);&quot;-  &quot;;&quot; &quot;@&quot; &quot;">
                  <c:v>12.240000000000002</c:v>
                </c:pt>
                <c:pt idx="429" formatCode="#,##0_);\(#,##0\);&quot;-  &quot;;&quot; &quot;@&quot; &quot;">
                  <c:v>11.350000000000001</c:v>
                </c:pt>
                <c:pt idx="430" formatCode="#,##0_);\(#,##0\);&quot;-  &quot;;&quot; &quot;@&quot; &quot;">
                  <c:v>12.280000000000001</c:v>
                </c:pt>
                <c:pt idx="431" formatCode="#,##0_);\(#,##0\);&quot;-  &quot;;&quot; &quot;@&quot; &quot;">
                  <c:v>12.445</c:v>
                </c:pt>
                <c:pt idx="432" formatCode="#,##0_);\(#,##0\);&quot;-  &quot;;&quot; &quot;@&quot; &quot;">
                  <c:v>13.024999999999999</c:v>
                </c:pt>
                <c:pt idx="433" formatCode="#,##0_);\(#,##0\);&quot;-  &quot;;&quot; &quot;@&quot; &quot;">
                  <c:v>13.565000000000005</c:v>
                </c:pt>
                <c:pt idx="434" formatCode="#,##0_);\(#,##0\);&quot;-  &quot;;&quot; &quot;@&quot; &quot;">
                  <c:v>13.280000000000001</c:v>
                </c:pt>
                <c:pt idx="435" formatCode="#,##0_);\(#,##0\);&quot;-  &quot;;&quot; &quot;@&quot; &quot;">
                  <c:v>13.505000000000003</c:v>
                </c:pt>
                <c:pt idx="436" formatCode="#,##0_);\(#,##0\);&quot;-  &quot;;&quot; &quot;@&quot; &quot;">
                  <c:v>12.950000000000003</c:v>
                </c:pt>
                <c:pt idx="437" formatCode="#,##0_);\(#,##0\);&quot;-  &quot;;&quot; &quot;@&quot; &quot;">
                  <c:v>12.844999999999999</c:v>
                </c:pt>
                <c:pt idx="438" formatCode="#,##0_);\(#,##0\);&quot;-  &quot;;&quot; &quot;@&quot; &quot;">
                  <c:v>13.035000000000004</c:v>
                </c:pt>
                <c:pt idx="439" formatCode="#,##0_);\(#,##0\);&quot;-  &quot;;&quot; &quot;@&quot; &quot;">
                  <c:v>13.664999999999999</c:v>
                </c:pt>
                <c:pt idx="440" formatCode="#,##0_);\(#,##0\);&quot;-  &quot;;&quot; &quot;@&quot; &quot;">
                  <c:v>13.11</c:v>
                </c:pt>
                <c:pt idx="441" formatCode="#,##0_);\(#,##0\);&quot;-  &quot;;&quot; &quot;@&quot; &quot;">
                  <c:v>13.449999999999996</c:v>
                </c:pt>
                <c:pt idx="442" formatCode="#,##0_);\(#,##0\);&quot;-  &quot;;&quot; &quot;@&quot; &quot;">
                  <c:v>13.005000000000003</c:v>
                </c:pt>
                <c:pt idx="443" formatCode="#,##0_);\(#,##0\);&quot;-  &quot;;&quot; &quot;@&quot; &quot;">
                  <c:v>12.810000000000002</c:v>
                </c:pt>
                <c:pt idx="444" formatCode="#,##0_);\(#,##0\);&quot;-  &quot;;&quot; &quot;@&quot; &quot;">
                  <c:v>12.555</c:v>
                </c:pt>
                <c:pt idx="445" formatCode="#,##0_);\(#,##0\);&quot;-  &quot;;&quot; &quot;@&quot; &quot;">
                  <c:v>12.685000000000002</c:v>
                </c:pt>
                <c:pt idx="446" formatCode="#,##0_);\(#,##0\);&quot;-  &quot;;&quot; &quot;@&quot; &quot;">
                  <c:v>12.769999999999996</c:v>
                </c:pt>
                <c:pt idx="447" formatCode="#,##0_);\(#,##0\);&quot;-  &quot;;&quot; &quot;@&quot; &quot;">
                  <c:v>14.050000000000004</c:v>
                </c:pt>
                <c:pt idx="448" formatCode="#,##0_);\(#,##0\);&quot;-  &quot;;&quot; &quot;@&quot; &quot;">
                  <c:v>13.04</c:v>
                </c:pt>
                <c:pt idx="449" formatCode="#,##0_);\(#,##0\);&quot;-  &quot;;&quot; &quot;@&quot; &quot;">
                  <c:v>14.234999999999999</c:v>
                </c:pt>
                <c:pt idx="450" formatCode="#,##0_);\(#,##0\);&quot;-  &quot;;&quot; &quot;@&quot; &quot;">
                  <c:v>12.829999999999998</c:v>
                </c:pt>
                <c:pt idx="451" formatCode="#,##0_);\(#,##0\);&quot;-  &quot;;&quot; &quot;@&quot; &quot;">
                  <c:v>13.945</c:v>
                </c:pt>
                <c:pt idx="452" formatCode="#,##0_);\(#,##0\);&quot;-  &quot;;&quot; &quot;@&quot; &quot;">
                  <c:v>15.055</c:v>
                </c:pt>
                <c:pt idx="453" formatCode="#,##0_);\(#,##0\);&quot;-  &quot;;&quot; &quot;@&quot; &quot;">
                  <c:v>12.780000000000001</c:v>
                </c:pt>
                <c:pt idx="454" formatCode="#,##0_);\(#,##0\);&quot;-  &quot;;&quot; &quot;@&quot; &quot;">
                  <c:v>13.18</c:v>
                </c:pt>
                <c:pt idx="455" formatCode="#,##0_);\(#,##0\);&quot;-  &quot;;&quot; &quot;@&quot; &quot;">
                  <c:v>13.494999999999997</c:v>
                </c:pt>
                <c:pt idx="456" formatCode="#,##0_);\(#,##0\);&quot;-  &quot;;&quot; &quot;@&quot; &quot;">
                  <c:v>13.574999999999996</c:v>
                </c:pt>
                <c:pt idx="457" formatCode="#,##0_);\(#,##0\);&quot;-  &quot;;&quot; &quot;@&quot; &quot;">
                  <c:v>13.195</c:v>
                </c:pt>
                <c:pt idx="458" formatCode="#,##0_);\(#,##0\);&quot;-  &quot;;&quot; &quot;@&quot; &quot;">
                  <c:v>12.690000000000005</c:v>
                </c:pt>
                <c:pt idx="459" formatCode="#,##0_);\(#,##0\);&quot;-  &quot;;&quot; &quot;@&quot; &quot;">
                  <c:v>11.515000000000001</c:v>
                </c:pt>
                <c:pt idx="460" formatCode="#,##0_);\(#,##0\);&quot;-  &quot;;&quot; &quot;@&quot; &quot;">
                  <c:v>11.880000000000003</c:v>
                </c:pt>
                <c:pt idx="461" formatCode="#,##0_);\(#,##0\);&quot;-  &quot;;&quot; &quot;@&quot; &quot;">
                  <c:v>12.295000000000002</c:v>
                </c:pt>
                <c:pt idx="462" formatCode="#,##0_);\(#,##0\);&quot;-  &quot;;&quot; &quot;@&quot; &quot;">
                  <c:v>12.36</c:v>
                </c:pt>
                <c:pt idx="463" formatCode="#,##0_);\(#,##0\);&quot;-  &quot;;&quot; &quot;@&quot; &quot;">
                  <c:v>13.04</c:v>
                </c:pt>
                <c:pt idx="464" formatCode="#,##0_);\(#,##0\);&quot;-  &quot;;&quot; &quot;@&quot; &quot;">
                  <c:v>12.310000000000002</c:v>
                </c:pt>
                <c:pt idx="465" formatCode="#,##0_);\(#,##0\);&quot;-  &quot;;&quot; &quot;@&quot; &quot;">
                  <c:v>13.530000000000001</c:v>
                </c:pt>
                <c:pt idx="466" formatCode="#,##0_);\(#,##0\);&quot;-  &quot;;&quot; &quot;@&quot; &quot;">
                  <c:v>13.005000000000003</c:v>
                </c:pt>
                <c:pt idx="467" formatCode="#,##0_);\(#,##0\);&quot;-  &quot;;&quot; &quot;@&quot; &quot;">
                  <c:v>12.434999999999995</c:v>
                </c:pt>
                <c:pt idx="468" formatCode="#,##0_);\(#,##0\);&quot;-  &quot;;&quot; &quot;@&quot; &quot;">
                  <c:v>12.284999999999997</c:v>
                </c:pt>
                <c:pt idx="469" formatCode="#,##0_);\(#,##0\);&quot;-  &quot;;&quot; &quot;@&quot; &quot;">
                  <c:v>12.985000000000007</c:v>
                </c:pt>
                <c:pt idx="470" formatCode="#,##0_);\(#,##0\);&quot;-  &quot;;&quot; &quot;@&quot; &quot;">
                  <c:v>12.685000000000002</c:v>
                </c:pt>
                <c:pt idx="471" formatCode="#,##0_);\(#,##0\);&quot;-  &quot;;&quot; &quot;@&quot; &quot;">
                  <c:v>13.234999999999999</c:v>
                </c:pt>
                <c:pt idx="472" formatCode="#,##0_);\(#,##0\);&quot;-  &quot;;&quot; &quot;@&quot; &quot;">
                  <c:v>11.549999999999997</c:v>
                </c:pt>
                <c:pt idx="473" formatCode="#,##0_);\(#,##0\);&quot;-  &quot;;&quot; &quot;@&quot; &quot;">
                  <c:v>11.339999999999996</c:v>
                </c:pt>
                <c:pt idx="474" formatCode="#,##0_);\(#,##0\);&quot;-  &quot;;&quot; &quot;@&quot; &quot;">
                  <c:v>11.369999999999997</c:v>
                </c:pt>
                <c:pt idx="475" formatCode="#,##0_);\(#,##0\);&quot;-  &quot;;&quot; &quot;@&quot; &quot;">
                  <c:v>10.89</c:v>
                </c:pt>
                <c:pt idx="476" formatCode="#,##0_);\(#,##0\);&quot;-  &quot;;&quot; &quot;@&quot; &quot;">
                  <c:v>11.130000000000003</c:v>
                </c:pt>
                <c:pt idx="477" formatCode="#,##0_);\(#,##0\);&quot;-  &quot;;&quot; &quot;@&quot; &quot;">
                  <c:v>10.11</c:v>
                </c:pt>
                <c:pt idx="478" formatCode="#,##0_);\(#,##0\);&quot;-  &quot;;&quot; &quot;@&quot; &quot;">
                  <c:v>9.86</c:v>
                </c:pt>
                <c:pt idx="479" formatCode="#,##0_);\(#,##0\);&quot;-  &quot;;&quot; &quot;@&quot; &quot;">
                  <c:v>10.835000000000001</c:v>
                </c:pt>
                <c:pt idx="480" formatCode="#,##0_);\(#,##0\);&quot;-  &quot;;&quot; &quot;@&quot; &quot;">
                  <c:v>11.295000000000002</c:v>
                </c:pt>
                <c:pt idx="481" formatCode="#,##0_);\(#,##0\);&quot;-  &quot;;&quot; &quot;@&quot; &quot;">
                  <c:v>10.954999999999998</c:v>
                </c:pt>
                <c:pt idx="482" formatCode="#,##0_);\(#,##0\);&quot;-  &quot;;&quot; &quot;@&quot; &quot;">
                  <c:v>11.719999999999999</c:v>
                </c:pt>
                <c:pt idx="483" formatCode="#,##0_);\(#,##0\);&quot;-  &quot;;&quot; &quot;@&quot; &quot;">
                  <c:v>11.305</c:v>
                </c:pt>
                <c:pt idx="484" formatCode="#,##0_);\(#,##0\);&quot;-  &quot;;&quot; &quot;@&quot; &quot;">
                  <c:v>11.704999999999998</c:v>
                </c:pt>
                <c:pt idx="485" formatCode="#,##0_);\(#,##0\);&quot;-  &quot;;&quot; &quot;@&quot; &quot;">
                  <c:v>12.924999999999997</c:v>
                </c:pt>
                <c:pt idx="486" formatCode="#,##0_);\(#,##0\);&quot;-  &quot;;&quot; &quot;@&quot; &quot;">
                  <c:v>12.579999999999998</c:v>
                </c:pt>
                <c:pt idx="487" formatCode="#,##0_);\(#,##0\);&quot;-  &quot;;&quot; &quot;@&quot; &quot;">
                  <c:v>11.414999999999999</c:v>
                </c:pt>
                <c:pt idx="488" formatCode="#,##0_);\(#,##0\);&quot;-  &quot;;&quot; &quot;@&quot; &quot;">
                  <c:v>11.68</c:v>
                </c:pt>
                <c:pt idx="489" formatCode="#,##0_);\(#,##0\);&quot;-  &quot;;&quot; &quot;@&quot; &quot;">
                  <c:v>11.645000000000003</c:v>
                </c:pt>
                <c:pt idx="490" formatCode="#,##0_);\(#,##0\);&quot;-  &quot;;&quot; &quot;@&quot; &quot;">
                  <c:v>11.669999999999995</c:v>
                </c:pt>
                <c:pt idx="491" formatCode="#,##0_);\(#,##0\);&quot;-  &quot;;&quot; &quot;@&quot; &quot;">
                  <c:v>12.170000000000002</c:v>
                </c:pt>
                <c:pt idx="492" formatCode="#,##0_);\(#,##0\);&quot;-  &quot;;&quot; &quot;@&quot; &quot;">
                  <c:v>13.085000000000001</c:v>
                </c:pt>
                <c:pt idx="493" formatCode="#,##0_);\(#,##0\);&quot;-  &quot;;&quot; &quot;@&quot; &quot;">
                  <c:v>13.910000000000004</c:v>
                </c:pt>
                <c:pt idx="494" formatCode="#,##0_);\(#,##0\);&quot;-  &quot;;&quot; &quot;@&quot; &quot;">
                  <c:v>13.730000000000004</c:v>
                </c:pt>
                <c:pt idx="495" formatCode="#,##0_);\(#,##0\);&quot;-  &quot;;&quot; &quot;@&quot; &quot;">
                  <c:v>13.225000000000001</c:v>
                </c:pt>
                <c:pt idx="496" formatCode="#,##0_);\(#,##0\);&quot;-  &quot;;&quot; &quot;@&quot; &quot;">
                  <c:v>13.64</c:v>
                </c:pt>
                <c:pt idx="497" formatCode="#,##0_);\(#,##0\);&quot;-  &quot;;&quot; &quot;@&quot; &quot;">
                  <c:v>13.829999999999998</c:v>
                </c:pt>
                <c:pt idx="498" formatCode="#,##0_);\(#,##0\);&quot;-  &quot;;&quot; &quot;@&quot; &quot;">
                  <c:v>13.545000000000002</c:v>
                </c:pt>
                <c:pt idx="499" formatCode="#,##0_);\(#,##0\);&quot;-  &quot;;&quot; &quot;@&quot; &quot;">
                  <c:v>13.830000000000005</c:v>
                </c:pt>
                <c:pt idx="500" formatCode="#,##0_);\(#,##0\);&quot;-  &quot;;&quot; &quot;@&quot; &quot;">
                  <c:v>14.055</c:v>
                </c:pt>
                <c:pt idx="501" formatCode="#,##0_);\(#,##0\);&quot;-  &quot;;&quot; &quot;@&quot; &quot;">
                  <c:v>14.029999999999994</c:v>
                </c:pt>
                <c:pt idx="502" formatCode="#,##0_);\(#,##0\);&quot;-  &quot;;&quot; &quot;@&quot; &quot;">
                  <c:v>15.085000000000001</c:v>
                </c:pt>
                <c:pt idx="503" formatCode="#,##0_);\(#,##0\);&quot;-  &quot;;&quot; &quot;@&quot; &quot;">
                  <c:v>13.954999999999998</c:v>
                </c:pt>
                <c:pt idx="504" formatCode="#,##0_);\(#,##0\);&quot;-  &quot;;&quot; &quot;@&quot; &quot;">
                  <c:v>14.115000000000002</c:v>
                </c:pt>
                <c:pt idx="505" formatCode="#,##0_);\(#,##0\);&quot;-  &quot;;&quot; &quot;@&quot; &quot;">
                  <c:v>13.810000000000002</c:v>
                </c:pt>
                <c:pt idx="506" formatCode="#,##0_);\(#,##0\);&quot;-  &quot;;&quot; &quot;@&quot; &quot;">
                  <c:v>13.149999999999999</c:v>
                </c:pt>
                <c:pt idx="507" formatCode="#,##0_);\(#,##0\);&quot;-  &quot;;&quot; &quot;@&quot; &quot;">
                  <c:v>12.414999999999999</c:v>
                </c:pt>
                <c:pt idx="508" formatCode="#,##0_);\(#,##0\);&quot;-  &quot;;&quot; &quot;@&quot; &quot;">
                  <c:v>12.68</c:v>
                </c:pt>
                <c:pt idx="509" formatCode="#,##0_);\(#,##0\);&quot;-  &quot;;&quot; &quot;@&quot; &quot;">
                  <c:v>13.594999999999999</c:v>
                </c:pt>
                <c:pt idx="510" formatCode="#,##0_);\(#,##0\);&quot;-  &quot;;&quot; &quot;@&quot; &quot;">
                  <c:v>13.195</c:v>
                </c:pt>
                <c:pt idx="511" formatCode="#,##0_);\(#,##0\);&quot;-  &quot;;&quot; &quot;@&quot; &quot;">
                  <c:v>12.995000000000005</c:v>
                </c:pt>
                <c:pt idx="512" formatCode="#,##0_);\(#,##0\);&quot;-  &quot;;&quot; &quot;@&quot; &quot;">
                  <c:v>11.43</c:v>
                </c:pt>
                <c:pt idx="513" formatCode="#,##0_);\(#,##0\);&quot;-  &quot;;&quot; &quot;@&quot; &quot;">
                  <c:v>11.535000000000004</c:v>
                </c:pt>
                <c:pt idx="514" formatCode="#,##0_);\(#,##0\);&quot;-  &quot;;&quot; &quot;@&quot; &quot;">
                  <c:v>11.579999999999998</c:v>
                </c:pt>
                <c:pt idx="515" formatCode="#,##0_);\(#,##0\);&quot;-  &quot;;&quot; &quot;@&quot; &quot;">
                  <c:v>12.524999999999999</c:v>
                </c:pt>
                <c:pt idx="516" formatCode="#,##0_);\(#,##0\);&quot;-  &quot;;&quot; &quot;@&quot; &quot;">
                  <c:v>12.665000000000006</c:v>
                </c:pt>
                <c:pt idx="517" formatCode="#,##0_);\(#,##0\);&quot;-  &quot;;&quot; &quot;@&quot; &quot;">
                  <c:v>12.310000000000002</c:v>
                </c:pt>
                <c:pt idx="518" formatCode="#,##0_);\(#,##0\);&quot;-  &quot;;&quot; &quot;@&quot; &quot;">
                  <c:v>11.230000000000004</c:v>
                </c:pt>
                <c:pt idx="519" formatCode="#,##0_);\(#,##0\);&quot;-  &quot;;&quot; &quot;@&quot; &quot;">
                  <c:v>11.065000000000005</c:v>
                </c:pt>
                <c:pt idx="520" formatCode="#,##0_);\(#,##0\);&quot;-  &quot;;&quot; &quot;@&quot; &quot;">
                  <c:v>10.799999999999997</c:v>
                </c:pt>
                <c:pt idx="521" formatCode="#,##0_);\(#,##0\);&quot;-  &quot;;&quot; &quot;@&quot; &quot;">
                  <c:v>9.4249999999999972</c:v>
                </c:pt>
                <c:pt idx="522" formatCode="#,##0_);\(#,##0\);&quot;-  &quot;;&quot; &quot;@&quot; &quot;">
                  <c:v>8.7800000000000011</c:v>
                </c:pt>
                <c:pt idx="523" formatCode="#,##0_);\(#,##0\);&quot;-  &quot;;&quot; &quot;@&quot; &quot;">
                  <c:v>8.0999999999999943</c:v>
                </c:pt>
                <c:pt idx="524" formatCode="#,##0_);\(#,##0\);&quot;-  &quot;;&quot; &quot;@&quot; &quot;">
                  <c:v>8.7249999999999943</c:v>
                </c:pt>
                <c:pt idx="525" formatCode="#,##0_);\(#,##0\);&quot;-  &quot;;&quot; &quot;@&quot; &quot;">
                  <c:v>8.9200000000000017</c:v>
                </c:pt>
                <c:pt idx="526" formatCode="#,##0_);\(#,##0\);&quot;-  &quot;;&quot; &quot;@&quot; &quot;">
                  <c:v>8.7299999999999969</c:v>
                </c:pt>
                <c:pt idx="527" formatCode="#,##0_);\(#,##0\);&quot;-  &quot;;&quot; &quot;@&quot; &quot;">
                  <c:v>9.39</c:v>
                </c:pt>
                <c:pt idx="528" formatCode="#,##0_);\(#,##0\);&quot;-  &quot;;&quot; &quot;@&quot; &quot;">
                  <c:v>9.4950000000000045</c:v>
                </c:pt>
                <c:pt idx="529" formatCode="#,##0_);\(#,##0\);&quot;-  &quot;;&quot; &quot;@&quot; &quot;">
                  <c:v>9.5150000000000006</c:v>
                </c:pt>
                <c:pt idx="530" formatCode="#,##0_);\(#,##0\);&quot;-  &quot;;&quot; &quot;@&quot; &quot;">
                  <c:v>8.9549999999999983</c:v>
                </c:pt>
                <c:pt idx="531" formatCode="#,##0_);\(#,##0\);&quot;-  &quot;;&quot; &quot;@&quot; &quot;">
                  <c:v>8.3049999999999997</c:v>
                </c:pt>
                <c:pt idx="532" formatCode="#,##0_);\(#,##0\);&quot;-  &quot;;&quot; &quot;@&quot; &quot;">
                  <c:v>9.0249999999999986</c:v>
                </c:pt>
                <c:pt idx="533" formatCode="#,##0_);\(#,##0\);&quot;-  &quot;;&quot; &quot;@&quot; &quot;">
                  <c:v>9.0999999999999943</c:v>
                </c:pt>
                <c:pt idx="534" formatCode="#,##0_);\(#,##0\);&quot;-  &quot;;&quot; &quot;@&quot; &quot;">
                  <c:v>9.6299999999999955</c:v>
                </c:pt>
                <c:pt idx="535" formatCode="#,##0_);\(#,##0\);&quot;-  &quot;;&quot; &quot;@&quot; &quot;">
                  <c:v>8.5</c:v>
                </c:pt>
                <c:pt idx="536" formatCode="#,##0_);\(#,##0\);&quot;-  &quot;;&quot; &quot;@&quot; &quot;">
                  <c:v>9.375</c:v>
                </c:pt>
                <c:pt idx="537" formatCode="#,##0_);\(#,##0\);&quot;-  &quot;;&quot; &quot;@&quot; &quot;">
                  <c:v>9.7100000000000009</c:v>
                </c:pt>
                <c:pt idx="538" formatCode="#,##0_);\(#,##0\);&quot;-  &quot;;&quot; &quot;@&quot; &quot;">
                  <c:v>8.7549999999999955</c:v>
                </c:pt>
                <c:pt idx="539" formatCode="#,##0_);\(#,##0\);&quot;-  &quot;;&quot; &quot;@&quot; &quot;">
                  <c:v>10.164999999999999</c:v>
                </c:pt>
                <c:pt idx="540" formatCode="#,##0_);\(#,##0\);&quot;-  &quot;;&quot; &quot;@&quot; &quot;">
                  <c:v>10.41</c:v>
                </c:pt>
                <c:pt idx="541" formatCode="#,##0_);\(#,##0\);&quot;-  &quot;;&quot; &quot;@&quot; &quot;">
                  <c:v>10.159999999999997</c:v>
                </c:pt>
                <c:pt idx="542" formatCode="#,##0_);\(#,##0\);&quot;-  &quot;;&quot; &quot;@&quot; &quot;">
                  <c:v>9.8949999999999996</c:v>
                </c:pt>
                <c:pt idx="543" formatCode="#,##0_);\(#,##0\);&quot;-  &quot;;&quot; &quot;@&quot; &quot;">
                  <c:v>9.884999999999998</c:v>
                </c:pt>
                <c:pt idx="544" formatCode="#,##0_);\(#,##0\);&quot;-  &quot;;&quot; &quot;@&quot; &quot;">
                  <c:v>9.5499999999999972</c:v>
                </c:pt>
                <c:pt idx="545" formatCode="#,##0_);\(#,##0\);&quot;-  &quot;;&quot; &quot;@&quot; &quot;">
                  <c:v>9.5999999999999979</c:v>
                </c:pt>
                <c:pt idx="546" formatCode="#,##0_);\(#,##0\);&quot;-  &quot;;&quot; &quot;@&quot; &quot;">
                  <c:v>8.4599999999999973</c:v>
                </c:pt>
                <c:pt idx="547" formatCode="#,##0_);\(#,##0\);&quot;-  &quot;;&quot; &quot;@&quot; &quot;">
                  <c:v>8.2449999999999974</c:v>
                </c:pt>
                <c:pt idx="548" formatCode="#,##0_);\(#,##0\);&quot;-  &quot;;&quot; &quot;@&quot; &quot;">
                  <c:v>7.4450000000000003</c:v>
                </c:pt>
                <c:pt idx="549" formatCode="#,##0_);\(#,##0\);&quot;-  &quot;;&quot; &quot;@&quot; &quot;">
                  <c:v>8.39</c:v>
                </c:pt>
                <c:pt idx="550" formatCode="#,##0_);\(#,##0\);&quot;-  &quot;;&quot; &quot;@&quot; &quot;">
                  <c:v>8.2800000000000011</c:v>
                </c:pt>
                <c:pt idx="551" formatCode="#,##0_);\(#,##0\);&quot;-  &quot;;&quot; &quot;@&quot; &quot;">
                  <c:v>7.379999999999999</c:v>
                </c:pt>
                <c:pt idx="552" formatCode="#,##0_);\(#,##0\);&quot;-  &quot;;&quot; &quot;@&quot; &quot;">
                  <c:v>8.625</c:v>
                </c:pt>
                <c:pt idx="553" formatCode="#,##0_);\(#,##0\);&quot;-  &quot;;&quot; &quot;@&quot; &quot;">
                  <c:v>8.9350000000000023</c:v>
                </c:pt>
                <c:pt idx="554" formatCode="#,##0_);\(#,##0\);&quot;-  &quot;;&quot; &quot;@&quot; &quot;">
                  <c:v>9.6300000000000026</c:v>
                </c:pt>
                <c:pt idx="555" formatCode="#,##0_);\(#,##0\);&quot;-  &quot;;&quot; &quot;@&quot; &quot;">
                  <c:v>9.3500000000000014</c:v>
                </c:pt>
                <c:pt idx="556" formatCode="#,##0_);\(#,##0\);&quot;-  &quot;;&quot; &quot;@&quot; &quot;">
                  <c:v>10.029999999999998</c:v>
                </c:pt>
                <c:pt idx="557" formatCode="#,##0_);\(#,##0\);&quot;-  &quot;;&quot; &quot;@&quot; &quot;">
                  <c:v>10.805</c:v>
                </c:pt>
                <c:pt idx="558" formatCode="#,##0_);\(#,##0\);&quot;-  &quot;;&quot; &quot;@&quot; &quot;">
                  <c:v>10.844999999999999</c:v>
                </c:pt>
                <c:pt idx="559" formatCode="#,##0_);\(#,##0\);&quot;-  &quot;;&quot; &quot;@&quot; &quot;">
                  <c:v>10.234999999999999</c:v>
                </c:pt>
                <c:pt idx="560" formatCode="#,##0_);\(#,##0\);&quot;-  &quot;;&quot; &quot;@&quot; &quot;">
                  <c:v>10.479999999999997</c:v>
                </c:pt>
                <c:pt idx="561" formatCode="#,##0_);\(#,##0\);&quot;-  &quot;;&quot; &quot;@&quot; &quot;">
                  <c:v>10.150000000000002</c:v>
                </c:pt>
                <c:pt idx="562" formatCode="#,##0_);\(#,##0\);&quot;-  &quot;;&quot; &quot;@&quot; &quot;">
                  <c:v>9.4300000000000033</c:v>
                </c:pt>
                <c:pt idx="563" formatCode="#,##0_);\(#,##0\);&quot;-  &quot;;&quot; &quot;@&quot; &quot;">
                  <c:v>10.559999999999999</c:v>
                </c:pt>
                <c:pt idx="564" formatCode="#,##0_);\(#,##0\);&quot;-  &quot;;&quot; &quot;@&quot; &quot;">
                  <c:v>10.055000000000003</c:v>
                </c:pt>
                <c:pt idx="565" formatCode="#,##0_);\(#,##0\);&quot;-  &quot;;&quot; &quot;@&quot; &quot;">
                  <c:v>9.4399999999999977</c:v>
                </c:pt>
                <c:pt idx="566" formatCode="#,##0_);\(#,##0\);&quot;-  &quot;;&quot; &quot;@&quot; &quot;">
                  <c:v>10.305</c:v>
                </c:pt>
                <c:pt idx="567" formatCode="#,##0_);\(#,##0\);&quot;-  &quot;;&quot; &quot;@&quot; &quot;">
                  <c:v>8.904999999999994</c:v>
                </c:pt>
                <c:pt idx="568" formatCode="#,##0_);\(#,##0\);&quot;-  &quot;;&quot; &quot;@&quot; &quot;">
                  <c:v>9.5</c:v>
                </c:pt>
                <c:pt idx="569" formatCode="#,##0_);\(#,##0\);&quot;-  &quot;;&quot; &quot;@&quot; &quot;">
                  <c:v>9.4799999999999969</c:v>
                </c:pt>
                <c:pt idx="570" formatCode="#,##0_);\(#,##0\);&quot;-  &quot;;&quot; &quot;@&quot; &quot;">
                  <c:v>7.5899999999999963</c:v>
                </c:pt>
                <c:pt idx="571" formatCode="#,##0_);\(#,##0\);&quot;-  &quot;;&quot; &quot;@&quot; &quot;">
                  <c:v>8.3850000000000051</c:v>
                </c:pt>
                <c:pt idx="572" formatCode="#,##0_);\(#,##0\);&quot;-  &quot;;&quot; &quot;@&quot; &quot;">
                  <c:v>9.0899999999999963</c:v>
                </c:pt>
                <c:pt idx="573" formatCode="#,##0_);\(#,##0\);&quot;-  &quot;;&quot; &quot;@&quot; &quot;">
                  <c:v>8.68</c:v>
                </c:pt>
                <c:pt idx="574" formatCode="#,##0_);\(#,##0\);&quot;-  &quot;;&quot; &quot;@&quot; &quot;">
                  <c:v>6.9949999999999974</c:v>
                </c:pt>
                <c:pt idx="575" formatCode="#,##0_);\(#,##0\);&quot;-  &quot;;&quot; &quot;@&quot; &quot;">
                  <c:v>7.5900000000000034</c:v>
                </c:pt>
                <c:pt idx="576" formatCode="#,##0_);\(#,##0\);&quot;-  &quot;;&quot; &quot;@&quot; &quot;">
                  <c:v>8.3250000000000028</c:v>
                </c:pt>
                <c:pt idx="577" formatCode="#,##0_);\(#,##0\);&quot;-  &quot;;&quot; &quot;@&quot; &quot;">
                  <c:v>7.990000000000002</c:v>
                </c:pt>
                <c:pt idx="578" formatCode="#,##0_);\(#,##0\);&quot;-  &quot;;&quot; &quot;@&quot; &quot;">
                  <c:v>8.3449999999999989</c:v>
                </c:pt>
                <c:pt idx="579" formatCode="#,##0_);\(#,##0\);&quot;-  &quot;;&quot; &quot;@&quot; &quot;">
                  <c:v>7.9699999999999989</c:v>
                </c:pt>
                <c:pt idx="580" formatCode="#,##0_);\(#,##0\);&quot;-  &quot;;&quot; &quot;@&quot; &quot;">
                  <c:v>8.43</c:v>
                </c:pt>
                <c:pt idx="581" formatCode="#,##0_);\(#,##0\);&quot;-  &quot;;&quot; &quot;@&quot; &quot;">
                  <c:v>8.3249999999999957</c:v>
                </c:pt>
                <c:pt idx="582" formatCode="#,##0_);\(#,##0\);&quot;-  &quot;;&quot; &quot;@&quot; &quot;">
                  <c:v>8.0649999999999977</c:v>
                </c:pt>
                <c:pt idx="583" formatCode="#,##0_);\(#,##0\);&quot;-  &quot;;&quot; &quot;@&quot; &quot;">
                  <c:v>9.3049999999999997</c:v>
                </c:pt>
                <c:pt idx="584" formatCode="#,##0_);\(#,##0\);&quot;-  &quot;;&quot; &quot;@&quot; &quot;">
                  <c:v>9.0600000000000023</c:v>
                </c:pt>
                <c:pt idx="585" formatCode="#,##0_);\(#,##0\);&quot;-  &quot;;&quot; &quot;@&quot; &quot;">
                  <c:v>9.3999999999999986</c:v>
                </c:pt>
                <c:pt idx="586" formatCode="#,##0_);\(#,##0\);&quot;-  &quot;;&quot; &quot;@&quot; &quot;">
                  <c:v>9.14</c:v>
                </c:pt>
                <c:pt idx="587" formatCode="#,##0_);\(#,##0\);&quot;-  &quot;;&quot; &quot;@&quot; &quot;">
                  <c:v>9.5750000000000028</c:v>
                </c:pt>
                <c:pt idx="588" formatCode="#,##0_);\(#,##0\);&quot;-  &quot;;&quot; &quot;@&quot; &quot;">
                  <c:v>9.6750000000000043</c:v>
                </c:pt>
                <c:pt idx="589" formatCode="#,##0_);\(#,##0\);&quot;-  &quot;;&quot; &quot;@&quot; &quot;">
                  <c:v>9.2199999999999989</c:v>
                </c:pt>
                <c:pt idx="590" formatCode="#,##0_);\(#,##0\);&quot;-  &quot;;&quot; &quot;@&quot; &quot;">
                  <c:v>8.7049999999999983</c:v>
                </c:pt>
                <c:pt idx="591" formatCode="#,##0_);\(#,##0\);&quot;-  &quot;;&quot; &quot;@&quot; &quot;">
                  <c:v>9.75</c:v>
                </c:pt>
                <c:pt idx="592" formatCode="#,##0_);\(#,##0\);&quot;-  &quot;;&quot; &quot;@&quot; &quot;">
                  <c:v>9.0549999999999997</c:v>
                </c:pt>
                <c:pt idx="593" formatCode="#,##0_);\(#,##0\);&quot;-  &quot;;&quot; &quot;@&quot; &quot;">
                  <c:v>9.5399999999999991</c:v>
                </c:pt>
                <c:pt idx="594" formatCode="#,##0_);\(#,##0\);&quot;-  &quot;;&quot; &quot;@&quot; &quot;">
                  <c:v>9.8700000000000045</c:v>
                </c:pt>
                <c:pt idx="595" formatCode="#,##0_);\(#,##0\);&quot;-  &quot;;&quot; &quot;@&quot; &quot;">
                  <c:v>8.8400000000000034</c:v>
                </c:pt>
                <c:pt idx="596" formatCode="#,##0_);\(#,##0\);&quot;-  &quot;;&quot; &quot;@&quot; &quot;">
                  <c:v>8.5399999999999991</c:v>
                </c:pt>
                <c:pt idx="597" formatCode="#,##0_);\(#,##0\);&quot;-  &quot;;&quot; &quot;@&quot; &quot;">
                  <c:v>8.75</c:v>
                </c:pt>
                <c:pt idx="598" formatCode="#,##0_);\(#,##0\);&quot;-  &quot;;&quot; &quot;@&quot; &quot;">
                  <c:v>9.4849999999999994</c:v>
                </c:pt>
                <c:pt idx="599" formatCode="#,##0_);\(#,##0\);&quot;-  &quot;;&quot; &quot;@&quot; &quot;">
                  <c:v>8.25</c:v>
                </c:pt>
                <c:pt idx="600" formatCode="#,##0_);\(#,##0\);&quot;-  &quot;;&quot; &quot;@&quot; &quot;">
                  <c:v>7.3900000000000006</c:v>
                </c:pt>
                <c:pt idx="601" formatCode="#,##0_);\(#,##0\);&quot;-  &quot;;&quot; &quot;@&quot; &quot;">
                  <c:v>7.7250000000000014</c:v>
                </c:pt>
                <c:pt idx="602" formatCode="#,##0_);\(#,##0\);&quot;-  &quot;;&quot; &quot;@&quot; &quot;">
                  <c:v>8.5150000000000006</c:v>
                </c:pt>
                <c:pt idx="603" formatCode="#,##0_);\(#,##0\);&quot;-  &quot;;&quot; &quot;@&quot; &quot;">
                  <c:v>7.6749999999999972</c:v>
                </c:pt>
                <c:pt idx="604" formatCode="#,##0_);\(#,##0\);&quot;-  &quot;;&quot; &quot;@&quot; &quot;">
                  <c:v>7.4400000000000048</c:v>
                </c:pt>
                <c:pt idx="605" formatCode="#,##0_);\(#,##0\);&quot;-  &quot;;&quot; &quot;@&quot; &quot;">
                  <c:v>7.8999999999999986</c:v>
                </c:pt>
                <c:pt idx="606" formatCode="#,##0_);\(#,##0\);&quot;-  &quot;;&quot; &quot;@&quot; &quot;">
                  <c:v>7.894999999999996</c:v>
                </c:pt>
                <c:pt idx="607" formatCode="#,##0_);\(#,##0\);&quot;-  &quot;;&quot; &quot;@&quot; &quot;">
                  <c:v>7.4650000000000034</c:v>
                </c:pt>
                <c:pt idx="608" formatCode="#,##0_);\(#,##0\);&quot;-  &quot;;&quot; &quot;@&quot; &quot;">
                  <c:v>7.6699999999999946</c:v>
                </c:pt>
                <c:pt idx="609" formatCode="#,##0_);\(#,##0\);&quot;-  &quot;;&quot; &quot;@&quot; &quot;">
                  <c:v>7.365000000000002</c:v>
                </c:pt>
                <c:pt idx="610" formatCode="#,##0_);\(#,##0\);&quot;-  &quot;;&quot; &quot;@&quot; &quot;">
                  <c:v>7.7950000000000017</c:v>
                </c:pt>
                <c:pt idx="611" formatCode="#,##0_);\(#,##0\);&quot;-  &quot;;&quot; &quot;@&quot; &quot;">
                  <c:v>8.5899999999999963</c:v>
                </c:pt>
                <c:pt idx="612" formatCode="#,##0_);\(#,##0\);&quot;-  &quot;;&quot; &quot;@&quot; &quot;">
                  <c:v>8.6900000000000048</c:v>
                </c:pt>
                <c:pt idx="613" formatCode="#,##0_);\(#,##0\);&quot;-  &quot;;&quot; &quot;@&quot; &quot;">
                  <c:v>8.2750000000000057</c:v>
                </c:pt>
                <c:pt idx="614" formatCode="#,##0_);\(#,##0\);&quot;-  &quot;;&quot; &quot;@&quot; &quot;">
                  <c:v>8.5399999999999991</c:v>
                </c:pt>
                <c:pt idx="615" formatCode="#,##0_);\(#,##0\);&quot;-  &quot;;&quot; &quot;@&quot; &quot;">
                  <c:v>8.9849999999999994</c:v>
                </c:pt>
                <c:pt idx="616" formatCode="#,##0_);\(#,##0\);&quot;-  &quot;;&quot; &quot;@&quot; &quot;">
                  <c:v>10.030000000000001</c:v>
                </c:pt>
                <c:pt idx="617" formatCode="#,##0_);\(#,##0\);&quot;-  &quot;;&quot; &quot;@&quot; &quot;">
                  <c:v>9.6499999999999986</c:v>
                </c:pt>
                <c:pt idx="618" formatCode="#,##0_);\(#,##0\);&quot;-  &quot;;&quot; &quot;@&quot; &quot;">
                  <c:v>9.3549999999999969</c:v>
                </c:pt>
                <c:pt idx="619" formatCode="#,##0_);\(#,##0\);&quot;-  &quot;;&quot; &quot;@&quot; &quot;">
                  <c:v>11.11</c:v>
                </c:pt>
                <c:pt idx="620" formatCode="#,##0_);\(#,##0\);&quot;-  &quot;;&quot; &quot;@&quot; &quot;">
                  <c:v>9.269999999999996</c:v>
                </c:pt>
                <c:pt idx="621" formatCode="#,##0_);\(#,##0\);&quot;-  &quot;;&quot; &quot;@&quot; &quot;">
                  <c:v>9.0850000000000009</c:v>
                </c:pt>
                <c:pt idx="622" formatCode="#,##0_);\(#,##0\);&quot;-  &quot;;&quot; &quot;@&quot; &quot;">
                  <c:v>8.0649999999999977</c:v>
                </c:pt>
                <c:pt idx="623" formatCode="#,##0_);\(#,##0\);&quot;-  &quot;;&quot; &quot;@&quot; &quot;">
                  <c:v>7.6500000000000057</c:v>
                </c:pt>
                <c:pt idx="624" formatCode="#,##0_);\(#,##0\);&quot;-  &quot;;&quot; &quot;@&quot; &quot;">
                  <c:v>8.36</c:v>
                </c:pt>
                <c:pt idx="625" formatCode="#,##0_);\(#,##0\);&quot;-  &quot;;&quot; &quot;@&quot; &quot;">
                  <c:v>7.9099999999999966</c:v>
                </c:pt>
                <c:pt idx="626" formatCode="#,##0_);\(#,##0\);&quot;-  &quot;;&quot; &quot;@&quot; &quot;">
                  <c:v>8.0599999999999952</c:v>
                </c:pt>
                <c:pt idx="627" formatCode="#,##0_);\(#,##0\);&quot;-  &quot;;&quot; &quot;@&quot; &quot;">
                  <c:v>8.0050000000000026</c:v>
                </c:pt>
                <c:pt idx="628" formatCode="#,##0_);\(#,##0\);&quot;-  &quot;;&quot; &quot;@&quot; &quot;">
                  <c:v>7.5949999999999989</c:v>
                </c:pt>
                <c:pt idx="629" formatCode="#,##0_);\(#,##0\);&quot;-  &quot;;&quot; &quot;@&quot; &quot;">
                  <c:v>8.0300000000000011</c:v>
                </c:pt>
                <c:pt idx="630" formatCode="#,##0_);\(#,##0\);&quot;-  &quot;;&quot; &quot;@&quot; &quot;">
                  <c:v>8.8049999999999997</c:v>
                </c:pt>
                <c:pt idx="631" formatCode="#,##0_);\(#,##0\);&quot;-  &quot;;&quot; &quot;@&quot; &quot;">
                  <c:v>8.9200000000000017</c:v>
                </c:pt>
                <c:pt idx="632" formatCode="#,##0_);\(#,##0\);&quot;-  &quot;;&quot; &quot;@&quot; &quot;">
                  <c:v>9.8099999999999952</c:v>
                </c:pt>
                <c:pt idx="633" formatCode="#,##0_);\(#,##0\);&quot;-  &quot;;&quot; &quot;@&quot; &quot;">
                  <c:v>9.8049999999999997</c:v>
                </c:pt>
                <c:pt idx="634" formatCode="#,##0_);\(#,##0\);&quot;-  &quot;;&quot; &quot;@&quot; &quot;">
                  <c:v>10.080000000000005</c:v>
                </c:pt>
                <c:pt idx="635" formatCode="#,##0_);\(#,##0\);&quot;-  &quot;;&quot; &quot;@&quot; &quot;">
                  <c:v>10.220000000000006</c:v>
                </c:pt>
                <c:pt idx="636" formatCode="#,##0_);\(#,##0\);&quot;-  &quot;;&quot; &quot;@&quot; &quot;">
                  <c:v>10.909999999999997</c:v>
                </c:pt>
                <c:pt idx="637" formatCode="#,##0_);\(#,##0\);&quot;-  &quot;;&quot; &quot;@&quot; &quot;">
                  <c:v>9.730000000000004</c:v>
                </c:pt>
                <c:pt idx="638" formatCode="#,##0_);\(#,##0\);&quot;-  &quot;;&quot; &quot;@&quot; &quot;">
                  <c:v>10.004999999999995</c:v>
                </c:pt>
                <c:pt idx="639" formatCode="#,##0_);\(#,##0\);&quot;-  &quot;;&quot; &quot;@&quot; &quot;">
                  <c:v>10.170000000000002</c:v>
                </c:pt>
                <c:pt idx="640" formatCode="#,##0_);\(#,##0\);&quot;-  &quot;;&quot; &quot;@&quot; &quot;">
                  <c:v>11.024999999999999</c:v>
                </c:pt>
                <c:pt idx="641" formatCode="#,##0_);\(#,##0\);&quot;-  &quot;;&quot; &quot;@&quot; &quot;">
                  <c:v>11.044999999999995</c:v>
                </c:pt>
                <c:pt idx="642" formatCode="#,##0_);\(#,##0\);&quot;-  &quot;;&quot; &quot;@&quot; &quot;">
                  <c:v>10.914999999999999</c:v>
                </c:pt>
                <c:pt idx="643" formatCode="#,##0_);\(#,##0\);&quot;-  &quot;;&quot; &quot;@&quot; &quot;">
                  <c:v>10.190000000000005</c:v>
                </c:pt>
                <c:pt idx="644" formatCode="#,##0_);\(#,##0\);&quot;-  &quot;;&quot; &quot;@&quot; &quot;">
                  <c:v>10.714999999999996</c:v>
                </c:pt>
                <c:pt idx="645" formatCode="#,##0_);\(#,##0\);&quot;-  &quot;;&quot; &quot;@&quot; &quot;">
                  <c:v>10.914999999999999</c:v>
                </c:pt>
                <c:pt idx="646" formatCode="#,##0_);\(#,##0\);&quot;-  &quot;;&quot; &quot;@&quot; &quot;">
                  <c:v>10.534999999999997</c:v>
                </c:pt>
                <c:pt idx="647" formatCode="#,##0_);\(#,##0\);&quot;-  &quot;;&quot; &quot;@&quot; &quot;">
                  <c:v>10.364999999999995</c:v>
                </c:pt>
                <c:pt idx="648" formatCode="#,##0_);\(#,##0\);&quot;-  &quot;;&quot; &quot;@&quot; &quot;">
                  <c:v>10.540000000000006</c:v>
                </c:pt>
                <c:pt idx="649" formatCode="#,##0_);\(#,##0\);&quot;-  &quot;;&quot; &quot;@&quot; &quot;">
                  <c:v>11.130000000000003</c:v>
                </c:pt>
                <c:pt idx="650" formatCode="#,##0_);\(#,##0\);&quot;-  &quot;;&quot; &quot;@&quot; &quot;">
                  <c:v>10.900000000000006</c:v>
                </c:pt>
                <c:pt idx="651" formatCode="#,##0_);\(#,##0\);&quot;-  &quot;;&quot; &quot;@&quot; &quot;">
                  <c:v>10.61</c:v>
                </c:pt>
                <c:pt idx="652" formatCode="#,##0_);\(#,##0\);&quot;-  &quot;;&quot; &quot;@&quot; &quot;">
                  <c:v>11.149999999999999</c:v>
                </c:pt>
                <c:pt idx="653" formatCode="#,##0_);\(#,##0\);&quot;-  &quot;;&quot; &quot;@&quot; &quot;">
                  <c:v>11.18</c:v>
                </c:pt>
                <c:pt idx="654" formatCode="#,##0_);\(#,##0\);&quot;-  &quot;;&quot; &quot;@&quot; &quot;">
                  <c:v>11.200000000000003</c:v>
                </c:pt>
                <c:pt idx="655" formatCode="#,##0_);\(#,##0\);&quot;-  &quot;;&quot; &quot;@&quot; &quot;">
                  <c:v>11.064999999999998</c:v>
                </c:pt>
                <c:pt idx="656" formatCode="#,##0_);\(#,##0\);&quot;-  &quot;;&quot; &quot;@&quot; &quot;">
                  <c:v>10.850000000000001</c:v>
                </c:pt>
                <c:pt idx="657" formatCode="#,##0_);\(#,##0\);&quot;-  &quot;;&quot; &quot;@&quot; &quot;">
                  <c:v>10.530000000000001</c:v>
                </c:pt>
                <c:pt idx="658" formatCode="#,##0_);\(#,##0\);&quot;-  &quot;;&quot; &quot;@&quot; &quot;">
                  <c:v>11.090000000000003</c:v>
                </c:pt>
                <c:pt idx="659" formatCode="#,##0_);\(#,##0\);&quot;-  &quot;;&quot; &quot;@&quot; &quot;">
                  <c:v>11.46</c:v>
                </c:pt>
                <c:pt idx="660" formatCode="#,##0_);\(#,##0\);&quot;-  &quot;;&quot; &quot;@&quot; &quot;">
                  <c:v>11.274999999999999</c:v>
                </c:pt>
                <c:pt idx="661" formatCode="#,##0_);\(#,##0\);&quot;-  &quot;;&quot; &quot;@&quot; &quot;">
                  <c:v>10.800000000000004</c:v>
                </c:pt>
                <c:pt idx="662" formatCode="#,##0_);\(#,##0\);&quot;-  &quot;;&quot; &quot;@&quot; &quot;">
                  <c:v>10.89</c:v>
                </c:pt>
                <c:pt idx="663" formatCode="#,##0_);\(#,##0\);&quot;-  &quot;;&quot; &quot;@&quot; &quot;">
                  <c:v>11.440000000000005</c:v>
                </c:pt>
                <c:pt idx="664" formatCode="#,##0_);\(#,##0\);&quot;-  &quot;;&quot; &quot;@&quot; &quot;">
                  <c:v>11.32</c:v>
                </c:pt>
                <c:pt idx="665" formatCode="#,##0_);\(#,##0\);&quot;-  &quot;;&quot; &quot;@&quot; &quot;">
                  <c:v>12.185000000000002</c:v>
                </c:pt>
                <c:pt idx="666" formatCode="#,##0_);\(#,##0\);&quot;-  &quot;;&quot; &quot;@&quot; &quot;">
                  <c:v>10.880000000000003</c:v>
                </c:pt>
                <c:pt idx="667" formatCode="#,##0_);\(#,##0\);&quot;-  &quot;;&quot; &quot;@&quot; &quot;">
                  <c:v>11.335000000000001</c:v>
                </c:pt>
                <c:pt idx="668" formatCode="#,##0_);\(#,##0\);&quot;-  &quot;;&quot; &quot;@&quot; &quot;">
                  <c:v>11.005000000000003</c:v>
                </c:pt>
                <c:pt idx="669" formatCode="#,##0_);\(#,##0\);&quot;-  &quot;;&quot; &quot;@&quot; &quot;">
                  <c:v>10.849999999999994</c:v>
                </c:pt>
                <c:pt idx="670" formatCode="#,##0_);\(#,##0\);&quot;-  &quot;;&quot; &quot;@&quot; &quot;">
                  <c:v>9.6299999999999955</c:v>
                </c:pt>
                <c:pt idx="671" formatCode="#,##0_);\(#,##0\);&quot;-  &quot;;&quot; &quot;@&quot; &quot;">
                  <c:v>8.8100000000000023</c:v>
                </c:pt>
                <c:pt idx="672" formatCode="#,##0_);\(#,##0\);&quot;-  &quot;;&quot; &quot;@&quot; &quot;">
                  <c:v>8.3300000000000054</c:v>
                </c:pt>
                <c:pt idx="673" formatCode="#,##0_);\(#,##0\);&quot;-  &quot;;&quot; &quot;@&quot; &quot;">
                  <c:v>8.6899999999999977</c:v>
                </c:pt>
                <c:pt idx="674" formatCode="#,##0_);\(#,##0\);&quot;-  &quot;;&quot; &quot;@&quot; &quot;">
                  <c:v>8.86</c:v>
                </c:pt>
                <c:pt idx="675" formatCode="#,##0_);\(#,##0\);&quot;-  &quot;;&quot; &quot;@&quot; &quot;">
                  <c:v>9.0800000000000054</c:v>
                </c:pt>
                <c:pt idx="676" formatCode="#,##0_);\(#,##0\);&quot;-  &quot;;&quot; &quot;@&quot; &quot;">
                  <c:v>8.7749999999999986</c:v>
                </c:pt>
                <c:pt idx="677" formatCode="#,##0_);\(#,##0\);&quot;-  &quot;;&quot; &quot;@&quot; &quot;">
                  <c:v>8.9799999999999969</c:v>
                </c:pt>
                <c:pt idx="678" formatCode="#,##0_);\(#,##0\);&quot;-  &quot;;&quot; &quot;@&quot; &quot;">
                  <c:v>8.5649999999999977</c:v>
                </c:pt>
                <c:pt idx="679" formatCode="#,##0_);\(#,##0\);&quot;-  &quot;;&quot; &quot;@&quot; &quot;">
                  <c:v>8.2899999999999991</c:v>
                </c:pt>
                <c:pt idx="680" formatCode="#,##0_);\(#,##0\);&quot;-  &quot;;&quot; &quot;@&quot; &quot;">
                  <c:v>8.2250000000000014</c:v>
                </c:pt>
                <c:pt idx="681" formatCode="#,##0_);\(#,##0\);&quot;-  &quot;;&quot; &quot;@&quot; &quot;">
                  <c:v>8.3500000000000014</c:v>
                </c:pt>
                <c:pt idx="682" formatCode="#,##0_);\(#,##0\);&quot;-  &quot;;&quot; &quot;@&quot; &quot;">
                  <c:v>8.2899999999999991</c:v>
                </c:pt>
                <c:pt idx="683" formatCode="#,##0_);\(#,##0\);&quot;-  &quot;;&quot; &quot;@&quot; &quot;">
                  <c:v>8.4100000000000037</c:v>
                </c:pt>
                <c:pt idx="684" formatCode="#,##0_);\(#,##0\);&quot;-  &quot;;&quot; &quot;@&quot; &quot;">
                  <c:v>8.0049999999999955</c:v>
                </c:pt>
                <c:pt idx="685" formatCode="#,##0_);\(#,##0\);&quot;-  &quot;;&quot; &quot;@&quot; &quot;">
                  <c:v>8.5849999999999937</c:v>
                </c:pt>
                <c:pt idx="686" formatCode="#,##0_);\(#,##0\);&quot;-  &quot;;&quot; &quot;@&quot; &quot;">
                  <c:v>8.7600000000000051</c:v>
                </c:pt>
                <c:pt idx="687" formatCode="#,##0_);\(#,##0\);&quot;-  &quot;;&quot; &quot;@&quot; &quot;">
                  <c:v>8.5600000000000023</c:v>
                </c:pt>
                <c:pt idx="688" formatCode="#,##0_);\(#,##0\);&quot;-  &quot;;&quot; &quot;@&quot; &quot;">
                  <c:v>7.9600000000000009</c:v>
                </c:pt>
                <c:pt idx="689" formatCode="#,##0_);\(#,##0\);&quot;-  &quot;;&quot; &quot;@&quot; &quot;">
                  <c:v>7.9750000000000014</c:v>
                </c:pt>
                <c:pt idx="690" formatCode="#,##0_);\(#,##0\);&quot;-  &quot;;&quot; &quot;@&quot; &quot;">
                  <c:v>8.6500000000000057</c:v>
                </c:pt>
                <c:pt idx="691" formatCode="#,##0_);\(#,##0\);&quot;-  &quot;;&quot; &quot;@&quot; &quot;">
                  <c:v>8.8299999999999983</c:v>
                </c:pt>
                <c:pt idx="692" formatCode="#,##0_);\(#,##0\);&quot;-  &quot;;&quot; &quot;@&quot; &quot;">
                  <c:v>9.1550000000000011</c:v>
                </c:pt>
                <c:pt idx="693" formatCode="#,##0_);\(#,##0\);&quot;-  &quot;;&quot; &quot;@&quot; &quot;">
                  <c:v>9.3399999999999963</c:v>
                </c:pt>
                <c:pt idx="694" formatCode="#,##0_);\(#,##0\);&quot;-  &quot;;&quot; &quot;@&quot; &quot;">
                  <c:v>9.0050000000000026</c:v>
                </c:pt>
                <c:pt idx="695" formatCode="#,##0_);\(#,##0\);&quot;-  &quot;;&quot; &quot;@&quot; &quot;">
                  <c:v>9.3350000000000009</c:v>
                </c:pt>
                <c:pt idx="696" formatCode="#,##0_);\(#,##0\);&quot;-  &quot;;&quot; &quot;@&quot; &quot;">
                  <c:v>9.759999999999998</c:v>
                </c:pt>
                <c:pt idx="697" formatCode="#,##0_);\(#,##0\);&quot;-  &quot;;&quot; &quot;@&quot; &quot;">
                  <c:v>9.7199999999999989</c:v>
                </c:pt>
                <c:pt idx="698" formatCode="#,##0_);\(#,##0\);&quot;-  &quot;;&quot; &quot;@&quot; &quot;">
                  <c:v>10.010000000000005</c:v>
                </c:pt>
                <c:pt idx="699" formatCode="#,##0_);\(#,##0\);&quot;-  &quot;;&quot; &quot;@&quot; &quot;">
                  <c:v>9.2299999999999969</c:v>
                </c:pt>
                <c:pt idx="700" formatCode="#,##0_);\(#,##0\);&quot;-  &quot;;&quot; &quot;@&quot; &quot;">
                  <c:v>10.380000000000003</c:v>
                </c:pt>
                <c:pt idx="701" formatCode="#,##0_);\(#,##0\);&quot;-  &quot;;&quot; &quot;@&quot; &quot;">
                  <c:v>9.7849999999999966</c:v>
                </c:pt>
                <c:pt idx="702" formatCode="#,##0_);\(#,##0\);&quot;-  &quot;;&quot; &quot;@&quot; &quot;">
                  <c:v>9.1899999999999977</c:v>
                </c:pt>
                <c:pt idx="703" formatCode="#,##0_);\(#,##0\);&quot;-  &quot;;&quot; &quot;@&quot; &quot;">
                  <c:v>10.61</c:v>
                </c:pt>
                <c:pt idx="704" formatCode="#,##0_);\(#,##0\);&quot;-  &quot;;&quot; &quot;@&quot; &quot;">
                  <c:v>10.009999999999998</c:v>
                </c:pt>
                <c:pt idx="705" formatCode="#,##0_);\(#,##0\);&quot;-  &quot;;&quot; &quot;@&quot; &quot;">
                  <c:v>9.4899999999999949</c:v>
                </c:pt>
                <c:pt idx="706" formatCode="#,##0_);\(#,##0\);&quot;-  &quot;;&quot; &quot;@&quot; &quot;">
                  <c:v>9.4350000000000023</c:v>
                </c:pt>
                <c:pt idx="707" formatCode="#,##0_);\(#,##0\);&quot;-  &quot;;&quot; &quot;@&quot; &quot;">
                  <c:v>9.25</c:v>
                </c:pt>
                <c:pt idx="708" formatCode="#,##0_);\(#,##0\);&quot;-  &quot;;&quot; &quot;@&quot; &quot;">
                  <c:v>9.125</c:v>
                </c:pt>
                <c:pt idx="709" formatCode="#,##0_);\(#,##0\);&quot;-  &quot;;&quot; &quot;@&quot; &quot;">
                  <c:v>9.105000000000004</c:v>
                </c:pt>
                <c:pt idx="710" formatCode="#,##0_);\(#,##0\);&quot;-  &quot;;&quot; &quot;@&quot; &quot;">
                  <c:v>9.07</c:v>
                </c:pt>
                <c:pt idx="711" formatCode="#,##0_);\(#,##0\);&quot;-  &quot;;&quot; &quot;@&quot; &quot;">
                  <c:v>8.5300000000000011</c:v>
                </c:pt>
                <c:pt idx="712" formatCode="#,##0_);\(#,##0\);&quot;-  &quot;;&quot; &quot;@&quot; &quot;">
                  <c:v>8.4050000000000011</c:v>
                </c:pt>
                <c:pt idx="713" formatCode="#,##0_);\(#,##0\);&quot;-  &quot;;&quot; &quot;@&quot; &quot;">
                  <c:v>9</c:v>
                </c:pt>
                <c:pt idx="714" formatCode="#,##0_);\(#,##0\);&quot;-  &quot;;&quot; &quot;@&quot; &quot;">
                  <c:v>9.3399999999999963</c:v>
                </c:pt>
                <c:pt idx="715" formatCode="#,##0_);\(#,##0\);&quot;-  &quot;;&quot; &quot;@&quot; &quot;">
                  <c:v>8.9849999999999994</c:v>
                </c:pt>
                <c:pt idx="716" formatCode="#,##0_);\(#,##0\);&quot;-  &quot;;&quot; &quot;@&quot; &quot;">
                  <c:v>8.9649999999999963</c:v>
                </c:pt>
                <c:pt idx="717" formatCode="#,##0_);\(#,##0\);&quot;-  &quot;;&quot; &quot;@&quot; &quot;">
                  <c:v>9.2749999999999986</c:v>
                </c:pt>
                <c:pt idx="718" formatCode="#,##0_);\(#,##0\);&quot;-  &quot;;&quot; &quot;@&quot; &quot;">
                  <c:v>8.6649999999999991</c:v>
                </c:pt>
                <c:pt idx="719" formatCode="#,##0_);\(#,##0\);&quot;-  &quot;;&quot; &quot;@&quot; &quot;">
                  <c:v>9.3999999999999986</c:v>
                </c:pt>
                <c:pt idx="720" formatCode="#,##0_);\(#,##0\);&quot;-  &quot;;&quot; &quot;@&quot; &quot;">
                  <c:v>9.5249999999999986</c:v>
                </c:pt>
                <c:pt idx="721" formatCode="#,##0_);\(#,##0\);&quot;-  &quot;;&quot; &quot;@&quot; &quot;">
                  <c:v>9.7450000000000045</c:v>
                </c:pt>
                <c:pt idx="722" formatCode="#,##0_);\(#,##0\);&quot;-  &quot;;&quot; &quot;@&quot; &quot;">
                  <c:v>9.2899999999999991</c:v>
                </c:pt>
                <c:pt idx="723" formatCode="#,##0_);\(#,##0\);&quot;-  &quot;;&quot; &quot;@&quot; &quot;">
                  <c:v>9.7800000000000011</c:v>
                </c:pt>
                <c:pt idx="724" formatCode="#,##0_);\(#,##0\);&quot;-  &quot;;&quot; &quot;@&quot; &quot;">
                  <c:v>10.375</c:v>
                </c:pt>
                <c:pt idx="725" formatCode="#,##0_);\(#,##0\);&quot;-  &quot;;&quot; &quot;@&quot; &quot;">
                  <c:v>11.849999999999994</c:v>
                </c:pt>
                <c:pt idx="726" formatCode="#,##0_);\(#,##0\);&quot;-  &quot;;&quot; &quot;@&quot; &quot;">
                  <c:v>10.745000000000005</c:v>
                </c:pt>
                <c:pt idx="727" formatCode="#,##0_);\(#,##0\);&quot;-  &quot;;&quot; &quot;@&quot; &quot;">
                  <c:v>11.534999999999997</c:v>
                </c:pt>
                <c:pt idx="728" formatCode="#,##0_);\(#,##0\);&quot;-  &quot;;&quot; &quot;@&quot; &quot;">
                  <c:v>12.18</c:v>
                </c:pt>
                <c:pt idx="729" formatCode="#,##0_);\(#,##0\);&quot;-  &quot;;&quot; &quot;@&quot; &quot;">
                  <c:v>11.54</c:v>
                </c:pt>
                <c:pt idx="730" formatCode="#,##0_);\(#,##0\);&quot;-  &quot;;&quot; &quot;@&quot; &quot;">
                  <c:v>12.044999999999995</c:v>
                </c:pt>
                <c:pt idx="731" formatCode="#,##0_);\(#,##0\);&quot;-  &quot;;&quot; &quot;@&quot; &quot;">
                  <c:v>12.064999999999998</c:v>
                </c:pt>
                <c:pt idx="732" formatCode="#,##0_);\(#,##0\);&quot;-  &quot;;&quot; &quot;@&quot; &quot;">
                  <c:v>11.994999999999997</c:v>
                </c:pt>
                <c:pt idx="733" formatCode="#,##0_);\(#,##0\);&quot;-  &quot;;&quot; &quot;@&quot; &quot;">
                  <c:v>11.520000000000003</c:v>
                </c:pt>
                <c:pt idx="734" formatCode="#,##0_);\(#,##0\);&quot;-  &quot;;&quot; &quot;@&quot; &quot;">
                  <c:v>12.085000000000001</c:v>
                </c:pt>
                <c:pt idx="735" formatCode="#,##0_);\(#,##0\);&quot;-  &quot;;&quot; &quot;@&quot; &quot;">
                  <c:v>12.11</c:v>
                </c:pt>
                <c:pt idx="736" formatCode="#,##0_);\(#,##0\);&quot;-  &quot;;&quot; &quot;@&quot; &quot;">
                  <c:v>12.21</c:v>
                </c:pt>
                <c:pt idx="737" formatCode="#,##0_);\(#,##0\);&quot;-  &quot;;&quot; &quot;@&quot; &quot;">
                  <c:v>11.995000000000005</c:v>
                </c:pt>
                <c:pt idx="738" formatCode="#,##0_);\(#,##0\);&quot;-  &quot;;&quot; &quot;@&quot; &quot;">
                  <c:v>11.384999999999998</c:v>
                </c:pt>
                <c:pt idx="739" formatCode="#,##0_);\(#,##0\);&quot;-  &quot;;&quot; &quot;@&quot; &quot;">
                  <c:v>11.594999999999999</c:v>
                </c:pt>
                <c:pt idx="740" formatCode="#,##0_);\(#,##0\);&quot;-  &quot;;&quot; &quot;@&quot; &quot;">
                  <c:v>11.144999999999996</c:v>
                </c:pt>
                <c:pt idx="741" formatCode="#,##0_);\(#,##0\);&quot;-  &quot;;&quot; &quot;@&quot; &quot;">
                  <c:v>11.495000000000005</c:v>
                </c:pt>
                <c:pt idx="742" formatCode="#,##0_);\(#,##0\);&quot;-  &quot;;&quot; &quot;@&quot; &quot;">
                  <c:v>11.524999999999999</c:v>
                </c:pt>
                <c:pt idx="743" formatCode="#,##0_);\(#,##0\);&quot;-  &quot;;&quot; &quot;@&quot; &quot;">
                  <c:v>12.46</c:v>
                </c:pt>
                <c:pt idx="744" formatCode="#,##0_);\(#,##0\);&quot;-  &quot;;&quot; &quot;@&quot; &quot;">
                  <c:v>12.695</c:v>
                </c:pt>
                <c:pt idx="745" formatCode="#,##0_);\(#,##0\);&quot;-  &quot;;&quot; &quot;@&quot; &quot;">
                  <c:v>12.424999999999997</c:v>
                </c:pt>
                <c:pt idx="746" formatCode="#,##0_);\(#,##0\);&quot;-  &quot;;&quot; &quot;@&quot; &quot;">
                  <c:v>12.719999999999999</c:v>
                </c:pt>
                <c:pt idx="747" formatCode="#,##0_);\(#,##0\);&quot;-  &quot;;&quot; &quot;@&quot; &quot;">
                  <c:v>12.379999999999995</c:v>
                </c:pt>
                <c:pt idx="748" formatCode="#,##0_);\(#,##0\);&quot;-  &quot;;&quot; &quot;@&quot; &quot;">
                  <c:v>12.655000000000001</c:v>
                </c:pt>
                <c:pt idx="749" formatCode="#,##0_);\(#,##0\);&quot;-  &quot;;&quot; &quot;@&quot; &quot;">
                  <c:v>13.145000000000003</c:v>
                </c:pt>
                <c:pt idx="750" formatCode="#,##0_);\(#,##0\);&quot;-  &quot;;&quot; &quot;@&quot; &quot;">
                  <c:v>12.979999999999997</c:v>
                </c:pt>
                <c:pt idx="751" formatCode="#,##0_);\(#,##0\);&quot;-  &quot;;&quot; &quot;@&quot; &quot;">
                  <c:v>12.979999999999997</c:v>
                </c:pt>
                <c:pt idx="752" formatCode="#,##0_);\(#,##0\);&quot;-  &quot;;&quot; &quot;@&quot; &quot;">
                  <c:v>13.060000000000002</c:v>
                </c:pt>
                <c:pt idx="753" formatCode="#,##0_);\(#,##0\);&quot;-  &quot;;&quot; &quot;@&quot; &quot;">
                  <c:v>13.29</c:v>
                </c:pt>
                <c:pt idx="754" formatCode="#,##0_);\(#,##0\);&quot;-  &quot;;&quot; &quot;@&quot; &quot;">
                  <c:v>12.850000000000001</c:v>
                </c:pt>
                <c:pt idx="755" formatCode="#,##0_);\(#,##0\);&quot;-  &quot;;&quot; &quot;@&quot; &quot;">
                  <c:v>12.730000000000004</c:v>
                </c:pt>
                <c:pt idx="756" formatCode="#,##0_);\(#,##0\);&quot;-  &quot;;&quot; &quot;@&quot; &quot;">
                  <c:v>12.835000000000001</c:v>
                </c:pt>
                <c:pt idx="757" formatCode="#,##0_);\(#,##0\);&quot;-  &quot;;&quot; &quot;@&quot; &quot;">
                  <c:v>12.86</c:v>
                </c:pt>
                <c:pt idx="758" formatCode="#,##0_);\(#,##0\);&quot;-  &quot;;&quot; &quot;@&quot; &quot;">
                  <c:v>12.580000000000005</c:v>
                </c:pt>
                <c:pt idx="759" formatCode="#,##0_);\(#,##0\);&quot;-  &quot;;&quot; &quot;@&quot; &quot;">
                  <c:v>11.664999999999999</c:v>
                </c:pt>
                <c:pt idx="760" formatCode="#,##0_);\(#,##0\);&quot;-  &quot;;&quot; &quot;@&quot; &quot;">
                  <c:v>11.299999999999997</c:v>
                </c:pt>
                <c:pt idx="761" formatCode="#,##0_);\(#,##0\);&quot;-  &quot;;&quot; &quot;@&quot; &quot;">
                  <c:v>12.015000000000001</c:v>
                </c:pt>
                <c:pt idx="762" formatCode="#,##0_);\(#,##0\);&quot;-  &quot;;&quot; &quot;@&quot; &quot;">
                  <c:v>12.300000000000004</c:v>
                </c:pt>
                <c:pt idx="763" formatCode="#,##0_);\(#,##0\);&quot;-  &quot;;&quot; &quot;@&quot; &quot;">
                  <c:v>12.240000000000002</c:v>
                </c:pt>
                <c:pt idx="764" formatCode="#,##0_);\(#,##0\);&quot;-  &quot;;&quot; &quot;@&quot; &quot;">
                  <c:v>12.744999999999997</c:v>
                </c:pt>
                <c:pt idx="765" formatCode="#,##0_);\(#,##0\);&quot;-  &quot;;&quot; &quot;@&quot; &quot;">
                  <c:v>12.089999999999996</c:v>
                </c:pt>
                <c:pt idx="766" formatCode="#,##0_);\(#,##0\);&quot;-  &quot;;&quot; &quot;@&quot; &quot;">
                  <c:v>11.785000000000004</c:v>
                </c:pt>
                <c:pt idx="767" formatCode="#,##0_);\(#,##0\);&quot;-  &quot;;&quot; &quot;@&quot; &quot;">
                  <c:v>12.600000000000001</c:v>
                </c:pt>
                <c:pt idx="768" formatCode="#,##0_);\(#,##0\);&quot;-  &quot;;&quot; &quot;@&quot; &quot;">
                  <c:v>11.029999999999994</c:v>
                </c:pt>
                <c:pt idx="769" formatCode="#,##0_);\(#,##0\);&quot;-  &quot;;&quot; &quot;@&quot; &quot;">
                  <c:v>11.715000000000003</c:v>
                </c:pt>
                <c:pt idx="770" formatCode="#,##0_);\(#,##0\);&quot;-  &quot;;&quot; &quot;@&quot; &quot;">
                  <c:v>10.950000000000003</c:v>
                </c:pt>
                <c:pt idx="771" formatCode="#,##0_);\(#,##0\);&quot;-  &quot;;&quot; &quot;@&quot; &quot;">
                  <c:v>10.454999999999998</c:v>
                </c:pt>
                <c:pt idx="772" formatCode="#,##0_);\(#,##0\);&quot;-  &quot;;&quot; &quot;@&quot; &quot;">
                  <c:v>10.659999999999997</c:v>
                </c:pt>
                <c:pt idx="773" formatCode="#,##0_);\(#,##0\);&quot;-  &quot;;&quot; &quot;@&quot; &quot;">
                  <c:v>9.7749999999999986</c:v>
                </c:pt>
                <c:pt idx="774" formatCode="#,##0_);\(#,##0\);&quot;-  &quot;;&quot; &quot;@&quot; &quot;">
                  <c:v>10.529999999999994</c:v>
                </c:pt>
                <c:pt idx="775" formatCode="#,##0_);\(#,##0\);&quot;-  &quot;;&quot; &quot;@&quot; &quot;">
                  <c:v>10.524999999999999</c:v>
                </c:pt>
                <c:pt idx="776" formatCode="#,##0_);\(#,##0\);&quot;-  &quot;;&quot; &quot;@&quot; &quot;">
                  <c:v>11.199999999999996</c:v>
                </c:pt>
                <c:pt idx="777" formatCode="#,##0_);\(#,##0\);&quot;-  &quot;;&quot; &quot;@&quot; &quot;">
                  <c:v>11.380000000000003</c:v>
                </c:pt>
                <c:pt idx="778" formatCode="#,##0_);\(#,##0\);&quot;-  &quot;;&quot; &quot;@&quot; &quot;">
                  <c:v>11.184999999999995</c:v>
                </c:pt>
                <c:pt idx="779" formatCode="#,##0_);\(#,##0\);&quot;-  &quot;;&quot; &quot;@&quot; &quot;">
                  <c:v>10.840000000000003</c:v>
                </c:pt>
                <c:pt idx="780" formatCode="#,##0_);\(#,##0\);&quot;-  &quot;;&quot; &quot;@&quot; &quot;">
                  <c:v>10.454999999999991</c:v>
                </c:pt>
                <c:pt idx="781" formatCode="#,##0_);\(#,##0\);&quot;-  &quot;;&quot; &quot;@&quot; &quot;">
                  <c:v>11.044999999999995</c:v>
                </c:pt>
                <c:pt idx="782" formatCode="#,##0_);\(#,##0\);&quot;-  &quot;;&quot; &quot;@&quot; &quot;">
                  <c:v>10.330000000000005</c:v>
                </c:pt>
                <c:pt idx="783" formatCode="#,##0_);\(#,##0\);&quot;-  &quot;;&quot; &quot;@&quot; &quot;">
                  <c:v>10.310000000000002</c:v>
                </c:pt>
                <c:pt idx="784" formatCode="#,##0_);\(#,##0\);&quot;-  &quot;;&quot; &quot;@&quot; &quot;">
                  <c:v>9.3249999999999957</c:v>
                </c:pt>
                <c:pt idx="785" formatCode="#,##0_);\(#,##0\);&quot;-  &quot;;&quot; &quot;@&quot; &quot;">
                  <c:v>9.865000000000002</c:v>
                </c:pt>
                <c:pt idx="786" formatCode="#,##0_);\(#,##0\);&quot;-  &quot;;&quot; &quot;@&quot; &quot;">
                  <c:v>10.219999999999999</c:v>
                </c:pt>
                <c:pt idx="787" formatCode="#,##0_);\(#,##0\);&quot;-  &quot;;&quot; &quot;@&quot; &quot;">
                  <c:v>10.840000000000003</c:v>
                </c:pt>
                <c:pt idx="788" formatCode="#,##0_);\(#,##0\);&quot;-  &quot;;&quot; &quot;@&quot; &quot;">
                  <c:v>10.105000000000004</c:v>
                </c:pt>
                <c:pt idx="789" formatCode="#,##0_);\(#,##0\);&quot;-  &quot;;&quot; &quot;@&quot; &quot;">
                  <c:v>11.385000000000005</c:v>
                </c:pt>
                <c:pt idx="790" formatCode="#,##0_);\(#,##0\);&quot;-  &quot;;&quot; &quot;@&quot; &quot;">
                  <c:v>11.864999999999995</c:v>
                </c:pt>
                <c:pt idx="791" formatCode="#,##0_);\(#,##0\);&quot;-  &quot;;&quot; &quot;@&quot; &quot;">
                  <c:v>12.170000000000002</c:v>
                </c:pt>
                <c:pt idx="792" formatCode="#,##0_);\(#,##0\);&quot;-  &quot;;&quot; &quot;@&quot; &quot;">
                  <c:v>10.945</c:v>
                </c:pt>
                <c:pt idx="793" formatCode="#,##0_);\(#,##0\);&quot;-  &quot;;&quot; &quot;@&quot; &quot;">
                  <c:v>11.470000000000006</c:v>
                </c:pt>
                <c:pt idx="794" formatCode="#,##0_);\(#,##0\);&quot;-  &quot;;&quot; &quot;@&quot; &quot;">
                  <c:v>11.155000000000001</c:v>
                </c:pt>
                <c:pt idx="795" formatCode="#,##0_);\(#,##0\);&quot;-  &quot;;&quot; &quot;@&quot; &quot;">
                  <c:v>10.799999999999997</c:v>
                </c:pt>
                <c:pt idx="796" formatCode="#,##0_);\(#,##0\);&quot;-  &quot;;&quot; &quot;@&quot; &quot;">
                  <c:v>10.810000000000002</c:v>
                </c:pt>
                <c:pt idx="797" formatCode="#,##0_);\(#,##0\);&quot;-  &quot;;&quot; &quot;@&quot; &quot;">
                  <c:v>10.759999999999998</c:v>
                </c:pt>
                <c:pt idx="798" formatCode="#,##0_);\(#,##0\);&quot;-  &quot;;&quot; &quot;@&quot; &quot;">
                  <c:v>10.935000000000002</c:v>
                </c:pt>
                <c:pt idx="799" formatCode="#,##0_);\(#,##0\);&quot;-  &quot;;&quot; &quot;@&quot; &quot;">
                  <c:v>11</c:v>
                </c:pt>
                <c:pt idx="800" formatCode="#,##0_);\(#,##0\);&quot;-  &quot;;&quot; &quot;@&quot; &quot;">
                  <c:v>10.959999999999994</c:v>
                </c:pt>
                <c:pt idx="801" formatCode="#,##0_);\(#,##0\);&quot;-  &quot;;&quot; &quot;@&quot; &quot;">
                  <c:v>11.039999999999992</c:v>
                </c:pt>
                <c:pt idx="802" formatCode="#,##0_);\(#,##0\);&quot;-  &quot;;&quot; &quot;@&quot; &quot;">
                  <c:v>10.609999999999992</c:v>
                </c:pt>
                <c:pt idx="803" formatCode="#,##0_);\(#,##0\);&quot;-  &quot;;&quot; &quot;@&quot; &quot;">
                  <c:v>10.25</c:v>
                </c:pt>
                <c:pt idx="804" formatCode="#,##0_);\(#,##0\);&quot;-  &quot;;&quot; &quot;@&quot; &quot;">
                  <c:v>10.805</c:v>
                </c:pt>
                <c:pt idx="805" formatCode="#,##0_);\(#,##0\);&quot;-  &quot;;&quot; &quot;@&quot; &quot;">
                  <c:v>10.164999999999992</c:v>
                </c:pt>
                <c:pt idx="806" formatCode="#,##0_);\(#,##0\);&quot;-  &quot;;&quot; &quot;@&quot; &quot;">
                  <c:v>9.7000000000000028</c:v>
                </c:pt>
                <c:pt idx="807" formatCode="#,##0_);\(#,##0\);&quot;-  &quot;;&quot; &quot;@&quot; &quot;">
                  <c:v>10.169999999999995</c:v>
                </c:pt>
                <c:pt idx="808" formatCode="#,##0_);\(#,##0\);&quot;-  &quot;;&quot; &quot;@&quot; &quot;">
                  <c:v>9.8699999999999974</c:v>
                </c:pt>
                <c:pt idx="809" formatCode="#,##0_);\(#,##0\);&quot;-  &quot;;&quot; &quot;@&quot; &quot;">
                  <c:v>9.8549999999999969</c:v>
                </c:pt>
                <c:pt idx="810" formatCode="#,##0_);\(#,##0\);&quot;-  &quot;;&quot; &quot;@&quot; &quot;">
                  <c:v>10.350000000000001</c:v>
                </c:pt>
                <c:pt idx="811" formatCode="#,##0_);\(#,##0\);&quot;-  &quot;;&quot; &quot;@&quot; &quot;">
                  <c:v>10.330000000000005</c:v>
                </c:pt>
                <c:pt idx="812" formatCode="#,##0_);\(#,##0\);&quot;-  &quot;;&quot; &quot;@&quot; &quot;">
                  <c:v>9.845000000000006</c:v>
                </c:pt>
                <c:pt idx="813" formatCode="#,##0_);\(#,##0\);&quot;-  &quot;;&quot; &quot;@&quot; &quot;">
                  <c:v>10.969999999999999</c:v>
                </c:pt>
                <c:pt idx="814" formatCode="#,##0_);\(#,##0\);&quot;-  &quot;;&quot; &quot;@&quot; &quot;">
                  <c:v>10.719999999999999</c:v>
                </c:pt>
                <c:pt idx="815" formatCode="#,##0_);\(#,##0\);&quot;-  &quot;;&quot; &quot;@&quot; &quot;">
                  <c:v>10.875000000000007</c:v>
                </c:pt>
                <c:pt idx="816" formatCode="#,##0_);\(#,##0\);&quot;-  &quot;;&quot; &quot;@&quot; &quot;">
                  <c:v>11.32</c:v>
                </c:pt>
                <c:pt idx="817" formatCode="#,##0_);\(#,##0\);&quot;-  &quot;;&quot; &quot;@&quot; &quot;">
                  <c:v>11.635000000000005</c:v>
                </c:pt>
                <c:pt idx="818" formatCode="#,##0_);\(#,##0\);&quot;-  &quot;;&quot; &quot;@&quot; &quot;">
                  <c:v>11.730000000000004</c:v>
                </c:pt>
                <c:pt idx="819" formatCode="#,##0_);\(#,##0\);&quot;-  &quot;;&quot; &quot;@&quot; &quot;">
                  <c:v>12.200000000000003</c:v>
                </c:pt>
                <c:pt idx="820" formatCode="#,##0_);\(#,##0\);&quot;-  &quot;;&quot; &quot;@&quot; &quot;">
                  <c:v>11.805000000000007</c:v>
                </c:pt>
                <c:pt idx="821" formatCode="#,##0_);\(#,##0\);&quot;-  &quot;;&quot; &quot;@&quot; &quot;">
                  <c:v>11.965000000000003</c:v>
                </c:pt>
                <c:pt idx="822" formatCode="#,##0_);\(#,##0\);&quot;-  &quot;;&quot; &quot;@&quot; &quot;">
                  <c:v>11.410000000000004</c:v>
                </c:pt>
                <c:pt idx="823" formatCode="#,##0_);\(#,##0\);&quot;-  &quot;;&quot; &quot;@&quot; &quot;">
                  <c:v>11.729999999999997</c:v>
                </c:pt>
                <c:pt idx="824" formatCode="#,##0_);\(#,##0\);&quot;-  &quot;;&quot; &quot;@&quot; &quot;">
                  <c:v>12.030000000000001</c:v>
                </c:pt>
                <c:pt idx="825" formatCode="#,##0_);\(#,##0\);&quot;-  &quot;;&quot; &quot;@&quot; &quot;">
                  <c:v>12.030000000000001</c:v>
                </c:pt>
                <c:pt idx="826" formatCode="#,##0_);\(#,##0\);&quot;-  &quot;;&quot; &quot;@&quot; &quot;">
                  <c:v>11.809999999999995</c:v>
                </c:pt>
                <c:pt idx="827" formatCode="#,##0_);\(#,##0\);&quot;-  &quot;;&quot; &quot;@&quot; &quot;">
                  <c:v>11.040000000000006</c:v>
                </c:pt>
                <c:pt idx="828" formatCode="#,##0_);\(#,##0\);&quot;-  &quot;;&quot; &quot;@&quot; &quot;">
                  <c:v>11.240000000000009</c:v>
                </c:pt>
                <c:pt idx="829" formatCode="#,##0_);\(#,##0\);&quot;-  &quot;;&quot; &quot;@&quot; &quot;">
                  <c:v>11.310000000000002</c:v>
                </c:pt>
                <c:pt idx="830" formatCode="#,##0_);\(#,##0\);&quot;-  &quot;;&quot; &quot;@&quot; &quot;">
                  <c:v>11.510000000000005</c:v>
                </c:pt>
                <c:pt idx="831" formatCode="#,##0_);\(#,##0\);&quot;-  &quot;;&quot; &quot;@&quot; &quot;">
                  <c:v>11.660000000000004</c:v>
                </c:pt>
                <c:pt idx="832" formatCode="#,##0_);\(#,##0\);&quot;-  &quot;;&quot; &quot;@&quot; &quot;">
                  <c:v>12.039999999999992</c:v>
                </c:pt>
                <c:pt idx="833" formatCode="#,##0_);\(#,##0\);&quot;-  &quot;;&quot; &quot;@&quot; &quot;">
                  <c:v>10.875</c:v>
                </c:pt>
                <c:pt idx="834" formatCode="#,##0_);\(#,##0\);&quot;-  &quot;;&quot; &quot;@&quot; &quot;">
                  <c:v>10.805</c:v>
                </c:pt>
                <c:pt idx="835" formatCode="#,##0_);\(#,##0\);&quot;-  &quot;;&quot; &quot;@&quot; &quot;">
                  <c:v>10.82</c:v>
                </c:pt>
                <c:pt idx="836" formatCode="#,##0_);\(#,##0\);&quot;-  &quot;;&quot; &quot;@&quot; &quot;">
                  <c:v>10.509999999999991</c:v>
                </c:pt>
                <c:pt idx="837" formatCode="#,##0_);\(#,##0\);&quot;-  &quot;;&quot; &quot;@&quot; &quot;">
                  <c:v>10.454999999999998</c:v>
                </c:pt>
                <c:pt idx="838" formatCode="#,##0_);\(#,##0\);&quot;-  &quot;;&quot; &quot;@&quot; &quot;">
                  <c:v>10.155000000000001</c:v>
                </c:pt>
                <c:pt idx="839" formatCode="#,##0_);\(#,##0\);&quot;-  &quot;;&quot; &quot;@&quot; &quot;">
                  <c:v>11.25</c:v>
                </c:pt>
                <c:pt idx="840" formatCode="#,##0_);\(#,##0\);&quot;-  &quot;;&quot; &quot;@&quot; &quot;">
                  <c:v>10.435000000000002</c:v>
                </c:pt>
                <c:pt idx="841" formatCode="#,##0_);\(#,##0\);&quot;-  &quot;;&quot; &quot;@&quot; &quot;">
                  <c:v>10.550000000000004</c:v>
                </c:pt>
                <c:pt idx="842" formatCode="#,##0_);\(#,##0\);&quot;-  &quot;;&quot; &quot;@&quot; &quot;">
                  <c:v>10.935000000000002</c:v>
                </c:pt>
                <c:pt idx="843" formatCode="#,##0_);\(#,##0\);&quot;-  &quot;;&quot; &quot;@&quot; &quot;">
                  <c:v>10.54</c:v>
                </c:pt>
                <c:pt idx="844" formatCode="#,##0_);\(#,##0\);&quot;-  &quot;;&quot; &quot;@&quot; &quot;">
                  <c:v>10.64</c:v>
                </c:pt>
                <c:pt idx="845" formatCode="#,##0_);\(#,##0\);&quot;-  &quot;;&quot; &quot;@&quot; &quot;">
                  <c:v>10.380000000000003</c:v>
                </c:pt>
                <c:pt idx="846" formatCode="#,##0_);\(#,##0\);&quot;-  &quot;;&quot; &quot;@&quot; &quot;">
                  <c:v>10.230000000000004</c:v>
                </c:pt>
                <c:pt idx="847" formatCode="#,##0_);\(#,##0\);&quot;-  &quot;;&quot; &quot;@&quot; &quot;">
                  <c:v>10.71</c:v>
                </c:pt>
                <c:pt idx="848" formatCode="#,##0_);\(#,##0\);&quot;-  &quot;;&quot; &quot;@&quot; &quot;">
                  <c:v>10.559999999999995</c:v>
                </c:pt>
                <c:pt idx="849" formatCode="#,##0_);\(#,##0\);&quot;-  &quot;;&quot; &quot;@&quot; &quot;">
                  <c:v>10.295000000000002</c:v>
                </c:pt>
                <c:pt idx="850" formatCode="#,##0_);\(#,##0\);&quot;-  &quot;;&quot; &quot;@&quot; &quot;">
                  <c:v>10.659999999999997</c:v>
                </c:pt>
                <c:pt idx="851" formatCode="#,##0_);\(#,##0\);&quot;-  &quot;;&quot; &quot;@&quot; &quot;">
                  <c:v>10.744999999999997</c:v>
                </c:pt>
                <c:pt idx="852" formatCode="#,##0_);\(#,##0\);&quot;-  &quot;;&quot; &quot;@&quot; &quot;">
                  <c:v>10.605000000000004</c:v>
                </c:pt>
                <c:pt idx="853" formatCode="#,##0_);\(#,##0\);&quot;-  &quot;;&quot; &quot;@&quot; &quot;">
                  <c:v>10.990000000000002</c:v>
                </c:pt>
                <c:pt idx="854" formatCode="#,##0_);\(#,##0\);&quot;-  &quot;;&quot; &quot;@&quot; &quot;">
                  <c:v>10.914999999999999</c:v>
                </c:pt>
                <c:pt idx="855" formatCode="#,##0_);\(#,##0\);&quot;-  &quot;;&quot; &quot;@&quot; &quot;">
                  <c:v>11.555</c:v>
                </c:pt>
                <c:pt idx="856" formatCode="#,##0_);\(#,##0\);&quot;-  &quot;;&quot; &quot;@&quot; &quot;">
                  <c:v>11.334999999999994</c:v>
                </c:pt>
                <c:pt idx="857" formatCode="#,##0_);\(#,##0\);&quot;-  &quot;;&quot; &quot;@&quot; &quot;">
                  <c:v>10.864999999999995</c:v>
                </c:pt>
                <c:pt idx="858" formatCode="#,##0_);\(#,##0\);&quot;-  &quot;;&quot; &quot;@&quot; &quot;">
                  <c:v>11.514999999999993</c:v>
                </c:pt>
                <c:pt idx="859" formatCode="#,##0_);\(#,##0\);&quot;-  &quot;;&quot; &quot;@&quot; &quot;">
                  <c:v>11.609999999999992</c:v>
                </c:pt>
                <c:pt idx="860" formatCode="#,##0_);\(#,##0\);&quot;-  &quot;;&quot; &quot;@&quot; &quot;">
                  <c:v>11.890000000000008</c:v>
                </c:pt>
                <c:pt idx="861" formatCode="#,##0_);\(#,##0\);&quot;-  &quot;;&quot; &quot;@&quot; &quot;">
                  <c:v>11.555</c:v>
                </c:pt>
                <c:pt idx="862" formatCode="#,##0_);\(#,##0\);&quot;-  &quot;;&quot; &quot;@&quot; &quot;">
                  <c:v>11.964999999999996</c:v>
                </c:pt>
                <c:pt idx="863" formatCode="#,##0_);\(#,##0\);&quot;-  &quot;;&quot; &quot;@&quot; &quot;">
                  <c:v>12.405000000000001</c:v>
                </c:pt>
                <c:pt idx="864" formatCode="#,##0_);\(#,##0\);&quot;-  &quot;;&quot; &quot;@&quot; &quot;">
                  <c:v>12.015000000000001</c:v>
                </c:pt>
                <c:pt idx="865" formatCode="#,##0_);\(#,##0\);&quot;-  &quot;;&quot; &quot;@&quot; &quot;">
                  <c:v>12.950000000000003</c:v>
                </c:pt>
                <c:pt idx="866" formatCode="#,##0_);\(#,##0\);&quot;-  &quot;;&quot; &quot;@&quot; &quot;">
                  <c:v>12.39</c:v>
                </c:pt>
                <c:pt idx="867" formatCode="#,##0_);\(#,##0\);&quot;-  &quot;;&quot; &quot;@&quot; &quot;">
                  <c:v>12.174999999999997</c:v>
                </c:pt>
                <c:pt idx="868" formatCode="#,##0_);\(#,##0\);&quot;-  &quot;;&quot; &quot;@&quot; &quot;">
                  <c:v>12.870000000000005</c:v>
                </c:pt>
                <c:pt idx="869" formatCode="#,##0_);\(#,##0\);&quot;-  &quot;;&quot; &quot;@&quot; &quot;">
                  <c:v>12.875</c:v>
                </c:pt>
                <c:pt idx="870" formatCode="#,##0_);\(#,##0\);&quot;-  &quot;;&quot; &quot;@&quot; &quot;">
                  <c:v>12.664999999999999</c:v>
                </c:pt>
                <c:pt idx="871" formatCode="#,##0_);\(#,##0\);&quot;-  &quot;;&quot; &quot;@&quot; &quot;">
                  <c:v>12.035000000000004</c:v>
                </c:pt>
                <c:pt idx="872" formatCode="#,##0_);\(#,##0\);&quot;-  &quot;;&quot; &quot;@&quot; &quot;">
                  <c:v>11.354999999999997</c:v>
                </c:pt>
                <c:pt idx="873" formatCode="#,##0_);\(#,##0\);&quot;-  &quot;;&quot; &quot;@&quot; &quot;">
                  <c:v>11.475000000000001</c:v>
                </c:pt>
                <c:pt idx="874" formatCode="#,##0_);\(#,##0\);&quot;-  &quot;;&quot; &quot;@&quot; &quot;">
                  <c:v>10.600000000000001</c:v>
                </c:pt>
                <c:pt idx="875" formatCode="#,##0_);\(#,##0\);&quot;-  &quot;;&quot; &quot;@&quot; &quot;">
                  <c:v>10.880000000000003</c:v>
                </c:pt>
                <c:pt idx="876" formatCode="#,##0_);\(#,##0\);&quot;-  &quot;;&quot; &quot;@&quot; &quot;">
                  <c:v>10.07</c:v>
                </c:pt>
                <c:pt idx="877" formatCode="#,##0_);\(#,##0\);&quot;-  &quot;;&quot; &quot;@&quot; &quot;">
                  <c:v>10.534999999999997</c:v>
                </c:pt>
                <c:pt idx="878" formatCode="#,##0_);\(#,##0\);&quot;-  &quot;;&quot; &quot;@&quot; &quot;">
                  <c:v>9.93</c:v>
                </c:pt>
                <c:pt idx="879" formatCode="#,##0_);\(#,##0\);&quot;-  &quot;;&quot; &quot;@&quot; &quot;">
                  <c:v>10.145000000000003</c:v>
                </c:pt>
                <c:pt idx="880" formatCode="#,##0_);\(#,##0\);&quot;-  &quot;;&quot; &quot;@&quot; &quot;">
                  <c:v>11.145000000000003</c:v>
                </c:pt>
                <c:pt idx="881" formatCode="#,##0_);\(#,##0\);&quot;-  &quot;;&quot; &quot;@&quot; &quot;">
                  <c:v>10.774999999999999</c:v>
                </c:pt>
                <c:pt idx="882" formatCode="#,##0_);\(#,##0\);&quot;-  &quot;;&quot; &quot;@&quot; &quot;">
                  <c:v>10.310000000000002</c:v>
                </c:pt>
                <c:pt idx="883" formatCode="#,##0_);\(#,##0\);&quot;-  &quot;;&quot; &quot;@&quot; &quot;">
                  <c:v>10.020000000000003</c:v>
                </c:pt>
                <c:pt idx="884" formatCode="#,##0_);\(#,##0\);&quot;-  &quot;;&quot; &quot;@&quot; &quot;">
                  <c:v>10.160000000000004</c:v>
                </c:pt>
                <c:pt idx="885" formatCode="#,##0_);\(#,##0\);&quot;-  &quot;;&quot; &quot;@&quot; &quot;">
                  <c:v>9.14</c:v>
                </c:pt>
                <c:pt idx="886" formatCode="#,##0_);\(#,##0\);&quot;-  &quot;;&quot; &quot;@&quot; &quot;">
                  <c:v>9.68</c:v>
                </c:pt>
                <c:pt idx="887" formatCode="#,##0_);\(#,##0\);&quot;-  &quot;;&quot; &quot;@&quot; &quot;">
                  <c:v>9.7250000000000014</c:v>
                </c:pt>
                <c:pt idx="888" formatCode="#,##0_);\(#,##0\);&quot;-  &quot;;&quot; &quot;@&quot; &quot;">
                  <c:v>9.8299999999999983</c:v>
                </c:pt>
                <c:pt idx="889" formatCode="#,##0_);\(#,##0\);&quot;-  &quot;;&quot; &quot;@&quot; &quot;">
                  <c:v>10.399999999999999</c:v>
                </c:pt>
                <c:pt idx="890" formatCode="#,##0_);\(#,##0\);&quot;-  &quot;;&quot; &quot;@&quot; &quot;">
                  <c:v>10.575000000000003</c:v>
                </c:pt>
                <c:pt idx="891" formatCode="#,##0_);\(#,##0\);&quot;-  &quot;;&quot; &quot;@&quot; &quot;">
                  <c:v>10.715000000000003</c:v>
                </c:pt>
                <c:pt idx="892" formatCode="#,##0_);\(#,##0\);&quot;-  &quot;;&quot; &quot;@&quot; &quot;">
                  <c:v>10.985000000000007</c:v>
                </c:pt>
                <c:pt idx="893" formatCode="#,##0_);\(#,##0\);&quot;-  &quot;;&quot; &quot;@&quot; &quot;">
                  <c:v>10.725000000000001</c:v>
                </c:pt>
                <c:pt idx="894" formatCode="#,##0_);\(#,##0\);&quot;-  &quot;;&quot; &quot;@&quot; &quot;">
                  <c:v>11.009999999999998</c:v>
                </c:pt>
                <c:pt idx="895" formatCode="#,##0_);\(#,##0\);&quot;-  &quot;;&quot; &quot;@&quot; &quot;">
                  <c:v>11.114999999999995</c:v>
                </c:pt>
                <c:pt idx="896" formatCode="#,##0_);\(#,##0\);&quot;-  &quot;;&quot; &quot;@&quot; &quot;">
                  <c:v>11.090000000000003</c:v>
                </c:pt>
                <c:pt idx="897" formatCode="#,##0_);\(#,##0\);&quot;-  &quot;;&quot; &quot;@&quot; &quot;">
                  <c:v>10.07</c:v>
                </c:pt>
                <c:pt idx="898" formatCode="#,##0_);\(#,##0\);&quot;-  &quot;;&quot; &quot;@&quot; &quot;">
                  <c:v>9.8500000000000014</c:v>
                </c:pt>
                <c:pt idx="899" formatCode="#,##0_);\(#,##0\);&quot;-  &quot;;&quot; &quot;@&quot; &quot;">
                  <c:v>9.9349999999999952</c:v>
                </c:pt>
                <c:pt idx="900" formatCode="#,##0_);\(#,##0\);&quot;-  &quot;;&quot; &quot;@&quot; &quot;">
                  <c:v>9.4050000000000011</c:v>
                </c:pt>
                <c:pt idx="901" formatCode="#,##0_);\(#,##0\);&quot;-  &quot;;&quot; &quot;@&quot; &quot;">
                  <c:v>9.2149999999999963</c:v>
                </c:pt>
                <c:pt idx="902" formatCode="#,##0_);\(#,##0\);&quot;-  &quot;;&quot; &quot;@&quot; &quot;">
                  <c:v>9.8449999999999989</c:v>
                </c:pt>
                <c:pt idx="903" formatCode="#,##0_);\(#,##0\);&quot;-  &quot;;&quot; &quot;@&quot; &quot;">
                  <c:v>9.7850000000000037</c:v>
                </c:pt>
                <c:pt idx="904" formatCode="#,##0_);\(#,##0\);&quot;-  &quot;;&quot; &quot;@&quot; &quot;">
                  <c:v>9.6550000000000011</c:v>
                </c:pt>
                <c:pt idx="905" formatCode="#,##0_);\(#,##0\);&quot;-  &quot;;&quot; &quot;@&quot; &quot;">
                  <c:v>10.594999999999999</c:v>
                </c:pt>
                <c:pt idx="906" formatCode="#,##0_);\(#,##0\);&quot;-  &quot;;&quot; &quot;@&quot; &quot;">
                  <c:v>10.75</c:v>
                </c:pt>
                <c:pt idx="907" formatCode="#,##0_);\(#,##0\);&quot;-  &quot;;&quot; &quot;@&quot; &quot;">
                  <c:v>10.645000000000003</c:v>
                </c:pt>
                <c:pt idx="908" formatCode="#,##0_);\(#,##0\);&quot;-  &quot;;&quot; &quot;@&quot; &quot;">
                  <c:v>10.875</c:v>
                </c:pt>
                <c:pt idx="909" formatCode="#,##0_);\(#,##0\);&quot;-  &quot;;&quot; &quot;@&quot; &quot;">
                  <c:v>10.504999999999995</c:v>
                </c:pt>
                <c:pt idx="910" formatCode="#,##0_);\(#,##0\);&quot;-  &quot;;&quot; &quot;@&quot; &quot;">
                  <c:v>11.649999999999999</c:v>
                </c:pt>
                <c:pt idx="911" formatCode="#,##0_);\(#,##0\);&quot;-  &quot;;&quot; &quot;@&quot; &quot;">
                  <c:v>10.61</c:v>
                </c:pt>
                <c:pt idx="912" formatCode="#,##0_);\(#,##0\);&quot;-  &quot;;&quot; &quot;@&quot; &quot;">
                  <c:v>10.490000000000002</c:v>
                </c:pt>
                <c:pt idx="913" formatCode="#,##0_);\(#,##0\);&quot;-  &quot;;&quot; &quot;@&quot; &quot;">
                  <c:v>10.824999999999996</c:v>
                </c:pt>
                <c:pt idx="914" formatCode="#,##0_);\(#,##0\);&quot;-  &quot;;&quot; &quot;@&quot; &quot;">
                  <c:v>10.75</c:v>
                </c:pt>
                <c:pt idx="915" formatCode="#,##0_);\(#,##0\);&quot;-  &quot;;&quot; &quot;@&quot; &quot;">
                  <c:v>10.675000000000004</c:v>
                </c:pt>
                <c:pt idx="916" formatCode="#,##0_);\(#,##0\);&quot;-  &quot;;&quot; &quot;@&quot; &quot;">
                  <c:v>10.994999999999997</c:v>
                </c:pt>
                <c:pt idx="917" formatCode="#,##0_);\(#,##0\);&quot;-  &quot;;&quot; &quot;@&quot; &quot;">
                  <c:v>11.305</c:v>
                </c:pt>
                <c:pt idx="918" formatCode="#,##0_);\(#,##0\);&quot;-  &quot;;&quot; &quot;@&quot; &quot;">
                  <c:v>11.759999999999998</c:v>
                </c:pt>
                <c:pt idx="919" formatCode="#,##0_);\(#,##0\);&quot;-  &quot;;&quot; &quot;@&quot; &quot;">
                  <c:v>11.029999999999994</c:v>
                </c:pt>
                <c:pt idx="920" formatCode="#,##0_);\(#,##0\);&quot;-  &quot;;&quot; &quot;@&quot; &quot;">
                  <c:v>11.055000000000007</c:v>
                </c:pt>
                <c:pt idx="921" formatCode="#,##0_);\(#,##0\);&quot;-  &quot;;&quot; &quot;@&quot; &quot;">
                  <c:v>12.274999999999999</c:v>
                </c:pt>
                <c:pt idx="922" formatCode="#,##0_);\(#,##0\);&quot;-  &quot;;&quot; &quot;@&quot; &quot;">
                  <c:v>11.5</c:v>
                </c:pt>
                <c:pt idx="923" formatCode="#,##0_);\(#,##0\);&quot;-  &quot;;&quot; &quot;@&quot; &quot;">
                  <c:v>11.805</c:v>
                </c:pt>
                <c:pt idx="924" formatCode="#,##0_);\(#,##0\);&quot;-  &quot;;&quot; &quot;@&quot; &quot;">
                  <c:v>11.909999999999997</c:v>
                </c:pt>
                <c:pt idx="925" formatCode="#,##0_);\(#,##0\);&quot;-  &quot;;&quot; &quot;@&quot; &quot;">
                  <c:v>12.715000000000003</c:v>
                </c:pt>
                <c:pt idx="926" formatCode="#,##0_);\(#,##0\);&quot;-  &quot;;&quot; &quot;@&quot; &quot;">
                  <c:v>12.774999999999999</c:v>
                </c:pt>
                <c:pt idx="927" formatCode="#,##0_);\(#,##0\);&quot;-  &quot;;&quot; &quot;@&quot; &quot;">
                  <c:v>11.974999999999994</c:v>
                </c:pt>
                <c:pt idx="928" formatCode="#,##0_);\(#,##0\);&quot;-  &quot;;&quot; &quot;@&quot; &quot;">
                  <c:v>12.560000000000002</c:v>
                </c:pt>
                <c:pt idx="929" formatCode="#,##0_);\(#,##0\);&quot;-  &quot;;&quot; &quot;@&quot; &quot;">
                  <c:v>12.674999999999997</c:v>
                </c:pt>
                <c:pt idx="930" formatCode="#,##0_);\(#,##0\);&quot;-  &quot;;&quot; &quot;@&quot; &quot;">
                  <c:v>12.86</c:v>
                </c:pt>
                <c:pt idx="931" formatCode="#,##0_);\(#,##0\);&quot;-  &quot;;&quot; &quot;@&quot; &quot;">
                  <c:v>13.075000000000003</c:v>
                </c:pt>
                <c:pt idx="932" formatCode="#,##0_);\(#,##0\);&quot;-  &quot;;&quot; &quot;@&quot; &quot;">
                  <c:v>13.660000000000004</c:v>
                </c:pt>
                <c:pt idx="933" formatCode="#,##0_);\(#,##0\);&quot;-  &quot;;&quot; &quot;@&quot; &quot;">
                  <c:v>13.5</c:v>
                </c:pt>
                <c:pt idx="934" formatCode="#,##0_);\(#,##0\);&quot;-  &quot;;&quot; &quot;@&quot; &quot;">
                  <c:v>12.954999999999998</c:v>
                </c:pt>
                <c:pt idx="935" formatCode="#,##0_);\(#,##0\);&quot;-  &quot;;&quot; &quot;@&quot; &quot;">
                  <c:v>13.135000000000005</c:v>
                </c:pt>
                <c:pt idx="936" formatCode="#,##0_);\(#,##0\);&quot;-  &quot;;&quot; &quot;@&quot; &quot;">
                  <c:v>13.719999999999999</c:v>
                </c:pt>
                <c:pt idx="937" formatCode="#,##0_);\(#,##0\);&quot;-  &quot;;&quot; &quot;@&quot; &quot;">
                  <c:v>13.54</c:v>
                </c:pt>
                <c:pt idx="938" formatCode="#,##0_);\(#,##0\);&quot;-  &quot;;&quot; &quot;@&quot; &quot;">
                  <c:v>13.655000000000001</c:v>
                </c:pt>
                <c:pt idx="939" formatCode="#,##0_);\(#,##0\);&quot;-  &quot;;&quot; &quot;@&quot; &quot;">
                  <c:v>14.695000000000007</c:v>
                </c:pt>
                <c:pt idx="940" formatCode="#,##0_);\(#,##0\);&quot;-  &quot;;&quot; &quot;@&quot; &quot;">
                  <c:v>14.994999999999997</c:v>
                </c:pt>
                <c:pt idx="941" formatCode="#,##0_);\(#,##0\);&quot;-  &quot;;&quot; &quot;@&quot; &quot;">
                  <c:v>13.909999999999997</c:v>
                </c:pt>
                <c:pt idx="942" formatCode="#,##0_);\(#,##0\);&quot;-  &quot;;&quot; &quot;@&quot; &quot;">
                  <c:v>13.045000000000002</c:v>
                </c:pt>
                <c:pt idx="943" formatCode="#,##0_);\(#,##0\);&quot;-  &quot;;&quot; &quot;@&quot; &quot;">
                  <c:v>13.270000000000003</c:v>
                </c:pt>
                <c:pt idx="944" formatCode="#,##0_);\(#,##0\);&quot;-  &quot;;&quot; &quot;@&quot; &quot;">
                  <c:v>13.765000000000001</c:v>
                </c:pt>
                <c:pt idx="945" formatCode="#,##0_);\(#,##0\);&quot;-  &quot;;&quot; &quot;@&quot; &quot;">
                  <c:v>13.035000000000004</c:v>
                </c:pt>
                <c:pt idx="946" formatCode="#,##0_);\(#,##0\);&quot;-  &quot;;&quot; &quot;@&quot; &quot;">
                  <c:v>13.64</c:v>
                </c:pt>
                <c:pt idx="947" formatCode="#,##0_);\(#,##0\);&quot;-  &quot;;&quot; &quot;@&quot; &quot;">
                  <c:v>13.065000000000005</c:v>
                </c:pt>
                <c:pt idx="948" formatCode="#,##0_);\(#,##0\);&quot;-  &quot;;&quot; &quot;@&quot; &quot;">
                  <c:v>13.314999999999998</c:v>
                </c:pt>
                <c:pt idx="949" formatCode="#,##0_);\(#,##0\);&quot;-  &quot;;&quot; &quot;@&quot; &quot;">
                  <c:v>13.430000000000007</c:v>
                </c:pt>
                <c:pt idx="950" formatCode="#,##0_);\(#,##0\);&quot;-  &quot;;&quot; &quot;@&quot; &quot;">
                  <c:v>14.245000000000005</c:v>
                </c:pt>
                <c:pt idx="951" formatCode="#,##0_);\(#,##0\);&quot;-  &quot;;&quot; &quot;@&quot; &quot;">
                  <c:v>13.530000000000001</c:v>
                </c:pt>
                <c:pt idx="952" formatCode="#,##0_);\(#,##0\);&quot;-  &quot;;&quot; &quot;@&quot; &quot;">
                  <c:v>13.599999999999994</c:v>
                </c:pt>
                <c:pt idx="953" formatCode="#,##0_);\(#,##0\);&quot;-  &quot;;&quot; &quot;@&quot; &quot;">
                  <c:v>13.785000000000004</c:v>
                </c:pt>
                <c:pt idx="954" formatCode="#,##0_);\(#,##0\);&quot;-  &quot;;&quot; &quot;@&quot; &quot;">
                  <c:v>12.555</c:v>
                </c:pt>
                <c:pt idx="955" formatCode="#,##0_);\(#,##0\);&quot;-  &quot;;&quot; &quot;@&quot; &quot;">
                  <c:v>12.730000000000004</c:v>
                </c:pt>
                <c:pt idx="956" formatCode="#,##0_);\(#,##0\);&quot;-  &quot;;&quot; &quot;@&quot; &quot;">
                  <c:v>13.334999999999994</c:v>
                </c:pt>
                <c:pt idx="957" formatCode="#,##0_);\(#,##0\);&quot;-  &quot;;&quot; &quot;@&quot; &quot;">
                  <c:v>14.25</c:v>
                </c:pt>
                <c:pt idx="958" formatCode="#,##0_);\(#,##0\);&quot;-  &quot;;&quot; &quot;@&quot; &quot;">
                  <c:v>14.114999999999995</c:v>
                </c:pt>
                <c:pt idx="959" formatCode="#,##0_);\(#,##0\);&quot;-  &quot;;&quot; &quot;@&quot; &quot;">
                  <c:v>15.260000000000005</c:v>
                </c:pt>
                <c:pt idx="960" formatCode="#,##0_);\(#,##0\);&quot;-  &quot;;&quot; &quot;@&quot; &quot;">
                  <c:v>16.629999999999995</c:v>
                </c:pt>
                <c:pt idx="961" formatCode="#,##0_);\(#,##0\);&quot;-  &quot;;&quot; &quot;@&quot; &quot;">
                  <c:v>19.274999999999999</c:v>
                </c:pt>
                <c:pt idx="962" formatCode="#,##0_);\(#,##0\);&quot;-  &quot;;&quot; &quot;@&quot; &quot;">
                  <c:v>21.435000000000002</c:v>
                </c:pt>
                <c:pt idx="963" formatCode="#,##0_);\(#,##0\);&quot;-  &quot;;&quot; &quot;@&quot; &quot;">
                  <c:v>19.864999999999995</c:v>
                </c:pt>
                <c:pt idx="964" formatCode="#,##0_);\(#,##0\);&quot;-  &quot;;&quot; &quot;@&quot; &quot;">
                  <c:v>20.230000000000004</c:v>
                </c:pt>
                <c:pt idx="965" formatCode="#,##0_);\(#,##0\);&quot;-  &quot;;&quot; &quot;@&quot; &quot;">
                  <c:v>19.274999999999999</c:v>
                </c:pt>
                <c:pt idx="966" formatCode="#,##0_);\(#,##0\);&quot;-  &quot;;&quot; &quot;@&quot; &quot;">
                  <c:v>18.315000000000005</c:v>
                </c:pt>
                <c:pt idx="967" formatCode="#,##0_);\(#,##0\);&quot;-  &quot;;&quot; &quot;@&quot; &quot;">
                  <c:v>19.004999999999995</c:v>
                </c:pt>
                <c:pt idx="968" formatCode="#,##0_);\(#,##0\);&quot;-  &quot;;&quot; &quot;@&quot; &quot;">
                  <c:v>17.630000000000003</c:v>
                </c:pt>
                <c:pt idx="969" formatCode="#,##0_);\(#,##0\);&quot;-  &quot;;&quot; &quot;@&quot; &quot;">
                  <c:v>16.260000000000005</c:v>
                </c:pt>
                <c:pt idx="970" formatCode="#,##0_);\(#,##0\);&quot;-  &quot;;&quot; &quot;@&quot; &quot;">
                  <c:v>14.420000000000002</c:v>
                </c:pt>
                <c:pt idx="971" formatCode="#,##0_);\(#,##0\);&quot;-  &quot;;&quot; &quot;@&quot; &quot;">
                  <c:v>14.329999999999998</c:v>
                </c:pt>
                <c:pt idx="972" formatCode="#,##0_);\(#,##0\);&quot;-  &quot;;&quot; &quot;@&quot; &quot;">
                  <c:v>13.954999999999998</c:v>
                </c:pt>
                <c:pt idx="973" formatCode="#,##0_);\(#,##0\);&quot;-  &quot;;&quot; &quot;@&quot; &quot;">
                  <c:v>14.655000000000001</c:v>
                </c:pt>
                <c:pt idx="974" formatCode="#,##0_);\(#,##0\);&quot;-  &quot;;&quot; &quot;@&quot; &quot;">
                  <c:v>15.244999999999997</c:v>
                </c:pt>
                <c:pt idx="975" formatCode="#,##0_);\(#,##0\);&quot;-  &quot;;&quot; &quot;@&quot; &quot;">
                  <c:v>14.484999999999999</c:v>
                </c:pt>
                <c:pt idx="976" formatCode="#,##0_);\(#,##0\);&quot;-  &quot;;&quot; &quot;@&quot; &quot;">
                  <c:v>14.415000000000006</c:v>
                </c:pt>
                <c:pt idx="977" formatCode="#,##0_);\(#,##0\);&quot;-  &quot;;&quot; &quot;@&quot; &quot;">
                  <c:v>14.140000000000008</c:v>
                </c:pt>
                <c:pt idx="978" formatCode="#,##0_);\(#,##0\);&quot;-  &quot;;&quot; &quot;@&quot; &quot;">
                  <c:v>13.600000000000009</c:v>
                </c:pt>
                <c:pt idx="979" formatCode="#,##0_);\(#,##0\);&quot;-  &quot;;&quot; &quot;@&quot; &quot;">
                  <c:v>12.96</c:v>
                </c:pt>
                <c:pt idx="980" formatCode="#,##0_);\(#,##0\);&quot;-  &quot;;&quot; &quot;@&quot; &quot;">
                  <c:v>13.310000000000002</c:v>
                </c:pt>
                <c:pt idx="981" formatCode="#,##0_);\(#,##0\);&quot;-  &quot;;&quot; &quot;@&quot; &quot;">
                  <c:v>14.045000000000002</c:v>
                </c:pt>
                <c:pt idx="982" formatCode="#,##0_);\(#,##0\);&quot;-  &quot;;&quot; &quot;@&quot; &quot;">
                  <c:v>14.325000000000003</c:v>
                </c:pt>
                <c:pt idx="983" formatCode="#,##0_);\(#,##0\);&quot;-  &quot;;&quot; &quot;@&quot; &quot;">
                  <c:v>14.829999999999998</c:v>
                </c:pt>
                <c:pt idx="984" formatCode="#,##0_);\(#,##0\);&quot;-  &quot;;&quot; &quot;@&quot; &quot;">
                  <c:v>14.225000000000009</c:v>
                </c:pt>
                <c:pt idx="985" formatCode="#,##0_);\(#,##0\);&quot;-  &quot;;&quot; &quot;@&quot; &quot;">
                  <c:v>12.834999999999994</c:v>
                </c:pt>
                <c:pt idx="986" formatCode="#,##0_);\(#,##0\);&quot;-  &quot;;&quot; &quot;@&quot; &quot;">
                  <c:v>13.045000000000002</c:v>
                </c:pt>
                <c:pt idx="987" formatCode="#,##0_);\(#,##0\);&quot;-  &quot;;&quot; &quot;@&quot; &quot;">
                  <c:v>13.204999999999998</c:v>
                </c:pt>
                <c:pt idx="988" formatCode="#,##0_);\(#,##0\);&quot;-  &quot;;&quot; &quot;@&quot; &quot;">
                  <c:v>13.894999999999996</c:v>
                </c:pt>
                <c:pt idx="989" formatCode="#,##0_);\(#,##0\);&quot;-  &quot;;&quot; &quot;@&quot; &quot;">
                  <c:v>12.895000000000003</c:v>
                </c:pt>
                <c:pt idx="990" formatCode="#,##0_);\(#,##0\);&quot;-  &quot;;&quot; &quot;@&quot; &quot;">
                  <c:v>12.544999999999995</c:v>
                </c:pt>
                <c:pt idx="991" formatCode="#,##0_);\(#,##0\);&quot;-  &quot;;&quot; &quot;@&quot; &quot;">
                  <c:v>13.569999999999993</c:v>
                </c:pt>
                <c:pt idx="992" formatCode="#,##0_);\(#,##0\);&quot;-  &quot;;&quot; &quot;@&quot; &quot;">
                  <c:v>13.415000000000006</c:v>
                </c:pt>
                <c:pt idx="993" formatCode="#,##0_);\(#,##0\);&quot;-  &quot;;&quot; &quot;@&quot; &quot;">
                  <c:v>13.370000000000005</c:v>
                </c:pt>
                <c:pt idx="994" formatCode="#,##0_);\(#,##0\);&quot;-  &quot;;&quot; &quot;@&quot; &quot;">
                  <c:v>13.034999999999997</c:v>
                </c:pt>
                <c:pt idx="995" formatCode="#,##0_);\(#,##0\);&quot;-  &quot;;&quot; &quot;@&quot; &quot;">
                  <c:v>13.205000000000005</c:v>
                </c:pt>
                <c:pt idx="996" formatCode="#,##0_);\(#,##0\);&quot;-  &quot;;&quot; &quot;@&quot; &quot;">
                  <c:v>12.979999999999997</c:v>
                </c:pt>
                <c:pt idx="997" formatCode="#,##0_);\(#,##0\);&quot;-  &quot;;&quot; &quot;@&quot; &quot;">
                  <c:v>12.354999999999997</c:v>
                </c:pt>
                <c:pt idx="998" formatCode="#,##0_);\(#,##0\);&quot;-  &quot;;&quot; &quot;@&quot; &quot;">
                  <c:v>12.984999999999999</c:v>
                </c:pt>
                <c:pt idx="999" formatCode="#,##0_);\(#,##0\);&quot;-  &quot;;&quot; &quot;@&quot; &quot;">
                  <c:v>12.350000000000001</c:v>
                </c:pt>
                <c:pt idx="1000" formatCode="#,##0_);\(#,##0\);&quot;-  &quot;;&quot; &quot;@&quot; &quot;">
                  <c:v>12.770000000000003</c:v>
                </c:pt>
                <c:pt idx="1001" formatCode="#,##0_);\(#,##0\);&quot;-  &quot;;&quot; &quot;@&quot; &quot;">
                  <c:v>12.824999999999996</c:v>
                </c:pt>
                <c:pt idx="1002" formatCode="#,##0_);\(#,##0\);&quot;-  &quot;;&quot; &quot;@&quot; &quot;">
                  <c:v>12.744999999999997</c:v>
                </c:pt>
                <c:pt idx="1003" formatCode="#,##0_);\(#,##0\);&quot;-  &quot;;&quot; &quot;@&quot; &quot;">
                  <c:v>12.535000000000004</c:v>
                </c:pt>
                <c:pt idx="1004" formatCode="#,##0_);\(#,##0\);&quot;-  &quot;;&quot; &quot;@&quot; &quot;">
                  <c:v>12.905000000000001</c:v>
                </c:pt>
                <c:pt idx="1005" formatCode="#,##0_);\(#,##0\);&quot;-  &quot;;&quot; &quot;@&quot; &quot;">
                  <c:v>12.649999999999999</c:v>
                </c:pt>
                <c:pt idx="1006" formatCode="#,##0_);\(#,##0\);&quot;-  &quot;;&quot; &quot;@&quot; &quot;">
                  <c:v>12.749999999999993</c:v>
                </c:pt>
                <c:pt idx="1007" formatCode="#,##0_);\(#,##0\);&quot;-  &quot;;&quot; &quot;@&quot; &quot;">
                  <c:v>12.725000000000001</c:v>
                </c:pt>
                <c:pt idx="1008" formatCode="#,##0_);\(#,##0\);&quot;-  &quot;;&quot; &quot;@&quot; &quot;">
                  <c:v>12.825000000000003</c:v>
                </c:pt>
                <c:pt idx="1009" formatCode="#,##0_);\(#,##0\);&quot;-  &quot;;&quot; &quot;@&quot; &quot;">
                  <c:v>12.330000000000013</c:v>
                </c:pt>
                <c:pt idx="1010" formatCode="#,##0_);\(#,##0\);&quot;-  &quot;;&quot; &quot;@&quot; &quot;">
                  <c:v>12.405000000000001</c:v>
                </c:pt>
                <c:pt idx="1011" formatCode="#,##0_);\(#,##0\);&quot;-  &quot;;&quot; &quot;@&quot; &quot;">
                  <c:v>12.269999999999996</c:v>
                </c:pt>
                <c:pt idx="1012" formatCode="#,##0_);\(#,##0\);&quot;-  &quot;;&quot; &quot;@&quot; &quot;">
                  <c:v>12.375</c:v>
                </c:pt>
                <c:pt idx="1013" formatCode="#,##0_);\(#,##0\);&quot;-  &quot;;&quot; &quot;@&quot; &quot;">
                  <c:v>12.364999999999995</c:v>
                </c:pt>
                <c:pt idx="1014" formatCode="#,##0_);\(#,##0\);&quot;-  &quot;;&quot; &quot;@&quot; &quot;">
                  <c:v>13.064999999999998</c:v>
                </c:pt>
                <c:pt idx="1015" formatCode="#,##0_);\(#,##0\);&quot;-  &quot;;&quot; &quot;@&quot; &quot;">
                  <c:v>13.970000000000006</c:v>
                </c:pt>
                <c:pt idx="1016" formatCode="#,##0_);\(#,##0\);&quot;-  &quot;;&quot; &quot;@&quot; &quot;">
                  <c:v>13.71</c:v>
                </c:pt>
                <c:pt idx="1017" formatCode="#,##0_);\(#,##0\);&quot;-  &quot;;&quot; &quot;@&quot; &quot;">
                  <c:v>14.024999999999999</c:v>
                </c:pt>
                <c:pt idx="1018" formatCode="#,##0_);\(#,##0\);&quot;-  &quot;;&quot; &quot;@&quot; &quot;">
                  <c:v>14.590000000000003</c:v>
                </c:pt>
                <c:pt idx="1019" formatCode="#,##0_);\(#,##0\);&quot;-  &quot;;&quot; &quot;@&quot; &quot;">
                  <c:v>14.834999999999994</c:v>
                </c:pt>
                <c:pt idx="1020" formatCode="#,##0_);\(#,##0\);&quot;-  &quot;;&quot; &quot;@&quot; &quot;">
                  <c:v>14.630000000000003</c:v>
                </c:pt>
                <c:pt idx="1021" formatCode="#,##0_);\(#,##0\);&quot;-  &quot;;&quot; &quot;@&quot; &quot;">
                  <c:v>14.540000000000006</c:v>
                </c:pt>
                <c:pt idx="1022" formatCode="#,##0_);\(#,##0\);&quot;-  &quot;;&quot; &quot;@&quot; &quot;">
                  <c:v>14.149999999999991</c:v>
                </c:pt>
                <c:pt idx="1023" formatCode="#,##0_);\(#,##0\);&quot;-  &quot;;&quot; &quot;@&quot; &quot;">
                  <c:v>13.765000000000001</c:v>
                </c:pt>
                <c:pt idx="1024" formatCode="#,##0_);\(#,##0\);&quot;-  &quot;;&quot; &quot;@&quot; &quot;">
                  <c:v>14.085000000000008</c:v>
                </c:pt>
                <c:pt idx="1025" formatCode="#,##0_);\(#,##0\);&quot;-  &quot;;&quot; &quot;@&quot; &quot;">
                  <c:v>13.505000000000003</c:v>
                </c:pt>
                <c:pt idx="1026" formatCode="#,##0_);\(#,##0\);&quot;-  &quot;;&quot; &quot;@&quot; &quot;">
                  <c:v>12.765000000000001</c:v>
                </c:pt>
                <c:pt idx="1027" formatCode="#,##0_);\(#,##0\);&quot;-  &quot;;&quot; &quot;@&quot; &quot;">
                  <c:v>11.920000000000002</c:v>
                </c:pt>
                <c:pt idx="1028" formatCode="#,##0_);\(#,##0\);&quot;-  &quot;;&quot; &quot;@&quot; &quot;">
                  <c:v>11.965000000000003</c:v>
                </c:pt>
                <c:pt idx="1029" formatCode="#,##0_);\(#,##0\);&quot;-  &quot;;&quot; &quot;@&quot; &quot;">
                  <c:v>12.100000000000009</c:v>
                </c:pt>
                <c:pt idx="1030" formatCode="#,##0_);\(#,##0\);&quot;-  &quot;;&quot; &quot;@&quot; &quot;">
                  <c:v>12.64</c:v>
                </c:pt>
                <c:pt idx="1031" formatCode="#,##0_);\(#,##0\);&quot;-  &quot;;&quot; &quot;@&quot; &quot;">
                  <c:v>12.665000000000006</c:v>
                </c:pt>
                <c:pt idx="1032" formatCode="#,##0_);\(#,##0\);&quot;-  &quot;;&quot; &quot;@&quot; &quot;">
                  <c:v>12.489999999999995</c:v>
                </c:pt>
                <c:pt idx="1033" formatCode="#,##0_);\(#,##0\);&quot;-  &quot;;&quot; &quot;@&quot; &quot;">
                  <c:v>12.875</c:v>
                </c:pt>
                <c:pt idx="1034" formatCode="#,##0_);\(#,##0\);&quot;-  &quot;;&quot; &quot;@&quot; &quot;">
                  <c:v>12.554999999999993</c:v>
                </c:pt>
                <c:pt idx="1035" formatCode="#,##0_);\(#,##0\);&quot;-  &quot;;&quot; &quot;@&quot; &quot;">
                  <c:v>13</c:v>
                </c:pt>
                <c:pt idx="1036" formatCode="#,##0_);\(#,##0\);&quot;-  &quot;;&quot; &quot;@&quot; &quot;">
                  <c:v>13.145000000000003</c:v>
                </c:pt>
                <c:pt idx="1037" formatCode="#,##0_);\(#,##0\);&quot;-  &quot;;&quot; &quot;@&quot; &quot;">
                  <c:v>12.134999999999998</c:v>
                </c:pt>
                <c:pt idx="1038" formatCode="#,##0_);\(#,##0\);&quot;-  &quot;;&quot; &quot;@&quot; &quot;">
                  <c:v>12.415000000000006</c:v>
                </c:pt>
                <c:pt idx="1039" formatCode="#,##0_);\(#,##0\);&quot;-  &quot;;&quot; &quot;@&quot; &quot;">
                  <c:v>12.784999999999997</c:v>
                </c:pt>
                <c:pt idx="1040" formatCode="#,##0_);\(#,##0\);&quot;-  &quot;;&quot; &quot;@&quot; &quot;">
                  <c:v>13.510000000000005</c:v>
                </c:pt>
                <c:pt idx="1041" formatCode="#,##0_);\(#,##0\);&quot;-  &quot;;&quot; &quot;@&quot; &quot;">
                  <c:v>12.984999999999999</c:v>
                </c:pt>
                <c:pt idx="1042" formatCode="#,##0_);\(#,##0\);&quot;-  &quot;;&quot; &quot;@&quot; &quot;">
                  <c:v>13.325000000000003</c:v>
                </c:pt>
                <c:pt idx="1043" formatCode="#,##0_);\(#,##0\);&quot;-  &quot;;&quot; &quot;@&quot; &quot;">
                  <c:v>13.75</c:v>
                </c:pt>
                <c:pt idx="1044" formatCode="#,##0_);\(#,##0\);&quot;-  &quot;;&quot; &quot;@&quot; &quot;">
                  <c:v>13.114999999999995</c:v>
                </c:pt>
                <c:pt idx="1045" formatCode="#,##0_);\(#,##0\);&quot;-  &quot;;&quot; &quot;@&quot; &quot;">
                  <c:v>14.304999999999993</c:v>
                </c:pt>
                <c:pt idx="1046" formatCode="#,##0_);\(#,##0\);&quot;-  &quot;;&quot; &quot;@&quot; &quot;">
                  <c:v>14.480000000000004</c:v>
                </c:pt>
                <c:pt idx="1047" formatCode="#,##0_);\(#,##0\);&quot;-  &quot;;&quot; &quot;@&quot; &quot;">
                  <c:v>14.75500000000001</c:v>
                </c:pt>
                <c:pt idx="1048" formatCode="#,##0_);\(#,##0\);&quot;-  &quot;;&quot; &quot;@&quot; &quot;">
                  <c:v>14.36</c:v>
                </c:pt>
                <c:pt idx="1049" formatCode="#,##0_);\(#,##0\);&quot;-  &quot;;&quot; &quot;@&quot; &quot;">
                  <c:v>13.945000000000007</c:v>
                </c:pt>
                <c:pt idx="1050" formatCode="#,##0_);\(#,##0\);&quot;-  &quot;;&quot; &quot;@&quot; &quot;">
                  <c:v>13.659999999999997</c:v>
                </c:pt>
                <c:pt idx="1051" formatCode="#,##0_);\(#,##0\);&quot;-  &quot;;&quot; &quot;@&quot; &quot;">
                  <c:v>13.765000000000001</c:v>
                </c:pt>
                <c:pt idx="1052" formatCode="#,##0_);\(#,##0\);&quot;-  &quot;;&quot; &quot;@&quot; &quot;">
                  <c:v>13.034999999999997</c:v>
                </c:pt>
                <c:pt idx="1053" formatCode="#,##0_);\(#,##0\);&quot;-  &quot;;&quot; &quot;@&quot; &quot;">
                  <c:v>12.835000000000008</c:v>
                </c:pt>
                <c:pt idx="1054" formatCode="#,##0_);\(#,##0\);&quot;-  &quot;;&quot; &quot;@&quot; &quot;">
                  <c:v>12.820000000000007</c:v>
                </c:pt>
                <c:pt idx="1055" formatCode="#,##0_);\(#,##0\);&quot;-  &quot;;&quot; &quot;@&quot; &quot;">
                  <c:v>12.120000000000005</c:v>
                </c:pt>
                <c:pt idx="1056" formatCode="#,##0_);\(#,##0\);&quot;-  &quot;;&quot; &quot;@&quot; &quot;">
                  <c:v>12.905000000000001</c:v>
                </c:pt>
                <c:pt idx="1057" formatCode="#,##0_);\(#,##0\);&quot;-  &quot;;&quot; &quot;@&quot; &quot;">
                  <c:v>12.754999999999995</c:v>
                </c:pt>
                <c:pt idx="1058" formatCode="#,##0_);\(#,##0\);&quot;-  &quot;;&quot; &quot;@&quot; &quot;">
                  <c:v>12.984999999999999</c:v>
                </c:pt>
                <c:pt idx="1059" formatCode="#,##0_);\(#,##0\);&quot;-  &quot;;&quot; &quot;@&quot; &quot;">
                  <c:v>13.444999999999993</c:v>
                </c:pt>
                <c:pt idx="1060" formatCode="#,##0_);\(#,##0\);&quot;-  &quot;;&quot; &quot;@&quot; &quot;">
                  <c:v>13.114999999999995</c:v>
                </c:pt>
                <c:pt idx="1061" formatCode="#,##0_);\(#,##0\);&quot;-  &quot;;&quot; &quot;@&quot; &quot;">
                  <c:v>13.789999999999992</c:v>
                </c:pt>
                <c:pt idx="1062" formatCode="#,##0_);\(#,##0\);&quot;-  &quot;;&quot; &quot;@&quot; &quot;">
                  <c:v>13.030000000000001</c:v>
                </c:pt>
                <c:pt idx="1063" formatCode="#,##0_);\(#,##0\);&quot;-  &quot;;&quot; &quot;@&quot; &quot;">
                  <c:v>13.430000000000007</c:v>
                </c:pt>
                <c:pt idx="1064" formatCode="#,##0_);\(#,##0\);&quot;-  &quot;;&quot; &quot;@&quot; &quot;">
                  <c:v>14.275000000000006</c:v>
                </c:pt>
                <c:pt idx="1065" formatCode="#,##0_);\(#,##0\);&quot;-  &quot;;&quot; &quot;@&quot; &quot;">
                  <c:v>14.510000000000005</c:v>
                </c:pt>
                <c:pt idx="1066" formatCode="#,##0_);\(#,##0\);&quot;-  &quot;;&quot; &quot;@&quot; &quot;">
                  <c:v>15.454999999999998</c:v>
                </c:pt>
                <c:pt idx="1067" formatCode="#,##0_);\(#,##0\);&quot;-  &quot;;&quot; &quot;@&quot; &quot;">
                  <c:v>15.939999999999998</c:v>
                </c:pt>
                <c:pt idx="1068" formatCode="#,##0_);\(#,##0\);&quot;-  &quot;;&quot; &quot;@&quot; &quot;">
                  <c:v>15.215000000000003</c:v>
                </c:pt>
                <c:pt idx="1069" formatCode="#,##0_);\(#,##0\);&quot;-  &quot;;&quot; &quot;@&quot; &quot;">
                  <c:v>15.129999999999995</c:v>
                </c:pt>
                <c:pt idx="1070" formatCode="#,##0_);\(#,##0\);&quot;-  &quot;;&quot; &quot;@&quot; &quot;">
                  <c:v>16.070000000000007</c:v>
                </c:pt>
                <c:pt idx="1071" formatCode="#,##0_);\(#,##0\);&quot;-  &quot;;&quot; &quot;@&quot; &quot;">
                  <c:v>16.560000000000002</c:v>
                </c:pt>
                <c:pt idx="1072" formatCode="#,##0_);\(#,##0\);&quot;-  &quot;;&quot; &quot;@&quot; &quot;">
                  <c:v>15.045000000000002</c:v>
                </c:pt>
                <c:pt idx="1073" formatCode="#,##0_);\(#,##0\);&quot;-  &quot;;&quot; &quot;@&quot; &quot;">
                  <c:v>14.894999999999996</c:v>
                </c:pt>
                <c:pt idx="1074" formatCode="#,##0_);\(#,##0\);&quot;-  &quot;;&quot; &quot;@&quot; &quot;">
                  <c:v>14.515000000000001</c:v>
                </c:pt>
                <c:pt idx="1075" formatCode="#,##0_);\(#,##0\);&quot;-  &quot;;&quot; &quot;@&quot; &quot;">
                  <c:v>14.465000000000003</c:v>
                </c:pt>
                <c:pt idx="1076" formatCode="#,##0_);\(#,##0\);&quot;-  &quot;;&quot; &quot;@&quot; &quot;">
                  <c:v>13.690000000000005</c:v>
                </c:pt>
                <c:pt idx="1077" formatCode="#,##0_);\(#,##0\);&quot;-  &quot;;&quot; &quot;@&quot; &quot;">
                  <c:v>13.935000000000002</c:v>
                </c:pt>
                <c:pt idx="1078" formatCode="#,##0_);\(#,##0\);&quot;-  &quot;;&quot; &quot;@&quot; &quot;">
                  <c:v>14.389999999999993</c:v>
                </c:pt>
                <c:pt idx="1079" formatCode="#,##0_);\(#,##0\);&quot;-  &quot;;&quot; &quot;@&quot; &quot;">
                  <c:v>14.439999999999998</c:v>
                </c:pt>
                <c:pt idx="1080" formatCode="#,##0_);\(#,##0\);&quot;-  &quot;;&quot; &quot;@&quot; &quot;">
                  <c:v>14.979999999999997</c:v>
                </c:pt>
                <c:pt idx="1081" formatCode="#,##0_);\(#,##0\);&quot;-  &quot;;&quot; &quot;@&quot; &quot;">
                  <c:v>14.734999999999999</c:v>
                </c:pt>
                <c:pt idx="1082" formatCode="#,##0_);\(#,##0\);&quot;-  &quot;;&quot; &quot;@&quot; &quot;">
                  <c:v>14.404999999999987</c:v>
                </c:pt>
                <c:pt idx="1083" formatCode="#,##0_);\(#,##0\);&quot;-  &quot;;&quot; &quot;@&quot; &quot;">
                  <c:v>15.189999999999998</c:v>
                </c:pt>
                <c:pt idx="1084" formatCode="#,##0_);\(#,##0\);&quot;-  &quot;;&quot; &quot;@&quot; &quot;">
                  <c:v>15.069999999999993</c:v>
                </c:pt>
                <c:pt idx="1085" formatCode="#,##0_);\(#,##0\);&quot;-  &quot;;&quot; &quot;@&quot; &quot;">
                  <c:v>15.200000000000003</c:v>
                </c:pt>
                <c:pt idx="1086" formatCode="#,##0_);\(#,##0\);&quot;-  &quot;;&quot; &quot;@&quot; &quot;">
                  <c:v>16.215000000000003</c:v>
                </c:pt>
                <c:pt idx="1087" formatCode="#,##0_);\(#,##0\);&quot;-  &quot;;&quot; &quot;@&quot; &quot;">
                  <c:v>16.03</c:v>
                </c:pt>
                <c:pt idx="1088" formatCode="#,##0_);\(#,##0\);&quot;-  &quot;;&quot; &quot;@&quot; &quot;">
                  <c:v>15.335000000000008</c:v>
                </c:pt>
                <c:pt idx="1089" formatCode="#,##0_);\(#,##0\);&quot;-  &quot;;&quot; &quot;@&quot; &quot;">
                  <c:v>14.560000000000002</c:v>
                </c:pt>
                <c:pt idx="1090" formatCode="#,##0_);\(#,##0\);&quot;-  &quot;;&quot; &quot;@&quot; &quot;">
                  <c:v>15.099999999999994</c:v>
                </c:pt>
                <c:pt idx="1091" formatCode="#,##0_);\(#,##0\);&quot;-  &quot;;&quot; &quot;@&quot; &quot;">
                  <c:v>14.89500000000001</c:v>
                </c:pt>
                <c:pt idx="1092" formatCode="#,##0_);\(#,##0\);&quot;-  &quot;;&quot; &quot;@&quot; &quot;">
                  <c:v>13.900000000000006</c:v>
                </c:pt>
                <c:pt idx="1093" formatCode="#,##0_);\(#,##0\);&quot;-  &quot;;&quot; &quot;@&quot; &quot;">
                  <c:v>13.75500000000001</c:v>
                </c:pt>
                <c:pt idx="1094" formatCode="#,##0_);\(#,##0\);&quot;-  &quot;;&quot; &quot;@&quot; &quot;">
                  <c:v>13.180000000000007</c:v>
                </c:pt>
                <c:pt idx="1095" formatCode="#,##0_);\(#,##0\);&quot;-  &quot;;&quot; &quot;@&quot; &quot;">
                  <c:v>13.560000000000002</c:v>
                </c:pt>
                <c:pt idx="1096" formatCode="#,##0_);\(#,##0\);&quot;-  &quot;;&quot; &quot;@&quot; &quot;">
                  <c:v>12.945000000000007</c:v>
                </c:pt>
                <c:pt idx="1097" formatCode="#,##0_);\(#,##0\);&quot;-  &quot;;&quot; &quot;@&quot; &quot;">
                  <c:v>13.099999999999994</c:v>
                </c:pt>
                <c:pt idx="1098" formatCode="#,##0_);\(#,##0\);&quot;-  &quot;;&quot; &quot;@&quot; &quot;">
                  <c:v>13.36999999999999</c:v>
                </c:pt>
                <c:pt idx="1099" formatCode="#,##0_);\(#,##0\);&quot;-  &quot;;&quot; &quot;@&quot; &quot;">
                  <c:v>14.220000000000006</c:v>
                </c:pt>
                <c:pt idx="1100" formatCode="#,##0_);\(#,##0\);&quot;-  &quot;;&quot; &quot;@&quot; &quot;">
                  <c:v>13.96</c:v>
                </c:pt>
                <c:pt idx="1101" formatCode="#,##0_);\(#,##0\);&quot;-  &quot;;&quot; &quot;@&quot; &quot;">
                  <c:v>13.579999999999998</c:v>
                </c:pt>
                <c:pt idx="1102" formatCode="#,##0_);\(#,##0\);&quot;-  &quot;;&quot; &quot;@&quot; &quot;">
                  <c:v>13.554999999999993</c:v>
                </c:pt>
                <c:pt idx="1103" formatCode="#,##0_);\(#,##0\);&quot;-  &quot;;&quot; &quot;@&quot; &quot;">
                  <c:v>13.980000000000004</c:v>
                </c:pt>
                <c:pt idx="1104" formatCode="#,##0_);\(#,##0\);&quot;-  &quot;;&quot; &quot;@&quot; &quot;">
                  <c:v>13.814999999999998</c:v>
                </c:pt>
                <c:pt idx="1105" formatCode="#,##0_);\(#,##0\);&quot;-  &quot;;&quot; &quot;@&quot; &quot;">
                  <c:v>13.984999999999999</c:v>
                </c:pt>
                <c:pt idx="1106" formatCode="#,##0_);\(#,##0\);&quot;-  &quot;;&quot; &quot;@&quot; &quot;">
                  <c:v>14.099999999999994</c:v>
                </c:pt>
                <c:pt idx="1107" formatCode="#,##0_);\(#,##0\);&quot;-  &quot;;&quot; &quot;@&quot; &quot;">
                  <c:v>14.795000000000002</c:v>
                </c:pt>
                <c:pt idx="1108" formatCode="#,##0_);\(#,##0\);&quot;-  &quot;;&quot; &quot;@&quot; &quot;">
                  <c:v>15.439999999999998</c:v>
                </c:pt>
                <c:pt idx="1109" formatCode="#,##0_);\(#,##0\);&quot;-  &quot;;&quot; &quot;@&quot; &quot;">
                  <c:v>15.564999999999998</c:v>
                </c:pt>
                <c:pt idx="1110" formatCode="#,##0_);\(#,##0\);&quot;-  &quot;;&quot; &quot;@&quot; &quot;">
                  <c:v>16.115000000000009</c:v>
                </c:pt>
                <c:pt idx="1111" formatCode="#,##0_);\(#,##0\);&quot;-  &quot;;&quot; &quot;@&quot; &quot;">
                  <c:v>16.009999999999991</c:v>
                </c:pt>
                <c:pt idx="1112" formatCode="#,##0_);\(#,##0\);&quot;-  &quot;;&quot; &quot;@&quot; &quot;">
                  <c:v>16.22</c:v>
                </c:pt>
                <c:pt idx="1113" formatCode="#,##0_);\(#,##0\);&quot;-  &quot;;&quot; &quot;@&quot; &quot;">
                  <c:v>16.295000000000002</c:v>
                </c:pt>
                <c:pt idx="1114" formatCode="#,##0_);\(#,##0\);&quot;-  &quot;;&quot; &quot;@&quot; &quot;">
                  <c:v>15.654999999999987</c:v>
                </c:pt>
                <c:pt idx="1115" formatCode="#,##0_);\(#,##0\);&quot;-  &quot;;&quot; &quot;@&quot; &quot;">
                  <c:v>15.780000000000001</c:v>
                </c:pt>
                <c:pt idx="1116" formatCode="#,##0_);\(#,##0\);&quot;-  &quot;;&quot; &quot;@&quot; &quot;">
                  <c:v>15.659999999999997</c:v>
                </c:pt>
                <c:pt idx="1117" formatCode="#,##0_);\(#,##0\);&quot;-  &quot;;&quot; &quot;@&quot; &quot;">
                  <c:v>15.594999999999999</c:v>
                </c:pt>
                <c:pt idx="1118" formatCode="#,##0_);\(#,##0\);&quot;-  &quot;;&quot; &quot;@&quot; &quot;">
                  <c:v>14.885000000000005</c:v>
                </c:pt>
                <c:pt idx="1119" formatCode="#,##0_);\(#,##0\);&quot;-  &quot;;&quot; &quot;@&quot; &quot;">
                  <c:v>15.550000000000011</c:v>
                </c:pt>
                <c:pt idx="1120" formatCode="#,##0_);\(#,##0\);&quot;-  &quot;;&quot; &quot;@&quot; &quot;">
                  <c:v>14.894999999999996</c:v>
                </c:pt>
                <c:pt idx="1121" formatCode="#,##0_);\(#,##0\);&quot;-  &quot;;&quot; &quot;@&quot; &quot;">
                  <c:v>14.769999999999996</c:v>
                </c:pt>
                <c:pt idx="1122" formatCode="#,##0_);\(#,##0\);&quot;-  &quot;;&quot; &quot;@&quot; &quot;">
                  <c:v>14.330000000000013</c:v>
                </c:pt>
                <c:pt idx="1123" formatCode="#,##0_);\(#,##0\);&quot;-  &quot;;&quot; &quot;@&quot; &quot;">
                  <c:v>13.774999999999991</c:v>
                </c:pt>
                <c:pt idx="1124" formatCode="#,##0_);\(#,##0\);&quot;-  &quot;;&quot; &quot;@&quot; &quot;">
                  <c:v>13.510000000000005</c:v>
                </c:pt>
                <c:pt idx="1125" formatCode="#,##0_);\(#,##0\);&quot;-  &quot;;&quot; &quot;@&quot; &quot;">
                  <c:v>14.445000000000007</c:v>
                </c:pt>
                <c:pt idx="1126" formatCode="#,##0_);\(#,##0\);&quot;-  &quot;;&quot; &quot;@&quot; &quot;">
                  <c:v>14.635000000000005</c:v>
                </c:pt>
                <c:pt idx="1127" formatCode="#,##0_);\(#,##0\);&quot;-  &quot;;&quot; &quot;@&quot; &quot;">
                  <c:v>13.855000000000004</c:v>
                </c:pt>
                <c:pt idx="1128" formatCode="#,##0_);\(#,##0\);&quot;-  &quot;;&quot; &quot;@&quot; &quot;">
                  <c:v>14.795000000000002</c:v>
                </c:pt>
                <c:pt idx="1129" formatCode="#,##0_);\(#,##0\);&quot;-  &quot;;&quot; &quot;@&quot; &quot;">
                  <c:v>14.840000000000003</c:v>
                </c:pt>
                <c:pt idx="1130" formatCode="#,##0_);\(#,##0\);&quot;-  &quot;;&quot; &quot;@&quot; &quot;">
                  <c:v>14.89500000000001</c:v>
                </c:pt>
                <c:pt idx="1131" formatCode="#,##0_);\(#,##0\);&quot;-  &quot;;&quot; &quot;@&quot; &quot;">
                  <c:v>14.314999999999998</c:v>
                </c:pt>
                <c:pt idx="1132" formatCode="#,##0_);\(#,##0\);&quot;-  &quot;;&quot; &quot;@&quot; &quot;">
                  <c:v>13.769999999999996</c:v>
                </c:pt>
                <c:pt idx="1133" formatCode="#,##0_);\(#,##0\);&quot;-  &quot;;&quot; &quot;@&quot; &quot;">
                  <c:v>15.234999999999999</c:v>
                </c:pt>
                <c:pt idx="1134" formatCode="#,##0_);\(#,##0\);&quot;-  &quot;;&quot; &quot;@&quot; &quot;">
                  <c:v>14.469999999999999</c:v>
                </c:pt>
                <c:pt idx="1135" formatCode="#,##0_);\(#,##0\);&quot;-  &quot;;&quot; &quot;@&quot; &quot;">
                  <c:v>14.299999999999997</c:v>
                </c:pt>
                <c:pt idx="1136" formatCode="#,##0_);\(#,##0\);&quot;-  &quot;;&quot; &quot;@&quot; &quot;">
                  <c:v>15.764999999999986</c:v>
                </c:pt>
                <c:pt idx="1137" formatCode="#,##0_);\(#,##0\);&quot;-  &quot;;&quot; &quot;@&quot; &quot;">
                  <c:v>15.154999999999987</c:v>
                </c:pt>
                <c:pt idx="1138" formatCode="#,##0_);\(#,##0\);&quot;-  &quot;;&quot; &quot;@&quot; &quot;">
                  <c:v>14.614999999999995</c:v>
                </c:pt>
                <c:pt idx="1139" formatCode="#,##0_);\(#,##0\);&quot;-  &quot;;&quot; &quot;@&quot; &quot;">
                  <c:v>14.704999999999998</c:v>
                </c:pt>
                <c:pt idx="1140" formatCode="#,##0_);\(#,##0\);&quot;-  &quot;;&quot; &quot;@&quot; &quot;">
                  <c:v>14.820000000000007</c:v>
                </c:pt>
                <c:pt idx="1141" formatCode="#,##0_);\(#,##0\);&quot;-  &quot;;&quot; &quot;@&quot; &quot;">
                  <c:v>14.39</c:v>
                </c:pt>
                <c:pt idx="1142" formatCode="#,##0_);\(#,##0\);&quot;-  &quot;;&quot; &quot;@&quot; &quot;">
                  <c:v>14.25500000000001</c:v>
                </c:pt>
                <c:pt idx="1143" formatCode="#,##0_);\(#,##0\);&quot;-  &quot;;&quot; &quot;@&quot; &quot;">
                  <c:v>14.680000000000007</c:v>
                </c:pt>
                <c:pt idx="1144" formatCode="#,##0_);\(#,##0\);&quot;-  &quot;;&quot; &quot;@&quot; &quot;">
                  <c:v>14.11999999999999</c:v>
                </c:pt>
                <c:pt idx="1145" formatCode="#,##0_);\(#,##0\);&quot;-  &quot;;&quot; &quot;@&quot; &quot;">
                  <c:v>15.549999999999997</c:v>
                </c:pt>
                <c:pt idx="1146" formatCode="#,##0_);\(#,##0\);&quot;-  &quot;;&quot; &quot;@&quot; &quot;">
                  <c:v>15.340000000000003</c:v>
                </c:pt>
                <c:pt idx="1147" formatCode="#,##0_);\(#,##0\);&quot;-  &quot;;&quot; &quot;@&quot; &quot;">
                  <c:v>14.14500000000001</c:v>
                </c:pt>
                <c:pt idx="1148" formatCode="#,##0_);\(#,##0\);&quot;-  &quot;;&quot; &quot;@&quot; &quot;">
                  <c:v>15.159999999999997</c:v>
                </c:pt>
                <c:pt idx="1149" formatCode="#,##0_);\(#,##0\);&quot;-  &quot;;&quot; &quot;@&quot; &quot;">
                  <c:v>14.75500000000001</c:v>
                </c:pt>
                <c:pt idx="1150" formatCode="#,##0_);\(#,##0\);&quot;-  &quot;;&quot; &quot;@&quot; &quot;">
                  <c:v>15.094999999999999</c:v>
                </c:pt>
                <c:pt idx="1151" formatCode="#,##0_);\(#,##0\);&quot;-  &quot;;&quot; &quot;@&quot; &quot;">
                  <c:v>15.590000000000003</c:v>
                </c:pt>
                <c:pt idx="1152" formatCode="#,##0_);\(#,##0\);&quot;-  &quot;;&quot; &quot;@&quot; &quot;">
                  <c:v>15.61999999999999</c:v>
                </c:pt>
                <c:pt idx="1153" formatCode="#,##0_);\(#,##0\);&quot;-  &quot;;&quot; &quot;@&quot; &quot;">
                  <c:v>15.11</c:v>
                </c:pt>
                <c:pt idx="1154" formatCode="#,##0_);\(#,##0\);&quot;-  &quot;;&quot; &quot;@&quot; &quot;">
                  <c:v>15.525000000000006</c:v>
                </c:pt>
                <c:pt idx="1155" formatCode="#,##0_);\(#,##0\);&quot;-  &quot;;&quot; &quot;@&quot; &quot;">
                  <c:v>15.685000000000002</c:v>
                </c:pt>
                <c:pt idx="1156" formatCode="#,##0_);\(#,##0\);&quot;-  &quot;;&quot; &quot;@&quot; &quot;">
                  <c:v>15.490000000000009</c:v>
                </c:pt>
                <c:pt idx="1157" formatCode="#,##0_);\(#,##0\);&quot;-  &quot;;&quot; &quot;@&quot; &quot;">
                  <c:v>14.429999999999993</c:v>
                </c:pt>
                <c:pt idx="1158" formatCode="#,##0_);\(#,##0\);&quot;-  &quot;;&quot; &quot;@&quot; &quot;">
                  <c:v>14.064999999999998</c:v>
                </c:pt>
                <c:pt idx="1159" formatCode="#,##0_);\(#,##0\);&quot;-  &quot;;&quot; &quot;@&quot; &quot;">
                  <c:v>14.865000000000009</c:v>
                </c:pt>
                <c:pt idx="1160" formatCode="#,##0_);\(#,##0\);&quot;-  &quot;;&quot; &quot;@&quot; &quot;">
                  <c:v>14.545000000000002</c:v>
                </c:pt>
                <c:pt idx="1161" formatCode="#,##0_);\(#,##0\);&quot;-  &quot;;&quot; &quot;@&quot; &quot;">
                  <c:v>14.654999999999987</c:v>
                </c:pt>
                <c:pt idx="1162" formatCode="#,##0_);\(#,##0\);&quot;-  &quot;;&quot; &quot;@&quot; &quot;">
                  <c:v>14.625</c:v>
                </c:pt>
                <c:pt idx="1163" formatCode="#,##0_);\(#,##0\);&quot;-  &quot;;&quot; &quot;@&quot; &quot;">
                  <c:v>14.035000000000011</c:v>
                </c:pt>
                <c:pt idx="1164" formatCode="#,##0_);\(#,##0\);&quot;-  &quot;;&quot; &quot;@&quot; &quot;">
                  <c:v>14.675000000000011</c:v>
                </c:pt>
                <c:pt idx="1165" formatCode="#,##0_);\(#,##0\);&quot;-  &quot;;&quot; &quot;@&quot; &quot;">
                  <c:v>13.574999999999989</c:v>
                </c:pt>
                <c:pt idx="1166" formatCode="#,##0_);\(#,##0\);&quot;-  &quot;;&quot; &quot;@&quot; &quot;">
                  <c:v>13.760000000000005</c:v>
                </c:pt>
                <c:pt idx="1167" formatCode="#,##0_);\(#,##0\);&quot;-  &quot;;&quot; &quot;@&quot; &quot;">
                  <c:v>13.684999999999988</c:v>
                </c:pt>
                <c:pt idx="1168" formatCode="#,##0_);\(#,##0\);&quot;-  &quot;;&quot; &quot;@&quot; &quot;">
                  <c:v>13.189999999999998</c:v>
                </c:pt>
                <c:pt idx="1169" formatCode="#,##0_);\(#,##0\);&quot;-  &quot;;&quot; &quot;@&quot; &quot;">
                  <c:v>13.940000000000012</c:v>
                </c:pt>
                <c:pt idx="1170" formatCode="#,##0_);\(#,##0\);&quot;-  &quot;;&quot; &quot;@&quot; &quot;">
                  <c:v>13.905000000000001</c:v>
                </c:pt>
                <c:pt idx="1171" formatCode="#,##0_);\(#,##0\);&quot;-  &quot;;&quot; &quot;@&quot; &quot;">
                  <c:v>13.679999999999993</c:v>
                </c:pt>
                <c:pt idx="1172" formatCode="#,##0_);\(#,##0\);&quot;-  &quot;;&quot; &quot;@&quot; &quot;">
                  <c:v>13.144999999999996</c:v>
                </c:pt>
                <c:pt idx="1173" formatCode="#,##0_);\(#,##0\);&quot;-  &quot;;&quot; &quot;@&quot; &quot;">
                  <c:v>13.990000000000009</c:v>
                </c:pt>
                <c:pt idx="1174" formatCode="#,##0_);\(#,##0\);&quot;-  &quot;;&quot; &quot;@&quot; &quot;">
                  <c:v>12.97999999999999</c:v>
                </c:pt>
                <c:pt idx="1175" formatCode="#,##0_);\(#,##0\);&quot;-  &quot;;&quot; &quot;@&quot; &quot;">
                  <c:v>12.785000000000011</c:v>
                </c:pt>
                <c:pt idx="1176" formatCode="#,##0_);\(#,##0\);&quot;-  &quot;;&quot; &quot;@&quot; &quot;">
                  <c:v>13.275000000000006</c:v>
                </c:pt>
                <c:pt idx="1177" formatCode="#,##0_);\(#,##0\);&quot;-  &quot;;&quot; &quot;@&quot; &quot;">
                  <c:v>12.644999999999996</c:v>
                </c:pt>
                <c:pt idx="1178" formatCode="#,##0_);\(#,##0\);&quot;-  &quot;;&quot; &quot;@&quot; &quot;">
                  <c:v>13.39</c:v>
                </c:pt>
                <c:pt idx="1179" formatCode="#,##0_);\(#,##0\);&quot;-  &quot;;&quot; &quot;@&quot; &quot;">
                  <c:v>14.519999999999996</c:v>
                </c:pt>
                <c:pt idx="1180" formatCode="#,##0_);\(#,##0\);&quot;-  &quot;;&quot; &quot;@&quot; &quot;">
                  <c:v>14.274999999999991</c:v>
                </c:pt>
                <c:pt idx="1181" formatCode="#,##0_);\(#,##0\);&quot;-  &quot;;&quot; &quot;@&quot; &quot;">
                  <c:v>14.560000000000002</c:v>
                </c:pt>
                <c:pt idx="1182" formatCode="#,##0_);\(#,##0\);&quot;-  &quot;;&quot; &quot;@&quot; &quot;">
                  <c:v>13.894999999999996</c:v>
                </c:pt>
                <c:pt idx="1183" formatCode="#,##0_);\(#,##0\);&quot;-  &quot;;&quot; &quot;@&quot; &quot;">
                  <c:v>15.484999999999999</c:v>
                </c:pt>
                <c:pt idx="1184" formatCode="#,##0_);\(#,##0\);&quot;-  &quot;;&quot; &quot;@&quot; &quot;">
                  <c:v>13.850000000000009</c:v>
                </c:pt>
                <c:pt idx="1185" formatCode="#,##0_);\(#,##0\);&quot;-  &quot;;&quot; &quot;@&quot; &quot;">
                  <c:v>14.984999999999999</c:v>
                </c:pt>
                <c:pt idx="1186" formatCode="#,##0_);\(#,##0\);&quot;-  &quot;;&quot; &quot;@&quot; &quot;">
                  <c:v>15.02000000000001</c:v>
                </c:pt>
                <c:pt idx="1187" formatCode="#,##0_);\(#,##0\);&quot;-  &quot;;&quot; &quot;@&quot; &quot;">
                  <c:v>15.439999999999998</c:v>
                </c:pt>
                <c:pt idx="1188" formatCode="#,##0_);\(#,##0\);&quot;-  &quot;;&quot; &quot;@&quot; &quot;">
                  <c:v>14.495000000000005</c:v>
                </c:pt>
                <c:pt idx="1189" formatCode="#,##0_);\(#,##0\);&quot;-  &quot;;&quot; &quot;@&quot; &quot;">
                  <c:v>15.114999999999995</c:v>
                </c:pt>
                <c:pt idx="1190" formatCode="#,##0_);\(#,##0\);&quot;-  &quot;;&quot; &quot;@&quot; &quot;">
                  <c:v>14.25500000000001</c:v>
                </c:pt>
                <c:pt idx="1191" formatCode="#,##0_);\(#,##0\);&quot;-  &quot;;&quot; &quot;@&quot; &quot;">
                  <c:v>14.695000000000007</c:v>
                </c:pt>
                <c:pt idx="1192" formatCode="#,##0_);\(#,##0\);&quot;-  &quot;;&quot; &quot;@&quot; &quot;">
                  <c:v>15.189999999999998</c:v>
                </c:pt>
                <c:pt idx="1193" formatCode="#,##0_);\(#,##0\);&quot;-  &quot;;&quot; &quot;@&quot; &quot;">
                  <c:v>15.5</c:v>
                </c:pt>
                <c:pt idx="1194" formatCode="#,##0_);\(#,##0\);&quot;-  &quot;;&quot; &quot;@&quot; &quot;">
                  <c:v>14.97999999999999</c:v>
                </c:pt>
                <c:pt idx="1195" formatCode="#,##0_);\(#,##0\);&quot;-  &quot;;&quot; &quot;@&quot; &quot;">
                  <c:v>15.135000000000005</c:v>
                </c:pt>
                <c:pt idx="1196" formatCode="#,##0_);\(#,##0\);&quot;-  &quot;;&quot; &quot;@&quot; &quot;">
                  <c:v>14.690000000000012</c:v>
                </c:pt>
                <c:pt idx="1197" formatCode="#,##0_);\(#,##0\);&quot;-  &quot;;&quot; &quot;@&quot; &quot;">
                  <c:v>14.915000000000006</c:v>
                </c:pt>
                <c:pt idx="1198" formatCode="#,##0_);\(#,##0\);&quot;-  &quot;;&quot; &quot;@&quot; &quot;">
                  <c:v>14.75500000000001</c:v>
                </c:pt>
                <c:pt idx="1199" formatCode="#,##0_);\(#,##0\);&quot;-  &quot;;&quot; &quot;@&quot; &quot;">
                  <c:v>15.620000000000005</c:v>
                </c:pt>
                <c:pt idx="1200" formatCode="#,##0_);\(#,##0\);&quot;-  &quot;;&quot; &quot;@&quot; &quot;">
                  <c:v>16.034999999999997</c:v>
                </c:pt>
                <c:pt idx="1201" formatCode="#,##0_);\(#,##0\);&quot;-  &quot;;&quot; &quot;@&quot; &quot;">
                  <c:v>16.594999999999999</c:v>
                </c:pt>
                <c:pt idx="1202" formatCode="#,##0_);\(#,##0\);&quot;-  &quot;;&quot; &quot;@&quot; &quot;">
                  <c:v>17.375</c:v>
                </c:pt>
                <c:pt idx="1203" formatCode="#,##0_);\(#,##0\);&quot;-  &quot;;&quot; &quot;@&quot; &quot;">
                  <c:v>17.254999999999995</c:v>
                </c:pt>
                <c:pt idx="1204" formatCode="#,##0_);\(#,##0\);&quot;-  &quot;;&quot; &quot;@&quot; &quot;">
                  <c:v>16.689999999999998</c:v>
                </c:pt>
                <c:pt idx="1205" formatCode="#,##0_);\(#,##0\);&quot;-  &quot;;&quot; &quot;@&quot; &quot;">
                  <c:v>17.185000000000002</c:v>
                </c:pt>
                <c:pt idx="1206" formatCode="#,##0_);\(#,##0\);&quot;-  &quot;;&quot; &quot;@&quot; &quot;">
                  <c:v>17.129999999999995</c:v>
                </c:pt>
                <c:pt idx="1207" formatCode="#,##0_);\(#,##0\);&quot;-  &quot;;&quot; &quot;@&quot; &quot;">
                  <c:v>17.785000000000011</c:v>
                </c:pt>
                <c:pt idx="1208" formatCode="#,##0_);\(#,##0\);&quot;-  &quot;;&quot; &quot;@&quot; &quot;">
                  <c:v>16.804999999999993</c:v>
                </c:pt>
                <c:pt idx="1209" formatCode="#,##0_);\(#,##0\);&quot;-  &quot;;&quot; &quot;@&quot; &quot;">
                  <c:v>16.344999999999999</c:v>
                </c:pt>
                <c:pt idx="1210" formatCode="#,##0_);\(#,##0\);&quot;-  &quot;;&quot; &quot;@&quot; &quot;">
                  <c:v>16.489999999999995</c:v>
                </c:pt>
                <c:pt idx="1211" formatCode="#,##0_);\(#,##0\);&quot;-  &quot;;&quot; &quot;@&quot; &quot;">
                  <c:v>16.284999999999997</c:v>
                </c:pt>
                <c:pt idx="1212" formatCode="#,##0_);\(#,##0\);&quot;-  &quot;;&quot; &quot;@&quot; &quot;">
                  <c:v>15.575000000000003</c:v>
                </c:pt>
                <c:pt idx="1213" formatCode="#,##0_);\(#,##0\);&quot;-  &quot;;&quot; &quot;@&quot; &quot;">
                  <c:v>15.740000000000009</c:v>
                </c:pt>
                <c:pt idx="1214" formatCode="#,##0_);\(#,##0\);&quot;-  &quot;;&quot; &quot;@&quot; &quot;">
                  <c:v>15.879999999999995</c:v>
                </c:pt>
                <c:pt idx="1215" formatCode="#,##0_);\(#,##0\);&quot;-  &quot;;&quot; &quot;@&quot; &quot;">
                  <c:v>15.079999999999998</c:v>
                </c:pt>
                <c:pt idx="1216" formatCode="#,##0_);\(#,##0\);&quot;-  &quot;;&quot; &quot;@&quot; &quot;">
                  <c:v>15.370000000000005</c:v>
                </c:pt>
                <c:pt idx="1217" formatCode="#,##0_);\(#,##0\);&quot;-  &quot;;&quot; &quot;@&quot; &quot;">
                  <c:v>15.86</c:v>
                </c:pt>
                <c:pt idx="1218" formatCode="#,##0_);\(#,##0\);&quot;-  &quot;;&quot; &quot;@&quot; &quot;">
                  <c:v>15.484999999999999</c:v>
                </c:pt>
                <c:pt idx="1219" formatCode="#,##0_);\(#,##0\);&quot;-  &quot;;&quot; &quot;@&quot; &quot;">
                  <c:v>14.900000000000006</c:v>
                </c:pt>
                <c:pt idx="1220" formatCode="#,##0_);\(#,##0\);&quot;-  &quot;;&quot; &quot;@&quot; &quot;">
                  <c:v>15.075000000000003</c:v>
                </c:pt>
                <c:pt idx="1221" formatCode="#,##0_);\(#,##0\);&quot;-  &quot;;&quot; &quot;@&quot; &quot;">
                  <c:v>15.905000000000001</c:v>
                </c:pt>
                <c:pt idx="1222" formatCode="#,##0_);\(#,##0\);&quot;-  &quot;;&quot; &quot;@&quot; &quot;">
                  <c:v>15.150000000000006</c:v>
                </c:pt>
                <c:pt idx="1223" formatCode="#,##0_);\(#,##0\);&quot;-  &quot;;&quot; &quot;@&quot; &quot;">
                  <c:v>15.489999999999995</c:v>
                </c:pt>
                <c:pt idx="1224" formatCode="#,##0_);\(#,##0\);&quot;-  &quot;;&quot; &quot;@&quot; &quot;">
                  <c:v>15.679999999999993</c:v>
                </c:pt>
                <c:pt idx="1225" formatCode="#,##0_);\(#,##0\);&quot;-  &quot;;&quot; &quot;@&quot; &quot;">
                  <c:v>15.10499999999999</c:v>
                </c:pt>
                <c:pt idx="1226" formatCode="#,##0_);\(#,##0\);&quot;-  &quot;;&quot; &quot;@&quot; &quot;">
                  <c:v>14.589999999999989</c:v>
                </c:pt>
                <c:pt idx="1227" formatCode="#,##0_);\(#,##0\);&quot;-  &quot;;&quot; &quot;@&quot; &quot;">
                  <c:v>13.875</c:v>
                </c:pt>
                <c:pt idx="1228" formatCode="#,##0_);\(#,##0\);&quot;-  &quot;;&quot; &quot;@&quot; &quot;">
                  <c:v>14.204999999999998</c:v>
                </c:pt>
                <c:pt idx="1229" formatCode="#,##0_);\(#,##0\);&quot;-  &quot;;&quot; &quot;@&quot; &quot;">
                  <c:v>13.034999999999997</c:v>
                </c:pt>
                <c:pt idx="1230" formatCode="#,##0_);\(#,##0\);&quot;-  &quot;;&quot; &quot;@&quot; &quot;">
                  <c:v>12.489999999999995</c:v>
                </c:pt>
                <c:pt idx="1231" formatCode="#,##0_);\(#,##0\);&quot;-  &quot;;&quot; &quot;@&quot; &quot;">
                  <c:v>12.144999999999996</c:v>
                </c:pt>
                <c:pt idx="1232" formatCode="#,##0_);\(#,##0\);&quot;-  &quot;;&quot; &quot;@&quot; &quot;">
                  <c:v>12.810000000000002</c:v>
                </c:pt>
                <c:pt idx="1233" formatCode="#,##0_);\(#,##0\);&quot;-  &quot;;&quot; &quot;@&quot; &quot;">
                  <c:v>13.085000000000008</c:v>
                </c:pt>
                <c:pt idx="1234" formatCode="#,##0_);\(#,##0\);&quot;-  &quot;;&quot; &quot;@&quot; &quot;">
                  <c:v>12.850000000000009</c:v>
                </c:pt>
                <c:pt idx="1235" formatCode="#,##0_);\(#,##0\);&quot;-  &quot;;&quot; &quot;@&quot; &quot;">
                  <c:v>12.655000000000001</c:v>
                </c:pt>
                <c:pt idx="1236" formatCode="#,##0_);\(#,##0\);&quot;-  &quot;;&quot; &quot;@&quot; &quot;">
                  <c:v>12.290000000000006</c:v>
                </c:pt>
                <c:pt idx="1237" formatCode="#,##0_);\(#,##0\);&quot;-  &quot;;&quot; &quot;@&quot; &quot;">
                  <c:v>12.89</c:v>
                </c:pt>
                <c:pt idx="1238" formatCode="#,##0_);\(#,##0\);&quot;-  &quot;;&quot; &quot;@&quot; &quot;">
                  <c:v>13.515000000000001</c:v>
                </c:pt>
                <c:pt idx="1239" formatCode="#,##0_);\(#,##0\);&quot;-  &quot;;&quot; &quot;@&quot; &quot;">
                  <c:v>12.515000000000001</c:v>
                </c:pt>
                <c:pt idx="1240" formatCode="#,##0_);\(#,##0\);&quot;-  &quot;;&quot; &quot;@&quot; &quot;">
                  <c:v>13.224999999999994</c:v>
                </c:pt>
                <c:pt idx="1241" formatCode="#,##0_);\(#,##0\);&quot;-  &quot;;&quot; &quot;@&quot; &quot;">
                  <c:v>12.899999999999991</c:v>
                </c:pt>
                <c:pt idx="1242" formatCode="#,##0_);\(#,##0\);&quot;-  &quot;;&quot; &quot;@&quot; &quot;">
                  <c:v>13.670000000000002</c:v>
                </c:pt>
                <c:pt idx="1243" formatCode="#,##0_);\(#,##0\);&quot;-  &quot;;&quot; &quot;@&quot; &quot;">
                  <c:v>13.075000000000003</c:v>
                </c:pt>
                <c:pt idx="1244" formatCode="#,##0_);\(#,##0\);&quot;-  &quot;;&quot; &quot;@&quot; &quot;">
                  <c:v>13.614999999999995</c:v>
                </c:pt>
                <c:pt idx="1245" formatCode="#,##0_);\(#,##0\);&quot;-  &quot;;&quot; &quot;@&quot; &quot;">
                  <c:v>14.125</c:v>
                </c:pt>
                <c:pt idx="1246" formatCode="#,##0_);\(#,##0\);&quot;-  &quot;;&quot; &quot;@&quot; &quot;">
                  <c:v>14.155000000000001</c:v>
                </c:pt>
                <c:pt idx="1247" formatCode="#,##0_);\(#,##0\);&quot;-  &quot;;&quot; &quot;@&quot; &quot;">
                  <c:v>14.719999999999999</c:v>
                </c:pt>
                <c:pt idx="1248" formatCode="#,##0_);\(#,##0\);&quot;-  &quot;;&quot; &quot;@&quot; &quot;">
                  <c:v>14.959999999999994</c:v>
                </c:pt>
                <c:pt idx="1249" formatCode="#,##0_);\(#,##0\);&quot;-  &quot;;&quot; &quot;@&quot; &quot;">
                  <c:v>14.875</c:v>
                </c:pt>
                <c:pt idx="1250" formatCode="#,##0_);\(#,##0\);&quot;-  &quot;;&quot; &quot;@&quot; &quot;">
                  <c:v>14.605000000000004</c:v>
                </c:pt>
                <c:pt idx="1251" formatCode="#,##0_);\(#,##0\);&quot;-  &quot;;&quot; &quot;@&quot; &quot;">
                  <c:v>14.739999999999995</c:v>
                </c:pt>
                <c:pt idx="1252" formatCode="#,##0_);\(#,##0\);&quot;-  &quot;;&quot; &quot;@&quot; &quot;">
                  <c:v>15.090000000000003</c:v>
                </c:pt>
                <c:pt idx="1253" formatCode="#,##0_);\(#,##0\);&quot;-  &quot;;&quot; &quot;@&quot; &quot;">
                  <c:v>14.970000000000013</c:v>
                </c:pt>
                <c:pt idx="1254" formatCode="#,##0_);\(#,##0\);&quot;-  &quot;;&quot; &quot;@&quot; &quot;">
                  <c:v>14.625</c:v>
                </c:pt>
                <c:pt idx="1255" formatCode="#,##0_);\(#,##0\);&quot;-  &quot;;&quot; &quot;@&quot; &quot;">
                  <c:v>15.575000000000003</c:v>
                </c:pt>
                <c:pt idx="1256" formatCode="#,##0_);\(#,##0\);&quot;-  &quot;;&quot; &quot;@&quot; &quot;">
                  <c:v>15.75</c:v>
                </c:pt>
                <c:pt idx="1257" formatCode="#,##0_);\(#,##0\);&quot;-  &quot;;&quot; &quot;@&quot; &quot;">
                  <c:v>15.554999999999993</c:v>
                </c:pt>
                <c:pt idx="1258" formatCode="#,##0_);\(#,##0\);&quot;-  &quot;;&quot; &quot;@&quot; &quot;">
                  <c:v>16.180000000000007</c:v>
                </c:pt>
                <c:pt idx="1259" formatCode="#,##0_);\(#,##0\);&quot;-  &quot;;&quot; &quot;@&quot; &quot;">
                  <c:v>17.049999999999997</c:v>
                </c:pt>
                <c:pt idx="1260" formatCode="#,##0_);\(#,##0\);&quot;-  &quot;;&quot; &quot;@&quot; &quot;">
                  <c:v>16.489999999999995</c:v>
                </c:pt>
                <c:pt idx="1261" formatCode="#,##0_);\(#,##0\);&quot;-  &quot;;&quot; &quot;@&quot; &quot;">
                  <c:v>17.595000000000013</c:v>
                </c:pt>
                <c:pt idx="1262" formatCode="#,##0_);\(#,##0\);&quot;-  &quot;;&quot; &quot;@&quot; &quot;">
                  <c:v>17.974999999999994</c:v>
                </c:pt>
                <c:pt idx="1263" formatCode="#,##0_);\(#,##0\);&quot;-  &quot;;&quot; &quot;@&quot; &quot;">
                  <c:v>19.385000000000005</c:v>
                </c:pt>
                <c:pt idx="1264" formatCode="#,##0_);\(#,##0\);&quot;-  &quot;;&quot; &quot;@&quot; &quot;">
                  <c:v>18.460000000000008</c:v>
                </c:pt>
                <c:pt idx="1265" formatCode="#,##0_);\(#,##0\);&quot;-  &quot;;&quot; &quot;@&quot; &quot;">
                  <c:v>17.704999999999998</c:v>
                </c:pt>
                <c:pt idx="1266" formatCode="#,##0_);\(#,##0\);&quot;-  &quot;;&quot; &quot;@&quot; &quot;">
                  <c:v>19.160000000000011</c:v>
                </c:pt>
                <c:pt idx="1267" formatCode="#,##0_);\(#,##0\);&quot;-  &quot;;&quot; &quot;@&quot; &quot;">
                  <c:v>20.474999999999994</c:v>
                </c:pt>
                <c:pt idx="1268" formatCode="#,##0_);\(#,##0\);&quot;-  &quot;;&quot; &quot;@&quot; &quot;">
                  <c:v>19.945000000000007</c:v>
                </c:pt>
                <c:pt idx="1269" formatCode="#,##0_);\(#,##0\);&quot;-  &quot;;&quot; &quot;@&quot; &quot;">
                  <c:v>20.364999999999995</c:v>
                </c:pt>
                <c:pt idx="1270" formatCode="#,##0_);\(#,##0\);&quot;-  &quot;;&quot; &quot;@&quot; &quot;">
                  <c:v>19.740000000000009</c:v>
                </c:pt>
                <c:pt idx="1271" formatCode="#,##0_);\(#,##0\);&quot;-  &quot;;&quot; &quot;@&quot; &quot;">
                  <c:v>20.484999999999999</c:v>
                </c:pt>
                <c:pt idx="1272" formatCode="#,##0_);\(#,##0\);&quot;-  &quot;;&quot; &quot;@&quot; &quot;">
                  <c:v>20.409999999999997</c:v>
                </c:pt>
                <c:pt idx="1273" formatCode="#,##0_);\(#,##0\);&quot;-  &quot;;&quot; &quot;@&quot; &quot;">
                  <c:v>19.615000000000009</c:v>
                </c:pt>
                <c:pt idx="1274" formatCode="#,##0_);\(#,##0\);&quot;-  &quot;;&quot; &quot;@&quot; &quot;">
                  <c:v>19.625</c:v>
                </c:pt>
                <c:pt idx="1275" formatCode="#,##0_);\(#,##0\);&quot;-  &quot;;&quot; &quot;@&quot; &quot;">
                  <c:v>20.61</c:v>
                </c:pt>
                <c:pt idx="1276" formatCode="#,##0_);\(#,##0\);&quot;-  &quot;;&quot; &quot;@&quot; &quot;">
                  <c:v>20.034999999999997</c:v>
                </c:pt>
                <c:pt idx="1277" formatCode="#,##0_);\(#,##0\);&quot;-  &quot;;&quot; &quot;@&quot; &quot;">
                  <c:v>19.07</c:v>
                </c:pt>
                <c:pt idx="1278" formatCode="#,##0_);\(#,##0\);&quot;-  &quot;;&quot; &quot;@&quot; &quot;">
                  <c:v>18.995000000000005</c:v>
                </c:pt>
                <c:pt idx="1279" formatCode="#,##0_);\(#,##0\);&quot;-  &quot;;&quot; &quot;@&quot; &quot;">
                  <c:v>21.575000000000003</c:v>
                </c:pt>
                <c:pt idx="1280" formatCode="#,##0_);\(#,##0\);&quot;-  &quot;;&quot; &quot;@&quot; &quot;">
                  <c:v>18.255000000000003</c:v>
                </c:pt>
                <c:pt idx="1281" formatCode="#,##0_);\(#,##0\);&quot;-  &quot;;&quot; &quot;@&quot; &quot;">
                  <c:v>17.969999999999992</c:v>
                </c:pt>
                <c:pt idx="1282" formatCode="#,##0_);\(#,##0\);&quot;-  &quot;;&quot; &quot;@&quot; &quot;">
                  <c:v>17.865000000000002</c:v>
                </c:pt>
                <c:pt idx="1283" formatCode="#,##0_);\(#,##0\);&quot;-  &quot;;&quot; &quot;@&quot; &quot;">
                  <c:v>16.930000000000007</c:v>
                </c:pt>
                <c:pt idx="1284" formatCode="#,##0_);\(#,##0\);&quot;-  &quot;;&quot; &quot;@&quot; &quot;">
                  <c:v>17.64</c:v>
                </c:pt>
                <c:pt idx="1285" formatCode="#,##0_);\(#,##0\);&quot;-  &quot;;&quot; &quot;@&quot; &quot;">
                  <c:v>16.894999999999996</c:v>
                </c:pt>
                <c:pt idx="1286" formatCode="#,##0_);\(#,##0\);&quot;-  &quot;;&quot; &quot;@&quot; &quot;">
                  <c:v>16.494999999999997</c:v>
                </c:pt>
                <c:pt idx="1287" formatCode="#,##0_);\(#,##0\);&quot;-  &quot;;&quot; &quot;@&quot; &quot;">
                  <c:v>15.564999999999991</c:v>
                </c:pt>
                <c:pt idx="1288" formatCode="#,##0_);\(#,##0\);&quot;-  &quot;;&quot; &quot;@&quot; &quot;">
                  <c:v>17.734999999999999</c:v>
                </c:pt>
                <c:pt idx="1289" formatCode="#,##0_);\(#,##0\);&quot;-  &quot;;&quot; &quot;@&quot; &quot;">
                  <c:v>15.080000000000005</c:v>
                </c:pt>
                <c:pt idx="1290" formatCode="#,##0_);\(#,##0\);&quot;-  &quot;;&quot; &quot;@&quot; &quot;">
                  <c:v>15.475000000000009</c:v>
                </c:pt>
                <c:pt idx="1291" formatCode="#,##0_);\(#,##0\);&quot;-  &quot;;&quot; &quot;@&quot; &quot;">
                  <c:v>15.43</c:v>
                </c:pt>
                <c:pt idx="1292" formatCode="#,##0_);\(#,##0\);&quot;-  &quot;;&quot; &quot;@&quot; &quot;">
                  <c:v>15.380000000000003</c:v>
                </c:pt>
                <c:pt idx="1293" formatCode="#,##0_);\(#,##0\);&quot;-  &quot;;&quot; &quot;@&quot; &quot;">
                  <c:v>16.480000000000004</c:v>
                </c:pt>
                <c:pt idx="1294" formatCode="#,##0_);\(#,##0\);&quot;-  &quot;;&quot; &quot;@&quot; &quot;">
                  <c:v>16.135000000000005</c:v>
                </c:pt>
                <c:pt idx="1295" formatCode="#,##0_);\(#,##0\);&quot;-  &quot;;&quot; &quot;@&quot; &quot;">
                  <c:v>16.450000000000003</c:v>
                </c:pt>
                <c:pt idx="1296" formatCode="#,##0_);\(#,##0\);&quot;-  &quot;;&quot; &quot;@&quot; &quot;">
                  <c:v>16.555</c:v>
                </c:pt>
                <c:pt idx="1297" formatCode="#,##0_);\(#,##0\);&quot;-  &quot;;&quot; &quot;@&quot; &quot;">
                  <c:v>16.680000000000007</c:v>
                </c:pt>
                <c:pt idx="1298" formatCode="#,##0_);\(#,##0\);&quot;-  &quot;;&quot; &quot;@&quot; &quot;">
                  <c:v>17.724999999999994</c:v>
                </c:pt>
                <c:pt idx="1299" formatCode="#,##0_);\(#,##0\);&quot;-  &quot;;&quot; &quot;@&quot; &quot;">
                  <c:v>18.440000000000005</c:v>
                </c:pt>
                <c:pt idx="1300" formatCode="#,##0_);\(#,##0\);&quot;-  &quot;;&quot; &quot;@&quot; &quot;">
                  <c:v>17.085000000000001</c:v>
                </c:pt>
                <c:pt idx="1301" formatCode="#,##0_);\(#,##0\);&quot;-  &quot;;&quot; &quot;@&quot; &quot;">
                  <c:v>16.764999999999993</c:v>
                </c:pt>
                <c:pt idx="1302" formatCode="#,##0_);\(#,##0\);&quot;-  &quot;;&quot; &quot;@&quot; &quot;">
                  <c:v>17.279999999999994</c:v>
                </c:pt>
                <c:pt idx="1303" formatCode="#,##0_);\(#,##0\);&quot;-  &quot;;&quot; &quot;@&quot; &quot;">
                  <c:v>15.199999999999996</c:v>
                </c:pt>
                <c:pt idx="1304" formatCode="#,##0_);\(#,##0\);&quot;-  &quot;;&quot; &quot;@&quot; &quot;">
                  <c:v>17.155000000000001</c:v>
                </c:pt>
                <c:pt idx="1305" formatCode="#,##0_);\(#,##0\);&quot;-  &quot;;&quot; &quot;@&quot; &quot;">
                  <c:v>16.675000000000004</c:v>
                </c:pt>
                <c:pt idx="1306" formatCode="#,##0_);\(#,##0\);&quot;-  &quot;;&quot; &quot;@&quot; &quot;">
                  <c:v>16.725000000000009</c:v>
                </c:pt>
                <c:pt idx="1307" formatCode="#,##0_);\(#,##0\);&quot;-  &quot;;&quot; &quot;@&quot; &quot;">
                  <c:v>17.78</c:v>
                </c:pt>
                <c:pt idx="1308" formatCode="#,##0_);\(#,##0\);&quot;-  &quot;;&quot; &quot;@&quot; &quot;">
                  <c:v>17.049999999999997</c:v>
                </c:pt>
                <c:pt idx="1309" formatCode="#,##0_);\(#,##0\);&quot;-  &quot;;&quot; &quot;@&quot; &quot;">
                  <c:v>17.259999999999998</c:v>
                </c:pt>
                <c:pt idx="1310" formatCode="#,##0_);\(#,##0\);&quot;-  &quot;;&quot; &quot;@&quot; &quot;">
                  <c:v>18.094999999999999</c:v>
                </c:pt>
                <c:pt idx="1311" formatCode="#,##0_);\(#,##0\);&quot;-  &quot;;&quot; &quot;@&quot; &quot;">
                  <c:v>17.324999999999996</c:v>
                </c:pt>
                <c:pt idx="1312" formatCode="#,##0_);\(#,##0\);&quot;-  &quot;;&quot; &quot;@&quot; &quot;">
                  <c:v>17.199999999999996</c:v>
                </c:pt>
                <c:pt idx="1313" formatCode="#,##0_);\(#,##0\);&quot;-  &quot;;&quot; &quot;@&quot; &quot;">
                  <c:v>16.725000000000009</c:v>
                </c:pt>
                <c:pt idx="1314" formatCode="#,##0_);\(#,##0\);&quot;-  &quot;;&quot; &quot;@&quot; &quot;">
                  <c:v>16.399999999999999</c:v>
                </c:pt>
                <c:pt idx="1315" formatCode="#,##0_);\(#,##0\);&quot;-  &quot;;&quot; &quot;@&quot; &quot;">
                  <c:v>15.529999999999994</c:v>
                </c:pt>
                <c:pt idx="1316" formatCode="#,##0_);\(#,##0\);&quot;-  &quot;;&quot; &quot;@&quot; &quot;">
                  <c:v>15.170000000000002</c:v>
                </c:pt>
                <c:pt idx="1317" formatCode="#,##0_);\(#,##0\);&quot;-  &quot;;&quot; &quot;@&quot; &quot;">
                  <c:v>15.764999999999993</c:v>
                </c:pt>
                <c:pt idx="1318" formatCode="#,##0_);\(#,##0\);&quot;-  &quot;;&quot; &quot;@&quot; &quot;">
                  <c:v>15.780000000000008</c:v>
                </c:pt>
                <c:pt idx="1319" formatCode="#,##0_);\(#,##0\);&quot;-  &quot;;&quot; &quot;@&quot; &quot;">
                  <c:v>15.315000000000005</c:v>
                </c:pt>
                <c:pt idx="1320" formatCode="#,##0_);\(#,##0\);&quot;-  &quot;;&quot; &quot;@&quot; &quot;">
                  <c:v>15.305</c:v>
                </c:pt>
                <c:pt idx="1321" formatCode="#,##0_);\(#,##0\);&quot;-  &quot;;&quot; &quot;@&quot; &quot;">
                  <c:v>15.435000000000002</c:v>
                </c:pt>
                <c:pt idx="1322" formatCode="#,##0_);\(#,##0\);&quot;-  &quot;;&quot; &quot;@&quot; &quot;">
                  <c:v>15.380000000000003</c:v>
                </c:pt>
                <c:pt idx="1323" formatCode="#,##0_);\(#,##0\);&quot;-  &quot;;&quot; &quot;@&quot; &quot;">
                  <c:v>15.234999999999999</c:v>
                </c:pt>
                <c:pt idx="1324" formatCode="#,##0_);\(#,##0\);&quot;-  &quot;;&quot; &quot;@&quot; &quot;">
                  <c:v>15.274999999999999</c:v>
                </c:pt>
                <c:pt idx="1325" formatCode="#,##0_);\(#,##0\);&quot;-  &quot;;&quot; &quot;@&quot; &quot;">
                  <c:v>15.549999999999997</c:v>
                </c:pt>
                <c:pt idx="1326" formatCode="#,##0_);\(#,##0\);&quot;-  &quot;;&quot; &quot;@&quot; &quot;">
                  <c:v>16.174999999999997</c:v>
                </c:pt>
                <c:pt idx="1327" formatCode="#,##0_);\(#,##0\);&quot;-  &quot;;&quot; &quot;@&quot; &quot;">
                  <c:v>16.555</c:v>
                </c:pt>
                <c:pt idx="1328" formatCode="#,##0_);\(#,##0\);&quot;-  &quot;;&quot; &quot;@&quot; &quot;">
                  <c:v>15.975000000000001</c:v>
                </c:pt>
                <c:pt idx="1329" formatCode="#,##0_);\(#,##0\);&quot;-  &quot;;&quot; &quot;@&quot; &quot;">
                  <c:v>16.734999999999999</c:v>
                </c:pt>
                <c:pt idx="1330" formatCode="#,##0_);\(#,##0\);&quot;-  &quot;;&quot; &quot;@&quot; &quot;">
                  <c:v>15.79</c:v>
                </c:pt>
                <c:pt idx="1331" formatCode="#,##0_);\(#,##0\);&quot;-  &quot;;&quot; &quot;@&quot; &quot;">
                  <c:v>15.989999999999995</c:v>
                </c:pt>
                <c:pt idx="1332" formatCode="#,##0_);\(#,##0\);&quot;-  &quot;;&quot; &quot;@&quot; &quot;">
                  <c:v>15.130000000000003</c:v>
                </c:pt>
                <c:pt idx="1333" formatCode="#,##0_);\(#,##0\);&quot;-  &quot;;&quot; &quot;@&quot; &quot;">
                  <c:v>15.574999999999996</c:v>
                </c:pt>
                <c:pt idx="1334" formatCode="#,##0_);\(#,##0\);&quot;-  &quot;;&quot; &quot;@&quot; &quot;">
                  <c:v>16.384999999999998</c:v>
                </c:pt>
                <c:pt idx="1335" formatCode="#,##0_);\(#,##0\);&quot;-  &quot;;&quot; &quot;@&quot; &quot;">
                  <c:v>16.195000000000007</c:v>
                </c:pt>
                <c:pt idx="1336" formatCode="#,##0_);\(#,##0\);&quot;-  &quot;;&quot; &quot;@&quot; &quot;">
                  <c:v>16.179999999999993</c:v>
                </c:pt>
                <c:pt idx="1337" formatCode="#,##0_);\(#,##0\);&quot;-  &quot;;&quot; &quot;@&quot; &quot;">
                  <c:v>15.935000000000002</c:v>
                </c:pt>
                <c:pt idx="1338" formatCode="#,##0_);\(#,##0\);&quot;-  &quot;;&quot; &quot;@&quot; &quot;">
                  <c:v>15.195000000000007</c:v>
                </c:pt>
                <c:pt idx="1339" formatCode="#,##0_);\(#,##0\);&quot;-  &quot;;&quot; &quot;@&quot; &quot;">
                  <c:v>15.569999999999993</c:v>
                </c:pt>
                <c:pt idx="1340" formatCode="#,##0_);\(#,##0\);&quot;-  &quot;;&quot; &quot;@&quot; &quot;">
                  <c:v>15.475000000000009</c:v>
                </c:pt>
                <c:pt idx="1341" formatCode="#,##0_);\(#,##0\);&quot;-  &quot;;&quot; &quot;@&quot; &quot;">
                  <c:v>16.674999999999997</c:v>
                </c:pt>
                <c:pt idx="1342" formatCode="#,##0_);\(#,##0\);&quot;-  &quot;;&quot; &quot;@&quot; &quot;">
                  <c:v>16.594999999999999</c:v>
                </c:pt>
                <c:pt idx="1343" formatCode="#,##0_);\(#,##0\);&quot;-  &quot;;&quot; &quot;@&quot; &quot;">
                  <c:v>16.495000000000005</c:v>
                </c:pt>
                <c:pt idx="1344" formatCode="#,##0_);\(#,##0\);&quot;-  &quot;;&quot; &quot;@&quot; &quot;">
                  <c:v>17.055000000000007</c:v>
                </c:pt>
                <c:pt idx="1345" formatCode="#,##0_);\(#,##0\);&quot;-  &quot;;&quot; &quot;@&quot; &quot;">
                  <c:v>17.534999999999997</c:v>
                </c:pt>
                <c:pt idx="1346" formatCode="#,##0_);\(#,##0\);&quot;-  &quot;;&quot; &quot;@&quot; &quot;">
                  <c:v>16.829999999999998</c:v>
                </c:pt>
                <c:pt idx="1347" formatCode="#,##0_);\(#,##0\);&quot;-  &quot;;&quot; &quot;@&quot; &quot;">
                  <c:v>16.86</c:v>
                </c:pt>
                <c:pt idx="1348" formatCode="#,##0_);\(#,##0\);&quot;-  &quot;;&quot; &quot;@&quot; &quot;">
                  <c:v>17.094999999999999</c:v>
                </c:pt>
                <c:pt idx="1349" formatCode="#,##0_);\(#,##0\);&quot;-  &quot;;&quot; &quot;@&quot; &quot;">
                  <c:v>16.745000000000005</c:v>
                </c:pt>
                <c:pt idx="1350" formatCode="#,##0_);\(#,##0\);&quot;-  &quot;;&quot; &quot;@&quot; &quot;">
                  <c:v>16.79</c:v>
                </c:pt>
                <c:pt idx="1351" formatCode="#,##0_);\(#,##0\);&quot;-  &quot;;&quot; &quot;@&quot; &quot;">
                  <c:v>15.554999999999993</c:v>
                </c:pt>
                <c:pt idx="1352" formatCode="#,##0_);\(#,##0\);&quot;-  &quot;;&quot; &quot;@&quot; &quot;">
                  <c:v>15.259999999999991</c:v>
                </c:pt>
                <c:pt idx="1353" formatCode="#,##0_);\(#,##0\);&quot;-  &quot;;&quot; &quot;@&quot; &quot;">
                  <c:v>15.004999999999995</c:v>
                </c:pt>
                <c:pt idx="1354" formatCode="#,##0_);\(#,##0\);&quot;-  &quot;;&quot; &quot;@&quot; &quot;">
                  <c:v>14.964999999999989</c:v>
                </c:pt>
                <c:pt idx="1355" formatCode="#,##0_);\(#,##0\);&quot;-  &quot;;&quot; &quot;@&quot; &quot;">
                  <c:v>14.519999999999996</c:v>
                </c:pt>
                <c:pt idx="1356" formatCode="#,##0_);\(#,##0\);&quot;-  &quot;;&quot; &quot;@&quot; &quot;">
                  <c:v>13.719999999999999</c:v>
                </c:pt>
                <c:pt idx="1357" formatCode="#,##0_);\(#,##0\);&quot;-  &quot;;&quot; &quot;@&quot; &quot;">
                  <c:v>13.969999999999999</c:v>
                </c:pt>
                <c:pt idx="1358" formatCode="#,##0_);\(#,##0\);&quot;-  &quot;;&quot; &quot;@&quot; &quot;">
                  <c:v>13.99499999999999</c:v>
                </c:pt>
                <c:pt idx="1359" formatCode="#,##0_);\(#,##0\);&quot;-  &quot;;&quot; &quot;@&quot; &quot;">
                  <c:v>13.530000000000001</c:v>
                </c:pt>
                <c:pt idx="1360" formatCode="#,##0_);\(#,##0\);&quot;-  &quot;;&quot; &quot;@&quot; &quot;">
                  <c:v>14.239999999999995</c:v>
                </c:pt>
                <c:pt idx="1361" formatCode="#,##0_);\(#,##0\);&quot;-  &quot;;&quot; &quot;@&quot; &quot;">
                  <c:v>14.055000000000007</c:v>
                </c:pt>
                <c:pt idx="1362" formatCode="#,##0_);\(#,##0\);&quot;-  &quot;;&quot; &quot;@&quot; &quot;">
                  <c:v>13.810000000000002</c:v>
                </c:pt>
                <c:pt idx="1363" formatCode="#,##0_);\(#,##0\);&quot;-  &quot;;&quot; &quot;@&quot; &quot;">
                  <c:v>13.689999999999998</c:v>
                </c:pt>
                <c:pt idx="1364" formatCode="#,##0_);\(#,##0\);&quot;-  &quot;;&quot; &quot;@&quot; &quot;">
                  <c:v>14.02000000000001</c:v>
                </c:pt>
                <c:pt idx="1365" formatCode="#,##0_);\(#,##0\);&quot;-  &quot;;&quot; &quot;@&quot; &quot;">
                  <c:v>12.790000000000006</c:v>
                </c:pt>
                <c:pt idx="1366" formatCode="#,##0_);\(#,##0\);&quot;-  &quot;;&quot; &quot;@&quot; &quot;">
                  <c:v>12.309999999999988</c:v>
                </c:pt>
                <c:pt idx="1367" formatCode="#,##0_);\(#,##0\);&quot;-  &quot;;&quot; &quot;@&quot; &quot;">
                  <c:v>12.420000000000002</c:v>
                </c:pt>
                <c:pt idx="1368" formatCode="#,##0_);\(#,##0\);&quot;-  &quot;;&quot; &quot;@&quot; &quot;">
                  <c:v>12.839999999999989</c:v>
                </c:pt>
                <c:pt idx="1369" formatCode="#,##0_);\(#,##0\);&quot;-  &quot;;&quot; &quot;@&quot; &quot;">
                  <c:v>12.260000000000005</c:v>
                </c:pt>
                <c:pt idx="1370" formatCode="#,##0_);\(#,##0\);&quot;-  &quot;;&quot; &quot;@&quot; &quot;">
                  <c:v>12.650000000000006</c:v>
                </c:pt>
                <c:pt idx="1371" formatCode="#,##0_);\(#,##0\);&quot;-  &quot;;&quot; &quot;@&quot; &quot;">
                  <c:v>12.614999999999995</c:v>
                </c:pt>
                <c:pt idx="1372" formatCode="#,##0_);\(#,##0\);&quot;-  &quot;;&quot; &quot;@&quot; &quot;">
                  <c:v>12.700000000000003</c:v>
                </c:pt>
                <c:pt idx="1373" formatCode="#,##0_);\(#,##0\);&quot;-  &quot;;&quot; &quot;@&quot; &quot;">
                  <c:v>12.739999999999995</c:v>
                </c:pt>
                <c:pt idx="1374" formatCode="#,##0_);\(#,##0\);&quot;-  &quot;;&quot; &quot;@&quot; &quot;">
                  <c:v>13.115000000000009</c:v>
                </c:pt>
                <c:pt idx="1375" formatCode="#,##0_);\(#,##0\);&quot;-  &quot;;&quot; &quot;@&quot; &quot;">
                  <c:v>12.965000000000003</c:v>
                </c:pt>
                <c:pt idx="1376" formatCode="#,##0_);\(#,##0\);&quot;-  &quot;;&quot; &quot;@&quot; &quot;">
                  <c:v>13.239999999999995</c:v>
                </c:pt>
                <c:pt idx="1377" formatCode="#,##0_);\(#,##0\);&quot;-  &quot;;&quot; &quot;@&quot; &quot;">
                  <c:v>13.654999999999987</c:v>
                </c:pt>
                <c:pt idx="1378" formatCode="#,##0_);\(#,##0\);&quot;-  &quot;;&quot; &quot;@&quot; &quot;">
                  <c:v>13.664999999999992</c:v>
                </c:pt>
                <c:pt idx="1379" formatCode="#,##0_);\(#,##0\);&quot;-  &quot;;&quot; &quot;@&quot; &quot;">
                  <c:v>13.689999999999998</c:v>
                </c:pt>
                <c:pt idx="1380" formatCode="#,##0_);\(#,##0\);&quot;-  &quot;;&quot; &quot;@&quot; &quot;">
                  <c:v>12.060000000000002</c:v>
                </c:pt>
                <c:pt idx="1381" formatCode="#,##0_);\(#,##0\);&quot;-  &quot;;&quot; &quot;@&quot; &quot;">
                  <c:v>12.930000000000007</c:v>
                </c:pt>
                <c:pt idx="1382" formatCode="#,##0_);\(#,##0\);&quot;-  &quot;;&quot; &quot;@&quot; &quot;">
                  <c:v>12.454999999999998</c:v>
                </c:pt>
                <c:pt idx="1383" formatCode="#,##0_);\(#,##0\);&quot;-  &quot;;&quot; &quot;@&quot; &quot;">
                  <c:v>12.269999999999996</c:v>
                </c:pt>
                <c:pt idx="1384" formatCode="#,##0_);\(#,##0\);&quot;-  &quot;;&quot; &quot;@&quot; &quot;">
                  <c:v>13.480000000000004</c:v>
                </c:pt>
                <c:pt idx="1385" formatCode="#,##0_);\(#,##0\);&quot;-  &quot;;&quot; &quot;@&quot; &quot;">
                  <c:v>12.459999999999994</c:v>
                </c:pt>
                <c:pt idx="1386" formatCode="#,##0_);\(#,##0\);&quot;-  &quot;;&quot; &quot;@&quot; &quot;">
                  <c:v>12.5</c:v>
                </c:pt>
                <c:pt idx="1387" formatCode="#,##0_);\(#,##0\);&quot;-  &quot;;&quot; &quot;@&quot; &quot;">
                  <c:v>13.35499999999999</c:v>
                </c:pt>
                <c:pt idx="1388" formatCode="#,##0_);\(#,##0\);&quot;-  &quot;;&quot; &quot;@&quot; &quot;">
                  <c:v>14.504999999999995</c:v>
                </c:pt>
                <c:pt idx="1389" formatCode="#,##0_);\(#,##0\);&quot;-  &quot;;&quot; &quot;@&quot; &quot;">
                  <c:v>13.325000000000003</c:v>
                </c:pt>
                <c:pt idx="1390" formatCode="#,##0_);\(#,##0\);&quot;-  &quot;;&quot; &quot;@&quot; &quot;">
                  <c:v>14.600000000000009</c:v>
                </c:pt>
                <c:pt idx="1391" formatCode="#,##0_);\(#,##0\);&quot;-  &quot;;&quot; &quot;@&quot; &quot;">
                  <c:v>14.070000000000007</c:v>
                </c:pt>
                <c:pt idx="1392" formatCode="#,##0_);\(#,##0\);&quot;-  &quot;;&quot; &quot;@&quot; &quot;">
                  <c:v>14.224999999999994</c:v>
                </c:pt>
                <c:pt idx="1393" formatCode="#,##0_);\(#,##0\);&quot;-  &quot;;&quot; &quot;@&quot; &quot;">
                  <c:v>14.330000000000013</c:v>
                </c:pt>
                <c:pt idx="1394" formatCode="#,##0_);\(#,##0\);&quot;-  &quot;;&quot; &quot;@&quot; &quot;">
                  <c:v>13.11</c:v>
                </c:pt>
                <c:pt idx="1395" formatCode="#,##0_);\(#,##0\);&quot;-  &quot;;&quot; &quot;@&quot; &quot;">
                  <c:v>12.879999999999995</c:v>
                </c:pt>
                <c:pt idx="1396" formatCode="#,##0_);\(#,##0\);&quot;-  &quot;;&quot; &quot;@&quot; &quot;">
                  <c:v>12.519999999999996</c:v>
                </c:pt>
                <c:pt idx="1397" formatCode="#,##0_);\(#,##0\);&quot;-  &quot;;&quot; &quot;@&quot; &quot;">
                  <c:v>13.040000000000006</c:v>
                </c:pt>
                <c:pt idx="1398" formatCode="#,##0_);\(#,##0\);&quot;-  &quot;;&quot; &quot;@&quot; &quot;">
                  <c:v>13.870000000000005</c:v>
                </c:pt>
                <c:pt idx="1399" formatCode="#,##0_);\(#,##0\);&quot;-  &quot;;&quot; &quot;@&quot; &quot;">
                  <c:v>14.160000000000011</c:v>
                </c:pt>
                <c:pt idx="1400" formatCode="#,##0_);\(#,##0\);&quot;-  &quot;;&quot; &quot;@&quot; &quot;">
                  <c:v>14.280000000000001</c:v>
                </c:pt>
                <c:pt idx="1401" formatCode="#,##0_);\(#,##0\);&quot;-  &quot;;&quot; &quot;@&quot; &quot;">
                  <c:v>13.710000000000008</c:v>
                </c:pt>
                <c:pt idx="1402" formatCode="#,##0_);\(#,##0\);&quot;-  &quot;;&quot; &quot;@&quot; &quot;">
                  <c:v>12.825000000000003</c:v>
                </c:pt>
                <c:pt idx="1403" formatCode="#,##0_);\(#,##0\);&quot;-  &quot;;&quot; &quot;@&quot; &quot;">
                  <c:v>13.510000000000005</c:v>
                </c:pt>
                <c:pt idx="1404" formatCode="#,##0_);\(#,##0\);&quot;-  &quot;;&quot; &quot;@&quot; &quot;">
                  <c:v>12.814999999999998</c:v>
                </c:pt>
                <c:pt idx="1405" formatCode="#,##0_);\(#,##0\);&quot;-  &quot;;&quot; &quot;@&quot; &quot;">
                  <c:v>12.215000000000003</c:v>
                </c:pt>
                <c:pt idx="1406" formatCode="#,##0_);\(#,##0\);&quot;-  &quot;;&quot; &quot;@&quot; &quot;">
                  <c:v>12.050000000000011</c:v>
                </c:pt>
                <c:pt idx="1407" formatCode="#,##0_);\(#,##0\);&quot;-  &quot;;&quot; &quot;@&quot; &quot;">
                  <c:v>12.049999999999997</c:v>
                </c:pt>
                <c:pt idx="1408" formatCode="#,##0_);\(#,##0\);&quot;-  &quot;;&quot; &quot;@&quot; &quot;">
                  <c:v>11.61</c:v>
                </c:pt>
                <c:pt idx="1409" formatCode="#,##0_);\(#,##0\);&quot;-  &quot;;&quot; &quot;@&quot; &quot;">
                  <c:v>11.544999999999995</c:v>
                </c:pt>
                <c:pt idx="1410" formatCode="#,##0_);\(#,##0\);&quot;-  &quot;;&quot; &quot;@&quot; &quot;">
                  <c:v>11.375</c:v>
                </c:pt>
                <c:pt idx="1411" formatCode="#,##0_);\(#,##0\);&quot;-  &quot;;&quot; &quot;@&quot; &quot;">
                  <c:v>11.714999999999996</c:v>
                </c:pt>
                <c:pt idx="1412" formatCode="#,##0_);\(#,##0\);&quot;-  &quot;;&quot; &quot;@&quot; &quot;">
                  <c:v>11.290000000000006</c:v>
                </c:pt>
                <c:pt idx="1413" formatCode="#,##0_);\(#,##0\);&quot;-  &quot;;&quot; &quot;@&quot; &quot;">
                  <c:v>10.935000000000002</c:v>
                </c:pt>
                <c:pt idx="1414" formatCode="#,##0_);\(#,##0\);&quot;-  &quot;;&quot; &quot;@&quot; &quot;">
                  <c:v>10.739999999999995</c:v>
                </c:pt>
                <c:pt idx="1415" formatCode="#,##0_);\(#,##0\);&quot;-  &quot;;&quot; &quot;@&quot; &quot;">
                  <c:v>11.075000000000003</c:v>
                </c:pt>
                <c:pt idx="1416" formatCode="#,##0_);\(#,##0\);&quot;-  &quot;;&quot; &quot;@&quot; &quot;">
                  <c:v>11.615000000000002</c:v>
                </c:pt>
                <c:pt idx="1417" formatCode="#,##0_);\(#,##0\);&quot;-  &quot;;&quot; &quot;@&quot; &quot;">
                  <c:v>12.005000000000003</c:v>
                </c:pt>
                <c:pt idx="1418" formatCode="#,##0_);\(#,##0\);&quot;-  &quot;;&quot; &quot;@&quot; &quot;">
                  <c:v>12.394999999999996</c:v>
                </c:pt>
                <c:pt idx="1419" formatCode="#,##0_);\(#,##0\);&quot;-  &quot;;&quot; &quot;@&quot; &quot;">
                  <c:v>12.495000000000005</c:v>
                </c:pt>
                <c:pt idx="1420" formatCode="#,##0_);\(#,##0\);&quot;-  &quot;;&quot; &quot;@&quot; &quot;">
                  <c:v>12.155000000000001</c:v>
                </c:pt>
                <c:pt idx="1421" formatCode="#,##0_);\(#,##0\);&quot;-  &quot;;&quot; &quot;@&quot; &quot;">
                  <c:v>12.715000000000003</c:v>
                </c:pt>
                <c:pt idx="1422" formatCode="#,##0_);\(#,##0\);&quot;-  &quot;;&quot; &quot;@&quot; &quot;">
                  <c:v>12.579999999999998</c:v>
                </c:pt>
                <c:pt idx="1423" formatCode="#,##0_);\(#,##0\);&quot;-  &quot;;&quot; &quot;@&quot; &quot;">
                  <c:v>13.044999999999987</c:v>
                </c:pt>
                <c:pt idx="1424" formatCode="#,##0_);\(#,##0\);&quot;-  &quot;;&quot; &quot;@&quot; &quot;">
                  <c:v>14.060000000000002</c:v>
                </c:pt>
                <c:pt idx="1425" formatCode="#,##0_);\(#,##0\);&quot;-  &quot;;&quot; &quot;@&quot; &quot;">
                  <c:v>13.480000000000004</c:v>
                </c:pt>
                <c:pt idx="1426" formatCode="#,##0_);\(#,##0\);&quot;-  &quot;;&quot; &quot;@&quot; &quot;">
                  <c:v>14.545000000000002</c:v>
                </c:pt>
                <c:pt idx="1427" formatCode="#,##0_);\(#,##0\);&quot;-  &quot;;&quot; &quot;@&quot; &quot;">
                  <c:v>14.710000000000008</c:v>
                </c:pt>
                <c:pt idx="1428" formatCode="#,##0_);\(#,##0\);&quot;-  &quot;;&quot; &quot;@&quot; &quot;">
                  <c:v>14.445000000000007</c:v>
                </c:pt>
                <c:pt idx="1429" formatCode="#,##0_);\(#,##0\);&quot;-  &quot;;&quot; &quot;@&quot; &quot;">
                  <c:v>16.309999999999988</c:v>
                </c:pt>
                <c:pt idx="1430" formatCode="#,##0_);\(#,##0\);&quot;-  &quot;;&quot; &quot;@&quot; &quot;">
                  <c:v>16.295000000000002</c:v>
                </c:pt>
                <c:pt idx="1431" formatCode="#,##0_);\(#,##0\);&quot;-  &quot;;&quot; &quot;@&quot; &quot;">
                  <c:v>15.160000000000004</c:v>
                </c:pt>
                <c:pt idx="1432" formatCode="#,##0_);\(#,##0\);&quot;-  &quot;;&quot; &quot;@&quot; &quot;">
                  <c:v>14.884999999999998</c:v>
                </c:pt>
                <c:pt idx="1433" formatCode="#,##0_);\(#,##0\);&quot;-  &quot;;&quot; &quot;@&quot; &quot;">
                  <c:v>14.329999999999998</c:v>
                </c:pt>
                <c:pt idx="1434" formatCode="#,##0_);\(#,##0\);&quot;-  &quot;;&quot; &quot;@&quot; &quot;">
                  <c:v>14.155000000000001</c:v>
                </c:pt>
                <c:pt idx="1435" formatCode="#,##0_);\(#,##0\);&quot;-  &quot;;&quot; &quot;@&quot; &quot;">
                  <c:v>15.155000000000001</c:v>
                </c:pt>
                <c:pt idx="1436" formatCode="#,##0_);\(#,##0\);&quot;-  &quot;;&quot; &quot;@&quot; &quot;">
                  <c:v>15.875</c:v>
                </c:pt>
                <c:pt idx="1437" formatCode="#,##0_);\(#,##0\);&quot;-  &quot;;&quot; &quot;@&quot; &quot;">
                  <c:v>15.984999999999999</c:v>
                </c:pt>
                <c:pt idx="1438" formatCode="#,##0_);\(#,##0\);&quot;-  &quot;;&quot; &quot;@&quot; &quot;">
                  <c:v>15.810000000000002</c:v>
                </c:pt>
                <c:pt idx="1439" formatCode="#,##0_);\(#,##0\);&quot;-  &quot;;&quot; &quot;@&quot; &quot;">
                  <c:v>15.129999999999995</c:v>
                </c:pt>
                <c:pt idx="1440" formatCode="#,##0_);\(#,##0\);&quot;-  &quot;;&quot; &quot;@&quot; &quot;">
                  <c:v>14.850000000000009</c:v>
                </c:pt>
                <c:pt idx="1441" formatCode="#,##0_);\(#,##0\);&quot;-  &quot;;&quot; &quot;@&quot; &quot;">
                  <c:v>15.900000000000006</c:v>
                </c:pt>
                <c:pt idx="1442" formatCode="#,##0_);\(#,##0\);&quot;-  &quot;;&quot; &quot;@&quot; &quot;">
                  <c:v>17.424999999999997</c:v>
                </c:pt>
                <c:pt idx="1443" formatCode="#,##0_);\(#,##0\);&quot;-  &quot;;&quot; &quot;@&quot; &quot;">
                  <c:v>18.054999999999993</c:v>
                </c:pt>
                <c:pt idx="1444" formatCode="#,##0_);\(#,##0\);&quot;-  &quot;;&quot; &quot;@&quot; &quot;">
                  <c:v>17.350000000000001</c:v>
                </c:pt>
                <c:pt idx="1445" formatCode="#,##0_);\(#,##0\);&quot;-  &quot;;&quot; &quot;@&quot; &quot;">
                  <c:v>17.409999999999997</c:v>
                </c:pt>
                <c:pt idx="1446" formatCode="#,##0_);\(#,##0\);&quot;-  &quot;;&quot; &quot;@&quot; &quot;">
                  <c:v>16.604999999999997</c:v>
                </c:pt>
                <c:pt idx="1447" formatCode="#,##0_);\(#,##0\);&quot;-  &quot;;&quot; &quot;@&quot; &quot;">
                  <c:v>16.915000000000006</c:v>
                </c:pt>
                <c:pt idx="1448" formatCode="#,##0_);\(#,##0\);&quot;-  &quot;;&quot; &quot;@&quot; &quot;">
                  <c:v>17.78</c:v>
                </c:pt>
                <c:pt idx="1449" formatCode="#,##0_);\(#,##0\);&quot;-  &quot;;&quot; &quot;@&quot; &quot;">
                  <c:v>17.835000000000008</c:v>
                </c:pt>
                <c:pt idx="1450" formatCode="#,##0_);\(#,##0\);&quot;-  &quot;;&quot; &quot;@&quot; &quot;">
                  <c:v>18.310000000000002</c:v>
                </c:pt>
                <c:pt idx="1451" formatCode="#,##0_);\(#,##0\);&quot;-  &quot;;&quot; &quot;@&quot; &quot;">
                  <c:v>18.260000000000005</c:v>
                </c:pt>
                <c:pt idx="1452" formatCode="#,##0_);\(#,##0\);&quot;-  &quot;;&quot; &quot;@&quot; &quot;">
                  <c:v>16.299999999999997</c:v>
                </c:pt>
                <c:pt idx="1453" formatCode="#,##0_);\(#,##0\);&quot;-  &quot;;&quot; &quot;@&quot; &quot;">
                  <c:v>16.870000000000005</c:v>
                </c:pt>
                <c:pt idx="1454" formatCode="#,##0_);\(#,##0\);&quot;-  &quot;;&quot; &quot;@&quot; &quot;">
                  <c:v>16.96</c:v>
                </c:pt>
                <c:pt idx="1455" formatCode="#,##0_);\(#,##0\);&quot;-  &quot;;&quot; &quot;@&quot; &quot;">
                  <c:v>17.155000000000001</c:v>
                </c:pt>
                <c:pt idx="1456" formatCode="#,##0_);\(#,##0\);&quot;-  &quot;;&quot; &quot;@&quot; &quot;">
                  <c:v>18.085000000000001</c:v>
                </c:pt>
                <c:pt idx="1457" formatCode="#,##0_);\(#,##0\);&quot;-  &quot;;&quot; &quot;@&quot; &quot;">
                  <c:v>17.015000000000001</c:v>
                </c:pt>
                <c:pt idx="1458" formatCode="#,##0_);\(#,##0\);&quot;-  &quot;;&quot; &quot;@&quot; &quot;">
                  <c:v>16.844999999999992</c:v>
                </c:pt>
                <c:pt idx="1459" formatCode="#,##0_);\(#,##0\);&quot;-  &quot;;&quot; &quot;@&quot; &quot;">
                  <c:v>16.920000000000002</c:v>
                </c:pt>
                <c:pt idx="1460" formatCode="#,##0_);\(#,##0\);&quot;-  &quot;;&quot; &quot;@&quot; &quot;">
                  <c:v>16.57</c:v>
                </c:pt>
                <c:pt idx="1461" formatCode="#,##0_);\(#,##0\);&quot;-  &quot;;&quot; &quot;@&quot; &quot;">
                  <c:v>18.295000000000002</c:v>
                </c:pt>
                <c:pt idx="1462" formatCode="#,##0_);\(#,##0\);&quot;-  &quot;;&quot; &quot;@&quot; &quot;">
                  <c:v>17.844999999999999</c:v>
                </c:pt>
                <c:pt idx="1463" formatCode="#,##0_);\(#,##0\);&quot;-  &quot;;&quot; &quot;@&quot; &quot;">
                  <c:v>17.414999999999999</c:v>
                </c:pt>
                <c:pt idx="1464" formatCode="#,##0_);\(#,##0\);&quot;-  &quot;;&quot; &quot;@&quot; &quot;">
                  <c:v>17.035000000000004</c:v>
                </c:pt>
                <c:pt idx="1465" formatCode="#,##0_);\(#,##0\);&quot;-  &quot;;&quot; &quot;@&quot; &quot;">
                  <c:v>17.585000000000001</c:v>
                </c:pt>
                <c:pt idx="1466" formatCode="#,##0_);\(#,##0\);&quot;-  &quot;;&quot; &quot;@&quot; &quot;">
                  <c:v>16.769999999999996</c:v>
                </c:pt>
                <c:pt idx="1467" formatCode="#,##0_);\(#,##0\);&quot;-  &quot;;&quot; &quot;@&quot; &quot;">
                  <c:v>17.350000000000001</c:v>
                </c:pt>
                <c:pt idx="1468" formatCode="#,##0_);\(#,##0\);&quot;-  &quot;;&quot; &quot;@&quot; &quot;">
                  <c:v>17.145000000000003</c:v>
                </c:pt>
                <c:pt idx="1469" formatCode="#,##0_);\(#,##0\);&quot;-  &quot;;&quot; &quot;@&quot; &quot;">
                  <c:v>17.04</c:v>
                </c:pt>
                <c:pt idx="1470" formatCode="#,##0_);\(#,##0\);&quot;-  &quot;;&quot; &quot;@&quot; &quot;">
                  <c:v>17.280000000000008</c:v>
                </c:pt>
                <c:pt idx="1471" formatCode="#,##0_);\(#,##0\);&quot;-  &quot;;&quot; &quot;@&quot; &quot;">
                  <c:v>16.515000000000001</c:v>
                </c:pt>
                <c:pt idx="1472" formatCode="#,##0_);\(#,##0\);&quot;-  &quot;;&quot; &quot;@&quot; &quot;">
                  <c:v>16.899999999999999</c:v>
                </c:pt>
                <c:pt idx="1473" formatCode="#,##0_);\(#,##0\);&quot;-  &quot;;&quot; &quot;@&quot; &quot;">
                  <c:v>17.230000000000004</c:v>
                </c:pt>
                <c:pt idx="1474" formatCode="#,##0_);\(#,##0\);&quot;-  &quot;;&quot; &quot;@&quot; &quot;">
                  <c:v>16.980000000000004</c:v>
                </c:pt>
                <c:pt idx="1475" formatCode="#,##0_);\(#,##0\);&quot;-  &quot;;&quot; &quot;@&quot; &quot;">
                  <c:v>16.090000000000003</c:v>
                </c:pt>
                <c:pt idx="1476" formatCode="#,##0_);\(#,##0\);&quot;-  &quot;;&quot; &quot;@&quot; &quot;">
                  <c:v>15.859999999999992</c:v>
                </c:pt>
                <c:pt idx="1477" formatCode="#,##0_);\(#,##0\);&quot;-  &quot;;&quot; &quot;@&quot; &quot;">
                  <c:v>15.019999999999996</c:v>
                </c:pt>
                <c:pt idx="1478" formatCode="#,##0_);\(#,##0\);&quot;-  &quot;;&quot; &quot;@&quot; &quot;">
                  <c:v>16.015000000000001</c:v>
                </c:pt>
                <c:pt idx="1479" formatCode="#,##0_);\(#,##0\);&quot;-  &quot;;&quot; &quot;@&quot; &quot;">
                  <c:v>14.780000000000001</c:v>
                </c:pt>
                <c:pt idx="1480" formatCode="#,##0_);\(#,##0\);&quot;-  &quot;;&quot; &quot;@&quot; &quot;">
                  <c:v>14.884999999999991</c:v>
                </c:pt>
                <c:pt idx="1481" formatCode="#,##0_);\(#,##0\);&quot;-  &quot;;&quot; &quot;@&quot; &quot;">
                  <c:v>15.520000000000003</c:v>
                </c:pt>
                <c:pt idx="1482" formatCode="#,##0_);\(#,##0\);&quot;-  &quot;;&quot; &quot;@&quot; &quot;">
                  <c:v>16.32</c:v>
                </c:pt>
                <c:pt idx="1483" formatCode="#,##0_);\(#,##0\);&quot;-  &quot;;&quot; &quot;@&quot; &quot;">
                  <c:v>15.569999999999993</c:v>
                </c:pt>
                <c:pt idx="1484" formatCode="#,##0_);\(#,##0\);&quot;-  &quot;;&quot; &quot;@&quot; &quot;">
                  <c:v>16.575000000000003</c:v>
                </c:pt>
                <c:pt idx="1485" formatCode="#,##0_);\(#,##0\);&quot;-  &quot;;&quot; &quot;@&quot; &quot;">
                  <c:v>18.215000000000003</c:v>
                </c:pt>
                <c:pt idx="1486" formatCode="#,##0_);\(#,##0\);&quot;-  &quot;;&quot; &quot;@&quot; &quot;">
                  <c:v>17.790000000000006</c:v>
                </c:pt>
                <c:pt idx="1487" formatCode="#,##0_);\(#,##0\);&quot;-  &quot;;&quot; &quot;@&quot; &quot;">
                  <c:v>18.564999999999998</c:v>
                </c:pt>
                <c:pt idx="1488" formatCode="#,##0_);\(#,##0\);&quot;-  &quot;;&quot; &quot;@&quot; &quot;">
                  <c:v>18.550000000000011</c:v>
                </c:pt>
                <c:pt idx="1489" formatCode="#,##0_);\(#,##0\);&quot;-  &quot;;&quot; &quot;@&quot; &quot;">
                  <c:v>18.269999999999996</c:v>
                </c:pt>
                <c:pt idx="1490" formatCode="#,##0_);\(#,##0\);&quot;-  &quot;;&quot; &quot;@&quot; &quot;">
                  <c:v>17.629999999999995</c:v>
                </c:pt>
                <c:pt idx="1491" formatCode="#,##0_);\(#,##0\);&quot;-  &quot;;&quot; &quot;@&quot; &quot;">
                  <c:v>18.25500000000001</c:v>
                </c:pt>
                <c:pt idx="1492" formatCode="#,##0_);\(#,##0\);&quot;-  &quot;;&quot; &quot;@&quot; &quot;">
                  <c:v>18.695</c:v>
                </c:pt>
                <c:pt idx="1493" formatCode="#,##0_);\(#,##0\);&quot;-  &quot;;&quot; &quot;@&quot; &quot;">
                  <c:v>18.614999999999995</c:v>
                </c:pt>
                <c:pt idx="1494" formatCode="#,##0_);\(#,##0\);&quot;-  &quot;;&quot; &quot;@&quot; &quot;">
                  <c:v>18.659999999999997</c:v>
                </c:pt>
                <c:pt idx="1495" formatCode="#,##0_);\(#,##0\);&quot;-  &quot;;&quot; &quot;@&quot; &quot;">
                  <c:v>18.924999999999997</c:v>
                </c:pt>
                <c:pt idx="1496" formatCode="#,##0_);\(#,##0\);&quot;-  &quot;;&quot; &quot;@&quot; &quot;">
                  <c:v>19.579999999999998</c:v>
                </c:pt>
                <c:pt idx="1497" formatCode="#,##0_);\(#,##0\);&quot;-  &quot;;&quot; &quot;@&quot; &quot;">
                  <c:v>19.450000000000003</c:v>
                </c:pt>
                <c:pt idx="1498" formatCode="#,##0_);\(#,##0\);&quot;-  &quot;;&quot; &quot;@&quot; &quot;">
                  <c:v>19.474999999999994</c:v>
                </c:pt>
                <c:pt idx="1499" formatCode="#,##0_);\(#,##0\);&quot;-  &quot;;&quot; &quot;@&quot; &quot;">
                  <c:v>18.579999999999998</c:v>
                </c:pt>
                <c:pt idx="1500" formatCode="#,##0_);\(#,##0\);&quot;-  &quot;;&quot; &quot;@&quot; &quot;">
                  <c:v>19.730000000000004</c:v>
                </c:pt>
                <c:pt idx="1501" formatCode="#,##0_);\(#,##0\);&quot;-  &quot;;&quot; &quot;@&quot; &quot;">
                  <c:v>18.915000000000006</c:v>
                </c:pt>
                <c:pt idx="1502" formatCode="#,##0_);\(#,##0\);&quot;-  &quot;;&quot; &quot;@&quot; &quot;">
                  <c:v>19.245000000000005</c:v>
                </c:pt>
                <c:pt idx="1503" formatCode="#,##0_);\(#,##0\);&quot;-  &quot;;&quot; &quot;@&quot; &quot;">
                  <c:v>19.205000000000005</c:v>
                </c:pt>
                <c:pt idx="1504" formatCode="#,##0_);\(#,##0\);&quot;-  &quot;;&quot; &quot;@&quot; &quot;">
                  <c:v>19.159999999999997</c:v>
                </c:pt>
                <c:pt idx="1505" formatCode="#,##0_);\(#,##0\);&quot;-  &quot;;&quot; &quot;@&quot; &quot;">
                  <c:v>18.519999999999996</c:v>
                </c:pt>
                <c:pt idx="1506" formatCode="#,##0_);\(#,##0\);&quot;-  &quot;;&quot; &quot;@&quot; &quot;">
                  <c:v>19.200000000000003</c:v>
                </c:pt>
                <c:pt idx="1507" formatCode="#,##0_);\(#,##0\);&quot;-  &quot;;&quot; &quot;@&quot; &quot;">
                  <c:v>19.54</c:v>
                </c:pt>
                <c:pt idx="1508" formatCode="#,##0_);\(#,##0\);&quot;-  &quot;;&quot; &quot;@&quot; &quot;">
                  <c:v>19.284999999999997</c:v>
                </c:pt>
                <c:pt idx="1509" formatCode="#,##0_);\(#,##0\);&quot;-  &quot;;&quot; &quot;@&quot; &quot;">
                  <c:v>19.664999999999999</c:v>
                </c:pt>
                <c:pt idx="1510" formatCode="#,##0_);\(#,##0\);&quot;-  &quot;;&quot; &quot;@&quot; &quot;">
                  <c:v>18.584999999999994</c:v>
                </c:pt>
                <c:pt idx="1511" formatCode="#,##0_);\(#,##0\);&quot;-  &quot;;&quot; &quot;@&quot; &quot;">
                  <c:v>18.529999999999994</c:v>
                </c:pt>
                <c:pt idx="1512" formatCode="#,##0_);\(#,##0\);&quot;-  &quot;;&quot; &quot;@&quot; &quot;">
                  <c:v>18.47999999999999</c:v>
                </c:pt>
                <c:pt idx="1513" formatCode="#,##0_);\(#,##0\);&quot;-  &quot;;&quot; &quot;@&quot; &quot;">
                  <c:v>18.149999999999999</c:v>
                </c:pt>
                <c:pt idx="1514" formatCode="#,##0_);\(#,##0\);&quot;-  &quot;;&quot; &quot;@&quot; &quot;">
                  <c:v>19.024999999999999</c:v>
                </c:pt>
                <c:pt idx="1515" formatCode="#,##0_);\(#,##0\);&quot;-  &quot;;&quot; &quot;@&quot; &quot;">
                  <c:v>18.504999999999995</c:v>
                </c:pt>
                <c:pt idx="1516" formatCode="#,##0_);\(#,##0\);&quot;-  &quot;;&quot; &quot;@&quot; &quot;">
                  <c:v>18.32500000000001</c:v>
                </c:pt>
                <c:pt idx="1517" formatCode="#,##0_);\(#,##0\);&quot;-  &quot;;&quot; &quot;@&quot; &quot;">
                  <c:v>19.200000000000003</c:v>
                </c:pt>
                <c:pt idx="1518" formatCode="#,##0_);\(#,##0\);&quot;-  &quot;;&quot; &quot;@&quot; &quot;">
                  <c:v>17.599999999999994</c:v>
                </c:pt>
                <c:pt idx="1519" formatCode="#,##0_);\(#,##0\);&quot;-  &quot;;&quot; &quot;@&quot; &quot;">
                  <c:v>17.495000000000005</c:v>
                </c:pt>
                <c:pt idx="1520" formatCode="#,##0_);\(#,##0\);&quot;-  &quot;;&quot; &quot;@&quot; &quot;">
                  <c:v>17.794999999999995</c:v>
                </c:pt>
                <c:pt idx="1521" formatCode="#,##0_);\(#,##0\);&quot;-  &quot;;&quot; &quot;@&quot; &quot;">
                  <c:v>17.630000000000003</c:v>
                </c:pt>
                <c:pt idx="1522" formatCode="#,##0_);\(#,##0\);&quot;-  &quot;;&quot; &quot;@&quot; &quot;">
                  <c:v>16.39</c:v>
                </c:pt>
                <c:pt idx="1523" formatCode="#,##0_);\(#,##0\);&quot;-  &quot;;&quot; &quot;@&quot; &quot;">
                  <c:v>16.36</c:v>
                </c:pt>
                <c:pt idx="1524" formatCode="#,##0_);\(#,##0\);&quot;-  &quot;;&quot; &quot;@&quot; &quot;">
                  <c:v>15.474999999999994</c:v>
                </c:pt>
                <c:pt idx="1525" formatCode="#,##0_);\(#,##0\);&quot;-  &quot;;&quot; &quot;@&quot; &quot;">
                  <c:v>15.200000000000003</c:v>
                </c:pt>
                <c:pt idx="1526" formatCode="#,##0_);\(#,##0\);&quot;-  &quot;;&quot; &quot;@&quot; &quot;">
                  <c:v>14.870000000000005</c:v>
                </c:pt>
                <c:pt idx="1527" formatCode="#,##0_);\(#,##0\);&quot;-  &quot;;&quot; &quot;@&quot; &quot;">
                  <c:v>14.949999999999996</c:v>
                </c:pt>
                <c:pt idx="1528" formatCode="#,##0_);\(#,##0\);&quot;-  &quot;;&quot; &quot;@&quot; &quot;">
                  <c:v>15.174999999999997</c:v>
                </c:pt>
                <c:pt idx="1529" formatCode="#,##0_);\(#,##0\);&quot;-  &quot;;&quot; &quot;@&quot; &quot;">
                  <c:v>14.614999999999995</c:v>
                </c:pt>
                <c:pt idx="1530" formatCode="#,##0_);\(#,##0\);&quot;-  &quot;;&quot; &quot;@&quot; &quot;">
                  <c:v>13.645000000000003</c:v>
                </c:pt>
                <c:pt idx="1531" formatCode="#,##0_);\(#,##0\);&quot;-  &quot;;&quot; &quot;@&quot; &quot;">
                  <c:v>12.670000000000009</c:v>
                </c:pt>
                <c:pt idx="1532" formatCode="#,##0_);\(#,##0\);&quot;-  &quot;;&quot; &quot;@&quot; &quot;">
                  <c:v>13.424999999999997</c:v>
                </c:pt>
                <c:pt idx="1533" formatCode="#,##0_);\(#,##0\);&quot;-  &quot;;&quot; &quot;@&quot; &quot;">
                  <c:v>13.825000000000003</c:v>
                </c:pt>
                <c:pt idx="1534" formatCode="#,##0_);\(#,##0\);&quot;-  &quot;;&quot; &quot;@&quot; &quot;">
                  <c:v>14.064999999999998</c:v>
                </c:pt>
                <c:pt idx="1535" formatCode="#,##0_);\(#,##0\);&quot;-  &quot;;&quot; &quot;@&quot; &quot;">
                  <c:v>14.269999999999996</c:v>
                </c:pt>
                <c:pt idx="1536" formatCode="#,##0_);\(#,##0\);&quot;-  &quot;;&quot; &quot;@&quot; &quot;">
                  <c:v>13.925000000000011</c:v>
                </c:pt>
                <c:pt idx="1537" formatCode="#,##0_);\(#,##0\);&quot;-  &quot;;&quot; &quot;@&quot; &quot;">
                  <c:v>13.954999999999998</c:v>
                </c:pt>
                <c:pt idx="1538" formatCode="#,##0_);\(#,##0\);&quot;-  &quot;;&quot; &quot;@&quot; &quot;">
                  <c:v>15.259999999999998</c:v>
                </c:pt>
                <c:pt idx="1539" formatCode="#,##0_);\(#,##0\);&quot;-  &quot;;&quot; &quot;@&quot; &quot;">
                  <c:v>12.944999999999993</c:v>
                </c:pt>
                <c:pt idx="1540" formatCode="#,##0_);\(#,##0\);&quot;-  &quot;;&quot; &quot;@&quot; &quot;">
                  <c:v>12.820000000000007</c:v>
                </c:pt>
                <c:pt idx="1541" formatCode="#,##0_);\(#,##0\);&quot;-  &quot;;&quot; &quot;@&quot; &quot;">
                  <c:v>11.760000000000005</c:v>
                </c:pt>
                <c:pt idx="1542" formatCode="#,##0_);\(#,##0\);&quot;-  &quot;;&quot; &quot;@&quot; &quot;">
                  <c:v>11.530000000000001</c:v>
                </c:pt>
                <c:pt idx="1543" formatCode="#,##0_);\(#,##0\);&quot;-  &quot;;&quot; &quot;@&quot; &quot;">
                  <c:v>11.39500000000001</c:v>
                </c:pt>
                <c:pt idx="1544" formatCode="#,##0_);\(#,##0\);&quot;-  &quot;;&quot; &quot;@&quot; &quot;">
                  <c:v>11.284999999999997</c:v>
                </c:pt>
                <c:pt idx="1545" formatCode="#,##0_);\(#,##0\);&quot;-  &quot;;&quot; &quot;@&quot; &quot;">
                  <c:v>12.079999999999998</c:v>
                </c:pt>
                <c:pt idx="1546" formatCode="#,##0_);\(#,##0\);&quot;-  &quot;;&quot; &quot;@&quot; &quot;">
                  <c:v>12.25500000000001</c:v>
                </c:pt>
                <c:pt idx="1547" formatCode="#,##0_);\(#,##0\);&quot;-  &quot;;&quot; &quot;@&quot; &quot;">
                  <c:v>11.579999999999998</c:v>
                </c:pt>
                <c:pt idx="1548" formatCode="#,##0_);\(#,##0\);&quot;-  &quot;;&quot; &quot;@&quot; &quot;">
                  <c:v>12.090000000000003</c:v>
                </c:pt>
                <c:pt idx="1549" formatCode="#,##0_);\(#,##0\);&quot;-  &quot;;&quot; &quot;@&quot; &quot;">
                  <c:v>12.885000000000005</c:v>
                </c:pt>
                <c:pt idx="1550" formatCode="#,##0_);\(#,##0\);&quot;-  &quot;;&quot; &quot;@&quot; &quot;">
                  <c:v>13.290000000000006</c:v>
                </c:pt>
                <c:pt idx="1551" formatCode="#,##0_);\(#,##0\);&quot;-  &quot;;&quot; &quot;@&quot; &quot;">
                  <c:v>13.045000000000002</c:v>
                </c:pt>
                <c:pt idx="1552" formatCode="#,##0_);\(#,##0\);&quot;-  &quot;;&quot; &quot;@&quot; &quot;">
                  <c:v>13.420000000000002</c:v>
                </c:pt>
                <c:pt idx="1553" formatCode="#,##0_);\(#,##0\);&quot;-  &quot;;&quot; &quot;@&quot; &quot;">
                  <c:v>14.685000000000002</c:v>
                </c:pt>
                <c:pt idx="1554" formatCode="#,##0_);\(#,##0\);&quot;-  &quot;;&quot; &quot;@&quot; &quot;">
                  <c:v>13.995000000000005</c:v>
                </c:pt>
                <c:pt idx="1555" formatCode="#,##0_);\(#,##0\);&quot;-  &quot;;&quot; &quot;@&quot; &quot;">
                  <c:v>13.840000000000003</c:v>
                </c:pt>
                <c:pt idx="1556" formatCode="#,##0_);\(#,##0\);&quot;-  &quot;;&quot; &quot;@&quot; &quot;">
                  <c:v>13.575000000000003</c:v>
                </c:pt>
                <c:pt idx="1557" formatCode="#,##0_);\(#,##0\);&quot;-  &quot;;&quot; &quot;@&quot; &quot;">
                  <c:v>14.075000000000003</c:v>
                </c:pt>
                <c:pt idx="1558" formatCode="#,##0_);\(#,##0\);&quot;-  &quot;;&quot; &quot;@&quot; &quot;">
                  <c:v>14.789999999999992</c:v>
                </c:pt>
                <c:pt idx="1559" formatCode="#,##0_);\(#,##0\);&quot;-  &quot;;&quot; &quot;@&quot; &quot;">
                  <c:v>15.594999999999999</c:v>
                </c:pt>
                <c:pt idx="1560" formatCode="#,##0_);\(#,##0\);&quot;-  &quot;;&quot; &quot;@&quot; &quot;">
                  <c:v>16.269999999999996</c:v>
                </c:pt>
                <c:pt idx="1561" formatCode="#,##0_);\(#,##0\);&quot;-  &quot;;&quot; &quot;@&quot; &quot;">
                  <c:v>15.679999999999993</c:v>
                </c:pt>
                <c:pt idx="1562" formatCode="#,##0_);\(#,##0\);&quot;-  &quot;;&quot; &quot;@&quot; &quot;">
                  <c:v>13.430000000000007</c:v>
                </c:pt>
                <c:pt idx="1563" formatCode="#,##0_);\(#,##0\);&quot;-  &quot;;&quot; &quot;@&quot; &quot;">
                  <c:v>13.805000000000007</c:v>
                </c:pt>
                <c:pt idx="1564" formatCode="#,##0_);\(#,##0\);&quot;-  &quot;;&quot; &quot;@&quot; &quot;">
                  <c:v>13.549999999999997</c:v>
                </c:pt>
                <c:pt idx="1565" formatCode="#,##0_);\(#,##0\);&quot;-  &quot;;&quot; &quot;@&quot; &quot;">
                  <c:v>13.24499999999999</c:v>
                </c:pt>
                <c:pt idx="1566" formatCode="#,##0_);\(#,##0\);&quot;-  &quot;;&quot; &quot;@&quot; &quot;">
                  <c:v>12.615000000000009</c:v>
                </c:pt>
                <c:pt idx="1567" formatCode="#,##0_);\(#,##0\);&quot;-  &quot;;&quot; &quot;@&quot; &quot;">
                  <c:v>13.444999999999993</c:v>
                </c:pt>
                <c:pt idx="1568" formatCode="#,##0_);\(#,##0\);&quot;-  &quot;;&quot; &quot;@&quot; &quot;">
                  <c:v>12.984999999999999</c:v>
                </c:pt>
                <c:pt idx="1569" formatCode="#,##0_);\(#,##0\);&quot;-  &quot;;&quot; &quot;@&quot; &quot;">
                  <c:v>13.479999999999997</c:v>
                </c:pt>
                <c:pt idx="1570" formatCode="#,##0_);\(#,##0\);&quot;-  &quot;;&quot; &quot;@&quot; &quot;">
                  <c:v>12.410000000000011</c:v>
                </c:pt>
                <c:pt idx="1571" formatCode="#,##0_);\(#,##0\);&quot;-  &quot;;&quot; &quot;@&quot; &quot;">
                  <c:v>12.714999999999996</c:v>
                </c:pt>
                <c:pt idx="1572" formatCode="#,##0_);\(#,##0\);&quot;-  &quot;;&quot; &quot;@&quot; &quot;">
                  <c:v>12.789999999999992</c:v>
                </c:pt>
                <c:pt idx="1573" formatCode="#,##0_);\(#,##0\);&quot;-  &quot;;&quot; &quot;@&quot; &quot;">
                  <c:v>12.039999999999992</c:v>
                </c:pt>
                <c:pt idx="1574" formatCode="#,##0_);\(#,##0\);&quot;-  &quot;;&quot; &quot;@&quot; &quot;">
                  <c:v>12.439999999999998</c:v>
                </c:pt>
                <c:pt idx="1575" formatCode="#,##0_);\(#,##0\);&quot;-  &quot;;&quot; &quot;@&quot; &quot;">
                  <c:v>12.724999999999994</c:v>
                </c:pt>
                <c:pt idx="1576" formatCode="#,##0_);\(#,##0\);&quot;-  &quot;;&quot; &quot;@&quot; &quot;">
                  <c:v>12.879999999999995</c:v>
                </c:pt>
                <c:pt idx="1577" formatCode="#,##0_);\(#,##0\);&quot;-  &quot;;&quot; &quot;@&quot; &quot;">
                  <c:v>12.160000000000004</c:v>
                </c:pt>
                <c:pt idx="1578" formatCode="#,##0_);\(#,##0\);&quot;-  &quot;;&quot; &quot;@&quot; &quot;">
                  <c:v>11.074999999999996</c:v>
                </c:pt>
                <c:pt idx="1579" formatCode="#,##0_);\(#,##0\);&quot;-  &quot;;&quot; &quot;@&quot; &quot;">
                  <c:v>10.869999999999997</c:v>
                </c:pt>
                <c:pt idx="1580" formatCode="#,##0_);\(#,##0\);&quot;-  &quot;;&quot; &quot;@&quot; &quot;">
                  <c:v>9.7450000000000045</c:v>
                </c:pt>
                <c:pt idx="1581" formatCode="#,##0_);\(#,##0\);&quot;-  &quot;;&quot; &quot;@&quot; &quot;">
                  <c:v>9.539999999999992</c:v>
                </c:pt>
                <c:pt idx="1582" formatCode="#,##0_);\(#,##0\);&quot;-  &quot;;&quot; &quot;@&quot; &quot;">
                  <c:v>10.209999999999994</c:v>
                </c:pt>
                <c:pt idx="1583" formatCode="#,##0_);\(#,##0\);&quot;-  &quot;;&quot; &quot;@&quot; &quot;">
                  <c:v>10.809999999999995</c:v>
                </c:pt>
                <c:pt idx="1584" formatCode="#,##0_);\(#,##0\);&quot;-  &quot;;&quot; &quot;@&quot; &quot;">
                  <c:v>11.340000000000003</c:v>
                </c:pt>
                <c:pt idx="1585" formatCode="#,##0_);\(#,##0\);&quot;-  &quot;;&quot; &quot;@&quot; &quot;">
                  <c:v>13.070000000000007</c:v>
                </c:pt>
                <c:pt idx="1586" formatCode="#,##0_);\(#,##0\);&quot;-  &quot;;&quot; &quot;@&quot; &quot;">
                  <c:v>12.374999999999993</c:v>
                </c:pt>
                <c:pt idx="1587" formatCode="#,##0_);\(#,##0\);&quot;-  &quot;;&quot; &quot;@&quot; &quot;">
                  <c:v>11.565000000000005</c:v>
                </c:pt>
                <c:pt idx="1588" formatCode="#,##0_);\(#,##0\);&quot;-  &quot;;&quot; &quot;@&quot; &quot;">
                  <c:v>11.389999999999993</c:v>
                </c:pt>
                <c:pt idx="1589" formatCode="#,##0_);\(#,##0\);&quot;-  &quot;;&quot; &quot;@&quot; &quot;">
                  <c:v>11.330000000000005</c:v>
                </c:pt>
                <c:pt idx="1590" formatCode="#,##0_);\(#,##0\);&quot;-  &quot;;&quot; &quot;@&quot; &quot;">
                  <c:v>10.969999999999999</c:v>
                </c:pt>
                <c:pt idx="1591" formatCode="#,##0_);\(#,##0\);&quot;-  &quot;;&quot; &quot;@&quot; &quot;">
                  <c:v>10.529999999999994</c:v>
                </c:pt>
                <c:pt idx="1592" formatCode="#,##0_);\(#,##0\);&quot;-  &quot;;&quot; &quot;@&quot; &quot;">
                  <c:v>9.6700000000000017</c:v>
                </c:pt>
                <c:pt idx="1593" formatCode="#,##0_);\(#,##0\);&quot;-  &quot;;&quot; &quot;@&quot; &quot;">
                  <c:v>9.0300000000000011</c:v>
                </c:pt>
                <c:pt idx="1594" formatCode="#,##0_);\(#,##0\);&quot;-  &quot;;&quot; &quot;@&quot; &quot;">
                  <c:v>8.1700000000000017</c:v>
                </c:pt>
                <c:pt idx="1595" formatCode="#,##0_);\(#,##0\);&quot;-  &quot;;&quot; &quot;@&quot; &quot;">
                  <c:v>7.644999999999996</c:v>
                </c:pt>
                <c:pt idx="1596" formatCode="#,##0_);\(#,##0\);&quot;-  &quot;;&quot; &quot;@&quot; &quot;">
                  <c:v>8.4849999999999994</c:v>
                </c:pt>
                <c:pt idx="1597" formatCode="#,##0_);\(#,##0\);&quot;-  &quot;;&quot; &quot;@&quot; &quot;">
                  <c:v>8.3749999999999929</c:v>
                </c:pt>
                <c:pt idx="1598" formatCode="#,##0_);\(#,##0\);&quot;-  &quot;;&quot; &quot;@&quot; &quot;">
                  <c:v>7.4699999999999989</c:v>
                </c:pt>
                <c:pt idx="1599" formatCode="#,##0_);\(#,##0\);&quot;-  &quot;;&quot; &quot;@&quot; &quot;">
                  <c:v>6.1049999999999969</c:v>
                </c:pt>
                <c:pt idx="1600" formatCode="#,##0_);\(#,##0\);&quot;-  &quot;;&quot; &quot;@&quot; &quot;">
                  <c:v>6.7449999999999974</c:v>
                </c:pt>
                <c:pt idx="1601" formatCode="#,##0_);\(#,##0\);&quot;-  &quot;;&quot; &quot;@&quot; &quot;">
                  <c:v>7.8799999999999955</c:v>
                </c:pt>
                <c:pt idx="1602" formatCode="#,##0_);\(#,##0\);&quot;-  &quot;;&quot; &quot;@&quot; &quot;">
                  <c:v>8.4550000000000054</c:v>
                </c:pt>
                <c:pt idx="1603" formatCode="#,##0_);\(#,##0\);&quot;-  &quot;;&quot; &quot;@&quot; &quot;">
                  <c:v>8.1499999999999986</c:v>
                </c:pt>
                <c:pt idx="1604" formatCode="#,##0_);\(#,##0\);&quot;-  &quot;;&quot; &quot;@&quot; &quot;">
                  <c:v>8.1700000000000017</c:v>
                </c:pt>
                <c:pt idx="1605" formatCode="#,##0_);\(#,##0\);&quot;-  &quot;;&quot; &quot;@&quot; &quot;">
                  <c:v>7.154999999999994</c:v>
                </c:pt>
                <c:pt idx="1606" formatCode="#,##0_);\(#,##0\);&quot;-  &quot;;&quot; &quot;@&quot; &quot;">
                  <c:v>8.8100000000000023</c:v>
                </c:pt>
                <c:pt idx="1607" formatCode="#,##0_);\(#,##0\);&quot;-  &quot;;&quot; &quot;@&quot; &quot;">
                  <c:v>9.2299999999999969</c:v>
                </c:pt>
                <c:pt idx="1608" formatCode="#,##0_);\(#,##0\);&quot;-  &quot;;&quot; &quot;@&quot; &quot;">
                  <c:v>11.495000000000005</c:v>
                </c:pt>
                <c:pt idx="1609" formatCode="#,##0_);\(#,##0\);&quot;-  &quot;;&quot; &quot;@&quot; &quot;">
                  <c:v>11.965000000000003</c:v>
                </c:pt>
                <c:pt idx="1610" formatCode="#,##0_);\(#,##0\);&quot;-  &quot;;&quot; &quot;@&quot; &quot;">
                  <c:v>11.535000000000004</c:v>
                </c:pt>
                <c:pt idx="1611" formatCode="#,##0_);\(#,##0\);&quot;-  &quot;;&quot; &quot;@&quot; &quot;">
                  <c:v>10.344999999999999</c:v>
                </c:pt>
                <c:pt idx="1612" formatCode="#,##0_);\(#,##0\);&quot;-  &quot;;&quot; &quot;@&quot; &quot;">
                  <c:v>8.8950000000000031</c:v>
                </c:pt>
                <c:pt idx="1613" formatCode="#,##0_);\(#,##0\);&quot;-  &quot;;&quot; &quot;@&quot; &quot;">
                  <c:v>7.27</c:v>
                </c:pt>
                <c:pt idx="1614" formatCode="#,##0_);\(#,##0\);&quot;-  &quot;;&quot; &quot;@&quot; &quot;">
                  <c:v>5.8300000000000018</c:v>
                </c:pt>
                <c:pt idx="1615" formatCode="#,##0_);\(#,##0\);&quot;-  &quot;;&quot; &quot;@&quot; &quot;">
                  <c:v>5.4399999999999977</c:v>
                </c:pt>
                <c:pt idx="1616" formatCode="#,##0_);\(#,##0\);&quot;-  &quot;;&quot; &quot;@&quot; &quot;">
                  <c:v>4.6900000000000013</c:v>
                </c:pt>
                <c:pt idx="1617" formatCode="#,##0_);\(#,##0\);&quot;-  &quot;;&quot; &quot;@&quot; &quot;">
                  <c:v>4.4349999999999987</c:v>
                </c:pt>
                <c:pt idx="1618" formatCode="#,##0_);\(#,##0\);&quot;-  &quot;;&quot; &quot;@&quot; &quot;">
                  <c:v>4.9649999999999999</c:v>
                </c:pt>
                <c:pt idx="1619" formatCode="#,##0_);\(#,##0\);&quot;-  &quot;;&quot; &quot;@&quot; &quot;">
                  <c:v>7.3599999999999994</c:v>
                </c:pt>
                <c:pt idx="1620" formatCode="#,##0_);\(#,##0\);&quot;-  &quot;;&quot; &quot;@&quot; &quot;">
                  <c:v>7.0500000000000007</c:v>
                </c:pt>
                <c:pt idx="1621" formatCode="#,##0_);\(#,##0\);&quot;-  &quot;;&quot; &quot;@&quot; &quot;">
                  <c:v>9.91</c:v>
                </c:pt>
                <c:pt idx="1622" formatCode="#,##0_);\(#,##0\);&quot;-  &quot;;&quot; &quot;@&quot; &quot;">
                  <c:v>10.630000000000003</c:v>
                </c:pt>
                <c:pt idx="1623" formatCode="#,##0_);\(#,##0\);&quot;-  &quot;;&quot; &quot;@&quot; &quot;">
                  <c:v>10.605</c:v>
                </c:pt>
                <c:pt idx="1624" formatCode="#,##0_);\(#,##0\);&quot;-  &quot;;&quot; &quot;@&quot; &quot;">
                  <c:v>10.295</c:v>
                </c:pt>
                <c:pt idx="1625" formatCode="#,##0_);\(#,##0\);&quot;-  &quot;;&quot; &quot;@&quot; &quot;">
                  <c:v>7.7850000000000001</c:v>
                </c:pt>
                <c:pt idx="1626" formatCode="#,##0_);\(#,##0\);&quot;-  &quot;;&quot; &quot;@&quot; &quot;">
                  <c:v>6.25</c:v>
                </c:pt>
                <c:pt idx="1627" formatCode="#,##0_);\(#,##0\);&quot;-  &quot;;&quot; &quot;@&quot; &quot;">
                  <c:v>6.634999999999998</c:v>
                </c:pt>
                <c:pt idx="1628" formatCode="#,##0_);\(#,##0\);&quot;-  &quot;;&quot; &quot;@&quot; &quot;">
                  <c:v>5.3300000000000018</c:v>
                </c:pt>
                <c:pt idx="1629" formatCode="#,##0_);\(#,##0\);&quot;-  &quot;;&quot; &quot;@&quot; &quot;">
                  <c:v>4.75</c:v>
                </c:pt>
                <c:pt idx="1630" formatCode="#,##0_);\(#,##0\);&quot;-  &quot;;&quot; &quot;@&quot; &quot;">
                  <c:v>1.9100000000000001</c:v>
                </c:pt>
                <c:pt idx="1631" formatCode="#,##0_);\(#,##0\);&quot;-  &quot;;&quot; &quot;@&quot; &quot;">
                  <c:v>5.0549999999999997</c:v>
                </c:pt>
                <c:pt idx="1632" formatCode="#,##0_);\(#,##0\);&quot;-  &quot;;&quot; &quot;@&quot; &quot;">
                  <c:v>4.3649999999999984</c:v>
                </c:pt>
                <c:pt idx="1633" formatCode="#,##0_);\(#,##0\);&quot;-  &quot;;&quot; &quot;@&quot; &quot;">
                  <c:v>6.1050000000000004</c:v>
                </c:pt>
                <c:pt idx="1634" formatCode="#,##0_);\(#,##0\);&quot;-  &quot;;&quot; &quot;@&quot; &quot;">
                  <c:v>6.5350000000000001</c:v>
                </c:pt>
                <c:pt idx="1635" formatCode="#,##0_);\(#,##0\);&quot;-  &quot;;&quot; &quot;@&quot; &quot;">
                  <c:v>6.5999999999999979</c:v>
                </c:pt>
                <c:pt idx="1636" formatCode="#,##0_);\(#,##0\);&quot;-  &quot;;&quot; &quot;@&quot; &quot;">
                  <c:v>5.865000000000002</c:v>
                </c:pt>
                <c:pt idx="1637" formatCode="#,##0_);\(#,##0\);&quot;-  &quot;;&quot; &quot;@&quot; &quot;">
                  <c:v>4.9700000000000006</c:v>
                </c:pt>
                <c:pt idx="1638" formatCode="#,##0_);\(#,##0\);&quot;-  &quot;;&quot; &quot;@&quot; &quot;">
                  <c:v>3.3699999999999974</c:v>
                </c:pt>
                <c:pt idx="1639" formatCode="#,##0_);\(#,##0\);&quot;-  &quot;;&quot; &quot;@&quot; &quot;">
                  <c:v>3.0849999999999973</c:v>
                </c:pt>
                <c:pt idx="1640" formatCode="#,##0_);\(#,##0\);&quot;-  &quot;;&quot; &quot;@&quot; &quot;">
                  <c:v>1.0299999999999976</c:v>
                </c:pt>
                <c:pt idx="1641" formatCode="#,##0_);\(#,##0\);&quot;-  &quot;;&quot; &quot;@&quot; &quot;">
                  <c:v>1.8149999999999995</c:v>
                </c:pt>
                <c:pt idx="1642" formatCode="#,##0_);\(#,##0\);&quot;-  &quot;;&quot; &quot;@&quot; &quot;">
                  <c:v>0.61499999999999844</c:v>
                </c:pt>
                <c:pt idx="1643" formatCode="#,##0_);\(#,##0\);&quot;-  &quot;;&quot; &quot;@&quot; &quot;">
                  <c:v>0.91499999999999915</c:v>
                </c:pt>
                <c:pt idx="1644" formatCode="#,##0_);\(#,##0\);&quot;-  &quot;;&quot; &quot;@&quot; &quot;">
                  <c:v>0.98999999999999844</c:v>
                </c:pt>
                <c:pt idx="1645" formatCode="#,##0_);\(#,##0\);&quot;-  &quot;;&quot; &quot;@&quot; &quot;">
                  <c:v>0.53000000000000114</c:v>
                </c:pt>
                <c:pt idx="1646" formatCode="#,##0_);\(#,##0\);&quot;-  &quot;;&quot; &quot;@&quot; &quot;">
                  <c:v>0.69000000000000128</c:v>
                </c:pt>
                <c:pt idx="1647" formatCode="#,##0_);\(#,##0\);&quot;-  &quot;;&quot; &quot;@&quot; &quot;">
                  <c:v>0.125</c:v>
                </c:pt>
                <c:pt idx="1648" formatCode="#,##0_);\(#,##0\);&quot;-  &quot;;&quot; &quot;@&quot; &quot;">
                  <c:v>1.1000000000000014</c:v>
                </c:pt>
                <c:pt idx="1649" formatCode="#,##0_);\(#,##0\);&quot;-  &quot;;&quot; &quot;@&quot; &quot;">
                  <c:v>0.38500000000000156</c:v>
                </c:pt>
                <c:pt idx="1650" formatCode="#,##0_);\(#,##0\);&quot;-  &quot;;&quot; &quot;@&quot; &quot;">
                  <c:v>0.70500000000000185</c:v>
                </c:pt>
                <c:pt idx="1651" formatCode="#,##0_);\(#,##0\);&quot;-  &quot;;&quot; &quot;@&quot; &quot;">
                  <c:v>1.3850000000000016</c:v>
                </c:pt>
                <c:pt idx="1652" formatCode="#,##0_);\(#,##0\);&quot;-  &quot;;&quot; &quot;@&quot; &quot;">
                  <c:v>-1.0350000000000001</c:v>
                </c:pt>
                <c:pt idx="1653" formatCode="#,##0_);\(#,##0\);&quot;-  &quot;;&quot; &quot;@&quot; &quot;">
                  <c:v>-2.8599999999999994</c:v>
                </c:pt>
                <c:pt idx="1654" formatCode="#,##0_);\(#,##0\);&quot;-  &quot;;&quot; &quot;@&quot; &quot;">
                  <c:v>-0.39499999999999957</c:v>
                </c:pt>
                <c:pt idx="1655" formatCode="#,##0_);\(#,##0\);&quot;-  &quot;;&quot; &quot;@&quot; &quot;">
                  <c:v>0.19500000000000028</c:v>
                </c:pt>
                <c:pt idx="1656" formatCode="#,##0_);\(#,##0\);&quot;-  &quot;;&quot; &quot;@&quot; &quot;">
                  <c:v>0.34499999999999886</c:v>
                </c:pt>
                <c:pt idx="1657" formatCode="#,##0_);\(#,##0\);&quot;-  &quot;;&quot; &quot;@&quot; &quot;">
                  <c:v>1.9050000000000011</c:v>
                </c:pt>
                <c:pt idx="1658" formatCode="#,##0_);\(#,##0\);&quot;-  &quot;;&quot; &quot;@&quot; &quot;">
                  <c:v>0.84499999999999886</c:v>
                </c:pt>
                <c:pt idx="1659" formatCode="#,##0_);\(#,##0\);&quot;-  &quot;;&quot; &quot;@&quot; &quot;">
                  <c:v>1.4899999999999949</c:v>
                </c:pt>
                <c:pt idx="1660" formatCode="#,##0_);\(#,##0\);&quot;-  &quot;;&quot; &quot;@&quot; &quot;">
                  <c:v>2.0399999999999991</c:v>
                </c:pt>
                <c:pt idx="1661" formatCode="#,##0_);\(#,##0\);&quot;-  &quot;;&quot; &quot;@&quot; &quot;">
                  <c:v>3.7000000000000028</c:v>
                </c:pt>
                <c:pt idx="1662" formatCode="#,##0_);\(#,##0\);&quot;-  &quot;;&quot; &quot;@&quot; &quot;">
                  <c:v>3.5900000000000034</c:v>
                </c:pt>
                <c:pt idx="1663" formatCode="#,##0_);\(#,##0\);&quot;-  &quot;;&quot; &quot;@&quot; &quot;">
                  <c:v>1</c:v>
                </c:pt>
                <c:pt idx="1664" formatCode="#,##0_);\(#,##0\);&quot;-  &quot;;&quot; &quot;@&quot; &quot;">
                  <c:v>0.97999999999999687</c:v>
                </c:pt>
                <c:pt idx="1665" formatCode="#,##0_);\(#,##0\);&quot;-  &quot;;&quot; &quot;@&quot; &quot;">
                  <c:v>1.0600000000000023</c:v>
                </c:pt>
                <c:pt idx="1666" formatCode="#,##0_);\(#,##0\);&quot;-  &quot;;&quot; &quot;@&quot; &quot;">
                  <c:v>0.9199999999999946</c:v>
                </c:pt>
                <c:pt idx="1667" formatCode="#,##0_);\(#,##0\);&quot;-  &quot;;&quot; &quot;@&quot; &quot;">
                  <c:v>0.42500000000000426</c:v>
                </c:pt>
                <c:pt idx="1668" formatCode="#,##0_);\(#,##0\);&quot;-  &quot;;&quot; &quot;@&quot; &quot;">
                  <c:v>0.32999999999999829</c:v>
                </c:pt>
                <c:pt idx="1669" formatCode="#,##0_);\(#,##0\);&quot;-  &quot;;&quot; &quot;@&quot; &quot;">
                  <c:v>0.27000000000000313</c:v>
                </c:pt>
                <c:pt idx="1670" formatCode="#,##0_);\(#,##0\);&quot;-  &quot;;&quot; &quot;@&quot; &quot;">
                  <c:v>1.3699999999999974</c:v>
                </c:pt>
                <c:pt idx="1671" formatCode="#,##0_);\(#,##0\);&quot;-  &quot;;&quot; &quot;@&quot; &quot;">
                  <c:v>2</c:v>
                </c:pt>
                <c:pt idx="1672" formatCode="#,##0_);\(#,##0\);&quot;-  &quot;;&quot; &quot;@&quot; &quot;">
                  <c:v>2.5399999999999991</c:v>
                </c:pt>
                <c:pt idx="1673" formatCode="#,##0_);\(#,##0\);&quot;-  &quot;;&quot; &quot;@&quot; &quot;">
                  <c:v>2.1199999999999974</c:v>
                </c:pt>
                <c:pt idx="1674" formatCode="#,##0_);\(#,##0\);&quot;-  &quot;;&quot; &quot;@&quot; &quot;">
                  <c:v>1.7999999999999972</c:v>
                </c:pt>
                <c:pt idx="1675" formatCode="#,##0_);\(#,##0\);&quot;-  &quot;;&quot; &quot;@&quot; &quot;">
                  <c:v>2.480000000000004</c:v>
                </c:pt>
                <c:pt idx="1676" formatCode="#,##0_);\(#,##0\);&quot;-  &quot;;&quot; &quot;@&quot; &quot;">
                  <c:v>3.0100000000000051</c:v>
                </c:pt>
                <c:pt idx="1677" formatCode="#,##0_);\(#,##0\);&quot;-  &quot;;&quot; &quot;@&quot; &quot;">
                  <c:v>2.9849999999999994</c:v>
                </c:pt>
                <c:pt idx="1678" formatCode="#,##0_);\(#,##0\);&quot;-  &quot;;&quot; &quot;@&quot; &quot;">
                  <c:v>2.6950000000000003</c:v>
                </c:pt>
                <c:pt idx="1679" formatCode="#,##0_);\(#,##0\);&quot;-  &quot;;&quot; &quot;@&quot; &quot;">
                  <c:v>2.8149999999999977</c:v>
                </c:pt>
                <c:pt idx="1680" formatCode="#,##0_);\(#,##0\);&quot;-  &quot;;&quot; &quot;@&quot; &quot;">
                  <c:v>2.9200000000000017</c:v>
                </c:pt>
                <c:pt idx="1681" formatCode="#,##0_);\(#,##0\);&quot;-  &quot;;&quot; &quot;@&quot; &quot;">
                  <c:v>1.8250000000000028</c:v>
                </c:pt>
                <c:pt idx="1682" formatCode="#,##0_);\(#,##0\);&quot;-  &quot;;&quot; &quot;@&quot; &quot;">
                  <c:v>2.6649999999999991</c:v>
                </c:pt>
                <c:pt idx="1683" formatCode="#,##0_);\(#,##0\);&quot;-  &quot;;&quot; &quot;@&quot; &quot;">
                  <c:v>1.4600000000000009</c:v>
                </c:pt>
                <c:pt idx="1684" formatCode="#,##0_);\(#,##0\);&quot;-  &quot;;&quot; &quot;@&quot; &quot;">
                  <c:v>1.0499999999999972</c:v>
                </c:pt>
                <c:pt idx="1685" formatCode="#,##0_);\(#,##0\);&quot;-  &quot;;&quot; &quot;@&quot; &quot;">
                  <c:v>1.0499999999999972</c:v>
                </c:pt>
                <c:pt idx="1686" formatCode="#,##0_);\(#,##0\);&quot;-  &quot;;&quot; &quot;@&quot; &quot;">
                  <c:v>1.1900000000000048</c:v>
                </c:pt>
                <c:pt idx="1687" formatCode="#,##0_);\(#,##0\);&quot;-  &quot;;&quot; &quot;@&quot; &quot;">
                  <c:v>0.92999999999999972</c:v>
                </c:pt>
                <c:pt idx="1688" formatCode="#,##0_);\(#,##0\);&quot;-  &quot;;&quot; &quot;@&quot; &quot;">
                  <c:v>1.1700000000000017</c:v>
                </c:pt>
                <c:pt idx="1689" formatCode="#,##0_);\(#,##0\);&quot;-  &quot;;&quot; &quot;@&quot; &quot;">
                  <c:v>1.6149999999999949</c:v>
                </c:pt>
                <c:pt idx="1690" formatCode="#,##0_);\(#,##0\);&quot;-  &quot;;&quot; &quot;@&quot; &quot;">
                  <c:v>1.7349999999999994</c:v>
                </c:pt>
                <c:pt idx="1691" formatCode="#,##0_);\(#,##0\);&quot;-  &quot;;&quot; &quot;@&quot; &quot;">
                  <c:v>1.884999999999998</c:v>
                </c:pt>
                <c:pt idx="1692" formatCode="#,##0_);\(#,##0\);&quot;-  &quot;;&quot; &quot;@&quot; &quot;">
                  <c:v>2.0450000000000017</c:v>
                </c:pt>
                <c:pt idx="1693" formatCode="#,##0_);\(#,##0\);&quot;-  &quot;;&quot; &quot;@&quot; &quot;">
                  <c:v>2.4750000000000014</c:v>
                </c:pt>
                <c:pt idx="1694" formatCode="#,##0_);\(#,##0\);&quot;-  &quot;;&quot; &quot;@&quot; &quot;">
                  <c:v>2.4600000000000009</c:v>
                </c:pt>
                <c:pt idx="1695" formatCode="#,##0_);\(#,##0\);&quot;-  &quot;;&quot; &quot;@&quot; &quot;">
                  <c:v>1.7800000000000011</c:v>
                </c:pt>
                <c:pt idx="1696" formatCode="#,##0_);\(#,##0\);&quot;-  &quot;;&quot; &quot;@&quot; &quot;">
                  <c:v>1.1299999999999955</c:v>
                </c:pt>
                <c:pt idx="1697" formatCode="#,##0_);\(#,##0\);&quot;-  &quot;;&quot; &quot;@&quot; &quot;">
                  <c:v>1.3050000000000068</c:v>
                </c:pt>
                <c:pt idx="1698" formatCode="#,##0_);\(#,##0\);&quot;-  &quot;;&quot; &quot;@&quot; &quot;">
                  <c:v>0.96999999999999886</c:v>
                </c:pt>
                <c:pt idx="1699" formatCode="#,##0_);\(#,##0\);&quot;-  &quot;;&quot; &quot;@&quot; &quot;">
                  <c:v>1.3800000000000026</c:v>
                </c:pt>
                <c:pt idx="1700" formatCode="#,##0_);\(#,##0\);&quot;-  &quot;;&quot; &quot;@&quot; &quot;">
                  <c:v>2.3549999999999969</c:v>
                </c:pt>
                <c:pt idx="1701" formatCode="#,##0_);\(#,##0\);&quot;-  &quot;;&quot; &quot;@&quot; &quot;">
                  <c:v>2.5850000000000009</c:v>
                </c:pt>
                <c:pt idx="1702" formatCode="#,##0_);\(#,##0\);&quot;-  &quot;;&quot; &quot;@&quot; &quot;">
                  <c:v>3.625</c:v>
                </c:pt>
                <c:pt idx="1703" formatCode="#,##0_);\(#,##0\);&quot;-  &quot;;&quot; &quot;@&quot; &quot;">
                  <c:v>2.7749999999999986</c:v>
                </c:pt>
                <c:pt idx="1704" formatCode="#,##0_);\(#,##0\);&quot;-  &quot;;&quot; &quot;@&quot; &quot;">
                  <c:v>3.4249999999999972</c:v>
                </c:pt>
                <c:pt idx="1705" formatCode="#,##0_);\(#,##0\);&quot;-  &quot;;&quot; &quot;@&quot; &quot;">
                  <c:v>4.0599999999999952</c:v>
                </c:pt>
                <c:pt idx="1706" formatCode="#,##0_);\(#,##0\);&quot;-  &quot;;&quot; &quot;@&quot; &quot;">
                  <c:v>2.9849999999999994</c:v>
                </c:pt>
                <c:pt idx="1707" formatCode="#,##0_);\(#,##0\);&quot;-  &quot;;&quot; &quot;@&quot; &quot;">
                  <c:v>2.7299999999999969</c:v>
                </c:pt>
                <c:pt idx="1708" formatCode="#,##0_);\(#,##0\);&quot;-  &quot;;&quot; &quot;@&quot; &quot;">
                  <c:v>2.365000000000002</c:v>
                </c:pt>
                <c:pt idx="1709" formatCode="#,##0_);\(#,##0\);&quot;-  &quot;;&quot; &quot;@&quot; &quot;">
                  <c:v>2.355000000000004</c:v>
                </c:pt>
                <c:pt idx="1710" formatCode="#,##0_);\(#,##0\);&quot;-  &quot;;&quot; &quot;@&quot; &quot;">
                  <c:v>1.3249999999999957</c:v>
                </c:pt>
                <c:pt idx="1711" formatCode="#,##0_);\(#,##0\);&quot;-  &quot;;&quot; &quot;@&quot; &quot;">
                  <c:v>1.7100000000000009</c:v>
                </c:pt>
                <c:pt idx="1712" formatCode="#,##0_);\(#,##0\);&quot;-  &quot;;&quot; &quot;@&quot; &quot;">
                  <c:v>1.1299999999999955</c:v>
                </c:pt>
                <c:pt idx="1713" formatCode="#,##0_);\(#,##0\);&quot;-  &quot;;&quot; &quot;@&quot; &quot;">
                  <c:v>0.875</c:v>
                </c:pt>
                <c:pt idx="1714" formatCode="#,##0_);\(#,##0\);&quot;-  &quot;;&quot; &quot;@&quot; &quot;">
                  <c:v>1.1200000000000045</c:v>
                </c:pt>
                <c:pt idx="1715" formatCode="#,##0_);\(#,##0\);&quot;-  &quot;;&quot; &quot;@&quot; &quot;">
                  <c:v>1.0750000000000028</c:v>
                </c:pt>
                <c:pt idx="1716" formatCode="#,##0_);\(#,##0\);&quot;-  &quot;;&quot; &quot;@&quot; &quot;">
                  <c:v>0.70499999999999829</c:v>
                </c:pt>
                <c:pt idx="1717" formatCode="#,##0_);\(#,##0\);&quot;-  &quot;;&quot; &quot;@&quot; &quot;">
                  <c:v>0.71500000000000341</c:v>
                </c:pt>
                <c:pt idx="1718" formatCode="#,##0_);\(#,##0\);&quot;-  &quot;;&quot; &quot;@&quot; &quot;">
                  <c:v>0.51999999999999602</c:v>
                </c:pt>
                <c:pt idx="1719" formatCode="#,##0_);\(#,##0\);&quot;-  &quot;;&quot; &quot;@&quot; &quot;">
                  <c:v>0.59499999999999886</c:v>
                </c:pt>
                <c:pt idx="1720" formatCode="#,##0_);\(#,##0\);&quot;-  &quot;;&quot; &quot;@&quot; &quot;">
                  <c:v>0.28499999999999659</c:v>
                </c:pt>
                <c:pt idx="1721" formatCode="#,##0_);\(#,##0\);&quot;-  &quot;;&quot; &quot;@&quot; &quot;">
                  <c:v>0.48499999999999943</c:v>
                </c:pt>
                <c:pt idx="1722" formatCode="#,##0_);\(#,##0\);&quot;-  &quot;;&quot; &quot;@&quot; &quot;">
                  <c:v>0.38500000000000512</c:v>
                </c:pt>
                <c:pt idx="1723" formatCode="#,##0_);\(#,##0\);&quot;-  &quot;;&quot; &quot;@&quot; &quot;">
                  <c:v>0.49499999999999744</c:v>
                </c:pt>
                <c:pt idx="1724" formatCode="#,##0_);\(#,##0\);&quot;-  &quot;;&quot; &quot;@&quot; &quot;">
                  <c:v>0.38000000000000256</c:v>
                </c:pt>
                <c:pt idx="1725" formatCode="#,##0_);\(#,##0\);&quot;-  &quot;;&quot; &quot;@&quot; &quot;">
                  <c:v>0.53500000000000369</c:v>
                </c:pt>
                <c:pt idx="1726" formatCode="#,##0_);\(#,##0\);&quot;-  &quot;;&quot; &quot;@&quot; &quot;">
                  <c:v>0.39500000000000313</c:v>
                </c:pt>
                <c:pt idx="1727" formatCode="#,##0_);\(#,##0\);&quot;-  &quot;;&quot; &quot;@&quot; &quot;">
                  <c:v>0.13000000000000256</c:v>
                </c:pt>
                <c:pt idx="1728" formatCode="#,##0_);\(#,##0\);&quot;-  &quot;;&quot; &quot;@&quot; &quot;">
                  <c:v>-0.48499999999999943</c:v>
                </c:pt>
                <c:pt idx="1729" formatCode="#,##0_);\(#,##0\);&quot;-  &quot;;&quot; &quot;@&quot; &quot;">
                  <c:v>-0.34499999999999886</c:v>
                </c:pt>
                <c:pt idx="1730" formatCode="#,##0_);\(#,##0\);&quot;-  &quot;;&quot; &quot;@&quot; &quot;">
                  <c:v>0.13499999999999801</c:v>
                </c:pt>
                <c:pt idx="1731" formatCode="#,##0_);\(#,##0\);&quot;-  &quot;;&quot; &quot;@&quot; &quot;">
                  <c:v>0.375</c:v>
                </c:pt>
                <c:pt idx="1732" formatCode="#,##0_);\(#,##0\);&quot;-  &quot;;&quot; &quot;@&quot; &quot;">
                  <c:v>0.44500000000000028</c:v>
                </c:pt>
                <c:pt idx="1733" formatCode="#,##0_);\(#,##0\);&quot;-  &quot;;&quot; &quot;@&quot; &quot;">
                  <c:v>0.25999999999999801</c:v>
                </c:pt>
                <c:pt idx="1734" formatCode="#,##0_);\(#,##0\);&quot;-  &quot;;&quot; &quot;@&quot; &quot;">
                  <c:v>0.71999999999999886</c:v>
                </c:pt>
                <c:pt idx="1735" formatCode="#,##0_);\(#,##0\);&quot;-  &quot;;&quot; &quot;@&quot; &quot;">
                  <c:v>0.53999999999999915</c:v>
                </c:pt>
                <c:pt idx="1736" formatCode="#,##0_);\(#,##0\);&quot;-  &quot;;&quot; &quot;@&quot; &quot;">
                  <c:v>0.34499999999999886</c:v>
                </c:pt>
                <c:pt idx="1737" formatCode="#,##0_);\(#,##0\);&quot;-  &quot;;&quot; &quot;@&quot; &quot;">
                  <c:v>-0.5</c:v>
                </c:pt>
                <c:pt idx="1738" formatCode="#,##0_);\(#,##0\);&quot;-  &quot;;&quot; &quot;@&quot; &quot;">
                  <c:v>-0.29500000000000171</c:v>
                </c:pt>
                <c:pt idx="1739" formatCode="#,##0_);\(#,##0\);&quot;-  &quot;;&quot; &quot;@&quot; &quot;">
                  <c:v>0.40500000000000114</c:v>
                </c:pt>
                <c:pt idx="1740" formatCode="#,##0_);\(#,##0\);&quot;-  &quot;;&quot; &quot;@&quot; &quot;">
                  <c:v>1.0449999999999946</c:v>
                </c:pt>
                <c:pt idx="1741" formatCode="#,##0_);\(#,##0\);&quot;-  &quot;;&quot; &quot;@&quot; &quot;">
                  <c:v>0.26000000000000512</c:v>
                </c:pt>
                <c:pt idx="1742" formatCode="#,##0_);\(#,##0\);&quot;-  &quot;;&quot; &quot;@&quot; &quot;">
                  <c:v>-0.50500000000000256</c:v>
                </c:pt>
                <c:pt idx="1743" formatCode="#,##0_);\(#,##0\);&quot;-  &quot;;&quot; &quot;@&quot; &quot;">
                  <c:v>-0.14999999999999858</c:v>
                </c:pt>
                <c:pt idx="1744" formatCode="#,##0_);\(#,##0\);&quot;-  &quot;;&quot; &quot;@&quot; &quot;">
                  <c:v>0.1699999999999946</c:v>
                </c:pt>
                <c:pt idx="1745" formatCode="#,##0_);\(#,##0\);&quot;-  &quot;;&quot; &quot;@&quot; &quot;">
                  <c:v>0.43500000000000227</c:v>
                </c:pt>
                <c:pt idx="1746" formatCode="#,##0_);\(#,##0\);&quot;-  &quot;;&quot; &quot;@&quot; &quot;">
                  <c:v>-0.41499999999999915</c:v>
                </c:pt>
                <c:pt idx="1747" formatCode="#,##0_);\(#,##0\);&quot;-  &quot;;&quot; &quot;@&quot; &quot;">
                  <c:v>-0.59999999999999432</c:v>
                </c:pt>
                <c:pt idx="1748" formatCode="#,##0_);\(#,##0\);&quot;-  &quot;;&quot; &quot;@&quot; &quot;">
                  <c:v>2.4999999999998579E-2</c:v>
                </c:pt>
                <c:pt idx="1749" formatCode="#,##0_);\(#,##0\);&quot;-  &quot;;&quot; &quot;@&quot; &quot;">
                  <c:v>0.80499999999999972</c:v>
                </c:pt>
                <c:pt idx="1750" formatCode="#,##0_);\(#,##0\);&quot;-  &quot;;&quot; &quot;@&quot; &quot;">
                  <c:v>0.64000000000000057</c:v>
                </c:pt>
                <c:pt idx="1751" formatCode="#,##0_);\(#,##0\);&quot;-  &quot;;&quot; &quot;@&quot; &quot;">
                  <c:v>1.509999999999998</c:v>
                </c:pt>
                <c:pt idx="1752" formatCode="#,##0_);\(#,##0\);&quot;-  &quot;;&quot; &quot;@&quot; &quot;">
                  <c:v>1.4250000000000043</c:v>
                </c:pt>
                <c:pt idx="1753" formatCode="#,##0_);\(#,##0\);&quot;-  &quot;;&quot; &quot;@&quot; &quot;">
                  <c:v>2.615000000000002</c:v>
                </c:pt>
                <c:pt idx="1754" formatCode="#,##0_);\(#,##0\);&quot;-  &quot;;&quot; &quot;@&quot; &quot;">
                  <c:v>1.6700000000000017</c:v>
                </c:pt>
                <c:pt idx="1755" formatCode="#,##0_);\(#,##0\);&quot;-  &quot;;&quot; &quot;@&quot; &quot;">
                  <c:v>2.4349999999999952</c:v>
                </c:pt>
                <c:pt idx="1756" formatCode="#,##0_);\(#,##0\);&quot;-  &quot;;&quot; &quot;@&quot; &quot;">
                  <c:v>3.5750000000000028</c:v>
                </c:pt>
                <c:pt idx="1757" formatCode="#,##0_);\(#,##0\);&quot;-  &quot;;&quot; &quot;@&quot; &quot;">
                  <c:v>3.375</c:v>
                </c:pt>
                <c:pt idx="1758" formatCode="#,##0_);\(#,##0\);&quot;-  &quot;;&quot; &quot;@&quot; &quot;">
                  <c:v>3.0649999999999977</c:v>
                </c:pt>
                <c:pt idx="1759" formatCode="#,##0_);\(#,##0\);&quot;-  &quot;;&quot; &quot;@&quot; &quot;">
                  <c:v>2.8250000000000028</c:v>
                </c:pt>
                <c:pt idx="1760" formatCode="#,##0_);\(#,##0\);&quot;-  &quot;;&quot; &quot;@&quot; &quot;">
                  <c:v>3.3100000000000023</c:v>
                </c:pt>
                <c:pt idx="1761" formatCode="#,##0_);\(#,##0\);&quot;-  &quot;;&quot; &quot;@&quot; &quot;">
                  <c:v>2.9149999999999991</c:v>
                </c:pt>
                <c:pt idx="1762" formatCode="#,##0_);\(#,##0\);&quot;-  &quot;;&quot; &quot;@&quot; &quot;">
                  <c:v>3.0600000000000023</c:v>
                </c:pt>
                <c:pt idx="1763" formatCode="#,##0_);\(#,##0\);&quot;-  &quot;;&quot; &quot;@&quot; &quot;">
                  <c:v>3.7549999999999955</c:v>
                </c:pt>
                <c:pt idx="1764" formatCode="#,##0_);\(#,##0\);&quot;-  &quot;;&quot; &quot;@&quot; &quot;">
                  <c:v>3.1799999999999997</c:v>
                </c:pt>
                <c:pt idx="1765" formatCode="#,##0_);\(#,##0\);&quot;-  &quot;;&quot; &quot;@&quot; &quot;">
                  <c:v>2.4699999999999989</c:v>
                </c:pt>
                <c:pt idx="1766" formatCode="#,##0_);\(#,##0\);&quot;-  &quot;;&quot; &quot;@&quot; &quot;">
                  <c:v>3</c:v>
                </c:pt>
                <c:pt idx="1767" formatCode="#,##0_);\(#,##0\);&quot;-  &quot;;&quot; &quot;@&quot; &quot;">
                  <c:v>2.884999999999998</c:v>
                </c:pt>
                <c:pt idx="1768" formatCode="#,##0_);\(#,##0\);&quot;-  &quot;;&quot; &quot;@&quot; &quot;">
                  <c:v>2.8549999999999969</c:v>
                </c:pt>
                <c:pt idx="1769" formatCode="#,##0_);\(#,##0\);&quot;-  &quot;;&quot; &quot;@&quot; &quot;">
                  <c:v>3.4149999999999991</c:v>
                </c:pt>
                <c:pt idx="1770" formatCode="#,##0_);\(#,##0\);&quot;-  &quot;;&quot; &quot;@&quot; &quot;">
                  <c:v>4.1749999999999972</c:v>
                </c:pt>
                <c:pt idx="1771" formatCode="#,##0_);\(#,##0\);&quot;-  &quot;;&quot; &quot;@&quot; &quot;">
                  <c:v>4.0100000000000051</c:v>
                </c:pt>
                <c:pt idx="1772" formatCode="#,##0_);\(#,##0\);&quot;-  &quot;;&quot; &quot;@&quot; &quot;">
                  <c:v>4.5499999999999972</c:v>
                </c:pt>
                <c:pt idx="1773" formatCode="#,##0_);\(#,##0\);&quot;-  &quot;;&quot; &quot;@&quot; &quot;">
                  <c:v>5.1949999999999932</c:v>
                </c:pt>
                <c:pt idx="1774" formatCode="#,##0_);\(#,##0\);&quot;-  &quot;;&quot; &quot;@&quot; &quot;">
                  <c:v>5.3449999999999989</c:v>
                </c:pt>
                <c:pt idx="1775" formatCode="#,##0_);\(#,##0\);&quot;-  &quot;;&quot; &quot;@&quot; &quot;">
                  <c:v>5.2550000000000026</c:v>
                </c:pt>
                <c:pt idx="1776" formatCode="#,##0_);\(#,##0\);&quot;-  &quot;;&quot; &quot;@&quot; &quot;">
                  <c:v>5.0100000000000051</c:v>
                </c:pt>
                <c:pt idx="1777" formatCode="#,##0_);\(#,##0\);&quot;-  &quot;;&quot; &quot;@&quot; &quot;">
                  <c:v>5.2549999999999955</c:v>
                </c:pt>
                <c:pt idx="1778" formatCode="#,##0_);\(#,##0\);&quot;-  &quot;;&quot; &quot;@&quot; &quot;">
                  <c:v>5.375</c:v>
                </c:pt>
                <c:pt idx="1779" formatCode="#,##0_);\(#,##0\);&quot;-  &quot;;&quot; &quot;@&quot; &quot;">
                  <c:v>5.8599999999999994</c:v>
                </c:pt>
                <c:pt idx="1780" formatCode="#,##0_);\(#,##0\);&quot;-  &quot;;&quot; &quot;@&quot; &quot;">
                  <c:v>5.0899999999999963</c:v>
                </c:pt>
                <c:pt idx="1781" formatCode="#,##0_);\(#,##0\);&quot;-  &quot;;&quot; &quot;@&quot; &quot;">
                  <c:v>6.0549999999999997</c:v>
                </c:pt>
                <c:pt idx="1782" formatCode="#,##0_);\(#,##0\);&quot;-  &quot;;&quot; &quot;@&quot; &quot;">
                  <c:v>5.0249999999999986</c:v>
                </c:pt>
                <c:pt idx="1783" formatCode="#,##0_);\(#,##0\);&quot;-  &quot;;&quot; &quot;@&quot; &quot;">
                  <c:v>4.43</c:v>
                </c:pt>
                <c:pt idx="1784" formatCode="#,##0_);\(#,##0\);&quot;-  &quot;;&quot; &quot;@&quot; &quot;">
                  <c:v>4.0850000000000009</c:v>
                </c:pt>
                <c:pt idx="1785" formatCode="#,##0_);\(#,##0\);&quot;-  &quot;;&quot; &quot;@&quot; &quot;">
                  <c:v>3.5150000000000006</c:v>
                </c:pt>
                <c:pt idx="1786" formatCode="#,##0_);\(#,##0\);&quot;-  &quot;;&quot; &quot;@&quot; &quot;">
                  <c:v>4.7049999999999983</c:v>
                </c:pt>
                <c:pt idx="1787" formatCode="#,##0_);\(#,##0\);&quot;-  &quot;;&quot; &quot;@&quot; &quot;">
                  <c:v>4.4949999999999974</c:v>
                </c:pt>
                <c:pt idx="1788" formatCode="#,##0_);\(#,##0\);&quot;-  &quot;;&quot; &quot;@&quot; &quot;">
                  <c:v>5.4549999999999983</c:v>
                </c:pt>
                <c:pt idx="1789" formatCode="#,##0_);\(#,##0\);&quot;-  &quot;;&quot; &quot;@&quot; &quot;">
                  <c:v>5.1849999999999952</c:v>
                </c:pt>
                <c:pt idx="1790" formatCode="#,##0_);\(#,##0\);&quot;-  &quot;;&quot; &quot;@&quot; &quot;">
                  <c:v>4.6099999999999994</c:v>
                </c:pt>
                <c:pt idx="1791" formatCode="#,##0_);\(#,##0\);&quot;-  &quot;;&quot; &quot;@&quot; &quot;">
                  <c:v>4.5750000000000028</c:v>
                </c:pt>
                <c:pt idx="1792" formatCode="#,##0_);\(#,##0\);&quot;-  &quot;;&quot; &quot;@&quot; &quot;">
                  <c:v>5.6400000000000006</c:v>
                </c:pt>
                <c:pt idx="1793" formatCode="#,##0_);\(#,##0\);&quot;-  &quot;;&quot; &quot;@&quot; &quot;">
                  <c:v>5.7700000000000031</c:v>
                </c:pt>
                <c:pt idx="1794" formatCode="#,##0_);\(#,##0\);&quot;-  &quot;;&quot; &quot;@&quot; &quot;">
                  <c:v>5.4950000000000045</c:v>
                </c:pt>
                <c:pt idx="1795" formatCode="#,##0_);\(#,##0\);&quot;-  &quot;;&quot; &quot;@&quot; &quot;">
                  <c:v>5.75</c:v>
                </c:pt>
                <c:pt idx="1796" formatCode="#,##0_);\(#,##0\);&quot;-  &quot;;&quot; &quot;@&quot; &quot;">
                  <c:v>4.9649999999999963</c:v>
                </c:pt>
                <c:pt idx="1797" formatCode="#,##0_);\(#,##0\);&quot;-  &quot;;&quot; &quot;@&quot; &quot;">
                  <c:v>4.68</c:v>
                </c:pt>
                <c:pt idx="1798" formatCode="#,##0_);\(#,##0\);&quot;-  &quot;;&quot; &quot;@&quot; &quot;">
                  <c:v>4.8300000000000054</c:v>
                </c:pt>
                <c:pt idx="1799" formatCode="#,##0_);\(#,##0\);&quot;-  &quot;;&quot; &quot;@&quot; &quot;">
                  <c:v>5.2250000000000014</c:v>
                </c:pt>
                <c:pt idx="1800" formatCode="#,##0_);\(#,##0\);&quot;-  &quot;;&quot; &quot;@&quot; &quot;">
                  <c:v>5.07</c:v>
                </c:pt>
                <c:pt idx="1801" formatCode="#,##0_);\(#,##0\);&quot;-  &quot;;&quot; &quot;@&quot; &quot;">
                  <c:v>5.2949999999999946</c:v>
                </c:pt>
                <c:pt idx="1802" formatCode="#,##0_);\(#,##0\);&quot;-  &quot;;&quot; &quot;@&quot; &quot;">
                  <c:v>5.1600000000000037</c:v>
                </c:pt>
                <c:pt idx="1803" formatCode="#,##0_);\(#,##0\);&quot;-  &quot;;&quot; &quot;@&quot; &quot;">
                  <c:v>3.9099999999999966</c:v>
                </c:pt>
                <c:pt idx="1804" formatCode="#,##0_);\(#,##0\);&quot;-  &quot;;&quot; &quot;@&quot; &quot;">
                  <c:v>4.9799999999999969</c:v>
                </c:pt>
                <c:pt idx="1805" formatCode="#,##0_);\(#,##0\);&quot;-  &quot;;&quot; &quot;@&quot; &quot;">
                  <c:v>6.1199999999999974</c:v>
                </c:pt>
                <c:pt idx="1806" formatCode="#,##0_);\(#,##0\);&quot;-  &quot;;&quot; &quot;@&quot; &quot;">
                  <c:v>5.4550000000000054</c:v>
                </c:pt>
                <c:pt idx="1807" formatCode="#,##0_);\(#,##0\);&quot;-  &quot;;&quot; &quot;@&quot; &quot;">
                  <c:v>5.9149999999999991</c:v>
                </c:pt>
                <c:pt idx="1808" formatCode="#,##0_);\(#,##0\);&quot;-  &quot;;&quot; &quot;@&quot; &quot;">
                  <c:v>6.0549999999999997</c:v>
                </c:pt>
                <c:pt idx="1809" formatCode="#,##0_);\(#,##0\);&quot;-  &quot;;&quot; &quot;@&quot; &quot;">
                  <c:v>5.9699999999999989</c:v>
                </c:pt>
                <c:pt idx="1810" formatCode="#,##0_);\(#,##0\);&quot;-  &quot;;&quot; &quot;@&quot; &quot;">
                  <c:v>5.8850000000000051</c:v>
                </c:pt>
                <c:pt idx="1811" formatCode="#,##0_);\(#,##0\);&quot;-  &quot;;&quot; &quot;@&quot; &quot;">
                  <c:v>5.5049999999999955</c:v>
                </c:pt>
                <c:pt idx="1812" formatCode="#,##0_);\(#,##0\);&quot;-  &quot;;&quot; &quot;@&quot; &quot;">
                  <c:v>5.5399999999999991</c:v>
                </c:pt>
                <c:pt idx="1813" formatCode="#,##0_);\(#,##0\);&quot;-  &quot;;&quot; &quot;@&quot; &quot;">
                  <c:v>6.5649999999999977</c:v>
                </c:pt>
                <c:pt idx="1814" formatCode="#,##0_);\(#,##0\);&quot;-  &quot;;&quot; &quot;@&quot; &quot;">
                  <c:v>6.230000000000004</c:v>
                </c:pt>
                <c:pt idx="1815" formatCode="#,##0_);\(#,##0\);&quot;-  &quot;;&quot; &quot;@&quot; &quot;">
                  <c:v>6.2900000000000063</c:v>
                </c:pt>
                <c:pt idx="1816" formatCode="#,##0_);\(#,##0\);&quot;-  &quot;;&quot; &quot;@&quot; &quot;">
                  <c:v>5.9350000000000023</c:v>
                </c:pt>
                <c:pt idx="1817" formatCode="#,##0_);\(#,##0\);&quot;-  &quot;;&quot; &quot;@&quot; &quot;">
                  <c:v>5.9750000000000014</c:v>
                </c:pt>
                <c:pt idx="1818" formatCode="#,##0_);\(#,##0\);&quot;-  &quot;;&quot; &quot;@&quot; &quot;">
                  <c:v>6.0249999999999986</c:v>
                </c:pt>
                <c:pt idx="1819" formatCode="#,##0_);\(#,##0\);&quot;-  &quot;;&quot; &quot;@&quot; &quot;">
                  <c:v>4.6000000000000014</c:v>
                </c:pt>
                <c:pt idx="1820" formatCode="#,##0_);\(#,##0\);&quot;-  &quot;;&quot; &quot;@&quot; &quot;">
                  <c:v>3.720000000000006</c:v>
                </c:pt>
                <c:pt idx="1821" formatCode="#,##0_);\(#,##0\);&quot;-  &quot;;&quot; &quot;@&quot; &quot;">
                  <c:v>4.2449999999999974</c:v>
                </c:pt>
                <c:pt idx="1822" formatCode="#,##0_);\(#,##0\);&quot;-  &quot;;&quot; &quot;@&quot; &quot;">
                  <c:v>4.5900000000000034</c:v>
                </c:pt>
                <c:pt idx="1823" formatCode="#,##0_);\(#,##0\);&quot;-  &quot;;&quot; &quot;@&quot; &quot;">
                  <c:v>4.9100000000000037</c:v>
                </c:pt>
                <c:pt idx="1824" formatCode="#,##0_);\(#,##0\);&quot;-  &quot;;&quot; &quot;@&quot; &quot;">
                  <c:v>4.9450000000000003</c:v>
                </c:pt>
                <c:pt idx="1825" formatCode="#,##0_);\(#,##0\);&quot;-  &quot;;&quot; &quot;@&quot; &quot;">
                  <c:v>5.2800000000000011</c:v>
                </c:pt>
                <c:pt idx="1826" formatCode="#,##0_);\(#,##0\);&quot;-  &quot;;&quot; &quot;@&quot; &quot;">
                  <c:v>5.9050000000000011</c:v>
                </c:pt>
                <c:pt idx="1827" formatCode="#,##0_);\(#,##0\);&quot;-  &quot;;&quot; &quot;@&quot; &quot;">
                  <c:v>5.9750000000000014</c:v>
                </c:pt>
                <c:pt idx="1828" formatCode="#,##0_);\(#,##0\);&quot;-  &quot;;&quot; &quot;@&quot; &quot;">
                  <c:v>5.720000000000006</c:v>
                </c:pt>
                <c:pt idx="1829" formatCode="#,##0_);\(#,##0\);&quot;-  &quot;;&quot; &quot;@&quot; &quot;">
                  <c:v>4.9899999999999949</c:v>
                </c:pt>
                <c:pt idx="1830" formatCode="#,##0_);\(#,##0\);&quot;-  &quot;;&quot; &quot;@&quot; &quot;">
                  <c:v>4.7849999999999966</c:v>
                </c:pt>
                <c:pt idx="1831" formatCode="#,##0_);\(#,##0\);&quot;-  &quot;;&quot; &quot;@&quot; &quot;">
                  <c:v>4.5150000000000006</c:v>
                </c:pt>
                <c:pt idx="1832" formatCode="#,##0_);\(#,##0\);&quot;-  &quot;;&quot; &quot;@&quot; &quot;">
                  <c:v>3.9699999999999989</c:v>
                </c:pt>
                <c:pt idx="1833" formatCode="#,##0_);\(#,##0\);&quot;-  &quot;;&quot; &quot;@&quot; &quot;">
                  <c:v>4.4200000000000017</c:v>
                </c:pt>
                <c:pt idx="1834" formatCode="#,##0_);\(#,##0\);&quot;-  &quot;;&quot; &quot;@&quot; &quot;">
                  <c:v>4.1400000000000006</c:v>
                </c:pt>
                <c:pt idx="1835" formatCode="#,##0_);\(#,##0\);&quot;-  &quot;;&quot; &quot;@&quot; &quot;">
                  <c:v>4.2900000000000063</c:v>
                </c:pt>
                <c:pt idx="1836" formatCode="#,##0_);\(#,##0\);&quot;-  &quot;;&quot; &quot;@&quot; &quot;">
                  <c:v>4.4550000000000054</c:v>
                </c:pt>
                <c:pt idx="1837" formatCode="#,##0_);\(#,##0\);&quot;-  &quot;;&quot; &quot;@&quot; &quot;">
                  <c:v>4.3149999999999977</c:v>
                </c:pt>
                <c:pt idx="1838" formatCode="#,##0_);\(#,##0\);&quot;-  &quot;;&quot; &quot;@&quot; &quot;">
                  <c:v>4.8350000000000009</c:v>
                </c:pt>
                <c:pt idx="1839" formatCode="#,##0_);\(#,##0\);&quot;-  &quot;;&quot; &quot;@&quot; &quot;">
                  <c:v>4.5499999999999972</c:v>
                </c:pt>
                <c:pt idx="1840" formatCode="#,##0_);\(#,##0\);&quot;-  &quot;;&quot; &quot;@&quot; &quot;">
                  <c:v>4.3499999999999943</c:v>
                </c:pt>
                <c:pt idx="1841" formatCode="#,##0_);\(#,##0\);&quot;-  &quot;;&quot; &quot;@&quot; &quot;">
                  <c:v>4.8449999999999989</c:v>
                </c:pt>
                <c:pt idx="1842" formatCode="#,##0_);\(#,##0\);&quot;-  &quot;;&quot; &quot;@&quot; &quot;">
                  <c:v>4.5549999999999926</c:v>
                </c:pt>
                <c:pt idx="1843" formatCode="#,##0_);\(#,##0\);&quot;-  &quot;;&quot; &quot;@&quot; &quot;">
                  <c:v>5.375</c:v>
                </c:pt>
                <c:pt idx="1844" formatCode="#,##0_);\(#,##0\);&quot;-  &quot;;&quot; &quot;@&quot; &quot;">
                  <c:v>5.3250000000000028</c:v>
                </c:pt>
                <c:pt idx="1845" formatCode="#,##0_);\(#,##0\);&quot;-  &quot;;&quot; &quot;@&quot; &quot;">
                  <c:v>4.9749999999999943</c:v>
                </c:pt>
                <c:pt idx="1846" formatCode="#,##0_);\(#,##0\);&quot;-  &quot;;&quot; &quot;@&quot; &quot;">
                  <c:v>4.4249999999999972</c:v>
                </c:pt>
                <c:pt idx="1847" formatCode="#,##0_);\(#,##0\);&quot;-  &quot;;&quot; &quot;@&quot; &quot;">
                  <c:v>4.125</c:v>
                </c:pt>
                <c:pt idx="1848" formatCode="#,##0_);\(#,##0\);&quot;-  &quot;;&quot; &quot;@&quot; &quot;">
                  <c:v>3.3250000000000028</c:v>
                </c:pt>
                <c:pt idx="1849" formatCode="#,##0_);\(#,##0\);&quot;-  &quot;;&quot; &quot;@&quot; &quot;">
                  <c:v>4.8850000000000051</c:v>
                </c:pt>
                <c:pt idx="1850" formatCode="#,##0_);\(#,##0\);&quot;-  &quot;;&quot; &quot;@&quot; &quot;">
                  <c:v>4.605000000000004</c:v>
                </c:pt>
                <c:pt idx="1851" formatCode="#,##0_);\(#,##0\);&quot;-  &quot;;&quot; &quot;@&quot; &quot;">
                  <c:v>4.4900000000000091</c:v>
                </c:pt>
                <c:pt idx="1852" formatCode="#,##0_);\(#,##0\);&quot;-  &quot;;&quot; &quot;@&quot; &quot;">
                  <c:v>4.8100000000000023</c:v>
                </c:pt>
                <c:pt idx="1853" formatCode="#,##0_);\(#,##0\);&quot;-  &quot;;&quot; &quot;@&quot; &quot;">
                  <c:v>4.8700000000000045</c:v>
                </c:pt>
                <c:pt idx="1854" formatCode="#,##0_);\(#,##0\);&quot;-  &quot;;&quot; &quot;@&quot; &quot;">
                  <c:v>5.2000000000000028</c:v>
                </c:pt>
                <c:pt idx="1855" formatCode="#,##0_);\(#,##0\);&quot;-  &quot;;&quot; &quot;@&quot; &quot;">
                  <c:v>4.4199999999999875</c:v>
                </c:pt>
                <c:pt idx="1856" formatCode="#,##0_);\(#,##0\);&quot;-  &quot;;&quot; &quot;@&quot; &quot;">
                  <c:v>4.914999999999992</c:v>
                </c:pt>
                <c:pt idx="1857" formatCode="#,##0_);\(#,##0\);&quot;-  &quot;;&quot; &quot;@&quot; &quot;">
                  <c:v>4.0600000000000023</c:v>
                </c:pt>
                <c:pt idx="1858" formatCode="#,##0_);\(#,##0\);&quot;-  &quot;;&quot; &quot;@&quot; &quot;">
                  <c:v>3.5649999999999977</c:v>
                </c:pt>
                <c:pt idx="1859" formatCode="#,##0_);\(#,##0\);&quot;-  &quot;;&quot; &quot;@&quot; &quot;">
                  <c:v>3.6349999999999909</c:v>
                </c:pt>
                <c:pt idx="1860" formatCode="#,##0_);\(#,##0\);&quot;-  &quot;;&quot; &quot;@&quot; &quot;">
                  <c:v>3.7949999999999875</c:v>
                </c:pt>
                <c:pt idx="1861" formatCode="#,##0_);\(#,##0\);&quot;-  &quot;;&quot; &quot;@&quot; &quot;">
                  <c:v>2.7050000000000125</c:v>
                </c:pt>
                <c:pt idx="1862" formatCode="#,##0_);\(#,##0\);&quot;-  &quot;;&quot; &quot;@&quot; &quot;">
                  <c:v>3.2049999999999983</c:v>
                </c:pt>
                <c:pt idx="1863" formatCode="#,##0_);\(#,##0\);&quot;-  &quot;;&quot; &quot;@&quot; &quot;">
                  <c:v>3.3250000000000028</c:v>
                </c:pt>
                <c:pt idx="1864" formatCode="#,##0_);\(#,##0\);&quot;-  &quot;;&quot; &quot;@&quot; &quot;">
                  <c:v>3.9849999999999994</c:v>
                </c:pt>
                <c:pt idx="1865" formatCode="#,##0_);\(#,##0\);&quot;-  &quot;;&quot; &quot;@&quot; &quot;">
                  <c:v>4</c:v>
                </c:pt>
                <c:pt idx="1866" formatCode="#,##0_);\(#,##0\);&quot;-  &quot;;&quot; &quot;@&quot; &quot;">
                  <c:v>3.0200000000000102</c:v>
                </c:pt>
                <c:pt idx="1867" formatCode="#,##0_);\(#,##0\);&quot;-  &quot;;&quot; &quot;@&quot; &quot;">
                  <c:v>3.6150000000000091</c:v>
                </c:pt>
                <c:pt idx="1868" formatCode="#,##0_);\(#,##0\);&quot;-  &quot;;&quot; &quot;@&quot; &quot;">
                  <c:v>3.7399999999999949</c:v>
                </c:pt>
                <c:pt idx="1869" formatCode="#,##0_);\(#,##0\);&quot;-  &quot;;&quot; &quot;@&quot; &quot;">
                  <c:v>3.2549999999999955</c:v>
                </c:pt>
                <c:pt idx="1870" formatCode="#,##0_);\(#,##0\);&quot;-  &quot;;&quot; &quot;@&quot; &quot;">
                  <c:v>3.2099999999999937</c:v>
                </c:pt>
                <c:pt idx="1871" formatCode="#,##0_);\(#,##0\);&quot;-  &quot;;&quot; &quot;@&quot; &quot;">
                  <c:v>2.5300000000000011</c:v>
                </c:pt>
                <c:pt idx="1872" formatCode="#,##0_);\(#,##0\);&quot;-  &quot;;&quot; &quot;@&quot; &quot;">
                  <c:v>3.5</c:v>
                </c:pt>
                <c:pt idx="1873" formatCode="#,##0_);\(#,##0\);&quot;-  &quot;;&quot; &quot;@&quot; &quot;">
                  <c:v>3.7949999999999946</c:v>
                </c:pt>
                <c:pt idx="1874" formatCode="#,##0_);\(#,##0\);&quot;-  &quot;;&quot; &quot;@&quot; &quot;">
                  <c:v>3.365000000000002</c:v>
                </c:pt>
                <c:pt idx="1875" formatCode="#,##0_);\(#,##0\);&quot;-  &quot;;&quot; &quot;@&quot; &quot;">
                  <c:v>3.134999999999998</c:v>
                </c:pt>
                <c:pt idx="1876" formatCode="#,##0_);\(#,##0\);&quot;-  &quot;;&quot; &quot;@&quot; &quot;">
                  <c:v>3.5850000000000009</c:v>
                </c:pt>
                <c:pt idx="1877" formatCode="#,##0_);\(#,##0\);&quot;-  &quot;;&quot; &quot;@&quot; &quot;">
                  <c:v>3.1200000000000045</c:v>
                </c:pt>
                <c:pt idx="1878" formatCode="#,##0_);\(#,##0\);&quot;-  &quot;;&quot; &quot;@&quot; &quot;">
                  <c:v>3.7249999999999943</c:v>
                </c:pt>
                <c:pt idx="1879" formatCode="#,##0_);\(#,##0\);&quot;-  &quot;;&quot; &quot;@&quot; &quot;">
                  <c:v>3.4050000000000011</c:v>
                </c:pt>
                <c:pt idx="1880" formatCode="#,##0_);\(#,##0\);&quot;-  &quot;;&quot; &quot;@&quot; &quot;">
                  <c:v>2.595000000000006</c:v>
                </c:pt>
                <c:pt idx="1881" formatCode="#,##0_);\(#,##0\);&quot;-  &quot;;&quot; &quot;@&quot; &quot;">
                  <c:v>4.3900000000000006</c:v>
                </c:pt>
                <c:pt idx="1882" formatCode="#,##0_);\(#,##0\);&quot;-  &quot;;&quot; &quot;@&quot; &quot;">
                  <c:v>3.5850000000000009</c:v>
                </c:pt>
                <c:pt idx="1883" formatCode="#,##0_);\(#,##0\);&quot;-  &quot;;&quot; &quot;@&quot; &quot;">
                  <c:v>4.2250000000000014</c:v>
                </c:pt>
                <c:pt idx="1884" formatCode="#,##0_);\(#,##0\);&quot;-  &quot;;&quot; &quot;@&quot; &quot;">
                  <c:v>5.4149999999999991</c:v>
                </c:pt>
                <c:pt idx="1885" formatCode="#,##0_);\(#,##0\);&quot;-  &quot;;&quot; &quot;@&quot; &quot;">
                  <c:v>4.8499999999999943</c:v>
                </c:pt>
                <c:pt idx="1886" formatCode="#,##0_);\(#,##0\);&quot;-  &quot;;&quot; &quot;@&quot; &quot;">
                  <c:v>4.6199999999999974</c:v>
                </c:pt>
                <c:pt idx="1887" formatCode="#,##0_);\(#,##0\);&quot;-  &quot;;&quot; &quot;@&quot; &quot;">
                  <c:v>4.7499999999999929</c:v>
                </c:pt>
                <c:pt idx="1888" formatCode="#,##0_);\(#,##0\);&quot;-  &quot;;&quot; &quot;@&quot; &quot;">
                  <c:v>4.3100000000000023</c:v>
                </c:pt>
                <c:pt idx="1889" formatCode="#,##0_);\(#,##0\);&quot;-  &quot;;&quot; &quot;@&quot; &quot;">
                  <c:v>4.1849999999999881</c:v>
                </c:pt>
                <c:pt idx="1890" formatCode="#,##0_);\(#,##0\);&quot;-  &quot;;&quot; &quot;@&quot; &quot;">
                  <c:v>5.085000000000008</c:v>
                </c:pt>
                <c:pt idx="1891" formatCode="#,##0_);\(#,##0\);&quot;-  &quot;;&quot; &quot;@&quot; &quot;">
                  <c:v>4.980000000000004</c:v>
                </c:pt>
                <c:pt idx="1892" formatCode="#,##0_);\(#,##0\);&quot;-  &quot;;&quot; &quot;@&quot; &quot;">
                  <c:v>4.4350000000000023</c:v>
                </c:pt>
                <c:pt idx="1893" formatCode="#,##0_);\(#,##0\);&quot;-  &quot;;&quot; &quot;@&quot; &quot;">
                  <c:v>5.1150000000000091</c:v>
                </c:pt>
                <c:pt idx="1894" formatCode="#,##0_);\(#,##0\);&quot;-  &quot;;&quot; &quot;@&quot; &quot;">
                  <c:v>3.9500000000000028</c:v>
                </c:pt>
                <c:pt idx="1895" formatCode="#,##0_);\(#,##0\);&quot;-  &quot;;&quot; &quot;@&quot; &quot;">
                  <c:v>4.0549999999999926</c:v>
                </c:pt>
                <c:pt idx="1896" formatCode="#,##0_);\(#,##0\);&quot;-  &quot;;&quot; &quot;@&quot; &quot;">
                  <c:v>4.3449999999999989</c:v>
                </c:pt>
                <c:pt idx="1897" formatCode="#,##0_);\(#,##0\);&quot;-  &quot;;&quot; &quot;@&quot; &quot;">
                  <c:v>4.1599999999999966</c:v>
                </c:pt>
                <c:pt idx="1898" formatCode="#,##0_);\(#,##0\);&quot;-  &quot;;&quot; &quot;@&quot; &quot;">
                  <c:v>4.8599999999999994</c:v>
                </c:pt>
                <c:pt idx="1899" formatCode="#,##0_);\(#,##0\);&quot;-  &quot;;&quot; &quot;@&quot; &quot;">
                  <c:v>4.0799999999999983</c:v>
                </c:pt>
                <c:pt idx="1900" formatCode="#,##0_);\(#,##0\);&quot;-  &quot;;&quot; &quot;@&quot; &quot;">
                  <c:v>4.3799999999999955</c:v>
                </c:pt>
                <c:pt idx="1901" formatCode="#,##0_);\(#,##0\);&quot;-  &quot;;&quot; &quot;@&quot; &quot;">
                  <c:v>4.4749999999999943</c:v>
                </c:pt>
                <c:pt idx="1902" formatCode="#,##0_);\(#,##0\);&quot;-  &quot;;&quot; &quot;@&quot; &quot;">
                  <c:v>2.355000000000004</c:v>
                </c:pt>
                <c:pt idx="1903" formatCode="#,##0_);\(#,##0\);&quot;-  &quot;;&quot; &quot;@&quot; &quot;">
                  <c:v>4.2049999999999983</c:v>
                </c:pt>
                <c:pt idx="1904" formatCode="#,##0_);\(#,##0\);&quot;-  &quot;;&quot; &quot;@&quot; &quot;">
                  <c:v>4.019999999999996</c:v>
                </c:pt>
                <c:pt idx="1905" formatCode="#,##0_);\(#,##0\);&quot;-  &quot;;&quot; &quot;@&quot; &quot;">
                  <c:v>4.3400000000000034</c:v>
                </c:pt>
                <c:pt idx="1906" formatCode="#,##0_);\(#,##0\);&quot;-  &quot;;&quot; &quot;@&quot; &quot;">
                  <c:v>4.5900000000000034</c:v>
                </c:pt>
                <c:pt idx="1907" formatCode="#,##0_);\(#,##0\);&quot;-  &quot;;&quot; &quot;@&quot; &quot;">
                  <c:v>5.3149999999999977</c:v>
                </c:pt>
                <c:pt idx="1908" formatCode="#,##0_);\(#,##0\);&quot;-  &quot;;&quot; &quot;@&quot; &quot;">
                  <c:v>5.3049999999999926</c:v>
                </c:pt>
                <c:pt idx="1909" formatCode="#,##0_);\(#,##0\);&quot;-  &quot;;&quot; &quot;@&quot; &quot;">
                  <c:v>5.1200000000000045</c:v>
                </c:pt>
                <c:pt idx="1910" formatCode="#,##0_);\(#,##0\);&quot;-  &quot;;&quot; &quot;@&quot; &quot;">
                  <c:v>5.2150000000000034</c:v>
                </c:pt>
                <c:pt idx="1911" formatCode="#,##0_);\(#,##0\);&quot;-  &quot;;&quot; &quot;@&quot; &quot;">
                  <c:v>4.3250000000000028</c:v>
                </c:pt>
                <c:pt idx="1912" formatCode="#,##0_);\(#,##0\);&quot;-  &quot;;&quot; &quot;@&quot; &quot;">
                  <c:v>4.7999999999999972</c:v>
                </c:pt>
                <c:pt idx="1913" formatCode="#,##0_);\(#,##0\);&quot;-  &quot;;&quot; &quot;@&quot; &quot;">
                  <c:v>5.039999999999992</c:v>
                </c:pt>
                <c:pt idx="1914" formatCode="#,##0_);\(#,##0\);&quot;-  &quot;;&quot; &quot;@&quot; &quot;">
                  <c:v>5.8400000000000034</c:v>
                </c:pt>
                <c:pt idx="1915" formatCode="#,##0_);\(#,##0\);&quot;-  &quot;;&quot; &quot;@&quot; &quot;">
                  <c:v>4.6900000000000119</c:v>
                </c:pt>
                <c:pt idx="1916" formatCode="#,##0_);\(#,##0\);&quot;-  &quot;;&quot; &quot;@&quot; &quot;">
                  <c:v>4.394999999999996</c:v>
                </c:pt>
                <c:pt idx="1917" formatCode="#,##0_);\(#,##0\);&quot;-  &quot;;&quot; &quot;@&quot; &quot;">
                  <c:v>4.9250000000000114</c:v>
                </c:pt>
                <c:pt idx="1918" formatCode="#,##0_);\(#,##0\);&quot;-  &quot;;&quot; &quot;@&quot; &quot;">
                  <c:v>4.6500000000000057</c:v>
                </c:pt>
                <c:pt idx="1919" formatCode="#,##0_);\(#,##0\);&quot;-  &quot;;&quot; &quot;@&quot; &quot;">
                  <c:v>4.8299999999999983</c:v>
                </c:pt>
                <c:pt idx="1920" formatCode="#,##0_);\(#,##0\);&quot;-  &quot;;&quot; &quot;@&quot; &quot;">
                  <c:v>4.6899999999999977</c:v>
                </c:pt>
                <c:pt idx="1921" formatCode="#,##0_);\(#,##0\);&quot;-  &quot;;&quot; &quot;@&quot; &quot;">
                  <c:v>4.3449999999999989</c:v>
                </c:pt>
                <c:pt idx="1922" formatCode="#,##0_);\(#,##0\);&quot;-  &quot;;&quot; &quot;@&quot; &quot;">
                  <c:v>5.8900000000000006</c:v>
                </c:pt>
                <c:pt idx="1923" formatCode="#,##0_);\(#,##0\);&quot;-  &quot;;&quot; &quot;@&quot; &quot;">
                  <c:v>6.2299999999999898</c:v>
                </c:pt>
                <c:pt idx="1924" formatCode="#,##0_);\(#,##0\);&quot;-  &quot;;&quot; &quot;@&quot; &quot;">
                  <c:v>6.1349999999999909</c:v>
                </c:pt>
                <c:pt idx="1925" formatCode="#,##0_);\(#,##0\);&quot;-  &quot;;&quot; &quot;@&quot; &quot;">
                  <c:v>5.6999999999999886</c:v>
                </c:pt>
                <c:pt idx="1926" formatCode="#,##0_);\(#,##0\);&quot;-  &quot;;&quot; &quot;@&quot; &quot;">
                  <c:v>5.5349999999999966</c:v>
                </c:pt>
                <c:pt idx="1927" formatCode="#,##0_);\(#,##0\);&quot;-  &quot;;&quot; &quot;@&quot; &quot;">
                  <c:v>5.3100000000000023</c:v>
                </c:pt>
                <c:pt idx="1928" formatCode="#,##0_);\(#,##0\);&quot;-  &quot;;&quot; &quot;@&quot; &quot;">
                  <c:v>5.5300000000000011</c:v>
                </c:pt>
                <c:pt idx="1929" formatCode="#,##0_);\(#,##0\);&quot;-  &quot;;&quot; &quot;@&quot; &quot;">
                  <c:v>5.5800000000000125</c:v>
                </c:pt>
                <c:pt idx="1930" formatCode="#,##0_);\(#,##0\);&quot;-  &quot;;&quot; &quot;@&quot; &quot;">
                  <c:v>5.355000000000004</c:v>
                </c:pt>
                <c:pt idx="1931" formatCode="#,##0_);\(#,##0\);&quot;-  &quot;;&quot; &quot;@&quot; &quot;">
                  <c:v>5.125</c:v>
                </c:pt>
                <c:pt idx="1932" formatCode="#,##0_);\(#,##0\);&quot;-  &quot;;&quot; &quot;@&quot; &quot;">
                  <c:v>4.8249999999999886</c:v>
                </c:pt>
                <c:pt idx="1933" formatCode="#,##0_);\(#,##0\);&quot;-  &quot;;&quot; &quot;@&quot; &quot;">
                  <c:v>4.2249999999999943</c:v>
                </c:pt>
                <c:pt idx="1934" formatCode="#,##0_);\(#,##0\);&quot;-  &quot;;&quot; &quot;@&quot; &quot;">
                  <c:v>4.7349999999999994</c:v>
                </c:pt>
                <c:pt idx="1935" formatCode="#,##0_);\(#,##0\);&quot;-  &quot;;&quot; &quot;@&quot; &quot;">
                  <c:v>3.9650000000000034</c:v>
                </c:pt>
                <c:pt idx="1936" formatCode="#,##0_);\(#,##0\);&quot;-  &quot;;&quot; &quot;@&quot; &quot;">
                  <c:v>3.9849999999999994</c:v>
                </c:pt>
                <c:pt idx="1937" formatCode="#,##0_);\(#,##0\);&quot;-  &quot;;&quot; &quot;@&quot; &quot;">
                  <c:v>4.1350000000000051</c:v>
                </c:pt>
                <c:pt idx="1938" formatCode="#,##0_);\(#,##0\);&quot;-  &quot;;&quot; &quot;@&quot; &quot;">
                  <c:v>3.6799999999999926</c:v>
                </c:pt>
                <c:pt idx="1939" formatCode="#,##0_);\(#,##0\);&quot;-  &quot;;&quot; &quot;@&quot; &quot;">
                  <c:v>3.6800000000000068</c:v>
                </c:pt>
                <c:pt idx="1940" formatCode="#,##0_);\(#,##0\);&quot;-  &quot;;&quot; &quot;@&quot; &quot;">
                  <c:v>3.144999999999996</c:v>
                </c:pt>
                <c:pt idx="1941" formatCode="#,##0_);\(#,##0\);&quot;-  &quot;;&quot; &quot;@&quot; &quot;">
                  <c:v>3.4349999999999881</c:v>
                </c:pt>
                <c:pt idx="1942" formatCode="#,##0_);\(#,##0\);&quot;-  &quot;;&quot; &quot;@&quot; &quot;">
                  <c:v>2.5300000000000011</c:v>
                </c:pt>
                <c:pt idx="1943" formatCode="#,##0_);\(#,##0\);&quot;-  &quot;;&quot; &quot;@&quot; &quot;">
                  <c:v>2.2900000000000063</c:v>
                </c:pt>
                <c:pt idx="1944" formatCode="#,##0_);\(#,##0\);&quot;-  &quot;;&quot; &quot;@&quot; &quot;">
                  <c:v>2.5550000000000068</c:v>
                </c:pt>
                <c:pt idx="1945" formatCode="#,##0_);\(#,##0\);&quot;-  &quot;;&quot; &quot;@&quot; &quot;">
                  <c:v>2.9150000000000063</c:v>
                </c:pt>
                <c:pt idx="1946" formatCode="#,##0_);\(#,##0\);&quot;-  &quot;;&quot; &quot;@&quot; &quot;">
                  <c:v>2.5749999999999886</c:v>
                </c:pt>
                <c:pt idx="1947" formatCode="#,##0_);\(#,##0\);&quot;-  &quot;;&quot; &quot;@&quot; &quot;">
                  <c:v>3.2750000000000057</c:v>
                </c:pt>
                <c:pt idx="1948" formatCode="#,##0_);\(#,##0\);&quot;-  &quot;;&quot; &quot;@&quot; &quot;">
                  <c:v>3.9550000000000125</c:v>
                </c:pt>
                <c:pt idx="1949" formatCode="#,##0_);\(#,##0\);&quot;-  &quot;;&quot; &quot;@&quot; &quot;">
                  <c:v>3.4549999999999983</c:v>
                </c:pt>
                <c:pt idx="1950" formatCode="#,##0_);\(#,##0\);&quot;-  &quot;;&quot; &quot;@&quot; &quot;">
                  <c:v>3.3499999999999943</c:v>
                </c:pt>
                <c:pt idx="1951" formatCode="#,##0_);\(#,##0\);&quot;-  &quot;;&quot; &quot;@&quot; &quot;">
                  <c:v>4.0400000000000063</c:v>
                </c:pt>
                <c:pt idx="1952" formatCode="#,##0_);\(#,##0\);&quot;-  &quot;;&quot; &quot;@&quot; &quot;">
                  <c:v>4.5600000000000023</c:v>
                </c:pt>
                <c:pt idx="1953" formatCode="#,##0_);\(#,##0\);&quot;-  &quot;;&quot; &quot;@&quot; &quot;">
                  <c:v>3.6899999999999977</c:v>
                </c:pt>
                <c:pt idx="1954" formatCode="#,##0_);\(#,##0\);&quot;-  &quot;;&quot; &quot;@&quot; &quot;">
                  <c:v>3.6049999999999898</c:v>
                </c:pt>
                <c:pt idx="1955" formatCode="#,##0_);\(#,##0\);&quot;-  &quot;;&quot; &quot;@&quot; &quot;">
                  <c:v>4.2849999999999966</c:v>
                </c:pt>
                <c:pt idx="1956" formatCode="#,##0_);\(#,##0\);&quot;-  &quot;;&quot; &quot;@&quot; &quot;">
                  <c:v>5.3299999999999983</c:v>
                </c:pt>
                <c:pt idx="1957" formatCode="#,##0_);\(#,##0\);&quot;-  &quot;;&quot; &quot;@&quot; &quot;">
                  <c:v>5.9599999999999937</c:v>
                </c:pt>
                <c:pt idx="1958" formatCode="#,##0_);\(#,##0\);&quot;-  &quot;;&quot; &quot;@&quot; &quot;">
                  <c:v>4.8250000000000028</c:v>
                </c:pt>
                <c:pt idx="1959" formatCode="#,##0_);\(#,##0\);&quot;-  &quot;;&quot; &quot;@&quot; &quot;">
                  <c:v>5.7199999999999989</c:v>
                </c:pt>
                <c:pt idx="1960" formatCode="#,##0_);\(#,##0\);&quot;-  &quot;;&quot; &quot;@&quot; &quot;">
                  <c:v>5.335000000000008</c:v>
                </c:pt>
                <c:pt idx="1961" formatCode="#,##0_);\(#,##0\);&quot;-  &quot;;&quot; &quot;@&quot; &quot;">
                  <c:v>5.1700000000000017</c:v>
                </c:pt>
                <c:pt idx="1962" formatCode="#,##0_);\(#,##0\);&quot;-  &quot;;&quot; &quot;@&quot; &quot;">
                  <c:v>5.3499999999999943</c:v>
                </c:pt>
                <c:pt idx="1963" formatCode="#,##0_);\(#,##0\);&quot;-  &quot;;&quot; &quot;@&quot; &quot;">
                  <c:v>5.6500000000000057</c:v>
                </c:pt>
                <c:pt idx="1964" formatCode="#,##0_);\(#,##0\);&quot;-  &quot;;&quot; &quot;@&quot; &quot;">
                  <c:v>6.0849999999999937</c:v>
                </c:pt>
                <c:pt idx="1965" formatCode="#,##0_);\(#,##0\);&quot;-  &quot;;&quot; &quot;@&quot; &quot;">
                  <c:v>6.7949999999999875</c:v>
                </c:pt>
                <c:pt idx="1966" formatCode="#,##0_);\(#,##0\);&quot;-  &quot;;&quot; &quot;@&quot; &quot;">
                  <c:v>6.789999999999992</c:v>
                </c:pt>
                <c:pt idx="1967" formatCode="#,##0_);\(#,##0\);&quot;-  &quot;;&quot; &quot;@&quot; &quot;">
                  <c:v>5.4050000000000011</c:v>
                </c:pt>
                <c:pt idx="1968" formatCode="#,##0_);\(#,##0\);&quot;-  &quot;;&quot; &quot;@&quot; &quot;">
                  <c:v>5.4099999999999966</c:v>
                </c:pt>
                <c:pt idx="1969" formatCode="#,##0_);\(#,##0\);&quot;-  &quot;;&quot; &quot;@&quot; &quot;">
                  <c:v>5.4949999999999903</c:v>
                </c:pt>
                <c:pt idx="1970" formatCode="#,##0_);\(#,##0\);&quot;-  &quot;;&quot; &quot;@&quot; &quot;">
                  <c:v>6.375</c:v>
                </c:pt>
                <c:pt idx="1971" formatCode="#,##0_);\(#,##0\);&quot;-  &quot;;&quot; &quot;@&quot; &quot;">
                  <c:v>6.5249999999999915</c:v>
                </c:pt>
                <c:pt idx="1972" formatCode="#,##0_);\(#,##0\);&quot;-  &quot;;&quot; &quot;@&quot; &quot;">
                  <c:v>5.1899999999999977</c:v>
                </c:pt>
                <c:pt idx="1973" formatCode="#,##0_);\(#,##0\);&quot;-  &quot;;&quot; &quot;@&quot; &quot;">
                  <c:v>6.5300000000000011</c:v>
                </c:pt>
                <c:pt idx="1974" formatCode="#,##0_);\(#,##0\);&quot;-  &quot;;&quot; &quot;@&quot; &quot;">
                  <c:v>6.0300000000000011</c:v>
                </c:pt>
                <c:pt idx="1975" formatCode="#,##0_);\(#,##0\);&quot;-  &quot;;&quot; &quot;@&quot; &quot;">
                  <c:v>5.4200000000000017</c:v>
                </c:pt>
                <c:pt idx="1976" formatCode="#,##0_);\(#,##0\);&quot;-  &quot;;&quot; &quot;@&quot; &quot;">
                  <c:v>5.4299999999999926</c:v>
                </c:pt>
                <c:pt idx="1977" formatCode="#,##0_);\(#,##0\);&quot;-  &quot;;&quot; &quot;@&quot; &quot;">
                  <c:v>4.855000000000004</c:v>
                </c:pt>
                <c:pt idx="1978" formatCode="#,##0_);\(#,##0\);&quot;-  &quot;;&quot; &quot;@&quot; &quot;">
                  <c:v>5</c:v>
                </c:pt>
                <c:pt idx="1979" formatCode="#,##0_);\(#,##0\);&quot;-  &quot;;&quot; &quot;@&quot; &quot;">
                  <c:v>5.7650000000000006</c:v>
                </c:pt>
                <c:pt idx="1980" formatCode="#,##0_);\(#,##0\);&quot;-  &quot;;&quot; &quot;@&quot; &quot;">
                  <c:v>4.8100000000000023</c:v>
                </c:pt>
                <c:pt idx="1981" formatCode="#,##0_);\(#,##0\);&quot;-  &quot;;&quot; &quot;@&quot; &quot;">
                  <c:v>5.6000000000000085</c:v>
                </c:pt>
                <c:pt idx="1982" formatCode="#,##0_);\(#,##0\);&quot;-  &quot;;&quot; &quot;@&quot; &quot;">
                  <c:v>6.0499999999999972</c:v>
                </c:pt>
                <c:pt idx="1983" formatCode="#,##0_);\(#,##0\);&quot;-  &quot;;&quot; &quot;@&quot; &quot;">
                  <c:v>7.0450000000000017</c:v>
                </c:pt>
                <c:pt idx="1984" formatCode="#,##0_);\(#,##0\);&quot;-  &quot;;&quot; &quot;@&quot; &quot;">
                  <c:v>7.1149999999999949</c:v>
                </c:pt>
                <c:pt idx="1985" formatCode="#,##0_);\(#,##0\);&quot;-  &quot;;&quot; &quot;@&quot; &quot;">
                  <c:v>7.3849999999999909</c:v>
                </c:pt>
                <c:pt idx="1986" formatCode="#,##0_);\(#,##0\);&quot;-  &quot;;&quot; &quot;@&quot; &quot;">
                  <c:v>7.4849999999999994</c:v>
                </c:pt>
                <c:pt idx="1987" formatCode="#,##0_);\(#,##0\);&quot;-  &quot;;&quot; &quot;@&quot; &quot;">
                  <c:v>7.0049999999999955</c:v>
                </c:pt>
                <c:pt idx="1988" formatCode="#,##0_);\(#,##0\);&quot;-  &quot;;&quot; &quot;@&quot; &quot;">
                  <c:v>7.9399999999999977</c:v>
                </c:pt>
                <c:pt idx="1989" formatCode="#,##0_);\(#,##0\);&quot;-  &quot;;&quot; &quot;@&quot; &quot;">
                  <c:v>6.7199999999999989</c:v>
                </c:pt>
                <c:pt idx="1990" formatCode="#,##0_);\(#,##0\);&quot;-  &quot;;&quot; &quot;@&quot; &quot;">
                  <c:v>7.355000000000004</c:v>
                </c:pt>
                <c:pt idx="1991" formatCode="#,##0_);\(#,##0\);&quot;-  &quot;;&quot; &quot;@&quot; &quot;">
                  <c:v>7.8700000000000045</c:v>
                </c:pt>
                <c:pt idx="1992" formatCode="#,##0_);\(#,##0\);&quot;-  &quot;;&quot; &quot;@&quot; &quot;">
                  <c:v>7.7750000000000057</c:v>
                </c:pt>
                <c:pt idx="1993" formatCode="#,##0_);\(#,##0\);&quot;-  &quot;;&quot; &quot;@&quot; &quot;">
                  <c:v>7.3050000000000068</c:v>
                </c:pt>
                <c:pt idx="1994" formatCode="#,##0_);\(#,##0\);&quot;-  &quot;;&quot; &quot;@&quot; &quot;">
                  <c:v>6.8149999999999977</c:v>
                </c:pt>
                <c:pt idx="1995" formatCode="#,##0_);\(#,##0\);&quot;-  &quot;;&quot; &quot;@&quot; &quot;">
                  <c:v>8.0649999999999977</c:v>
                </c:pt>
                <c:pt idx="1996" formatCode="#,##0_);\(#,##0\);&quot;-  &quot;;&quot; &quot;@&quot; &quot;">
                  <c:v>8.3050000000000068</c:v>
                </c:pt>
                <c:pt idx="1997" formatCode="#,##0_);\(#,##0\);&quot;-  &quot;;&quot; &quot;@&quot; &quot;">
                  <c:v>8.3100000000000023</c:v>
                </c:pt>
                <c:pt idx="1998" formatCode="#,##0_);\(#,##0\);&quot;-  &quot;;&quot; &quot;@&quot; &quot;">
                  <c:v>7.5900000000000034</c:v>
                </c:pt>
                <c:pt idx="1999" formatCode="#,##0_);\(#,##0\);&quot;-  &quot;;&quot; &quot;@&quot; &quot;">
                  <c:v>9.0449999999999875</c:v>
                </c:pt>
                <c:pt idx="2000" formatCode="#,##0_);\(#,##0\);&quot;-  &quot;;&quot; &quot;@&quot; &quot;">
                  <c:v>8.9949999999999903</c:v>
                </c:pt>
                <c:pt idx="2001" formatCode="#,##0_);\(#,##0\);&quot;-  &quot;;&quot; &quot;@&quot; &quot;">
                  <c:v>7.9350000000000023</c:v>
                </c:pt>
                <c:pt idx="2002" formatCode="#,##0_);\(#,##0\);&quot;-  &quot;;&quot; &quot;@&quot; &quot;">
                  <c:v>9.0450000000000017</c:v>
                </c:pt>
                <c:pt idx="2003" formatCode="#,##0_);\(#,##0\);&quot;-  &quot;;&quot; &quot;@&quot; &quot;">
                  <c:v>9.0400000000000063</c:v>
                </c:pt>
                <c:pt idx="2004" formatCode="#,##0_);\(#,##0\);&quot;-  &quot;;&quot; &quot;@&quot; &quot;">
                  <c:v>8.86</c:v>
                </c:pt>
                <c:pt idx="2005" formatCode="#,##0_);\(#,##0\);&quot;-  &quot;;&quot; &quot;@&quot; &quot;">
                  <c:v>9.1850000000000023</c:v>
                </c:pt>
                <c:pt idx="2006" formatCode="#,##0_);\(#,##0\);&quot;-  &quot;;&quot; &quot;@&quot; &quot;">
                  <c:v>9.0650000000000119</c:v>
                </c:pt>
                <c:pt idx="2007" formatCode="#,##0_);\(#,##0\);&quot;-  &quot;;&quot; &quot;@&quot; &quot;">
                  <c:v>9.3649999999999949</c:v>
                </c:pt>
                <c:pt idx="2008" formatCode="#,##0_);\(#,##0\);&quot;-  &quot;;&quot; &quot;@&quot; &quot;">
                  <c:v>9.4749999999999943</c:v>
                </c:pt>
                <c:pt idx="2009" formatCode="#,##0_);\(#,##0\);&quot;-  &quot;;&quot; &quot;@&quot; &quot;">
                  <c:v>10.045000000000002</c:v>
                </c:pt>
                <c:pt idx="2010" formatCode="#,##0_);\(#,##0\);&quot;-  &quot;;&quot; &quot;@&quot; &quot;">
                  <c:v>10.625</c:v>
                </c:pt>
                <c:pt idx="2011" formatCode="#,##0_);\(#,##0\);&quot;-  &quot;;&quot; &quot;@&quot; &quot;">
                  <c:v>9.894999999999996</c:v>
                </c:pt>
                <c:pt idx="2012" formatCode="#,##0_);\(#,##0\);&quot;-  &quot;;&quot; &quot;@&quot; &quot;">
                  <c:v>10.935000000000002</c:v>
                </c:pt>
                <c:pt idx="2013" formatCode="#,##0_);\(#,##0\);&quot;-  &quot;;&quot; &quot;@&quot; &quot;">
                  <c:v>12.02000000000001</c:v>
                </c:pt>
                <c:pt idx="2014" formatCode="#,##0_);\(#,##0\);&quot;-  &quot;;&quot; &quot;@&quot; &quot;">
                  <c:v>10.530000000000001</c:v>
                </c:pt>
                <c:pt idx="2015" formatCode="#,##0_);\(#,##0\);&quot;-  &quot;;&quot; &quot;@&quot; &quot;">
                  <c:v>11.585000000000008</c:v>
                </c:pt>
                <c:pt idx="2016" formatCode="#,##0_);\(#,##0\);&quot;-  &quot;;&quot; &quot;@&quot; &quot;">
                  <c:v>11.459999999999994</c:v>
                </c:pt>
                <c:pt idx="2017" formatCode="#,##0_);\(#,##0\);&quot;-  &quot;;&quot; &quot;@&quot; &quot;">
                  <c:v>11.879999999999995</c:v>
                </c:pt>
                <c:pt idx="2018" formatCode="#,##0_);\(#,##0\);&quot;-  &quot;;&quot; &quot;@&quot; &quot;">
                  <c:v>12.114999999999995</c:v>
                </c:pt>
                <c:pt idx="2019" formatCode="#,##0_);\(#,##0\);&quot;-  &quot;;&quot; &quot;@&quot; &quot;">
                  <c:v>13.285000000000011</c:v>
                </c:pt>
                <c:pt idx="2020" formatCode="#,##0_);\(#,##0\);&quot;-  &quot;;&quot; &quot;@&quot; &quot;">
                  <c:v>13.080000000000013</c:v>
                </c:pt>
                <c:pt idx="2021" formatCode="#,##0_);\(#,##0\);&quot;-  &quot;;&quot; &quot;@&quot; &quot;">
                  <c:v>12.86</c:v>
                </c:pt>
                <c:pt idx="2022" formatCode="#,##0_);\(#,##0\);&quot;-  &quot;;&quot; &quot;@&quot; &quot;">
                  <c:v>12.379999999999995</c:v>
                </c:pt>
                <c:pt idx="2023" formatCode="#,##0_);\(#,##0\);&quot;-  &quot;;&quot; &quot;@&quot; &quot;">
                  <c:v>12.780000000000001</c:v>
                </c:pt>
                <c:pt idx="2024" formatCode="#,##0_);\(#,##0\);&quot;-  &quot;;&quot; &quot;@&quot; &quot;">
                  <c:v>12.789999999999992</c:v>
                </c:pt>
                <c:pt idx="2025" formatCode="#,##0_);\(#,##0\);&quot;-  &quot;;&quot; &quot;@&quot; &quot;">
                  <c:v>11.799999999999997</c:v>
                </c:pt>
                <c:pt idx="2026" formatCode="#,##0_);\(#,##0\);&quot;-  &quot;;&quot; &quot;@&quot; &quot;">
                  <c:v>11.815000000000012</c:v>
                </c:pt>
                <c:pt idx="2027" formatCode="#,##0_);\(#,##0\);&quot;-  &quot;;&quot; &quot;@&quot; &quot;">
                  <c:v>12.275000000000006</c:v>
                </c:pt>
                <c:pt idx="2028" formatCode="#,##0_);\(#,##0\);&quot;-  &quot;;&quot; &quot;@&quot; &quot;">
                  <c:v>11.935000000000002</c:v>
                </c:pt>
                <c:pt idx="2029" formatCode="#,##0_);\(#,##0\);&quot;-  &quot;;&quot; &quot;@&quot; &quot;">
                  <c:v>11.969999999999999</c:v>
                </c:pt>
                <c:pt idx="2030" formatCode="#,##0_);\(#,##0\);&quot;-  &quot;;&quot; &quot;@&quot; &quot;">
                  <c:v>11.89</c:v>
                </c:pt>
                <c:pt idx="2031" formatCode="#,##0_);\(#,##0\);&quot;-  &quot;;&quot; &quot;@&quot; &quot;">
                  <c:v>11.415000000000006</c:v>
                </c:pt>
                <c:pt idx="2032" formatCode="#,##0_);\(#,##0\);&quot;-  &quot;;&quot; &quot;@&quot; &quot;">
                  <c:v>11.77000000000001</c:v>
                </c:pt>
                <c:pt idx="2033" formatCode="#,##0_);\(#,##0\);&quot;-  &quot;;&quot; &quot;@&quot; &quot;">
                  <c:v>11.724999999999994</c:v>
                </c:pt>
                <c:pt idx="2034" formatCode="#,##0_);\(#,##0\);&quot;-  &quot;;&quot; &quot;@&quot; &quot;">
                  <c:v>11.824999999999989</c:v>
                </c:pt>
                <c:pt idx="2035" formatCode="#,##0_);\(#,##0\);&quot;-  &quot;;&quot; &quot;@&quot; &quot;">
                  <c:v>11.680000000000007</c:v>
                </c:pt>
                <c:pt idx="2036" formatCode="#,##0_);\(#,##0\);&quot;-  &quot;;&quot; &quot;@&quot; &quot;">
                  <c:v>11.355000000000004</c:v>
                </c:pt>
                <c:pt idx="2037" formatCode="#,##0_);\(#,##0\);&quot;-  &quot;;&quot; &quot;@&quot; &quot;">
                  <c:v>11.795000000000002</c:v>
                </c:pt>
                <c:pt idx="2038" formatCode="#,##0_);\(#,##0\);&quot;-  &quot;;&quot; &quot;@&quot; &quot;">
                  <c:v>11.530000000000001</c:v>
                </c:pt>
                <c:pt idx="2039" formatCode="#,##0_);\(#,##0\);&quot;-  &quot;;&quot; &quot;@&quot; &quot;">
                  <c:v>11</c:v>
                </c:pt>
                <c:pt idx="2040" formatCode="#,##0_);\(#,##0\);&quot;-  &quot;;&quot; &quot;@&quot; &quot;">
                  <c:v>10.079999999999998</c:v>
                </c:pt>
                <c:pt idx="2041" formatCode="#,##0_);\(#,##0\);&quot;-  &quot;;&quot; &quot;@&quot; &quot;">
                  <c:v>10.030000000000001</c:v>
                </c:pt>
                <c:pt idx="2042" formatCode="#,##0_);\(#,##0\);&quot;-  &quot;;&quot; &quot;@&quot; &quot;">
                  <c:v>10.14</c:v>
                </c:pt>
                <c:pt idx="2043" formatCode="#,##0_);\(#,##0\);&quot;-  &quot;;&quot; &quot;@&quot; &quot;">
                  <c:v>8.6450000000000102</c:v>
                </c:pt>
                <c:pt idx="2044" formatCode="#,##0_);\(#,##0\);&quot;-  &quot;;&quot; &quot;@&quot; &quot;">
                  <c:v>8.7099999999999937</c:v>
                </c:pt>
                <c:pt idx="2045" formatCode="#,##0_);\(#,##0\);&quot;-  &quot;;&quot; &quot;@&quot; &quot;">
                  <c:v>9.0150000000000006</c:v>
                </c:pt>
                <c:pt idx="2046" formatCode="#,##0_);\(#,##0\);&quot;-  &quot;;&quot; &quot;@&quot; &quot;">
                  <c:v>8.3049999999999926</c:v>
                </c:pt>
                <c:pt idx="2047" formatCode="#,##0_);\(#,##0\);&quot;-  &quot;;&quot; &quot;@&quot; &quot;">
                  <c:v>8.2549999999999955</c:v>
                </c:pt>
                <c:pt idx="2048" formatCode="#,##0_);\(#,##0\);&quot;-  &quot;;&quot; &quot;@&quot; &quot;">
                  <c:v>9.2349999999999994</c:v>
                </c:pt>
                <c:pt idx="2049" formatCode="#,##0_);\(#,##0\);&quot;-  &quot;;&quot; &quot;@&quot; &quot;">
                  <c:v>9.89</c:v>
                </c:pt>
                <c:pt idx="2050" formatCode="#,##0_);\(#,##0\);&quot;-  &quot;;&quot; &quot;@&quot; &quot;">
                  <c:v>13.63000000000001</c:v>
                </c:pt>
                <c:pt idx="2051" formatCode="#,##0_);\(#,##0\);&quot;-  &quot;;&quot; &quot;@&quot; &quot;">
                  <c:v>8.2099999999999937</c:v>
                </c:pt>
                <c:pt idx="2052" formatCode="#,##0_);\(#,##0\);&quot;-  &quot;;&quot; &quot;@&quot; &quot;">
                  <c:v>8.8500000000000085</c:v>
                </c:pt>
                <c:pt idx="2053" formatCode="#,##0_);\(#,##0\);&quot;-  &quot;;&quot; &quot;@&quot; &quot;">
                  <c:v>9.3250000000000028</c:v>
                </c:pt>
                <c:pt idx="2054" formatCode="#,##0_);\(#,##0\);&quot;-  &quot;;&quot; &quot;@&quot; &quot;">
                  <c:v>10.454999999999998</c:v>
                </c:pt>
                <c:pt idx="2055" formatCode="#,##0_);\(#,##0\);&quot;-  &quot;;&quot; &quot;@&quot; &quot;">
                  <c:v>10.299999999999997</c:v>
                </c:pt>
                <c:pt idx="2056" formatCode="#,##0_);\(#,##0\);&quot;-  &quot;;&quot; &quot;@&quot; &quot;">
                  <c:v>11.189999999999998</c:v>
                </c:pt>
                <c:pt idx="2057" formatCode="#,##0_);\(#,##0\);&quot;-  &quot;;&quot; &quot;@&quot; &quot;">
                  <c:v>10.539999999999992</c:v>
                </c:pt>
                <c:pt idx="2058" formatCode="#,##0_);\(#,##0\);&quot;-  &quot;;&quot; &quot;@&quot; &quot;">
                  <c:v>11.625</c:v>
                </c:pt>
                <c:pt idx="2059" formatCode="#,##0_);\(#,##0\);&quot;-  &quot;;&quot; &quot;@&quot; &quot;">
                  <c:v>12.239999999999995</c:v>
                </c:pt>
                <c:pt idx="2060" formatCode="#,##0_);\(#,##0\);&quot;-  &quot;;&quot; &quot;@&quot; &quot;">
                  <c:v>13.085000000000008</c:v>
                </c:pt>
                <c:pt idx="2061" formatCode="#,##0_);\(#,##0\);&quot;-  &quot;;&quot; &quot;@&quot; &quot;">
                  <c:v>13.329999999999998</c:v>
                </c:pt>
                <c:pt idx="2062" formatCode="#,##0_);\(#,##0\);&quot;-  &quot;;&quot; &quot;@&quot; &quot;">
                  <c:v>13.39</c:v>
                </c:pt>
                <c:pt idx="2063" formatCode="#,##0_);\(#,##0\);&quot;-  &quot;;&quot; &quot;@&quot; &quot;">
                  <c:v>13.540000000000006</c:v>
                </c:pt>
                <c:pt idx="2064" formatCode="#,##0_);\(#,##0\);&quot;-  &quot;;&quot; &quot;@&quot; &quot;">
                  <c:v>13.219999999999999</c:v>
                </c:pt>
                <c:pt idx="2065" formatCode="#,##0_);\(#,##0\);&quot;-  &quot;;&quot; &quot;@&quot; &quot;">
                  <c:v>13.694999999999993</c:v>
                </c:pt>
                <c:pt idx="2066" formatCode="#,##0_);\(#,##0\);&quot;-  &quot;;&quot; &quot;@&quot; &quot;">
                  <c:v>14.299999999999997</c:v>
                </c:pt>
                <c:pt idx="2067" formatCode="#,##0_);\(#,##0\);&quot;-  &quot;;&quot; &quot;@&quot; &quot;">
                  <c:v>13.290000000000006</c:v>
                </c:pt>
                <c:pt idx="2068" formatCode="#,##0_);\(#,##0\);&quot;-  &quot;;&quot; &quot;@&quot; &quot;">
                  <c:v>13.810000000000002</c:v>
                </c:pt>
                <c:pt idx="2069" formatCode="#,##0_);\(#,##0\);&quot;-  &quot;;&quot; &quot;@&quot; &quot;">
                  <c:v>13.655000000000001</c:v>
                </c:pt>
                <c:pt idx="2070" formatCode="#,##0_);\(#,##0\);&quot;-  &quot;;&quot; &quot;@&quot; &quot;">
                  <c:v>13.675000000000011</c:v>
                </c:pt>
                <c:pt idx="2071" formatCode="#,##0_);\(#,##0\);&quot;-  &quot;;&quot; &quot;@&quot; &quot;">
                  <c:v>12.030000000000001</c:v>
                </c:pt>
                <c:pt idx="2072" formatCode="#,##0_);\(#,##0\);&quot;-  &quot;;&quot; &quot;@&quot; &quot;">
                  <c:v>12.829999999999998</c:v>
                </c:pt>
                <c:pt idx="2073" formatCode="#,##0_);\(#,##0\);&quot;-  &quot;;&quot; &quot;@&quot; &quot;">
                  <c:v>13.840000000000003</c:v>
                </c:pt>
                <c:pt idx="2074" formatCode="#,##0_);\(#,##0\);&quot;-  &quot;;&quot; &quot;@&quot; &quot;">
                  <c:v>13.594999999999999</c:v>
                </c:pt>
                <c:pt idx="2075" formatCode="#,##0_);\(#,##0\);&quot;-  &quot;;&quot; &quot;@&quot; &quot;">
                  <c:v>14.39</c:v>
                </c:pt>
                <c:pt idx="2076" formatCode="#,##0_);\(#,##0\);&quot;-  &quot;;&quot; &quot;@&quot; &quot;">
                  <c:v>11.940000000000012</c:v>
                </c:pt>
                <c:pt idx="2077" formatCode="#,##0_);\(#,##0\);&quot;-  &quot;;&quot; &quot;@&quot; &quot;">
                  <c:v>14</c:v>
                </c:pt>
                <c:pt idx="2078" formatCode="#,##0_);\(#,##0\);&quot;-  &quot;;&quot; &quot;@&quot; &quot;">
                  <c:v>14.069999999999993</c:v>
                </c:pt>
                <c:pt idx="2079" formatCode="#,##0_);\(#,##0\);&quot;-  &quot;;&quot; &quot;@&quot; &quot;">
                  <c:v>13.844999999999999</c:v>
                </c:pt>
                <c:pt idx="2080" formatCode="#,##0_);\(#,##0\);&quot;-  &quot;;&quot; &quot;@&quot; &quot;">
                  <c:v>14.929999999999993</c:v>
                </c:pt>
                <c:pt idx="2081" formatCode="#,##0_);\(#,##0\);&quot;-  &quot;;&quot; &quot;@&quot; &quot;">
                  <c:v>15.394999999999996</c:v>
                </c:pt>
                <c:pt idx="2082" formatCode="#,##0_);\(#,##0\);&quot;-  &quot;;&quot; &quot;@&quot; &quot;">
                  <c:v>14.629999999999995</c:v>
                </c:pt>
                <c:pt idx="2083" formatCode="#,##0_);\(#,##0\);&quot;-  &quot;;&quot; &quot;@&quot; &quot;">
                  <c:v>14.36</c:v>
                </c:pt>
                <c:pt idx="2084" formatCode="#,##0_);\(#,##0\);&quot;-  &quot;;&quot; &quot;@&quot; &quot;">
                  <c:v>15.385000000000005</c:v>
                </c:pt>
                <c:pt idx="2085" formatCode="#,##0_);\(#,##0\);&quot;-  &quot;;&quot; &quot;@&quot; &quot;">
                  <c:v>15.905000000000001</c:v>
                </c:pt>
                <c:pt idx="2086" formatCode="#,##0_);\(#,##0\);&quot;-  &quot;;&quot; &quot;@&quot; &quot;">
                  <c:v>16.010000000000005</c:v>
                </c:pt>
                <c:pt idx="2087" formatCode="#,##0_);\(#,##0\);&quot;-  &quot;;&quot; &quot;@&quot; &quot;">
                  <c:v>15.834999999999994</c:v>
                </c:pt>
                <c:pt idx="2088" formatCode="#,##0_);\(#,##0\);&quot;-  &quot;;&quot; &quot;@&quot; &quot;">
                  <c:v>13.909999999999997</c:v>
                </c:pt>
                <c:pt idx="2089" formatCode="#,##0_);\(#,##0\);&quot;-  &quot;;&quot; &quot;@&quot; &quot;">
                  <c:v>12.554999999999993</c:v>
                </c:pt>
                <c:pt idx="2090" formatCode="#,##0_);\(#,##0\);&quot;-  &quot;;&quot; &quot;@&quot; &quot;">
                  <c:v>13.204999999999998</c:v>
                </c:pt>
                <c:pt idx="2091" formatCode="#,##0_);\(#,##0\);&quot;-  &quot;;&quot; &quot;@&quot; &quot;">
                  <c:v>14.090000000000003</c:v>
                </c:pt>
                <c:pt idx="2092" formatCode="#,##0_);\(#,##0\);&quot;-  &quot;;&quot; &quot;@&quot; &quot;">
                  <c:v>12.700000000000003</c:v>
                </c:pt>
                <c:pt idx="2093" formatCode="#,##0_);\(#,##0\);&quot;-  &quot;;&quot; &quot;@&quot; &quot;">
                  <c:v>12.525000000000006</c:v>
                </c:pt>
                <c:pt idx="2094" formatCode="#,##0_);\(#,##0\);&quot;-  &quot;;&quot; &quot;@&quot; &quot;">
                  <c:v>14.105000000000004</c:v>
                </c:pt>
                <c:pt idx="2095" formatCode="#,##0_);\(#,##0\);&quot;-  &quot;;&quot; &quot;@&quot; &quot;">
                  <c:v>12.840000000000003</c:v>
                </c:pt>
                <c:pt idx="2096" formatCode="#,##0_);\(#,##0\);&quot;-  &quot;;&quot; &quot;@&quot; &quot;">
                  <c:v>13.240000000000009</c:v>
                </c:pt>
                <c:pt idx="2097" formatCode="#,##0_);\(#,##0\);&quot;-  &quot;;&quot; &quot;@&quot; &quot;">
                  <c:v>13.135000000000005</c:v>
                </c:pt>
                <c:pt idx="2098" formatCode="#,##0_);\(#,##0\);&quot;-  &quot;;&quot; &quot;@&quot; &quot;">
                  <c:v>15.125</c:v>
                </c:pt>
                <c:pt idx="2099" formatCode="#,##0_);\(#,##0\);&quot;-  &quot;;&quot; &quot;@&quot; &quot;">
                  <c:v>15.64</c:v>
                </c:pt>
                <c:pt idx="2100" formatCode="#,##0_);\(#,##0\);&quot;-  &quot;;&quot; &quot;@&quot; &quot;">
                  <c:v>14.070000000000007</c:v>
                </c:pt>
                <c:pt idx="2101" formatCode="#,##0_);\(#,##0\);&quot;-  &quot;;&quot; &quot;@&quot; &quot;">
                  <c:v>13.230000000000004</c:v>
                </c:pt>
                <c:pt idx="2102" formatCode="#,##0_);\(#,##0\);&quot;-  &quot;;&quot; &quot;@&quot; &quot;">
                  <c:v>12.929999999999993</c:v>
                </c:pt>
                <c:pt idx="2103" formatCode="#,##0_);\(#,##0\);&quot;-  &quot;;&quot; &quot;@&quot; &quot;">
                  <c:v>12.144999999999996</c:v>
                </c:pt>
                <c:pt idx="2104" formatCode="#,##0_);\(#,##0\);&quot;-  &quot;;&quot; &quot;@&quot; &quot;">
                  <c:v>12.495000000000005</c:v>
                </c:pt>
                <c:pt idx="2105" formatCode="#,##0_);\(#,##0\);&quot;-  &quot;;&quot; &quot;@&quot; &quot;">
                  <c:v>13.335000000000008</c:v>
                </c:pt>
                <c:pt idx="2106" formatCode="#,##0_);\(#,##0\);&quot;-  &quot;;&quot; &quot;@&quot; &quot;">
                  <c:v>13.144999999999996</c:v>
                </c:pt>
                <c:pt idx="2107" formatCode="#,##0_);\(#,##0\);&quot;-  &quot;;&quot; &quot;@&quot; &quot;">
                  <c:v>12.125</c:v>
                </c:pt>
                <c:pt idx="2108" formatCode="#,##0_);\(#,##0\);&quot;-  &quot;;&quot; &quot;@&quot; &quot;">
                  <c:v>8.9950000000000045</c:v>
                </c:pt>
                <c:pt idx="2109" formatCode="#,##0_);\(#,##0\);&quot;-  &quot;;&quot; &quot;@&quot; &quot;">
                  <c:v>10.094999999999999</c:v>
                </c:pt>
                <c:pt idx="2110" formatCode="#,##0_);\(#,##0\);&quot;-  &quot;;&quot; &quot;@&quot; &quot;">
                  <c:v>9.730000000000004</c:v>
                </c:pt>
                <c:pt idx="2111" formatCode="#,##0_);\(#,##0\);&quot;-  &quot;;&quot; &quot;@&quot; &quot;">
                  <c:v>8.7099999999999937</c:v>
                </c:pt>
                <c:pt idx="2112" formatCode="#,##0_);\(#,##0\);&quot;-  &quot;;&quot; &quot;@&quot; &quot;">
                  <c:v>10.365000000000009</c:v>
                </c:pt>
                <c:pt idx="2113" formatCode="#,##0_);\(#,##0\);&quot;-  &quot;;&quot; &quot;@&quot; &quot;">
                  <c:v>9.2450000000000045</c:v>
                </c:pt>
                <c:pt idx="2114" formatCode="#,##0_);\(#,##0\);&quot;-  &quot;;&quot; &quot;@&quot; &quot;">
                  <c:v>7.8599999999999994</c:v>
                </c:pt>
                <c:pt idx="2115" formatCode="#,##0_);\(#,##0\);&quot;-  &quot;;&quot; &quot;@&quot; &quot;">
                  <c:v>11.629999999999995</c:v>
                </c:pt>
                <c:pt idx="2116" formatCode="#,##0_);\(#,##0\);&quot;-  &quot;;&quot; &quot;@&quot; &quot;">
                  <c:v>11.61</c:v>
                </c:pt>
                <c:pt idx="2117" formatCode="#,##0_);\(#,##0\);&quot;-  &quot;;&quot; &quot;@&quot; &quot;">
                  <c:v>9.2199999999999989</c:v>
                </c:pt>
                <c:pt idx="2118" formatCode="#,##0_);\(#,##0\);&quot;-  &quot;;&quot; &quot;@&quot; &quot;">
                  <c:v>15.589999999999989</c:v>
                </c:pt>
                <c:pt idx="2119" formatCode="#,##0_);\(#,##0\);&quot;-  &quot;;&quot; &quot;@&quot; &quot;">
                  <c:v>15.144999999999982</c:v>
                </c:pt>
                <c:pt idx="2120" formatCode="#,##0_);\(#,##0\);&quot;-  &quot;;&quot; &quot;@&quot; &quot;">
                  <c:v>21.469999999999985</c:v>
                </c:pt>
                <c:pt idx="2121" formatCode="#,##0_);\(#,##0\);&quot;-  &quot;;&quot; &quot;@&quot; &quot;">
                  <c:v>22.39500000000001</c:v>
                </c:pt>
                <c:pt idx="2122" formatCode="#,##0_);\(#,##0\);&quot;-  &quot;;&quot; &quot;@&quot; &quot;">
                  <c:v>28.240000000000009</c:v>
                </c:pt>
                <c:pt idx="2123" formatCode="#,##0_);\(#,##0\);&quot;-  &quot;;&quot; &quot;@&quot; &quot;">
                  <c:v>18.66500000000002</c:v>
                </c:pt>
                <c:pt idx="2124" formatCode="#,##0_);\(#,##0\);&quot;-  &quot;;&quot; &quot;@&quot; &quot;">
                  <c:v>13.174999999999997</c:v>
                </c:pt>
                <c:pt idx="2125" formatCode="#,##0_);\(#,##0\);&quot;-  &quot;;&quot; &quot;@&quot; &quot;">
                  <c:v>13.885000000000019</c:v>
                </c:pt>
                <c:pt idx="2126" formatCode="#,##0_);\(#,##0\);&quot;-  &quot;;&quot; &quot;@&quot; &quot;">
                  <c:v>16.754999999999995</c:v>
                </c:pt>
                <c:pt idx="2127" formatCode="#,##0_);\(#,##0\);&quot;-  &quot;;&quot; &quot;@&quot; &quot;">
                  <c:v>11.245000000000005</c:v>
                </c:pt>
                <c:pt idx="2128" formatCode="#,##0_);\(#,##0\);&quot;-  &quot;;&quot; &quot;@&quot; &quot;">
                  <c:v>15.019999999999996</c:v>
                </c:pt>
                <c:pt idx="2129" formatCode="#,##0_);\(#,##0\);&quot;-  &quot;;&quot; &quot;@&quot; &quot;">
                  <c:v>21.299999999999997</c:v>
                </c:pt>
                <c:pt idx="2130" formatCode="#,##0_);\(#,##0\);&quot;-  &quot;;&quot; &quot;@&quot; &quot;">
                  <c:v>26.984999999999985</c:v>
                </c:pt>
                <c:pt idx="2131" formatCode="#,##0_);\(#,##0\);&quot;-  &quot;;&quot; &quot;@&quot; &quot;">
                  <c:v>28.724999999999994</c:v>
                </c:pt>
                <c:pt idx="2132" formatCode="#,##0_);\(#,##0\);&quot;-  &quot;;&quot; &quot;@&quot; &quot;">
                  <c:v>31.17</c:v>
                </c:pt>
                <c:pt idx="2133" formatCode="#,##0_);\(#,##0\);&quot;-  &quot;;&quot; &quot;@&quot; &quot;">
                  <c:v>34.715000000000003</c:v>
                </c:pt>
                <c:pt idx="2134" formatCode="#,##0_);\(#,##0\);&quot;-  &quot;;&quot; &quot;@&quot; &quot;">
                  <c:v>40.84999999999998</c:v>
                </c:pt>
                <c:pt idx="2135" formatCode="#,##0_);\(#,##0\);&quot;-  &quot;;&quot; &quot;@&quot; &quot;">
                  <c:v>37.28</c:v>
                </c:pt>
                <c:pt idx="2136" formatCode="#,##0_);\(#,##0\);&quot;-  &quot;;&quot; &quot;@&quot; &quot;">
                  <c:v>37.259999999999991</c:v>
                </c:pt>
                <c:pt idx="2137" formatCode="#,##0_);\(#,##0\);&quot;-  &quot;;&quot; &quot;@&quot; &quot;">
                  <c:v>38.349999999999994</c:v>
                </c:pt>
                <c:pt idx="2138" formatCode="#,##0_);\(#,##0\);&quot;-  &quot;;&quot; &quot;@&quot; &quot;">
                  <c:v>38.074999999999989</c:v>
                </c:pt>
                <c:pt idx="2139" formatCode="#,##0_);\(#,##0\);&quot;-  &quot;;&quot; &quot;@&quot; &quot;">
                  <c:v>40.945000000000007</c:v>
                </c:pt>
                <c:pt idx="2140" formatCode="#,##0_);\(#,##0\);&quot;-  &quot;;&quot; &quot;@&quot; &quot;">
                  <c:v>50.554999999999993</c:v>
                </c:pt>
                <c:pt idx="2141" formatCode="#,##0_);\(#,##0\);&quot;-  &quot;;&quot; &quot;@&quot; &quot;">
                  <c:v>59.275000000000006</c:v>
                </c:pt>
                <c:pt idx="2142" formatCode="#,##0_);\(#,##0\);&quot;-  &quot;;&quot; &quot;@&quot; &quot;">
                  <c:v>56.315000000000012</c:v>
                </c:pt>
                <c:pt idx="2143" formatCode="#,##0_);\(#,##0\);&quot;-  &quot;;&quot; &quot;@&quot; &quot;">
                  <c:v>55.49499999999999</c:v>
                </c:pt>
                <c:pt idx="2144" formatCode="#,##0_);\(#,##0\);&quot;-  &quot;;&quot; &quot;@&quot; &quot;">
                  <c:v>54.775000000000006</c:v>
                </c:pt>
                <c:pt idx="2145" formatCode="#,##0_);\(#,##0\);&quot;-  &quot;;&quot; &quot;@&quot; &quot;">
                  <c:v>52.44</c:v>
                </c:pt>
                <c:pt idx="2146" formatCode="#,##0_);\(#,##0\);&quot;-  &quot;;&quot; &quot;@&quot; &quot;">
                  <c:v>48.655000000000001</c:v>
                </c:pt>
                <c:pt idx="2147" formatCode="#,##0_);\(#,##0\);&quot;-  &quot;;&quot; &quot;@&quot; &quot;">
                  <c:v>44.385000000000005</c:v>
                </c:pt>
                <c:pt idx="2148" formatCode="#,##0_);\(#,##0\);&quot;-  &quot;;&quot; &quot;@&quot; &quot;">
                  <c:v>48.144999999999996</c:v>
                </c:pt>
                <c:pt idx="2149" formatCode="#,##0_);\(#,##0\);&quot;-  &quot;;&quot; &quot;@&quot; &quot;">
                  <c:v>53.81</c:v>
                </c:pt>
                <c:pt idx="2150" formatCode="#,##0_);\(#,##0\);&quot;-  &quot;;&quot; &quot;@&quot; &quot;">
                  <c:v>54.120000000000005</c:v>
                </c:pt>
                <c:pt idx="2151" formatCode="#,##0_);\(#,##0\);&quot;-  &quot;;&quot; &quot;@&quot; &quot;">
                  <c:v>51.78</c:v>
                </c:pt>
                <c:pt idx="2152" formatCode="#,##0_);\(#,##0\);&quot;-  &quot;;&quot; &quot;@&quot; &quot;">
                  <c:v>53.219999999999985</c:v>
                </c:pt>
                <c:pt idx="2153" formatCode="#,##0_);\(#,##0\);&quot;-  &quot;;&quot; &quot;@&quot; &quot;">
                  <c:v>47.989999999999995</c:v>
                </c:pt>
                <c:pt idx="2154" formatCode="#,##0_);\(#,##0\);&quot;-  &quot;;&quot; &quot;@&quot; &quot;">
                  <c:v>47.424999999999997</c:v>
                </c:pt>
                <c:pt idx="2155" formatCode="#,##0_);\(#,##0\);&quot;-  &quot;;&quot; &quot;@&quot; &quot;">
                  <c:v>52.654999999999987</c:v>
                </c:pt>
                <c:pt idx="2156" formatCode="#,##0_);\(#,##0\);&quot;-  &quot;;&quot; &quot;@&quot; &quot;">
                  <c:v>54.839999999999989</c:v>
                </c:pt>
                <c:pt idx="2157" formatCode="#,##0_);\(#,##0\);&quot;-  &quot;;&quot; &quot;@&quot; &quot;">
                  <c:v>62.53</c:v>
                </c:pt>
                <c:pt idx="2158" formatCode="#,##0_);\(#,##0\);&quot;-  &quot;;&quot; &quot;@&quot; &quot;">
                  <c:v>63.86</c:v>
                </c:pt>
                <c:pt idx="2159" formatCode="#,##0_);\(#,##0\);&quot;-  &quot;;&quot; &quot;@&quot; &quot;">
                  <c:v>66.22</c:v>
                </c:pt>
                <c:pt idx="2160" formatCode="#,##0_);\(#,##0\);&quot;-  &quot;;&quot; &quot;@&quot; &quot;">
                  <c:v>70.275000000000006</c:v>
                </c:pt>
                <c:pt idx="2161" formatCode="#,##0_);\(#,##0\);&quot;-  &quot;;&quot; &quot;@&quot; &quot;">
                  <c:v>68.14500000000001</c:v>
                </c:pt>
                <c:pt idx="2162" formatCode="#,##0_);\(#,##0\);&quot;-  &quot;;&quot; &quot;@&quot; &quot;">
                  <c:v>69.690000000000012</c:v>
                </c:pt>
                <c:pt idx="2163" formatCode="#,##0_);\(#,##0\);&quot;-  &quot;;&quot; &quot;@&quot; &quot;">
                  <c:v>65.72999999999999</c:v>
                </c:pt>
                <c:pt idx="2164" formatCode="#,##0_);\(#,##0\);&quot;-  &quot;;&quot; &quot;@&quot; &quot;">
                  <c:v>61.964999999999989</c:v>
                </c:pt>
                <c:pt idx="2165" formatCode="#,##0_);\(#,##0\);&quot;-  &quot;;&quot; &quot;@&quot; &quot;">
                  <c:v>64.790000000000006</c:v>
                </c:pt>
                <c:pt idx="2166" formatCode="#,##0_);\(#,##0\);&quot;-  &quot;;&quot; &quot;@&quot; &quot;">
                  <c:v>66.635000000000005</c:v>
                </c:pt>
                <c:pt idx="2167" formatCode="#,##0_);\(#,##0\);&quot;-  &quot;;&quot; &quot;@&quot; &quot;">
                  <c:v>62.63000000000001</c:v>
                </c:pt>
                <c:pt idx="2168" formatCode="#,##0_);\(#,##0\);&quot;-  &quot;;&quot; &quot;@&quot; &quot;">
                  <c:v>56.215000000000003</c:v>
                </c:pt>
                <c:pt idx="2169" formatCode="#,##0_);\(#,##0\);&quot;-  &quot;;&quot; &quot;@&quot; &quot;">
                  <c:v>55.050000000000011</c:v>
                </c:pt>
                <c:pt idx="2170" formatCode="#,##0_);\(#,##0\);&quot;-  &quot;;&quot; &quot;@&quot; &quot;">
                  <c:v>47.434999999999988</c:v>
                </c:pt>
                <c:pt idx="2171" formatCode="#,##0_);\(#,##0\);&quot;-  &quot;;&quot; &quot;@&quot; &quot;">
                  <c:v>39.730000000000004</c:v>
                </c:pt>
                <c:pt idx="2172" formatCode="#,##0_);\(#,##0\);&quot;-  &quot;;&quot; &quot;@&quot; &quot;">
                  <c:v>37.734999999999999</c:v>
                </c:pt>
                <c:pt idx="2173" formatCode="#,##0_);\(#,##0\);&quot;-  &quot;;&quot; &quot;@&quot; &quot;">
                  <c:v>34.099999999999994</c:v>
                </c:pt>
                <c:pt idx="2174" formatCode="#,##0_);\(#,##0\);&quot;-  &quot;;&quot; &quot;@&quot; &quot;">
                  <c:v>32.715000000000003</c:v>
                </c:pt>
                <c:pt idx="2175" formatCode="#,##0_);\(#,##0\);&quot;-  &quot;;&quot; &quot;@&quot; &quot;">
                  <c:v>32.85499999999999</c:v>
                </c:pt>
                <c:pt idx="2176" formatCode="#,##0_);\(#,##0\);&quot;-  &quot;;&quot; &quot;@&quot; &quot;">
                  <c:v>33.515000000000015</c:v>
                </c:pt>
                <c:pt idx="2177" formatCode="#,##0_);\(#,##0\);&quot;-  &quot;;&quot; &quot;@&quot; &quot;">
                  <c:v>36.310000000000016</c:v>
                </c:pt>
                <c:pt idx="2178" formatCode="#,##0_);\(#,##0\);&quot;-  &quot;;&quot; &quot;@&quot; &quot;">
                  <c:v>36.835000000000008</c:v>
                </c:pt>
                <c:pt idx="2179" formatCode="#,##0_);\(#,##0\);&quot;-  &quot;;&quot; &quot;@&quot; &quot;">
                  <c:v>38.374999999999986</c:v>
                </c:pt>
                <c:pt idx="2180" formatCode="#,##0_);\(#,##0\);&quot;-  &quot;;&quot; &quot;@&quot; &quot;">
                  <c:v>37.054999999999993</c:v>
                </c:pt>
                <c:pt idx="2181" formatCode="#,##0_);\(#,##0\);&quot;-  &quot;;&quot; &quot;@&quot; &quot;">
                  <c:v>38.764999999999986</c:v>
                </c:pt>
                <c:pt idx="2182" formatCode="#,##0_);\(#,##0\);&quot;-  &quot;;&quot; &quot;@&quot; &quot;">
                  <c:v>43.58</c:v>
                </c:pt>
                <c:pt idx="2183" formatCode="#,##0_);\(#,##0\);&quot;-  &quot;;&quot; &quot;@&quot; &quot;">
                  <c:v>42.06</c:v>
                </c:pt>
                <c:pt idx="2184" formatCode="#,##0_);\(#,##0\);&quot;-  &quot;;&quot; &quot;@&quot; &quot;">
                  <c:v>45.819999999999993</c:v>
                </c:pt>
                <c:pt idx="2185" formatCode="#,##0_);\(#,##0\);&quot;-  &quot;;&quot; &quot;@&quot; &quot;">
                  <c:v>50.91</c:v>
                </c:pt>
                <c:pt idx="2186" formatCode="#,##0_);\(#,##0\);&quot;-  &quot;;&quot; &quot;@&quot; &quot;">
                  <c:v>48.184999999999988</c:v>
                </c:pt>
                <c:pt idx="2187" formatCode="#,##0_);\(#,##0\);&quot;-  &quot;;&quot; &quot;@&quot; &quot;">
                  <c:v>43.870000000000005</c:v>
                </c:pt>
                <c:pt idx="2188" formatCode="#,##0_);\(#,##0\);&quot;-  &quot;;&quot; &quot;@&quot; &quot;">
                  <c:v>47.405000000000001</c:v>
                </c:pt>
                <c:pt idx="2189" formatCode="#,##0_);\(#,##0\);&quot;-  &quot;;&quot; &quot;@&quot; &quot;">
                  <c:v>49.010000000000005</c:v>
                </c:pt>
                <c:pt idx="2190" formatCode="#,##0_);\(#,##0\);&quot;-  &quot;;&quot; &quot;@&quot; &quot;">
                  <c:v>45.444999999999993</c:v>
                </c:pt>
                <c:pt idx="2191" formatCode="#,##0_);\(#,##0\);&quot;-  &quot;;&quot; &quot;@&quot; &quot;">
                  <c:v>45.5</c:v>
                </c:pt>
                <c:pt idx="2192" formatCode="#,##0_);\(#,##0\);&quot;-  &quot;;&quot; &quot;@&quot; &quot;">
                  <c:v>53.740000000000009</c:v>
                </c:pt>
                <c:pt idx="2193" formatCode="#,##0_);\(#,##0\);&quot;-  &quot;;&quot; &quot;@&quot; &quot;">
                  <c:v>56.894999999999982</c:v>
                </c:pt>
                <c:pt idx="2194" formatCode="#,##0_);\(#,##0\);&quot;-  &quot;;&quot; &quot;@&quot; &quot;">
                  <c:v>56.484999999999999</c:v>
                </c:pt>
                <c:pt idx="2195" formatCode="#,##0_);\(#,##0\);&quot;-  &quot;;&quot; &quot;@&quot; &quot;">
                  <c:v>56.209999999999994</c:v>
                </c:pt>
                <c:pt idx="2196" formatCode="#,##0_);\(#,##0\);&quot;-  &quot;;&quot; &quot;@&quot; &quot;">
                  <c:v>57.05</c:v>
                </c:pt>
                <c:pt idx="2197" formatCode="#,##0_);\(#,##0\);&quot;-  &quot;;&quot; &quot;@&quot; &quot;">
                  <c:v>57.629999999999995</c:v>
                </c:pt>
                <c:pt idx="2198" formatCode="#,##0_);\(#,##0\);&quot;-  &quot;;&quot; &quot;@&quot; &quot;">
                  <c:v>55.535000000000011</c:v>
                </c:pt>
                <c:pt idx="2199" formatCode="#,##0_);\(#,##0\);&quot;-  &quot;;&quot; &quot;@&quot; &quot;">
                  <c:v>52.784999999999997</c:v>
                </c:pt>
                <c:pt idx="2200" formatCode="#,##0_);\(#,##0\);&quot;-  &quot;;&quot; &quot;@&quot; &quot;">
                  <c:v>47.41</c:v>
                </c:pt>
                <c:pt idx="2201" formatCode="#,##0_);\(#,##0\);&quot;-  &quot;;&quot; &quot;@&quot; &quot;">
                  <c:v>42.72</c:v>
                </c:pt>
                <c:pt idx="2202" formatCode="#,##0_);\(#,##0\);&quot;-  &quot;;&quot; &quot;@&quot; &quot;">
                  <c:v>35.965000000000018</c:v>
                </c:pt>
                <c:pt idx="2203" formatCode="#,##0_);\(#,##0\);&quot;-  &quot;;&quot; &quot;@&quot; &quot;">
                  <c:v>34.415000000000006</c:v>
                </c:pt>
                <c:pt idx="2204" formatCode="#,##0_);\(#,##0\);&quot;-  &quot;;&quot; &quot;@&quot; &quot;">
                  <c:v>37.999999999999986</c:v>
                </c:pt>
                <c:pt idx="2205" formatCode="#,##0_);\(#,##0\);&quot;-  &quot;;&quot; &quot;@&quot; &quot;">
                  <c:v>33.884999999999991</c:v>
                </c:pt>
                <c:pt idx="2206" formatCode="#,##0_);\(#,##0\);&quot;-  &quot;;&quot; &quot;@&quot; &quot;">
                  <c:v>35.289999999999992</c:v>
                </c:pt>
                <c:pt idx="2207" formatCode="#,##0_);\(#,##0\);&quot;-  &quot;;&quot; &quot;@&quot; &quot;">
                  <c:v>28.474999999999994</c:v>
                </c:pt>
                <c:pt idx="2208" formatCode="#,##0_);\(#,##0\);&quot;-  &quot;;&quot; &quot;@&quot; &quot;">
                  <c:v>28.365000000000009</c:v>
                </c:pt>
                <c:pt idx="2209" formatCode="#,##0_);\(#,##0\);&quot;-  &quot;;&quot; &quot;@&quot; &quot;">
                  <c:v>30.554999999999993</c:v>
                </c:pt>
                <c:pt idx="2210" formatCode="#,##0_);\(#,##0\);&quot;-  &quot;;&quot; &quot;@&quot; &quot;">
                  <c:v>35.034999999999982</c:v>
                </c:pt>
                <c:pt idx="2211" formatCode="#,##0_);\(#,##0\);&quot;-  &quot;;&quot; &quot;@&quot; &quot;">
                  <c:v>37.64500000000001</c:v>
                </c:pt>
                <c:pt idx="2212" formatCode="#,##0_);\(#,##0\);&quot;-  &quot;;&quot; &quot;@&quot; &quot;">
                  <c:v>38.359999999999985</c:v>
                </c:pt>
                <c:pt idx="2213" formatCode="#,##0_);\(#,##0\);&quot;-  &quot;;&quot; &quot;@&quot; &quot;">
                  <c:v>37.819999999999993</c:v>
                </c:pt>
                <c:pt idx="2214" formatCode="#,##0_);\(#,##0\);&quot;-  &quot;;&quot; &quot;@&quot; &quot;">
                  <c:v>35.284999999999997</c:v>
                </c:pt>
                <c:pt idx="2215" formatCode="#,##0_);\(#,##0\);&quot;-  &quot;;&quot; &quot;@&quot; &quot;">
                  <c:v>30.549999999999997</c:v>
                </c:pt>
                <c:pt idx="2216" formatCode="#,##0_);\(#,##0\);&quot;-  &quot;;&quot; &quot;@&quot; &quot;">
                  <c:v>29.519999999999996</c:v>
                </c:pt>
                <c:pt idx="2217" formatCode="#,##0_);\(#,##0\);&quot;-  &quot;;&quot; &quot;@&quot; &quot;">
                  <c:v>28.125000000000014</c:v>
                </c:pt>
                <c:pt idx="2218" formatCode="#,##0_);\(#,##0\);&quot;-  &quot;;&quot; &quot;@&quot; &quot;">
                  <c:v>28.78</c:v>
                </c:pt>
                <c:pt idx="2219" formatCode="#,##0_);\(#,##0\);&quot;-  &quot;;&quot; &quot;@&quot; &quot;">
                  <c:v>28.169999999999987</c:v>
                </c:pt>
                <c:pt idx="2220" formatCode="#,##0_);\(#,##0\);&quot;-  &quot;;&quot; &quot;@&quot; &quot;">
                  <c:v>28.534999999999982</c:v>
                </c:pt>
                <c:pt idx="2221" formatCode="#,##0_);\(#,##0\);&quot;-  &quot;;&quot; &quot;@&quot; &quot;">
                  <c:v>30.859999999999985</c:v>
                </c:pt>
                <c:pt idx="2222" formatCode="#,##0_);\(#,##0\);&quot;-  &quot;;&quot; &quot;@&quot; &quot;">
                  <c:v>32.834999999999994</c:v>
                </c:pt>
                <c:pt idx="2223" formatCode="#,##0_);\(#,##0\);&quot;-  &quot;;&quot; &quot;@&quot; &quot;">
                  <c:v>32.679999999999993</c:v>
                </c:pt>
                <c:pt idx="2224" formatCode="#,##0_);\(#,##0\);&quot;-  &quot;;&quot; &quot;@&quot; &quot;">
                  <c:v>28.904999999999987</c:v>
                </c:pt>
                <c:pt idx="2225" formatCode="#,##0_);\(#,##0\);&quot;-  &quot;;&quot; &quot;@&quot; &quot;">
                  <c:v>29.550000000000011</c:v>
                </c:pt>
                <c:pt idx="2226" formatCode="#,##0_);\(#,##0\);&quot;-  &quot;;&quot; &quot;@&quot; &quot;">
                  <c:v>26.094999999999999</c:v>
                </c:pt>
                <c:pt idx="2227" formatCode="#,##0_);\(#,##0\);&quot;-  &quot;;&quot; &quot;@&quot; &quot;">
                  <c:v>30.629999999999995</c:v>
                </c:pt>
                <c:pt idx="2228" formatCode="#,##0_);\(#,##0\);&quot;-  &quot;;&quot; &quot;@&quot; &quot;">
                  <c:v>34.334999999999994</c:v>
                </c:pt>
                <c:pt idx="2229" formatCode="#,##0_);\(#,##0\);&quot;-  &quot;;&quot; &quot;@&quot; &quot;">
                  <c:v>26.800000000000011</c:v>
                </c:pt>
                <c:pt idx="2230" formatCode="#,##0_);\(#,##0\);&quot;-  &quot;;&quot; &quot;@&quot; &quot;">
                  <c:v>21.120000000000005</c:v>
                </c:pt>
                <c:pt idx="2231" formatCode="#,##0_);\(#,##0\);&quot;-  &quot;;&quot; &quot;@&quot; &quot;">
                  <c:v>25.125</c:v>
                </c:pt>
                <c:pt idx="2232" formatCode="#,##0_);\(#,##0\);&quot;-  &quot;;&quot; &quot;@&quot; &quot;">
                  <c:v>30.265000000000015</c:v>
                </c:pt>
                <c:pt idx="2233" formatCode="#,##0_);\(#,##0\);&quot;-  &quot;;&quot; &quot;@&quot; &quot;">
                  <c:v>30.97</c:v>
                </c:pt>
                <c:pt idx="2234" formatCode="#,##0_);\(#,##0\);&quot;-  &quot;;&quot; &quot;@&quot; &quot;">
                  <c:v>35.615000000000009</c:v>
                </c:pt>
                <c:pt idx="2235" formatCode="#,##0_);\(#,##0\);&quot;-  &quot;;&quot; &quot;@&quot; &quot;">
                  <c:v>37.72</c:v>
                </c:pt>
                <c:pt idx="2236" formatCode="#,##0_);\(#,##0\);&quot;-  &quot;;&quot; &quot;@&quot; &quot;">
                  <c:v>39.594999999999999</c:v>
                </c:pt>
                <c:pt idx="2237" formatCode="#,##0_);\(#,##0\);&quot;-  &quot;;&quot; &quot;@&quot; &quot;">
                  <c:v>45.510000000000005</c:v>
                </c:pt>
                <c:pt idx="2238" formatCode="#,##0_);\(#,##0\);&quot;-  &quot;;&quot; &quot;@&quot; &quot;">
                  <c:v>45.394999999999996</c:v>
                </c:pt>
                <c:pt idx="2239" formatCode="#,##0_);\(#,##0\);&quot;-  &quot;;&quot; &quot;@&quot; &quot;">
                  <c:v>46.319999999999993</c:v>
                </c:pt>
                <c:pt idx="2240" formatCode="#,##0_);\(#,##0\);&quot;-  &quot;;&quot; &quot;@&quot; &quot;">
                  <c:v>52.114999999999995</c:v>
                </c:pt>
                <c:pt idx="2241" formatCode="#,##0_);\(#,##0\);&quot;-  &quot;;&quot; &quot;@&quot; &quot;">
                  <c:v>50.81</c:v>
                </c:pt>
                <c:pt idx="2242" formatCode="#,##0_);\(#,##0\);&quot;-  &quot;;&quot; &quot;@&quot; &quot;">
                  <c:v>55.499999999999986</c:v>
                </c:pt>
                <c:pt idx="2243" formatCode="#,##0_);\(#,##0\);&quot;-  &quot;;&quot; &quot;@&quot; &quot;">
                  <c:v>54.884999999999991</c:v>
                </c:pt>
                <c:pt idx="2244" formatCode="#,##0_);\(#,##0\);&quot;-  &quot;;&quot; &quot;@&quot; &quot;">
                  <c:v>55.695000000000007</c:v>
                </c:pt>
                <c:pt idx="2245" formatCode="#,##0_);\(#,##0\);&quot;-  &quot;;&quot; &quot;@&quot; &quot;">
                  <c:v>53.545000000000002</c:v>
                </c:pt>
                <c:pt idx="2246" formatCode="#,##0_);\(#,##0\);&quot;-  &quot;;&quot; &quot;@&quot; &quot;">
                  <c:v>48.704999999999998</c:v>
                </c:pt>
                <c:pt idx="2247" formatCode="#,##0_);\(#,##0\);&quot;-  &quot;;&quot; &quot;@&quot; &quot;">
                  <c:v>47.424999999999997</c:v>
                </c:pt>
                <c:pt idx="2248" formatCode="#,##0_);\(#,##0\);&quot;-  &quot;;&quot; &quot;@&quot; &quot;">
                  <c:v>45.780000000000015</c:v>
                </c:pt>
                <c:pt idx="2249" formatCode="#,##0_);\(#,##0\);&quot;-  &quot;;&quot; &quot;@&quot; &quot;">
                  <c:v>46.45</c:v>
                </c:pt>
                <c:pt idx="2250" formatCode="#,##0_);\(#,##0\);&quot;-  &quot;;&quot; &quot;@&quot; &quot;">
                  <c:v>48.375</c:v>
                </c:pt>
                <c:pt idx="2251" formatCode="#,##0_);\(#,##0\);&quot;-  &quot;;&quot; &quot;@&quot; &quot;">
                  <c:v>48.114999999999995</c:v>
                </c:pt>
                <c:pt idx="2252" formatCode="#,##0_);\(#,##0\);&quot;-  &quot;;&quot; &quot;@&quot; &quot;">
                  <c:v>51.509999999999991</c:v>
                </c:pt>
                <c:pt idx="2253" formatCode="#,##0_);\(#,##0\);&quot;-  &quot;;&quot; &quot;@&quot; &quot;">
                  <c:v>49.844999999999999</c:v>
                </c:pt>
                <c:pt idx="2254" formatCode="#,##0_);\(#,##0\);&quot;-  &quot;;&quot; &quot;@&quot; &quot;">
                  <c:v>48.855000000000004</c:v>
                </c:pt>
                <c:pt idx="2255" formatCode="#,##0_);\(#,##0\);&quot;-  &quot;;&quot; &quot;@&quot; &quot;">
                  <c:v>48.459999999999994</c:v>
                </c:pt>
                <c:pt idx="2256" formatCode="#,##0_);\(#,##0\);&quot;-  &quot;;&quot; &quot;@&quot; &quot;">
                  <c:v>48.115000000000009</c:v>
                </c:pt>
                <c:pt idx="2257" formatCode="#,##0_);\(#,##0\);&quot;-  &quot;;&quot; &quot;@&quot; &quot;">
                  <c:v>37.465000000000003</c:v>
                </c:pt>
                <c:pt idx="2258" formatCode="#,##0_);\(#,##0\);&quot;-  &quot;;&quot; &quot;@&quot; &quot;">
                  <c:v>32.905000000000001</c:v>
                </c:pt>
                <c:pt idx="2259" formatCode="#,##0_);\(#,##0\);&quot;-  &quot;;&quot; &quot;@&quot; &quot;">
                  <c:v>30.620000000000005</c:v>
                </c:pt>
                <c:pt idx="2260" formatCode="#,##0_);\(#,##0\);&quot;-  &quot;;&quot; &quot;@&quot; &quot;">
                  <c:v>35.414999999999992</c:v>
                </c:pt>
                <c:pt idx="2261" formatCode="#,##0_);\(#,##0\);&quot;-  &quot;;&quot; &quot;@&quot; &quot;">
                  <c:v>40.804999999999993</c:v>
                </c:pt>
                <c:pt idx="2262" formatCode="#,##0_);\(#,##0\);&quot;-  &quot;;&quot; &quot;@&quot; &quot;">
                  <c:v>41.740000000000009</c:v>
                </c:pt>
                <c:pt idx="2263" formatCode="#,##0_);\(#,##0\);&quot;-  &quot;;&quot; &quot;@&quot; &quot;">
                  <c:v>42.454999999999998</c:v>
                </c:pt>
                <c:pt idx="2264" formatCode="#,##0_);\(#,##0\);&quot;-  &quot;;&quot; &quot;@&quot; &quot;">
                  <c:v>42.075000000000003</c:v>
                </c:pt>
                <c:pt idx="2265" formatCode="#,##0_);\(#,##0\);&quot;-  &quot;;&quot; &quot;@&quot; &quot;">
                  <c:v>39.674999999999997</c:v>
                </c:pt>
                <c:pt idx="2266" formatCode="#,##0_);\(#,##0\);&quot;-  &quot;;&quot; &quot;@&quot; &quot;">
                  <c:v>42.790000000000006</c:v>
                </c:pt>
                <c:pt idx="2267" formatCode="#,##0_);\(#,##0\);&quot;-  &quot;;&quot; &quot;@&quot; &quot;">
                  <c:v>46.730000000000004</c:v>
                </c:pt>
                <c:pt idx="2268" formatCode="#,##0_);\(#,##0\);&quot;-  &quot;;&quot; &quot;@&quot; &quot;">
                  <c:v>45.574999999999989</c:v>
                </c:pt>
                <c:pt idx="2269" formatCode="#,##0_);\(#,##0\);&quot;-  &quot;;&quot; &quot;@&quot; &quot;">
                  <c:v>42.11999999999999</c:v>
                </c:pt>
                <c:pt idx="2270" formatCode="#,##0_);\(#,##0\);&quot;-  &quot;;&quot; &quot;@&quot; &quot;">
                  <c:v>43.25</c:v>
                </c:pt>
                <c:pt idx="2271" formatCode="#,##0_);\(#,##0\);&quot;-  &quot;;&quot; &quot;@&quot; &quot;">
                  <c:v>44.36</c:v>
                </c:pt>
                <c:pt idx="2272" formatCode="#,##0_);\(#,##0\);&quot;-  &quot;;&quot; &quot;@&quot; &quot;">
                  <c:v>48.7</c:v>
                </c:pt>
                <c:pt idx="2273" formatCode="#,##0_);\(#,##0\);&quot;-  &quot;;&quot; &quot;@&quot; &quot;">
                  <c:v>53.474999999999994</c:v>
                </c:pt>
                <c:pt idx="2274" formatCode="#,##0_);\(#,##0\);&quot;-  &quot;;&quot; &quot;@&quot; &quot;">
                  <c:v>56.995000000000005</c:v>
                </c:pt>
                <c:pt idx="2275" formatCode="#,##0_);\(#,##0\);&quot;-  &quot;;&quot; &quot;@&quot; &quot;">
                  <c:v>52.475000000000009</c:v>
                </c:pt>
                <c:pt idx="2276" formatCode="#,##0_);\(#,##0\);&quot;-  &quot;;&quot; &quot;@&quot; &quot;">
                  <c:v>49.295000000000002</c:v>
                </c:pt>
                <c:pt idx="2277" formatCode="#,##0_);\(#,##0\);&quot;-  &quot;;&quot; &quot;@&quot; &quot;">
                  <c:v>53.690000000000012</c:v>
                </c:pt>
                <c:pt idx="2278" formatCode="#,##0_);\(#,##0\);&quot;-  &quot;;&quot; &quot;@&quot; &quot;">
                  <c:v>54.309999999999988</c:v>
                </c:pt>
                <c:pt idx="2279" formatCode="#,##0_);\(#,##0\);&quot;-  &quot;;&quot; &quot;@&quot; &quot;">
                  <c:v>51.574999999999989</c:v>
                </c:pt>
                <c:pt idx="2280" formatCode="#,##0_);\(#,##0\);&quot;-  &quot;;&quot; &quot;@&quot; &quot;">
                  <c:v>53.715000000000003</c:v>
                </c:pt>
                <c:pt idx="2281" formatCode="#,##0_);\(#,##0\);&quot;-  &quot;;&quot; &quot;@&quot; &quot;">
                  <c:v>52.8</c:v>
                </c:pt>
                <c:pt idx="2282" formatCode="#,##0_);\(#,##0\);&quot;-  &quot;;&quot; &quot;@&quot; &quot;">
                  <c:v>45.365000000000009</c:v>
                </c:pt>
                <c:pt idx="2283" formatCode="#,##0_);\(#,##0\);&quot;-  &quot;;&quot; &quot;@&quot; &quot;">
                  <c:v>40.844999999999999</c:v>
                </c:pt>
                <c:pt idx="2284" formatCode="#,##0_);\(#,##0\);&quot;-  &quot;;&quot; &quot;@&quot; &quot;">
                  <c:v>40.485000000000014</c:v>
                </c:pt>
                <c:pt idx="2285" formatCode="#,##0_);\(#,##0\);&quot;-  &quot;;&quot; &quot;@&quot; &quot;">
                  <c:v>43.784999999999997</c:v>
                </c:pt>
                <c:pt idx="2286" formatCode="#,##0_);\(#,##0\);&quot;-  &quot;;&quot; &quot;@&quot; &quot;">
                  <c:v>43.424999999999983</c:v>
                </c:pt>
                <c:pt idx="2287" formatCode="#,##0_);\(#,##0\);&quot;-  &quot;;&quot; &quot;@&quot; &quot;">
                  <c:v>44.115000000000009</c:v>
                </c:pt>
                <c:pt idx="2288" formatCode="#,##0_);\(#,##0\);&quot;-  &quot;;&quot; &quot;@&quot; &quot;">
                  <c:v>44.185000000000002</c:v>
                </c:pt>
                <c:pt idx="2289" formatCode="#,##0_);\(#,##0\);&quot;-  &quot;;&quot; &quot;@&quot; &quot;">
                  <c:v>45.099999999999994</c:v>
                </c:pt>
                <c:pt idx="2290" formatCode="#,##0_);\(#,##0\);&quot;-  &quot;;&quot; &quot;@&quot; &quot;">
                  <c:v>42.260000000000019</c:v>
                </c:pt>
                <c:pt idx="2291" formatCode="#,##0_);\(#,##0\);&quot;-  &quot;;&quot; &quot;@&quot; &quot;">
                  <c:v>38.019999999999982</c:v>
                </c:pt>
                <c:pt idx="2292" formatCode="#,##0_);\(#,##0\);&quot;-  &quot;;&quot; &quot;@&quot; &quot;">
                  <c:v>37.144999999999982</c:v>
                </c:pt>
                <c:pt idx="2293" formatCode="#,##0_);\(#,##0\);&quot;-  &quot;;&quot; &quot;@&quot; &quot;">
                  <c:v>44.155000000000001</c:v>
                </c:pt>
                <c:pt idx="2294" formatCode="#,##0_);\(#,##0\);&quot;-  &quot;;&quot; &quot;@&quot; &quot;">
                  <c:v>45.600000000000009</c:v>
                </c:pt>
                <c:pt idx="2295" formatCode="#,##0_);\(#,##0\);&quot;-  &quot;;&quot; &quot;@&quot; &quot;">
                  <c:v>39.634999999999991</c:v>
                </c:pt>
                <c:pt idx="2296" formatCode="#,##0_);\(#,##0\);&quot;-  &quot;;&quot; &quot;@&quot; &quot;">
                  <c:v>41.844999999999985</c:v>
                </c:pt>
                <c:pt idx="2297" formatCode="#,##0_);\(#,##0\);&quot;-  &quot;;&quot; &quot;@&quot; &quot;">
                  <c:v>42.359999999999985</c:v>
                </c:pt>
                <c:pt idx="2298" formatCode="#,##0_);\(#,##0\);&quot;-  &quot;;&quot; &quot;@&quot; &quot;">
                  <c:v>41.16</c:v>
                </c:pt>
                <c:pt idx="2299" formatCode="#,##0_);\(#,##0\);&quot;-  &quot;;&quot; &quot;@&quot; &quot;">
                  <c:v>39.85499999999999</c:v>
                </c:pt>
                <c:pt idx="2300" formatCode="#,##0_);\(#,##0\);&quot;-  &quot;;&quot; &quot;@&quot; &quot;">
                  <c:v>40.254999999999995</c:v>
                </c:pt>
                <c:pt idx="2301" formatCode="#,##0_);\(#,##0\);&quot;-  &quot;;&quot; &quot;@&quot; &quot;">
                  <c:v>41.594999999999999</c:v>
                </c:pt>
                <c:pt idx="2302" formatCode="#,##0_);\(#,##0\);&quot;-  &quot;;&quot; &quot;@&quot; &quot;">
                  <c:v>42.784999999999997</c:v>
                </c:pt>
                <c:pt idx="2303" formatCode="#,##0_);\(#,##0\);&quot;-  &quot;;&quot; &quot;@&quot; &quot;">
                  <c:v>40.825000000000003</c:v>
                </c:pt>
                <c:pt idx="2304" formatCode="#,##0_);\(#,##0\);&quot;-  &quot;;&quot; &quot;@&quot; &quot;">
                  <c:v>42.860000000000014</c:v>
                </c:pt>
                <c:pt idx="2305" formatCode="#,##0_);\(#,##0\);&quot;-  &quot;;&quot; &quot;@&quot; &quot;">
                  <c:v>45.444999999999993</c:v>
                </c:pt>
                <c:pt idx="2306" formatCode="#,##0_);\(#,##0\);&quot;-  &quot;;&quot; &quot;@&quot; &quot;">
                  <c:v>39.139999999999986</c:v>
                </c:pt>
                <c:pt idx="2307" formatCode="#,##0_);\(#,##0\);&quot;-  &quot;;&quot; &quot;@&quot; &quot;">
                  <c:v>40.814999999999998</c:v>
                </c:pt>
                <c:pt idx="2308" formatCode="#,##0_);\(#,##0\);&quot;-  &quot;;&quot; &quot;@&quot; &quot;">
                  <c:v>38.965000000000003</c:v>
                </c:pt>
                <c:pt idx="2309" formatCode="#,##0_);\(#,##0\);&quot;-  &quot;;&quot; &quot;@&quot; &quot;">
                  <c:v>38.475000000000009</c:v>
                </c:pt>
                <c:pt idx="2310" formatCode="#,##0_);\(#,##0\);&quot;-  &quot;;&quot; &quot;@&quot; &quot;">
                  <c:v>36.22</c:v>
                </c:pt>
                <c:pt idx="2311" formatCode="#,##0_);\(#,##0\);&quot;-  &quot;;&quot; &quot;@&quot; &quot;">
                  <c:v>38.409999999999997</c:v>
                </c:pt>
                <c:pt idx="2312" formatCode="#,##0_);\(#,##0\);&quot;-  &quot;;&quot; &quot;@&quot; &quot;">
                  <c:v>40</c:v>
                </c:pt>
                <c:pt idx="2313" formatCode="#,##0_);\(#,##0\);&quot;-  &quot;;&quot; &quot;@&quot; &quot;">
                  <c:v>37.299999999999997</c:v>
                </c:pt>
                <c:pt idx="2314" formatCode="#,##0_);\(#,##0\);&quot;-  &quot;;&quot; &quot;@&quot; &quot;">
                  <c:v>35.75500000000001</c:v>
                </c:pt>
                <c:pt idx="2315" formatCode="#,##0_);\(#,##0\);&quot;-  &quot;;&quot; &quot;@&quot; &quot;">
                  <c:v>32.539999999999992</c:v>
                </c:pt>
                <c:pt idx="2316" formatCode="#,##0_);\(#,##0\);&quot;-  &quot;;&quot; &quot;@&quot; &quot;">
                  <c:v>32.11</c:v>
                </c:pt>
                <c:pt idx="2317" formatCode="#,##0_);\(#,##0\);&quot;-  &quot;;&quot; &quot;@&quot; &quot;">
                  <c:v>29.679999999999993</c:v>
                </c:pt>
                <c:pt idx="2318" formatCode="#,##0_);\(#,##0\);&quot;-  &quot;;&quot; &quot;@&quot; &quot;">
                  <c:v>32.905000000000001</c:v>
                </c:pt>
                <c:pt idx="2319" formatCode="#,##0_);\(#,##0\);&quot;-  &quot;;&quot; &quot;@&quot; &quot;">
                  <c:v>30.910000000000011</c:v>
                </c:pt>
                <c:pt idx="2320" formatCode="#,##0_);\(#,##0\);&quot;-  &quot;;&quot; &quot;@&quot; &quot;">
                  <c:v>32.984999999999999</c:v>
                </c:pt>
                <c:pt idx="2321" formatCode="#,##0_);\(#,##0\);&quot;-  &quot;;&quot; &quot;@&quot; &quot;">
                  <c:v>36.03</c:v>
                </c:pt>
                <c:pt idx="2322" formatCode="#,##0_);\(#,##0\);&quot;-  &quot;;&quot; &quot;@&quot; &quot;">
                  <c:v>40.424999999999997</c:v>
                </c:pt>
                <c:pt idx="2323" formatCode="#,##0_);\(#,##0\);&quot;-  &quot;;&quot; &quot;@&quot; &quot;">
                  <c:v>43.05</c:v>
                </c:pt>
                <c:pt idx="2324" formatCode="#,##0_);\(#,##0\);&quot;-  &quot;;&quot; &quot;@&quot; &quot;">
                  <c:v>40.89</c:v>
                </c:pt>
                <c:pt idx="2325" formatCode="#,##0_);\(#,##0\);&quot;-  &quot;;&quot; &quot;@&quot; &quot;">
                  <c:v>37.83</c:v>
                </c:pt>
                <c:pt idx="2326" formatCode="#,##0_);\(#,##0\);&quot;-  &quot;;&quot; &quot;@&quot; &quot;">
                  <c:v>38.055000000000007</c:v>
                </c:pt>
                <c:pt idx="2327" formatCode="#,##0_);\(#,##0\);&quot;-  &quot;;&quot; &quot;@&quot; &quot;">
                  <c:v>39.924999999999997</c:v>
                </c:pt>
                <c:pt idx="2328" formatCode="#,##0_);\(#,##0\);&quot;-  &quot;;&quot; &quot;@&quot; &quot;">
                  <c:v>40.86999999999999</c:v>
                </c:pt>
                <c:pt idx="2329" formatCode="#,##0_);\(#,##0\);&quot;-  &quot;;&quot; &quot;@&quot; &quot;">
                  <c:v>43.064999999999998</c:v>
                </c:pt>
                <c:pt idx="2330" formatCode="#,##0_);\(#,##0\);&quot;-  &quot;;&quot; &quot;@&quot; &quot;">
                  <c:v>46.679999999999993</c:v>
                </c:pt>
                <c:pt idx="2331" formatCode="#,##0_);\(#,##0\);&quot;-  &quot;;&quot; &quot;@&quot; &quot;">
                  <c:v>47.649999999999991</c:v>
                </c:pt>
                <c:pt idx="2332" formatCode="#,##0_);\(#,##0\);&quot;-  &quot;;&quot; &quot;@&quot; &quot;">
                  <c:v>47.544999999999987</c:v>
                </c:pt>
                <c:pt idx="2333" formatCode="#,##0_);\(#,##0\);&quot;-  &quot;;&quot; &quot;@&quot; &quot;">
                  <c:v>48.25500000000001</c:v>
                </c:pt>
                <c:pt idx="2334" formatCode="#,##0_);\(#,##0\);&quot;-  &quot;;&quot; &quot;@&quot; &quot;">
                  <c:v>45.36</c:v>
                </c:pt>
                <c:pt idx="2335" formatCode="#,##0_);\(#,##0\);&quot;-  &quot;;&quot; &quot;@&quot; &quot;">
                  <c:v>44.81</c:v>
                </c:pt>
                <c:pt idx="2336" formatCode="#,##0_);\(#,##0\);&quot;-  &quot;;&quot; &quot;@&quot; &quot;">
                  <c:v>44.209999999999994</c:v>
                </c:pt>
                <c:pt idx="2337" formatCode="#,##0_);\(#,##0\);&quot;-  &quot;;&quot; &quot;@&quot; &quot;">
                  <c:v>47.414999999999992</c:v>
                </c:pt>
                <c:pt idx="2338" formatCode="#,##0_);\(#,##0\);&quot;-  &quot;;&quot; &quot;@&quot; &quot;">
                  <c:v>47.224999999999994</c:v>
                </c:pt>
                <c:pt idx="2339" formatCode="#,##0_);\(#,##0\);&quot;-  &quot;;&quot; &quot;@&quot; &quot;">
                  <c:v>49.150000000000006</c:v>
                </c:pt>
                <c:pt idx="2340" formatCode="#,##0_);\(#,##0\);&quot;-  &quot;;&quot; &quot;@&quot; &quot;">
                  <c:v>53.495000000000005</c:v>
                </c:pt>
                <c:pt idx="2341" formatCode="#,##0_);\(#,##0\);&quot;-  &quot;;&quot; &quot;@&quot; &quot;">
                  <c:v>52.464999999999989</c:v>
                </c:pt>
                <c:pt idx="2342" formatCode="#,##0_);\(#,##0\);&quot;-  &quot;;&quot; &quot;@&quot; &quot;">
                  <c:v>53.844999999999985</c:v>
                </c:pt>
                <c:pt idx="2343" formatCode="#,##0_);\(#,##0\);&quot;-  &quot;;&quot; &quot;@&quot; &quot;">
                  <c:v>54.549999999999983</c:v>
                </c:pt>
                <c:pt idx="2344" formatCode="#,##0_);\(#,##0\);&quot;-  &quot;;&quot; &quot;@&quot; &quot;">
                  <c:v>54.180000000000007</c:v>
                </c:pt>
                <c:pt idx="2345" formatCode="#,##0_);\(#,##0\);&quot;-  &quot;;&quot; &quot;@&quot; &quot;">
                  <c:v>53.815000000000012</c:v>
                </c:pt>
                <c:pt idx="2346" formatCode="#,##0_);\(#,##0\);&quot;-  &quot;;&quot; &quot;@&quot; &quot;">
                  <c:v>57.27000000000001</c:v>
                </c:pt>
                <c:pt idx="2347" formatCode="#,##0_);\(#,##0\);&quot;-  &quot;;&quot; &quot;@&quot; &quot;">
                  <c:v>57.829999999999984</c:v>
                </c:pt>
                <c:pt idx="2348" formatCode="#,##0_);\(#,##0\);&quot;-  &quot;;&quot; &quot;@&quot; &quot;">
                  <c:v>58.070000000000007</c:v>
                </c:pt>
                <c:pt idx="2349" formatCode="#,##0_);\(#,##0\);&quot;-  &quot;;&quot; &quot;@&quot; &quot;">
                  <c:v>58.5</c:v>
                </c:pt>
                <c:pt idx="2350" formatCode="#,##0_);\(#,##0\);&quot;-  &quot;;&quot; &quot;@&quot; &quot;">
                  <c:v>62.515000000000001</c:v>
                </c:pt>
                <c:pt idx="2351" formatCode="#,##0_);\(#,##0\);&quot;-  &quot;;&quot; &quot;@&quot; &quot;">
                  <c:v>61</c:v>
                </c:pt>
                <c:pt idx="2352" formatCode="#,##0_);\(#,##0\);&quot;-  &quot;;&quot; &quot;@&quot; &quot;">
                  <c:v>60.065000000000012</c:v>
                </c:pt>
                <c:pt idx="2353" formatCode="#,##0_);\(#,##0\);&quot;-  &quot;;&quot; &quot;@&quot; &quot;">
                  <c:v>53.360000000000014</c:v>
                </c:pt>
                <c:pt idx="2354" formatCode="#,##0_);\(#,##0\);&quot;-  &quot;;&quot; &quot;@&quot; &quot;">
                  <c:v>51.384999999999991</c:v>
                </c:pt>
                <c:pt idx="2355" formatCode="#,##0_);\(#,##0\);&quot;-  &quot;;&quot; &quot;@&quot; &quot;">
                  <c:v>47.260000000000005</c:v>
                </c:pt>
                <c:pt idx="2356" formatCode="#,##0_);\(#,##0\);&quot;-  &quot;;&quot; &quot;@&quot; &quot;">
                  <c:v>44.86</c:v>
                </c:pt>
                <c:pt idx="2357" formatCode="#,##0_);\(#,##0\);&quot;-  &quot;;&quot; &quot;@&quot; &quot;">
                  <c:v>42.009999999999991</c:v>
                </c:pt>
                <c:pt idx="2358" formatCode="#,##0_);\(#,##0\);&quot;-  &quot;;&quot; &quot;@&quot; &quot;">
                  <c:v>40.355000000000004</c:v>
                </c:pt>
                <c:pt idx="2359" formatCode="#,##0_);\(#,##0\);&quot;-  &quot;;&quot; &quot;@&quot; &quot;">
                  <c:v>41.47</c:v>
                </c:pt>
                <c:pt idx="2360" formatCode="#,##0_);\(#,##0\);&quot;-  &quot;;&quot; &quot;@&quot; &quot;">
                  <c:v>40.715000000000003</c:v>
                </c:pt>
                <c:pt idx="2361" formatCode="#,##0_);\(#,##0\);&quot;-  &quot;;&quot; &quot;@&quot; &quot;">
                  <c:v>34.805000000000007</c:v>
                </c:pt>
                <c:pt idx="2362" formatCode="#,##0_);\(#,##0\);&quot;-  &quot;;&quot; &quot;@&quot; &quot;">
                  <c:v>33.704999999999998</c:v>
                </c:pt>
                <c:pt idx="2363" formatCode="#,##0_);\(#,##0\);&quot;-  &quot;;&quot; &quot;@&quot; &quot;">
                  <c:v>33.400000000000006</c:v>
                </c:pt>
                <c:pt idx="2364" formatCode="#,##0_);\(#,##0\);&quot;-  &quot;;&quot; &quot;@&quot; &quot;">
                  <c:v>32.799999999999997</c:v>
                </c:pt>
                <c:pt idx="2365" formatCode="#,##0_);\(#,##0\);&quot;-  &quot;;&quot; &quot;@&quot; &quot;">
                  <c:v>30.42</c:v>
                </c:pt>
                <c:pt idx="2366" formatCode="#,##0_);\(#,##0\);&quot;-  &quot;;&quot; &quot;@&quot; &quot;">
                  <c:v>27.47</c:v>
                </c:pt>
                <c:pt idx="2367" formatCode="#,##0_);\(#,##0\);&quot;-  &quot;;&quot; &quot;@&quot; &quot;">
                  <c:v>24.954999999999998</c:v>
                </c:pt>
                <c:pt idx="2368" formatCode="#,##0_);\(#,##0\);&quot;-  &quot;;&quot; &quot;@&quot; &quot;">
                  <c:v>25.319999999999993</c:v>
                </c:pt>
                <c:pt idx="2369" formatCode="#,##0_);\(#,##0\);&quot;-  &quot;;&quot; &quot;@&quot; &quot;">
                  <c:v>28.86</c:v>
                </c:pt>
                <c:pt idx="2370" formatCode="#,##0_);\(#,##0\);&quot;-  &quot;;&quot; &quot;@&quot; &quot;">
                  <c:v>29.049999999999997</c:v>
                </c:pt>
                <c:pt idx="2371" formatCode="#,##0_);\(#,##0\);&quot;-  &quot;;&quot; &quot;@&quot; &quot;">
                  <c:v>27.930000000000007</c:v>
                </c:pt>
                <c:pt idx="2372" formatCode="#,##0_);\(#,##0\);&quot;-  &quot;;&quot; &quot;@&quot; &quot;">
                  <c:v>31</c:v>
                </c:pt>
                <c:pt idx="2373" formatCode="#,##0_);\(#,##0\);&quot;-  &quot;;&quot; &quot;@&quot; &quot;">
                  <c:v>32.739999999999995</c:v>
                </c:pt>
                <c:pt idx="2374" formatCode="#,##0_);\(#,##0\);&quot;-  &quot;;&quot; &quot;@&quot; &quot;">
                  <c:v>30.74499999999999</c:v>
                </c:pt>
                <c:pt idx="2375" formatCode="#,##0_);\(#,##0\);&quot;-  &quot;;&quot; &quot;@&quot; &quot;">
                  <c:v>32.209999999999994</c:v>
                </c:pt>
                <c:pt idx="2376" formatCode="#,##0_);\(#,##0\);&quot;-  &quot;;&quot; &quot;@&quot; &quot;">
                  <c:v>29.784999999999997</c:v>
                </c:pt>
                <c:pt idx="2377" formatCode="#,##0_);\(#,##0\);&quot;-  &quot;;&quot; &quot;@&quot; &quot;">
                  <c:v>30.769999999999996</c:v>
                </c:pt>
                <c:pt idx="2378" formatCode="#,##0_);\(#,##0\);&quot;-  &quot;;&quot; &quot;@&quot; &quot;">
                  <c:v>29.74499999999999</c:v>
                </c:pt>
                <c:pt idx="2379" formatCode="#,##0_);\(#,##0\);&quot;-  &quot;;&quot; &quot;@&quot; &quot;">
                  <c:v>28.725000000000009</c:v>
                </c:pt>
                <c:pt idx="2380" formatCode="#,##0_);\(#,##0\);&quot;-  &quot;;&quot; &quot;@&quot; &quot;">
                  <c:v>27.810000000000002</c:v>
                </c:pt>
                <c:pt idx="2381" formatCode="#,##0_);\(#,##0\);&quot;-  &quot;;&quot; &quot;@&quot; &quot;">
                  <c:v>25.200000000000003</c:v>
                </c:pt>
                <c:pt idx="2382" formatCode="#,##0_);\(#,##0\);&quot;-  &quot;;&quot; &quot;@&quot; &quot;">
                  <c:v>26.855000000000004</c:v>
                </c:pt>
                <c:pt idx="2383" formatCode="#,##0_);\(#,##0\);&quot;-  &quot;;&quot; &quot;@&quot; &quot;">
                  <c:v>27.945000000000007</c:v>
                </c:pt>
                <c:pt idx="2384" formatCode="#,##0_);\(#,##0\);&quot;-  &quot;;&quot; &quot;@&quot; &quot;">
                  <c:v>27.569999999999993</c:v>
                </c:pt>
                <c:pt idx="2385" formatCode="#,##0_);\(#,##0\);&quot;-  &quot;;&quot; &quot;@&quot; &quot;">
                  <c:v>28.78</c:v>
                </c:pt>
                <c:pt idx="2386" formatCode="#,##0_);\(#,##0\);&quot;-  &quot;;&quot; &quot;@&quot; &quot;">
                  <c:v>26.714999999999989</c:v>
                </c:pt>
                <c:pt idx="2387" formatCode="#,##0_);\(#,##0\);&quot;-  &quot;;&quot; &quot;@&quot; &quot;">
                  <c:v>29.64</c:v>
                </c:pt>
                <c:pt idx="2388" formatCode="#,##0_);\(#,##0\);&quot;-  &quot;;&quot; &quot;@&quot; &quot;">
                  <c:v>28.725000000000009</c:v>
                </c:pt>
                <c:pt idx="2389" formatCode="#,##0_);\(#,##0\);&quot;-  &quot;;&quot; &quot;@&quot; &quot;">
                  <c:v>27.224999999999994</c:v>
                </c:pt>
                <c:pt idx="2390" formatCode="#,##0_);\(#,##0\);&quot;-  &quot;;&quot; &quot;@&quot; &quot;">
                  <c:v>27.090000000000003</c:v>
                </c:pt>
                <c:pt idx="2391" formatCode="#,##0_);\(#,##0\);&quot;-  &quot;;&quot; &quot;@&quot; &quot;">
                  <c:v>26.900000000000006</c:v>
                </c:pt>
                <c:pt idx="2392" formatCode="#,##0_);\(#,##0\);&quot;-  &quot;;&quot; &quot;@&quot; &quot;">
                  <c:v>29.284999999999997</c:v>
                </c:pt>
                <c:pt idx="2393" formatCode="#,##0_);\(#,##0\);&quot;-  &quot;;&quot; &quot;@&quot; &quot;">
                  <c:v>28.495000000000005</c:v>
                </c:pt>
                <c:pt idx="2394" formatCode="#,##0_);\(#,##0\);&quot;-  &quot;;&quot; &quot;@&quot; &quot;">
                  <c:v>27.879999999999995</c:v>
                </c:pt>
                <c:pt idx="2395" formatCode="#,##0_);\(#,##0\);&quot;-  &quot;;&quot; &quot;@&quot; &quot;">
                  <c:v>25.400000000000006</c:v>
                </c:pt>
                <c:pt idx="2396" formatCode="#,##0_);\(#,##0\);&quot;-  &quot;;&quot; &quot;@&quot; &quot;">
                  <c:v>24.974999999999994</c:v>
                </c:pt>
                <c:pt idx="2397" formatCode="#,##0_);\(#,##0\);&quot;-  &quot;;&quot; &quot;@&quot; &quot;">
                  <c:v>26.03</c:v>
                </c:pt>
                <c:pt idx="2398" formatCode="#,##0_);\(#,##0\);&quot;-  &quot;;&quot; &quot;@&quot; &quot;">
                  <c:v>21.83</c:v>
                </c:pt>
                <c:pt idx="2399" formatCode="#,##0_);\(#,##0\);&quot;-  &quot;;&quot; &quot;@&quot; &quot;">
                  <c:v>19.465000000000003</c:v>
                </c:pt>
                <c:pt idx="2400" formatCode="#,##0_);\(#,##0\);&quot;-  &quot;;&quot; &quot;@&quot; &quot;">
                  <c:v>21.045000000000002</c:v>
                </c:pt>
                <c:pt idx="2401" formatCode="#,##0_);\(#,##0\);&quot;-  &quot;;&quot; &quot;@&quot; &quot;">
                  <c:v>20.159999999999997</c:v>
                </c:pt>
                <c:pt idx="2402" formatCode="#,##0_);\(#,##0\);&quot;-  &quot;;&quot; &quot;@&quot; &quot;">
                  <c:v>19.909999999999997</c:v>
                </c:pt>
                <c:pt idx="2403" formatCode="#,##0_);\(#,##0\);&quot;-  &quot;;&quot; &quot;@&quot; &quot;">
                  <c:v>17.960000000000008</c:v>
                </c:pt>
                <c:pt idx="2404" formatCode="#,##0_);\(#,##0\);&quot;-  &quot;;&quot; &quot;@&quot; &quot;">
                  <c:v>16.704999999999998</c:v>
                </c:pt>
                <c:pt idx="2405" formatCode="#,##0_);\(#,##0\);&quot;-  &quot;;&quot; &quot;@&quot; &quot;">
                  <c:v>15.649999999999991</c:v>
                </c:pt>
                <c:pt idx="2406" formatCode="#,##0_);\(#,##0\);&quot;-  &quot;;&quot; &quot;@&quot; &quot;">
                  <c:v>13.655000000000001</c:v>
                </c:pt>
                <c:pt idx="2407" formatCode="#,##0_);\(#,##0\);&quot;-  &quot;;&quot; &quot;@&quot; &quot;">
                  <c:v>13.934999999999988</c:v>
                </c:pt>
                <c:pt idx="2408" formatCode="#,##0_);\(#,##0\);&quot;-  &quot;;&quot; &quot;@&quot; &quot;">
                  <c:v>13.52000000000001</c:v>
                </c:pt>
                <c:pt idx="2409" formatCode="#,##0_);\(#,##0\);&quot;-  &quot;;&quot; &quot;@&quot; &quot;">
                  <c:v>12.86</c:v>
                </c:pt>
                <c:pt idx="2410" formatCode="#,##0_);\(#,##0\);&quot;-  &quot;;&quot; &quot;@&quot; &quot;">
                  <c:v>12.769999999999996</c:v>
                </c:pt>
                <c:pt idx="2411" formatCode="#,##0_);\(#,##0\);&quot;-  &quot;;&quot; &quot;@&quot; &quot;">
                  <c:v>12.365000000000009</c:v>
                </c:pt>
                <c:pt idx="2412" formatCode="#,##0_);\(#,##0\);&quot;-  &quot;;&quot; &quot;@&quot; &quot;">
                  <c:v>13.049999999999997</c:v>
                </c:pt>
                <c:pt idx="2413" formatCode="#,##0_);\(#,##0\);&quot;-  &quot;;&quot; &quot;@&quot; &quot;">
                  <c:v>13.864999999999995</c:v>
                </c:pt>
                <c:pt idx="2414" formatCode="#,##0_);\(#,##0\);&quot;-  &quot;;&quot; &quot;@&quot; &quot;">
                  <c:v>11.844999999999999</c:v>
                </c:pt>
                <c:pt idx="2415" formatCode="#,##0_);\(#,##0\);&quot;-  &quot;;&quot; &quot;@&quot; &quot;">
                  <c:v>12.259999999999991</c:v>
                </c:pt>
                <c:pt idx="2416" formatCode="#,##0_);\(#,##0\);&quot;-  &quot;;&quot; &quot;@&quot; &quot;">
                  <c:v>11.009999999999991</c:v>
                </c:pt>
                <c:pt idx="2417" formatCode="#,##0_);\(#,##0\);&quot;-  &quot;;&quot; &quot;@&quot; &quot;">
                  <c:v>16.319999999999993</c:v>
                </c:pt>
                <c:pt idx="2418" formatCode="#,##0_);\(#,##0\);&quot;-  &quot;;&quot; &quot;@&quot; &quot;">
                  <c:v>13.409999999999997</c:v>
                </c:pt>
                <c:pt idx="2419" formatCode="#,##0_);\(#,##0\);&quot;-  &quot;;&quot; &quot;@&quot; &quot;">
                  <c:v>14.739999999999995</c:v>
                </c:pt>
                <c:pt idx="2420" formatCode="#,##0_);\(#,##0\);&quot;-  &quot;;&quot; &quot;@&quot; &quot;">
                  <c:v>14.959999999999994</c:v>
                </c:pt>
                <c:pt idx="2421" formatCode="#,##0_);\(#,##0\);&quot;-  &quot;;&quot; &quot;@&quot; &quot;">
                  <c:v>15.079999999999998</c:v>
                </c:pt>
                <c:pt idx="2422" formatCode="#,##0_);\(#,##0\);&quot;-  &quot;;&quot; &quot;@&quot; &quot;">
                  <c:v>16.714999999999989</c:v>
                </c:pt>
                <c:pt idx="2423" formatCode="#,##0_);\(#,##0\);&quot;-  &quot;;&quot; &quot;@&quot; &quot;">
                  <c:v>17.114999999999995</c:v>
                </c:pt>
                <c:pt idx="2424" formatCode="#,##0_);\(#,##0\);&quot;-  &quot;;&quot; &quot;@&quot; &quot;">
                  <c:v>16.064999999999998</c:v>
                </c:pt>
                <c:pt idx="2425" formatCode="#,##0_);\(#,##0\);&quot;-  &quot;;&quot; &quot;@&quot; &quot;">
                  <c:v>16.484999999999999</c:v>
                </c:pt>
                <c:pt idx="2426" formatCode="#,##0_);\(#,##0\);&quot;-  &quot;;&quot; &quot;@&quot; &quot;">
                  <c:v>15</c:v>
                </c:pt>
                <c:pt idx="2427" formatCode="#,##0_);\(#,##0\);&quot;-  &quot;;&quot; &quot;@&quot; &quot;">
                  <c:v>16.200000000000003</c:v>
                </c:pt>
                <c:pt idx="2428" formatCode="#,##0_);\(#,##0\);&quot;-  &quot;;&quot; &quot;@&quot; &quot;">
                  <c:v>16.765000000000001</c:v>
                </c:pt>
                <c:pt idx="2429" formatCode="#,##0_);\(#,##0\);&quot;-  &quot;;&quot; &quot;@&quot; &quot;">
                  <c:v>16.75</c:v>
                </c:pt>
                <c:pt idx="2430" formatCode="#,##0_);\(#,##0\);&quot;-  &quot;;&quot; &quot;@&quot; &quot;">
                  <c:v>17.670000000000002</c:v>
                </c:pt>
                <c:pt idx="2431" formatCode="#,##0_);\(#,##0\);&quot;-  &quot;;&quot; &quot;@&quot; &quot;">
                  <c:v>16.739999999999995</c:v>
                </c:pt>
                <c:pt idx="2432" formatCode="#,##0_);\(#,##0\);&quot;-  &quot;;&quot; &quot;@&quot; &quot;">
                  <c:v>16.069999999999993</c:v>
                </c:pt>
                <c:pt idx="2433" formatCode="#,##0_);\(#,##0\);&quot;-  &quot;;&quot; &quot;@&quot; &quot;">
                  <c:v>15.329999999999998</c:v>
                </c:pt>
                <c:pt idx="2434" formatCode="#,##0_);\(#,##0\);&quot;-  &quot;;&quot; &quot;@&quot; &quot;">
                  <c:v>15.789999999999992</c:v>
                </c:pt>
                <c:pt idx="2435" formatCode="#,##0_);\(#,##0\);&quot;-  &quot;;&quot; &quot;@&quot; &quot;">
                  <c:v>16.094999999999999</c:v>
                </c:pt>
                <c:pt idx="2436" formatCode="#,##0_);\(#,##0\);&quot;-  &quot;;&quot; &quot;@&quot; &quot;">
                  <c:v>15.605000000000004</c:v>
                </c:pt>
                <c:pt idx="2437" formatCode="#,##0_);\(#,##0\);&quot;-  &quot;;&quot; &quot;@&quot; &quot;">
                  <c:v>18.289999999999992</c:v>
                </c:pt>
                <c:pt idx="2438" formatCode="#,##0_);\(#,##0\);&quot;-  &quot;;&quot; &quot;@&quot; &quot;">
                  <c:v>15.670000000000002</c:v>
                </c:pt>
                <c:pt idx="2439" formatCode="#,##0_);\(#,##0\);&quot;-  &quot;;&quot; &quot;@&quot; &quot;">
                  <c:v>15.614999999999995</c:v>
                </c:pt>
                <c:pt idx="2440" formatCode="#,##0_);\(#,##0\);&quot;-  &quot;;&quot; &quot;@&quot; &quot;">
                  <c:v>16.49499999999999</c:v>
                </c:pt>
                <c:pt idx="2441" formatCode="#,##0_);\(#,##0\);&quot;-  &quot;;&quot; &quot;@&quot; &quot;">
                  <c:v>16.950000000000003</c:v>
                </c:pt>
                <c:pt idx="2442" formatCode="#,##0_);\(#,##0\);&quot;-  &quot;;&quot; &quot;@&quot; &quot;">
                  <c:v>18.084999999999994</c:v>
                </c:pt>
                <c:pt idx="2443" formatCode="#,##0_);\(#,##0\);&quot;-  &quot;;&quot; &quot;@&quot; &quot;">
                  <c:v>19.959999999999994</c:v>
                </c:pt>
                <c:pt idx="2444" formatCode="#,##0_);\(#,##0\);&quot;-  &quot;;&quot; &quot;@&quot; &quot;">
                  <c:v>20.775000000000006</c:v>
                </c:pt>
                <c:pt idx="2445" formatCode="#,##0_);\(#,##0\);&quot;-  &quot;;&quot; &quot;@&quot; &quot;">
                  <c:v>20.209999999999994</c:v>
                </c:pt>
                <c:pt idx="2446" formatCode="#,##0_);\(#,##0\);&quot;-  &quot;;&quot; &quot;@&quot; &quot;">
                  <c:v>18.97999999999999</c:v>
                </c:pt>
                <c:pt idx="2447" formatCode="#,##0_);\(#,##0\);&quot;-  &quot;;&quot; &quot;@&quot; &quot;">
                  <c:v>19.370000000000005</c:v>
                </c:pt>
                <c:pt idx="2448" formatCode="#,##0_);\(#,##0\);&quot;-  &quot;;&quot; &quot;@&quot; &quot;">
                  <c:v>19.785000000000011</c:v>
                </c:pt>
                <c:pt idx="2449" formatCode="#,##0_);\(#,##0\);&quot;-  &quot;;&quot; &quot;@&quot; &quot;">
                  <c:v>19.454999999999998</c:v>
                </c:pt>
                <c:pt idx="2450" formatCode="#,##0_);\(#,##0\);&quot;-  &quot;;&quot; &quot;@&quot; &quot;">
                  <c:v>21.349999999999994</c:v>
                </c:pt>
                <c:pt idx="2451" formatCode="#,##0_);\(#,##0\);&quot;-  &quot;;&quot; &quot;@&quot; &quot;">
                  <c:v>24.155000000000001</c:v>
                </c:pt>
                <c:pt idx="2452" formatCode="#,##0_);\(#,##0\);&quot;-  &quot;;&quot; &quot;@&quot; &quot;">
                  <c:v>24.14</c:v>
                </c:pt>
                <c:pt idx="2453" formatCode="#,##0_);\(#,##0\);&quot;-  &quot;;&quot; &quot;@&quot; &quot;">
                  <c:v>22.554999999999993</c:v>
                </c:pt>
                <c:pt idx="2454" formatCode="#,##0_);\(#,##0\);&quot;-  &quot;;&quot; &quot;@&quot; &quot;">
                  <c:v>23.159999999999997</c:v>
                </c:pt>
                <c:pt idx="2455" formatCode="#,##0_);\(#,##0\);&quot;-  &quot;;&quot; &quot;@&quot; &quot;">
                  <c:v>23.605000000000004</c:v>
                </c:pt>
                <c:pt idx="2456" formatCode="#,##0_);\(#,##0\);&quot;-  &quot;;&quot; &quot;@&quot; &quot;">
                  <c:v>21.515000000000001</c:v>
                </c:pt>
                <c:pt idx="2457" formatCode="#,##0_);\(#,##0\);&quot;-  &quot;;&quot; &quot;@&quot; &quot;">
                  <c:v>22.08</c:v>
                </c:pt>
                <c:pt idx="2458" formatCode="#,##0_);\(#,##0\);&quot;-  &quot;;&quot; &quot;@&quot; &quot;">
                  <c:v>22.699999999999989</c:v>
                </c:pt>
                <c:pt idx="2459" formatCode="#,##0_);\(#,##0\);&quot;-  &quot;;&quot; &quot;@&quot; &quot;">
                  <c:v>21.534999999999997</c:v>
                </c:pt>
                <c:pt idx="2460" formatCode="#,##0_);\(#,##0\);&quot;-  &quot;;&quot; &quot;@&quot; &quot;">
                  <c:v>22.085000000000008</c:v>
                </c:pt>
                <c:pt idx="2461" formatCode="#,##0_);\(#,##0\);&quot;-  &quot;;&quot; &quot;@&quot; &quot;">
                  <c:v>21.804999999999993</c:v>
                </c:pt>
                <c:pt idx="2462" formatCode="#,##0_);\(#,##0\);&quot;-  &quot;;&quot; &quot;@&quot; &quot;">
                  <c:v>21.010000000000005</c:v>
                </c:pt>
                <c:pt idx="2463" formatCode="#,##0_);\(#,##0\);&quot;-  &quot;;&quot; &quot;@&quot; &quot;">
                  <c:v>20.814999999999998</c:v>
                </c:pt>
                <c:pt idx="2464" formatCode="#,##0_);\(#,##0\);&quot;-  &quot;;&quot; &quot;@&quot; &quot;">
                  <c:v>21.274999999999991</c:v>
                </c:pt>
                <c:pt idx="2465" formatCode="#,##0_);\(#,##0\);&quot;-  &quot;;&quot; &quot;@&quot; &quot;">
                  <c:v>22.085000000000008</c:v>
                </c:pt>
                <c:pt idx="2466" formatCode="#,##0_);\(#,##0\);&quot;-  &quot;;&quot; &quot;@&quot; &quot;">
                  <c:v>21.799999999999997</c:v>
                </c:pt>
                <c:pt idx="2467" formatCode="#,##0_);\(#,##0\);&quot;-  &quot;;&quot; &quot;@&quot; &quot;">
                  <c:v>21.5</c:v>
                </c:pt>
                <c:pt idx="2468" formatCode="#,##0_);\(#,##0\);&quot;-  &quot;;&quot; &quot;@&quot; &quot;">
                  <c:v>21.689999999999998</c:v>
                </c:pt>
                <c:pt idx="2469" formatCode="#,##0_);\(#,##0\);&quot;-  &quot;;&quot; &quot;@&quot; &quot;">
                  <c:v>21.549999999999997</c:v>
                </c:pt>
                <c:pt idx="2470" formatCode="#,##0_);\(#,##0\);&quot;-  &quot;;&quot; &quot;@&quot; &quot;">
                  <c:v>22</c:v>
                </c:pt>
                <c:pt idx="2471" formatCode="#,##0_);\(#,##0\);&quot;-  &quot;;&quot; &quot;@&quot; &quot;">
                  <c:v>22.465000000000003</c:v>
                </c:pt>
                <c:pt idx="2472" formatCode="#,##0_);\(#,##0\);&quot;-  &quot;;&quot; &quot;@&quot; &quot;">
                  <c:v>22.174999999999997</c:v>
                </c:pt>
                <c:pt idx="2473" formatCode="#,##0_);\(#,##0\);&quot;-  &quot;;&quot; &quot;@&quot; &quot;">
                  <c:v>22.450000000000003</c:v>
                </c:pt>
                <c:pt idx="2474" formatCode="#,##0_);\(#,##0\);&quot;-  &quot;;&quot; &quot;@&quot; &quot;">
                  <c:v>23.67</c:v>
                </c:pt>
                <c:pt idx="2475" formatCode="#,##0_);\(#,##0\);&quot;-  &quot;;&quot; &quot;@&quot; &quot;">
                  <c:v>25.165000000000006</c:v>
                </c:pt>
                <c:pt idx="2476" formatCode="#,##0_);\(#,##0\);&quot;-  &quot;;&quot; &quot;@&quot; &quot;">
                  <c:v>26.984999999999999</c:v>
                </c:pt>
                <c:pt idx="2477" formatCode="#,##0_);\(#,##0\);&quot;-  &quot;;&quot; &quot;@&quot; &quot;">
                  <c:v>27.10499999999999</c:v>
                </c:pt>
                <c:pt idx="2478" formatCode="#,##0_);\(#,##0\);&quot;-  &quot;;&quot; &quot;@&quot; &quot;">
                  <c:v>26.454999999999998</c:v>
                </c:pt>
                <c:pt idx="2479" formatCode="#,##0_);\(#,##0\);&quot;-  &quot;;&quot; &quot;@&quot; &quot;">
                  <c:v>27.870000000000005</c:v>
                </c:pt>
                <c:pt idx="2480" formatCode="#,##0_);\(#,##0\);&quot;-  &quot;;&quot; &quot;@&quot; &quot;">
                  <c:v>30.984999999999999</c:v>
                </c:pt>
                <c:pt idx="2481" formatCode="#,##0_);\(#,##0\);&quot;-  &quot;;&quot; &quot;@&quot; &quot;">
                  <c:v>32.464999999999989</c:v>
                </c:pt>
                <c:pt idx="2482" formatCode="#,##0_);\(#,##0\);&quot;-  &quot;;&quot; &quot;@&quot; &quot;">
                  <c:v>32.325000000000003</c:v>
                </c:pt>
                <c:pt idx="2483" formatCode="#,##0_);\(#,##0\);&quot;-  &quot;;&quot; &quot;@&quot; &quot;">
                  <c:v>35.155000000000001</c:v>
                </c:pt>
                <c:pt idx="2484" formatCode="#,##0_);\(#,##0\);&quot;-  &quot;;&quot; &quot;@&quot; &quot;">
                  <c:v>35.064999999999998</c:v>
                </c:pt>
                <c:pt idx="2485" formatCode="#,##0_);\(#,##0\);&quot;-  &quot;;&quot; &quot;@&quot; &quot;">
                  <c:v>34.549999999999997</c:v>
                </c:pt>
                <c:pt idx="2486" formatCode="#,##0_);\(#,##0\);&quot;-  &quot;;&quot; &quot;@&quot; &quot;">
                  <c:v>34.239999999999995</c:v>
                </c:pt>
                <c:pt idx="2487" formatCode="#,##0_);\(#,##0\);&quot;-  &quot;;&quot; &quot;@&quot; &quot;">
                  <c:v>33.14</c:v>
                </c:pt>
                <c:pt idx="2488" formatCode="#,##0_);\(#,##0\);&quot;-  &quot;;&quot; &quot;@&quot; &quot;">
                  <c:v>34.034999999999997</c:v>
                </c:pt>
                <c:pt idx="2489" formatCode="#,##0_);\(#,##0\);&quot;-  &quot;;&quot; &quot;@&quot; &quot;">
                  <c:v>36.614999999999995</c:v>
                </c:pt>
                <c:pt idx="2490" formatCode="#,##0_);\(#,##0\);&quot;-  &quot;;&quot; &quot;@&quot; &quot;">
                  <c:v>37.570000000000007</c:v>
                </c:pt>
                <c:pt idx="2491" formatCode="#,##0_);\(#,##0\);&quot;-  &quot;;&quot; &quot;@&quot; &quot;">
                  <c:v>36.185000000000002</c:v>
                </c:pt>
                <c:pt idx="2492" formatCode="#,##0_);\(#,##0\);&quot;-  &quot;;&quot; &quot;@&quot; &quot;">
                  <c:v>34.915000000000006</c:v>
                </c:pt>
                <c:pt idx="2493" formatCode="#,##0_);\(#,##0\);&quot;-  &quot;;&quot; &quot;@&quot; &quot;">
                  <c:v>34.735000000000014</c:v>
                </c:pt>
                <c:pt idx="2494" formatCode="#,##0_);\(#,##0\);&quot;-  &quot;;&quot; &quot;@&quot; &quot;">
                  <c:v>34.39</c:v>
                </c:pt>
                <c:pt idx="2495" formatCode="#,##0_);\(#,##0\);&quot;-  &quot;;&quot; &quot;@&quot; &quot;">
                  <c:v>37.69</c:v>
                </c:pt>
                <c:pt idx="2496" formatCode="#,##0_);\(#,##0\);&quot;-  &quot;;&quot; &quot;@&quot; &quot;">
                  <c:v>40.36999999999999</c:v>
                </c:pt>
                <c:pt idx="2497" formatCode="#,##0_);\(#,##0\);&quot;-  &quot;;&quot; &quot;@&quot; &quot;">
                  <c:v>38.949999999999989</c:v>
                </c:pt>
                <c:pt idx="2498" formatCode="#,##0_);\(#,##0\);&quot;-  &quot;;&quot; &quot;@&quot; &quot;">
                  <c:v>39.410000000000011</c:v>
                </c:pt>
                <c:pt idx="2499" formatCode="#,##0_);\(#,##0\);&quot;-  &quot;;&quot; &quot;@&quot; &quot;">
                  <c:v>40.700000000000003</c:v>
                </c:pt>
                <c:pt idx="2500" formatCode="#,##0_);\(#,##0\);&quot;-  &quot;;&quot; &quot;@&quot; &quot;">
                  <c:v>42.234999999999999</c:v>
                </c:pt>
                <c:pt idx="2501" formatCode="#,##0_);\(#,##0\);&quot;-  &quot;;&quot; &quot;@&quot; &quot;">
                  <c:v>45.464999999999989</c:v>
                </c:pt>
                <c:pt idx="2502" formatCode="#,##0_);\(#,##0\);&quot;-  &quot;;&quot; &quot;@&quot; &quot;">
                  <c:v>43.575000000000003</c:v>
                </c:pt>
                <c:pt idx="2503" formatCode="#,##0_);\(#,##0\);&quot;-  &quot;;&quot; &quot;@&quot; &quot;">
                  <c:v>41.725000000000009</c:v>
                </c:pt>
                <c:pt idx="2504" formatCode="#,##0_);\(#,##0\);&quot;-  &quot;;&quot; &quot;@&quot; &quot;">
                  <c:v>37.844999999999999</c:v>
                </c:pt>
                <c:pt idx="2505" formatCode="#,##0_);\(#,##0\);&quot;-  &quot;;&quot; &quot;@&quot; &quot;">
                  <c:v>36.680000000000007</c:v>
                </c:pt>
                <c:pt idx="2506" formatCode="#,##0_);\(#,##0\);&quot;-  &quot;;&quot; &quot;@&quot; &quot;">
                  <c:v>34.870000000000005</c:v>
                </c:pt>
                <c:pt idx="2507" formatCode="#,##0_);\(#,##0\);&quot;-  &quot;;&quot; &quot;@&quot; &quot;">
                  <c:v>34.185000000000002</c:v>
                </c:pt>
                <c:pt idx="2508" formatCode="#,##0_);\(#,##0\);&quot;-  &quot;;&quot; &quot;@&quot; &quot;">
                  <c:v>36.305000000000007</c:v>
                </c:pt>
                <c:pt idx="2509" formatCode="#,##0_);\(#,##0\);&quot;-  &quot;;&quot; &quot;@&quot; &quot;">
                  <c:v>35.58</c:v>
                </c:pt>
                <c:pt idx="2510" formatCode="#,##0_);\(#,##0\);&quot;-  &quot;;&quot; &quot;@&quot; &quot;">
                  <c:v>36.069999999999993</c:v>
                </c:pt>
                <c:pt idx="2511" formatCode="#,##0_);\(#,##0\);&quot;-  &quot;;&quot; &quot;@&quot; &quot;">
                  <c:v>38.99499999999999</c:v>
                </c:pt>
                <c:pt idx="2512" formatCode="#,##0_);\(#,##0\);&quot;-  &quot;;&quot; &quot;@&quot; &quot;">
                  <c:v>41.519999999999996</c:v>
                </c:pt>
                <c:pt idx="2513" formatCode="#,##0_);\(#,##0\);&quot;-  &quot;;&quot; &quot;@&quot; &quot;">
                  <c:v>40.010000000000019</c:v>
                </c:pt>
                <c:pt idx="2514" formatCode="#,##0_);\(#,##0\);&quot;-  &quot;;&quot; &quot;@&quot; &quot;">
                  <c:v>43.364999999999995</c:v>
                </c:pt>
                <c:pt idx="2515" formatCode="#,##0_);\(#,##0\);&quot;-  &quot;;&quot; &quot;@&quot; &quot;">
                  <c:v>42.445000000000007</c:v>
                </c:pt>
                <c:pt idx="2516" formatCode="#,##0_);\(#,##0\);&quot;-  &quot;;&quot; &quot;@&quot; &quot;">
                  <c:v>39.299999999999997</c:v>
                </c:pt>
                <c:pt idx="2517" formatCode="#,##0_);\(#,##0\);&quot;-  &quot;;&quot; &quot;@&quot; &quot;">
                  <c:v>34.269999999999996</c:v>
                </c:pt>
                <c:pt idx="2518" formatCode="#,##0_);\(#,##0\);&quot;-  &quot;;&quot; &quot;@&quot; &quot;">
                  <c:v>35.155000000000015</c:v>
                </c:pt>
                <c:pt idx="2519" formatCode="#,##0_);\(#,##0\);&quot;-  &quot;;&quot; &quot;@&quot; &quot;">
                  <c:v>34.655000000000001</c:v>
                </c:pt>
                <c:pt idx="2520" formatCode="#,##0_);\(#,##0\);&quot;-  &quot;;&quot; &quot;@&quot; &quot;">
                  <c:v>38.370000000000005</c:v>
                </c:pt>
                <c:pt idx="2521" formatCode="#,##0_);\(#,##0\);&quot;-  &quot;;&quot; &quot;@&quot; &quot;">
                  <c:v>36.855000000000018</c:v>
                </c:pt>
                <c:pt idx="2522" formatCode="#,##0_);\(#,##0\);&quot;-  &quot;;&quot; &quot;@&quot; &quot;">
                  <c:v>36.169999999999987</c:v>
                </c:pt>
                <c:pt idx="2523" formatCode="#,##0_);\(#,##0\);&quot;-  &quot;;&quot; &quot;@&quot; &quot;">
                  <c:v>35.084999999999994</c:v>
                </c:pt>
                <c:pt idx="2524" formatCode="#,##0_);\(#,##0\);&quot;-  &quot;;&quot; &quot;@&quot; &quot;">
                  <c:v>33.015000000000001</c:v>
                </c:pt>
                <c:pt idx="2525" formatCode="#,##0_);\(#,##0\);&quot;-  &quot;;&quot; &quot;@&quot; &quot;">
                  <c:v>34.690000000000012</c:v>
                </c:pt>
                <c:pt idx="2526" formatCode="#,##0_);\(#,##0\);&quot;-  &quot;;&quot; &quot;@&quot; &quot;">
                  <c:v>36.575000000000003</c:v>
                </c:pt>
                <c:pt idx="2527" formatCode="#,##0_);\(#,##0\);&quot;-  &quot;;&quot; &quot;@&quot; &quot;">
                  <c:v>34.174999999999983</c:v>
                </c:pt>
                <c:pt idx="2528" formatCode="#,##0_);\(#,##0\);&quot;-  &quot;;&quot; &quot;@&quot; &quot;">
                  <c:v>32.029999999999987</c:v>
                </c:pt>
                <c:pt idx="2529" formatCode="#,##0_);\(#,##0\);&quot;-  &quot;;&quot; &quot;@&quot; &quot;">
                  <c:v>29.725000000000009</c:v>
                </c:pt>
                <c:pt idx="2530" formatCode="#,##0_);\(#,##0\);&quot;-  &quot;;&quot; &quot;@&quot; &quot;">
                  <c:v>27.11</c:v>
                </c:pt>
                <c:pt idx="2531" formatCode="#,##0_);\(#,##0\);&quot;-  &quot;;&quot; &quot;@&quot; &quot;">
                  <c:v>27.489999999999995</c:v>
                </c:pt>
                <c:pt idx="2532" formatCode="#,##0_);\(#,##0\);&quot;-  &quot;;&quot; &quot;@&quot; &quot;">
                  <c:v>28.095000000000013</c:v>
                </c:pt>
                <c:pt idx="2533" formatCode="#,##0_);\(#,##0\);&quot;-  &quot;;&quot; &quot;@&quot; &quot;">
                  <c:v>29.930000000000007</c:v>
                </c:pt>
                <c:pt idx="2534" formatCode="#,##0_);\(#,##0\);&quot;-  &quot;;&quot; &quot;@&quot; &quot;">
                  <c:v>31.879999999999995</c:v>
                </c:pt>
                <c:pt idx="2535" formatCode="#,##0_);\(#,##0\);&quot;-  &quot;;&quot; &quot;@&quot; &quot;">
                  <c:v>31.009999999999991</c:v>
                </c:pt>
                <c:pt idx="2536" formatCode="#,##0_);\(#,##0\);&quot;-  &quot;;&quot; &quot;@&quot; &quot;">
                  <c:v>32.915000000000006</c:v>
                </c:pt>
                <c:pt idx="2537" formatCode="#,##0_);\(#,##0\);&quot;-  &quot;;&quot; &quot;@&quot; &quot;">
                  <c:v>31.490000000000009</c:v>
                </c:pt>
                <c:pt idx="2538" formatCode="#,##0_);\(#,##0\);&quot;-  &quot;;&quot; &quot;@&quot; &quot;">
                  <c:v>31.14</c:v>
                </c:pt>
                <c:pt idx="2539" formatCode="#,##0_);\(#,##0\);&quot;-  &quot;;&quot; &quot;@&quot; &quot;">
                  <c:v>30.154999999999987</c:v>
                </c:pt>
                <c:pt idx="2540" formatCode="#,##0_);\(#,##0\);&quot;-  &quot;;&quot; &quot;@&quot; &quot;">
                  <c:v>29.289999999999992</c:v>
                </c:pt>
                <c:pt idx="2541" formatCode="#,##0_);\(#,##0\);&quot;-  &quot;;&quot; &quot;@&quot; &quot;">
                  <c:v>29.159999999999997</c:v>
                </c:pt>
                <c:pt idx="2542" formatCode="#,##0_);\(#,##0\);&quot;-  &quot;;&quot; &quot;@&quot; &quot;">
                  <c:v>29.205000000000013</c:v>
                </c:pt>
                <c:pt idx="2543" formatCode="#,##0_);\(#,##0\);&quot;-  &quot;;&quot; &quot;@&quot; &quot;">
                  <c:v>29.700000000000003</c:v>
                </c:pt>
                <c:pt idx="2544" formatCode="#,##0_);\(#,##0\);&quot;-  &quot;;&quot; &quot;@&quot; &quot;">
                  <c:v>27.939999999999998</c:v>
                </c:pt>
                <c:pt idx="2545" formatCode="#,##0_);\(#,##0\);&quot;-  &quot;;&quot; &quot;@&quot; &quot;">
                  <c:v>28.385000000000005</c:v>
                </c:pt>
                <c:pt idx="2546" formatCode="#,##0_);\(#,##0\);&quot;-  &quot;;&quot; &quot;@&quot; &quot;">
                  <c:v>29.039999999999992</c:v>
                </c:pt>
                <c:pt idx="2547" formatCode="#,##0_);\(#,##0\);&quot;-  &quot;;&quot; &quot;@&quot; &quot;">
                  <c:v>27.019999999999996</c:v>
                </c:pt>
                <c:pt idx="2548" formatCode="#,##0_);\(#,##0\);&quot;-  &quot;;&quot; &quot;@&quot; &quot;">
                  <c:v>28.284999999999997</c:v>
                </c:pt>
                <c:pt idx="2549" formatCode="#,##0_);\(#,##0\);&quot;-  &quot;;&quot; &quot;@&quot; &quot;">
                  <c:v>31.385000000000005</c:v>
                </c:pt>
                <c:pt idx="2550" formatCode="#,##0_);\(#,##0\);&quot;-  &quot;;&quot; &quot;@&quot; &quot;">
                  <c:v>32.454999999999998</c:v>
                </c:pt>
                <c:pt idx="2551" formatCode="#,##0_);\(#,##0\);&quot;-  &quot;;&quot; &quot;@&quot; &quot;">
                  <c:v>30.834999999999994</c:v>
                </c:pt>
                <c:pt idx="2552" formatCode="#,##0_);\(#,##0\);&quot;-  &quot;;&quot; &quot;@&quot; &quot;">
                  <c:v>31.525000000000006</c:v>
                </c:pt>
                <c:pt idx="2553" formatCode="#,##0_);\(#,##0\);&quot;-  &quot;;&quot; &quot;@&quot; &quot;">
                  <c:v>31.710000000000008</c:v>
                </c:pt>
                <c:pt idx="2554" formatCode="#,##0_);\(#,##0\);&quot;-  &quot;;&quot; &quot;@&quot; &quot;">
                  <c:v>31.310000000000002</c:v>
                </c:pt>
                <c:pt idx="2555" formatCode="#,##0_);\(#,##0\);&quot;-  &quot;;&quot; &quot;@&quot; &quot;">
                  <c:v>28.980000000000004</c:v>
                </c:pt>
                <c:pt idx="2556" formatCode="#,##0_);\(#,##0\);&quot;-  &quot;;&quot; &quot;@&quot; &quot;">
                  <c:v>28.769999999999996</c:v>
                </c:pt>
                <c:pt idx="2557" formatCode="#,##0_);\(#,##0\);&quot;-  &quot;;&quot; &quot;@&quot; &quot;">
                  <c:v>30.694999999999993</c:v>
                </c:pt>
                <c:pt idx="2558" formatCode="#,##0_);\(#,##0\);&quot;-  &quot;;&quot; &quot;@&quot; &quot;">
                  <c:v>31.375</c:v>
                </c:pt>
                <c:pt idx="2559" formatCode="#,##0_);\(#,##0\);&quot;-  &quot;;&quot; &quot;@&quot; &quot;">
                  <c:v>34.78</c:v>
                </c:pt>
                <c:pt idx="2560" formatCode="#,##0_);\(#,##0\);&quot;-  &quot;;&quot; &quot;@&quot; &quot;">
                  <c:v>35.424999999999997</c:v>
                </c:pt>
                <c:pt idx="2561" formatCode="#,##0_);\(#,##0\);&quot;-  &quot;;&quot; &quot;@&quot; &quot;">
                  <c:v>32.340000000000003</c:v>
                </c:pt>
                <c:pt idx="2562" formatCode="#,##0_);\(#,##0\);&quot;-  &quot;;&quot; &quot;@&quot; &quot;">
                  <c:v>32.049999999999997</c:v>
                </c:pt>
                <c:pt idx="2563" formatCode="#,##0_);\(#,##0\);&quot;-  &quot;;&quot; &quot;@&quot; &quot;">
                  <c:v>34.61</c:v>
                </c:pt>
                <c:pt idx="2564" formatCode="#,##0_);\(#,##0\);&quot;-  &quot;;&quot; &quot;@&quot; &quot;">
                  <c:v>38.31</c:v>
                </c:pt>
                <c:pt idx="2565" formatCode="#,##0_);\(#,##0\);&quot;-  &quot;;&quot; &quot;@&quot; &quot;">
                  <c:v>36.739999999999995</c:v>
                </c:pt>
                <c:pt idx="2566" formatCode="#,##0_);\(#,##0\);&quot;-  &quot;;&quot; &quot;@&quot; &quot;">
                  <c:v>35.990000000000009</c:v>
                </c:pt>
                <c:pt idx="2567" formatCode="#,##0_);\(#,##0\);&quot;-  &quot;;&quot; &quot;@&quot; &quot;">
                  <c:v>35.045000000000002</c:v>
                </c:pt>
                <c:pt idx="2568" formatCode="#,##0_);\(#,##0\);&quot;-  &quot;;&quot; &quot;@&quot; &quot;">
                  <c:v>34.5</c:v>
                </c:pt>
                <c:pt idx="2569" formatCode="#,##0_);\(#,##0\);&quot;-  &quot;;&quot; &quot;@&quot; &quot;">
                  <c:v>32.61</c:v>
                </c:pt>
                <c:pt idx="2570" formatCode="#,##0_);\(#,##0\);&quot;-  &quot;;&quot; &quot;@&quot; &quot;">
                  <c:v>31.75</c:v>
                </c:pt>
                <c:pt idx="2571" formatCode="#,##0_);\(#,##0\);&quot;-  &quot;;&quot; &quot;@&quot; &quot;">
                  <c:v>29.320000000000007</c:v>
                </c:pt>
                <c:pt idx="2572" formatCode="#,##0_);\(#,##0\);&quot;-  &quot;;&quot; &quot;@&quot; &quot;">
                  <c:v>29.83</c:v>
                </c:pt>
                <c:pt idx="2573" formatCode="#,##0_);\(#,##0\);&quot;-  &quot;;&quot; &quot;@&quot; &quot;">
                  <c:v>29.495000000000005</c:v>
                </c:pt>
                <c:pt idx="2574" formatCode="#,##0_);\(#,##0\);&quot;-  &quot;;&quot; &quot;@&quot; &quot;">
                  <c:v>29.710000000000008</c:v>
                </c:pt>
                <c:pt idx="2575" formatCode="#,##0_);\(#,##0\);&quot;-  &quot;;&quot; &quot;@&quot; &quot;">
                  <c:v>28.834999999999994</c:v>
                </c:pt>
                <c:pt idx="2576" formatCode="#,##0_);\(#,##0\);&quot;-  &quot;;&quot; &quot;@&quot; &quot;">
                  <c:v>27.47</c:v>
                </c:pt>
                <c:pt idx="2577" formatCode="#,##0_);\(#,##0\);&quot;-  &quot;;&quot; &quot;@&quot; &quot;">
                  <c:v>27.365000000000009</c:v>
                </c:pt>
                <c:pt idx="2578" formatCode="#,##0_);\(#,##0\);&quot;-  &quot;;&quot; &quot;@&quot; &quot;">
                  <c:v>27.054999999999993</c:v>
                </c:pt>
                <c:pt idx="2579" formatCode="#,##0_);\(#,##0\);&quot;-  &quot;;&quot; &quot;@&quot; &quot;">
                  <c:v>25.97999999999999</c:v>
                </c:pt>
                <c:pt idx="2580" formatCode="#,##0_);\(#,##0\);&quot;-  &quot;;&quot; &quot;@&quot; &quot;">
                  <c:v>25.204999999999998</c:v>
                </c:pt>
                <c:pt idx="2581" formatCode="#,##0_);\(#,##0\);&quot;-  &quot;;&quot; &quot;@&quot; &quot;">
                  <c:v>26.655000000000001</c:v>
                </c:pt>
                <c:pt idx="2582" formatCode="#,##0_);\(#,##0\);&quot;-  &quot;;&quot; &quot;@&quot; &quot;">
                  <c:v>27</c:v>
                </c:pt>
                <c:pt idx="2583" formatCode="#,##0_);\(#,##0\);&quot;-  &quot;;&quot; &quot;@&quot; &quot;">
                  <c:v>27.515000000000001</c:v>
                </c:pt>
                <c:pt idx="2584" formatCode="#,##0_);\(#,##0\);&quot;-  &quot;;&quot; &quot;@&quot; &quot;">
                  <c:v>26.649999999999991</c:v>
                </c:pt>
                <c:pt idx="2585" formatCode="#,##0_);\(#,##0\);&quot;-  &quot;;&quot; &quot;@&quot; &quot;">
                  <c:v>26.540000000000006</c:v>
                </c:pt>
                <c:pt idx="2586" formatCode="#,##0_);\(#,##0\);&quot;-  &quot;;&quot; &quot;@&quot; &quot;">
                  <c:v>25.394999999999996</c:v>
                </c:pt>
                <c:pt idx="2587" formatCode="#,##0_);\(#,##0\);&quot;-  &quot;;&quot; &quot;@&quot; &quot;">
                  <c:v>24.655000000000001</c:v>
                </c:pt>
                <c:pt idx="2588" formatCode="#,##0_);\(#,##0\);&quot;-  &quot;;&quot; &quot;@&quot; &quot;">
                  <c:v>24.929999999999993</c:v>
                </c:pt>
                <c:pt idx="2589" formatCode="#,##0_);\(#,##0\);&quot;-  &quot;;&quot; &quot;@&quot; &quot;">
                  <c:v>24.905000000000001</c:v>
                </c:pt>
                <c:pt idx="2590" formatCode="#,##0_);\(#,##0\);&quot;-  &quot;;&quot; &quot;@&quot; &quot;">
                  <c:v>27.39</c:v>
                </c:pt>
                <c:pt idx="2591" formatCode="#,##0_);\(#,##0\);&quot;-  &quot;;&quot; &quot;@&quot; &quot;">
                  <c:v>27.090000000000003</c:v>
                </c:pt>
                <c:pt idx="2592" formatCode="#,##0_);\(#,##0\);&quot;-  &quot;;&quot; &quot;@&quot; &quot;">
                  <c:v>28.355000000000004</c:v>
                </c:pt>
                <c:pt idx="2593" formatCode="#,##0_);\(#,##0\);&quot;-  &quot;;&quot; &quot;@&quot; &quot;">
                  <c:v>26.939999999999998</c:v>
                </c:pt>
                <c:pt idx="2594" formatCode="#,##0_);\(#,##0\);&quot;-  &quot;;&quot; &quot;@&quot; &quot;">
                  <c:v>28.625</c:v>
                </c:pt>
                <c:pt idx="2595" formatCode="#,##0_);\(#,##0\);&quot;-  &quot;;&quot; &quot;@&quot; &quot;">
                  <c:v>27.995000000000005</c:v>
                </c:pt>
                <c:pt idx="2596" formatCode="#,##0_);\(#,##0\);&quot;-  &quot;;&quot; &quot;@&quot; &quot;">
                  <c:v>27.230000000000004</c:v>
                </c:pt>
                <c:pt idx="2597" formatCode="#,##0_);\(#,##0\);&quot;-  &quot;;&quot; &quot;@&quot; &quot;">
                  <c:v>27.125</c:v>
                </c:pt>
                <c:pt idx="2598" formatCode="#,##0_);\(#,##0\);&quot;-  &quot;;&quot; &quot;@&quot; &quot;">
                  <c:v>28.774999999999991</c:v>
                </c:pt>
                <c:pt idx="2599" formatCode="#,##0_);\(#,##0\);&quot;-  &quot;;&quot; &quot;@&quot; &quot;">
                  <c:v>28.790000000000006</c:v>
                </c:pt>
                <c:pt idx="2600" formatCode="#,##0_);\(#,##0\);&quot;-  &quot;;&quot; &quot;@&quot; &quot;">
                  <c:v>29.484999999999999</c:v>
                </c:pt>
                <c:pt idx="2601" formatCode="#,##0_);\(#,##0\);&quot;-  &quot;;&quot; &quot;@&quot; &quot;">
                  <c:v>28.049999999999997</c:v>
                </c:pt>
                <c:pt idx="2602" formatCode="#,##0_);\(#,##0\);&quot;-  &quot;;&quot; &quot;@&quot; &quot;">
                  <c:v>28.600000000000009</c:v>
                </c:pt>
                <c:pt idx="2603" formatCode="#,##0_);\(#,##0\);&quot;-  &quot;;&quot; &quot;@&quot; &quot;">
                  <c:v>28.659999999999997</c:v>
                </c:pt>
                <c:pt idx="2604" formatCode="#,##0_);\(#,##0\);&quot;-  &quot;;&quot; &quot;@&quot; &quot;">
                  <c:v>27.144999999999996</c:v>
                </c:pt>
                <c:pt idx="2605" formatCode="#,##0_);\(#,##0\);&quot;-  &quot;;&quot; &quot;@&quot; &quot;">
                  <c:v>27.879999999999995</c:v>
                </c:pt>
                <c:pt idx="2606" formatCode="#,##0_);\(#,##0\);&quot;-  &quot;;&quot; &quot;@&quot; &quot;">
                  <c:v>27.58</c:v>
                </c:pt>
                <c:pt idx="2607" formatCode="#,##0_);\(#,##0\);&quot;-  &quot;;&quot; &quot;@&quot; &quot;">
                  <c:v>29.759999999999991</c:v>
                </c:pt>
                <c:pt idx="2608" formatCode="#,##0_);\(#,##0\);&quot;-  &quot;;&quot; &quot;@&quot; &quot;">
                  <c:v>30.72</c:v>
                </c:pt>
                <c:pt idx="2609" formatCode="#,##0_);\(#,##0\);&quot;-  &quot;;&quot; &quot;@&quot; &quot;">
                  <c:v>30.254999999999995</c:v>
                </c:pt>
                <c:pt idx="2610" formatCode="#,##0_);\(#,##0\);&quot;-  &quot;;&quot; &quot;@&quot; &quot;">
                  <c:v>29.674999999999997</c:v>
                </c:pt>
                <c:pt idx="2611" formatCode="#,##0_);\(#,##0\);&quot;-  &quot;;&quot; &quot;@&quot; &quot;">
                  <c:v>31.060000000000002</c:v>
                </c:pt>
                <c:pt idx="2612" formatCode="#,##0_);\(#,##0\);&quot;-  &quot;;&quot; &quot;@&quot; &quot;">
                  <c:v>29.185000000000002</c:v>
                </c:pt>
                <c:pt idx="2613" formatCode="#,##0_);\(#,##0\);&quot;-  &quot;;&quot; &quot;@&quot; &quot;">
                  <c:v>29.870000000000005</c:v>
                </c:pt>
                <c:pt idx="2614" formatCode="#,##0_);\(#,##0\);&quot;-  &quot;;&quot; &quot;@&quot; &quot;">
                  <c:v>30.589999999999989</c:v>
                </c:pt>
                <c:pt idx="2615" formatCode="#,##0_);\(#,##0\);&quot;-  &quot;;&quot; &quot;@&quot; &quot;">
                  <c:v>30.515000000000001</c:v>
                </c:pt>
                <c:pt idx="2616" formatCode="#,##0_);\(#,##0\);&quot;-  &quot;;&quot; &quot;@&quot; &quot;">
                  <c:v>33.090000000000003</c:v>
                </c:pt>
                <c:pt idx="2617" formatCode="#,##0_);\(#,##0\);&quot;-  &quot;;&quot; &quot;@&quot; &quot;">
                  <c:v>32.825000000000003</c:v>
                </c:pt>
                <c:pt idx="2618" formatCode="#,##0_);\(#,##0\);&quot;-  &quot;;&quot; &quot;@&quot; &quot;">
                  <c:v>34.89</c:v>
                </c:pt>
                <c:pt idx="2619" formatCode="#,##0_);\(#,##0\);&quot;-  &quot;;&quot; &quot;@&quot; &quot;">
                  <c:v>33.495000000000005</c:v>
                </c:pt>
                <c:pt idx="2620" formatCode="#,##0_);\(#,##0\);&quot;-  &quot;;&quot; &quot;@&quot; &quot;">
                  <c:v>32.840000000000003</c:v>
                </c:pt>
                <c:pt idx="2621" formatCode="#,##0_);\(#,##0\);&quot;-  &quot;;&quot; &quot;@&quot; &quot;">
                  <c:v>31.084999999999994</c:v>
                </c:pt>
                <c:pt idx="2622" formatCode="#,##0_);\(#,##0\);&quot;-  &quot;;&quot; &quot;@&quot; &quot;">
                  <c:v>29.045000000000002</c:v>
                </c:pt>
                <c:pt idx="2623" formatCode="#,##0_);\(#,##0\);&quot;-  &quot;;&quot; &quot;@&quot; &quot;">
                  <c:v>26.259999999999991</c:v>
                </c:pt>
                <c:pt idx="2624" formatCode="#,##0_);\(#,##0\);&quot;-  &quot;;&quot; &quot;@&quot; &quot;">
                  <c:v>25.97</c:v>
                </c:pt>
                <c:pt idx="2625" formatCode="#,##0_);\(#,##0\);&quot;-  &quot;;&quot; &quot;@&quot; &quot;">
                  <c:v>24.42</c:v>
                </c:pt>
                <c:pt idx="2626" formatCode="#,##0_);\(#,##0\);&quot;-  &quot;;&quot; &quot;@&quot; &quot;">
                  <c:v>23.035000000000011</c:v>
                </c:pt>
                <c:pt idx="2627" formatCode="#,##0_);\(#,##0\);&quot;-  &quot;;&quot; &quot;@&quot; &quot;">
                  <c:v>24.090000000000003</c:v>
                </c:pt>
                <c:pt idx="2628" formatCode="#,##0_);\(#,##0\);&quot;-  &quot;;&quot; &quot;@&quot; &quot;">
                  <c:v>24.704999999999998</c:v>
                </c:pt>
                <c:pt idx="2629" formatCode="#,##0_);\(#,##0\);&quot;-  &quot;;&quot; &quot;@&quot; &quot;">
                  <c:v>25.855000000000004</c:v>
                </c:pt>
                <c:pt idx="2630" formatCode="#,##0_);\(#,##0\);&quot;-  &quot;;&quot; &quot;@&quot; &quot;">
                  <c:v>25.5</c:v>
                </c:pt>
                <c:pt idx="2631" formatCode="#,##0_);\(#,##0\);&quot;-  &quot;;&quot; &quot;@&quot; &quot;">
                  <c:v>22.954999999999998</c:v>
                </c:pt>
                <c:pt idx="2632" formatCode="#,##0_);\(#,##0\);&quot;-  &quot;;&quot; &quot;@&quot; &quot;">
                  <c:v>22.440000000000012</c:v>
                </c:pt>
                <c:pt idx="2633" formatCode="#,##0_);\(#,##0\);&quot;-  &quot;;&quot; &quot;@&quot; &quot;">
                  <c:v>20.584999999999994</c:v>
                </c:pt>
                <c:pt idx="2634" formatCode="#,##0_);\(#,##0\);&quot;-  &quot;;&quot; &quot;@&quot; &quot;">
                  <c:v>19.754999999999995</c:v>
                </c:pt>
                <c:pt idx="2635" formatCode="#,##0_);\(#,##0\);&quot;-  &quot;;&quot; &quot;@&quot; &quot;">
                  <c:v>19.430000000000007</c:v>
                </c:pt>
                <c:pt idx="2636" formatCode="#,##0_);\(#,##0\);&quot;-  &quot;;&quot; &quot;@&quot; &quot;">
                  <c:v>19.974999999999994</c:v>
                </c:pt>
                <c:pt idx="2637" formatCode="#,##0_);\(#,##0\);&quot;-  &quot;;&quot; &quot;@&quot; &quot;">
                  <c:v>22.49499999999999</c:v>
                </c:pt>
                <c:pt idx="2638" formatCode="#,##0_);\(#,##0\);&quot;-  &quot;;&quot; &quot;@&quot; &quot;">
                  <c:v>23.22</c:v>
                </c:pt>
                <c:pt idx="2639" formatCode="#,##0_);\(#,##0\);&quot;-  &quot;;&quot; &quot;@&quot; &quot;">
                  <c:v>23.075000000000003</c:v>
                </c:pt>
                <c:pt idx="2640" formatCode="#,##0_);\(#,##0\);&quot;-  &quot;;&quot; &quot;@&quot; &quot;">
                  <c:v>23.429999999999993</c:v>
                </c:pt>
                <c:pt idx="2641" formatCode="#,##0_);\(#,##0\);&quot;-  &quot;;&quot; &quot;@&quot; &quot;">
                  <c:v>23.094999999999999</c:v>
                </c:pt>
                <c:pt idx="2642" formatCode="#,##0_);\(#,##0\);&quot;-  &quot;;&quot; &quot;@&quot; &quot;">
                  <c:v>23.439999999999998</c:v>
                </c:pt>
                <c:pt idx="2643" formatCode="#,##0_);\(#,##0\);&quot;-  &quot;;&quot; &quot;@&quot; &quot;">
                  <c:v>24.075000000000003</c:v>
                </c:pt>
                <c:pt idx="2644" formatCode="#,##0_);\(#,##0\);&quot;-  &quot;;&quot; &quot;@&quot; &quot;">
                  <c:v>25.025000000000006</c:v>
                </c:pt>
                <c:pt idx="2645" formatCode="#,##0_);\(#,##0\);&quot;-  &quot;;&quot; &quot;@&quot; &quot;">
                  <c:v>23.474999999999994</c:v>
                </c:pt>
                <c:pt idx="2646" formatCode="#,##0_);\(#,##0\);&quot;-  &quot;;&quot; &quot;@&quot; &quot;">
                  <c:v>22.924999999999997</c:v>
                </c:pt>
                <c:pt idx="2647" formatCode="#,##0_);\(#,##0\);&quot;-  &quot;;&quot; &quot;@&quot; &quot;">
                  <c:v>22.344999999999999</c:v>
                </c:pt>
                <c:pt idx="2648" formatCode="#,##0_);\(#,##0\);&quot;-  &quot;;&quot; &quot;@&quot; &quot;">
                  <c:v>22.545000000000002</c:v>
                </c:pt>
                <c:pt idx="2649" formatCode="#,##0_);\(#,##0\);&quot;-  &quot;;&quot; &quot;@&quot; &quot;">
                  <c:v>21.475000000000009</c:v>
                </c:pt>
                <c:pt idx="2650" formatCode="#,##0_);\(#,##0\);&quot;-  &quot;;&quot; &quot;@&quot; &quot;">
                  <c:v>20.420000000000002</c:v>
                </c:pt>
                <c:pt idx="2651" formatCode="#,##0_);\(#,##0\);&quot;-  &quot;;&quot; &quot;@&quot; &quot;">
                  <c:v>20.489999999999995</c:v>
                </c:pt>
                <c:pt idx="2652" formatCode="#,##0_);\(#,##0\);&quot;-  &quot;;&quot; &quot;@&quot; &quot;">
                  <c:v>19.974999999999994</c:v>
                </c:pt>
                <c:pt idx="2653" formatCode="#,##0_);\(#,##0\);&quot;-  &quot;;&quot; &quot;@&quot; &quot;">
                  <c:v>17.61</c:v>
                </c:pt>
                <c:pt idx="2654" formatCode="#,##0_);\(#,##0\);&quot;-  &quot;;&quot; &quot;@&quot; &quot;">
                  <c:v>20.239999999999995</c:v>
                </c:pt>
                <c:pt idx="2655" formatCode="#,##0_);\(#,##0\);&quot;-  &quot;;&quot; &quot;@&quot; &quot;">
                  <c:v>21.204999999999998</c:v>
                </c:pt>
                <c:pt idx="2656" formatCode="#,##0_);\(#,##0\);&quot;-  &quot;;&quot; &quot;@&quot; &quot;">
                  <c:v>22.045000000000002</c:v>
                </c:pt>
                <c:pt idx="2657" formatCode="#,##0_);\(#,##0\);&quot;-  &quot;;&quot; &quot;@&quot; &quot;">
                  <c:v>20.674999999999997</c:v>
                </c:pt>
                <c:pt idx="2658" formatCode="#,##0_);\(#,##0\);&quot;-  &quot;;&quot; &quot;@&quot; &quot;">
                  <c:v>19.769999999999996</c:v>
                </c:pt>
                <c:pt idx="2659" formatCode="#,##0_);\(#,##0\);&quot;-  &quot;;&quot; &quot;@&quot; &quot;">
                  <c:v>18.419999999999987</c:v>
                </c:pt>
                <c:pt idx="2660" formatCode="#,##0_);\(#,##0\);&quot;-  &quot;;&quot; &quot;@&quot; &quot;">
                  <c:v>19.670000000000002</c:v>
                </c:pt>
                <c:pt idx="2661" formatCode="#,##0_);\(#,##0\);&quot;-  &quot;;&quot; &quot;@&quot; &quot;">
                  <c:v>18.299999999999997</c:v>
                </c:pt>
                <c:pt idx="2662" formatCode="#,##0_);\(#,##0\);&quot;-  &quot;;&quot; &quot;@&quot; &quot;">
                  <c:v>18.394999999999996</c:v>
                </c:pt>
                <c:pt idx="2663" formatCode="#,##0_);\(#,##0\);&quot;-  &quot;;&quot; &quot;@&quot; &quot;">
                  <c:v>18.905000000000001</c:v>
                </c:pt>
                <c:pt idx="2664" formatCode="#,##0_);\(#,##0\);&quot;-  &quot;;&quot; &quot;@&quot; &quot;">
                  <c:v>18.179999999999993</c:v>
                </c:pt>
                <c:pt idx="2665" formatCode="#,##0_);\(#,##0\);&quot;-  &quot;;&quot; &quot;@&quot; &quot;">
                  <c:v>17.460000000000008</c:v>
                </c:pt>
                <c:pt idx="2666" formatCode="#,##0_);\(#,##0\);&quot;-  &quot;;&quot; &quot;@&quot; &quot;">
                  <c:v>16.189999999999998</c:v>
                </c:pt>
                <c:pt idx="2667" formatCode="#,##0_);\(#,##0\);&quot;-  &quot;;&quot; &quot;@&quot; &quot;">
                  <c:v>16.120000000000005</c:v>
                </c:pt>
                <c:pt idx="2668" formatCode="#,##0_);\(#,##0\);&quot;-  &quot;;&quot; &quot;@&quot; &quot;">
                  <c:v>16.634999999999991</c:v>
                </c:pt>
                <c:pt idx="2669" formatCode="#,##0_);\(#,##0\);&quot;-  &quot;;&quot; &quot;@&quot; &quot;">
                  <c:v>16.759999999999991</c:v>
                </c:pt>
                <c:pt idx="2670" formatCode="#,##0_);\(#,##0\);&quot;-  &quot;;&quot; &quot;@&quot; &quot;">
                  <c:v>16.289999999999992</c:v>
                </c:pt>
                <c:pt idx="2671" formatCode="#,##0_);\(#,##0\);&quot;-  &quot;;&quot; &quot;@&quot; &quot;">
                  <c:v>16.650000000000006</c:v>
                </c:pt>
                <c:pt idx="2672" formatCode="#,##0_);\(#,##0\);&quot;-  &quot;;&quot; &quot;@&quot; &quot;">
                  <c:v>15.844999999999999</c:v>
                </c:pt>
                <c:pt idx="2673" formatCode="#,##0_);\(#,##0\);&quot;-  &quot;;&quot; &quot;@&quot; &quot;">
                  <c:v>16</c:v>
                </c:pt>
                <c:pt idx="2674" formatCode="#,##0_);\(#,##0\);&quot;-  &quot;;&quot; &quot;@&quot; &quot;">
                  <c:v>16.230000000000004</c:v>
                </c:pt>
                <c:pt idx="2675" formatCode="#,##0_);\(#,##0\);&quot;-  &quot;;&quot; &quot;@&quot; &quot;">
                  <c:v>16.909999999999997</c:v>
                </c:pt>
                <c:pt idx="2676" formatCode="#,##0_);\(#,##0\);&quot;-  &quot;;&quot; &quot;@&quot; &quot;">
                  <c:v>16.669999999999987</c:v>
                </c:pt>
                <c:pt idx="2677" formatCode="#,##0_);\(#,##0\);&quot;-  &quot;;&quot; &quot;@&quot; &quot;">
                  <c:v>16.799999999999997</c:v>
                </c:pt>
                <c:pt idx="2678" formatCode="#,##0_);\(#,##0\);&quot;-  &quot;;&quot; &quot;@&quot; &quot;">
                  <c:v>18.61</c:v>
                </c:pt>
                <c:pt idx="2679" formatCode="#,##0_);\(#,##0\);&quot;-  &quot;;&quot; &quot;@&quot; &quot;">
                  <c:v>19.049999999999997</c:v>
                </c:pt>
                <c:pt idx="2680" formatCode="#,##0_);\(#,##0\);&quot;-  &quot;;&quot; &quot;@&quot; &quot;">
                  <c:v>18.070000000000007</c:v>
                </c:pt>
                <c:pt idx="2681" formatCode="#,##0_);\(#,##0\);&quot;-  &quot;;&quot; &quot;@&quot; &quot;">
                  <c:v>18.425000000000011</c:v>
                </c:pt>
                <c:pt idx="2682" formatCode="#,##0_);\(#,##0\);&quot;-  &quot;;&quot; &quot;@&quot; &quot;">
                  <c:v>17.524999999999991</c:v>
                </c:pt>
                <c:pt idx="2683" formatCode="#,##0_);\(#,##0\);&quot;-  &quot;;&quot; &quot;@&quot; &quot;">
                  <c:v>18.175000000000011</c:v>
                </c:pt>
                <c:pt idx="2684" formatCode="#,##0_);\(#,##0\);&quot;-  &quot;;&quot; &quot;@&quot; &quot;">
                  <c:v>19.25</c:v>
                </c:pt>
                <c:pt idx="2685" formatCode="#,##0_);\(#,##0\);&quot;-  &quot;;&quot; &quot;@&quot; &quot;">
                  <c:v>18.489999999999995</c:v>
                </c:pt>
                <c:pt idx="2686" formatCode="#,##0_);\(#,##0\);&quot;-  &quot;;&quot; &quot;@&quot; &quot;">
                  <c:v>18.765000000000001</c:v>
                </c:pt>
                <c:pt idx="2687" formatCode="#,##0_);\(#,##0\);&quot;-  &quot;;&quot; &quot;@&quot; &quot;">
                  <c:v>19.78</c:v>
                </c:pt>
                <c:pt idx="2688" formatCode="#,##0_);\(#,##0\);&quot;-  &quot;;&quot; &quot;@&quot; &quot;">
                  <c:v>19.230000000000004</c:v>
                </c:pt>
                <c:pt idx="2689" formatCode="#,##0_);\(#,##0\);&quot;-  &quot;;&quot; &quot;@&quot; &quot;">
                  <c:v>19.340000000000003</c:v>
                </c:pt>
                <c:pt idx="2690" formatCode="#,##0_);\(#,##0\);&quot;-  &quot;;&quot; &quot;@&quot; &quot;">
                  <c:v>18.705000000000013</c:v>
                </c:pt>
                <c:pt idx="2691" formatCode="#,##0_);\(#,##0\);&quot;-  &quot;;&quot; &quot;@&quot; &quot;">
                  <c:v>18.820000000000007</c:v>
                </c:pt>
                <c:pt idx="2692" formatCode="#,##0_);\(#,##0\);&quot;-  &quot;;&quot; &quot;@&quot; &quot;">
                  <c:v>18.885000000000005</c:v>
                </c:pt>
                <c:pt idx="2693" formatCode="#,##0_);\(#,##0\);&quot;-  &quot;;&quot; &quot;@&quot; &quot;">
                  <c:v>18.920000000000002</c:v>
                </c:pt>
                <c:pt idx="2694" formatCode="#,##0_);\(#,##0\);&quot;-  &quot;;&quot; &quot;@&quot; &quot;">
                  <c:v>18.754999999999995</c:v>
                </c:pt>
                <c:pt idx="2695" formatCode="#,##0_);\(#,##0\);&quot;-  &quot;;&quot; &quot;@&quot; &quot;">
                  <c:v>17.680000000000007</c:v>
                </c:pt>
                <c:pt idx="2696" formatCode="#,##0_);\(#,##0\);&quot;-  &quot;;&quot; &quot;@&quot; &quot;">
                  <c:v>17.789999999999992</c:v>
                </c:pt>
                <c:pt idx="2697" formatCode="#,##0_);\(#,##0\);&quot;-  &quot;;&quot; &quot;@&quot; &quot;">
                  <c:v>18.39</c:v>
                </c:pt>
                <c:pt idx="2698" formatCode="#,##0_);\(#,##0\);&quot;-  &quot;;&quot; &quot;@&quot; &quot;">
                  <c:v>17.840000000000003</c:v>
                </c:pt>
                <c:pt idx="2699" formatCode="#,##0_);\(#,##0\);&quot;-  &quot;;&quot; &quot;@&quot; &quot;">
                  <c:v>18.420000000000002</c:v>
                </c:pt>
                <c:pt idx="2700" formatCode="#,##0_);\(#,##0\);&quot;-  &quot;;&quot; &quot;@&quot; &quot;">
                  <c:v>17.789999999999992</c:v>
                </c:pt>
                <c:pt idx="2701" formatCode="#,##0_);\(#,##0\);&quot;-  &quot;;&quot; &quot;@&quot; &quot;">
                  <c:v>18.504999999999995</c:v>
                </c:pt>
                <c:pt idx="2702" formatCode="#,##0_);\(#,##0\);&quot;-  &quot;;&quot; &quot;@&quot; &quot;">
                  <c:v>18.695000000000007</c:v>
                </c:pt>
                <c:pt idx="2703" formatCode="#,##0_);\(#,##0\);&quot;-  &quot;;&quot; &quot;@&quot; &quot;">
                  <c:v>18.810000000000002</c:v>
                </c:pt>
                <c:pt idx="2704" formatCode="#,##0_);\(#,##0\);&quot;-  &quot;;&quot; &quot;@&quot; &quot;">
                  <c:v>18.914999999999992</c:v>
                </c:pt>
                <c:pt idx="2705" formatCode="#,##0_);\(#,##0\);&quot;-  &quot;;&quot; &quot;@&quot; &quot;">
                  <c:v>19.010000000000005</c:v>
                </c:pt>
                <c:pt idx="2706" formatCode="#,##0_);\(#,##0\);&quot;-  &quot;;&quot; &quot;@&quot; &quot;">
                  <c:v>18.849999999999994</c:v>
                </c:pt>
                <c:pt idx="2707" formatCode="#,##0_);\(#,##0\);&quot;-  &quot;;&quot; &quot;@&quot; &quot;">
                  <c:v>17.659999999999997</c:v>
                </c:pt>
                <c:pt idx="2708" formatCode="#,##0_);\(#,##0\);&quot;-  &quot;;&quot; &quot;@&quot; &quot;">
                  <c:v>17.769999999999996</c:v>
                </c:pt>
                <c:pt idx="2709" formatCode="#,##0_);\(#,##0\);&quot;-  &quot;;&quot; &quot;@&quot; &quot;">
                  <c:v>17.754999999999995</c:v>
                </c:pt>
                <c:pt idx="2710" formatCode="#,##0_);\(#,##0\);&quot;-  &quot;;&quot; &quot;@&quot; &quot;">
                  <c:v>17.785000000000011</c:v>
                </c:pt>
                <c:pt idx="2711" formatCode="#,##0_);\(#,##0\);&quot;-  &quot;;&quot; &quot;@&quot; &quot;">
                  <c:v>16.864999999999995</c:v>
                </c:pt>
                <c:pt idx="2712" formatCode="#,##0_);\(#,##0\);&quot;-  &quot;;&quot; &quot;@&quot; &quot;">
                  <c:v>16.704999999999998</c:v>
                </c:pt>
                <c:pt idx="2713" formatCode="#,##0_);\(#,##0\);&quot;-  &quot;;&quot; &quot;@&quot; &quot;">
                  <c:v>17.364999999999995</c:v>
                </c:pt>
                <c:pt idx="2714" formatCode="#,##0_);\(#,##0\);&quot;-  &quot;;&quot; &quot;@&quot; &quot;">
                  <c:v>19.02000000000001</c:v>
                </c:pt>
                <c:pt idx="2715" formatCode="#,##0_);\(#,##0\);&quot;-  &quot;;&quot; &quot;@&quot; &quot;">
                  <c:v>17.89500000000001</c:v>
                </c:pt>
                <c:pt idx="2716" formatCode="#,##0_);\(#,##0\);&quot;-  &quot;;&quot; &quot;@&quot; &quot;">
                  <c:v>17.689999999999998</c:v>
                </c:pt>
                <c:pt idx="2717" formatCode="#,##0_);\(#,##0\);&quot;-  &quot;;&quot; &quot;@&quot; &quot;">
                  <c:v>17.89</c:v>
                </c:pt>
                <c:pt idx="2718" formatCode="#,##0_);\(#,##0\);&quot;-  &quot;;&quot; &quot;@&quot; &quot;">
                  <c:v>18.700000000000003</c:v>
                </c:pt>
                <c:pt idx="2719" formatCode="#,##0_);\(#,##0\);&quot;-  &quot;;&quot; &quot;@&quot; &quot;">
                  <c:v>19.099999999999994</c:v>
                </c:pt>
                <c:pt idx="2720" formatCode="#,##0_);\(#,##0\);&quot;-  &quot;;&quot; &quot;@&quot; &quot;">
                  <c:v>18.180000000000007</c:v>
                </c:pt>
                <c:pt idx="2721" formatCode="#,##0_);\(#,##0\);&quot;-  &quot;;&quot; &quot;@&quot; &quot;">
                  <c:v>18.415000000000006</c:v>
                </c:pt>
                <c:pt idx="2722" formatCode="#,##0_);\(#,##0\);&quot;-  &quot;;&quot; &quot;@&quot; &quot;">
                  <c:v>17.47999999999999</c:v>
                </c:pt>
                <c:pt idx="2723" formatCode="#,##0_);\(#,##0\);&quot;-  &quot;;&quot; &quot;@&quot; &quot;">
                  <c:v>17.465000000000003</c:v>
                </c:pt>
                <c:pt idx="2724" formatCode="#,##0_);\(#,##0\);&quot;-  &quot;;&quot; &quot;@&quot; &quot;">
                  <c:v>15.724999999999994</c:v>
                </c:pt>
                <c:pt idx="2725" formatCode="#,##0_);\(#,##0\);&quot;-  &quot;;&quot; &quot;@&quot; &quot;">
                  <c:v>15.635000000000005</c:v>
                </c:pt>
                <c:pt idx="2726" formatCode="#,##0_);\(#,##0\);&quot;-  &quot;;&quot; &quot;@&quot; &quot;">
                  <c:v>15.284999999999997</c:v>
                </c:pt>
                <c:pt idx="2727" formatCode="#,##0_);\(#,##0\);&quot;-  &quot;;&quot; &quot;@&quot; &quot;">
                  <c:v>15.86</c:v>
                </c:pt>
                <c:pt idx="2728" formatCode="#,##0_);\(#,##0\);&quot;-  &quot;;&quot; &quot;@&quot; &quot;">
                  <c:v>15.410000000000011</c:v>
                </c:pt>
                <c:pt idx="2729" formatCode="#,##0_);\(#,##0\);&quot;-  &quot;;&quot; &quot;@&quot; &quot;">
                  <c:v>14.569999999999993</c:v>
                </c:pt>
                <c:pt idx="2730" formatCode="#,##0_);\(#,##0\);&quot;-  &quot;;&quot; &quot;@&quot; &quot;">
                  <c:v>14.13000000000001</c:v>
                </c:pt>
                <c:pt idx="2731" formatCode="#,##0_);\(#,##0\);&quot;-  &quot;;&quot; &quot;@&quot; &quot;">
                  <c:v>13.534999999999997</c:v>
                </c:pt>
                <c:pt idx="2732" formatCode="#,##0_);\(#,##0\);&quot;-  &quot;;&quot; &quot;@&quot; &quot;">
                  <c:v>15.635000000000005</c:v>
                </c:pt>
                <c:pt idx="2733" formatCode="#,##0_);\(#,##0\);&quot;-  &quot;;&quot; &quot;@&quot; &quot;">
                  <c:v>15.719999999999999</c:v>
                </c:pt>
                <c:pt idx="2734" formatCode="#,##0_);\(#,##0\);&quot;-  &quot;;&quot; &quot;@&quot; &quot;">
                  <c:v>16.464999999999989</c:v>
                </c:pt>
                <c:pt idx="2735" formatCode="#,##0_);\(#,##0\);&quot;-  &quot;;&quot; &quot;@&quot; &quot;">
                  <c:v>17.045000000000002</c:v>
                </c:pt>
                <c:pt idx="2736" formatCode="#,##0_);\(#,##0\);&quot;-  &quot;;&quot; &quot;@&quot; &quot;">
                  <c:v>16.504999999999995</c:v>
                </c:pt>
                <c:pt idx="2737" formatCode="#,##0_);\(#,##0\);&quot;-  &quot;;&quot; &quot;@&quot; &quot;">
                  <c:v>15.815000000000012</c:v>
                </c:pt>
                <c:pt idx="2738" formatCode="#,##0_);\(#,##0\);&quot;-  &quot;;&quot; &quot;@&quot; &quot;">
                  <c:v>15.730000000000004</c:v>
                </c:pt>
                <c:pt idx="2739" formatCode="#,##0_);\(#,##0\);&quot;-  &quot;;&quot; &quot;@&quot; &quot;">
                  <c:v>15.549999999999997</c:v>
                </c:pt>
                <c:pt idx="2740" formatCode="#,##0_);\(#,##0\);&quot;-  &quot;;&quot; &quot;@&quot; &quot;">
                  <c:v>14.674999999999997</c:v>
                </c:pt>
                <c:pt idx="2741" formatCode="#,##0_);\(#,##0\);&quot;-  &quot;;&quot; &quot;@&quot; &quot;">
                  <c:v>14.915000000000006</c:v>
                </c:pt>
                <c:pt idx="2742" formatCode="#,##0_);\(#,##0\);&quot;-  &quot;;&quot; &quot;@&quot; &quot;">
                  <c:v>15.11</c:v>
                </c:pt>
                <c:pt idx="2743" formatCode="#,##0_);\(#,##0\);&quot;-  &quot;;&quot; &quot;@&quot; &quot;">
                  <c:v>15.734999999999999</c:v>
                </c:pt>
                <c:pt idx="2744" formatCode="#,##0_);\(#,##0\);&quot;-  &quot;;&quot; &quot;@&quot; &quot;">
                  <c:v>14.219999999999999</c:v>
                </c:pt>
                <c:pt idx="2745" formatCode="#,##0_);\(#,##0\);&quot;-  &quot;;&quot; &quot;@&quot; &quot;">
                  <c:v>13.150000000000006</c:v>
                </c:pt>
                <c:pt idx="2746" formatCode="#,##0_);\(#,##0\);&quot;-  &quot;;&quot; &quot;@&quot; &quot;">
                  <c:v>12.165000000000006</c:v>
                </c:pt>
                <c:pt idx="2747" formatCode="#,##0_);\(#,##0\);&quot;-  &quot;;&quot; &quot;@&quot; &quot;">
                  <c:v>12.620000000000005</c:v>
                </c:pt>
                <c:pt idx="2748" formatCode="#,##0_);\(#,##0\);&quot;-  &quot;;&quot; &quot;@&quot; &quot;">
                  <c:v>13.314999999999998</c:v>
                </c:pt>
                <c:pt idx="2749" formatCode="#,##0_);\(#,##0\);&quot;-  &quot;;&quot; &quot;@&quot; &quot;">
                  <c:v>12.975000000000009</c:v>
                </c:pt>
                <c:pt idx="2750" formatCode="#,##0_);\(#,##0\);&quot;-  &quot;;&quot; &quot;@&quot; &quot;">
                  <c:v>12.329999999999998</c:v>
                </c:pt>
                <c:pt idx="2751" formatCode="#,##0_);\(#,##0\);&quot;-  &quot;;&quot; &quot;@&quot; &quot;">
                  <c:v>12.394999999999996</c:v>
                </c:pt>
                <c:pt idx="2752" formatCode="#,##0_);\(#,##0\);&quot;-  &quot;;&quot; &quot;@&quot; &quot;">
                  <c:v>11.115000000000009</c:v>
                </c:pt>
                <c:pt idx="2753" formatCode="#,##0_);\(#,##0\);&quot;-  &quot;;&quot; &quot;@&quot; &quot;">
                  <c:v>12.295000000000002</c:v>
                </c:pt>
                <c:pt idx="2754" formatCode="#,##0_);\(#,##0\);&quot;-  &quot;;&quot; &quot;@&quot; &quot;">
                  <c:v>12.35499999999999</c:v>
                </c:pt>
                <c:pt idx="2755" formatCode="#,##0_);\(#,##0\);&quot;-  &quot;;&quot; &quot;@&quot; &quot;">
                  <c:v>11.864999999999995</c:v>
                </c:pt>
                <c:pt idx="2756" formatCode="#,##0_);\(#,##0\);&quot;-  &quot;;&quot; &quot;@&quot; &quot;">
                  <c:v>11.995000000000005</c:v>
                </c:pt>
                <c:pt idx="2757" formatCode="#,##0_);\(#,##0\);&quot;-  &quot;;&quot; &quot;@&quot; &quot;">
                  <c:v>11.910000000000011</c:v>
                </c:pt>
                <c:pt idx="2758" formatCode="#,##0_);\(#,##0\);&quot;-  &quot;;&quot; &quot;@&quot; &quot;">
                  <c:v>11.050000000000011</c:v>
                </c:pt>
                <c:pt idx="2759" formatCode="#,##0_);\(#,##0\);&quot;-  &quot;;&quot; &quot;@&quot; &quot;">
                  <c:v>10.004999999999995</c:v>
                </c:pt>
                <c:pt idx="2760" formatCode="#,##0_);\(#,##0\);&quot;-  &quot;;&quot; &quot;@&quot; &quot;">
                  <c:v>10.135000000000005</c:v>
                </c:pt>
                <c:pt idx="2761" formatCode="#,##0_);\(#,##0\);&quot;-  &quot;;&quot; &quot;@&quot; &quot;">
                  <c:v>12.515000000000001</c:v>
                </c:pt>
                <c:pt idx="2762" formatCode="#,##0_);\(#,##0\);&quot;-  &quot;;&quot; &quot;@&quot; &quot;">
                  <c:v>11.909999999999997</c:v>
                </c:pt>
                <c:pt idx="2763" formatCode="#,##0_);\(#,##0\);&quot;-  &quot;;&quot; &quot;@&quot; &quot;">
                  <c:v>14.159999999999997</c:v>
                </c:pt>
                <c:pt idx="2764" formatCode="#,##0_);\(#,##0\);&quot;-  &quot;;&quot; &quot;@&quot; &quot;">
                  <c:v>12.365000000000009</c:v>
                </c:pt>
                <c:pt idx="2765" formatCode="#,##0_);\(#,##0\);&quot;-  &quot;;&quot; &quot;@&quot; &quot;">
                  <c:v>12.459999999999994</c:v>
                </c:pt>
                <c:pt idx="2766" formatCode="#,##0_);\(#,##0\);&quot;-  &quot;;&quot; &quot;@&quot; &quot;">
                  <c:v>12.724999999999994</c:v>
                </c:pt>
                <c:pt idx="2767" formatCode="#,##0_);\(#,##0\);&quot;-  &quot;;&quot; &quot;@&quot; &quot;">
                  <c:v>13.765000000000001</c:v>
                </c:pt>
                <c:pt idx="2768" formatCode="#,##0_);\(#,##0\);&quot;-  &quot;;&quot; &quot;@&quot; &quot;">
                  <c:v>13</c:v>
                </c:pt>
                <c:pt idx="2769" formatCode="#,##0_);\(#,##0\);&quot;-  &quot;;&quot; &quot;@&quot; &quot;">
                  <c:v>12.155000000000001</c:v>
                </c:pt>
                <c:pt idx="2770" formatCode="#,##0_);\(#,##0\);&quot;-  &quot;;&quot; &quot;@&quot; &quot;">
                  <c:v>10.269999999999996</c:v>
                </c:pt>
                <c:pt idx="2771" formatCode="#,##0_);\(#,##0\);&quot;-  &quot;;&quot; &quot;@&quot; &quot;">
                  <c:v>9.7749999999999915</c:v>
                </c:pt>
                <c:pt idx="2772" formatCode="#,##0_);\(#,##0\);&quot;-  &quot;;&quot; &quot;@&quot; &quot;">
                  <c:v>9.3250000000000028</c:v>
                </c:pt>
                <c:pt idx="2773" formatCode="#,##0_);\(#,##0\);&quot;-  &quot;;&quot; &quot;@&quot; &quot;">
                  <c:v>9.7449999999999903</c:v>
                </c:pt>
                <c:pt idx="2774" formatCode="#,##0_);\(#,##0\);&quot;-  &quot;;&quot; &quot;@&quot; &quot;">
                  <c:v>10.219999999999999</c:v>
                </c:pt>
                <c:pt idx="2775" formatCode="#,##0_);\(#,##0\);&quot;-  &quot;;&quot; &quot;@&quot; &quot;">
                  <c:v>10.170000000000002</c:v>
                </c:pt>
                <c:pt idx="2776" formatCode="#,##0_);\(#,##0\);&quot;-  &quot;;&quot; &quot;@&quot; &quot;">
                  <c:v>10.449999999999989</c:v>
                </c:pt>
                <c:pt idx="2777" formatCode="#,##0_);\(#,##0\);&quot;-  &quot;;&quot; &quot;@&quot; &quot;">
                  <c:v>10.86</c:v>
                </c:pt>
                <c:pt idx="2778" formatCode="#,##0_);\(#,##0\);&quot;-  &quot;;&quot; &quot;@&quot; &quot;">
                  <c:v>11.480000000000004</c:v>
                </c:pt>
                <c:pt idx="2779" formatCode="#,##0_);\(#,##0\);&quot;-  &quot;;&quot; &quot;@&quot; &quot;">
                  <c:v>11.795000000000002</c:v>
                </c:pt>
                <c:pt idx="2780" formatCode="#,##0_);\(#,##0\);&quot;-  &quot;;&quot; &quot;@&quot; &quot;">
                  <c:v>12.810000000000002</c:v>
                </c:pt>
                <c:pt idx="2781" formatCode="#,##0_);\(#,##0\);&quot;-  &quot;;&quot; &quot;@&quot; &quot;">
                  <c:v>13.425000000000011</c:v>
                </c:pt>
                <c:pt idx="2782" formatCode="#,##0_);\(#,##0\);&quot;-  &quot;;&quot; &quot;@&quot; &quot;">
                  <c:v>12.935000000000002</c:v>
                </c:pt>
                <c:pt idx="2783" formatCode="#,##0_);\(#,##0\);&quot;-  &quot;;&quot; &quot;@&quot; &quot;">
                  <c:v>10.790000000000006</c:v>
                </c:pt>
                <c:pt idx="2784" formatCode="#,##0_);\(#,##0\);&quot;-  &quot;;&quot; &quot;@&quot; &quot;">
                  <c:v>12.454999999999998</c:v>
                </c:pt>
                <c:pt idx="2785" formatCode="#,##0_);\(#,##0\);&quot;-  &quot;;&quot; &quot;@&quot; &quot;">
                  <c:v>12.245000000000005</c:v>
                </c:pt>
                <c:pt idx="2786" formatCode="#,##0_);\(#,##0\);&quot;-  &quot;;&quot; &quot;@&quot; &quot;">
                  <c:v>13.459999999999994</c:v>
                </c:pt>
                <c:pt idx="2787" formatCode="#,##0_);\(#,##0\);&quot;-  &quot;;&quot; &quot;@&quot; &quot;">
                  <c:v>13.879999999999995</c:v>
                </c:pt>
                <c:pt idx="2788" formatCode="#,##0_);\(#,##0\);&quot;-  &quot;;&quot; &quot;@&quot; &quot;">
                  <c:v>14.245000000000005</c:v>
                </c:pt>
                <c:pt idx="2789" formatCode="#,##0_);\(#,##0\);&quot;-  &quot;;&quot; &quot;@&quot; &quot;">
                  <c:v>13.454999999999998</c:v>
                </c:pt>
                <c:pt idx="2790" formatCode="#,##0_);\(#,##0\);&quot;-  &quot;;&quot; &quot;@&quot; &quot;">
                  <c:v>13.605000000000004</c:v>
                </c:pt>
                <c:pt idx="2791" formatCode="#,##0_);\(#,##0\);&quot;-  &quot;;&quot; &quot;@&quot; &quot;">
                  <c:v>13.715000000000003</c:v>
                </c:pt>
                <c:pt idx="2792" formatCode="#,##0_);\(#,##0\);&quot;-  &quot;;&quot; &quot;@&quot; &quot;">
                  <c:v>14.009999999999991</c:v>
                </c:pt>
                <c:pt idx="2793" formatCode="#,##0_);\(#,##0\);&quot;-  &quot;;&quot; &quot;@&quot; &quot;">
                  <c:v>14.324999999999989</c:v>
                </c:pt>
                <c:pt idx="2794" formatCode="#,##0_);\(#,##0\);&quot;-  &quot;;&quot; &quot;@&quot; &quot;">
                  <c:v>13.659999999999997</c:v>
                </c:pt>
                <c:pt idx="2795" formatCode="#,##0_);\(#,##0\);&quot;-  &quot;;&quot; &quot;@&quot; &quot;">
                  <c:v>14.125</c:v>
                </c:pt>
                <c:pt idx="2796" formatCode="#,##0_);\(#,##0\);&quot;-  &quot;;&quot; &quot;@&quot; &quot;">
                  <c:v>14.350000000000009</c:v>
                </c:pt>
                <c:pt idx="2797" formatCode="#,##0_);\(#,##0\);&quot;-  &quot;;&quot; &quot;@&quot; &quot;">
                  <c:v>14.100000000000009</c:v>
                </c:pt>
                <c:pt idx="2798" formatCode="#,##0_);\(#,##0\);&quot;-  &quot;;&quot; &quot;@&quot; &quot;">
                  <c:v>13.579999999999998</c:v>
                </c:pt>
                <c:pt idx="2799" formatCode="#,##0_);\(#,##0\);&quot;-  &quot;;&quot; &quot;@&quot; &quot;">
                  <c:v>15.11</c:v>
                </c:pt>
                <c:pt idx="2800" formatCode="#,##0_);\(#,##0\);&quot;-  &quot;;&quot; &quot;@&quot; &quot;">
                  <c:v>15.284999999999997</c:v>
                </c:pt>
                <c:pt idx="2801" formatCode="#,##0_);\(#,##0\);&quot;-  &quot;;&quot; &quot;@&quot; &quot;">
                  <c:v>15.305000000000007</c:v>
                </c:pt>
                <c:pt idx="2802" formatCode="#,##0_);\(#,##0\);&quot;-  &quot;;&quot; &quot;@&quot; &quot;">
                  <c:v>15.709999999999994</c:v>
                </c:pt>
                <c:pt idx="2803" formatCode="#,##0_);\(#,##0\);&quot;-  &quot;;&quot; &quot;@&quot; &quot;">
                  <c:v>15.789999999999992</c:v>
                </c:pt>
                <c:pt idx="2804" formatCode="#,##0_);\(#,##0\);&quot;-  &quot;;&quot; &quot;@&quot; &quot;">
                  <c:v>16.024999999999991</c:v>
                </c:pt>
                <c:pt idx="2805" formatCode="#,##0_);\(#,##0\);&quot;-  &quot;;&quot; &quot;@&quot; &quot;">
                  <c:v>16.49499999999999</c:v>
                </c:pt>
                <c:pt idx="2806" formatCode="#,##0_);\(#,##0\);&quot;-  &quot;;&quot; &quot;@&quot; &quot;">
                  <c:v>17.224999999999994</c:v>
                </c:pt>
                <c:pt idx="2807" formatCode="#,##0_);\(#,##0\);&quot;-  &quot;;&quot; &quot;@&quot; &quot;">
                  <c:v>16.980000000000004</c:v>
                </c:pt>
                <c:pt idx="2808" formatCode="#,##0_);\(#,##0\);&quot;-  &quot;;&quot; &quot;@&quot; &quot;">
                  <c:v>16.370000000000005</c:v>
                </c:pt>
                <c:pt idx="2809" formatCode="#,##0_);\(#,##0\);&quot;-  &quot;;&quot; &quot;@&quot; &quot;">
                  <c:v>15.704999999999998</c:v>
                </c:pt>
                <c:pt idx="2810" formatCode="#,##0_);\(#,##0\);&quot;-  &quot;;&quot; &quot;@&quot; &quot;">
                  <c:v>15.689999999999998</c:v>
                </c:pt>
                <c:pt idx="2811" formatCode="#,##0_);\(#,##0\);&quot;-  &quot;;&quot; &quot;@&quot; &quot;">
                  <c:v>16.265000000000001</c:v>
                </c:pt>
                <c:pt idx="2812" formatCode="#,##0_);\(#,##0\);&quot;-  &quot;;&quot; &quot;@&quot; &quot;">
                  <c:v>16.509999999999991</c:v>
                </c:pt>
                <c:pt idx="2813" formatCode="#,##0_);\(#,##0\);&quot;-  &quot;;&quot; &quot;@&quot; &quot;">
                  <c:v>16.384999999999991</c:v>
                </c:pt>
                <c:pt idx="2814" formatCode="#,##0_);\(#,##0\);&quot;-  &quot;;&quot; &quot;@&quot; &quot;">
                  <c:v>15.954999999999998</c:v>
                </c:pt>
                <c:pt idx="2815" formatCode="#,##0_);\(#,##0\);&quot;-  &quot;;&quot; &quot;@&quot; &quot;">
                  <c:v>16.069999999999993</c:v>
                </c:pt>
                <c:pt idx="2816" formatCode="#,##0_);\(#,##0\);&quot;-  &quot;;&quot; &quot;@&quot; &quot;">
                  <c:v>15.150000000000006</c:v>
                </c:pt>
                <c:pt idx="2817" formatCode="#,##0_);\(#,##0\);&quot;-  &quot;;&quot; &quot;@&quot; &quot;">
                  <c:v>15.745000000000005</c:v>
                </c:pt>
                <c:pt idx="2818" formatCode="#,##0_);\(#,##0\);&quot;-  &quot;;&quot; &quot;@&quot; &quot;">
                  <c:v>16.47</c:v>
                </c:pt>
                <c:pt idx="2819" formatCode="#,##0_);\(#,##0\);&quot;-  &quot;;&quot; &quot;@&quot; &quot;">
                  <c:v>15.340000000000003</c:v>
                </c:pt>
                <c:pt idx="2820" formatCode="#,##0_);\(#,##0\);&quot;-  &quot;;&quot; &quot;@&quot; &quot;">
                  <c:v>15.980000000000004</c:v>
                </c:pt>
                <c:pt idx="2821" formatCode="#,##0_);\(#,##0\);&quot;-  &quot;;&quot; &quot;@&quot; &quot;">
                  <c:v>15.855000000000004</c:v>
                </c:pt>
                <c:pt idx="2822" formatCode="#,##0_);\(#,##0\);&quot;-  &quot;;&quot; &quot;@&quot; &quot;">
                  <c:v>16.22</c:v>
                </c:pt>
                <c:pt idx="2823" formatCode="#,##0_);\(#,##0\);&quot;-  &quot;;&quot; &quot;@&quot; &quot;">
                  <c:v>16.795000000000002</c:v>
                </c:pt>
                <c:pt idx="2824" formatCode="#,##0_);\(#,##0\);&quot;-  &quot;;&quot; &quot;@&quot; &quot;">
                  <c:v>15.719999999999999</c:v>
                </c:pt>
                <c:pt idx="2825" formatCode="#,##0_);\(#,##0\);&quot;-  &quot;;&quot; &quot;@&quot; &quot;">
                  <c:v>15.315000000000012</c:v>
                </c:pt>
                <c:pt idx="2826" formatCode="#,##0_);\(#,##0\);&quot;-  &quot;;&quot; &quot;@&quot; &quot;">
                  <c:v>15.349999999999994</c:v>
                </c:pt>
                <c:pt idx="2827" formatCode="#,##0_);\(#,##0\);&quot;-  &quot;;&quot; &quot;@&quot; &quot;">
                  <c:v>15.230000000000004</c:v>
                </c:pt>
                <c:pt idx="2828" formatCode="#,##0_);\(#,##0\);&quot;-  &quot;;&quot; &quot;@&quot; &quot;">
                  <c:v>14.170000000000002</c:v>
                </c:pt>
                <c:pt idx="2829" formatCode="#,##0_);\(#,##0\);&quot;-  &quot;;&quot; &quot;@&quot; &quot;">
                  <c:v>12.990000000000009</c:v>
                </c:pt>
                <c:pt idx="2830" formatCode="#,##0_);\(#,##0\);&quot;-  &quot;;&quot; &quot;@&quot; &quot;">
                  <c:v>12.944999999999993</c:v>
                </c:pt>
                <c:pt idx="2831" formatCode="#,##0_);\(#,##0\);&quot;-  &quot;;&quot; &quot;@&quot; &quot;">
                  <c:v>13.150000000000006</c:v>
                </c:pt>
                <c:pt idx="2832" formatCode="#,##0_);\(#,##0\);&quot;-  &quot;;&quot; &quot;@&quot; &quot;">
                  <c:v>13.629999999999995</c:v>
                </c:pt>
                <c:pt idx="2833" formatCode="#,##0_);\(#,##0\);&quot;-  &quot;;&quot; &quot;@&quot; &quot;">
                  <c:v>14.275000000000006</c:v>
                </c:pt>
                <c:pt idx="2834" formatCode="#,##0_);\(#,##0\);&quot;-  &quot;;&quot; &quot;@&quot; &quot;">
                  <c:v>15.090000000000003</c:v>
                </c:pt>
                <c:pt idx="2835" formatCode="#,##0_);\(#,##0\);&quot;-  &quot;;&quot; &quot;@&quot; &quot;">
                  <c:v>16.070000000000007</c:v>
                </c:pt>
                <c:pt idx="2836" formatCode="#,##0_);\(#,##0\);&quot;-  &quot;;&quot; &quot;@&quot; &quot;">
                  <c:v>16.39500000000001</c:v>
                </c:pt>
                <c:pt idx="2837" formatCode="#,##0_);\(#,##0\);&quot;-  &quot;;&quot; &quot;@&quot; &quot;">
                  <c:v>16.47</c:v>
                </c:pt>
                <c:pt idx="2838" formatCode="#,##0_);\(#,##0\);&quot;-  &quot;;&quot; &quot;@&quot; &quot;">
                  <c:v>15.769999999999996</c:v>
                </c:pt>
                <c:pt idx="2839" formatCode="#,##0_);\(#,##0\);&quot;-  &quot;;&quot; &quot;@&quot; &quot;">
                  <c:v>15.634999999999991</c:v>
                </c:pt>
                <c:pt idx="2840" formatCode="#,##0_);\(#,##0\);&quot;-  &quot;;&quot; &quot;@&quot; &quot;">
                  <c:v>16.094999999999999</c:v>
                </c:pt>
                <c:pt idx="2841" formatCode="#,##0_);\(#,##0\);&quot;-  &quot;;&quot; &quot;@&quot; &quot;">
                  <c:v>15.539999999999992</c:v>
                </c:pt>
                <c:pt idx="2842" formatCode="#,##0_);\(#,##0\);&quot;-  &quot;;&quot; &quot;@&quot; &quot;">
                  <c:v>17.28</c:v>
                </c:pt>
                <c:pt idx="2843" formatCode="#,##0_);\(#,##0\);&quot;-  &quot;;&quot; &quot;@&quot; &quot;">
                  <c:v>16.094999999999999</c:v>
                </c:pt>
                <c:pt idx="2844" formatCode="#,##0_);\(#,##0\);&quot;-  &quot;;&quot; &quot;@&quot; &quot;">
                  <c:v>14.969999999999999</c:v>
                </c:pt>
                <c:pt idx="2845" formatCode="#,##0_);\(#,##0\);&quot;-  &quot;;&quot; &quot;@&quot; &quot;">
                  <c:v>16.170000000000002</c:v>
                </c:pt>
                <c:pt idx="2846" formatCode="#,##0_);\(#,##0\);&quot;-  &quot;;&quot; &quot;@&quot; &quot;">
                  <c:v>18.100000000000009</c:v>
                </c:pt>
                <c:pt idx="2847" formatCode="#,##0_);\(#,##0\);&quot;-  &quot;;&quot; &quot;@&quot; &quot;">
                  <c:v>17.975000000000009</c:v>
                </c:pt>
                <c:pt idx="2848" formatCode="#,##0_);\(#,##0\);&quot;-  &quot;;&quot; &quot;@&quot; &quot;">
                  <c:v>17.310000000000002</c:v>
                </c:pt>
                <c:pt idx="2849" formatCode="#,##0_);\(#,##0\);&quot;-  &quot;;&quot; &quot;@&quot; &quot;">
                  <c:v>17.399999999999991</c:v>
                </c:pt>
                <c:pt idx="2850" formatCode="#,##0_);\(#,##0\);&quot;-  &quot;;&quot; &quot;@&quot; &quot;">
                  <c:v>16.920000000000002</c:v>
                </c:pt>
                <c:pt idx="2851" formatCode="#,##0_);\(#,##0\);&quot;-  &quot;;&quot; &quot;@&quot; &quot;">
                  <c:v>16.429999999999993</c:v>
                </c:pt>
                <c:pt idx="2852" formatCode="#,##0_);\(#,##0\);&quot;-  &quot;;&quot; &quot;@&quot; &quot;">
                  <c:v>16.495000000000005</c:v>
                </c:pt>
                <c:pt idx="2853" formatCode="#,##0_);\(#,##0\);&quot;-  &quot;;&quot; &quot;@&quot; &quot;">
                  <c:v>15.64</c:v>
                </c:pt>
                <c:pt idx="2854" formatCode="#,##0_);\(#,##0\);&quot;-  &quot;;&quot; &quot;@&quot; &quot;">
                  <c:v>16.555000000000007</c:v>
                </c:pt>
                <c:pt idx="2855" formatCode="#,##0_);\(#,##0\);&quot;-  &quot;;&quot; &quot;@&quot; &quot;">
                  <c:v>16.305000000000007</c:v>
                </c:pt>
                <c:pt idx="2856" formatCode="#,##0_);\(#,##0\);&quot;-  &quot;;&quot; &quot;@&quot; &quot;">
                  <c:v>16.344999999999999</c:v>
                </c:pt>
                <c:pt idx="2857" formatCode="#,##0_);\(#,##0\);&quot;-  &quot;;&quot; &quot;@&quot; &quot;">
                  <c:v>17.590000000000003</c:v>
                </c:pt>
                <c:pt idx="2858" formatCode="#,##0_);\(#,##0\);&quot;-  &quot;;&quot; &quot;@&quot; &quot;">
                  <c:v>18.22999999999999</c:v>
                </c:pt>
                <c:pt idx="2859" formatCode="#,##0_);\(#,##0\);&quot;-  &quot;;&quot; &quot;@&quot; &quot;">
                  <c:v>18.715000000000003</c:v>
                </c:pt>
                <c:pt idx="2860" formatCode="#,##0_);\(#,##0\);&quot;-  &quot;;&quot; &quot;@&quot; &quot;">
                  <c:v>19.870000000000005</c:v>
                </c:pt>
                <c:pt idx="2861" formatCode="#,##0_);\(#,##0\);&quot;-  &quot;;&quot; &quot;@&quot; &quot;">
                  <c:v>18.64</c:v>
                </c:pt>
                <c:pt idx="2862" formatCode="#,##0_);\(#,##0\);&quot;-  &quot;;&quot; &quot;@&quot; &quot;">
                  <c:v>17.155000000000001</c:v>
                </c:pt>
                <c:pt idx="2863" formatCode="#,##0_);\(#,##0\);&quot;-  &quot;;&quot; &quot;@&quot; &quot;">
                  <c:v>17.420000000000002</c:v>
                </c:pt>
                <c:pt idx="2864" formatCode="#,##0_);\(#,##0\);&quot;-  &quot;;&quot; &quot;@&quot; &quot;">
                  <c:v>18.090000000000003</c:v>
                </c:pt>
                <c:pt idx="2865" formatCode="#,##0_);\(#,##0\);&quot;-  &quot;;&quot; &quot;@&quot; &quot;">
                  <c:v>16.72</c:v>
                </c:pt>
                <c:pt idx="2866" formatCode="#,##0_);\(#,##0\);&quot;-  &quot;;&quot; &quot;@&quot; &quot;">
                  <c:v>16.635000000000005</c:v>
                </c:pt>
                <c:pt idx="2867" formatCode="#,##0_);\(#,##0\);&quot;-  &quot;;&quot; &quot;@&quot; &quot;">
                  <c:v>16.954999999999998</c:v>
                </c:pt>
                <c:pt idx="2868" formatCode="#,##0_);\(#,##0\);&quot;-  &quot;;&quot; &quot;@&quot; &quot;">
                  <c:v>17.835000000000008</c:v>
                </c:pt>
                <c:pt idx="2869" formatCode="#,##0_);\(#,##0\);&quot;-  &quot;;&quot; &quot;@&quot; &quot;">
                  <c:v>18.560000000000002</c:v>
                </c:pt>
                <c:pt idx="2870" formatCode="#,##0_);\(#,##0\);&quot;-  &quot;;&quot; &quot;@&quot; &quot;">
                  <c:v>21.260000000000005</c:v>
                </c:pt>
                <c:pt idx="2871" formatCode="#,##0_);\(#,##0\);&quot;-  &quot;;&quot; &quot;@&quot; &quot;">
                  <c:v>19.805000000000007</c:v>
                </c:pt>
                <c:pt idx="2872" formatCode="#,##0_);\(#,##0\);&quot;-  &quot;;&quot; &quot;@&quot; &quot;">
                  <c:v>20.25</c:v>
                </c:pt>
                <c:pt idx="2873" formatCode="#,##0_);\(#,##0\);&quot;-  &quot;;&quot; &quot;@&quot; &quot;">
                  <c:v>19.49499999999999</c:v>
                </c:pt>
                <c:pt idx="2874" formatCode="#,##0_);\(#,##0\);&quot;-  &quot;;&quot; &quot;@&quot; &quot;">
                  <c:v>20.5</c:v>
                </c:pt>
                <c:pt idx="2875" formatCode="#,##0_);\(#,##0\);&quot;-  &quot;;&quot; &quot;@&quot; &quot;">
                  <c:v>19.685000000000002</c:v>
                </c:pt>
                <c:pt idx="2876" formatCode="#,##0_);\(#,##0\);&quot;-  &quot;;&quot; &quot;@&quot; &quot;">
                  <c:v>20.774999999999991</c:v>
                </c:pt>
                <c:pt idx="2877" formatCode="#,##0_);\(#,##0\);&quot;-  &quot;;&quot; &quot;@&quot; &quot;">
                  <c:v>20.555000000000007</c:v>
                </c:pt>
                <c:pt idx="2878" formatCode="#,##0_);\(#,##0\);&quot;-  &quot;;&quot; &quot;@&quot; &quot;">
                  <c:v>20.019999999999996</c:v>
                </c:pt>
                <c:pt idx="2879" formatCode="#,##0_);\(#,##0\);&quot;-  &quot;;&quot; &quot;@&quot; &quot;">
                  <c:v>20.545000000000002</c:v>
                </c:pt>
                <c:pt idx="2880" formatCode="#,##0_);\(#,##0\);&quot;-  &quot;;&quot; &quot;@&quot; &quot;">
                  <c:v>19.900000000000006</c:v>
                </c:pt>
                <c:pt idx="2881" formatCode="#,##0_);\(#,##0\);&quot;-  &quot;;&quot; &quot;@&quot; &quot;">
                  <c:v>19.320000000000007</c:v>
                </c:pt>
                <c:pt idx="2882" formatCode="#,##0_);\(#,##0\);&quot;-  &quot;;&quot; &quot;@&quot; &quot;">
                  <c:v>18.699999999999989</c:v>
                </c:pt>
                <c:pt idx="2883" formatCode="#,##0_);\(#,##0\);&quot;-  &quot;;&quot; &quot;@&quot; &quot;">
                  <c:v>19.099999999999994</c:v>
                </c:pt>
                <c:pt idx="2884" formatCode="#,##0_);\(#,##0\);&quot;-  &quot;;&quot; &quot;@&quot; &quot;">
                  <c:v>19.325000000000003</c:v>
                </c:pt>
                <c:pt idx="2885" formatCode="#,##0_);\(#,##0\);&quot;-  &quot;;&quot; &quot;@&quot; &quot;">
                  <c:v>18.825000000000003</c:v>
                </c:pt>
                <c:pt idx="2886" formatCode="#,##0_);\(#,##0\);&quot;-  &quot;;&quot; &quot;@&quot; &quot;">
                  <c:v>19.039999999999992</c:v>
                </c:pt>
                <c:pt idx="2887" formatCode="#,##0_);\(#,##0\);&quot;-  &quot;;&quot; &quot;@&quot; &quot;">
                  <c:v>17.47</c:v>
                </c:pt>
                <c:pt idx="2888" formatCode="#,##0_);\(#,##0\);&quot;-  &quot;;&quot; &quot;@&quot; &quot;">
                  <c:v>17.204999999999998</c:v>
                </c:pt>
                <c:pt idx="2889" formatCode="#,##0_);\(#,##0\);&quot;-  &quot;;&quot; &quot;@&quot; &quot;">
                  <c:v>16.965000000000003</c:v>
                </c:pt>
                <c:pt idx="2890" formatCode="#,##0_);\(#,##0\);&quot;-  &quot;;&quot; &quot;@&quot; &quot;">
                  <c:v>15.269999999999996</c:v>
                </c:pt>
                <c:pt idx="2891" formatCode="#,##0_);\(#,##0\);&quot;-  &quot;;&quot; &quot;@&quot; &quot;">
                  <c:v>17.094999999999999</c:v>
                </c:pt>
                <c:pt idx="2892" formatCode="#,##0_);\(#,##0\);&quot;-  &quot;;&quot; &quot;@&quot; &quot;">
                  <c:v>17.489999999999995</c:v>
                </c:pt>
                <c:pt idx="2893" formatCode="#,##0_);\(#,##0\);&quot;-  &quot;;&quot; &quot;@&quot; &quot;">
                  <c:v>17.024999999999991</c:v>
                </c:pt>
                <c:pt idx="2894" formatCode="#,##0_);\(#,##0\);&quot;-  &quot;;&quot; &quot;@&quot; &quot;">
                  <c:v>15.185000000000002</c:v>
                </c:pt>
                <c:pt idx="2895" formatCode="#,##0_);\(#,##0\);&quot;-  &quot;;&quot; &quot;@&quot; &quot;">
                  <c:v>15.14500000000001</c:v>
                </c:pt>
                <c:pt idx="2896" formatCode="#,##0_);\(#,##0\);&quot;-  &quot;;&quot; &quot;@&quot; &quot;">
                  <c:v>15.275000000000006</c:v>
                </c:pt>
                <c:pt idx="2897" formatCode="#,##0_);\(#,##0\);&quot;-  &quot;;&quot; &quot;@&quot; &quot;">
                  <c:v>14.89</c:v>
                </c:pt>
                <c:pt idx="2898" formatCode="#,##0_);\(#,##0\);&quot;-  &quot;;&quot; &quot;@&quot; &quot;">
                  <c:v>15.429999999999993</c:v>
                </c:pt>
                <c:pt idx="2899" formatCode="#,##0_);\(#,##0\);&quot;-  &quot;;&quot; &quot;@&quot; &quot;">
                  <c:v>15.240000000000009</c:v>
                </c:pt>
                <c:pt idx="2900" formatCode="#,##0_);\(#,##0\);&quot;-  &quot;;&quot; &quot;@&quot; &quot;">
                  <c:v>15.675000000000011</c:v>
                </c:pt>
                <c:pt idx="2901" formatCode="#,##0_);\(#,##0\);&quot;-  &quot;;&quot; &quot;@&quot; &quot;">
                  <c:v>16.22</c:v>
                </c:pt>
                <c:pt idx="2902" formatCode="#,##0_);\(#,##0\);&quot;-  &quot;;&quot; &quot;@&quot; &quot;">
                  <c:v>16.915000000000006</c:v>
                </c:pt>
                <c:pt idx="2903" formatCode="#,##0_);\(#,##0\);&quot;-  &quot;;&quot; &quot;@&quot; &quot;">
                  <c:v>16.879999999999995</c:v>
                </c:pt>
                <c:pt idx="2904" formatCode="#,##0_);\(#,##0\);&quot;-  &quot;;&quot; &quot;@&quot; &quot;">
                  <c:v>17.120000000000005</c:v>
                </c:pt>
                <c:pt idx="2905" formatCode="#,##0_);\(#,##0\);&quot;-  &quot;;&quot; &quot;@&quot; &quot;">
                  <c:v>16.105000000000004</c:v>
                </c:pt>
                <c:pt idx="2906" formatCode="#,##0_);\(#,##0\);&quot;-  &quot;;&quot; &quot;@&quot; &quot;">
                  <c:v>17.509999999999991</c:v>
                </c:pt>
                <c:pt idx="2907" formatCode="#,##0_);\(#,##0\);&quot;-  &quot;;&quot; &quot;@&quot; &quot;">
                  <c:v>17.555000000000007</c:v>
                </c:pt>
                <c:pt idx="2908" formatCode="#,##0_);\(#,##0\);&quot;-  &quot;;&quot; &quot;@&quot; &quot;">
                  <c:v>17.355000000000004</c:v>
                </c:pt>
                <c:pt idx="2909" formatCode="#,##0_);\(#,##0\);&quot;-  &quot;;&quot; &quot;@&quot; &quot;">
                  <c:v>16.829999999999998</c:v>
                </c:pt>
                <c:pt idx="2910" formatCode="#,##0_);\(#,##0\);&quot;-  &quot;;&quot; &quot;@&quot; &quot;">
                  <c:v>15.540000000000006</c:v>
                </c:pt>
                <c:pt idx="2911" formatCode="#,##0_);\(#,##0\);&quot;-  &quot;;&quot; &quot;@&quot; &quot;">
                  <c:v>15.689999999999998</c:v>
                </c:pt>
                <c:pt idx="2912" formatCode="#,##0_);\(#,##0\);&quot;-  &quot;;&quot; &quot;@&quot; &quot;">
                  <c:v>16.909999999999997</c:v>
                </c:pt>
                <c:pt idx="2913" formatCode="#,##0_);\(#,##0\);&quot;-  &quot;;&quot; &quot;@&quot; &quot;">
                  <c:v>17.710000000000008</c:v>
                </c:pt>
                <c:pt idx="2914" formatCode="#,##0_);\(#,##0\);&quot;-  &quot;;&quot; &quot;@&quot; &quot;">
                  <c:v>17.325000000000003</c:v>
                </c:pt>
                <c:pt idx="2915" formatCode="#,##0_);\(#,##0\);&quot;-  &quot;;&quot; &quot;@&quot; &quot;">
                  <c:v>16.389999999999986</c:v>
                </c:pt>
                <c:pt idx="2916" formatCode="#,##0_);\(#,##0\);&quot;-  &quot;;&quot; &quot;@&quot; &quot;">
                  <c:v>17.034999999999997</c:v>
                </c:pt>
                <c:pt idx="2917" formatCode="#,##0_);\(#,##0\);&quot;-  &quot;;&quot; &quot;@&quot; &quot;">
                  <c:v>19.814999999999998</c:v>
                </c:pt>
                <c:pt idx="2918" formatCode="#,##0_);\(#,##0\);&quot;-  &quot;;&quot; &quot;@&quot; &quot;">
                  <c:v>17.384999999999991</c:v>
                </c:pt>
                <c:pt idx="2919" formatCode="#,##0_);\(#,##0\);&quot;-  &quot;;&quot; &quot;@&quot; &quot;">
                  <c:v>16.980000000000004</c:v>
                </c:pt>
                <c:pt idx="2920" formatCode="#,##0_);\(#,##0\);&quot;-  &quot;;&quot; &quot;@&quot; &quot;">
                  <c:v>17.835000000000008</c:v>
                </c:pt>
                <c:pt idx="2921" formatCode="#,##0_);\(#,##0\);&quot;-  &quot;;&quot; &quot;@&quot; &quot;">
                  <c:v>17.754999999999995</c:v>
                </c:pt>
                <c:pt idx="2922" formatCode="#,##0_);\(#,##0\);&quot;-  &quot;;&quot; &quot;@&quot; &quot;">
                  <c:v>17.164999999999992</c:v>
                </c:pt>
                <c:pt idx="2923" formatCode="#,##0_);\(#,##0\);&quot;-  &quot;;&quot; &quot;@&quot; &quot;">
                  <c:v>17.450000000000003</c:v>
                </c:pt>
                <c:pt idx="2924" formatCode="#,##0_);\(#,##0\);&quot;-  &quot;;&quot; &quot;@&quot; &quot;">
                  <c:v>15.160000000000011</c:v>
                </c:pt>
                <c:pt idx="2925" formatCode="#,##0_);\(#,##0\);&quot;-  &quot;;&quot; &quot;@&quot; &quot;">
                  <c:v>15.77000000000001</c:v>
                </c:pt>
                <c:pt idx="2926" formatCode="#,##0_);\(#,##0\);&quot;-  &quot;;&quot; &quot;@&quot; &quot;">
                  <c:v>17.180000000000007</c:v>
                </c:pt>
                <c:pt idx="2927" formatCode="#,##0_);\(#,##0\);&quot;-  &quot;;&quot; &quot;@&quot; &quot;">
                  <c:v>17.484999999999999</c:v>
                </c:pt>
                <c:pt idx="2928" formatCode="#,##0_);\(#,##0\);&quot;-  &quot;;&quot; &quot;@&quot; &quot;">
                  <c:v>17.905000000000001</c:v>
                </c:pt>
                <c:pt idx="2929" formatCode="#,##0_);\(#,##0\);&quot;-  &quot;;&quot; &quot;@&quot; &quot;">
                  <c:v>19.225000000000009</c:v>
                </c:pt>
                <c:pt idx="2930" formatCode="#,##0_);\(#,##0\);&quot;-  &quot;;&quot; &quot;@&quot; &quot;">
                  <c:v>19.050000000000011</c:v>
                </c:pt>
                <c:pt idx="2931" formatCode="#,##0_);\(#,##0\);&quot;-  &quot;;&quot; &quot;@&quot; &quot;">
                  <c:v>17.794999999999995</c:v>
                </c:pt>
                <c:pt idx="2932" formatCode="#,##0_);\(#,##0\);&quot;-  &quot;;&quot; &quot;@&quot; &quot;">
                  <c:v>18.844999999999999</c:v>
                </c:pt>
                <c:pt idx="2933" formatCode="#,##0_);\(#,##0\);&quot;-  &quot;;&quot; &quot;@&quot; &quot;">
                  <c:v>17.864999999999995</c:v>
                </c:pt>
                <c:pt idx="2934" formatCode="#,##0_);\(#,##0\);&quot;-  &quot;;&quot; &quot;@&quot; &quot;">
                  <c:v>17.164999999999992</c:v>
                </c:pt>
                <c:pt idx="2935" formatCode="#,##0_);\(#,##0\);&quot;-  &quot;;&quot; &quot;@&quot; &quot;">
                  <c:v>17.160000000000004</c:v>
                </c:pt>
                <c:pt idx="2936" formatCode="#,##0_);\(#,##0\);&quot;-  &quot;;&quot; &quot;@&quot; &quot;">
                  <c:v>17.849999999999994</c:v>
                </c:pt>
                <c:pt idx="2937" formatCode="#,##0_);\(#,##0\);&quot;-  &quot;;&quot; &quot;@&quot; &quot;">
                  <c:v>17.615000000000009</c:v>
                </c:pt>
                <c:pt idx="2938" formatCode="#,##0_);\(#,##0\);&quot;-  &quot;;&quot; &quot;@&quot; &quot;">
                  <c:v>17.700000000000003</c:v>
                </c:pt>
                <c:pt idx="2939" formatCode="#,##0_);\(#,##0\);&quot;-  &quot;;&quot; &quot;@&quot; &quot;">
                  <c:v>17.185000000000002</c:v>
                </c:pt>
                <c:pt idx="2940" formatCode="#,##0_);\(#,##0\);&quot;-  &quot;;&quot; &quot;@&quot; &quot;">
                  <c:v>18.070000000000007</c:v>
                </c:pt>
                <c:pt idx="2941" formatCode="#,##0_);\(#,##0\);&quot;-  &quot;;&quot; &quot;@&quot; &quot;">
                  <c:v>19.114999999999995</c:v>
                </c:pt>
                <c:pt idx="2942" formatCode="#,##0_);\(#,##0\);&quot;-  &quot;;&quot; &quot;@&quot; &quot;">
                  <c:v>19.929999999999993</c:v>
                </c:pt>
                <c:pt idx="2943" formatCode="#,##0_);\(#,##0\);&quot;-  &quot;;&quot; &quot;@&quot; &quot;">
                  <c:v>18.305000000000007</c:v>
                </c:pt>
                <c:pt idx="2944" formatCode="#,##0_);\(#,##0\);&quot;-  &quot;;&quot; &quot;@&quot; &quot;">
                  <c:v>0</c:v>
                </c:pt>
                <c:pt idx="2945" formatCode="#,##0_);\(#,##0\);&quot;-  &quot;;&quot; &quot;@&quot; &quot;">
                  <c:v>0</c:v>
                </c:pt>
                <c:pt idx="2946" formatCode="#,##0_);\(#,##0\);&quot;-  &quot;;&quot; &quot;@&quot; &quot;">
                  <c:v>0</c:v>
                </c:pt>
                <c:pt idx="2947" formatCode="#,##0_);\(#,##0\);&quot;-  &quot;;&quot; &quot;@&quot; &quot;">
                  <c:v>0</c:v>
                </c:pt>
                <c:pt idx="2948" formatCode="#,##0_);\(#,##0\);&quot;-  &quot;;&quot; &quot;@&quot; &quot;">
                  <c:v>0</c:v>
                </c:pt>
                <c:pt idx="2949" formatCode="#,##0_);\(#,##0\);&quot;-  &quot;;&quot; &quot;@&quot; &quot;">
                  <c:v>0</c:v>
                </c:pt>
                <c:pt idx="2950" formatCode="#,##0_);\(#,##0\);&quot;-  &quot;;&quot; &quot;@&quot; &quot;">
                  <c:v>0</c:v>
                </c:pt>
                <c:pt idx="2951" formatCode="#,##0_);\(#,##0\);&quot;-  &quot;;&quot; &quot;@&quot; &quot;">
                  <c:v>0</c:v>
                </c:pt>
                <c:pt idx="2952" formatCode="#,##0_);\(#,##0\);&quot;-  &quot;;&quot; &quot;@&quot; &quot;">
                  <c:v>0</c:v>
                </c:pt>
                <c:pt idx="2953" formatCode="#,##0_);\(#,##0\);&quot;-  &quot;;&quot; &quot;@&quot; &quot;">
                  <c:v>0</c:v>
                </c:pt>
                <c:pt idx="2954" formatCode="#,##0_);\(#,##0\);&quot;-  &quot;;&quot; &quot;@&quot; &quot;">
                  <c:v>0</c:v>
                </c:pt>
                <c:pt idx="2955" formatCode="#,##0_);\(#,##0\);&quot;-  &quot;;&quot; &quot;@&quot; &quot;">
                  <c:v>0</c:v>
                </c:pt>
                <c:pt idx="2956" formatCode="#,##0_);\(#,##0\);&quot;-  &quot;;&quot; &quot;@&quot; &quot;">
                  <c:v>0</c:v>
                </c:pt>
                <c:pt idx="2957" formatCode="#,##0_);\(#,##0\);&quot;-  &quot;;&quot; &quot;@&quot; &quot;">
                  <c:v>0</c:v>
                </c:pt>
                <c:pt idx="2958" formatCode="#,##0_);\(#,##0\);&quot;-  &quot;;&quot; &quot;@&quot; &quot;">
                  <c:v>0</c:v>
                </c:pt>
                <c:pt idx="2959" formatCode="#,##0_);\(#,##0\);&quot;-  &quot;;&quot; &quot;@&quot; &quot;">
                  <c:v>0</c:v>
                </c:pt>
                <c:pt idx="2960" formatCode="#,##0_);\(#,##0\);&quot;-  &quot;;&quot; &quot;@&quot; &quot;">
                  <c:v>0</c:v>
                </c:pt>
                <c:pt idx="2961" formatCode="#,##0_);\(#,##0\);&quot;-  &quot;;&quot; &quot;@&quot; &quot;">
                  <c:v>0</c:v>
                </c:pt>
                <c:pt idx="2962" formatCode="#,##0_);\(#,##0\);&quot;-  &quot;;&quot; &quot;@&quot; &quot;">
                  <c:v>0</c:v>
                </c:pt>
                <c:pt idx="2963" formatCode="#,##0_);\(#,##0\);&quot;-  &quot;;&quot; &quot;@&quot; &quot;">
                  <c:v>0</c:v>
                </c:pt>
                <c:pt idx="2964" formatCode="#,##0_);\(#,##0\);&quot;-  &quot;;&quot; &quot;@&quot; &quot;">
                  <c:v>0</c:v>
                </c:pt>
                <c:pt idx="2965" formatCode="#,##0_);\(#,##0\);&quot;-  &quot;;&quot; &quot;@&quot; &quot;">
                  <c:v>0</c:v>
                </c:pt>
                <c:pt idx="2966" formatCode="#,##0_);\(#,##0\);&quot;-  &quot;;&quot; &quot;@&quot; &quot;">
                  <c:v>0</c:v>
                </c:pt>
                <c:pt idx="2967" formatCode="#,##0_);\(#,##0\);&quot;-  &quot;;&quot; &quot;@&quot; &quot;">
                  <c:v>0</c:v>
                </c:pt>
                <c:pt idx="2968" formatCode="#,##0_);\(#,##0\);&quot;-  &quot;;&quot; &quot;@&quot; &quot;">
                  <c:v>0</c:v>
                </c:pt>
                <c:pt idx="2969" formatCode="#,##0_);\(#,##0\);&quot;-  &quot;;&quot; &quot;@&quot; &quot;">
                  <c:v>0</c:v>
                </c:pt>
                <c:pt idx="2970" formatCode="#,##0_);\(#,##0\);&quot;-  &quot;;&quot; &quot;@&quot; &quot;">
                  <c:v>0</c:v>
                </c:pt>
                <c:pt idx="2971" formatCode="#,##0_);\(#,##0\);&quot;-  &quot;;&quot; &quot;@&quot; &quot;">
                  <c:v>0</c:v>
                </c:pt>
                <c:pt idx="2972" formatCode="#,##0_);\(#,##0\);&quot;-  &quot;;&quot; &quot;@&quot; &quot;">
                  <c:v>0</c:v>
                </c:pt>
                <c:pt idx="2973" formatCode="#,##0_);\(#,##0\);&quot;-  &quot;;&quot; &quot;@&quot; &quot;">
                  <c:v>0</c:v>
                </c:pt>
                <c:pt idx="2974" formatCode="#,##0_);\(#,##0\);&quot;-  &quot;;&quot; &quot;@&quot; &quot;">
                  <c:v>0</c:v>
                </c:pt>
                <c:pt idx="2975" formatCode="#,##0_);\(#,##0\);&quot;-  &quot;;&quot; &quot;@&quot; &quot;">
                  <c:v>0</c:v>
                </c:pt>
                <c:pt idx="2976" formatCode="#,##0_);\(#,##0\);&quot;-  &quot;;&quot; &quot;@&quot; &quot;">
                  <c:v>0</c:v>
                </c:pt>
                <c:pt idx="2977" formatCode="#,##0_);\(#,##0\);&quot;-  &quot;;&quot; &quot;@&quot; &quot;">
                  <c:v>0</c:v>
                </c:pt>
                <c:pt idx="2978" formatCode="#,##0_);\(#,##0\);&quot;-  &quot;;&quot; &quot;@&quot; &quot;">
                  <c:v>0</c:v>
                </c:pt>
                <c:pt idx="2979" formatCode="#,##0_);\(#,##0\);&quot;-  &quot;;&quot; &quot;@&quot; &quot;">
                  <c:v>0</c:v>
                </c:pt>
                <c:pt idx="2980" formatCode="#,##0_);\(#,##0\);&quot;-  &quot;;&quot; &quot;@&quot; &quot;">
                  <c:v>0</c:v>
                </c:pt>
                <c:pt idx="2981" formatCode="#,##0_);\(#,##0\);&quot;-  &quot;;&quot; &quot;@&quot; &quot;">
                  <c:v>0</c:v>
                </c:pt>
                <c:pt idx="2982" formatCode="#,##0_);\(#,##0\);&quot;-  &quot;;&quot; &quot;@&quot; &quot;">
                  <c:v>0</c:v>
                </c:pt>
                <c:pt idx="2983" formatCode="#,##0_);\(#,##0\);&quot;-  &quot;;&quot; &quot;@&quot; &quot;">
                  <c:v>0</c:v>
                </c:pt>
                <c:pt idx="2984" formatCode="#,##0_);\(#,##0\);&quot;-  &quot;;&quot; &quot;@&quot; &quot;">
                  <c:v>0</c:v>
                </c:pt>
                <c:pt idx="2985" formatCode="#,##0_);\(#,##0\);&quot;-  &quot;;&quot; &quot;@&quot; &quot;">
                  <c:v>0</c:v>
                </c:pt>
                <c:pt idx="2986" formatCode="#,##0_);\(#,##0\);&quot;-  &quot;;&quot; &quot;@&quot; &quot;">
                  <c:v>0</c:v>
                </c:pt>
                <c:pt idx="2987" formatCode="#,##0_);\(#,##0\);&quot;-  &quot;;&quot; &quot;@&quot; &quot;">
                  <c:v>0</c:v>
                </c:pt>
                <c:pt idx="2988" formatCode="#,##0_);\(#,##0\);&quot;-  &quot;;&quot; &quot;@&quot; &quot;">
                  <c:v>0</c:v>
                </c:pt>
                <c:pt idx="2989" formatCode="#,##0_);\(#,##0\);&quot;-  &quot;;&quot; &quot;@&quot; &quot;">
                  <c:v>0</c:v>
                </c:pt>
                <c:pt idx="2990" formatCode="#,##0_);\(#,##0\);&quot;-  &quot;;&quot; &quot;@&quot; &quot;">
                  <c:v>0</c:v>
                </c:pt>
                <c:pt idx="2991" formatCode="#,##0_);\(#,##0\);&quot;-  &quot;;&quot; &quot;@&quot; &quot;">
                  <c:v>0</c:v>
                </c:pt>
                <c:pt idx="2992" formatCode="#,##0_);\(#,##0\);&quot;-  &quot;;&quot; &quot;@&quot; &quot;">
                  <c:v>0</c:v>
                </c:pt>
                <c:pt idx="2993" formatCode="#,##0_);\(#,##0\);&quot;-  &quot;;&quot; &quot;@&quot; &quot;">
                  <c:v>0</c:v>
                </c:pt>
                <c:pt idx="2994" formatCode="#,##0_);\(#,##0\);&quot;-  &quot;;&quot; &quot;@&quot; &quot;">
                  <c:v>0</c:v>
                </c:pt>
                <c:pt idx="2995" formatCode="#,##0_);\(#,##0\);&quot;-  &quot;;&quot; &quot;@&quot; &quot;">
                  <c:v>0</c:v>
                </c:pt>
                <c:pt idx="2996" formatCode="#,##0_);\(#,##0\);&quot;-  &quot;;&quot; &quot;@&quot; &quot;">
                  <c:v>0</c:v>
                </c:pt>
                <c:pt idx="2997" formatCode="#,##0_);\(#,##0\);&quot;-  &quot;;&quot; &quot;@&quot; &quot;">
                  <c:v>0</c:v>
                </c:pt>
                <c:pt idx="2998" formatCode="#,##0_);\(#,##0\);&quot;-  &quot;;&quot; &quot;@&quot; &quot;">
                  <c:v>0</c:v>
                </c:pt>
                <c:pt idx="2999" formatCode="#,##0_);\(#,##0\);&quot;-  &quot;;&quot; &quot;@&quot; &quot;">
                  <c:v>0</c:v>
                </c:pt>
                <c:pt idx="3000" formatCode="#,##0_);\(#,##0\);&quot;-  &quot;;&quot; &quot;@&quot; &quot;">
                  <c:v>0</c:v>
                </c:pt>
                <c:pt idx="3001" formatCode="#,##0_);\(#,##0\);&quot;-  &quot;;&quot; &quot;@&quot; &quot;">
                  <c:v>0</c:v>
                </c:pt>
                <c:pt idx="3002" formatCode="#,##0_);\(#,##0\);&quot;-  &quot;;&quot; &quot;@&quot; &quot;">
                  <c:v>0</c:v>
                </c:pt>
                <c:pt idx="3003" formatCode="#,##0_);\(#,##0\);&quot;-  &quot;;&quot; &quot;@&quot; &quot;">
                  <c:v>0</c:v>
                </c:pt>
                <c:pt idx="3004" formatCode="#,##0_);\(#,##0\);&quot;-  &quot;;&quot; &quot;@&quot; &quot;">
                  <c:v>0</c:v>
                </c:pt>
                <c:pt idx="3005" formatCode="#,##0_);\(#,##0\);&quot;-  &quot;;&quot; &quot;@&quot; &quot;">
                  <c:v>0</c:v>
                </c:pt>
                <c:pt idx="3006" formatCode="#,##0_);\(#,##0\);&quot;-  &quot;;&quot; &quot;@&quot; &quot;">
                  <c:v>0</c:v>
                </c:pt>
                <c:pt idx="3007" formatCode="#,##0_);\(#,##0\);&quot;-  &quot;;&quot; &quot;@&quot; &quot;">
                  <c:v>0</c:v>
                </c:pt>
                <c:pt idx="3008" formatCode="#,##0_);\(#,##0\);&quot;-  &quot;;&quot; &quot;@&quot; &quot;">
                  <c:v>0</c:v>
                </c:pt>
                <c:pt idx="3009" formatCode="#,##0_);\(#,##0\);&quot;-  &quot;;&quot; &quot;@&quot; &quot;">
                  <c:v>0</c:v>
                </c:pt>
                <c:pt idx="3010" formatCode="#,##0_);\(#,##0\);&quot;-  &quot;;&quot; &quot;@&quot; &quot;">
                  <c:v>0</c:v>
                </c:pt>
                <c:pt idx="3011" formatCode="#,##0_);\(#,##0\);&quot;-  &quot;;&quot; &quot;@&quot; &quot;">
                  <c:v>0</c:v>
                </c:pt>
                <c:pt idx="3012" formatCode="#,##0_);\(#,##0\);&quot;-  &quot;;&quot; &quot;@&quot; &quot;">
                  <c:v>0</c:v>
                </c:pt>
                <c:pt idx="3013" formatCode="#,##0_);\(#,##0\);&quot;-  &quot;;&quot; &quot;@&quot; &quot;">
                  <c:v>0</c:v>
                </c:pt>
                <c:pt idx="3014" formatCode="#,##0_);\(#,##0\);&quot;-  &quot;;&quot; &quot;@&quot; &quot;">
                  <c:v>0</c:v>
                </c:pt>
                <c:pt idx="3015" formatCode="#,##0_);\(#,##0\);&quot;-  &quot;;&quot; &quot;@&quot; &quot;">
                  <c:v>0</c:v>
                </c:pt>
                <c:pt idx="3016" formatCode="#,##0_);\(#,##0\);&quot;-  &quot;;&quot; &quot;@&quot; &quot;">
                  <c:v>0</c:v>
                </c:pt>
                <c:pt idx="3017" formatCode="#,##0_);\(#,##0\);&quot;-  &quot;;&quot; &quot;@&quot; &quot;">
                  <c:v>0</c:v>
                </c:pt>
                <c:pt idx="3018" formatCode="#,##0_);\(#,##0\);&quot;-  &quot;;&quot; &quot;@&quot; &quot;">
                  <c:v>0</c:v>
                </c:pt>
                <c:pt idx="3019" formatCode="#,##0_);\(#,##0\);&quot;-  &quot;;&quot; &quot;@&quot; &quot;">
                  <c:v>0</c:v>
                </c:pt>
                <c:pt idx="3020" formatCode="#,##0_);\(#,##0\);&quot;-  &quot;;&quot; &quot;@&quot; &quot;">
                  <c:v>0</c:v>
                </c:pt>
                <c:pt idx="3021" formatCode="#,##0_);\(#,##0\);&quot;-  &quot;;&quot; &quot;@&quot; &quot;">
                  <c:v>0</c:v>
                </c:pt>
                <c:pt idx="3022" formatCode="#,##0_);\(#,##0\);&quot;-  &quot;;&quot; &quot;@&quot; &quot;">
                  <c:v>0</c:v>
                </c:pt>
                <c:pt idx="3023" formatCode="#,##0_);\(#,##0\);&quot;-  &quot;;&quot; &quot;@&quot; &quot;">
                  <c:v>0</c:v>
                </c:pt>
                <c:pt idx="3024" formatCode="#,##0_);\(#,##0\);&quot;-  &quot;;&quot; &quot;@&quot; &quot;">
                  <c:v>0</c:v>
                </c:pt>
                <c:pt idx="3025" formatCode="#,##0_);\(#,##0\);&quot;-  &quot;;&quot; &quot;@&quot; &quot;">
                  <c:v>0</c:v>
                </c:pt>
                <c:pt idx="3026" formatCode="#,##0_);\(#,##0\);&quot;-  &quot;;&quot; &quot;@&quot; &quot;">
                  <c:v>0</c:v>
                </c:pt>
                <c:pt idx="3027" formatCode="#,##0_);\(#,##0\);&quot;-  &quot;;&quot; &quot;@&quot; &quot;">
                  <c:v>0</c:v>
                </c:pt>
                <c:pt idx="3028" formatCode="#,##0_);\(#,##0\);&quot;-  &quot;;&quot; &quot;@&quot; &quot;">
                  <c:v>0</c:v>
                </c:pt>
                <c:pt idx="3029" formatCode="#,##0_);\(#,##0\);&quot;-  &quot;;&quot; &quot;@&quot; &quot;">
                  <c:v>0</c:v>
                </c:pt>
                <c:pt idx="3030" formatCode="#,##0_);\(#,##0\);&quot;-  &quot;;&quot; &quot;@&quot; &quot;">
                  <c:v>0</c:v>
                </c:pt>
                <c:pt idx="3031" formatCode="#,##0_);\(#,##0\);&quot;-  &quot;;&quot; &quot;@&quot; &quot;">
                  <c:v>0</c:v>
                </c:pt>
                <c:pt idx="3032" formatCode="#,##0_);\(#,##0\);&quot;-  &quot;;&quot; &quot;@&quot; &quot;">
                  <c:v>0</c:v>
                </c:pt>
                <c:pt idx="3033" formatCode="#,##0_);\(#,##0\);&quot;-  &quot;;&quot; &quot;@&quot; &quot;">
                  <c:v>0</c:v>
                </c:pt>
                <c:pt idx="3034" formatCode="#,##0_);\(#,##0\);&quot;-  &quot;;&quot; &quot;@&quot; &quot;">
                  <c:v>0</c:v>
                </c:pt>
                <c:pt idx="3035" formatCode="#,##0_);\(#,##0\);&quot;-  &quot;;&quot; &quot;@&quot; &quot;">
                  <c:v>0</c:v>
                </c:pt>
                <c:pt idx="3036" formatCode="#,##0_);\(#,##0\);&quot;-  &quot;;&quot; &quot;@&quot; &quot;">
                  <c:v>0</c:v>
                </c:pt>
                <c:pt idx="3037" formatCode="#,##0_);\(#,##0\);&quot;-  &quot;;&quot; &quot;@&quot; &quot;">
                  <c:v>0</c:v>
                </c:pt>
                <c:pt idx="3038" formatCode="#,##0_);\(#,##0\);&quot;-  &quot;;&quot; &quot;@&quot; &quot;">
                  <c:v>0</c:v>
                </c:pt>
                <c:pt idx="3039" formatCode="#,##0_);\(#,##0\);&quot;-  &quot;;&quot; &quot;@&quot; &quot;">
                  <c:v>0</c:v>
                </c:pt>
                <c:pt idx="3040" formatCode="#,##0_);\(#,##0\);&quot;-  &quot;;&quot; &quot;@&quot; &quot;">
                  <c:v>0</c:v>
                </c:pt>
                <c:pt idx="3041" formatCode="#,##0_);\(#,##0\);&quot;-  &quot;;&quot; &quot;@&quot; &quot;">
                  <c:v>0</c:v>
                </c:pt>
                <c:pt idx="3042" formatCode="#,##0_);\(#,##0\);&quot;-  &quot;;&quot; &quot;@&quot; &quot;">
                  <c:v>0</c:v>
                </c:pt>
                <c:pt idx="3043" formatCode="#,##0_);\(#,##0\);&quot;-  &quot;;&quot; &quot;@&quot; &quot;">
                  <c:v>0</c:v>
                </c:pt>
                <c:pt idx="3044" formatCode="#,##0_);\(#,##0\);&quot;-  &quot;;&quot; &quot;@&quot; &quot;">
                  <c:v>0</c:v>
                </c:pt>
                <c:pt idx="3045" formatCode="#,##0_);\(#,##0\);&quot;-  &quot;;&quot; &quot;@&quot; &quot;">
                  <c:v>0</c:v>
                </c:pt>
                <c:pt idx="3046" formatCode="#,##0_);\(#,##0\);&quot;-  &quot;;&quot; &quot;@&quot; &quot;">
                  <c:v>0</c:v>
                </c:pt>
                <c:pt idx="3047" formatCode="#,##0_);\(#,##0\);&quot;-  &quot;;&quot; &quot;@&quot; &quot;">
                  <c:v>0</c:v>
                </c:pt>
                <c:pt idx="3048" formatCode="#,##0_);\(#,##0\);&quot;-  &quot;;&quot; &quot;@&quot; &quot;">
                  <c:v>0</c:v>
                </c:pt>
                <c:pt idx="3049" formatCode="#,##0_);\(#,##0\);&quot;-  &quot;;&quot; &quot;@&quot; &quot;">
                  <c:v>0</c:v>
                </c:pt>
                <c:pt idx="3050" formatCode="#,##0_);\(#,##0\);&quot;-  &quot;;&quot; &quot;@&quot; &quot;">
                  <c:v>0</c:v>
                </c:pt>
                <c:pt idx="3051" formatCode="#,##0_);\(#,##0\);&quot;-  &quot;;&quot; &quot;@&quot; &quot;">
                  <c:v>0</c:v>
                </c:pt>
                <c:pt idx="3052" formatCode="#,##0_);\(#,##0\);&quot;-  &quot;;&quot; &quot;@&quot; &quot;">
                  <c:v>0</c:v>
                </c:pt>
                <c:pt idx="3053" formatCode="#,##0_);\(#,##0\);&quot;-  &quot;;&quot; &quot;@&quot; &quot;">
                  <c:v>0</c:v>
                </c:pt>
                <c:pt idx="3054" formatCode="#,##0_);\(#,##0\);&quot;-  &quot;;&quot; &quot;@&quot; &quot;">
                  <c:v>0</c:v>
                </c:pt>
                <c:pt idx="3055" formatCode="#,##0_);\(#,##0\);&quot;-  &quot;;&quot; &quot;@&quot; &quot;">
                  <c:v>0</c:v>
                </c:pt>
                <c:pt idx="3056" formatCode="#,##0_);\(#,##0\);&quot;-  &quot;;&quot; &quot;@&quot; &quot;">
                  <c:v>0</c:v>
                </c:pt>
                <c:pt idx="3057" formatCode="#,##0_);\(#,##0\);&quot;-  &quot;;&quot; &quot;@&quot; &quot;">
                  <c:v>0</c:v>
                </c:pt>
                <c:pt idx="3058" formatCode="#,##0_);\(#,##0\);&quot;-  &quot;;&quot; &quot;@&quot; &quot;">
                  <c:v>0</c:v>
                </c:pt>
                <c:pt idx="3059" formatCode="#,##0_);\(#,##0\);&quot;-  &quot;;&quot; &quot;@&quot; &quot;">
                  <c:v>0</c:v>
                </c:pt>
                <c:pt idx="3060" formatCode="#,##0_);\(#,##0\);&quot;-  &quot;;&quot; &quot;@&quot; &quot;">
                  <c:v>0</c:v>
                </c:pt>
                <c:pt idx="3061" formatCode="#,##0_);\(#,##0\);&quot;-  &quot;;&quot; &quot;@&quot; &quot;">
                  <c:v>0</c:v>
                </c:pt>
                <c:pt idx="3062" formatCode="#,##0_);\(#,##0\);&quot;-  &quot;;&quot; &quot;@&quot; &quot;">
                  <c:v>0</c:v>
                </c:pt>
                <c:pt idx="3063" formatCode="#,##0_);\(#,##0\);&quot;-  &quot;;&quot; &quot;@&quot; &quot;">
                  <c:v>0</c:v>
                </c:pt>
                <c:pt idx="3064" formatCode="#,##0_);\(#,##0\);&quot;-  &quot;;&quot; &quot;@&quot; &quot;">
                  <c:v>0</c:v>
                </c:pt>
                <c:pt idx="3065" formatCode="#,##0_);\(#,##0\);&quot;-  &quot;;&quot; &quot;@&quot; &quot;">
                  <c:v>0</c:v>
                </c:pt>
                <c:pt idx="3066" formatCode="#,##0_);\(#,##0\);&quot;-  &quot;;&quot; &quot;@&quot; &quot;">
                  <c:v>0</c:v>
                </c:pt>
                <c:pt idx="3067" formatCode="#,##0_);\(#,##0\);&quot;-  &quot;;&quot; &quot;@&quot; &quot;">
                  <c:v>0</c:v>
                </c:pt>
                <c:pt idx="3068" formatCode="#,##0_);\(#,##0\);&quot;-  &quot;;&quot; &quot;@&quot; &quot;">
                  <c:v>0</c:v>
                </c:pt>
                <c:pt idx="3069" formatCode="#,##0_);\(#,##0\);&quot;-  &quot;;&quot; &quot;@&quot; &quot;">
                  <c:v>0</c:v>
                </c:pt>
                <c:pt idx="3070" formatCode="#,##0_);\(#,##0\);&quot;-  &quot;;&quot; &quot;@&quot; &quot;">
                  <c:v>0</c:v>
                </c:pt>
                <c:pt idx="3071" formatCode="#,##0_);\(#,##0\);&quot;-  &quot;;&quot; &quot;@&quot; &quot;">
                  <c:v>0</c:v>
                </c:pt>
                <c:pt idx="3072" formatCode="#,##0_);\(#,##0\);&quot;-  &quot;;&quot; &quot;@&quot; &quot;">
                  <c:v>0</c:v>
                </c:pt>
                <c:pt idx="3073" formatCode="#,##0_);\(#,##0\);&quot;-  &quot;;&quot; &quot;@&quot; &quot;">
                  <c:v>0</c:v>
                </c:pt>
                <c:pt idx="3074" formatCode="#,##0_);\(#,##0\);&quot;-  &quot;;&quot; &quot;@&quot; &quot;">
                  <c:v>0</c:v>
                </c:pt>
                <c:pt idx="3075" formatCode="#,##0_);\(#,##0\);&quot;-  &quot;;&quot; &quot;@&quot; &quot;">
                  <c:v>0</c:v>
                </c:pt>
                <c:pt idx="3076" formatCode="#,##0_);\(#,##0\);&quot;-  &quot;;&quot; &quot;@&quot; &quot;">
                  <c:v>0</c:v>
                </c:pt>
                <c:pt idx="3077" formatCode="#,##0_);\(#,##0\);&quot;-  &quot;;&quot; &quot;@&quot; &quot;">
                  <c:v>0</c:v>
                </c:pt>
                <c:pt idx="3078" formatCode="#,##0_);\(#,##0\);&quot;-  &quot;;&quot; &quot;@&quot; &quot;">
                  <c:v>0</c:v>
                </c:pt>
                <c:pt idx="3079" formatCode="#,##0_);\(#,##0\);&quot;-  &quot;;&quot; &quot;@&quot; &quot;">
                  <c:v>0</c:v>
                </c:pt>
                <c:pt idx="3080" formatCode="#,##0_);\(#,##0\);&quot;-  &quot;;&quot; &quot;@&quot; &quot;">
                  <c:v>0</c:v>
                </c:pt>
                <c:pt idx="3081" formatCode="#,##0_);\(#,##0\);&quot;-  &quot;;&quot; &quot;@&quot; &quot;">
                  <c:v>0</c:v>
                </c:pt>
                <c:pt idx="3082" formatCode="#,##0_);\(#,##0\);&quot;-  &quot;;&quot; &quot;@&quot; &quot;">
                  <c:v>0</c:v>
                </c:pt>
                <c:pt idx="3083" formatCode="#,##0_);\(#,##0\);&quot;-  &quot;;&quot; &quot;@&quot; &quot;">
                  <c:v>0</c:v>
                </c:pt>
                <c:pt idx="3084" formatCode="#,##0_);\(#,##0\);&quot;-  &quot;;&quot; &quot;@&quot; &quot;">
                  <c:v>0</c:v>
                </c:pt>
                <c:pt idx="3085" formatCode="#,##0_);\(#,##0\);&quot;-  &quot;;&quot; &quot;@&quot; &quot;">
                  <c:v>0</c:v>
                </c:pt>
                <c:pt idx="3086" formatCode="#,##0_);\(#,##0\);&quot;-  &quot;;&quot; &quot;@&quot; &quot;">
                  <c:v>0</c:v>
                </c:pt>
                <c:pt idx="3087" formatCode="#,##0_);\(#,##0\);&quot;-  &quot;;&quot; &quot;@&quot; &quot;">
                  <c:v>0</c:v>
                </c:pt>
                <c:pt idx="3088" formatCode="#,##0_);\(#,##0\);&quot;-  &quot;;&quot; &quot;@&quot; &quot;">
                  <c:v>0</c:v>
                </c:pt>
                <c:pt idx="3089" formatCode="#,##0_);\(#,##0\);&quot;-  &quot;;&quot; &quot;@&quot; &quot;">
                  <c:v>0</c:v>
                </c:pt>
                <c:pt idx="3090" formatCode="#,##0_);\(#,##0\);&quot;-  &quot;;&quot; &quot;@&quot; &quot;">
                  <c:v>0</c:v>
                </c:pt>
                <c:pt idx="3091" formatCode="#,##0_);\(#,##0\);&quot;-  &quot;;&quot; &quot;@&quot; &quot;">
                  <c:v>0</c:v>
                </c:pt>
                <c:pt idx="3092" formatCode="#,##0_);\(#,##0\);&quot;-  &quot;;&quot; &quot;@&quot; &quot;">
                  <c:v>0</c:v>
                </c:pt>
                <c:pt idx="3093" formatCode="#,##0_);\(#,##0\);&quot;-  &quot;;&quot; &quot;@&quot; &quot;">
                  <c:v>0</c:v>
                </c:pt>
                <c:pt idx="3094" formatCode="#,##0_);\(#,##0\);&quot;-  &quot;;&quot; &quot;@&quot; &quot;">
                  <c:v>0</c:v>
                </c:pt>
                <c:pt idx="3095" formatCode="#,##0_);\(#,##0\);&quot;-  &quot;;&quot; &quot;@&quot; &quot;">
                  <c:v>0</c:v>
                </c:pt>
                <c:pt idx="3096" formatCode="#,##0_);\(#,##0\);&quot;-  &quot;;&quot; &quot;@&quot; &quot;">
                  <c:v>0</c:v>
                </c:pt>
                <c:pt idx="3097" formatCode="#,##0_);\(#,##0\);&quot;-  &quot;;&quot; &quot;@&quot; &quot;">
                  <c:v>0</c:v>
                </c:pt>
                <c:pt idx="3098" formatCode="#,##0_);\(#,##0\);&quot;-  &quot;;&quot; &quot;@&quot; &quot;">
                  <c:v>0</c:v>
                </c:pt>
                <c:pt idx="3099" formatCode="#,##0_);\(#,##0\);&quot;-  &quot;;&quot; &quot;@&quot; &quot;">
                  <c:v>0</c:v>
                </c:pt>
                <c:pt idx="3100" formatCode="#,##0_);\(#,##0\);&quot;-  &quot;;&quot; &quot;@&quot; &quot;">
                  <c:v>0</c:v>
                </c:pt>
                <c:pt idx="3101" formatCode="#,##0_);\(#,##0\);&quot;-  &quot;;&quot; &quot;@&quot; &quot;">
                  <c:v>0</c:v>
                </c:pt>
                <c:pt idx="3102" formatCode="#,##0_);\(#,##0\);&quot;-  &quot;;&quot; &quot;@&quot; &quot;">
                  <c:v>0</c:v>
                </c:pt>
                <c:pt idx="3103" formatCode="#,##0_);\(#,##0\);&quot;-  &quot;;&quot; &quot;@&quot; &quot;">
                  <c:v>0</c:v>
                </c:pt>
                <c:pt idx="3104" formatCode="#,##0_);\(#,##0\);&quot;-  &quot;;&quot; &quot;@&quot; &quot;">
                  <c:v>0</c:v>
                </c:pt>
                <c:pt idx="3105" formatCode="#,##0_);\(#,##0\);&quot;-  &quot;;&quot; &quot;@&quot; &quot;">
                  <c:v>0</c:v>
                </c:pt>
                <c:pt idx="3106" formatCode="#,##0_);\(#,##0\);&quot;-  &quot;;&quot; &quot;@&quot; &quot;">
                  <c:v>0</c:v>
                </c:pt>
                <c:pt idx="3107" formatCode="#,##0_);\(#,##0\);&quot;-  &quot;;&quot; &quot;@&quot; &quot;">
                  <c:v>0</c:v>
                </c:pt>
                <c:pt idx="3108" formatCode="#,##0_);\(#,##0\);&quot;-  &quot;;&quot; &quot;@&quot; &quot;">
                  <c:v>0</c:v>
                </c:pt>
                <c:pt idx="3109" formatCode="#,##0_);\(#,##0\);&quot;-  &quot;;&quot; &quot;@&quot; &quot;">
                  <c:v>0</c:v>
                </c:pt>
                <c:pt idx="3110" formatCode="#,##0_);\(#,##0\);&quot;-  &quot;;&quot; &quot;@&quot; &quot;">
                  <c:v>0</c:v>
                </c:pt>
                <c:pt idx="3111" formatCode="#,##0_);\(#,##0\);&quot;-  &quot;;&quot; &quot;@&quot; &quot;">
                  <c:v>0</c:v>
                </c:pt>
                <c:pt idx="3112" formatCode="#,##0_);\(#,##0\);&quot;-  &quot;;&quot; &quot;@&quot; &quot;">
                  <c:v>0</c:v>
                </c:pt>
                <c:pt idx="3113" formatCode="#,##0_);\(#,##0\);&quot;-  &quot;;&quot; &quot;@&quot; &quot;">
                  <c:v>0</c:v>
                </c:pt>
                <c:pt idx="3114" formatCode="#,##0_);\(#,##0\);&quot;-  &quot;;&quot; &quot;@&quot; &quot;">
                  <c:v>0</c:v>
                </c:pt>
                <c:pt idx="3115" formatCode="#,##0_);\(#,##0\);&quot;-  &quot;;&quot; &quot;@&quot; &quot;">
                  <c:v>0</c:v>
                </c:pt>
                <c:pt idx="3116" formatCode="#,##0_);\(#,##0\);&quot;-  &quot;;&quot; &quot;@&quot; &quot;">
                  <c:v>0</c:v>
                </c:pt>
                <c:pt idx="3117" formatCode="#,##0_);\(#,##0\);&quot;-  &quot;;&quot; &quot;@&quot; &quot;">
                  <c:v>0</c:v>
                </c:pt>
                <c:pt idx="3118" formatCode="#,##0_);\(#,##0\);&quot;-  &quot;;&quot; &quot;@&quot; &quot;">
                  <c:v>0</c:v>
                </c:pt>
                <c:pt idx="3119" formatCode="#,##0_);\(#,##0\);&quot;-  &quot;;&quot; &quot;@&quot; &quot;">
                  <c:v>0</c:v>
                </c:pt>
                <c:pt idx="3120" formatCode="#,##0_);\(#,##0\);&quot;-  &quot;;&quot; &quot;@&quot; &quot;">
                  <c:v>0</c:v>
                </c:pt>
                <c:pt idx="3121" formatCode="#,##0_);\(#,##0\);&quot;-  &quot;;&quot; &quot;@&quot; &quot;">
                  <c:v>0</c:v>
                </c:pt>
                <c:pt idx="3122" formatCode="#,##0_);\(#,##0\);&quot;-  &quot;;&quot; &quot;@&quot; &quot;">
                  <c:v>0</c:v>
                </c:pt>
                <c:pt idx="3123" formatCode="#,##0_);\(#,##0\);&quot;-  &quot;;&quot; &quot;@&quot; &quot;">
                  <c:v>0</c:v>
                </c:pt>
                <c:pt idx="3124" formatCode="#,##0_);\(#,##0\);&quot;-  &quot;;&quot; &quot;@&quot; &quot;">
                  <c:v>0</c:v>
                </c:pt>
                <c:pt idx="3125" formatCode="#,##0_);\(#,##0\);&quot;-  &quot;;&quot; &quot;@&quot; &quot;">
                  <c:v>0</c:v>
                </c:pt>
                <c:pt idx="3126" formatCode="#,##0_);\(#,##0\);&quot;-  &quot;;&quot; &quot;@&quot; &quot;">
                  <c:v>0</c:v>
                </c:pt>
                <c:pt idx="3127" formatCode="#,##0_);\(#,##0\);&quot;-  &quot;;&quot; &quot;@&quot; &quot;">
                  <c:v>0</c:v>
                </c:pt>
                <c:pt idx="3128" formatCode="#,##0_);\(#,##0\);&quot;-  &quot;;&quot; &quot;@&quot; &quot;">
                  <c:v>0</c:v>
                </c:pt>
                <c:pt idx="3129" formatCode="#,##0_);\(#,##0\);&quot;-  &quot;;&quot; &quot;@&quot; &quot;">
                  <c:v>0</c:v>
                </c:pt>
                <c:pt idx="3130" formatCode="#,##0_);\(#,##0\);&quot;-  &quot;;&quot; &quot;@&quot; &quot;">
                  <c:v>0</c:v>
                </c:pt>
                <c:pt idx="3131" formatCode="#,##0_);\(#,##0\);&quot;-  &quot;;&quot; &quot;@&quot; &quot;">
                  <c:v>0</c:v>
                </c:pt>
                <c:pt idx="3132" formatCode="#,##0_);\(#,##0\);&quot;-  &quot;;&quot; &quot;@&quot; &quot;">
                  <c:v>0</c:v>
                </c:pt>
                <c:pt idx="3133" formatCode="#,##0_);\(#,##0\);&quot;-  &quot;;&quot; &quot;@&quot; &quot;">
                  <c:v>0</c:v>
                </c:pt>
                <c:pt idx="3134" formatCode="#,##0_);\(#,##0\);&quot;-  &quot;;&quot; &quot;@&quot; &quot;">
                  <c:v>0</c:v>
                </c:pt>
                <c:pt idx="3135" formatCode="#,##0_);\(#,##0\);&quot;-  &quot;;&quot; &quot;@&quot; &quot;">
                  <c:v>0</c:v>
                </c:pt>
                <c:pt idx="3136" formatCode="#,##0_);\(#,##0\);&quot;-  &quot;;&quot; &quot;@&quot; &quot;">
                  <c:v>0</c:v>
                </c:pt>
                <c:pt idx="3137" formatCode="#,##0_);\(#,##0\);&quot;-  &quot;;&quot; &quot;@&quot; &quot;">
                  <c:v>0</c:v>
                </c:pt>
                <c:pt idx="3138" formatCode="#,##0_);\(#,##0\);&quot;-  &quot;;&quot; &quot;@&quot; &quot;">
                  <c:v>0</c:v>
                </c:pt>
                <c:pt idx="3139" formatCode="#,##0_);\(#,##0\);&quot;-  &quot;;&quot; &quot;@&quot; &quot;">
                  <c:v>0</c:v>
                </c:pt>
                <c:pt idx="3140" formatCode="#,##0_);\(#,##0\);&quot;-  &quot;;&quot; &quot;@&quot; &quot;">
                  <c:v>0</c:v>
                </c:pt>
                <c:pt idx="3141" formatCode="#,##0_);\(#,##0\);&quot;-  &quot;;&quot; &quot;@&quot; &quot;">
                  <c:v>0</c:v>
                </c:pt>
                <c:pt idx="3142" formatCode="#,##0_);\(#,##0\);&quot;-  &quot;;&quot; &quot;@&quot; &quot;">
                  <c:v>0</c:v>
                </c:pt>
                <c:pt idx="3143" formatCode="#,##0_);\(#,##0\);&quot;-  &quot;;&quot; &quot;@&quot; &quot;">
                  <c:v>0</c:v>
                </c:pt>
                <c:pt idx="3144" formatCode="#,##0_);\(#,##0\);&quot;-  &quot;;&quot; &quot;@&quot; &quot;">
                  <c:v>0</c:v>
                </c:pt>
                <c:pt idx="3145" formatCode="#,##0_);\(#,##0\);&quot;-  &quot;;&quot; &quot;@&quot; &quot;">
                  <c:v>0</c:v>
                </c:pt>
                <c:pt idx="3146" formatCode="#,##0_);\(#,##0\);&quot;-  &quot;;&quot; &quot;@&quot; &quot;">
                  <c:v>0</c:v>
                </c:pt>
                <c:pt idx="3147" formatCode="#,##0_);\(#,##0\);&quot;-  &quot;;&quot; &quot;@&quot; &quot;">
                  <c:v>0</c:v>
                </c:pt>
                <c:pt idx="3148" formatCode="#,##0_);\(#,##0\);&quot;-  &quot;;&quot; &quot;@&quot; &quot;">
                  <c:v>0</c:v>
                </c:pt>
                <c:pt idx="3149" formatCode="#,##0_);\(#,##0\);&quot;-  &quot;;&quot; &quot;@&quot; &quot;">
                  <c:v>0</c:v>
                </c:pt>
                <c:pt idx="3150" formatCode="#,##0_);\(#,##0\);&quot;-  &quot;;&quot; &quot;@&quot; &quot;">
                  <c:v>0</c:v>
                </c:pt>
                <c:pt idx="3151" formatCode="#,##0_);\(#,##0\);&quot;-  &quot;;&quot; &quot;@&quot; &quot;">
                  <c:v>0</c:v>
                </c:pt>
                <c:pt idx="3152" formatCode="#,##0_);\(#,##0\);&quot;-  &quot;;&quot; &quot;@&quot; &quot;">
                  <c:v>0</c:v>
                </c:pt>
                <c:pt idx="3153" formatCode="#,##0_);\(#,##0\);&quot;-  &quot;;&quot; &quot;@&quot; &quot;">
                  <c:v>0</c:v>
                </c:pt>
                <c:pt idx="3154" formatCode="#,##0_);\(#,##0\);&quot;-  &quot;;&quot; &quot;@&quot; &quot;">
                  <c:v>0</c:v>
                </c:pt>
                <c:pt idx="3155" formatCode="#,##0_);\(#,##0\);&quot;-  &quot;;&quot; &quot;@&quot; &quot;">
                  <c:v>0</c:v>
                </c:pt>
                <c:pt idx="3156" formatCode="#,##0_);\(#,##0\);&quot;-  &quot;;&quot; &quot;@&quot; &quot;">
                  <c:v>0</c:v>
                </c:pt>
                <c:pt idx="3157" formatCode="#,##0_);\(#,##0\);&quot;-  &quot;;&quot; &quot;@&quot; &quot;">
                  <c:v>0</c:v>
                </c:pt>
                <c:pt idx="3158" formatCode="#,##0_);\(#,##0\);&quot;-  &quot;;&quot; &quot;@&quot; &quot;">
                  <c:v>0</c:v>
                </c:pt>
                <c:pt idx="3159" formatCode="#,##0_);\(#,##0\);&quot;-  &quot;;&quot; &quot;@&quot; &quot;">
                  <c:v>0</c:v>
                </c:pt>
                <c:pt idx="3160" formatCode="#,##0_);\(#,##0\);&quot;-  &quot;;&quot; &quot;@&quot; &quot;">
                  <c:v>0</c:v>
                </c:pt>
                <c:pt idx="3161" formatCode="#,##0_);\(#,##0\);&quot;-  &quot;;&quot; &quot;@&quot; &quot;">
                  <c:v>0</c:v>
                </c:pt>
                <c:pt idx="3162" formatCode="#,##0_);\(#,##0\);&quot;-  &quot;;&quot; &quot;@&quot; &quot;">
                  <c:v>0</c:v>
                </c:pt>
                <c:pt idx="3163" formatCode="#,##0_);\(#,##0\);&quot;-  &quot;;&quot; &quot;@&quot; &quot;">
                  <c:v>0</c:v>
                </c:pt>
                <c:pt idx="3164" formatCode="#,##0_);\(#,##0\);&quot;-  &quot;;&quot; &quot;@&quot; &quot;">
                  <c:v>0</c:v>
                </c:pt>
                <c:pt idx="3165" formatCode="#,##0_);\(#,##0\);&quot;-  &quot;;&quot; &quot;@&quot; &quot;">
                  <c:v>0</c:v>
                </c:pt>
                <c:pt idx="3166" formatCode="#,##0_);\(#,##0\);&quot;-  &quot;;&quot; &quot;@&quot; &quot;">
                  <c:v>0</c:v>
                </c:pt>
                <c:pt idx="3167" formatCode="#,##0_);\(#,##0\);&quot;-  &quot;;&quot; &quot;@&quot; &quot;">
                  <c:v>0</c:v>
                </c:pt>
                <c:pt idx="3168" formatCode="#,##0_);\(#,##0\);&quot;-  &quot;;&quot; &quot;@&quot; &quot;">
                  <c:v>0</c:v>
                </c:pt>
                <c:pt idx="3169" formatCode="#,##0_);\(#,##0\);&quot;-  &quot;;&quot; &quot;@&quot; &quot;">
                  <c:v>0</c:v>
                </c:pt>
                <c:pt idx="3170" formatCode="#,##0_);\(#,##0\);&quot;-  &quot;;&quot; &quot;@&quot; &quot;">
                  <c:v>0</c:v>
                </c:pt>
                <c:pt idx="3171" formatCode="#,##0_);\(#,##0\);&quot;-  &quot;;&quot; &quot;@&quot; &quot;">
                  <c:v>0</c:v>
                </c:pt>
                <c:pt idx="3172" formatCode="#,##0_);\(#,##0\);&quot;-  &quot;;&quot; &quot;@&quot; &quot;">
                  <c:v>0</c:v>
                </c:pt>
                <c:pt idx="3173" formatCode="#,##0_);\(#,##0\);&quot;-  &quot;;&quot; &quot;@&quot; &quot;">
                  <c:v>0</c:v>
                </c:pt>
                <c:pt idx="3174" formatCode="#,##0_);\(#,##0\);&quot;-  &quot;;&quot; &quot;@&quot; &quot;">
                  <c:v>0</c:v>
                </c:pt>
                <c:pt idx="3175" formatCode="#,##0_);\(#,##0\);&quot;-  &quot;;&quot; &quot;@&quot; &quot;">
                  <c:v>0</c:v>
                </c:pt>
                <c:pt idx="3176" formatCode="#,##0_);\(#,##0\);&quot;-  &quot;;&quot; &quot;@&quot; &quot;">
                  <c:v>0</c:v>
                </c:pt>
                <c:pt idx="3177" formatCode="#,##0_);\(#,##0\);&quot;-  &quot;;&quot; &quot;@&quot; &quot;">
                  <c:v>0</c:v>
                </c:pt>
                <c:pt idx="3178" formatCode="#,##0_);\(#,##0\);&quot;-  &quot;;&quot; &quot;@&quot; &quot;">
                  <c:v>0</c:v>
                </c:pt>
                <c:pt idx="3179" formatCode="#,##0_);\(#,##0\);&quot;-  &quot;;&quot; &quot;@&quot; &quot;">
                  <c:v>0</c:v>
                </c:pt>
                <c:pt idx="3180" formatCode="#,##0_);\(#,##0\);&quot;-  &quot;;&quot; &quot;@&quot; &quot;">
                  <c:v>0</c:v>
                </c:pt>
                <c:pt idx="3181" formatCode="#,##0_);\(#,##0\);&quot;-  &quot;;&quot; &quot;@&quot; &quot;">
                  <c:v>0</c:v>
                </c:pt>
                <c:pt idx="3182" formatCode="#,##0_);\(#,##0\);&quot;-  &quot;;&quot; &quot;@&quot; &quot;">
                  <c:v>0</c:v>
                </c:pt>
                <c:pt idx="3183" formatCode="#,##0_);\(#,##0\);&quot;-  &quot;;&quot; &quot;@&quot; &quot;">
                  <c:v>0</c:v>
                </c:pt>
                <c:pt idx="3184" formatCode="#,##0_);\(#,##0\);&quot;-  &quot;;&quot; &quot;@&quot; &quot;">
                  <c:v>0</c:v>
                </c:pt>
                <c:pt idx="3185" formatCode="#,##0_);\(#,##0\);&quot;-  &quot;;&quot; &quot;@&quot; &quot;">
                  <c:v>0</c:v>
                </c:pt>
                <c:pt idx="3186" formatCode="#,##0_);\(#,##0\);&quot;-  &quot;;&quot; &quot;@&quot; &quot;">
                  <c:v>0</c:v>
                </c:pt>
                <c:pt idx="3187" formatCode="#,##0_);\(#,##0\);&quot;-  &quot;;&quot; &quot;@&quot; &quot;">
                  <c:v>0</c:v>
                </c:pt>
                <c:pt idx="3188" formatCode="#,##0_);\(#,##0\);&quot;-  &quot;;&quot; &quot;@&quot; &quot;">
                  <c:v>0</c:v>
                </c:pt>
                <c:pt idx="3189" formatCode="#,##0_);\(#,##0\);&quot;-  &quot;;&quot; &quot;@&quot; &quot;">
                  <c:v>0</c:v>
                </c:pt>
                <c:pt idx="3190" formatCode="#,##0_);\(#,##0\);&quot;-  &quot;;&quot; &quot;@&quot; &quot;">
                  <c:v>0</c:v>
                </c:pt>
                <c:pt idx="3191" formatCode="#,##0_);\(#,##0\);&quot;-  &quot;;&quot; &quot;@&quot; &quot;">
                  <c:v>0</c:v>
                </c:pt>
                <c:pt idx="3192" formatCode="#,##0_);\(#,##0\);&quot;-  &quot;;&quot; &quot;@&quot; &quot;">
                  <c:v>0</c:v>
                </c:pt>
                <c:pt idx="3193" formatCode="#,##0_);\(#,##0\);&quot;-  &quot;;&quot; &quot;@&quot; &quot;">
                  <c:v>0</c:v>
                </c:pt>
                <c:pt idx="3194" formatCode="#,##0_);\(#,##0\);&quot;-  &quot;;&quot; &quot;@&quot; &quot;">
                  <c:v>0</c:v>
                </c:pt>
                <c:pt idx="3195" formatCode="#,##0_);\(#,##0\);&quot;-  &quot;;&quot; &quot;@&quot; &quot;">
                  <c:v>0</c:v>
                </c:pt>
                <c:pt idx="3196" formatCode="#,##0_);\(#,##0\);&quot;-  &quot;;&quot; &quot;@&quot; &quot;">
                  <c:v>0</c:v>
                </c:pt>
                <c:pt idx="3197" formatCode="#,##0_);\(#,##0\);&quot;-  &quot;;&quot; &quot;@&quot; &quot;">
                  <c:v>0</c:v>
                </c:pt>
                <c:pt idx="3198" formatCode="#,##0_);\(#,##0\);&quot;-  &quot;;&quot; &quot;@&quot; &quot;">
                  <c:v>0</c:v>
                </c:pt>
                <c:pt idx="3199" formatCode="#,##0_);\(#,##0\);&quot;-  &quot;;&quot; &quot;@&quot; &quot;">
                  <c:v>0</c:v>
                </c:pt>
                <c:pt idx="3200" formatCode="#,##0_);\(#,##0\);&quot;-  &quot;;&quot; &quot;@&quot; &quot;">
                  <c:v>0</c:v>
                </c:pt>
                <c:pt idx="3201" formatCode="#,##0_);\(#,##0\);&quot;-  &quot;;&quot; &quot;@&quot; &quot;">
                  <c:v>0</c:v>
                </c:pt>
                <c:pt idx="3202" formatCode="#,##0_);\(#,##0\);&quot;-  &quot;;&quot; &quot;@&quot; &quot;">
                  <c:v>0</c:v>
                </c:pt>
                <c:pt idx="3203" formatCode="#,##0_);\(#,##0\);&quot;-  &quot;;&quot; &quot;@&quot; &quot;">
                  <c:v>0</c:v>
                </c:pt>
                <c:pt idx="3204" formatCode="#,##0_);\(#,##0\);&quot;-  &quot;;&quot; &quot;@&quot; &quot;">
                  <c:v>0</c:v>
                </c:pt>
                <c:pt idx="3205" formatCode="#,##0_);\(#,##0\);&quot;-  &quot;;&quot; &quot;@&quot; &quot;">
                  <c:v>0</c:v>
                </c:pt>
                <c:pt idx="3206" formatCode="#,##0_);\(#,##0\);&quot;-  &quot;;&quot; &quot;@&quot; &quot;">
                  <c:v>0</c:v>
                </c:pt>
                <c:pt idx="3207" formatCode="#,##0_);\(#,##0\);&quot;-  &quot;;&quot; &quot;@&quot; &quot;">
                  <c:v>0</c:v>
                </c:pt>
                <c:pt idx="3208" formatCode="#,##0_);\(#,##0\);&quot;-  &quot;;&quot; &quot;@&quot; &quot;">
                  <c:v>0</c:v>
                </c:pt>
                <c:pt idx="3209" formatCode="#,##0_);\(#,##0\);&quot;-  &quot;;&quot; &quot;@&quot; &quot;">
                  <c:v>0</c:v>
                </c:pt>
                <c:pt idx="3210" formatCode="#,##0_);\(#,##0\);&quot;-  &quot;;&quot; &quot;@&quot; &quot;">
                  <c:v>0</c:v>
                </c:pt>
                <c:pt idx="3211" formatCode="#,##0_);\(#,##0\);&quot;-  &quot;;&quot; &quot;@&quot; &quot;">
                  <c:v>0</c:v>
                </c:pt>
                <c:pt idx="3212" formatCode="#,##0_);\(#,##0\);&quot;-  &quot;;&quot; &quot;@&quot; &quot;">
                  <c:v>0</c:v>
                </c:pt>
                <c:pt idx="3213" formatCode="#,##0_);\(#,##0\);&quot;-  &quot;;&quot; &quot;@&quot; &quot;">
                  <c:v>0</c:v>
                </c:pt>
                <c:pt idx="3214" formatCode="#,##0_);\(#,##0\);&quot;-  &quot;;&quot; &quot;@&quot; &quot;">
                  <c:v>0</c:v>
                </c:pt>
                <c:pt idx="3215" formatCode="#,##0_);\(#,##0\);&quot;-  &quot;;&quot; &quot;@&quot; &quot;">
                  <c:v>0</c:v>
                </c:pt>
                <c:pt idx="3216" formatCode="#,##0_);\(#,##0\);&quot;-  &quot;;&quot; &quot;@&quot; &quot;">
                  <c:v>0</c:v>
                </c:pt>
                <c:pt idx="3217" formatCode="#,##0_);\(#,##0\);&quot;-  &quot;;&quot; &quot;@&quot; &quot;">
                  <c:v>0</c:v>
                </c:pt>
                <c:pt idx="3218" formatCode="#,##0_);\(#,##0\);&quot;-  &quot;;&quot; &quot;@&quot; &quot;">
                  <c:v>0</c:v>
                </c:pt>
                <c:pt idx="3219" formatCode="#,##0_);\(#,##0\);&quot;-  &quot;;&quot; &quot;@&quot; &quot;">
                  <c:v>0</c:v>
                </c:pt>
                <c:pt idx="3220" formatCode="#,##0_);\(#,##0\);&quot;-  &quot;;&quot; &quot;@&quot; &quot;">
                  <c:v>0</c:v>
                </c:pt>
                <c:pt idx="3221" formatCode="#,##0_);\(#,##0\);&quot;-  &quot;;&quot; &quot;@&quot; &quot;">
                  <c:v>0</c:v>
                </c:pt>
                <c:pt idx="3222" formatCode="#,##0_);\(#,##0\);&quot;-  &quot;;&quot; &quot;@&quot; &quot;">
                  <c:v>0</c:v>
                </c:pt>
                <c:pt idx="3223" formatCode="#,##0_);\(#,##0\);&quot;-  &quot;;&quot; &quot;@&quot; &quot;">
                  <c:v>0</c:v>
                </c:pt>
                <c:pt idx="3224" formatCode="#,##0_);\(#,##0\);&quot;-  &quot;;&quot; &quot;@&quot; &quot;">
                  <c:v>0</c:v>
                </c:pt>
                <c:pt idx="3225" formatCode="#,##0_);\(#,##0\);&quot;-  &quot;;&quot; &quot;@&quot; &quot;">
                  <c:v>0</c:v>
                </c:pt>
                <c:pt idx="3226" formatCode="#,##0_);\(#,##0\);&quot;-  &quot;;&quot; &quot;@&quot; &quot;">
                  <c:v>0</c:v>
                </c:pt>
                <c:pt idx="3227" formatCode="#,##0_);\(#,##0\);&quot;-  &quot;;&quot; &quot;@&quot; &quot;">
                  <c:v>0</c:v>
                </c:pt>
                <c:pt idx="3228" formatCode="#,##0_);\(#,##0\);&quot;-  &quot;;&quot; &quot;@&quot; &quot;">
                  <c:v>0</c:v>
                </c:pt>
                <c:pt idx="3229" formatCode="#,##0_);\(#,##0\);&quot;-  &quot;;&quot; &quot;@&quot; &quot;">
                  <c:v>0</c:v>
                </c:pt>
                <c:pt idx="3230" formatCode="#,##0_);\(#,##0\);&quot;-  &quot;;&quot; &quot;@&quot; &quot;">
                  <c:v>0</c:v>
                </c:pt>
                <c:pt idx="3231" formatCode="#,##0_);\(#,##0\);&quot;-  &quot;;&quot; &quot;@&quot; &quot;">
                  <c:v>0</c:v>
                </c:pt>
                <c:pt idx="3232" formatCode="#,##0_);\(#,##0\);&quot;-  &quot;;&quot; &quot;@&quot; &quot;">
                  <c:v>0</c:v>
                </c:pt>
                <c:pt idx="3233" formatCode="#,##0_);\(#,##0\);&quot;-  &quot;;&quot; &quot;@&quot; &quot;">
                  <c:v>0</c:v>
                </c:pt>
                <c:pt idx="3234" formatCode="#,##0_);\(#,##0\);&quot;-  &quot;;&quot; &quot;@&quot; &quot;">
                  <c:v>0</c:v>
                </c:pt>
                <c:pt idx="3235" formatCode="#,##0_);\(#,##0\);&quot;-  &quot;;&quot; &quot;@&quot; &quot;">
                  <c:v>0</c:v>
                </c:pt>
                <c:pt idx="3236" formatCode="#,##0_);\(#,##0\);&quot;-  &quot;;&quot; &quot;@&quot; &quot;">
                  <c:v>0</c:v>
                </c:pt>
                <c:pt idx="3237" formatCode="#,##0_);\(#,##0\);&quot;-  &quot;;&quot; &quot;@&quot; &quot;">
                  <c:v>0</c:v>
                </c:pt>
                <c:pt idx="3238" formatCode="#,##0_);\(#,##0\);&quot;-  &quot;;&quot; &quot;@&quot; &quot;">
                  <c:v>0</c:v>
                </c:pt>
                <c:pt idx="3239" formatCode="#,##0_);\(#,##0\);&quot;-  &quot;;&quot; &quot;@&quot; &quot;">
                  <c:v>0</c:v>
                </c:pt>
                <c:pt idx="3240" formatCode="#,##0_);\(#,##0\);&quot;-  &quot;;&quot; &quot;@&quot; &quot;">
                  <c:v>0</c:v>
                </c:pt>
                <c:pt idx="3241" formatCode="#,##0_);\(#,##0\);&quot;-  &quot;;&quot; &quot;@&quot; &quot;">
                  <c:v>0</c:v>
                </c:pt>
                <c:pt idx="3242" formatCode="#,##0_);\(#,##0\);&quot;-  &quot;;&quot; &quot;@&quot; &quot;">
                  <c:v>0</c:v>
                </c:pt>
                <c:pt idx="3243" formatCode="#,##0_);\(#,##0\);&quot;-  &quot;;&quot; &quot;@&quot; &quot;">
                  <c:v>0</c:v>
                </c:pt>
                <c:pt idx="3244" formatCode="#,##0_);\(#,##0\);&quot;-  &quot;;&quot; &quot;@&quot; &quot;">
                  <c:v>0</c:v>
                </c:pt>
                <c:pt idx="3245" formatCode="#,##0_);\(#,##0\);&quot;-  &quot;;&quot; &quot;@&quot; &quot;">
                  <c:v>0</c:v>
                </c:pt>
                <c:pt idx="3246" formatCode="#,##0_);\(#,##0\);&quot;-  &quot;;&quot; &quot;@&quot; &quot;">
                  <c:v>0</c:v>
                </c:pt>
                <c:pt idx="3247" formatCode="#,##0_);\(#,##0\);&quot;-  &quot;;&quot; &quot;@&quot; &quot;">
                  <c:v>0</c:v>
                </c:pt>
                <c:pt idx="3248" formatCode="#,##0_);\(#,##0\);&quot;-  &quot;;&quot; &quot;@&quot; &quot;">
                  <c:v>0</c:v>
                </c:pt>
                <c:pt idx="3249" formatCode="#,##0_);\(#,##0\);&quot;-  &quot;;&quot; &quot;@&quot; &quot;">
                  <c:v>0</c:v>
                </c:pt>
                <c:pt idx="3250" formatCode="#,##0_);\(#,##0\);&quot;-  &quot;;&quot; &quot;@&quot; &quot;">
                  <c:v>0</c:v>
                </c:pt>
                <c:pt idx="3251" formatCode="#,##0_);\(#,##0\);&quot;-  &quot;;&quot; &quot;@&quot; &quot;">
                  <c:v>0</c:v>
                </c:pt>
                <c:pt idx="3252" formatCode="#,##0_);\(#,##0\);&quot;-  &quot;;&quot; &quot;@&quot; &quot;">
                  <c:v>0</c:v>
                </c:pt>
                <c:pt idx="3253" formatCode="#,##0_);\(#,##0\);&quot;-  &quot;;&quot; &quot;@&quot; &quot;">
                  <c:v>0</c:v>
                </c:pt>
                <c:pt idx="3254" formatCode="#,##0_);\(#,##0\);&quot;-  &quot;;&quot; &quot;@&quot; &quot;">
                  <c:v>0</c:v>
                </c:pt>
                <c:pt idx="3255" formatCode="#,##0_);\(#,##0\);&quot;-  &quot;;&quot; &quot;@&quot; &quot;">
                  <c:v>0</c:v>
                </c:pt>
                <c:pt idx="3256" formatCode="#,##0_);\(#,##0\);&quot;-  &quot;;&quot; &quot;@&quot; &quot;">
                  <c:v>0</c:v>
                </c:pt>
                <c:pt idx="3257" formatCode="#,##0_);\(#,##0\);&quot;-  &quot;;&quot; &quot;@&quot; &quot;">
                  <c:v>0</c:v>
                </c:pt>
                <c:pt idx="3258" formatCode="#,##0_);\(#,##0\);&quot;-  &quot;;&quot; &quot;@&quot; &quot;">
                  <c:v>0</c:v>
                </c:pt>
                <c:pt idx="3259" formatCode="#,##0_);\(#,##0\);&quot;-  &quot;;&quot; &quot;@&quot; &quot;">
                  <c:v>0</c:v>
                </c:pt>
                <c:pt idx="3260" formatCode="#,##0_);\(#,##0\);&quot;-  &quot;;&quot; &quot;@&quot; &quot;">
                  <c:v>0</c:v>
                </c:pt>
                <c:pt idx="3261" formatCode="#,##0_);\(#,##0\);&quot;-  &quot;;&quot; &quot;@&quot; &quot;">
                  <c:v>0</c:v>
                </c:pt>
                <c:pt idx="3262" formatCode="#,##0_);\(#,##0\);&quot;-  &quot;;&quot; &quot;@&quot; &quot;">
                  <c:v>0</c:v>
                </c:pt>
                <c:pt idx="3263" formatCode="#,##0_);\(#,##0\);&quot;-  &quot;;&quot; &quot;@&quot; &quot;">
                  <c:v>0</c:v>
                </c:pt>
                <c:pt idx="3264" formatCode="#,##0_);\(#,##0\);&quot;-  &quot;;&quot; &quot;@&quot; &quot;">
                  <c:v>0</c:v>
                </c:pt>
                <c:pt idx="3265" formatCode="#,##0_);\(#,##0\);&quot;-  &quot;;&quot; &quot;@&quot; &quot;">
                  <c:v>0</c:v>
                </c:pt>
                <c:pt idx="3266" formatCode="#,##0_);\(#,##0\);&quot;-  &quot;;&quot; &quot;@&quot; &quot;">
                  <c:v>0</c:v>
                </c:pt>
                <c:pt idx="3267" formatCode="#,##0_);\(#,##0\);&quot;-  &quot;;&quot; &quot;@&quot; &quot;">
                  <c:v>0</c:v>
                </c:pt>
                <c:pt idx="3268" formatCode="#,##0_);\(#,##0\);&quot;-  &quot;;&quot; &quot;@&quot; &quot;">
                  <c:v>0</c:v>
                </c:pt>
                <c:pt idx="3269" formatCode="#,##0_);\(#,##0\);&quot;-  &quot;;&quot; &quot;@&quot; &quot;">
                  <c:v>0</c:v>
                </c:pt>
                <c:pt idx="3270" formatCode="#,##0_);\(#,##0\);&quot;-  &quot;;&quot; &quot;@&quot; &quot;">
                  <c:v>0</c:v>
                </c:pt>
                <c:pt idx="3271" formatCode="#,##0_);\(#,##0\);&quot;-  &quot;;&quot; &quot;@&quot; &quot;">
                  <c:v>0</c:v>
                </c:pt>
                <c:pt idx="3272" formatCode="#,##0_);\(#,##0\);&quot;-  &quot;;&quot; &quot;@&quot; &quot;">
                  <c:v>0</c:v>
                </c:pt>
                <c:pt idx="3273" formatCode="#,##0_);\(#,##0\);&quot;-  &quot;;&quot; &quot;@&quot; &quot;">
                  <c:v>0</c:v>
                </c:pt>
                <c:pt idx="3274" formatCode="#,##0_);\(#,##0\);&quot;-  &quot;;&quot; &quot;@&quot; &quot;">
                  <c:v>0</c:v>
                </c:pt>
                <c:pt idx="3275" formatCode="#,##0_);\(#,##0\);&quot;-  &quot;;&quot; &quot;@&quot; &quot;">
                  <c:v>0</c:v>
                </c:pt>
                <c:pt idx="3276" formatCode="#,##0_);\(#,##0\);&quot;-  &quot;;&quot; &quot;@&quot; &quot;">
                  <c:v>0</c:v>
                </c:pt>
                <c:pt idx="3277" formatCode="#,##0_);\(#,##0\);&quot;-  &quot;;&quot; &quot;@&quot; &quot;">
                  <c:v>0</c:v>
                </c:pt>
                <c:pt idx="3278" formatCode="#,##0_);\(#,##0\);&quot;-  &quot;;&quot; &quot;@&quot; &quot;">
                  <c:v>0</c:v>
                </c:pt>
                <c:pt idx="3279" formatCode="#,##0_);\(#,##0\);&quot;-  &quot;;&quot; &quot;@&quot; &quot;">
                  <c:v>0</c:v>
                </c:pt>
                <c:pt idx="3280" formatCode="#,##0_);\(#,##0\);&quot;-  &quot;;&quot; &quot;@&quot; &quot;">
                  <c:v>0</c:v>
                </c:pt>
                <c:pt idx="3281" formatCode="#,##0_);\(#,##0\);&quot;-  &quot;;&quot; &quot;@&quot; &quot;">
                  <c:v>0</c:v>
                </c:pt>
                <c:pt idx="3282" formatCode="#,##0_);\(#,##0\);&quot;-  &quot;;&quot; &quot;@&quot; &quot;">
                  <c:v>0</c:v>
                </c:pt>
                <c:pt idx="3283" formatCode="#,##0_);\(#,##0\);&quot;-  &quot;;&quot; &quot;@&quot; &quot;">
                  <c:v>0</c:v>
                </c:pt>
                <c:pt idx="3284" formatCode="#,##0_);\(#,##0\);&quot;-  &quot;;&quot; &quot;@&quot; &quot;">
                  <c:v>0</c:v>
                </c:pt>
                <c:pt idx="3285" formatCode="#,##0_);\(#,##0\);&quot;-  &quot;;&quot; &quot;@&quot; &quot;">
                  <c:v>0</c:v>
                </c:pt>
                <c:pt idx="3286" formatCode="#,##0_);\(#,##0\);&quot;-  &quot;;&quot; &quot;@&quot; &quot;">
                  <c:v>0</c:v>
                </c:pt>
                <c:pt idx="3287" formatCode="#,##0_);\(#,##0\);&quot;-  &quot;;&quot; &quot;@&quot; &quot;">
                  <c:v>0</c:v>
                </c:pt>
                <c:pt idx="3288" formatCode="#,##0_);\(#,##0\);&quot;-  &quot;;&quot; &quot;@&quot; &quot;">
                  <c:v>0</c:v>
                </c:pt>
                <c:pt idx="3289" formatCode="#,##0_);\(#,##0\);&quot;-  &quot;;&quot; &quot;@&quot; &quot;">
                  <c:v>0</c:v>
                </c:pt>
                <c:pt idx="3290" formatCode="#,##0_);\(#,##0\);&quot;-  &quot;;&quot; &quot;@&quot; &quot;">
                  <c:v>0</c:v>
                </c:pt>
                <c:pt idx="3291" formatCode="#,##0_);\(#,##0\);&quot;-  &quot;;&quot; &quot;@&quot; &quot;">
                  <c:v>0</c:v>
                </c:pt>
                <c:pt idx="3292" formatCode="#,##0_);\(#,##0\);&quot;-  &quot;;&quot; &quot;@&quot; &quot;">
                  <c:v>0</c:v>
                </c:pt>
                <c:pt idx="3293" formatCode="#,##0_);\(#,##0\);&quot;-  &quot;;&quot; &quot;@&quot; &quot;">
                  <c:v>0</c:v>
                </c:pt>
                <c:pt idx="3294" formatCode="#,##0_);\(#,##0\);&quot;-  &quot;;&quot; &quot;@&quot; &quot;">
                  <c:v>0</c:v>
                </c:pt>
                <c:pt idx="3295" formatCode="#,##0_);\(#,##0\);&quot;-  &quot;;&quot; &quot;@&quot; &quot;">
                  <c:v>0</c:v>
                </c:pt>
                <c:pt idx="3296" formatCode="#,##0_);\(#,##0\);&quot;-  &quot;;&quot; &quot;@&quot; &quot;">
                  <c:v>0</c:v>
                </c:pt>
                <c:pt idx="3297" formatCode="#,##0_);\(#,##0\);&quot;-  &quot;;&quot; &quot;@&quot; &quot;">
                  <c:v>0</c:v>
                </c:pt>
                <c:pt idx="3298" formatCode="#,##0_);\(#,##0\);&quot;-  &quot;;&quot; &quot;@&quot; &quot;">
                  <c:v>0</c:v>
                </c:pt>
                <c:pt idx="3299" formatCode="#,##0_);\(#,##0\);&quot;-  &quot;;&quot; &quot;@&quot; &quot;">
                  <c:v>0</c:v>
                </c:pt>
                <c:pt idx="3300" formatCode="#,##0_);\(#,##0\);&quot;-  &quot;;&quot; &quot;@&quot; &quot;">
                  <c:v>0</c:v>
                </c:pt>
                <c:pt idx="3301" formatCode="#,##0_);\(#,##0\);&quot;-  &quot;;&quot; &quot;@&quot; &quot;">
                  <c:v>0</c:v>
                </c:pt>
                <c:pt idx="3302" formatCode="#,##0_);\(#,##0\);&quot;-  &quot;;&quot; &quot;@&quot; &quot;">
                  <c:v>0</c:v>
                </c:pt>
                <c:pt idx="3303" formatCode="#,##0_);\(#,##0\);&quot;-  &quot;;&quot; &quot;@&quot; &quot;">
                  <c:v>0</c:v>
                </c:pt>
                <c:pt idx="3304" formatCode="#,##0_);\(#,##0\);&quot;-  &quot;;&quot; &quot;@&quot; &quot;">
                  <c:v>0</c:v>
                </c:pt>
                <c:pt idx="3305" formatCode="#,##0_);\(#,##0\);&quot;-  &quot;;&quot; &quot;@&quot; &quot;">
                  <c:v>0</c:v>
                </c:pt>
                <c:pt idx="3306" formatCode="#,##0_);\(#,##0\);&quot;-  &quot;;&quot; &quot;@&quot; &quot;">
                  <c:v>0</c:v>
                </c:pt>
                <c:pt idx="3307" formatCode="#,##0_);\(#,##0\);&quot;-  &quot;;&quot; &quot;@&quot; &quot;">
                  <c:v>0</c:v>
                </c:pt>
                <c:pt idx="3308" formatCode="#,##0_);\(#,##0\);&quot;-  &quot;;&quot; &quot;@&quot; &quot;">
                  <c:v>0</c:v>
                </c:pt>
                <c:pt idx="3309" formatCode="#,##0_);\(#,##0\);&quot;-  &quot;;&quot; &quot;@&quot; &quot;">
                  <c:v>0</c:v>
                </c:pt>
                <c:pt idx="3310" formatCode="#,##0_);\(#,##0\);&quot;-  &quot;;&quot; &quot;@&quot; &quot;">
                  <c:v>0</c:v>
                </c:pt>
                <c:pt idx="3311" formatCode="#,##0_);\(#,##0\);&quot;-  &quot;;&quot; &quot;@&quot; &quot;">
                  <c:v>0</c:v>
                </c:pt>
                <c:pt idx="3312" formatCode="#,##0_);\(#,##0\);&quot;-  &quot;;&quot; &quot;@&quot; &quot;">
                  <c:v>0</c:v>
                </c:pt>
                <c:pt idx="3313" formatCode="#,##0_);\(#,##0\);&quot;-  &quot;;&quot; &quot;@&quot; &quot;">
                  <c:v>0</c:v>
                </c:pt>
                <c:pt idx="3314" formatCode="#,##0_);\(#,##0\);&quot;-  &quot;;&quot; &quot;@&quot; &quot;">
                  <c:v>0</c:v>
                </c:pt>
                <c:pt idx="3315" formatCode="#,##0_);\(#,##0\);&quot;-  &quot;;&quot; &quot;@&quot; &quot;">
                  <c:v>0</c:v>
                </c:pt>
                <c:pt idx="3316" formatCode="#,##0_);\(#,##0\);&quot;-  &quot;;&quot; &quot;@&quot; &quot;">
                  <c:v>0</c:v>
                </c:pt>
                <c:pt idx="3317" formatCode="#,##0_);\(#,##0\);&quot;-  &quot;;&quot; &quot;@&quot; &quot;">
                  <c:v>0</c:v>
                </c:pt>
                <c:pt idx="3318" formatCode="#,##0_);\(#,##0\);&quot;-  &quot;;&quot; &quot;@&quot; &quot;">
                  <c:v>0</c:v>
                </c:pt>
                <c:pt idx="3319" formatCode="#,##0_);\(#,##0\);&quot;-  &quot;;&quot; &quot;@&quot; &quot;">
                  <c:v>0</c:v>
                </c:pt>
                <c:pt idx="3320" formatCode="#,##0_);\(#,##0\);&quot;-  &quot;;&quot; &quot;@&quot; &quot;">
                  <c:v>0</c:v>
                </c:pt>
                <c:pt idx="3321" formatCode="#,##0_);\(#,##0\);&quot;-  &quot;;&quot; &quot;@&quot; &quot;">
                  <c:v>0</c:v>
                </c:pt>
                <c:pt idx="3322" formatCode="#,##0_);\(#,##0\);&quot;-  &quot;;&quot; &quot;@&quot; &quot;">
                  <c:v>0</c:v>
                </c:pt>
                <c:pt idx="3323" formatCode="#,##0_);\(#,##0\);&quot;-  &quot;;&quot; &quot;@&quot; &quot;">
                  <c:v>0</c:v>
                </c:pt>
                <c:pt idx="3324" formatCode="#,##0_);\(#,##0\);&quot;-  &quot;;&quot; &quot;@&quot; &quot;">
                  <c:v>0</c:v>
                </c:pt>
                <c:pt idx="3325" formatCode="#,##0_);\(#,##0\);&quot;-  &quot;;&quot; &quot;@&quot; &quot;">
                  <c:v>0</c:v>
                </c:pt>
                <c:pt idx="3326" formatCode="#,##0_);\(#,##0\);&quot;-  &quot;;&quot; &quot;@&quot; &quot;">
                  <c:v>0</c:v>
                </c:pt>
                <c:pt idx="3327" formatCode="#,##0_);\(#,##0\);&quot;-  &quot;;&quot; &quot;@&quot; &quot;">
                  <c:v>0</c:v>
                </c:pt>
                <c:pt idx="3328" formatCode="#,##0_);\(#,##0\);&quot;-  &quot;;&quot; &quot;@&quot; &quot;">
                  <c:v>0</c:v>
                </c:pt>
                <c:pt idx="3329" formatCode="#,##0_);\(#,##0\);&quot;-  &quot;;&quot; &quot;@&quot; &quot;">
                  <c:v>0</c:v>
                </c:pt>
                <c:pt idx="3330" formatCode="#,##0_);\(#,##0\);&quot;-  &quot;;&quot; &quot;@&quot; &quot;">
                  <c:v>0</c:v>
                </c:pt>
                <c:pt idx="3331" formatCode="#,##0_);\(#,##0\);&quot;-  &quot;;&quot; &quot;@&quot; &quot;">
                  <c:v>0</c:v>
                </c:pt>
                <c:pt idx="3332" formatCode="#,##0_);\(#,##0\);&quot;-  &quot;;&quot; &quot;@&quot; &quot;">
                  <c:v>0</c:v>
                </c:pt>
                <c:pt idx="3333" formatCode="#,##0_);\(#,##0\);&quot;-  &quot;;&quot; &quot;@&quot; &quot;">
                  <c:v>0</c:v>
                </c:pt>
                <c:pt idx="3334" formatCode="#,##0_);\(#,##0\);&quot;-  &quot;;&quot; &quot;@&quot; &quot;">
                  <c:v>0</c:v>
                </c:pt>
                <c:pt idx="3335" formatCode="#,##0_);\(#,##0\);&quot;-  &quot;;&quot; &quot;@&quot; &quot;">
                  <c:v>0</c:v>
                </c:pt>
                <c:pt idx="3336" formatCode="#,##0_);\(#,##0\);&quot;-  &quot;;&quot; &quot;@&quot; &quot;">
                  <c:v>0</c:v>
                </c:pt>
                <c:pt idx="3337" formatCode="#,##0_);\(#,##0\);&quot;-  &quot;;&quot; &quot;@&quot; &quot;">
                  <c:v>0</c:v>
                </c:pt>
                <c:pt idx="3338" formatCode="#,##0_);\(#,##0\);&quot;-  &quot;;&quot; &quot;@&quot; &quot;">
                  <c:v>0</c:v>
                </c:pt>
                <c:pt idx="3339" formatCode="#,##0_);\(#,##0\);&quot;-  &quot;;&quot; &quot;@&quot; &quot;">
                  <c:v>0</c:v>
                </c:pt>
                <c:pt idx="3340" formatCode="#,##0_);\(#,##0\);&quot;-  &quot;;&quot; &quot;@&quot; &quot;">
                  <c:v>0</c:v>
                </c:pt>
                <c:pt idx="3341" formatCode="#,##0_);\(#,##0\);&quot;-  &quot;;&quot; &quot;@&quot; &quot;">
                  <c:v>0</c:v>
                </c:pt>
                <c:pt idx="3342" formatCode="#,##0_);\(#,##0\);&quot;-  &quot;;&quot; &quot;@&quot; &quot;">
                  <c:v>0</c:v>
                </c:pt>
                <c:pt idx="3343" formatCode="#,##0_);\(#,##0\);&quot;-  &quot;;&quot; &quot;@&quot; &quot;">
                  <c:v>0</c:v>
                </c:pt>
                <c:pt idx="3344" formatCode="#,##0_);\(#,##0\);&quot;-  &quot;;&quot; &quot;@&quot; &quot;">
                  <c:v>0</c:v>
                </c:pt>
                <c:pt idx="3345" formatCode="#,##0_);\(#,##0\);&quot;-  &quot;;&quot; &quot;@&quot; &quot;">
                  <c:v>0</c:v>
                </c:pt>
                <c:pt idx="3346" formatCode="#,##0_);\(#,##0\);&quot;-  &quot;;&quot; &quot;@&quot; &quot;">
                  <c:v>0</c:v>
                </c:pt>
                <c:pt idx="3347" formatCode="#,##0_);\(#,##0\);&quot;-  &quot;;&quot; &quot;@&quot; &quot;">
                  <c:v>0</c:v>
                </c:pt>
                <c:pt idx="3348" formatCode="#,##0_);\(#,##0\);&quot;-  &quot;;&quot; &quot;@&quot; &quot;">
                  <c:v>0</c:v>
                </c:pt>
                <c:pt idx="3349" formatCode="#,##0_);\(#,##0\);&quot;-  &quot;;&quot; &quot;@&quot; &quot;">
                  <c:v>0</c:v>
                </c:pt>
                <c:pt idx="3350" formatCode="#,##0_);\(#,##0\);&quot;-  &quot;;&quot; &quot;@&quot; &quot;">
                  <c:v>0</c:v>
                </c:pt>
                <c:pt idx="3351" formatCode="#,##0_);\(#,##0\);&quot;-  &quot;;&quot; &quot;@&quot; &quot;">
                  <c:v>0</c:v>
                </c:pt>
                <c:pt idx="3352" formatCode="#,##0_);\(#,##0\);&quot;-  &quot;;&quot; &quot;@&quot; &quot;">
                  <c:v>0</c:v>
                </c:pt>
                <c:pt idx="3353" formatCode="#,##0_);\(#,##0\);&quot;-  &quot;;&quot; &quot;@&quot; &quot;">
                  <c:v>0</c:v>
                </c:pt>
                <c:pt idx="3354" formatCode="#,##0_);\(#,##0\);&quot;-  &quot;;&quot; &quot;@&quot; &quot;">
                  <c:v>0</c:v>
                </c:pt>
                <c:pt idx="3355" formatCode="#,##0_);\(#,##0\);&quot;-  &quot;;&quot; &quot;@&quot; &quot;">
                  <c:v>0</c:v>
                </c:pt>
                <c:pt idx="3356" formatCode="#,##0_);\(#,##0\);&quot;-  &quot;;&quot; &quot;@&quot; &quot;">
                  <c:v>0</c:v>
                </c:pt>
                <c:pt idx="3357" formatCode="#,##0_);\(#,##0\);&quot;-  &quot;;&quot; &quot;@&quot; &quot;">
                  <c:v>0</c:v>
                </c:pt>
                <c:pt idx="3358" formatCode="#,##0_);\(#,##0\);&quot;-  &quot;;&quot; &quot;@&quot; &quot;">
                  <c:v>0</c:v>
                </c:pt>
                <c:pt idx="3359" formatCode="#,##0_);\(#,##0\);&quot;-  &quot;;&quot; &quot;@&quot; &quot;">
                  <c:v>0</c:v>
                </c:pt>
                <c:pt idx="3360" formatCode="#,##0_);\(#,##0\);&quot;-  &quot;;&quot; &quot;@&quot; &quot;">
                  <c:v>0</c:v>
                </c:pt>
                <c:pt idx="3361" formatCode="#,##0_);\(#,##0\);&quot;-  &quot;;&quot; &quot;@&quot; &quot;">
                  <c:v>0</c:v>
                </c:pt>
                <c:pt idx="3362" formatCode="#,##0_);\(#,##0\);&quot;-  &quot;;&quot; &quot;@&quot; &quot;">
                  <c:v>0</c:v>
                </c:pt>
                <c:pt idx="3363" formatCode="#,##0_);\(#,##0\);&quot;-  &quot;;&quot; &quot;@&quot; &quot;">
                  <c:v>0</c:v>
                </c:pt>
                <c:pt idx="3364" formatCode="#,##0_);\(#,##0\);&quot;-  &quot;;&quot; &quot;@&quot; &quot;">
                  <c:v>0</c:v>
                </c:pt>
                <c:pt idx="3365" formatCode="#,##0_);\(#,##0\);&quot;-  &quot;;&quot; &quot;@&quot; &quot;">
                  <c:v>0</c:v>
                </c:pt>
                <c:pt idx="3366" formatCode="#,##0_);\(#,##0\);&quot;-  &quot;;&quot; &quot;@&quot; &quot;">
                  <c:v>0</c:v>
                </c:pt>
                <c:pt idx="3367" formatCode="#,##0_);\(#,##0\);&quot;-  &quot;;&quot; &quot;@&quot; &quot;">
                  <c:v>0</c:v>
                </c:pt>
                <c:pt idx="3368" formatCode="#,##0_);\(#,##0\);&quot;-  &quot;;&quot; &quot;@&quot; &quot;">
                  <c:v>0</c:v>
                </c:pt>
                <c:pt idx="3369" formatCode="#,##0_);\(#,##0\);&quot;-  &quot;;&quot; &quot;@&quot; &quot;">
                  <c:v>0</c:v>
                </c:pt>
                <c:pt idx="3370" formatCode="#,##0_);\(#,##0\);&quot;-  &quot;;&quot; &quot;@&quot; &quot;">
                  <c:v>0</c:v>
                </c:pt>
                <c:pt idx="3371" formatCode="#,##0_);\(#,##0\);&quot;-  &quot;;&quot; &quot;@&quot; &quot;">
                  <c:v>0</c:v>
                </c:pt>
                <c:pt idx="3372" formatCode="#,##0_);\(#,##0\);&quot;-  &quot;;&quot; &quot;@&quot; &quot;">
                  <c:v>0</c:v>
                </c:pt>
                <c:pt idx="3373" formatCode="#,##0_);\(#,##0\);&quot;-  &quot;;&quot; &quot;@&quot; &quot;">
                  <c:v>0</c:v>
                </c:pt>
                <c:pt idx="3374" formatCode="#,##0_);\(#,##0\);&quot;-  &quot;;&quot; &quot;@&quot; &quot;">
                  <c:v>0</c:v>
                </c:pt>
                <c:pt idx="3375" formatCode="#,##0_);\(#,##0\);&quot;-  &quot;;&quot; &quot;@&quot; &quot;">
                  <c:v>0</c:v>
                </c:pt>
                <c:pt idx="3376" formatCode="#,##0_);\(#,##0\);&quot;-  &quot;;&quot; &quot;@&quot; &quot;">
                  <c:v>0</c:v>
                </c:pt>
                <c:pt idx="3377" formatCode="#,##0_);\(#,##0\);&quot;-  &quot;;&quot; &quot;@&quot; &quot;">
                  <c:v>0</c:v>
                </c:pt>
                <c:pt idx="3378" formatCode="#,##0_);\(#,##0\);&quot;-  &quot;;&quot; &quot;@&quot; &quot;">
                  <c:v>0</c:v>
                </c:pt>
                <c:pt idx="3379" formatCode="#,##0_);\(#,##0\);&quot;-  &quot;;&quot; &quot;@&quot; &quot;">
                  <c:v>0</c:v>
                </c:pt>
                <c:pt idx="3380" formatCode="#,##0_);\(#,##0\);&quot;-  &quot;;&quot; &quot;@&quot; &quot;">
                  <c:v>0</c:v>
                </c:pt>
                <c:pt idx="3381" formatCode="#,##0_);\(#,##0\);&quot;-  &quot;;&quot; &quot;@&quot; &quot;">
                  <c:v>0</c:v>
                </c:pt>
                <c:pt idx="3382" formatCode="#,##0_);\(#,##0\);&quot;-  &quot;;&quot; &quot;@&quot; &quot;">
                  <c:v>0</c:v>
                </c:pt>
                <c:pt idx="3383" formatCode="#,##0_);\(#,##0\);&quot;-  &quot;;&quot; &quot;@&quot; &quot;">
                  <c:v>0</c:v>
                </c:pt>
                <c:pt idx="3384" formatCode="#,##0_);\(#,##0\);&quot;-  &quot;;&quot; &quot;@&quot; &quot;">
                  <c:v>0</c:v>
                </c:pt>
                <c:pt idx="3385" formatCode="#,##0_);\(#,##0\);&quot;-  &quot;;&quot; &quot;@&quot; &quot;">
                  <c:v>0</c:v>
                </c:pt>
                <c:pt idx="3386" formatCode="#,##0_);\(#,##0\);&quot;-  &quot;;&quot; &quot;@&quot; &quot;">
                  <c:v>0</c:v>
                </c:pt>
                <c:pt idx="3387" formatCode="#,##0_);\(#,##0\);&quot;-  &quot;;&quot; &quot;@&quot; &quot;">
                  <c:v>0</c:v>
                </c:pt>
                <c:pt idx="3388" formatCode="#,##0_);\(#,##0\);&quot;-  &quot;;&quot; &quot;@&quot; &quot;">
                  <c:v>0</c:v>
                </c:pt>
                <c:pt idx="3389" formatCode="#,##0_);\(#,##0\);&quot;-  &quot;;&quot; &quot;@&quot; &quot;">
                  <c:v>0</c:v>
                </c:pt>
                <c:pt idx="3390" formatCode="#,##0_);\(#,##0\);&quot;-  &quot;;&quot; &quot;@&quot; &quot;">
                  <c:v>0</c:v>
                </c:pt>
                <c:pt idx="3391" formatCode="#,##0_);\(#,##0\);&quot;-  &quot;;&quot; &quot;@&quot; &quot;">
                  <c:v>0</c:v>
                </c:pt>
                <c:pt idx="3392" formatCode="#,##0_);\(#,##0\);&quot;-  &quot;;&quot; &quot;@&quot; &quot;">
                  <c:v>0</c:v>
                </c:pt>
                <c:pt idx="3393" formatCode="#,##0_);\(#,##0\);&quot;-  &quot;;&quot; &quot;@&quot; &quot;">
                  <c:v>0</c:v>
                </c:pt>
                <c:pt idx="3394" formatCode="#,##0_);\(#,##0\);&quot;-  &quot;;&quot; &quot;@&quot; &quot;">
                  <c:v>0</c:v>
                </c:pt>
                <c:pt idx="3395" formatCode="#,##0_);\(#,##0\);&quot;-  &quot;;&quot; &quot;@&quot; &quot;">
                  <c:v>0</c:v>
                </c:pt>
                <c:pt idx="3396" formatCode="#,##0_);\(#,##0\);&quot;-  &quot;;&quot; &quot;@&quot; &quot;">
                  <c:v>0</c:v>
                </c:pt>
                <c:pt idx="3397" formatCode="#,##0_);\(#,##0\);&quot;-  &quot;;&quot; &quot;@&quot; &quot;">
                  <c:v>0</c:v>
                </c:pt>
                <c:pt idx="3398" formatCode="#,##0_);\(#,##0\);&quot;-  &quot;;&quot; &quot;@&quot; &quot;">
                  <c:v>0</c:v>
                </c:pt>
                <c:pt idx="3399" formatCode="#,##0_);\(#,##0\);&quot;-  &quot;;&quot; &quot;@&quot; &quot;">
                  <c:v>0</c:v>
                </c:pt>
                <c:pt idx="3400" formatCode="#,##0_);\(#,##0\);&quot;-  &quot;;&quot; &quot;@&quot; &quot;">
                  <c:v>0</c:v>
                </c:pt>
                <c:pt idx="3401" formatCode="#,##0_);\(#,##0\);&quot;-  &quot;;&quot; &quot;@&quot; &quot;">
                  <c:v>0</c:v>
                </c:pt>
                <c:pt idx="3402" formatCode="#,##0_);\(#,##0\);&quot;-  &quot;;&quot; &quot;@&quot; &quot;">
                  <c:v>0</c:v>
                </c:pt>
                <c:pt idx="3403" formatCode="#,##0_);\(#,##0\);&quot;-  &quot;;&quot; &quot;@&quot; &quot;">
                  <c:v>0</c:v>
                </c:pt>
                <c:pt idx="3404" formatCode="#,##0_);\(#,##0\);&quot;-  &quot;;&quot; &quot;@&quot; &quot;">
                  <c:v>0</c:v>
                </c:pt>
                <c:pt idx="3405" formatCode="#,##0_);\(#,##0\);&quot;-  &quot;;&quot; &quot;@&quot; &quot;">
                  <c:v>0</c:v>
                </c:pt>
                <c:pt idx="3406" formatCode="#,##0_);\(#,##0\);&quot;-  &quot;;&quot; &quot;@&quot; &quot;">
                  <c:v>0</c:v>
                </c:pt>
                <c:pt idx="3407" formatCode="#,##0_);\(#,##0\);&quot;-  &quot;;&quot; &quot;@&quot; &quot;">
                  <c:v>0</c:v>
                </c:pt>
                <c:pt idx="3408" formatCode="#,##0_);\(#,##0\);&quot;-  &quot;;&quot; &quot;@&quot; &quot;">
                  <c:v>0</c:v>
                </c:pt>
                <c:pt idx="3409" formatCode="#,##0_);\(#,##0\);&quot;-  &quot;;&quot; &quot;@&quot; &quot;">
                  <c:v>0</c:v>
                </c:pt>
                <c:pt idx="3410" formatCode="#,##0_);\(#,##0\);&quot;-  &quot;;&quot; &quot;@&quot; &quot;">
                  <c:v>0</c:v>
                </c:pt>
                <c:pt idx="3411" formatCode="#,##0_);\(#,##0\);&quot;-  &quot;;&quot; &quot;@&quot; &quot;">
                  <c:v>0</c:v>
                </c:pt>
                <c:pt idx="3412" formatCode="#,##0_);\(#,##0\);&quot;-  &quot;;&quot; &quot;@&quot; &quot;">
                  <c:v>0</c:v>
                </c:pt>
                <c:pt idx="3413" formatCode="#,##0_);\(#,##0\);&quot;-  &quot;;&quot; &quot;@&quot; &quot;">
                  <c:v>0</c:v>
                </c:pt>
                <c:pt idx="3414" formatCode="#,##0_);\(#,##0\);&quot;-  &quot;;&quot; &quot;@&quot; &quot;">
                  <c:v>0</c:v>
                </c:pt>
                <c:pt idx="3415" formatCode="#,##0_);\(#,##0\);&quot;-  &quot;;&quot; &quot;@&quot; &quot;">
                  <c:v>0</c:v>
                </c:pt>
                <c:pt idx="3416" formatCode="#,##0_);\(#,##0\);&quot;-  &quot;;&quot; &quot;@&quot; &quot;">
                  <c:v>0</c:v>
                </c:pt>
                <c:pt idx="3417" formatCode="#,##0_);\(#,##0\);&quot;-  &quot;;&quot; &quot;@&quot; &quot;">
                  <c:v>0</c:v>
                </c:pt>
                <c:pt idx="3418" formatCode="#,##0_);\(#,##0\);&quot;-  &quot;;&quot; &quot;@&quot; &quot;">
                  <c:v>0</c:v>
                </c:pt>
                <c:pt idx="3419" formatCode="#,##0_);\(#,##0\);&quot;-  &quot;;&quot; &quot;@&quot; &quot;">
                  <c:v>0</c:v>
                </c:pt>
                <c:pt idx="3420" formatCode="#,##0_);\(#,##0\);&quot;-  &quot;;&quot; &quot;@&quot; &quot;">
                  <c:v>0</c:v>
                </c:pt>
                <c:pt idx="3421" formatCode="#,##0_);\(#,##0\);&quot;-  &quot;;&quot; &quot;@&quot; &quot;">
                  <c:v>0</c:v>
                </c:pt>
                <c:pt idx="3422" formatCode="#,##0_);\(#,##0\);&quot;-  &quot;;&quot; &quot;@&quot; &quot;">
                  <c:v>0</c:v>
                </c:pt>
                <c:pt idx="3423" formatCode="#,##0_);\(#,##0\);&quot;-  &quot;;&quot; &quot;@&quot; &quot;">
                  <c:v>0</c:v>
                </c:pt>
                <c:pt idx="3424" formatCode="#,##0_);\(#,##0\);&quot;-  &quot;;&quot; &quot;@&quot; &quot;">
                  <c:v>0</c:v>
                </c:pt>
                <c:pt idx="3425" formatCode="#,##0_);\(#,##0\);&quot;-  &quot;;&quot; &quot;@&quot; &quot;">
                  <c:v>0</c:v>
                </c:pt>
                <c:pt idx="3426" formatCode="#,##0_);\(#,##0\);&quot;-  &quot;;&quot; &quot;@&quot; &quot;">
                  <c:v>0</c:v>
                </c:pt>
                <c:pt idx="3427" formatCode="#,##0_);\(#,##0\);&quot;-  &quot;;&quot; &quot;@&quot; &quot;">
                  <c:v>0</c:v>
                </c:pt>
                <c:pt idx="3428" formatCode="#,##0_);\(#,##0\);&quot;-  &quot;;&quot; &quot;@&quot; &quot;">
                  <c:v>0</c:v>
                </c:pt>
                <c:pt idx="3429" formatCode="#,##0_);\(#,##0\);&quot;-  &quot;;&quot; &quot;@&quot; &quot;">
                  <c:v>0</c:v>
                </c:pt>
                <c:pt idx="3430" formatCode="#,##0_);\(#,##0\);&quot;-  &quot;;&quot; &quot;@&quot; &quot;">
                  <c:v>0</c:v>
                </c:pt>
                <c:pt idx="3431" formatCode="#,##0_);\(#,##0\);&quot;-  &quot;;&quot; &quot;@&quot; &quot;">
                  <c:v>0</c:v>
                </c:pt>
                <c:pt idx="3432" formatCode="#,##0_);\(#,##0\);&quot;-  &quot;;&quot; &quot;@&quot; &quot;">
                  <c:v>0</c:v>
                </c:pt>
                <c:pt idx="3433" formatCode="#,##0_);\(#,##0\);&quot;-  &quot;;&quot; &quot;@&quot; &quot;">
                  <c:v>0</c:v>
                </c:pt>
                <c:pt idx="3434" formatCode="#,##0_);\(#,##0\);&quot;-  &quot;;&quot; &quot;@&quot; &quot;">
                  <c:v>0</c:v>
                </c:pt>
                <c:pt idx="3435" formatCode="#,##0_);\(#,##0\);&quot;-  &quot;;&quot; &quot;@&quot; &quot;">
                  <c:v>0</c:v>
                </c:pt>
                <c:pt idx="3436" formatCode="#,##0_);\(#,##0\);&quot;-  &quot;;&quot; &quot;@&quot; &quot;">
                  <c:v>0</c:v>
                </c:pt>
                <c:pt idx="3437" formatCode="#,##0_);\(#,##0\);&quot;-  &quot;;&quot; &quot;@&quot; &quot;">
                  <c:v>0</c:v>
                </c:pt>
                <c:pt idx="3438" formatCode="#,##0_);\(#,##0\);&quot;-  &quot;;&quot; &quot;@&quot; &quot;">
                  <c:v>0</c:v>
                </c:pt>
                <c:pt idx="3439" formatCode="#,##0_);\(#,##0\);&quot;-  &quot;;&quot; &quot;@&quot; &quot;">
                  <c:v>0</c:v>
                </c:pt>
                <c:pt idx="3440" formatCode="#,##0_);\(#,##0\);&quot;-  &quot;;&quot; &quot;@&quot; &quot;">
                  <c:v>0</c:v>
                </c:pt>
                <c:pt idx="3441" formatCode="#,##0_);\(#,##0\);&quot;-  &quot;;&quot; &quot;@&quot; &quot;">
                  <c:v>0</c:v>
                </c:pt>
                <c:pt idx="3442" formatCode="#,##0_);\(#,##0\);&quot;-  &quot;;&quot; &quot;@&quot; &quot;">
                  <c:v>0</c:v>
                </c:pt>
                <c:pt idx="3443" formatCode="#,##0_);\(#,##0\);&quot;-  &quot;;&quot; &quot;@&quot; &quot;">
                  <c:v>0</c:v>
                </c:pt>
                <c:pt idx="3444" formatCode="#,##0_);\(#,##0\);&quot;-  &quot;;&quot; &quot;@&quot; &quot;">
                  <c:v>0</c:v>
                </c:pt>
                <c:pt idx="3445" formatCode="#,##0_);\(#,##0\);&quot;-  &quot;;&quot; &quot;@&quot; &quot;">
                  <c:v>0</c:v>
                </c:pt>
                <c:pt idx="3446" formatCode="#,##0_);\(#,##0\);&quot;-  &quot;;&quot; &quot;@&quot; &quot;">
                  <c:v>0</c:v>
                </c:pt>
                <c:pt idx="3447" formatCode="#,##0_);\(#,##0\);&quot;-  &quot;;&quot; &quot;@&quot; &quot;">
                  <c:v>0</c:v>
                </c:pt>
                <c:pt idx="3448" formatCode="#,##0_);\(#,##0\);&quot;-  &quot;;&quot; &quot;@&quot; &quot;">
                  <c:v>0</c:v>
                </c:pt>
                <c:pt idx="3449" formatCode="#,##0_);\(#,##0\);&quot;-  &quot;;&quot; &quot;@&quot; &quot;">
                  <c:v>0</c:v>
                </c:pt>
                <c:pt idx="3450" formatCode="#,##0_);\(#,##0\);&quot;-  &quot;;&quot; &quot;@&quot; &quot;">
                  <c:v>0</c:v>
                </c:pt>
                <c:pt idx="3451" formatCode="#,##0_);\(#,##0\);&quot;-  &quot;;&quot; &quot;@&quot; &quot;">
                  <c:v>0</c:v>
                </c:pt>
                <c:pt idx="3452" formatCode="#,##0_);\(#,##0\);&quot;-  &quot;;&quot; &quot;@&quot; &quot;">
                  <c:v>0</c:v>
                </c:pt>
                <c:pt idx="3453" formatCode="#,##0_);\(#,##0\);&quot;-  &quot;;&quot; &quot;@&quot; &quot;">
                  <c:v>0</c:v>
                </c:pt>
                <c:pt idx="3454" formatCode="#,##0_);\(#,##0\);&quot;-  &quot;;&quot; &quot;@&quot; &quot;">
                  <c:v>0</c:v>
                </c:pt>
                <c:pt idx="3455" formatCode="#,##0_);\(#,##0\);&quot;-  &quot;;&quot; &quot;@&quot; &quot;">
                  <c:v>0</c:v>
                </c:pt>
                <c:pt idx="3456" formatCode="#,##0_);\(#,##0\);&quot;-  &quot;;&quot; &quot;@&quot; &quot;">
                  <c:v>0</c:v>
                </c:pt>
                <c:pt idx="3457" formatCode="#,##0_);\(#,##0\);&quot;-  &quot;;&quot; &quot;@&quot; &quot;">
                  <c:v>0</c:v>
                </c:pt>
                <c:pt idx="3458" formatCode="#,##0_);\(#,##0\);&quot;-  &quot;;&quot; &quot;@&quot; &quot;">
                  <c:v>0</c:v>
                </c:pt>
                <c:pt idx="3459" formatCode="#,##0_);\(#,##0\);&quot;-  &quot;;&quot; &quot;@&quot; &quot;">
                  <c:v>0</c:v>
                </c:pt>
                <c:pt idx="3460" formatCode="#,##0_);\(#,##0\);&quot;-  &quot;;&quot; &quot;@&quot; &quot;">
                  <c:v>0</c:v>
                </c:pt>
                <c:pt idx="3461" formatCode="#,##0_);\(#,##0\);&quot;-  &quot;;&quot; &quot;@&quot; &quot;">
                  <c:v>0</c:v>
                </c:pt>
                <c:pt idx="3462" formatCode="#,##0_);\(#,##0\);&quot;-  &quot;;&quot; &quot;@&quot; &quot;">
                  <c:v>0</c:v>
                </c:pt>
                <c:pt idx="3463" formatCode="#,##0_);\(#,##0\);&quot;-  &quot;;&quot; &quot;@&quot; &quot;">
                  <c:v>0</c:v>
                </c:pt>
                <c:pt idx="3464" formatCode="#,##0_);\(#,##0\);&quot;-  &quot;;&quot; &quot;@&quot; &quot;">
                  <c:v>0</c:v>
                </c:pt>
                <c:pt idx="3465" formatCode="#,##0_);\(#,##0\);&quot;-  &quot;;&quot; &quot;@&quot; &quot;">
                  <c:v>0</c:v>
                </c:pt>
                <c:pt idx="3466" formatCode="#,##0_);\(#,##0\);&quot;-  &quot;;&quot; &quot;@&quot; &quot;">
                  <c:v>0</c:v>
                </c:pt>
                <c:pt idx="3467" formatCode="#,##0_);\(#,##0\);&quot;-  &quot;;&quot; &quot;@&quot; &quot;">
                  <c:v>0</c:v>
                </c:pt>
                <c:pt idx="3468" formatCode="#,##0_);\(#,##0\);&quot;-  &quot;;&quot; &quot;@&quot; &quot;">
                  <c:v>0</c:v>
                </c:pt>
                <c:pt idx="3469" formatCode="#,##0_);\(#,##0\);&quot;-  &quot;;&quot; &quot;@&quot; &quot;">
                  <c:v>0</c:v>
                </c:pt>
                <c:pt idx="3470" formatCode="#,##0_);\(#,##0\);&quot;-  &quot;;&quot; &quot;@&quot; &quot;">
                  <c:v>0</c:v>
                </c:pt>
                <c:pt idx="3471" formatCode="#,##0_);\(#,##0\);&quot;-  &quot;;&quot; &quot;@&quot; &quot;">
                  <c:v>0</c:v>
                </c:pt>
                <c:pt idx="3472" formatCode="#,##0_);\(#,##0\);&quot;-  &quot;;&quot; &quot;@&quot; &quot;">
                  <c:v>0</c:v>
                </c:pt>
                <c:pt idx="3473" formatCode="#,##0_);\(#,##0\);&quot;-  &quot;;&quot; &quot;@&quot; &quot;">
                  <c:v>0</c:v>
                </c:pt>
                <c:pt idx="3474" formatCode="#,##0_);\(#,##0\);&quot;-  &quot;;&quot; &quot;@&quot; &quot;">
                  <c:v>0</c:v>
                </c:pt>
                <c:pt idx="3475" formatCode="#,##0_);\(#,##0\);&quot;-  &quot;;&quot; &quot;@&quot; &quot;">
                  <c:v>0</c:v>
                </c:pt>
                <c:pt idx="3476" formatCode="#,##0_);\(#,##0\);&quot;-  &quot;;&quot; &quot;@&quot; &quot;">
                  <c:v>0</c:v>
                </c:pt>
                <c:pt idx="3477" formatCode="#,##0_);\(#,##0\);&quot;-  &quot;;&quot; &quot;@&quot; &quot;">
                  <c:v>0</c:v>
                </c:pt>
                <c:pt idx="3478" formatCode="#,##0_);\(#,##0\);&quot;-  &quot;;&quot; &quot;@&quot; &quot;">
                  <c:v>0</c:v>
                </c:pt>
                <c:pt idx="3479" formatCode="#,##0_);\(#,##0\);&quot;-  &quot;;&quot; &quot;@&quot; &quot;">
                  <c:v>0</c:v>
                </c:pt>
                <c:pt idx="3480" formatCode="#,##0_);\(#,##0\);&quot;-  &quot;;&quot; &quot;@&quot; &quot;">
                  <c:v>0</c:v>
                </c:pt>
                <c:pt idx="3481" formatCode="#,##0_);\(#,##0\);&quot;-  &quot;;&quot; &quot;@&quot; &quot;">
                  <c:v>0</c:v>
                </c:pt>
                <c:pt idx="3482" formatCode="#,##0_);\(#,##0\);&quot;-  &quot;;&quot; &quot;@&quot; &quot;">
                  <c:v>0</c:v>
                </c:pt>
                <c:pt idx="3483" formatCode="#,##0_);\(#,##0\);&quot;-  &quot;;&quot; &quot;@&quot; &quot;">
                  <c:v>0</c:v>
                </c:pt>
                <c:pt idx="3484" formatCode="#,##0_);\(#,##0\);&quot;-  &quot;;&quot; &quot;@&quot; &quot;">
                  <c:v>0</c:v>
                </c:pt>
                <c:pt idx="3485" formatCode="#,##0_);\(#,##0\);&quot;-  &quot;;&quot; &quot;@&quot; &quot;">
                  <c:v>0</c:v>
                </c:pt>
                <c:pt idx="3486" formatCode="#,##0_);\(#,##0\);&quot;-  &quot;;&quot; &quot;@&quot; &quot;">
                  <c:v>0</c:v>
                </c:pt>
                <c:pt idx="3487" formatCode="#,##0_);\(#,##0\);&quot;-  &quot;;&quot; &quot;@&quot; &quot;">
                  <c:v>0</c:v>
                </c:pt>
                <c:pt idx="3488" formatCode="#,##0_);\(#,##0\);&quot;-  &quot;;&quot; &quot;@&quot; &quot;">
                  <c:v>0</c:v>
                </c:pt>
                <c:pt idx="3489" formatCode="#,##0_);\(#,##0\);&quot;-  &quot;;&quot; &quot;@&quot; &quot;">
                  <c:v>0</c:v>
                </c:pt>
                <c:pt idx="3490" formatCode="#,##0_);\(#,##0\);&quot;-  &quot;;&quot; &quot;@&quot; &quot;">
                  <c:v>0</c:v>
                </c:pt>
                <c:pt idx="3491" formatCode="#,##0_);\(#,##0\);&quot;-  &quot;;&quot; &quot;@&quot; &quot;">
                  <c:v>0</c:v>
                </c:pt>
                <c:pt idx="3492" formatCode="#,##0_);\(#,##0\);&quot;-  &quot;;&quot; &quot;@&quot; &quot;">
                  <c:v>0</c:v>
                </c:pt>
                <c:pt idx="3493" formatCode="#,##0_);\(#,##0\);&quot;-  &quot;;&quot; &quot;@&quot; &quot;">
                  <c:v>0</c:v>
                </c:pt>
                <c:pt idx="3494" formatCode="#,##0_);\(#,##0\);&quot;-  &quot;;&quot; &quot;@&quot; &quot;">
                  <c:v>0</c:v>
                </c:pt>
                <c:pt idx="3495" formatCode="#,##0_);\(#,##0\);&quot;-  &quot;;&quot; &quot;@&quot; &quot;">
                  <c:v>0</c:v>
                </c:pt>
                <c:pt idx="3496" formatCode="#,##0_);\(#,##0\);&quot;-  &quot;;&quot; &quot;@&quot; &quot;">
                  <c:v>0</c:v>
                </c:pt>
                <c:pt idx="3497" formatCode="#,##0_);\(#,##0\);&quot;-  &quot;;&quot; &quot;@&quot; &quot;">
                  <c:v>0</c:v>
                </c:pt>
                <c:pt idx="3498" formatCode="#,##0_);\(#,##0\);&quot;-  &quot;;&quot; &quot;@&quot; &quot;">
                  <c:v>0</c:v>
                </c:pt>
                <c:pt idx="3499" formatCode="#,##0_);\(#,##0\);&quot;-  &quot;;&quot; &quot;@&quot; &quot;">
                  <c:v>0</c:v>
                </c:pt>
                <c:pt idx="3500" formatCode="#,##0_);\(#,##0\);&quot;-  &quot;;&quot; &quot;@&quot; &quot;">
                  <c:v>0</c:v>
                </c:pt>
                <c:pt idx="3501" formatCode="#,##0_);\(#,##0\);&quot;-  &quot;;&quot; &quot;@&quot; &quot;">
                  <c:v>0</c:v>
                </c:pt>
                <c:pt idx="3502" formatCode="#,##0_);\(#,##0\);&quot;-  &quot;;&quot; &quot;@&quot; &quot;">
                  <c:v>0</c:v>
                </c:pt>
                <c:pt idx="3503" formatCode="#,##0_);\(#,##0\);&quot;-  &quot;;&quot; &quot;@&quot; &quot;">
                  <c:v>0</c:v>
                </c:pt>
                <c:pt idx="3504" formatCode="#,##0_);\(#,##0\);&quot;-  &quot;;&quot; &quot;@&quot; &quot;">
                  <c:v>0</c:v>
                </c:pt>
                <c:pt idx="3505" formatCode="#,##0_);\(#,##0\);&quot;-  &quot;;&quot; &quot;@&quot; &quot;">
                  <c:v>0</c:v>
                </c:pt>
                <c:pt idx="3506" formatCode="#,##0_);\(#,##0\);&quot;-  &quot;;&quot; &quot;@&quot; &quot;">
                  <c:v>0</c:v>
                </c:pt>
                <c:pt idx="3507" formatCode="#,##0_);\(#,##0\);&quot;-  &quot;;&quot; &quot;@&quot; &quot;">
                  <c:v>0</c:v>
                </c:pt>
                <c:pt idx="3508" formatCode="#,##0_);\(#,##0\);&quot;-  &quot;;&quot; &quot;@&quot; &quot;">
                  <c:v>0</c:v>
                </c:pt>
                <c:pt idx="3509" formatCode="#,##0_);\(#,##0\);&quot;-  &quot;;&quot; &quot;@&quot; &quot;">
                  <c:v>0</c:v>
                </c:pt>
                <c:pt idx="3510" formatCode="#,##0_);\(#,##0\);&quot;-  &quot;;&quot; &quot;@&quot; &quot;">
                  <c:v>0</c:v>
                </c:pt>
                <c:pt idx="3511" formatCode="#,##0_);\(#,##0\);&quot;-  &quot;;&quot; &quot;@&quot; &quot;">
                  <c:v>0</c:v>
                </c:pt>
                <c:pt idx="3512" formatCode="#,##0_);\(#,##0\);&quot;-  &quot;;&quot; &quot;@&quot; &quot;">
                  <c:v>0</c:v>
                </c:pt>
                <c:pt idx="3513" formatCode="#,##0_);\(#,##0\);&quot;-  &quot;;&quot; &quot;@&quot; &quot;">
                  <c:v>0</c:v>
                </c:pt>
                <c:pt idx="3514" formatCode="#,##0_);\(#,##0\);&quot;-  &quot;;&quot; &quot;@&quot; &quot;">
                  <c:v>0</c:v>
                </c:pt>
                <c:pt idx="3515" formatCode="#,##0_);\(#,##0\);&quot;-  &quot;;&quot; &quot;@&quot; &quot;">
                  <c:v>0</c:v>
                </c:pt>
                <c:pt idx="3516" formatCode="#,##0_);\(#,##0\);&quot;-  &quot;;&quot; &quot;@&quot; &quot;">
                  <c:v>0</c:v>
                </c:pt>
                <c:pt idx="3517" formatCode="#,##0_);\(#,##0\);&quot;-  &quot;;&quot; &quot;@&quot; &quot;">
                  <c:v>0</c:v>
                </c:pt>
                <c:pt idx="3518" formatCode="#,##0_);\(#,##0\);&quot;-  &quot;;&quot; &quot;@&quot; &quot;">
                  <c:v>0</c:v>
                </c:pt>
                <c:pt idx="3519" formatCode="#,##0_);\(#,##0\);&quot;-  &quot;;&quot; &quot;@&quot; &quot;">
                  <c:v>0</c:v>
                </c:pt>
                <c:pt idx="3520" formatCode="#,##0_);\(#,##0\);&quot;-  &quot;;&quot; &quot;@&quot; &quot;">
                  <c:v>0</c:v>
                </c:pt>
                <c:pt idx="3521" formatCode="#,##0_);\(#,##0\);&quot;-  &quot;;&quot; &quot;@&quot; &quot;">
                  <c:v>0</c:v>
                </c:pt>
                <c:pt idx="3522" formatCode="#,##0_);\(#,##0\);&quot;-  &quot;;&quot; &quot;@&quot; &quot;">
                  <c:v>0</c:v>
                </c:pt>
                <c:pt idx="3523" formatCode="#,##0_);\(#,##0\);&quot;-  &quot;;&quot; &quot;@&quot; &quot;">
                  <c:v>0</c:v>
                </c:pt>
                <c:pt idx="3524" formatCode="#,##0_);\(#,##0\);&quot;-  &quot;;&quot; &quot;@&quot; &quot;">
                  <c:v>0</c:v>
                </c:pt>
                <c:pt idx="3525" formatCode="#,##0_);\(#,##0\);&quot;-  &quot;;&quot; &quot;@&quot; &quot;">
                  <c:v>0</c:v>
                </c:pt>
                <c:pt idx="3526" formatCode="#,##0_);\(#,##0\);&quot;-  &quot;;&quot; &quot;@&quot; &quot;">
                  <c:v>0</c:v>
                </c:pt>
                <c:pt idx="3527" formatCode="#,##0_);\(#,##0\);&quot;-  &quot;;&quot; &quot;@&quot; &quot;">
                  <c:v>0</c:v>
                </c:pt>
                <c:pt idx="3528" formatCode="#,##0_);\(#,##0\);&quot;-  &quot;;&quot; &quot;@&quot; &quot;">
                  <c:v>0</c:v>
                </c:pt>
                <c:pt idx="3529" formatCode="#,##0_);\(#,##0\);&quot;-  &quot;;&quot; &quot;@&quot; &quot;">
                  <c:v>0</c:v>
                </c:pt>
                <c:pt idx="3530" formatCode="#,##0_);\(#,##0\);&quot;-  &quot;;&quot; &quot;@&quot; &quot;">
                  <c:v>0</c:v>
                </c:pt>
                <c:pt idx="3531" formatCode="#,##0_);\(#,##0\);&quot;-  &quot;;&quot; &quot;@&quot; &quot;">
                  <c:v>0</c:v>
                </c:pt>
                <c:pt idx="3532" formatCode="#,##0_);\(#,##0\);&quot;-  &quot;;&quot; &quot;@&quot; &quot;">
                  <c:v>0</c:v>
                </c:pt>
                <c:pt idx="3533" formatCode="#,##0_);\(#,##0\);&quot;-  &quot;;&quot; &quot;@&quot; &quot;">
                  <c:v>0</c:v>
                </c:pt>
                <c:pt idx="3534" formatCode="#,##0_);\(#,##0\);&quot;-  &quot;;&quot; &quot;@&quot; &quot;">
                  <c:v>0</c:v>
                </c:pt>
                <c:pt idx="3535" formatCode="#,##0_);\(#,##0\);&quot;-  &quot;;&quot; &quot;@&quot; &quot;">
                  <c:v>0</c:v>
                </c:pt>
                <c:pt idx="3536" formatCode="#,##0_);\(#,##0\);&quot;-  &quot;;&quot; &quot;@&quot; &quot;">
                  <c:v>0</c:v>
                </c:pt>
                <c:pt idx="3537" formatCode="#,##0_);\(#,##0\);&quot;-  &quot;;&quot; &quot;@&quot; &quot;">
                  <c:v>0</c:v>
                </c:pt>
                <c:pt idx="3538" formatCode="#,##0_);\(#,##0\);&quot;-  &quot;;&quot; &quot;@&quot; &quot;">
                  <c:v>0</c:v>
                </c:pt>
                <c:pt idx="3539" formatCode="#,##0_);\(#,##0\);&quot;-  &quot;;&quot; &quot;@&quot; &quot;">
                  <c:v>0</c:v>
                </c:pt>
                <c:pt idx="3540" formatCode="#,##0_);\(#,##0\);&quot;-  &quot;;&quot; &quot;@&quot; &quot;">
                  <c:v>0</c:v>
                </c:pt>
                <c:pt idx="3541" formatCode="#,##0_);\(#,##0\);&quot;-  &quot;;&quot; &quot;@&quot; &quot;">
                  <c:v>0</c:v>
                </c:pt>
                <c:pt idx="3542" formatCode="#,##0_);\(#,##0\);&quot;-  &quot;;&quot; &quot;@&quot; &quot;">
                  <c:v>0</c:v>
                </c:pt>
                <c:pt idx="3543" formatCode="#,##0_);\(#,##0\);&quot;-  &quot;;&quot; &quot;@&quot; &quot;">
                  <c:v>0</c:v>
                </c:pt>
                <c:pt idx="3544" formatCode="#,##0_);\(#,##0\);&quot;-  &quot;;&quot; &quot;@&quot; &quot;">
                  <c:v>0</c:v>
                </c:pt>
                <c:pt idx="3545" formatCode="#,##0_);\(#,##0\);&quot;-  &quot;;&quot; &quot;@&quot; &quot;">
                  <c:v>0</c:v>
                </c:pt>
                <c:pt idx="3546" formatCode="#,##0_);\(#,##0\);&quot;-  &quot;;&quot; &quot;@&quot; &quot;">
                  <c:v>0</c:v>
                </c:pt>
                <c:pt idx="3547" formatCode="#,##0_);\(#,##0\);&quot;-  &quot;;&quot; &quot;@&quot; &quot;">
                  <c:v>0</c:v>
                </c:pt>
                <c:pt idx="3548" formatCode="#,##0_);\(#,##0\);&quot;-  &quot;;&quot; &quot;@&quot; &quot;">
                  <c:v>0</c:v>
                </c:pt>
                <c:pt idx="3549" formatCode="#,##0_);\(#,##0\);&quot;-  &quot;;&quot; &quot;@&quot; &quot;">
                  <c:v>0</c:v>
                </c:pt>
                <c:pt idx="3550" formatCode="#,##0_);\(#,##0\);&quot;-  &quot;;&quot; &quot;@&quot; &quot;">
                  <c:v>0</c:v>
                </c:pt>
                <c:pt idx="3551" formatCode="#,##0_);\(#,##0\);&quot;-  &quot;;&quot; &quot;@&quot; &quot;">
                  <c:v>0</c:v>
                </c:pt>
                <c:pt idx="3552" formatCode="#,##0_);\(#,##0\);&quot;-  &quot;;&quot; &quot;@&quot; &quot;">
                  <c:v>0</c:v>
                </c:pt>
                <c:pt idx="3553" formatCode="#,##0_);\(#,##0\);&quot;-  &quot;;&quot; &quot;@&quot; &quot;">
                  <c:v>0</c:v>
                </c:pt>
                <c:pt idx="3554" formatCode="#,##0_);\(#,##0\);&quot;-  &quot;;&quot; &quot;@&quot; &quot;">
                  <c:v>0</c:v>
                </c:pt>
                <c:pt idx="3555" formatCode="#,##0_);\(#,##0\);&quot;-  &quot;;&quot; &quot;@&quot; &quot;">
                  <c:v>0</c:v>
                </c:pt>
                <c:pt idx="3556" formatCode="#,##0_);\(#,##0\);&quot;-  &quot;;&quot; &quot;@&quot; &quot;">
                  <c:v>0</c:v>
                </c:pt>
                <c:pt idx="3557" formatCode="#,##0_);\(#,##0\);&quot;-  &quot;;&quot; &quot;@&quot; &quot;">
                  <c:v>0</c:v>
                </c:pt>
                <c:pt idx="3558" formatCode="#,##0_);\(#,##0\);&quot;-  &quot;;&quot; &quot;@&quot; &quot;">
                  <c:v>0</c:v>
                </c:pt>
                <c:pt idx="3559" formatCode="#,##0_);\(#,##0\);&quot;-  &quot;;&quot; &quot;@&quot; &quot;">
                  <c:v>0</c:v>
                </c:pt>
                <c:pt idx="3560" formatCode="#,##0_);\(#,##0\);&quot;-  &quot;;&quot; &quot;@&quot; &quot;">
                  <c:v>0</c:v>
                </c:pt>
                <c:pt idx="3561" formatCode="#,##0_);\(#,##0\);&quot;-  &quot;;&quot; &quot;@&quot; &quot;">
                  <c:v>0</c:v>
                </c:pt>
                <c:pt idx="3562" formatCode="#,##0_);\(#,##0\);&quot;-  &quot;;&quot; &quot;@&quot; &quot;">
                  <c:v>0</c:v>
                </c:pt>
                <c:pt idx="3563" formatCode="#,##0_);\(#,##0\);&quot;-  &quot;;&quot; &quot;@&quot; &quot;">
                  <c:v>0</c:v>
                </c:pt>
                <c:pt idx="3564" formatCode="#,##0_);\(#,##0\);&quot;-  &quot;;&quot; &quot;@&quot; &quot;">
                  <c:v>0</c:v>
                </c:pt>
                <c:pt idx="3565" formatCode="#,##0_);\(#,##0\);&quot;-  &quot;;&quot; &quot;@&quot; &quot;">
                  <c:v>0</c:v>
                </c:pt>
                <c:pt idx="3566" formatCode="#,##0_);\(#,##0\);&quot;-  &quot;;&quot; &quot;@&quot; &quot;">
                  <c:v>0</c:v>
                </c:pt>
                <c:pt idx="3567" formatCode="#,##0_);\(#,##0\);&quot;-  &quot;;&quot; &quot;@&quot; &quot;">
                  <c:v>0</c:v>
                </c:pt>
                <c:pt idx="3568" formatCode="#,##0_);\(#,##0\);&quot;-  &quot;;&quot; &quot;@&quot; &quot;">
                  <c:v>0</c:v>
                </c:pt>
                <c:pt idx="3569" formatCode="#,##0_);\(#,##0\);&quot;-  &quot;;&quot; &quot;@&quot; &quot;">
                  <c:v>0</c:v>
                </c:pt>
                <c:pt idx="3570" formatCode="#,##0_);\(#,##0\);&quot;-  &quot;;&quot; &quot;@&quot; &quot;">
                  <c:v>0</c:v>
                </c:pt>
                <c:pt idx="3571" formatCode="#,##0_);\(#,##0\);&quot;-  &quot;;&quot; &quot;@&quot; &quot;">
                  <c:v>0</c:v>
                </c:pt>
                <c:pt idx="3572" formatCode="#,##0_);\(#,##0\);&quot;-  &quot;;&quot; &quot;@&quot; &quot;">
                  <c:v>0</c:v>
                </c:pt>
                <c:pt idx="3573" formatCode="#,##0_);\(#,##0\);&quot;-  &quot;;&quot; &quot;@&quot; &quot;">
                  <c:v>0</c:v>
                </c:pt>
                <c:pt idx="3574" formatCode="#,##0_);\(#,##0\);&quot;-  &quot;;&quot; &quot;@&quot; &quot;">
                  <c:v>0</c:v>
                </c:pt>
                <c:pt idx="3575" formatCode="#,##0_);\(#,##0\);&quot;-  &quot;;&quot; &quot;@&quot; &quot;">
                  <c:v>0</c:v>
                </c:pt>
                <c:pt idx="3576" formatCode="#,##0_);\(#,##0\);&quot;-  &quot;;&quot; &quot;@&quot; &quot;">
                  <c:v>0</c:v>
                </c:pt>
                <c:pt idx="3577" formatCode="#,##0_);\(#,##0\);&quot;-  &quot;;&quot; &quot;@&quot; &quot;">
                  <c:v>0</c:v>
                </c:pt>
                <c:pt idx="3578" formatCode="#,##0_);\(#,##0\);&quot;-  &quot;;&quot; &quot;@&quot; &quot;">
                  <c:v>0</c:v>
                </c:pt>
                <c:pt idx="3579" formatCode="#,##0_);\(#,##0\);&quot;-  &quot;;&quot; &quot;@&quot; &quot;">
                  <c:v>0</c:v>
                </c:pt>
                <c:pt idx="3580" formatCode="#,##0_);\(#,##0\);&quot;-  &quot;;&quot; &quot;@&quot; &quot;">
                  <c:v>0</c:v>
                </c:pt>
                <c:pt idx="3581" formatCode="#,##0_);\(#,##0\);&quot;-  &quot;;&quot; &quot;@&quot; &quot;">
                  <c:v>0</c:v>
                </c:pt>
                <c:pt idx="3582" formatCode="#,##0_);\(#,##0\);&quot;-  &quot;;&quot; &quot;@&quot; &quot;">
                  <c:v>0</c:v>
                </c:pt>
                <c:pt idx="3583" formatCode="#,##0_);\(#,##0\);&quot;-  &quot;;&quot; &quot;@&quot; &quot;">
                  <c:v>0</c:v>
                </c:pt>
                <c:pt idx="3584" formatCode="#,##0_);\(#,##0\);&quot;-  &quot;;&quot; &quot;@&quot; &quot;">
                  <c:v>0</c:v>
                </c:pt>
                <c:pt idx="3585" formatCode="#,##0_);\(#,##0\);&quot;-  &quot;;&quot; &quot;@&quot; &quot;">
                  <c:v>0</c:v>
                </c:pt>
                <c:pt idx="3586" formatCode="#,##0_);\(#,##0\);&quot;-  &quot;;&quot; &quot;@&quot; &quot;">
                  <c:v>0</c:v>
                </c:pt>
                <c:pt idx="3587" formatCode="#,##0_);\(#,##0\);&quot;-  &quot;;&quot; &quot;@&quot; &quot;">
                  <c:v>0</c:v>
                </c:pt>
                <c:pt idx="3588" formatCode="#,##0_);\(#,##0\);&quot;-  &quot;;&quot; &quot;@&quot; &quot;">
                  <c:v>0</c:v>
                </c:pt>
                <c:pt idx="3589" formatCode="#,##0_);\(#,##0\);&quot;-  &quot;;&quot; &quot;@&quot; &quot;">
                  <c:v>0</c:v>
                </c:pt>
                <c:pt idx="3590" formatCode="#,##0_);\(#,##0\);&quot;-  &quot;;&quot; &quot;@&quot; &quot;">
                  <c:v>0</c:v>
                </c:pt>
                <c:pt idx="3591" formatCode="#,##0_);\(#,##0\);&quot;-  &quot;;&quot; &quot;@&quot; &quot;">
                  <c:v>0</c:v>
                </c:pt>
                <c:pt idx="3592" formatCode="#,##0_);\(#,##0\);&quot;-  &quot;;&quot; &quot;@&quot; &quot;">
                  <c:v>0</c:v>
                </c:pt>
                <c:pt idx="3593" formatCode="#,##0_);\(#,##0\);&quot;-  &quot;;&quot; &quot;@&quot; &quot;">
                  <c:v>0</c:v>
                </c:pt>
                <c:pt idx="3594" formatCode="#,##0_);\(#,##0\);&quot;-  &quot;;&quot; &quot;@&quot; &quot;">
                  <c:v>0</c:v>
                </c:pt>
                <c:pt idx="3595" formatCode="#,##0_);\(#,##0\);&quot;-  &quot;;&quot; &quot;@&quot; &quot;">
                  <c:v>0</c:v>
                </c:pt>
                <c:pt idx="3596" formatCode="#,##0_);\(#,##0\);&quot;-  &quot;;&quot; &quot;@&quot; &quot;">
                  <c:v>0</c:v>
                </c:pt>
                <c:pt idx="3597" formatCode="#,##0_);\(#,##0\);&quot;-  &quot;;&quot; &quot;@&quot; &quot;">
                  <c:v>0</c:v>
                </c:pt>
                <c:pt idx="3598" formatCode="#,##0_);\(#,##0\);&quot;-  &quot;;&quot; &quot;@&quot; &quot;">
                  <c:v>0</c:v>
                </c:pt>
                <c:pt idx="3599" formatCode="#,##0_);\(#,##0\);&quot;-  &quot;;&quot; &quot;@&quot; &quot;">
                  <c:v>0</c:v>
                </c:pt>
                <c:pt idx="3600" formatCode="#,##0_);\(#,##0\);&quot;-  &quot;;&quot; &quot;@&quot; &quot;">
                  <c:v>0</c:v>
                </c:pt>
                <c:pt idx="3601" formatCode="#,##0_);\(#,##0\);&quot;-  &quot;;&quot; &quot;@&quot; &quot;">
                  <c:v>0</c:v>
                </c:pt>
                <c:pt idx="3602" formatCode="#,##0_);\(#,##0\);&quot;-  &quot;;&quot; &quot;@&quot; &quot;">
                  <c:v>0</c:v>
                </c:pt>
                <c:pt idx="3603" formatCode="#,##0_);\(#,##0\);&quot;-  &quot;;&quot; &quot;@&quot; &quot;">
                  <c:v>0</c:v>
                </c:pt>
                <c:pt idx="3604" formatCode="#,##0_);\(#,##0\);&quot;-  &quot;;&quot; &quot;@&quot; &quot;">
                  <c:v>0</c:v>
                </c:pt>
                <c:pt idx="3605" formatCode="#,##0_);\(#,##0\);&quot;-  &quot;;&quot; &quot;@&quot; &quot;">
                  <c:v>0</c:v>
                </c:pt>
                <c:pt idx="3606" formatCode="#,##0_);\(#,##0\);&quot;-  &quot;;&quot; &quot;@&quot; &quot;">
                  <c:v>0</c:v>
                </c:pt>
                <c:pt idx="3607" formatCode="#,##0_);\(#,##0\);&quot;-  &quot;;&quot; &quot;@&quot; &quot;">
                  <c:v>0</c:v>
                </c:pt>
                <c:pt idx="3608" formatCode="#,##0_);\(#,##0\);&quot;-  &quot;;&quot; &quot;@&quot; &quot;">
                  <c:v>0</c:v>
                </c:pt>
                <c:pt idx="3609" formatCode="#,##0_);\(#,##0\);&quot;-  &quot;;&quot; &quot;@&quot; &quot;">
                  <c:v>0</c:v>
                </c:pt>
                <c:pt idx="3610" formatCode="#,##0_);\(#,##0\);&quot;-  &quot;;&quot; &quot;@&quot; &quot;">
                  <c:v>0</c:v>
                </c:pt>
                <c:pt idx="3611" formatCode="#,##0_);\(#,##0\);&quot;-  &quot;;&quot; &quot;@&quot; &quot;">
                  <c:v>0</c:v>
                </c:pt>
                <c:pt idx="3612" formatCode="#,##0_);\(#,##0\);&quot;-  &quot;;&quot; &quot;@&quot; &quot;">
                  <c:v>0</c:v>
                </c:pt>
                <c:pt idx="3613" formatCode="#,##0_);\(#,##0\);&quot;-  &quot;;&quot; &quot;@&quot; &quot;">
                  <c:v>0</c:v>
                </c:pt>
                <c:pt idx="3614" formatCode="#,##0_);\(#,##0\);&quot;-  &quot;;&quot; &quot;@&quot; &quot;">
                  <c:v>0</c:v>
                </c:pt>
                <c:pt idx="3615" formatCode="#,##0_);\(#,##0\);&quot;-  &quot;;&quot; &quot;@&quot; &quot;">
                  <c:v>0</c:v>
                </c:pt>
                <c:pt idx="3616" formatCode="#,##0_);\(#,##0\);&quot;-  &quot;;&quot; &quot;@&quot; &quot;">
                  <c:v>0</c:v>
                </c:pt>
                <c:pt idx="3617" formatCode="#,##0_);\(#,##0\);&quot;-  &quot;;&quot; &quot;@&quot; &quot;">
                  <c:v>0</c:v>
                </c:pt>
                <c:pt idx="3618" formatCode="#,##0_);\(#,##0\);&quot;-  &quot;;&quot; &quot;@&quot; &quot;">
                  <c:v>0</c:v>
                </c:pt>
                <c:pt idx="3619" formatCode="#,##0_);\(#,##0\);&quot;-  &quot;;&quot; &quot;@&quot; &quot;">
                  <c:v>0</c:v>
                </c:pt>
                <c:pt idx="3620" formatCode="#,##0_);\(#,##0\);&quot;-  &quot;;&quot; &quot;@&quot; &quot;">
                  <c:v>0</c:v>
                </c:pt>
                <c:pt idx="3621" formatCode="#,##0_);\(#,##0\);&quot;-  &quot;;&quot; &quot;@&quot; &quot;">
                  <c:v>0</c:v>
                </c:pt>
                <c:pt idx="3622" formatCode="#,##0_);\(#,##0\);&quot;-  &quot;;&quot; &quot;@&quot; &quot;">
                  <c:v>0</c:v>
                </c:pt>
                <c:pt idx="3623" formatCode="#,##0_);\(#,##0\);&quot;-  &quot;;&quot; &quot;@&quot; &quot;">
                  <c:v>0</c:v>
                </c:pt>
                <c:pt idx="3624" formatCode="#,##0_);\(#,##0\);&quot;-  &quot;;&quot; &quot;@&quot; &quot;">
                  <c:v>0</c:v>
                </c:pt>
                <c:pt idx="3625" formatCode="#,##0_);\(#,##0\);&quot;-  &quot;;&quot; &quot;@&quot; &quot;">
                  <c:v>0</c:v>
                </c:pt>
                <c:pt idx="3626" formatCode="#,##0_);\(#,##0\);&quot;-  &quot;;&quot; &quot;@&quot; &quot;">
                  <c:v>0</c:v>
                </c:pt>
                <c:pt idx="3627" formatCode="#,##0_);\(#,##0\);&quot;-  &quot;;&quot; &quot;@&quot; &quot;">
                  <c:v>0</c:v>
                </c:pt>
                <c:pt idx="3628" formatCode="#,##0_);\(#,##0\);&quot;-  &quot;;&quot; &quot;@&quot; &quot;">
                  <c:v>0</c:v>
                </c:pt>
                <c:pt idx="3629" formatCode="#,##0_);\(#,##0\);&quot;-  &quot;;&quot; &quot;@&quot; &quot;">
                  <c:v>0</c:v>
                </c:pt>
                <c:pt idx="3630" formatCode="#,##0_);\(#,##0\);&quot;-  &quot;;&quot; &quot;@&quot; &quot;">
                  <c:v>0</c:v>
                </c:pt>
                <c:pt idx="3631" formatCode="#,##0_);\(#,##0\);&quot;-  &quot;;&quot; &quot;@&quot; &quot;">
                  <c:v>0</c:v>
                </c:pt>
                <c:pt idx="3632" formatCode="#,##0_);\(#,##0\);&quot;-  &quot;;&quot; &quot;@&quot; &quot;">
                  <c:v>0</c:v>
                </c:pt>
                <c:pt idx="3633" formatCode="#,##0_);\(#,##0\);&quot;-  &quot;;&quot; &quot;@&quot; &quot;">
                  <c:v>0</c:v>
                </c:pt>
                <c:pt idx="3634" formatCode="#,##0_);\(#,##0\);&quot;-  &quot;;&quot; &quot;@&quot; &quot;">
                  <c:v>0</c:v>
                </c:pt>
                <c:pt idx="3635" formatCode="#,##0_);\(#,##0\);&quot;-  &quot;;&quot; &quot;@&quot; &quot;">
                  <c:v>0</c:v>
                </c:pt>
                <c:pt idx="3636" formatCode="#,##0_);\(#,##0\);&quot;-  &quot;;&quot; &quot;@&quot; &quot;">
                  <c:v>0</c:v>
                </c:pt>
                <c:pt idx="3637" formatCode="#,##0_);\(#,##0\);&quot;-  &quot;;&quot; &quot;@&quot; &quot;">
                  <c:v>0</c:v>
                </c:pt>
                <c:pt idx="3638" formatCode="#,##0_);\(#,##0\);&quot;-  &quot;;&quot; &quot;@&quot; &quot;">
                  <c:v>0</c:v>
                </c:pt>
                <c:pt idx="3639" formatCode="#,##0_);\(#,##0\);&quot;-  &quot;;&quot; &quot;@&quot; &quot;">
                  <c:v>0</c:v>
                </c:pt>
                <c:pt idx="3640" formatCode="#,##0_);\(#,##0\);&quot;-  &quot;;&quot; &quot;@&quot; &quot;">
                  <c:v>0</c:v>
                </c:pt>
                <c:pt idx="3641" formatCode="#,##0_);\(#,##0\);&quot;-  &quot;;&quot; &quot;@&quot; &quot;">
                  <c:v>0</c:v>
                </c:pt>
                <c:pt idx="3642" formatCode="#,##0_);\(#,##0\);&quot;-  &quot;;&quot; &quot;@&quot; &quot;">
                  <c:v>0</c:v>
                </c:pt>
                <c:pt idx="3643" formatCode="#,##0_);\(#,##0\);&quot;-  &quot;;&quot; &quot;@&quot; &quot;">
                  <c:v>0</c:v>
                </c:pt>
                <c:pt idx="3644" formatCode="#,##0_);\(#,##0\);&quot;-  &quot;;&quot; &quot;@&quot; &quot;">
                  <c:v>0</c:v>
                </c:pt>
                <c:pt idx="3645" formatCode="#,##0_);\(#,##0\);&quot;-  &quot;;&quot; &quot;@&quot; &quot;">
                  <c:v>0</c:v>
                </c:pt>
                <c:pt idx="3646" formatCode="#,##0_);\(#,##0\);&quot;-  &quot;;&quot; &quot;@&quot; &quot;">
                  <c:v>0</c:v>
                </c:pt>
                <c:pt idx="3647" formatCode="#,##0_);\(#,##0\);&quot;-  &quot;;&quot; &quot;@&quot; &quot;">
                  <c:v>0</c:v>
                </c:pt>
                <c:pt idx="3648" formatCode="#,##0_);\(#,##0\);&quot;-  &quot;;&quot; &quot;@&quot; &quot;">
                  <c:v>0</c:v>
                </c:pt>
                <c:pt idx="3649" formatCode="#,##0_);\(#,##0\);&quot;-  &quot;;&quot; &quot;@&quot; &quot;">
                  <c:v>0</c:v>
                </c:pt>
                <c:pt idx="3650" formatCode="#,##0_);\(#,##0\);&quot;-  &quot;;&quot; &quot;@&quot; &quot;">
                  <c:v>0</c:v>
                </c:pt>
                <c:pt idx="3651" formatCode="#,##0_);\(#,##0\);&quot;-  &quot;;&quot; &quot;@&quot; &quot;">
                  <c:v>0</c:v>
                </c:pt>
                <c:pt idx="3652" formatCode="#,##0_);\(#,##0\);&quot;-  &quot;;&quot; &quot;@&quot; &quot;">
                  <c:v>0</c:v>
                </c:pt>
                <c:pt idx="3653" formatCode="#,##0_);\(#,##0\);&quot;-  &quot;;&quot; &quot;@&quot; &quot;">
                  <c:v>0</c:v>
                </c:pt>
                <c:pt idx="3654" formatCode="#,##0_);\(#,##0\);&quot;-  &quot;;&quot; &quot;@&quot; &quot;">
                  <c:v>0</c:v>
                </c:pt>
                <c:pt idx="3655" formatCode="#,##0_);\(#,##0\);&quot;-  &quot;;&quot; &quot;@&quot; &quot;">
                  <c:v>0</c:v>
                </c:pt>
                <c:pt idx="3656" formatCode="#,##0_);\(#,##0\);&quot;-  &quot;;&quot; &quot;@&quot; &quot;">
                  <c:v>0</c:v>
                </c:pt>
                <c:pt idx="3657" formatCode="#,##0_);\(#,##0\);&quot;-  &quot;;&quot; &quot;@&quot; &quot;">
                  <c:v>0</c:v>
                </c:pt>
                <c:pt idx="3658" formatCode="#,##0_);\(#,##0\);&quot;-  &quot;;&quot; &quot;@&quot; &quot;">
                  <c:v>0</c:v>
                </c:pt>
                <c:pt idx="3659" formatCode="#,##0_);\(#,##0\);&quot;-  &quot;;&quot; &quot;@&quot; &quot;">
                  <c:v>0</c:v>
                </c:pt>
                <c:pt idx="3660" formatCode="#,##0_);\(#,##0\);&quot;-  &quot;;&quot; &quot;@&quot; &quot;">
                  <c:v>0</c:v>
                </c:pt>
                <c:pt idx="3661" formatCode="#,##0_);\(#,##0\);&quot;-  &quot;;&quot; &quot;@&quot; &quot;">
                  <c:v>0</c:v>
                </c:pt>
                <c:pt idx="3662" formatCode="#,##0_);\(#,##0\);&quot;-  &quot;;&quot; &quot;@&quot; &quot;">
                  <c:v>0</c:v>
                </c:pt>
                <c:pt idx="3663" formatCode="#,##0_);\(#,##0\);&quot;-  &quot;;&quot; &quot;@&quot; &quot;">
                  <c:v>0</c:v>
                </c:pt>
                <c:pt idx="3664" formatCode="#,##0_);\(#,##0\);&quot;-  &quot;;&quot; &quot;@&quot; &quot;">
                  <c:v>0</c:v>
                </c:pt>
                <c:pt idx="3665" formatCode="#,##0_);\(#,##0\);&quot;-  &quot;;&quot; &quot;@&quot; &quot;">
                  <c:v>0</c:v>
                </c:pt>
                <c:pt idx="3666" formatCode="#,##0_);\(#,##0\);&quot;-  &quot;;&quot; &quot;@&quot; &quot;">
                  <c:v>0</c:v>
                </c:pt>
                <c:pt idx="3667" formatCode="#,##0_);\(#,##0\);&quot;-  &quot;;&quot; &quot;@&quot; &quot;">
                  <c:v>0</c:v>
                </c:pt>
                <c:pt idx="3668" formatCode="#,##0_);\(#,##0\);&quot;-  &quot;;&quot; &quot;@&quot; &quot;">
                  <c:v>0</c:v>
                </c:pt>
                <c:pt idx="3669" formatCode="#,##0_);\(#,##0\);&quot;-  &quot;;&quot; &quot;@&quot; &quot;">
                  <c:v>0</c:v>
                </c:pt>
                <c:pt idx="3670" formatCode="#,##0_);\(#,##0\);&quot;-  &quot;;&quot; &quot;@&quot; &quot;">
                  <c:v>0</c:v>
                </c:pt>
                <c:pt idx="3671" formatCode="#,##0_);\(#,##0\);&quot;-  &quot;;&quot; &quot;@&quot; &quot;">
                  <c:v>0</c:v>
                </c:pt>
                <c:pt idx="3672" formatCode="#,##0_);\(#,##0\);&quot;-  &quot;;&quot; &quot;@&quot; &quot;">
                  <c:v>0</c:v>
                </c:pt>
                <c:pt idx="3673" formatCode="#,##0_);\(#,##0\);&quot;-  &quot;;&quot; &quot;@&quot; &quot;">
                  <c:v>0</c:v>
                </c:pt>
                <c:pt idx="3674" formatCode="#,##0_);\(#,##0\);&quot;-  &quot;;&quot; &quot;@&quot; &quot;">
                  <c:v>0</c:v>
                </c:pt>
                <c:pt idx="3675" formatCode="#,##0_);\(#,##0\);&quot;-  &quot;;&quot; &quot;@&quot; &quot;">
                  <c:v>0</c:v>
                </c:pt>
                <c:pt idx="3676" formatCode="#,##0_);\(#,##0\);&quot;-  &quot;;&quot; &quot;@&quot; &quot;">
                  <c:v>0</c:v>
                </c:pt>
                <c:pt idx="3677" formatCode="#,##0_);\(#,##0\);&quot;-  &quot;;&quot; &quot;@&quot; &quot;">
                  <c:v>0</c:v>
                </c:pt>
                <c:pt idx="3678" formatCode="#,##0_);\(#,##0\);&quot;-  &quot;;&quot; &quot;@&quot; &quot;">
                  <c:v>0</c:v>
                </c:pt>
                <c:pt idx="3679" formatCode="#,##0_);\(#,##0\);&quot;-  &quot;;&quot; &quot;@&quot; &quot;">
                  <c:v>0</c:v>
                </c:pt>
                <c:pt idx="3680" formatCode="#,##0_);\(#,##0\);&quot;-  &quot;;&quot; &quot;@&quot; &quot;">
                  <c:v>0</c:v>
                </c:pt>
                <c:pt idx="3681" formatCode="#,##0_);\(#,##0\);&quot;-  &quot;;&quot; &quot;@&quot; &quot;">
                  <c:v>0</c:v>
                </c:pt>
                <c:pt idx="3682" formatCode="#,##0_);\(#,##0\);&quot;-  &quot;;&quot; &quot;@&quot; &quot;">
                  <c:v>0</c:v>
                </c:pt>
                <c:pt idx="3683" formatCode="#,##0_);\(#,##0\);&quot;-  &quot;;&quot; &quot;@&quot; &quot;">
                  <c:v>0</c:v>
                </c:pt>
                <c:pt idx="3684" formatCode="#,##0_);\(#,##0\);&quot;-  &quot;;&quot; &quot;@&quot; &quot;">
                  <c:v>0</c:v>
                </c:pt>
                <c:pt idx="3685" formatCode="#,##0_);\(#,##0\);&quot;-  &quot;;&quot; &quot;@&quot; &quot;">
                  <c:v>0</c:v>
                </c:pt>
                <c:pt idx="3686" formatCode="#,##0_);\(#,##0\);&quot;-  &quot;;&quot; &quot;@&quot; &quot;">
                  <c:v>0</c:v>
                </c:pt>
                <c:pt idx="3687" formatCode="#,##0_);\(#,##0\);&quot;-  &quot;;&quot; &quot;@&quot; &quot;">
                  <c:v>0</c:v>
                </c:pt>
                <c:pt idx="3688" formatCode="#,##0_);\(#,##0\);&quot;-  &quot;;&quot; &quot;@&quot; &quot;">
                  <c:v>0</c:v>
                </c:pt>
                <c:pt idx="3689" formatCode="#,##0_);\(#,##0\);&quot;-  &quot;;&quot; &quot;@&quot; &quot;">
                  <c:v>0</c:v>
                </c:pt>
                <c:pt idx="3690" formatCode="#,##0_);\(#,##0\);&quot;-  &quot;;&quot; &quot;@&quot; &quot;">
                  <c:v>0</c:v>
                </c:pt>
                <c:pt idx="3691" formatCode="#,##0_);\(#,##0\);&quot;-  &quot;;&quot; &quot;@&quot; &quot;">
                  <c:v>0</c:v>
                </c:pt>
                <c:pt idx="3692" formatCode="#,##0_);\(#,##0\);&quot;-  &quot;;&quot; &quot;@&quot; &quot;">
                  <c:v>0</c:v>
                </c:pt>
                <c:pt idx="3693" formatCode="#,##0_);\(#,##0\);&quot;-  &quot;;&quot; &quot;@&quot; &quot;">
                  <c:v>0</c:v>
                </c:pt>
                <c:pt idx="3694" formatCode="#,##0_);\(#,##0\);&quot;-  &quot;;&quot; &quot;@&quot; &quot;">
                  <c:v>0</c:v>
                </c:pt>
                <c:pt idx="3695" formatCode="#,##0_);\(#,##0\);&quot;-  &quot;;&quot; &quot;@&quot; &quot;">
                  <c:v>0</c:v>
                </c:pt>
                <c:pt idx="3696" formatCode="#,##0_);\(#,##0\);&quot;-  &quot;;&quot; &quot;@&quot; &quot;">
                  <c:v>0</c:v>
                </c:pt>
                <c:pt idx="3697" formatCode="#,##0_);\(#,##0\);&quot;-  &quot;;&quot; &quot;@&quot; &quot;">
                  <c:v>0</c:v>
                </c:pt>
                <c:pt idx="3698" formatCode="#,##0_);\(#,##0\);&quot;-  &quot;;&quot; &quot;@&quot; &quot;">
                  <c:v>0</c:v>
                </c:pt>
                <c:pt idx="3699" formatCode="#,##0_);\(#,##0\);&quot;-  &quot;;&quot; &quot;@&quot; &quot;">
                  <c:v>0</c:v>
                </c:pt>
                <c:pt idx="3700" formatCode="#,##0_);\(#,##0\);&quot;-  &quot;;&quot; &quot;@&quot; &quot;">
                  <c:v>0</c:v>
                </c:pt>
                <c:pt idx="3701" formatCode="#,##0_);\(#,##0\);&quot;-  &quot;;&quot; &quot;@&quot; &quot;">
                  <c:v>0</c:v>
                </c:pt>
                <c:pt idx="3702" formatCode="#,##0_);\(#,##0\);&quot;-  &quot;;&quot; &quot;@&quot; &quot;">
                  <c:v>0</c:v>
                </c:pt>
                <c:pt idx="3703" formatCode="#,##0_);\(#,##0\);&quot;-  &quot;;&quot; &quot;@&quot; &quot;">
                  <c:v>0</c:v>
                </c:pt>
                <c:pt idx="3704" formatCode="#,##0_);\(#,##0\);&quot;-  &quot;;&quot; &quot;@&quot; &quot;">
                  <c:v>0</c:v>
                </c:pt>
                <c:pt idx="3705" formatCode="#,##0_);\(#,##0\);&quot;-  &quot;;&quot; &quot;@&quot; &quot;">
                  <c:v>0</c:v>
                </c:pt>
                <c:pt idx="3706" formatCode="#,##0_);\(#,##0\);&quot;-  &quot;;&quot; &quot;@&quot; &quot;">
                  <c:v>0</c:v>
                </c:pt>
                <c:pt idx="3707" formatCode="#,##0_);\(#,##0\);&quot;-  &quot;;&quot; &quot;@&quot; &quot;">
                  <c:v>0</c:v>
                </c:pt>
                <c:pt idx="3708" formatCode="#,##0_);\(#,##0\);&quot;-  &quot;;&quot; &quot;@&quot; &quot;">
                  <c:v>0</c:v>
                </c:pt>
                <c:pt idx="3709" formatCode="#,##0_);\(#,##0\);&quot;-  &quot;;&quot; &quot;@&quot; &quot;">
                  <c:v>0</c:v>
                </c:pt>
                <c:pt idx="3710" formatCode="#,##0_);\(#,##0\);&quot;-  &quot;;&quot; &quot;@&quot; &quot;">
                  <c:v>0</c:v>
                </c:pt>
                <c:pt idx="3711" formatCode="#,##0_);\(#,##0\);&quot;-  &quot;;&quot; &quot;@&quot; &quot;">
                  <c:v>0</c:v>
                </c:pt>
                <c:pt idx="3712" formatCode="#,##0_);\(#,##0\);&quot;-  &quot;;&quot; &quot;@&quot; &quot;">
                  <c:v>0</c:v>
                </c:pt>
                <c:pt idx="3713" formatCode="#,##0_);\(#,##0\);&quot;-  &quot;;&quot; &quot;@&quot; &quot;">
                  <c:v>0</c:v>
                </c:pt>
                <c:pt idx="3714" formatCode="#,##0_);\(#,##0\);&quot;-  &quot;;&quot; &quot;@&quot; &quot;">
                  <c:v>0</c:v>
                </c:pt>
                <c:pt idx="3715" formatCode="#,##0_);\(#,##0\);&quot;-  &quot;;&quot; &quot;@&quot; &quot;">
                  <c:v>0</c:v>
                </c:pt>
                <c:pt idx="3716" formatCode="#,##0_);\(#,##0\);&quot;-  &quot;;&quot; &quot;@&quot; &quot;">
                  <c:v>0</c:v>
                </c:pt>
                <c:pt idx="3717" formatCode="#,##0_);\(#,##0\);&quot;-  &quot;;&quot; &quot;@&quot; &quot;">
                  <c:v>0</c:v>
                </c:pt>
                <c:pt idx="3718" formatCode="#,##0_);\(#,##0\);&quot;-  &quot;;&quot; &quot;@&quot; &quot;">
                  <c:v>0</c:v>
                </c:pt>
                <c:pt idx="3719" formatCode="#,##0_);\(#,##0\);&quot;-  &quot;;&quot; &quot;@&quot; &quot;">
                  <c:v>0</c:v>
                </c:pt>
                <c:pt idx="3720" formatCode="#,##0_);\(#,##0\);&quot;-  &quot;;&quot; &quot;@&quot; &quot;">
                  <c:v>0</c:v>
                </c:pt>
                <c:pt idx="3721" formatCode="#,##0_);\(#,##0\);&quot;-  &quot;;&quot; &quot;@&quot; &quot;">
                  <c:v>0</c:v>
                </c:pt>
                <c:pt idx="3722" formatCode="#,##0_);\(#,##0\);&quot;-  &quot;;&quot; &quot;@&quot; &quot;">
                  <c:v>0</c:v>
                </c:pt>
                <c:pt idx="3723" formatCode="#,##0_);\(#,##0\);&quot;-  &quot;;&quot; &quot;@&quot; &quot;">
                  <c:v>0</c:v>
                </c:pt>
                <c:pt idx="3724" formatCode="#,##0_);\(#,##0\);&quot;-  &quot;;&quot; &quot;@&quot; &quot;">
                  <c:v>0</c:v>
                </c:pt>
                <c:pt idx="3725" formatCode="#,##0_);\(#,##0\);&quot;-  &quot;;&quot; &quot;@&quot; &quot;">
                  <c:v>0</c:v>
                </c:pt>
                <c:pt idx="3726" formatCode="#,##0_);\(#,##0\);&quot;-  &quot;;&quot; &quot;@&quot; &quot;">
                  <c:v>0</c:v>
                </c:pt>
                <c:pt idx="3727" formatCode="#,##0_);\(#,##0\);&quot;-  &quot;;&quot; &quot;@&quot; &quot;">
                  <c:v>0</c:v>
                </c:pt>
                <c:pt idx="3728" formatCode="#,##0_);\(#,##0\);&quot;-  &quot;;&quot; &quot;@&quot; &quot;">
                  <c:v>0</c:v>
                </c:pt>
                <c:pt idx="3729" formatCode="#,##0_);\(#,##0\);&quot;-  &quot;;&quot; &quot;@&quot; &quot;">
                  <c:v>0</c:v>
                </c:pt>
                <c:pt idx="3730" formatCode="#,##0_);\(#,##0\);&quot;-  &quot;;&quot; &quot;@&quot; &quot;">
                  <c:v>0</c:v>
                </c:pt>
                <c:pt idx="3731" formatCode="#,##0_);\(#,##0\);&quot;-  &quot;;&quot; &quot;@&quot; &quot;">
                  <c:v>0</c:v>
                </c:pt>
                <c:pt idx="3732" formatCode="#,##0_);\(#,##0\);&quot;-  &quot;;&quot; &quot;@&quot; &quot;">
                  <c:v>0</c:v>
                </c:pt>
                <c:pt idx="3733" formatCode="#,##0_);\(#,##0\);&quot;-  &quot;;&quot; &quot;@&quot; &quot;">
                  <c:v>0</c:v>
                </c:pt>
                <c:pt idx="3734" formatCode="#,##0_);\(#,##0\);&quot;-  &quot;;&quot; &quot;@&quot; &quot;">
                  <c:v>0</c:v>
                </c:pt>
                <c:pt idx="3735" formatCode="#,##0_);\(#,##0\);&quot;-  &quot;;&quot; &quot;@&quot; &quot;">
                  <c:v>0</c:v>
                </c:pt>
                <c:pt idx="3736" formatCode="#,##0_);\(#,##0\);&quot;-  &quot;;&quot; &quot;@&quot; &quot;">
                  <c:v>0</c:v>
                </c:pt>
                <c:pt idx="3737" formatCode="#,##0_);\(#,##0\);&quot;-  &quot;;&quot; &quot;@&quot; &quot;">
                  <c:v>0</c:v>
                </c:pt>
                <c:pt idx="3738" formatCode="#,##0_);\(#,##0\);&quot;-  &quot;;&quot; &quot;@&quot; &quot;">
                  <c:v>0</c:v>
                </c:pt>
                <c:pt idx="3739" formatCode="#,##0_);\(#,##0\);&quot;-  &quot;;&quot; &quot;@&quot; &quot;">
                  <c:v>0</c:v>
                </c:pt>
                <c:pt idx="3740" formatCode="#,##0_);\(#,##0\);&quot;-  &quot;;&quot; &quot;@&quot; &quot;">
                  <c:v>0</c:v>
                </c:pt>
                <c:pt idx="3741" formatCode="#,##0_);\(#,##0\);&quot;-  &quot;;&quot; &quot;@&quot; &quot;">
                  <c:v>0</c:v>
                </c:pt>
                <c:pt idx="3742" formatCode="#,##0_);\(#,##0\);&quot;-  &quot;;&quot; &quot;@&quot; &quot;">
                  <c:v>0</c:v>
                </c:pt>
                <c:pt idx="3743" formatCode="#,##0_);\(#,##0\);&quot;-  &quot;;&quot; &quot;@&quot; &quot;">
                  <c:v>0</c:v>
                </c:pt>
                <c:pt idx="3744" formatCode="#,##0_);\(#,##0\);&quot;-  &quot;;&quot; &quot;@&quot; &quot;">
                  <c:v>0</c:v>
                </c:pt>
                <c:pt idx="3745" formatCode="#,##0_);\(#,##0\);&quot;-  &quot;;&quot; &quot;@&quot; &quot;">
                  <c:v>0</c:v>
                </c:pt>
                <c:pt idx="3746" formatCode="#,##0_);\(#,##0\);&quot;-  &quot;;&quot; &quot;@&quot; &quot;">
                  <c:v>0</c:v>
                </c:pt>
                <c:pt idx="3747" formatCode="#,##0_);\(#,##0\);&quot;-  &quot;;&quot; &quot;@&quot; &quot;">
                  <c:v>0</c:v>
                </c:pt>
                <c:pt idx="3748" formatCode="#,##0_);\(#,##0\);&quot;-  &quot;;&quot; &quot;@&quot; &quot;">
                  <c:v>0</c:v>
                </c:pt>
                <c:pt idx="3749" formatCode="#,##0_);\(#,##0\);&quot;-  &quot;;&quot; &quot;@&quot; &quot;">
                  <c:v>0</c:v>
                </c:pt>
                <c:pt idx="3750" formatCode="#,##0_);\(#,##0\);&quot;-  &quot;;&quot; &quot;@&quot; &quot;">
                  <c:v>0</c:v>
                </c:pt>
                <c:pt idx="3751" formatCode="#,##0_);\(#,##0\);&quot;-  &quot;;&quot; &quot;@&quot; &quot;">
                  <c:v>0</c:v>
                </c:pt>
                <c:pt idx="3752" formatCode="#,##0_);\(#,##0\);&quot;-  &quot;;&quot; &quot;@&quot; &quot;">
                  <c:v>0</c:v>
                </c:pt>
                <c:pt idx="3753" formatCode="#,##0_);\(#,##0\);&quot;-  &quot;;&quot; &quot;@&quot; &quot;">
                  <c:v>0</c:v>
                </c:pt>
                <c:pt idx="3754" formatCode="#,##0_);\(#,##0\);&quot;-  &quot;;&quot; &quot;@&quot; &quot;">
                  <c:v>0</c:v>
                </c:pt>
                <c:pt idx="3755" formatCode="#,##0_);\(#,##0\);&quot;-  &quot;;&quot; &quot;@&quot; &quot;">
                  <c:v>0</c:v>
                </c:pt>
                <c:pt idx="3756" formatCode="#,##0_);\(#,##0\);&quot;-  &quot;;&quot; &quot;@&quot; &quot;">
                  <c:v>0</c:v>
                </c:pt>
                <c:pt idx="3757" formatCode="#,##0_);\(#,##0\);&quot;-  &quot;;&quot; &quot;@&quot; &quot;">
                  <c:v>0</c:v>
                </c:pt>
                <c:pt idx="3758" formatCode="#,##0_);\(#,##0\);&quot;-  &quot;;&quot; &quot;@&quot; &quot;">
                  <c:v>0</c:v>
                </c:pt>
                <c:pt idx="3759" formatCode="#,##0_);\(#,##0\);&quot;-  &quot;;&quot; &quot;@&quot; &quot;">
                  <c:v>0</c:v>
                </c:pt>
                <c:pt idx="3760" formatCode="#,##0_);\(#,##0\);&quot;-  &quot;;&quot; &quot;@&quot; &quot;">
                  <c:v>0</c:v>
                </c:pt>
                <c:pt idx="3761" formatCode="#,##0_);\(#,##0\);&quot;-  &quot;;&quot; &quot;@&quot; &quot;">
                  <c:v>0</c:v>
                </c:pt>
                <c:pt idx="3762" formatCode="#,##0_);\(#,##0\);&quot;-  &quot;;&quot; &quot;@&quot; &quot;">
                  <c:v>0</c:v>
                </c:pt>
                <c:pt idx="3763" formatCode="#,##0_);\(#,##0\);&quot;-  &quot;;&quot; &quot;@&quot; &quot;">
                  <c:v>0</c:v>
                </c:pt>
                <c:pt idx="3764" formatCode="#,##0_);\(#,##0\);&quot;-  &quot;;&quot; &quot;@&quot; &quot;">
                  <c:v>0</c:v>
                </c:pt>
                <c:pt idx="3765" formatCode="#,##0_);\(#,##0\);&quot;-  &quot;;&quot; &quot;@&quot; &quot;">
                  <c:v>0</c:v>
                </c:pt>
                <c:pt idx="3766" formatCode="#,##0_);\(#,##0\);&quot;-  &quot;;&quot; &quot;@&quot; &quot;">
                  <c:v>0</c:v>
                </c:pt>
                <c:pt idx="3767" formatCode="#,##0_);\(#,##0\);&quot;-  &quot;;&quot; &quot;@&quot; &quot;">
                  <c:v>0</c:v>
                </c:pt>
                <c:pt idx="3768" formatCode="#,##0_);\(#,##0\);&quot;-  &quot;;&quot; &quot;@&quot; &quot;">
                  <c:v>0</c:v>
                </c:pt>
                <c:pt idx="3769" formatCode="#,##0_);\(#,##0\);&quot;-  &quot;;&quot; &quot;@&quot; &quot;">
                  <c:v>0</c:v>
                </c:pt>
                <c:pt idx="3770" formatCode="#,##0_);\(#,##0\);&quot;-  &quot;;&quot; &quot;@&quot; &quot;">
                  <c:v>0</c:v>
                </c:pt>
                <c:pt idx="3771" formatCode="#,##0_);\(#,##0\);&quot;-  &quot;;&quot; &quot;@&quot; &quot;">
                  <c:v>0</c:v>
                </c:pt>
                <c:pt idx="3772" formatCode="#,##0_);\(#,##0\);&quot;-  &quot;;&quot; &quot;@&quot; &quot;">
                  <c:v>0</c:v>
                </c:pt>
                <c:pt idx="3773" formatCode="#,##0_);\(#,##0\);&quot;-  &quot;;&quot; &quot;@&quot; &quot;">
                  <c:v>0</c:v>
                </c:pt>
                <c:pt idx="3774" formatCode="#,##0_);\(#,##0\);&quot;-  &quot;;&quot; &quot;@&quot; &quot;">
                  <c:v>0</c:v>
                </c:pt>
                <c:pt idx="3775" formatCode="#,##0_);\(#,##0\);&quot;-  &quot;;&quot; &quot;@&quot; &quot;">
                  <c:v>0</c:v>
                </c:pt>
                <c:pt idx="3776" formatCode="#,##0_);\(#,##0\);&quot;-  &quot;;&quot; &quot;@&quot; &quot;">
                  <c:v>0</c:v>
                </c:pt>
                <c:pt idx="3777" formatCode="#,##0_);\(#,##0\);&quot;-  &quot;;&quot; &quot;@&quot; &quot;">
                  <c:v>0</c:v>
                </c:pt>
                <c:pt idx="3778" formatCode="#,##0_);\(#,##0\);&quot;-  &quot;;&quot; &quot;@&quot; &quot;">
                  <c:v>0</c:v>
                </c:pt>
                <c:pt idx="3779" formatCode="#,##0_);\(#,##0\);&quot;-  &quot;;&quot; &quot;@&quot; &quot;">
                  <c:v>0</c:v>
                </c:pt>
                <c:pt idx="3780" formatCode="#,##0_);\(#,##0\);&quot;-  &quot;;&quot; &quot;@&quot; &quot;">
                  <c:v>0</c:v>
                </c:pt>
                <c:pt idx="3781" formatCode="#,##0_);\(#,##0\);&quot;-  &quot;;&quot; &quot;@&quot; &quot;">
                  <c:v>0</c:v>
                </c:pt>
                <c:pt idx="3782" formatCode="#,##0_);\(#,##0\);&quot;-  &quot;;&quot; &quot;@&quot; &quot;">
                  <c:v>0</c:v>
                </c:pt>
                <c:pt idx="3783" formatCode="#,##0_);\(#,##0\);&quot;-  &quot;;&quot; &quot;@&quot; &quot;">
                  <c:v>0</c:v>
                </c:pt>
                <c:pt idx="3784" formatCode="#,##0_);\(#,##0\);&quot;-  &quot;;&quot; &quot;@&quot; &quot;">
                  <c:v>0</c:v>
                </c:pt>
                <c:pt idx="3785" formatCode="#,##0_);\(#,##0\);&quot;-  &quot;;&quot; &quot;@&quot; &quot;">
                  <c:v>0</c:v>
                </c:pt>
                <c:pt idx="3786" formatCode="#,##0_);\(#,##0\);&quot;-  &quot;;&quot; &quot;@&quot; &quot;">
                  <c:v>0</c:v>
                </c:pt>
                <c:pt idx="3787" formatCode="#,##0_);\(#,##0\);&quot;-  &quot;;&quot; &quot;@&quot; &quot;">
                  <c:v>0</c:v>
                </c:pt>
                <c:pt idx="3788" formatCode="#,##0_);\(#,##0\);&quot;-  &quot;;&quot; &quot;@&quot; &quot;">
                  <c:v>0</c:v>
                </c:pt>
                <c:pt idx="3789" formatCode="#,##0_);\(#,##0\);&quot;-  &quot;;&quot; &quot;@&quot; &quot;">
                  <c:v>0</c:v>
                </c:pt>
                <c:pt idx="3790" formatCode="#,##0_);\(#,##0\);&quot;-  &quot;;&quot; &quot;@&quot; &quot;">
                  <c:v>0</c:v>
                </c:pt>
                <c:pt idx="3791" formatCode="#,##0_);\(#,##0\);&quot;-  &quot;;&quot; &quot;@&quot; &quot;">
                  <c:v>0</c:v>
                </c:pt>
                <c:pt idx="3792" formatCode="#,##0_);\(#,##0\);&quot;-  &quot;;&quot; &quot;@&quot; &quot;">
                  <c:v>0</c:v>
                </c:pt>
                <c:pt idx="3793" formatCode="#,##0_);\(#,##0\);&quot;-  &quot;;&quot; &quot;@&quot; &quot;">
                  <c:v>0</c:v>
                </c:pt>
                <c:pt idx="3794" formatCode="#,##0_);\(#,##0\);&quot;-  &quot;;&quot; &quot;@&quot; &quot;">
                  <c:v>0</c:v>
                </c:pt>
                <c:pt idx="3795" formatCode="#,##0_);\(#,##0\);&quot;-  &quot;;&quot; &quot;@&quot; &quot;">
                  <c:v>0</c:v>
                </c:pt>
                <c:pt idx="3796" formatCode="#,##0_);\(#,##0\);&quot;-  &quot;;&quot; &quot;@&quot; &quot;">
                  <c:v>0</c:v>
                </c:pt>
                <c:pt idx="3797" formatCode="#,##0_);\(#,##0\);&quot;-  &quot;;&quot; &quot;@&quot; &quot;">
                  <c:v>0</c:v>
                </c:pt>
                <c:pt idx="3798" formatCode="#,##0_);\(#,##0\);&quot;-  &quot;;&quot; &quot;@&quot; &quot;">
                  <c:v>0</c:v>
                </c:pt>
                <c:pt idx="3799" formatCode="#,##0_);\(#,##0\);&quot;-  &quot;;&quot; &quot;@&quot; &quot;">
                  <c:v>0</c:v>
                </c:pt>
                <c:pt idx="3800" formatCode="#,##0_);\(#,##0\);&quot;-  &quot;;&quot; &quot;@&quot; &quot;">
                  <c:v>0</c:v>
                </c:pt>
                <c:pt idx="3801" formatCode="#,##0_);\(#,##0\);&quot;-  &quot;;&quot; &quot;@&quot; &quot;">
                  <c:v>0</c:v>
                </c:pt>
                <c:pt idx="3802" formatCode="#,##0_);\(#,##0\);&quot;-  &quot;;&quot; &quot;@&quot; &quot;">
                  <c:v>0</c:v>
                </c:pt>
                <c:pt idx="3803" formatCode="#,##0_);\(#,##0\);&quot;-  &quot;;&quot; &quot;@&quot; &quot;">
                  <c:v>0</c:v>
                </c:pt>
                <c:pt idx="3804" formatCode="#,##0_);\(#,##0\);&quot;-  &quot;;&quot; &quot;@&quot; &quot;">
                  <c:v>0</c:v>
                </c:pt>
                <c:pt idx="3805" formatCode="#,##0_);\(#,##0\);&quot;-  &quot;;&quot; &quot;@&quot; &quot;">
                  <c:v>0</c:v>
                </c:pt>
                <c:pt idx="3806" formatCode="#,##0_);\(#,##0\);&quot;-  &quot;;&quot; &quot;@&quot; &quot;">
                  <c:v>0</c:v>
                </c:pt>
                <c:pt idx="3807" formatCode="#,##0_);\(#,##0\);&quot;-  &quot;;&quot; &quot;@&quot; &quot;">
                  <c:v>0</c:v>
                </c:pt>
                <c:pt idx="3808" formatCode="#,##0_);\(#,##0\);&quot;-  &quot;;&quot; &quot;@&quot; &quot;">
                  <c:v>0</c:v>
                </c:pt>
                <c:pt idx="3809" formatCode="#,##0_);\(#,##0\);&quot;-  &quot;;&quot; &quot;@&quot; &quot;">
                  <c:v>0</c:v>
                </c:pt>
                <c:pt idx="3810" formatCode="#,##0_);\(#,##0\);&quot;-  &quot;;&quot; &quot;@&quot; &quot;">
                  <c:v>0</c:v>
                </c:pt>
                <c:pt idx="3811" formatCode="#,##0_);\(#,##0\);&quot;-  &quot;;&quot; &quot;@&quot; &quot;">
                  <c:v>0</c:v>
                </c:pt>
                <c:pt idx="3812" formatCode="#,##0_);\(#,##0\);&quot;-  &quot;;&quot; &quot;@&quot; &quot;">
                  <c:v>0</c:v>
                </c:pt>
                <c:pt idx="3813" formatCode="#,##0_);\(#,##0\);&quot;-  &quot;;&quot; &quot;@&quot; &quot;">
                  <c:v>0</c:v>
                </c:pt>
                <c:pt idx="3814" formatCode="#,##0_);\(#,##0\);&quot;-  &quot;;&quot; &quot;@&quot; &quot;">
                  <c:v>0</c:v>
                </c:pt>
                <c:pt idx="3815" formatCode="#,##0_);\(#,##0\);&quot;-  &quot;;&quot; &quot;@&quot; &quot;">
                  <c:v>0</c:v>
                </c:pt>
                <c:pt idx="3816" formatCode="#,##0_);\(#,##0\);&quot;-  &quot;;&quot; &quot;@&quot; &quot;">
                  <c:v>0</c:v>
                </c:pt>
                <c:pt idx="3817" formatCode="#,##0_);\(#,##0\);&quot;-  &quot;;&quot; &quot;@&quot; &quot;">
                  <c:v>0</c:v>
                </c:pt>
                <c:pt idx="3818" formatCode="#,##0_);\(#,##0\);&quot;-  &quot;;&quot; &quot;@&quot; &quot;">
                  <c:v>0</c:v>
                </c:pt>
                <c:pt idx="3819" formatCode="#,##0_);\(#,##0\);&quot;-  &quot;;&quot; &quot;@&quot; &quot;">
                  <c:v>0</c:v>
                </c:pt>
                <c:pt idx="3820" formatCode="#,##0_);\(#,##0\);&quot;-  &quot;;&quot; &quot;@&quot; &quot;">
                  <c:v>0</c:v>
                </c:pt>
                <c:pt idx="3821" formatCode="#,##0_);\(#,##0\);&quot;-  &quot;;&quot; &quot;@&quot; &quot;">
                  <c:v>0</c:v>
                </c:pt>
                <c:pt idx="3822" formatCode="#,##0_);\(#,##0\);&quot;-  &quot;;&quot; &quot;@&quot; &quot;">
                  <c:v>0</c:v>
                </c:pt>
                <c:pt idx="3823" formatCode="#,##0_);\(#,##0\);&quot;-  &quot;;&quot; &quot;@&quot; &quot;">
                  <c:v>0</c:v>
                </c:pt>
                <c:pt idx="3824" formatCode="#,##0_);\(#,##0\);&quot;-  &quot;;&quot; &quot;@&quot; &quot;">
                  <c:v>0</c:v>
                </c:pt>
                <c:pt idx="3825" formatCode="#,##0_);\(#,##0\);&quot;-  &quot;;&quot; &quot;@&quot; &quot;">
                  <c:v>0</c:v>
                </c:pt>
                <c:pt idx="3826" formatCode="#,##0_);\(#,##0\);&quot;-  &quot;;&quot; &quot;@&quot; &quot;">
                  <c:v>0</c:v>
                </c:pt>
                <c:pt idx="3827" formatCode="#,##0_);\(#,##0\);&quot;-  &quot;;&quot; &quot;@&quot; &quot;">
                  <c:v>0</c:v>
                </c:pt>
                <c:pt idx="3828" formatCode="#,##0_);\(#,##0\);&quot;-  &quot;;&quot; &quot;@&quot; &quot;">
                  <c:v>0</c:v>
                </c:pt>
                <c:pt idx="3829" formatCode="#,##0_);\(#,##0\);&quot;-  &quot;;&quot; &quot;@&quot; &quot;">
                  <c:v>0</c:v>
                </c:pt>
                <c:pt idx="3830" formatCode="#,##0_);\(#,##0\);&quot;-  &quot;;&quot; &quot;@&quot; &quot;">
                  <c:v>0</c:v>
                </c:pt>
                <c:pt idx="3831" formatCode="#,##0_);\(#,##0\);&quot;-  &quot;;&quot; &quot;@&quot; &quot;">
                  <c:v>0</c:v>
                </c:pt>
                <c:pt idx="3832" formatCode="#,##0_);\(#,##0\);&quot;-  &quot;;&quot; &quot;@&quot; &quot;">
                  <c:v>0</c:v>
                </c:pt>
                <c:pt idx="3833" formatCode="#,##0_);\(#,##0\);&quot;-  &quot;;&quot; &quot;@&quot; &quot;">
                  <c:v>0</c:v>
                </c:pt>
                <c:pt idx="3834" formatCode="#,##0_);\(#,##0\);&quot;-  &quot;;&quot; &quot;@&quot; &quot;">
                  <c:v>0</c:v>
                </c:pt>
                <c:pt idx="3835" formatCode="#,##0_);\(#,##0\);&quot;-  &quot;;&quot; &quot;@&quot; &quot;">
                  <c:v>0</c:v>
                </c:pt>
                <c:pt idx="3836" formatCode="#,##0_);\(#,##0\);&quot;-  &quot;;&quot; &quot;@&quot; &quot;">
                  <c:v>0</c:v>
                </c:pt>
                <c:pt idx="3837" formatCode="#,##0_);\(#,##0\);&quot;-  &quot;;&quot; &quot;@&quot; &quot;">
                  <c:v>0</c:v>
                </c:pt>
                <c:pt idx="3838" formatCode="#,##0_);\(#,##0\);&quot;-  &quot;;&quot; &quot;@&quot; &quot;">
                  <c:v>0</c:v>
                </c:pt>
                <c:pt idx="3839" formatCode="#,##0_);\(#,##0\);&quot;-  &quot;;&quot; &quot;@&quot; &quot;">
                  <c:v>0</c:v>
                </c:pt>
                <c:pt idx="3840" formatCode="#,##0_);\(#,##0\);&quot;-  &quot;;&quot; &quot;@&quot; &quot;">
                  <c:v>0</c:v>
                </c:pt>
                <c:pt idx="3841" formatCode="#,##0_);\(#,##0\);&quot;-  &quot;;&quot; &quot;@&quot; &quot;">
                  <c:v>0</c:v>
                </c:pt>
                <c:pt idx="3842" formatCode="#,##0_);\(#,##0\);&quot;-  &quot;;&quot; &quot;@&quot; &quot;">
                  <c:v>0</c:v>
                </c:pt>
                <c:pt idx="3843" formatCode="#,##0_);\(#,##0\);&quot;-  &quot;;&quot; &quot;@&quot; &quot;">
                  <c:v>0</c:v>
                </c:pt>
                <c:pt idx="3844" formatCode="#,##0_);\(#,##0\);&quot;-  &quot;;&quot; &quot;@&quot; &quot;">
                  <c:v>0</c:v>
                </c:pt>
                <c:pt idx="3845" formatCode="#,##0_);\(#,##0\);&quot;-  &quot;;&quot; &quot;@&quot; &quot;">
                  <c:v>0</c:v>
                </c:pt>
                <c:pt idx="3846" formatCode="#,##0_);\(#,##0\);&quot;-  &quot;;&quot; &quot;@&quot; &quot;">
                  <c:v>0</c:v>
                </c:pt>
                <c:pt idx="3847" formatCode="#,##0_);\(#,##0\);&quot;-  &quot;;&quot; &quot;@&quot; &quot;">
                  <c:v>0</c:v>
                </c:pt>
                <c:pt idx="3848" formatCode="#,##0_);\(#,##0\);&quot;-  &quot;;&quot; &quot;@&quot; &quot;">
                  <c:v>0</c:v>
                </c:pt>
                <c:pt idx="3849" formatCode="#,##0_);\(#,##0\);&quot;-  &quot;;&quot; &quot;@&quot; &quot;">
                  <c:v>0</c:v>
                </c:pt>
                <c:pt idx="3850" formatCode="#,##0_);\(#,##0\);&quot;-  &quot;;&quot; &quot;@&quot; &quot;">
                  <c:v>0</c:v>
                </c:pt>
                <c:pt idx="3851" formatCode="#,##0_);\(#,##0\);&quot;-  &quot;;&quot; &quot;@&quot; &quot;">
                  <c:v>0</c:v>
                </c:pt>
                <c:pt idx="3852" formatCode="#,##0_);\(#,##0\);&quot;-  &quot;;&quot; &quot;@&quot; &quot;">
                  <c:v>0</c:v>
                </c:pt>
                <c:pt idx="3853" formatCode="#,##0_);\(#,##0\);&quot;-  &quot;;&quot; &quot;@&quot; &quot;">
                  <c:v>0</c:v>
                </c:pt>
                <c:pt idx="3854" formatCode="#,##0_);\(#,##0\);&quot;-  &quot;;&quot; &quot;@&quot; &quot;">
                  <c:v>0</c:v>
                </c:pt>
                <c:pt idx="3855" formatCode="#,##0_);\(#,##0\);&quot;-  &quot;;&quot; &quot;@&quot; &quot;">
                  <c:v>0</c:v>
                </c:pt>
                <c:pt idx="3856" formatCode="#,##0_);\(#,##0\);&quot;-  &quot;;&quot; &quot;@&quot; &quot;">
                  <c:v>0</c:v>
                </c:pt>
                <c:pt idx="3857" formatCode="#,##0_);\(#,##0\);&quot;-  &quot;;&quot; &quot;@&quot; &quot;">
                  <c:v>0</c:v>
                </c:pt>
                <c:pt idx="3858" formatCode="#,##0_);\(#,##0\);&quot;-  &quot;;&quot; &quot;@&quot; &quot;">
                  <c:v>0</c:v>
                </c:pt>
                <c:pt idx="3859" formatCode="#,##0_);\(#,##0\);&quot;-  &quot;;&quot; &quot;@&quot; &quot;">
                  <c:v>0</c:v>
                </c:pt>
                <c:pt idx="3860" formatCode="#,##0_);\(#,##0\);&quot;-  &quot;;&quot; &quot;@&quot; &quot;">
                  <c:v>0</c:v>
                </c:pt>
                <c:pt idx="3861" formatCode="#,##0_);\(#,##0\);&quot;-  &quot;;&quot; &quot;@&quot; &quot;">
                  <c:v>0</c:v>
                </c:pt>
                <c:pt idx="3862" formatCode="#,##0_);\(#,##0\);&quot;-  &quot;;&quot; &quot;@&quot; &quot;">
                  <c:v>0</c:v>
                </c:pt>
                <c:pt idx="3863" formatCode="#,##0_);\(#,##0\);&quot;-  &quot;;&quot; &quot;@&quot; &quot;">
                  <c:v>0</c:v>
                </c:pt>
                <c:pt idx="3864" formatCode="#,##0_);\(#,##0\);&quot;-  &quot;;&quot; &quot;@&quot; &quot;">
                  <c:v>0</c:v>
                </c:pt>
                <c:pt idx="3865" formatCode="#,##0_);\(#,##0\);&quot;-  &quot;;&quot; &quot;@&quot; &quot;">
                  <c:v>0</c:v>
                </c:pt>
                <c:pt idx="3866" formatCode="#,##0_);\(#,##0\);&quot;-  &quot;;&quot; &quot;@&quot; &quot;">
                  <c:v>0</c:v>
                </c:pt>
                <c:pt idx="3867" formatCode="#,##0_);\(#,##0\);&quot;-  &quot;;&quot; &quot;@&quot; &quot;">
                  <c:v>0</c:v>
                </c:pt>
                <c:pt idx="3868" formatCode="#,##0_);\(#,##0\);&quot;-  &quot;;&quot; &quot;@&quot; &quot;">
                  <c:v>0</c:v>
                </c:pt>
                <c:pt idx="3869" formatCode="#,##0_);\(#,##0\);&quot;-  &quot;;&quot; &quot;@&quot; &quot;">
                  <c:v>0</c:v>
                </c:pt>
                <c:pt idx="3870" formatCode="#,##0_);\(#,##0\);&quot;-  &quot;;&quot; &quot;@&quot; &quot;">
                  <c:v>0</c:v>
                </c:pt>
                <c:pt idx="3871" formatCode="#,##0_);\(#,##0\);&quot;-  &quot;;&quot; &quot;@&quot; &quot;">
                  <c:v>0</c:v>
                </c:pt>
                <c:pt idx="3872" formatCode="#,##0_);\(#,##0\);&quot;-  &quot;;&quot; &quot;@&quot; &quot;">
                  <c:v>0</c:v>
                </c:pt>
                <c:pt idx="3873" formatCode="#,##0_);\(#,##0\);&quot;-  &quot;;&quot; &quot;@&quot; &quot;">
                  <c:v>0</c:v>
                </c:pt>
                <c:pt idx="3874" formatCode="#,##0_);\(#,##0\);&quot;-  &quot;;&quot; &quot;@&quot; &quot;">
                  <c:v>0</c:v>
                </c:pt>
                <c:pt idx="3875" formatCode="#,##0_);\(#,##0\);&quot;-  &quot;;&quot; &quot;@&quot; &quot;">
                  <c:v>0</c:v>
                </c:pt>
                <c:pt idx="3876" formatCode="#,##0_);\(#,##0\);&quot;-  &quot;;&quot; &quot;@&quot; &quot;">
                  <c:v>0</c:v>
                </c:pt>
                <c:pt idx="3877" formatCode="#,##0_);\(#,##0\);&quot;-  &quot;;&quot; &quot;@&quot; &quot;">
                  <c:v>0</c:v>
                </c:pt>
                <c:pt idx="3878" formatCode="#,##0_);\(#,##0\);&quot;-  &quot;;&quot; &quot;@&quot; &quot;">
                  <c:v>0</c:v>
                </c:pt>
                <c:pt idx="3879" formatCode="#,##0_);\(#,##0\);&quot;-  &quot;;&quot; &quot;@&quot; &quot;">
                  <c:v>0</c:v>
                </c:pt>
                <c:pt idx="3880" formatCode="#,##0_);\(#,##0\);&quot;-  &quot;;&quot; &quot;@&quot; &quot;">
                  <c:v>0</c:v>
                </c:pt>
                <c:pt idx="3881" formatCode="#,##0_);\(#,##0\);&quot;-  &quot;;&quot; &quot;@&quot; &quot;">
                  <c:v>0</c:v>
                </c:pt>
                <c:pt idx="3882" formatCode="#,##0_);\(#,##0\);&quot;-  &quot;;&quot; &quot;@&quot; &quot;">
                  <c:v>0</c:v>
                </c:pt>
                <c:pt idx="3883" formatCode="#,##0_);\(#,##0\);&quot;-  &quot;;&quot; &quot;@&quot; &quot;">
                  <c:v>0</c:v>
                </c:pt>
                <c:pt idx="3884" formatCode="#,##0_);\(#,##0\);&quot;-  &quot;;&quot; &quot;@&quot; &quot;">
                  <c:v>0</c:v>
                </c:pt>
                <c:pt idx="3885" formatCode="#,##0_);\(#,##0\);&quot;-  &quot;;&quot; &quot;@&quot; &quot;">
                  <c:v>0</c:v>
                </c:pt>
                <c:pt idx="3886" formatCode="#,##0_);\(#,##0\);&quot;-  &quot;;&quot; &quot;@&quot; &quot;">
                  <c:v>0</c:v>
                </c:pt>
                <c:pt idx="3887" formatCode="#,##0_);\(#,##0\);&quot;-  &quot;;&quot; &quot;@&quot; &quot;">
                  <c:v>0</c:v>
                </c:pt>
                <c:pt idx="3888" formatCode="#,##0_);\(#,##0\);&quot;-  &quot;;&quot; &quot;@&quot; &quot;">
                  <c:v>0</c:v>
                </c:pt>
                <c:pt idx="3889" formatCode="#,##0_);\(#,##0\);&quot;-  &quot;;&quot; &quot;@&quot; &quot;">
                  <c:v>0</c:v>
                </c:pt>
                <c:pt idx="3890" formatCode="#,##0_);\(#,##0\);&quot;-  &quot;;&quot; &quot;@&quot; &quot;">
                  <c:v>0</c:v>
                </c:pt>
                <c:pt idx="3891" formatCode="#,##0_);\(#,##0\);&quot;-  &quot;;&quot; &quot;@&quot; &quot;">
                  <c:v>0</c:v>
                </c:pt>
                <c:pt idx="3892" formatCode="#,##0_);\(#,##0\);&quot;-  &quot;;&quot; &quot;@&quot; &quot;">
                  <c:v>0</c:v>
                </c:pt>
                <c:pt idx="3893" formatCode="#,##0_);\(#,##0\);&quot;-  &quot;;&quot; &quot;@&quot; &quot;">
                  <c:v>0</c:v>
                </c:pt>
                <c:pt idx="3894" formatCode="#,##0_);\(#,##0\);&quot;-  &quot;;&quot; &quot;@&quot; &quot;">
                  <c:v>0</c:v>
                </c:pt>
                <c:pt idx="3895" formatCode="#,##0_);\(#,##0\);&quot;-  &quot;;&quot; &quot;@&quot; &quot;">
                  <c:v>0</c:v>
                </c:pt>
                <c:pt idx="3896" formatCode="#,##0_);\(#,##0\);&quot;-  &quot;;&quot; &quot;@&quot; &quot;">
                  <c:v>0</c:v>
                </c:pt>
                <c:pt idx="3897" formatCode="#,##0_);\(#,##0\);&quot;-  &quot;;&quot; &quot;@&quot; &quot;">
                  <c:v>0</c:v>
                </c:pt>
                <c:pt idx="3898" formatCode="#,##0_);\(#,##0\);&quot;-  &quot;;&quot; &quot;@&quot; &quot;">
                  <c:v>0</c:v>
                </c:pt>
                <c:pt idx="3899" formatCode="#,##0_);\(#,##0\);&quot;-  &quot;;&quot; &quot;@&quot; &quot;">
                  <c:v>0</c:v>
                </c:pt>
                <c:pt idx="3900" formatCode="#,##0_);\(#,##0\);&quot;-  &quot;;&quot; &quot;@&quot; &quot;">
                  <c:v>0</c:v>
                </c:pt>
                <c:pt idx="3901" formatCode="#,##0_);\(#,##0\);&quot;-  &quot;;&quot; &quot;@&quot; &quot;">
                  <c:v>0</c:v>
                </c:pt>
                <c:pt idx="3902" formatCode="#,##0_);\(#,##0\);&quot;-  &quot;;&quot; &quot;@&quot; &quot;">
                  <c:v>0</c:v>
                </c:pt>
                <c:pt idx="3903" formatCode="#,##0_);\(#,##0\);&quot;-  &quot;;&quot; &quot;@&quot; &quot;">
                  <c:v>0</c:v>
                </c:pt>
                <c:pt idx="3904" formatCode="#,##0_);\(#,##0\);&quot;-  &quot;;&quot; &quot;@&quot; &quot;">
                  <c:v>0</c:v>
                </c:pt>
                <c:pt idx="3905" formatCode="#,##0_);\(#,##0\);&quot;-  &quot;;&quot; &quot;@&quot; &quot;">
                  <c:v>0</c:v>
                </c:pt>
                <c:pt idx="3906" formatCode="#,##0_);\(#,##0\);&quot;-  &quot;;&quot; &quot;@&quot; &quot;">
                  <c:v>0</c:v>
                </c:pt>
                <c:pt idx="3907" formatCode="#,##0_);\(#,##0\);&quot;-  &quot;;&quot; &quot;@&quot; &quot;">
                  <c:v>0</c:v>
                </c:pt>
                <c:pt idx="3908" formatCode="#,##0_);\(#,##0\);&quot;-  &quot;;&quot; &quot;@&quot; &quot;">
                  <c:v>0</c:v>
                </c:pt>
                <c:pt idx="3909" formatCode="#,##0_);\(#,##0\);&quot;-  &quot;;&quot; &quot;@&quot; &quot;">
                  <c:v>0</c:v>
                </c:pt>
                <c:pt idx="3910" formatCode="#,##0_);\(#,##0\);&quot;-  &quot;;&quot; &quot;@&quot; &quot;">
                  <c:v>0</c:v>
                </c:pt>
                <c:pt idx="3911" formatCode="#,##0_);\(#,##0\);&quot;-  &quot;;&quot; &quot;@&quot; &quot;">
                  <c:v>0</c:v>
                </c:pt>
                <c:pt idx="3912" formatCode="#,##0_);\(#,##0\);&quot;-  &quot;;&quot; &quot;@&quot; &quot;">
                  <c:v>0</c:v>
                </c:pt>
                <c:pt idx="3913" formatCode="#,##0_);\(#,##0\);&quot;-  &quot;;&quot; &quot;@&quot; &quot;">
                  <c:v>0</c:v>
                </c:pt>
                <c:pt idx="3914" formatCode="#,##0_);\(#,##0\);&quot;-  &quot;;&quot; &quot;@&quot; &quot;">
                  <c:v>0</c:v>
                </c:pt>
                <c:pt idx="3915" formatCode="#,##0_);\(#,##0\);&quot;-  &quot;;&quot; &quot;@&quot; &quot;">
                  <c:v>0</c:v>
                </c:pt>
                <c:pt idx="3916" formatCode="#,##0_);\(#,##0\);&quot;-  &quot;;&quot; &quot;@&quot; &quot;">
                  <c:v>0</c:v>
                </c:pt>
                <c:pt idx="3917" formatCode="#,##0_);\(#,##0\);&quot;-  &quot;;&quot; &quot;@&quot; &quot;">
                  <c:v>0</c:v>
                </c:pt>
                <c:pt idx="3918" formatCode="#,##0_);\(#,##0\);&quot;-  &quot;;&quot; &quot;@&quot; &quot;">
                  <c:v>0</c:v>
                </c:pt>
                <c:pt idx="3919" formatCode="#,##0_);\(#,##0\);&quot;-  &quot;;&quot; &quot;@&quot; &quot;">
                  <c:v>0</c:v>
                </c:pt>
                <c:pt idx="3920" formatCode="#,##0_);\(#,##0\);&quot;-  &quot;;&quot; &quot;@&quot; &quot;">
                  <c:v>0</c:v>
                </c:pt>
                <c:pt idx="3921" formatCode="#,##0_);\(#,##0\);&quot;-  &quot;;&quot; &quot;@&quot; &quot;">
                  <c:v>0</c:v>
                </c:pt>
                <c:pt idx="3922" formatCode="#,##0_);\(#,##0\);&quot;-  &quot;;&quot; &quot;@&quot; &quot;">
                  <c:v>0</c:v>
                </c:pt>
                <c:pt idx="3923" formatCode="#,##0_);\(#,##0\);&quot;-  &quot;;&quot; &quot;@&quot; &quot;">
                  <c:v>0</c:v>
                </c:pt>
                <c:pt idx="3924" formatCode="#,##0_);\(#,##0\);&quot;-  &quot;;&quot; &quot;@&quot; &quot;">
                  <c:v>0</c:v>
                </c:pt>
                <c:pt idx="3925" formatCode="#,##0_);\(#,##0\);&quot;-  &quot;;&quot; &quot;@&quot; &quot;">
                  <c:v>0</c:v>
                </c:pt>
                <c:pt idx="3926" formatCode="#,##0_);\(#,##0\);&quot;-  &quot;;&quot; &quot;@&quot; &quot;">
                  <c:v>0</c:v>
                </c:pt>
                <c:pt idx="3927" formatCode="#,##0_);\(#,##0\);&quot;-  &quot;;&quot; &quot;@&quot; &quot;">
                  <c:v>0</c:v>
                </c:pt>
                <c:pt idx="3928" formatCode="#,##0_);\(#,##0\);&quot;-  &quot;;&quot; &quot;@&quot; &quot;">
                  <c:v>0</c:v>
                </c:pt>
                <c:pt idx="3929" formatCode="#,##0_);\(#,##0\);&quot;-  &quot;;&quot; &quot;@&quot; &quot;">
                  <c:v>0</c:v>
                </c:pt>
                <c:pt idx="3930" formatCode="#,##0_);\(#,##0\);&quot;-  &quot;;&quot; &quot;@&quot; &quot;">
                  <c:v>0</c:v>
                </c:pt>
                <c:pt idx="3931" formatCode="#,##0_);\(#,##0\);&quot;-  &quot;;&quot; &quot;@&quot; &quot;">
                  <c:v>0</c:v>
                </c:pt>
                <c:pt idx="3932" formatCode="#,##0_);\(#,##0\);&quot;-  &quot;;&quot; &quot;@&quot; &quot;">
                  <c:v>0</c:v>
                </c:pt>
                <c:pt idx="3933" formatCode="#,##0_);\(#,##0\);&quot;-  &quot;;&quot; &quot;@&quot; &quot;">
                  <c:v>0</c:v>
                </c:pt>
                <c:pt idx="3934" formatCode="#,##0_);\(#,##0\);&quot;-  &quot;;&quot; &quot;@&quot; &quot;">
                  <c:v>0</c:v>
                </c:pt>
                <c:pt idx="3935" formatCode="#,##0_);\(#,##0\);&quot;-  &quot;;&quot; &quot;@&quot; &quot;">
                  <c:v>0</c:v>
                </c:pt>
                <c:pt idx="3936" formatCode="#,##0_);\(#,##0\);&quot;-  &quot;;&quot; &quot;@&quot; &quot;">
                  <c:v>0</c:v>
                </c:pt>
                <c:pt idx="3937" formatCode="#,##0_);\(#,##0\);&quot;-  &quot;;&quot; &quot;@&quot; &quot;">
                  <c:v>0</c:v>
                </c:pt>
                <c:pt idx="3938" formatCode="#,##0_);\(#,##0\);&quot;-  &quot;;&quot; &quot;@&quot; &quot;">
                  <c:v>0</c:v>
                </c:pt>
                <c:pt idx="3939" formatCode="#,##0_);\(#,##0\);&quot;-  &quot;;&quot; &quot;@&quot; &quot;">
                  <c:v>0</c:v>
                </c:pt>
                <c:pt idx="3940" formatCode="#,##0_);\(#,##0\);&quot;-  &quot;;&quot; &quot;@&quot; &quot;">
                  <c:v>0</c:v>
                </c:pt>
                <c:pt idx="3941" formatCode="#,##0_);\(#,##0\);&quot;-  &quot;;&quot; &quot;@&quot; &quot;">
                  <c:v>0</c:v>
                </c:pt>
                <c:pt idx="3942" formatCode="#,##0_);\(#,##0\);&quot;-  &quot;;&quot; &quot;@&quot; &quot;">
                  <c:v>0</c:v>
                </c:pt>
                <c:pt idx="3943" formatCode="#,##0_);\(#,##0\);&quot;-  &quot;;&quot; &quot;@&quot; &quot;">
                  <c:v>0</c:v>
                </c:pt>
                <c:pt idx="3944" formatCode="#,##0_);\(#,##0\);&quot;-  &quot;;&quot; &quot;@&quot; &quot;">
                  <c:v>0</c:v>
                </c:pt>
                <c:pt idx="3945" formatCode="#,##0_);\(#,##0\);&quot;-  &quot;;&quot; &quot;@&quot; &quot;">
                  <c:v>0</c:v>
                </c:pt>
                <c:pt idx="3946" formatCode="#,##0_);\(#,##0\);&quot;-  &quot;;&quot; &quot;@&quot; &quot;">
                  <c:v>0</c:v>
                </c:pt>
                <c:pt idx="3947" formatCode="#,##0_);\(#,##0\);&quot;-  &quot;;&quot; &quot;@&quot; &quot;">
                  <c:v>0</c:v>
                </c:pt>
                <c:pt idx="3948" formatCode="#,##0_);\(#,##0\);&quot;-  &quot;;&quot; &quot;@&quot; &quot;">
                  <c:v>0</c:v>
                </c:pt>
                <c:pt idx="3949" formatCode="#,##0_);\(#,##0\);&quot;-  &quot;;&quot; &quot;@&quot; &quot;">
                  <c:v>0</c:v>
                </c:pt>
                <c:pt idx="3950" formatCode="#,##0_);\(#,##0\);&quot;-  &quot;;&quot; &quot;@&quot; &quot;">
                  <c:v>0</c:v>
                </c:pt>
                <c:pt idx="3951" formatCode="#,##0_);\(#,##0\);&quot;-  &quot;;&quot; &quot;@&quot; &quot;">
                  <c:v>0</c:v>
                </c:pt>
                <c:pt idx="3952" formatCode="#,##0_);\(#,##0\);&quot;-  &quot;;&quot; &quot;@&quot; &quot;">
                  <c:v>0</c:v>
                </c:pt>
                <c:pt idx="3953" formatCode="#,##0_);\(#,##0\);&quot;-  &quot;;&quot; &quot;@&quot; &quot;">
                  <c:v>0</c:v>
                </c:pt>
                <c:pt idx="3954" formatCode="#,##0_);\(#,##0\);&quot;-  &quot;;&quot; &quot;@&quot; &quot;">
                  <c:v>0</c:v>
                </c:pt>
                <c:pt idx="3955" formatCode="#,##0_);\(#,##0\);&quot;-  &quot;;&quot; &quot;@&quot; &quot;">
                  <c:v>0</c:v>
                </c:pt>
                <c:pt idx="3956" formatCode="#,##0_);\(#,##0\);&quot;-  &quot;;&quot; &quot;@&quot; &quot;">
                  <c:v>0</c:v>
                </c:pt>
                <c:pt idx="3957" formatCode="#,##0_);\(#,##0\);&quot;-  &quot;;&quot; &quot;@&quot; &quot;">
                  <c:v>0</c:v>
                </c:pt>
                <c:pt idx="3958" formatCode="#,##0_);\(#,##0\);&quot;-  &quot;;&quot; &quot;@&quot; &quot;">
                  <c:v>0</c:v>
                </c:pt>
                <c:pt idx="3959" formatCode="#,##0_);\(#,##0\);&quot;-  &quot;;&quot; &quot;@&quot; &quot;">
                  <c:v>0</c:v>
                </c:pt>
                <c:pt idx="3960" formatCode="#,##0_);\(#,##0\);&quot;-  &quot;;&quot; &quot;@&quot; &quot;">
                  <c:v>0</c:v>
                </c:pt>
                <c:pt idx="3961" formatCode="#,##0_);\(#,##0\);&quot;-  &quot;;&quot; &quot;@&quot; &quot;">
                  <c:v>0</c:v>
                </c:pt>
                <c:pt idx="3962" formatCode="#,##0_);\(#,##0\);&quot;-  &quot;;&quot; &quot;@&quot; &quot;">
                  <c:v>0</c:v>
                </c:pt>
                <c:pt idx="3963" formatCode="#,##0_);\(#,##0\);&quot;-  &quot;;&quot; &quot;@&quot; &quot;">
                  <c:v>0</c:v>
                </c:pt>
                <c:pt idx="3964" formatCode="#,##0_);\(#,##0\);&quot;-  &quot;;&quot; &quot;@&quot; &quot;">
                  <c:v>0</c:v>
                </c:pt>
                <c:pt idx="3965" formatCode="#,##0_);\(#,##0\);&quot;-  &quot;;&quot; &quot;@&quot; &quot;">
                  <c:v>0</c:v>
                </c:pt>
                <c:pt idx="3966" formatCode="#,##0_);\(#,##0\);&quot;-  &quot;;&quot; &quot;@&quot; &quot;">
                  <c:v>0</c:v>
                </c:pt>
                <c:pt idx="3967" formatCode="#,##0_);\(#,##0\);&quot;-  &quot;;&quot; &quot;@&quot; &quot;">
                  <c:v>0</c:v>
                </c:pt>
                <c:pt idx="3968" formatCode="#,##0_);\(#,##0\);&quot;-  &quot;;&quot; &quot;@&quot; &quot;">
                  <c:v>0</c:v>
                </c:pt>
                <c:pt idx="3969" formatCode="#,##0_);\(#,##0\);&quot;-  &quot;;&quot; &quot;@&quot; &quot;">
                  <c:v>0</c:v>
                </c:pt>
                <c:pt idx="3970" formatCode="#,##0_);\(#,##0\);&quot;-  &quot;;&quot; &quot;@&quot; &quot;">
                  <c:v>0</c:v>
                </c:pt>
                <c:pt idx="3971" formatCode="#,##0_);\(#,##0\);&quot;-  &quot;;&quot; &quot;@&quot; &quot;">
                  <c:v>0</c:v>
                </c:pt>
                <c:pt idx="3972" formatCode="#,##0_);\(#,##0\);&quot;-  &quot;;&quot; &quot;@&quot; &quot;">
                  <c:v>0</c:v>
                </c:pt>
                <c:pt idx="3973" formatCode="#,##0_);\(#,##0\);&quot;-  &quot;;&quot; &quot;@&quot; &quot;">
                  <c:v>0</c:v>
                </c:pt>
                <c:pt idx="3974" formatCode="#,##0_);\(#,##0\);&quot;-  &quot;;&quot; &quot;@&quot; &quot;">
                  <c:v>0</c:v>
                </c:pt>
                <c:pt idx="3975" formatCode="#,##0_);\(#,##0\);&quot;-  &quot;;&quot; &quot;@&quot; &quot;">
                  <c:v>0</c:v>
                </c:pt>
                <c:pt idx="3976" formatCode="#,##0_);\(#,##0\);&quot;-  &quot;;&quot; &quot;@&quot; &quot;">
                  <c:v>0</c:v>
                </c:pt>
                <c:pt idx="3977" formatCode="#,##0_);\(#,##0\);&quot;-  &quot;;&quot; &quot;@&quot; &quot;">
                  <c:v>0</c:v>
                </c:pt>
                <c:pt idx="3978" formatCode="#,##0_);\(#,##0\);&quot;-  &quot;;&quot; &quot;@&quot; &quot;">
                  <c:v>0</c:v>
                </c:pt>
                <c:pt idx="3979" formatCode="#,##0_);\(#,##0\);&quot;-  &quot;;&quot; &quot;@&quot; &quot;">
                  <c:v>0</c:v>
                </c:pt>
                <c:pt idx="3980" formatCode="#,##0_);\(#,##0\);&quot;-  &quot;;&quot; &quot;@&quot; &quot;">
                  <c:v>0</c:v>
                </c:pt>
                <c:pt idx="3981" formatCode="#,##0_);\(#,##0\);&quot;-  &quot;;&quot; &quot;@&quot; &quot;">
                  <c:v>0</c:v>
                </c:pt>
                <c:pt idx="3982" formatCode="#,##0_);\(#,##0\);&quot;-  &quot;;&quot; &quot;@&quot; &quot;">
                  <c:v>0</c:v>
                </c:pt>
                <c:pt idx="3983" formatCode="#,##0_);\(#,##0\);&quot;-  &quot;;&quot; &quot;@&quot; &quot;">
                  <c:v>0</c:v>
                </c:pt>
                <c:pt idx="3984" formatCode="#,##0_);\(#,##0\);&quot;-  &quot;;&quot; &quot;@&quot; &quot;">
                  <c:v>0</c:v>
                </c:pt>
                <c:pt idx="3985" formatCode="#,##0_);\(#,##0\);&quot;-  &quot;;&quot; &quot;@&quot; &quot;">
                  <c:v>0</c:v>
                </c:pt>
                <c:pt idx="3986" formatCode="#,##0_);\(#,##0\);&quot;-  &quot;;&quot; &quot;@&quot; &quot;">
                  <c:v>0</c:v>
                </c:pt>
                <c:pt idx="3987" formatCode="#,##0_);\(#,##0\);&quot;-  &quot;;&quot; &quot;@&quot; &quot;">
                  <c:v>0</c:v>
                </c:pt>
                <c:pt idx="3988" formatCode="#,##0_);\(#,##0\);&quot;-  &quot;;&quot; &quot;@&quot; &quot;">
                  <c:v>0</c:v>
                </c:pt>
                <c:pt idx="3989" formatCode="#,##0_);\(#,##0\);&quot;-  &quot;;&quot; &quot;@&quot; &quot;">
                  <c:v>0</c:v>
                </c:pt>
                <c:pt idx="3990" formatCode="#,##0_);\(#,##0\);&quot;-  &quot;;&quot; &quot;@&quot; &quot;">
                  <c:v>0</c:v>
                </c:pt>
                <c:pt idx="3991" formatCode="#,##0_);\(#,##0\);&quot;-  &quot;;&quot; &quot;@&quot; &quot;">
                  <c:v>0</c:v>
                </c:pt>
                <c:pt idx="3992" formatCode="#,##0_);\(#,##0\);&quot;-  &quot;;&quot; &quot;@&quot; &quot;">
                  <c:v>0</c:v>
                </c:pt>
                <c:pt idx="3993" formatCode="#,##0_);\(#,##0\);&quot;-  &quot;;&quot; &quot;@&quot; &quot;">
                  <c:v>0</c:v>
                </c:pt>
                <c:pt idx="3994" formatCode="#,##0_);\(#,##0\);&quot;-  &quot;;&quot; &quot;@&quot; &quot;">
                  <c:v>0</c:v>
                </c:pt>
                <c:pt idx="3995" formatCode="#,##0_);\(#,##0\);&quot;-  &quot;;&quot; &quot;@&quot; &quot;">
                  <c:v>0</c:v>
                </c:pt>
                <c:pt idx="3996" formatCode="#,##0_);\(#,##0\);&quot;-  &quot;;&quot; &quot;@&quot; &quot;">
                  <c:v>0</c:v>
                </c:pt>
                <c:pt idx="3997" formatCode="#,##0_);\(#,##0\);&quot;-  &quot;;&quot; &quot;@&quot; &quot;">
                  <c:v>0</c:v>
                </c:pt>
                <c:pt idx="3998" formatCode="#,##0_);\(#,##0\);&quot;-  &quot;;&quot; &quot;@&quot; &quot;">
                  <c:v>0</c:v>
                </c:pt>
                <c:pt idx="3999" formatCode="#,##0_);\(#,##0\);&quot;-  &quot;;&quot; &quot;@&quot; &quot;">
                  <c:v>0</c:v>
                </c:pt>
                <c:pt idx="4000" formatCode="#,##0_);\(#,##0\);&quot;-  &quot;;&quot; &quot;@&quot; &quot;">
                  <c:v>0</c:v>
                </c:pt>
                <c:pt idx="4001" formatCode="#,##0_);\(#,##0\);&quot;-  &quot;;&quot; &quot;@&quot; &quot;">
                  <c:v>0</c:v>
                </c:pt>
                <c:pt idx="4002" formatCode="#,##0_);\(#,##0\);&quot;-  &quot;;&quot; &quot;@&quot; &quot;">
                  <c:v>0</c:v>
                </c:pt>
                <c:pt idx="4003" formatCode="#,##0_);\(#,##0\);&quot;-  &quot;;&quot; &quot;@&quot; &quot;">
                  <c:v>0</c:v>
                </c:pt>
                <c:pt idx="4004" formatCode="#,##0_);\(#,##0\);&quot;-  &quot;;&quot; &quot;@&quot; &quot;">
                  <c:v>0</c:v>
                </c:pt>
                <c:pt idx="4005" formatCode="#,##0_);\(#,##0\);&quot;-  &quot;;&quot; &quot;@&quot; &quot;">
                  <c:v>0</c:v>
                </c:pt>
                <c:pt idx="4006" formatCode="#,##0_);\(#,##0\);&quot;-  &quot;;&quot; &quot;@&quot; &quot;">
                  <c:v>0</c:v>
                </c:pt>
                <c:pt idx="4007" formatCode="#,##0_);\(#,##0\);&quot;-  &quot;;&quot; &quot;@&quot; &quot;">
                  <c:v>0</c:v>
                </c:pt>
                <c:pt idx="4008" formatCode="#,##0_);\(#,##0\);&quot;-  &quot;;&quot; &quot;@&quot; &quot;">
                  <c:v>0</c:v>
                </c:pt>
                <c:pt idx="4009" formatCode="#,##0_);\(#,##0\);&quot;-  &quot;;&quot; &quot;@&quot; &quot;">
                  <c:v>0</c:v>
                </c:pt>
                <c:pt idx="4010" formatCode="#,##0_);\(#,##0\);&quot;-  &quot;;&quot; &quot;@&quot; &quot;">
                  <c:v>0</c:v>
                </c:pt>
                <c:pt idx="4011" formatCode="#,##0_);\(#,##0\);&quot;-  &quot;;&quot; &quot;@&quot; &quot;">
                  <c:v>0</c:v>
                </c:pt>
                <c:pt idx="4012" formatCode="#,##0_);\(#,##0\);&quot;-  &quot;;&quot; &quot;@&quot; &quot;">
                  <c:v>0</c:v>
                </c:pt>
                <c:pt idx="4013" formatCode="#,##0_);\(#,##0\);&quot;-  &quot;;&quot; &quot;@&quot; &quot;">
                  <c:v>0</c:v>
                </c:pt>
                <c:pt idx="4014" formatCode="#,##0_);\(#,##0\);&quot;-  &quot;;&quot; &quot;@&quot; &quot;">
                  <c:v>0</c:v>
                </c:pt>
                <c:pt idx="4015" formatCode="#,##0_);\(#,##0\);&quot;-  &quot;;&quot; &quot;@&quot; &quot;">
                  <c:v>0</c:v>
                </c:pt>
                <c:pt idx="4016" formatCode="#,##0_);\(#,##0\);&quot;-  &quot;;&quot; &quot;@&quot; &quot;">
                  <c:v>0</c:v>
                </c:pt>
                <c:pt idx="4017" formatCode="#,##0_);\(#,##0\);&quot;-  &quot;;&quot; &quot;@&quot; &quot;">
                  <c:v>0</c:v>
                </c:pt>
                <c:pt idx="4018" formatCode="#,##0_);\(#,##0\);&quot;-  &quot;;&quot; &quot;@&quot; &quot;">
                  <c:v>0</c:v>
                </c:pt>
                <c:pt idx="4019" formatCode="#,##0_);\(#,##0\);&quot;-  &quot;;&quot; &quot;@&quot; &quot;">
                  <c:v>0</c:v>
                </c:pt>
                <c:pt idx="4020" formatCode="#,##0_);\(#,##0\);&quot;-  &quot;;&quot; &quot;@&quot; &quot;">
                  <c:v>0</c:v>
                </c:pt>
                <c:pt idx="4021" formatCode="#,##0_);\(#,##0\);&quot;-  &quot;;&quot; &quot;@&quot; &quot;">
                  <c:v>0</c:v>
                </c:pt>
                <c:pt idx="4022" formatCode="#,##0_);\(#,##0\);&quot;-  &quot;;&quot; &quot;@&quot; &quot;">
                  <c:v>0</c:v>
                </c:pt>
                <c:pt idx="4023" formatCode="#,##0_);\(#,##0\);&quot;-  &quot;;&quot; &quot;@&quot; &quot;">
                  <c:v>0</c:v>
                </c:pt>
                <c:pt idx="4024" formatCode="#,##0_);\(#,##0\);&quot;-  &quot;;&quot; &quot;@&quot; &quot;">
                  <c:v>0</c:v>
                </c:pt>
                <c:pt idx="4025" formatCode="#,##0_);\(#,##0\);&quot;-  &quot;;&quot; &quot;@&quot; &quot;">
                  <c:v>0</c:v>
                </c:pt>
                <c:pt idx="4026" formatCode="#,##0_);\(#,##0\);&quot;-  &quot;;&quot; &quot;@&quot; &quot;">
                  <c:v>0</c:v>
                </c:pt>
                <c:pt idx="4027" formatCode="#,##0_);\(#,##0\);&quot;-  &quot;;&quot; &quot;@&quot; &quot;">
                  <c:v>0</c:v>
                </c:pt>
                <c:pt idx="4028" formatCode="#,##0_);\(#,##0\);&quot;-  &quot;;&quot; &quot;@&quot; &quot;">
                  <c:v>0</c:v>
                </c:pt>
                <c:pt idx="4029" formatCode="#,##0_);\(#,##0\);&quot;-  &quot;;&quot; &quot;@&quot; &quot;">
                  <c:v>0</c:v>
                </c:pt>
                <c:pt idx="4030" formatCode="#,##0_);\(#,##0\);&quot;-  &quot;;&quot; &quot;@&quot; &quot;">
                  <c:v>0</c:v>
                </c:pt>
                <c:pt idx="4031" formatCode="#,##0_);\(#,##0\);&quot;-  &quot;;&quot; &quot;@&quot; &quot;">
                  <c:v>0</c:v>
                </c:pt>
                <c:pt idx="4032" formatCode="#,##0_);\(#,##0\);&quot;-  &quot;;&quot; &quot;@&quot; &quot;">
                  <c:v>0</c:v>
                </c:pt>
                <c:pt idx="4033" formatCode="#,##0_);\(#,##0\);&quot;-  &quot;;&quot; &quot;@&quot; &quot;">
                  <c:v>0</c:v>
                </c:pt>
                <c:pt idx="4034" formatCode="#,##0_);\(#,##0\);&quot;-  &quot;;&quot; &quot;@&quot; &quot;">
                  <c:v>0</c:v>
                </c:pt>
                <c:pt idx="4035" formatCode="#,##0_);\(#,##0\);&quot;-  &quot;;&quot; &quot;@&quot; &quot;">
                  <c:v>0</c:v>
                </c:pt>
                <c:pt idx="4036" formatCode="#,##0_);\(#,##0\);&quot;-  &quot;;&quot; &quot;@&quot; &quot;">
                  <c:v>0</c:v>
                </c:pt>
                <c:pt idx="4037" formatCode="#,##0_);\(#,##0\);&quot;-  &quot;;&quot; &quot;@&quot; &quot;">
                  <c:v>0</c:v>
                </c:pt>
                <c:pt idx="4038" formatCode="#,##0_);\(#,##0\);&quot;-  &quot;;&quot; &quot;@&quot; &quot;">
                  <c:v>0</c:v>
                </c:pt>
                <c:pt idx="4039" formatCode="#,##0_);\(#,##0\);&quot;-  &quot;;&quot; &quot;@&quot; &quot;">
                  <c:v>0</c:v>
                </c:pt>
                <c:pt idx="4040" formatCode="#,##0_);\(#,##0\);&quot;-  &quot;;&quot; &quot;@&quot; &quot;">
                  <c:v>0</c:v>
                </c:pt>
                <c:pt idx="4041" formatCode="#,##0_);\(#,##0\);&quot;-  &quot;;&quot; &quot;@&quot; &quot;">
                  <c:v>0</c:v>
                </c:pt>
                <c:pt idx="4042" formatCode="#,##0_);\(#,##0\);&quot;-  &quot;;&quot; &quot;@&quot; &quot;">
                  <c:v>0</c:v>
                </c:pt>
                <c:pt idx="4043" formatCode="#,##0_);\(#,##0\);&quot;-  &quot;;&quot; &quot;@&quot; &quot;">
                  <c:v>0</c:v>
                </c:pt>
                <c:pt idx="4044" formatCode="#,##0_);\(#,##0\);&quot;-  &quot;;&quot; &quot;@&quot; &quot;">
                  <c:v>0</c:v>
                </c:pt>
                <c:pt idx="4045" formatCode="#,##0_);\(#,##0\);&quot;-  &quot;;&quot; &quot;@&quot; &quot;">
                  <c:v>0</c:v>
                </c:pt>
                <c:pt idx="4046" formatCode="#,##0_);\(#,##0\);&quot;-  &quot;;&quot; &quot;@&quot; &quot;">
                  <c:v>0</c:v>
                </c:pt>
                <c:pt idx="4047" formatCode="#,##0_);\(#,##0\);&quot;-  &quot;;&quot; &quot;@&quot; &quot;">
                  <c:v>0</c:v>
                </c:pt>
                <c:pt idx="4048" formatCode="#,##0_);\(#,##0\);&quot;-  &quot;;&quot; &quot;@&quot; &quot;">
                  <c:v>0</c:v>
                </c:pt>
                <c:pt idx="4049" formatCode="#,##0_);\(#,##0\);&quot;-  &quot;;&quot; &quot;@&quot; &quot;">
                  <c:v>0</c:v>
                </c:pt>
                <c:pt idx="4050" formatCode="#,##0_);\(#,##0\);&quot;-  &quot;;&quot; &quot;@&quot; &quot;">
                  <c:v>0</c:v>
                </c:pt>
                <c:pt idx="4051" formatCode="#,##0_);\(#,##0\);&quot;-  &quot;;&quot; &quot;@&quot; &quot;">
                  <c:v>0</c:v>
                </c:pt>
                <c:pt idx="4052" formatCode="#,##0_);\(#,##0\);&quot;-  &quot;;&quot; &quot;@&quot; &quot;">
                  <c:v>0</c:v>
                </c:pt>
                <c:pt idx="4053" formatCode="#,##0_);\(#,##0\);&quot;-  &quot;;&quot; &quot;@&quot; &quot;">
                  <c:v>0</c:v>
                </c:pt>
                <c:pt idx="4054" formatCode="#,##0_);\(#,##0\);&quot;-  &quot;;&quot; &quot;@&quot; &quot;">
                  <c:v>0</c:v>
                </c:pt>
                <c:pt idx="4055" formatCode="#,##0_);\(#,##0\);&quot;-  &quot;;&quot; &quot;@&quot; &quot;">
                  <c:v>0</c:v>
                </c:pt>
                <c:pt idx="4056" formatCode="#,##0_);\(#,##0\);&quot;-  &quot;;&quot; &quot;@&quot; &quot;">
                  <c:v>0</c:v>
                </c:pt>
                <c:pt idx="4057" formatCode="#,##0_);\(#,##0\);&quot;-  &quot;;&quot; &quot;@&quot; &quot;">
                  <c:v>0</c:v>
                </c:pt>
                <c:pt idx="4058" formatCode="#,##0_);\(#,##0\);&quot;-  &quot;;&quot; &quot;@&quot; &quot;">
                  <c:v>0</c:v>
                </c:pt>
                <c:pt idx="4059" formatCode="#,##0_);\(#,##0\);&quot;-  &quot;;&quot; &quot;@&quot; &quot;">
                  <c:v>0</c:v>
                </c:pt>
                <c:pt idx="4060" formatCode="#,##0_);\(#,##0\);&quot;-  &quot;;&quot; &quot;@&quot; &quot;">
                  <c:v>0</c:v>
                </c:pt>
                <c:pt idx="4061" formatCode="#,##0_);\(#,##0\);&quot;-  &quot;;&quot; &quot;@&quot; &quot;">
                  <c:v>0</c:v>
                </c:pt>
                <c:pt idx="4062" formatCode="#,##0_);\(#,##0\);&quot;-  &quot;;&quot; &quot;@&quot; &quot;">
                  <c:v>0</c:v>
                </c:pt>
                <c:pt idx="4063" formatCode="#,##0_);\(#,##0\);&quot;-  &quot;;&quot; &quot;@&quot; &quot;">
                  <c:v>0</c:v>
                </c:pt>
                <c:pt idx="4064" formatCode="#,##0_);\(#,##0\);&quot;-  &quot;;&quot; &quot;@&quot; &quot;">
                  <c:v>0</c:v>
                </c:pt>
                <c:pt idx="4065" formatCode="#,##0_);\(#,##0\);&quot;-  &quot;;&quot; &quot;@&quot; &quot;">
                  <c:v>0</c:v>
                </c:pt>
                <c:pt idx="4066" formatCode="#,##0_);\(#,##0\);&quot;-  &quot;;&quot; &quot;@&quot; &quot;">
                  <c:v>0</c:v>
                </c:pt>
                <c:pt idx="4067" formatCode="#,##0_);\(#,##0\);&quot;-  &quot;;&quot; &quot;@&quot; &quot;">
                  <c:v>0</c:v>
                </c:pt>
                <c:pt idx="4068" formatCode="#,##0_);\(#,##0\);&quot;-  &quot;;&quot; &quot;@&quot; &quot;">
                  <c:v>0</c:v>
                </c:pt>
                <c:pt idx="4069" formatCode="#,##0_);\(#,##0\);&quot;-  &quot;;&quot; &quot;@&quot; &quot;">
                  <c:v>0</c:v>
                </c:pt>
                <c:pt idx="4070" formatCode="#,##0_);\(#,##0\);&quot;-  &quot;;&quot; &quot;@&quot; &quot;">
                  <c:v>0</c:v>
                </c:pt>
                <c:pt idx="4071" formatCode="#,##0_);\(#,##0\);&quot;-  &quot;;&quot; &quot;@&quot; &quot;">
                  <c:v>0</c:v>
                </c:pt>
                <c:pt idx="4072" formatCode="#,##0_);\(#,##0\);&quot;-  &quot;;&quot; &quot;@&quot; &quot;">
                  <c:v>0</c:v>
                </c:pt>
                <c:pt idx="4073" formatCode="#,##0_);\(#,##0\);&quot;-  &quot;;&quot; &quot;@&quot; &quot;">
                  <c:v>0</c:v>
                </c:pt>
                <c:pt idx="4074" formatCode="#,##0_);\(#,##0\);&quot;-  &quot;;&quot; &quot;@&quot; &quot;">
                  <c:v>0</c:v>
                </c:pt>
                <c:pt idx="4075" formatCode="#,##0_);\(#,##0\);&quot;-  &quot;;&quot; &quot;@&quot; &quot;">
                  <c:v>0</c:v>
                </c:pt>
                <c:pt idx="4076" formatCode="#,##0_);\(#,##0\);&quot;-  &quot;;&quot; &quot;@&quot; &quot;">
                  <c:v>0</c:v>
                </c:pt>
                <c:pt idx="4077" formatCode="#,##0_);\(#,##0\);&quot;-  &quot;;&quot; &quot;@&quot; &quot;">
                  <c:v>0</c:v>
                </c:pt>
                <c:pt idx="4078" formatCode="#,##0_);\(#,##0\);&quot;-  &quot;;&quot; &quot;@&quot; &quot;">
                  <c:v>0</c:v>
                </c:pt>
                <c:pt idx="4079" formatCode="#,##0_);\(#,##0\);&quot;-  &quot;;&quot; &quot;@&quot; &quot;">
                  <c:v>0</c:v>
                </c:pt>
                <c:pt idx="4080" formatCode="#,##0_);\(#,##0\);&quot;-  &quot;;&quot; &quot;@&quot; &quot;">
                  <c:v>0</c:v>
                </c:pt>
                <c:pt idx="4081" formatCode="#,##0_);\(#,##0\);&quot;-  &quot;;&quot; &quot;@&quot; &quot;">
                  <c:v>0</c:v>
                </c:pt>
                <c:pt idx="4082" formatCode="#,##0_);\(#,##0\);&quot;-  &quot;;&quot; &quot;@&quot; &quot;">
                  <c:v>0</c:v>
                </c:pt>
                <c:pt idx="4083" formatCode="#,##0_);\(#,##0\);&quot;-  &quot;;&quot; &quot;@&quot; &quot;">
                  <c:v>0</c:v>
                </c:pt>
                <c:pt idx="4084" formatCode="#,##0_);\(#,##0\);&quot;-  &quot;;&quot; &quot;@&quot; &quot;">
                  <c:v>0</c:v>
                </c:pt>
                <c:pt idx="4085" formatCode="#,##0_);\(#,##0\);&quot;-  &quot;;&quot; &quot;@&quot; &quot;">
                  <c:v>0</c:v>
                </c:pt>
                <c:pt idx="4086" formatCode="#,##0_);\(#,##0\);&quot;-  &quot;;&quot; &quot;@&quot; &quot;">
                  <c:v>0</c:v>
                </c:pt>
                <c:pt idx="4087" formatCode="#,##0_);\(#,##0\);&quot;-  &quot;;&quot; &quot;@&quot; &quot;">
                  <c:v>0</c:v>
                </c:pt>
                <c:pt idx="4088" formatCode="#,##0_);\(#,##0\);&quot;-  &quot;;&quot; &quot;@&quot; &quot;">
                  <c:v>0</c:v>
                </c:pt>
                <c:pt idx="4089" formatCode="#,##0_);\(#,##0\);&quot;-  &quot;;&quot; &quot;@&quot; &quot;">
                  <c:v>0</c:v>
                </c:pt>
                <c:pt idx="4090" formatCode="#,##0_);\(#,##0\);&quot;-  &quot;;&quot; &quot;@&quot; &quot;">
                  <c:v>0</c:v>
                </c:pt>
                <c:pt idx="4091" formatCode="#,##0_);\(#,##0\);&quot;-  &quot;;&quot; &quot;@&quot; &quot;">
                  <c:v>0</c:v>
                </c:pt>
                <c:pt idx="4092" formatCode="#,##0_);\(#,##0\);&quot;-  &quot;;&quot; &quot;@&quot; &quot;">
                  <c:v>0</c:v>
                </c:pt>
                <c:pt idx="4093" formatCode="#,##0_);\(#,##0\);&quot;-  &quot;;&quot; &quot;@&quot; &quot;">
                  <c:v>0</c:v>
                </c:pt>
                <c:pt idx="4094" formatCode="#,##0_);\(#,##0\);&quot;-  &quot;;&quot; &quot;@&quot; &quot;">
                  <c:v>0</c:v>
                </c:pt>
                <c:pt idx="4095" formatCode="#,##0_);\(#,##0\);&quot;-  &quot;;&quot; &quot;@&quot; &quot;">
                  <c:v>0</c:v>
                </c:pt>
                <c:pt idx="4096" formatCode="#,##0_);\(#,##0\);&quot;-  &quot;;&quot; &quot;@&quot; &quot;">
                  <c:v>0</c:v>
                </c:pt>
                <c:pt idx="4097" formatCode="#,##0_);\(#,##0\);&quot;-  &quot;;&quot; &quot;@&quot; &quot;">
                  <c:v>0</c:v>
                </c:pt>
                <c:pt idx="4098" formatCode="#,##0_);\(#,##0\);&quot;-  &quot;;&quot; &quot;@&quot; &quot;">
                  <c:v>0</c:v>
                </c:pt>
                <c:pt idx="4099" formatCode="#,##0_);\(#,##0\);&quot;-  &quot;;&quot; &quot;@&quot; &quot;">
                  <c:v>0</c:v>
                </c:pt>
                <c:pt idx="4100" formatCode="#,##0_);\(#,##0\);&quot;-  &quot;;&quot; &quot;@&quot; &quot;">
                  <c:v>0</c:v>
                </c:pt>
                <c:pt idx="4101" formatCode="#,##0_);\(#,##0\);&quot;-  &quot;;&quot; &quot;@&quot; &quot;">
                  <c:v>0</c:v>
                </c:pt>
                <c:pt idx="4102" formatCode="#,##0_);\(#,##0\);&quot;-  &quot;;&quot; &quot;@&quot; &quot;">
                  <c:v>0</c:v>
                </c:pt>
                <c:pt idx="4103" formatCode="#,##0_);\(#,##0\);&quot;-  &quot;;&quot; &quot;@&quot; &quot;">
                  <c:v>0</c:v>
                </c:pt>
                <c:pt idx="4104" formatCode="#,##0_);\(#,##0\);&quot;-  &quot;;&quot; &quot;@&quot; &quot;">
                  <c:v>0</c:v>
                </c:pt>
                <c:pt idx="4105" formatCode="#,##0_);\(#,##0\);&quot;-  &quot;;&quot; &quot;@&quot; &quot;">
                  <c:v>0</c:v>
                </c:pt>
                <c:pt idx="4106" formatCode="#,##0_);\(#,##0\);&quot;-  &quot;;&quot; &quot;@&quot; &quot;">
                  <c:v>0</c:v>
                </c:pt>
                <c:pt idx="4107" formatCode="#,##0_);\(#,##0\);&quot;-  &quot;;&quot; &quot;@&quot; &quot;">
                  <c:v>0</c:v>
                </c:pt>
                <c:pt idx="4108" formatCode="#,##0_);\(#,##0\);&quot;-  &quot;;&quot; &quot;@&quot; &quot;">
                  <c:v>0</c:v>
                </c:pt>
                <c:pt idx="4109" formatCode="#,##0_);\(#,##0\);&quot;-  &quot;;&quot; &quot;@&quot; &quot;">
                  <c:v>0</c:v>
                </c:pt>
                <c:pt idx="4110" formatCode="#,##0_);\(#,##0\);&quot;-  &quot;;&quot; &quot;@&quot; &quot;">
                  <c:v>0</c:v>
                </c:pt>
                <c:pt idx="4111" formatCode="#,##0_);\(#,##0\);&quot;-  &quot;;&quot; &quot;@&quot; &quot;">
                  <c:v>0</c:v>
                </c:pt>
                <c:pt idx="4112" formatCode="#,##0_);\(#,##0\);&quot;-  &quot;;&quot; &quot;@&quot; &quot;">
                  <c:v>0</c:v>
                </c:pt>
                <c:pt idx="4113" formatCode="#,##0_);\(#,##0\);&quot;-  &quot;;&quot; &quot;@&quot; &quot;">
                  <c:v>0</c:v>
                </c:pt>
                <c:pt idx="4114" formatCode="#,##0_);\(#,##0\);&quot;-  &quot;;&quot; &quot;@&quot; &quot;">
                  <c:v>0</c:v>
                </c:pt>
                <c:pt idx="4115" formatCode="#,##0_);\(#,##0\);&quot;-  &quot;;&quot; &quot;@&quot; &quot;">
                  <c:v>0</c:v>
                </c:pt>
                <c:pt idx="4116" formatCode="#,##0_);\(#,##0\);&quot;-  &quot;;&quot; &quot;@&quot; &quot;">
                  <c:v>0</c:v>
                </c:pt>
                <c:pt idx="4117" formatCode="#,##0_);\(#,##0\);&quot;-  &quot;;&quot; &quot;@&quot; &quot;">
                  <c:v>0</c:v>
                </c:pt>
                <c:pt idx="4118" formatCode="#,##0_);\(#,##0\);&quot;-  &quot;;&quot; &quot;@&quot; &quot;">
                  <c:v>0</c:v>
                </c:pt>
                <c:pt idx="4119" formatCode="#,##0_);\(#,##0\);&quot;-  &quot;;&quot; &quot;@&quot; &quot;">
                  <c:v>0</c:v>
                </c:pt>
                <c:pt idx="4120" formatCode="#,##0_);\(#,##0\);&quot;-  &quot;;&quot; &quot;@&quot; &quot;">
                  <c:v>0</c:v>
                </c:pt>
                <c:pt idx="4121" formatCode="#,##0_);\(#,##0\);&quot;-  &quot;;&quot; &quot;@&quot; &quot;">
                  <c:v>0</c:v>
                </c:pt>
                <c:pt idx="4122" formatCode="#,##0_);\(#,##0\);&quot;-  &quot;;&quot; &quot;@&quot; &quot;">
                  <c:v>0</c:v>
                </c:pt>
                <c:pt idx="4123" formatCode="#,##0_);\(#,##0\);&quot;-  &quot;;&quot; &quot;@&quot; &quot;">
                  <c:v>0</c:v>
                </c:pt>
                <c:pt idx="4124" formatCode="#,##0_);\(#,##0\);&quot;-  &quot;;&quot; &quot;@&quot; &quot;">
                  <c:v>0</c:v>
                </c:pt>
                <c:pt idx="4125" formatCode="#,##0_);\(#,##0\);&quot;-  &quot;;&quot; &quot;@&quot; &quot;">
                  <c:v>0</c:v>
                </c:pt>
                <c:pt idx="4126" formatCode="#,##0_);\(#,##0\);&quot;-  &quot;;&quot; &quot;@&quot; &quot;">
                  <c:v>0</c:v>
                </c:pt>
                <c:pt idx="4127" formatCode="#,##0_);\(#,##0\);&quot;-  &quot;;&quot; &quot;@&quot; &quot;">
                  <c:v>0</c:v>
                </c:pt>
                <c:pt idx="4128" formatCode="#,##0_);\(#,##0\);&quot;-  &quot;;&quot; &quot;@&quot; &quot;">
                  <c:v>0</c:v>
                </c:pt>
                <c:pt idx="4129" formatCode="#,##0_);\(#,##0\);&quot;-  &quot;;&quot; &quot;@&quot; &quot;">
                  <c:v>0</c:v>
                </c:pt>
                <c:pt idx="4130" formatCode="#,##0_);\(#,##0\);&quot;-  &quot;;&quot; &quot;@&quot; &quot;">
                  <c:v>0</c:v>
                </c:pt>
                <c:pt idx="4131" formatCode="#,##0_);\(#,##0\);&quot;-  &quot;;&quot; &quot;@&quot; &quot;">
                  <c:v>0</c:v>
                </c:pt>
                <c:pt idx="4132" formatCode="#,##0_);\(#,##0\);&quot;-  &quot;;&quot; &quot;@&quot; &quot;">
                  <c:v>0</c:v>
                </c:pt>
                <c:pt idx="4133" formatCode="#,##0_);\(#,##0\);&quot;-  &quot;;&quot; &quot;@&quot; &quot;">
                  <c:v>0</c:v>
                </c:pt>
                <c:pt idx="4134" formatCode="#,##0_);\(#,##0\);&quot;-  &quot;;&quot; &quot;@&quot; &quot;">
                  <c:v>0</c:v>
                </c:pt>
                <c:pt idx="4135" formatCode="#,##0_);\(#,##0\);&quot;-  &quot;;&quot; &quot;@&quot; &quot;">
                  <c:v>0</c:v>
                </c:pt>
                <c:pt idx="4136" formatCode="#,##0_);\(#,##0\);&quot;-  &quot;;&quot; &quot;@&quot; &quot;">
                  <c:v>0</c:v>
                </c:pt>
                <c:pt idx="4137" formatCode="#,##0_);\(#,##0\);&quot;-  &quot;;&quot; &quot;@&quot; &quot;">
                  <c:v>0</c:v>
                </c:pt>
                <c:pt idx="4138" formatCode="#,##0_);\(#,##0\);&quot;-  &quot;;&quot; &quot;@&quot; &quot;">
                  <c:v>0</c:v>
                </c:pt>
                <c:pt idx="4139" formatCode="#,##0_);\(#,##0\);&quot;-  &quot;;&quot; &quot;@&quot; &quot;">
                  <c:v>0</c:v>
                </c:pt>
                <c:pt idx="4140" formatCode="#,##0_);\(#,##0\);&quot;-  &quot;;&quot; &quot;@&quot; &quot;">
                  <c:v>0</c:v>
                </c:pt>
                <c:pt idx="4141" formatCode="#,##0_);\(#,##0\);&quot;-  &quot;;&quot; &quot;@&quot; &quot;">
                  <c:v>0</c:v>
                </c:pt>
                <c:pt idx="4142" formatCode="#,##0_);\(#,##0\);&quot;-  &quot;;&quot; &quot;@&quot; &quot;">
                  <c:v>0</c:v>
                </c:pt>
                <c:pt idx="4143" formatCode="#,##0_);\(#,##0\);&quot;-  &quot;;&quot; &quot;@&quot; &quot;">
                  <c:v>0</c:v>
                </c:pt>
                <c:pt idx="4144" formatCode="#,##0_);\(#,##0\);&quot;-  &quot;;&quot; &quot;@&quot; &quot;">
                  <c:v>0</c:v>
                </c:pt>
                <c:pt idx="4145" formatCode="#,##0_);\(#,##0\);&quot;-  &quot;;&quot; &quot;@&quot; &quot;">
                  <c:v>0</c:v>
                </c:pt>
                <c:pt idx="4146" formatCode="#,##0_);\(#,##0\);&quot;-  &quot;;&quot; &quot;@&quot; &quot;">
                  <c:v>0</c:v>
                </c:pt>
                <c:pt idx="4147" formatCode="#,##0_);\(#,##0\);&quot;-  &quot;;&quot; &quot;@&quot; &quot;">
                  <c:v>0</c:v>
                </c:pt>
                <c:pt idx="4148" formatCode="#,##0_);\(#,##0\);&quot;-  &quot;;&quot; &quot;@&quot; &quot;">
                  <c:v>0</c:v>
                </c:pt>
                <c:pt idx="4149" formatCode="#,##0_);\(#,##0\);&quot;-  &quot;;&quot; &quot;@&quot; &quot;">
                  <c:v>0</c:v>
                </c:pt>
                <c:pt idx="4150" formatCode="#,##0_);\(#,##0\);&quot;-  &quot;;&quot; &quot;@&quot; &quot;">
                  <c:v>0</c:v>
                </c:pt>
                <c:pt idx="4151" formatCode="#,##0_);\(#,##0\);&quot;-  &quot;;&quot; &quot;@&quot; &quot;">
                  <c:v>0</c:v>
                </c:pt>
                <c:pt idx="4152" formatCode="#,##0_);\(#,##0\);&quot;-  &quot;;&quot; &quot;@&quot; &quot;">
                  <c:v>0</c:v>
                </c:pt>
                <c:pt idx="4153" formatCode="#,##0_);\(#,##0\);&quot;-  &quot;;&quot; &quot;@&quot; &quot;">
                  <c:v>0</c:v>
                </c:pt>
                <c:pt idx="4154" formatCode="#,##0_);\(#,##0\);&quot;-  &quot;;&quot; &quot;@&quot; &quot;">
                  <c:v>0</c:v>
                </c:pt>
                <c:pt idx="4155" formatCode="#,##0_);\(#,##0\);&quot;-  &quot;;&quot; &quot;@&quot; &quot;">
                  <c:v>0</c:v>
                </c:pt>
                <c:pt idx="4156" formatCode="#,##0_);\(#,##0\);&quot;-  &quot;;&quot; &quot;@&quot; &quot;">
                  <c:v>0</c:v>
                </c:pt>
                <c:pt idx="4157" formatCode="#,##0_);\(#,##0\);&quot;-  &quot;;&quot; &quot;@&quot; &quot;">
                  <c:v>0</c:v>
                </c:pt>
                <c:pt idx="4158" formatCode="#,##0_);\(#,##0\);&quot;-  &quot;;&quot; &quot;@&quot; &quot;">
                  <c:v>0</c:v>
                </c:pt>
                <c:pt idx="4159" formatCode="#,##0_);\(#,##0\);&quot;-  &quot;;&quot; &quot;@&quot; &quot;">
                  <c:v>0</c:v>
                </c:pt>
                <c:pt idx="4160" formatCode="#,##0_);\(#,##0\);&quot;-  &quot;;&quot; &quot;@&quot; &quot;">
                  <c:v>0</c:v>
                </c:pt>
                <c:pt idx="4161" formatCode="#,##0_);\(#,##0\);&quot;-  &quot;;&quot; &quot;@&quot; &quot;">
                  <c:v>0</c:v>
                </c:pt>
                <c:pt idx="4162" formatCode="#,##0_);\(#,##0\);&quot;-  &quot;;&quot; &quot;@&quot; &quot;">
                  <c:v>0</c:v>
                </c:pt>
                <c:pt idx="4163" formatCode="#,##0_);\(#,##0\);&quot;-  &quot;;&quot; &quot;@&quot; &quot;">
                  <c:v>0</c:v>
                </c:pt>
                <c:pt idx="4164" formatCode="#,##0_);\(#,##0\);&quot;-  &quot;;&quot; &quot;@&quot; &quot;">
                  <c:v>0</c:v>
                </c:pt>
                <c:pt idx="4165" formatCode="#,##0_);\(#,##0\);&quot;-  &quot;;&quot; &quot;@&quot; &quot;">
                  <c:v>0</c:v>
                </c:pt>
                <c:pt idx="4166" formatCode="#,##0_);\(#,##0\);&quot;-  &quot;;&quot; &quot;@&quot; &quot;">
                  <c:v>0</c:v>
                </c:pt>
                <c:pt idx="4167" formatCode="#,##0_);\(#,##0\);&quot;-  &quot;;&quot; &quot;@&quot; &quot;">
                  <c:v>0</c:v>
                </c:pt>
                <c:pt idx="4168" formatCode="#,##0_);\(#,##0\);&quot;-  &quot;;&quot; &quot;@&quot; &quot;">
                  <c:v>0</c:v>
                </c:pt>
                <c:pt idx="4169" formatCode="#,##0_);\(#,##0\);&quot;-  &quot;;&quot; &quot;@&quot; &quot;">
                  <c:v>0</c:v>
                </c:pt>
                <c:pt idx="4170" formatCode="#,##0_);\(#,##0\);&quot;-  &quot;;&quot; &quot;@&quot; &quot;">
                  <c:v>0</c:v>
                </c:pt>
                <c:pt idx="4171" formatCode="#,##0_);\(#,##0\);&quot;-  &quot;;&quot; &quot;@&quot; &quot;">
                  <c:v>0</c:v>
                </c:pt>
                <c:pt idx="4172" formatCode="#,##0_);\(#,##0\);&quot;-  &quot;;&quot; &quot;@&quot; &quot;">
                  <c:v>0</c:v>
                </c:pt>
                <c:pt idx="4173" formatCode="#,##0_);\(#,##0\);&quot;-  &quot;;&quot; &quot;@&quot; &quot;">
                  <c:v>0</c:v>
                </c:pt>
                <c:pt idx="4174" formatCode="#,##0_);\(#,##0\);&quot;-  &quot;;&quot; &quot;@&quot; &quot;">
                  <c:v>0</c:v>
                </c:pt>
                <c:pt idx="4175" formatCode="#,##0_);\(#,##0\);&quot;-  &quot;;&quot; &quot;@&quot; &quot;">
                  <c:v>0</c:v>
                </c:pt>
                <c:pt idx="4176" formatCode="#,##0_);\(#,##0\);&quot;-  &quot;;&quot; &quot;@&quot; &quot;">
                  <c:v>0</c:v>
                </c:pt>
                <c:pt idx="4177" formatCode="#,##0_);\(#,##0\);&quot;-  &quot;;&quot; &quot;@&quot; &quot;">
                  <c:v>0</c:v>
                </c:pt>
                <c:pt idx="4178" formatCode="#,##0_);\(#,##0\);&quot;-  &quot;;&quot; &quot;@&quot; &quot;">
                  <c:v>0</c:v>
                </c:pt>
                <c:pt idx="4179" formatCode="#,##0_);\(#,##0\);&quot;-  &quot;;&quot; &quot;@&quot; &quot;">
                  <c:v>0</c:v>
                </c:pt>
                <c:pt idx="4180" formatCode="#,##0_);\(#,##0\);&quot;-  &quot;;&quot; &quot;@&quot; &quot;">
                  <c:v>0</c:v>
                </c:pt>
                <c:pt idx="4181" formatCode="#,##0_);\(#,##0\);&quot;-  &quot;;&quot; &quot;@&quot; &quot;">
                  <c:v>0</c:v>
                </c:pt>
                <c:pt idx="4182" formatCode="#,##0_);\(#,##0\);&quot;-  &quot;;&quot; &quot;@&quot; &quot;">
                  <c:v>0</c:v>
                </c:pt>
                <c:pt idx="4183" formatCode="#,##0_);\(#,##0\);&quot;-  &quot;;&quot; &quot;@&quot; &quot;">
                  <c:v>0</c:v>
                </c:pt>
                <c:pt idx="4184" formatCode="#,##0_);\(#,##0\);&quot;-  &quot;;&quot; &quot;@&quot; &quot;">
                  <c:v>0</c:v>
                </c:pt>
                <c:pt idx="4185" formatCode="#,##0_);\(#,##0\);&quot;-  &quot;;&quot; &quot;@&quot; &quot;">
                  <c:v>0</c:v>
                </c:pt>
                <c:pt idx="4186" formatCode="#,##0_);\(#,##0\);&quot;-  &quot;;&quot; &quot;@&quot; &quot;">
                  <c:v>0</c:v>
                </c:pt>
                <c:pt idx="4187" formatCode="#,##0_);\(#,##0\);&quot;-  &quot;;&quot; &quot;@&quot; &quot;">
                  <c:v>0</c:v>
                </c:pt>
                <c:pt idx="4188" formatCode="#,##0_);\(#,##0\);&quot;-  &quot;;&quot; &quot;@&quot; &quot;">
                  <c:v>0</c:v>
                </c:pt>
                <c:pt idx="4189" formatCode="#,##0_);\(#,##0\);&quot;-  &quot;;&quot; &quot;@&quot; &quot;">
                  <c:v>0</c:v>
                </c:pt>
                <c:pt idx="4190" formatCode="#,##0_);\(#,##0\);&quot;-  &quot;;&quot; &quot;@&quot; &quot;">
                  <c:v>0</c:v>
                </c:pt>
                <c:pt idx="4191" formatCode="#,##0_);\(#,##0\);&quot;-  &quot;;&quot; &quot;@&quot; &quot;">
                  <c:v>0</c:v>
                </c:pt>
                <c:pt idx="4192" formatCode="#,##0_);\(#,##0\);&quot;-  &quot;;&quot; &quot;@&quot; &quot;">
                  <c:v>0</c:v>
                </c:pt>
                <c:pt idx="4193" formatCode="#,##0_);\(#,##0\);&quot;-  &quot;;&quot; &quot;@&quot; &quot;">
                  <c:v>0</c:v>
                </c:pt>
                <c:pt idx="4194" formatCode="#,##0_);\(#,##0\);&quot;-  &quot;;&quot; &quot;@&quot; &quot;">
                  <c:v>0</c:v>
                </c:pt>
                <c:pt idx="4195" formatCode="#,##0_);\(#,##0\);&quot;-  &quot;;&quot; &quot;@&quot; &quot;">
                  <c:v>0</c:v>
                </c:pt>
                <c:pt idx="4196" formatCode="#,##0_);\(#,##0\);&quot;-  &quot;;&quot; &quot;@&quot; &quot;">
                  <c:v>0</c:v>
                </c:pt>
                <c:pt idx="4197" formatCode="#,##0_);\(#,##0\);&quot;-  &quot;;&quot; &quot;@&quot; &quot;">
                  <c:v>0</c:v>
                </c:pt>
                <c:pt idx="4198" formatCode="#,##0_);\(#,##0\);&quot;-  &quot;;&quot; &quot;@&quot; &quot;">
                  <c:v>0</c:v>
                </c:pt>
                <c:pt idx="4199" formatCode="#,##0_);\(#,##0\);&quot;-  &quot;;&quot; &quot;@&quot; &quot;">
                  <c:v>0</c:v>
                </c:pt>
                <c:pt idx="4200" formatCode="#,##0_);\(#,##0\);&quot;-  &quot;;&quot; &quot;@&quot; &quot;">
                  <c:v>0</c:v>
                </c:pt>
                <c:pt idx="4201" formatCode="#,##0_);\(#,##0\);&quot;-  &quot;;&quot; &quot;@&quot; &quot;">
                  <c:v>0</c:v>
                </c:pt>
                <c:pt idx="4202" formatCode="#,##0_);\(#,##0\);&quot;-  &quot;;&quot; &quot;@&quot; &quot;">
                  <c:v>0</c:v>
                </c:pt>
                <c:pt idx="4203" formatCode="#,##0_);\(#,##0\);&quot;-  &quot;;&quot; &quot;@&quot; &quot;">
                  <c:v>0</c:v>
                </c:pt>
                <c:pt idx="4204" formatCode="#,##0_);\(#,##0\);&quot;-  &quot;;&quot; &quot;@&quot; &quot;">
                  <c:v>0</c:v>
                </c:pt>
                <c:pt idx="4205" formatCode="#,##0_);\(#,##0\);&quot;-  &quot;;&quot; &quot;@&quot; &quot;">
                  <c:v>0</c:v>
                </c:pt>
                <c:pt idx="4206" formatCode="#,##0_);\(#,##0\);&quot;-  &quot;;&quot; &quot;@&quot; &quot;">
                  <c:v>0</c:v>
                </c:pt>
                <c:pt idx="4207" formatCode="#,##0_);\(#,##0\);&quot;-  &quot;;&quot; &quot;@&quot; &quot;">
                  <c:v>0</c:v>
                </c:pt>
                <c:pt idx="4208" formatCode="#,##0_);\(#,##0\);&quot;-  &quot;;&quot; &quot;@&quot; &quot;">
                  <c:v>0</c:v>
                </c:pt>
                <c:pt idx="4209" formatCode="#,##0_);\(#,##0\);&quot;-  &quot;;&quot; &quot;@&quot; &quot;">
                  <c:v>0</c:v>
                </c:pt>
                <c:pt idx="4210" formatCode="#,##0_);\(#,##0\);&quot;-  &quot;;&quot; &quot;@&quot; &quot;">
                  <c:v>0</c:v>
                </c:pt>
                <c:pt idx="4211" formatCode="#,##0_);\(#,##0\);&quot;-  &quot;;&quot; &quot;@&quot; &quot;">
                  <c:v>0</c:v>
                </c:pt>
                <c:pt idx="4212" formatCode="#,##0_);\(#,##0\);&quot;-  &quot;;&quot; &quot;@&quot; &quot;">
                  <c:v>0</c:v>
                </c:pt>
                <c:pt idx="4213" formatCode="#,##0_);\(#,##0\);&quot;-  &quot;;&quot; &quot;@&quot; &quot;">
                  <c:v>0</c:v>
                </c:pt>
                <c:pt idx="4214" formatCode="#,##0_);\(#,##0\);&quot;-  &quot;;&quot; &quot;@&quot; &quot;">
                  <c:v>0</c:v>
                </c:pt>
                <c:pt idx="4215" formatCode="#,##0_);\(#,##0\);&quot;-  &quot;;&quot; &quot;@&quot; &quot;">
                  <c:v>0</c:v>
                </c:pt>
                <c:pt idx="4216" formatCode="#,##0_);\(#,##0\);&quot;-  &quot;;&quot; &quot;@&quot; &quot;">
                  <c:v>0</c:v>
                </c:pt>
                <c:pt idx="4217" formatCode="#,##0_);\(#,##0\);&quot;-  &quot;;&quot; &quot;@&quot; &quot;">
                  <c:v>0</c:v>
                </c:pt>
                <c:pt idx="4218" formatCode="#,##0_);\(#,##0\);&quot;-  &quot;;&quot; &quot;@&quot; &quot;">
                  <c:v>0</c:v>
                </c:pt>
                <c:pt idx="4219" formatCode="#,##0_);\(#,##0\);&quot;-  &quot;;&quot; &quot;@&quot; &quot;">
                  <c:v>0</c:v>
                </c:pt>
                <c:pt idx="4220" formatCode="#,##0_);\(#,##0\);&quot;-  &quot;;&quot; &quot;@&quot; &quot;">
                  <c:v>0</c:v>
                </c:pt>
                <c:pt idx="4221" formatCode="#,##0_);\(#,##0\);&quot;-  &quot;;&quot; &quot;@&quot; &quot;">
                  <c:v>0</c:v>
                </c:pt>
                <c:pt idx="4222" formatCode="#,##0_);\(#,##0\);&quot;-  &quot;;&quot; &quot;@&quot; &quot;">
                  <c:v>0</c:v>
                </c:pt>
                <c:pt idx="4223" formatCode="#,##0_);\(#,##0\);&quot;-  &quot;;&quot; &quot;@&quot; &quot;">
                  <c:v>0</c:v>
                </c:pt>
                <c:pt idx="4224" formatCode="#,##0_);\(#,##0\);&quot;-  &quot;;&quot; &quot;@&quot; &quot;">
                  <c:v>0</c:v>
                </c:pt>
                <c:pt idx="4225" formatCode="#,##0_);\(#,##0\);&quot;-  &quot;;&quot; &quot;@&quot; &quot;">
                  <c:v>0</c:v>
                </c:pt>
                <c:pt idx="4226" formatCode="#,##0_);\(#,##0\);&quot;-  &quot;;&quot; &quot;@&quot; &quot;">
                  <c:v>0</c:v>
                </c:pt>
                <c:pt idx="4227" formatCode="#,##0_);\(#,##0\);&quot;-  &quot;;&quot; &quot;@&quot; &quot;">
                  <c:v>0</c:v>
                </c:pt>
                <c:pt idx="4228" formatCode="#,##0_);\(#,##0\);&quot;-  &quot;;&quot; &quot;@&quot; &quot;">
                  <c:v>0</c:v>
                </c:pt>
                <c:pt idx="4229" formatCode="#,##0_);\(#,##0\);&quot;-  &quot;;&quot; &quot;@&quot; &quot;">
                  <c:v>0</c:v>
                </c:pt>
                <c:pt idx="4230" formatCode="#,##0_);\(#,##0\);&quot;-  &quot;;&quot; &quot;@&quot; &quot;">
                  <c:v>0</c:v>
                </c:pt>
                <c:pt idx="4231" formatCode="#,##0_);\(#,##0\);&quot;-  &quot;;&quot; &quot;@&quot; &quot;">
                  <c:v>0</c:v>
                </c:pt>
                <c:pt idx="4232" formatCode="#,##0_);\(#,##0\);&quot;-  &quot;;&quot; &quot;@&quot; &quot;">
                  <c:v>0</c:v>
                </c:pt>
                <c:pt idx="4233" formatCode="#,##0_);\(#,##0\);&quot;-  &quot;;&quot; &quot;@&quot; &quot;">
                  <c:v>0</c:v>
                </c:pt>
                <c:pt idx="4234" formatCode="#,##0_);\(#,##0\);&quot;-  &quot;;&quot; &quot;@&quot; &quot;">
                  <c:v>0</c:v>
                </c:pt>
                <c:pt idx="4235" formatCode="#,##0_);\(#,##0\);&quot;-  &quot;;&quot; &quot;@&quot; &quot;">
                  <c:v>0</c:v>
                </c:pt>
                <c:pt idx="4236" formatCode="#,##0_);\(#,##0\);&quot;-  &quot;;&quot; &quot;@&quot; &quot;">
                  <c:v>0</c:v>
                </c:pt>
                <c:pt idx="4237" formatCode="#,##0_);\(#,##0\);&quot;-  &quot;;&quot; &quot;@&quot; &quot;">
                  <c:v>0</c:v>
                </c:pt>
                <c:pt idx="4238" formatCode="#,##0_);\(#,##0\);&quot;-  &quot;;&quot; &quot;@&quot; &quot;">
                  <c:v>0</c:v>
                </c:pt>
                <c:pt idx="4239" formatCode="#,##0_);\(#,##0\);&quot;-  &quot;;&quot; &quot;@&quot; &quot;">
                  <c:v>0</c:v>
                </c:pt>
                <c:pt idx="4240" formatCode="#,##0_);\(#,##0\);&quot;-  &quot;;&quot; &quot;@&quot; &quot;">
                  <c:v>0</c:v>
                </c:pt>
                <c:pt idx="4241" formatCode="#,##0_);\(#,##0\);&quot;-  &quot;;&quot; &quot;@&quot; &quot;">
                  <c:v>0</c:v>
                </c:pt>
                <c:pt idx="4242" formatCode="#,##0_);\(#,##0\);&quot;-  &quot;;&quot; &quot;@&quot; &quot;">
                  <c:v>0</c:v>
                </c:pt>
                <c:pt idx="4243" formatCode="#,##0_);\(#,##0\);&quot;-  &quot;;&quot; &quot;@&quot; &quot;">
                  <c:v>0</c:v>
                </c:pt>
                <c:pt idx="4244" formatCode="#,##0_);\(#,##0\);&quot;-  &quot;;&quot; &quot;@&quot; &quot;">
                  <c:v>0</c:v>
                </c:pt>
                <c:pt idx="4245" formatCode="#,##0_);\(#,##0\);&quot;-  &quot;;&quot; &quot;@&quot; &quot;">
                  <c:v>0</c:v>
                </c:pt>
                <c:pt idx="4246" formatCode="#,##0_);\(#,##0\);&quot;-  &quot;;&quot; &quot;@&quot; &quot;">
                  <c:v>0</c:v>
                </c:pt>
                <c:pt idx="4247" formatCode="#,##0_);\(#,##0\);&quot;-  &quot;;&quot; &quot;@&quot; &quot;">
                  <c:v>0</c:v>
                </c:pt>
                <c:pt idx="4248" formatCode="#,##0_);\(#,##0\);&quot;-  &quot;;&quot; &quot;@&quot; &quot;">
                  <c:v>0</c:v>
                </c:pt>
                <c:pt idx="4249" formatCode="#,##0_);\(#,##0\);&quot;-  &quot;;&quot; &quot;@&quot; &quot;">
                  <c:v>0</c:v>
                </c:pt>
                <c:pt idx="4250" formatCode="#,##0_);\(#,##0\);&quot;-  &quot;;&quot; &quot;@&quot; &quot;">
                  <c:v>0</c:v>
                </c:pt>
                <c:pt idx="4251" formatCode="#,##0_);\(#,##0\);&quot;-  &quot;;&quot; &quot;@&quot; &quot;">
                  <c:v>0</c:v>
                </c:pt>
                <c:pt idx="4252" formatCode="#,##0_);\(#,##0\);&quot;-  &quot;;&quot; &quot;@&quot; &quot;">
                  <c:v>0</c:v>
                </c:pt>
                <c:pt idx="4253" formatCode="#,##0_);\(#,##0\);&quot;-  &quot;;&quot; &quot;@&quot; &quot;">
                  <c:v>0</c:v>
                </c:pt>
                <c:pt idx="4254" formatCode="#,##0_);\(#,##0\);&quot;-  &quot;;&quot; &quot;@&quot; &quot;">
                  <c:v>0</c:v>
                </c:pt>
                <c:pt idx="4255" formatCode="#,##0_);\(#,##0\);&quot;-  &quot;;&quot; &quot;@&quot; &quot;">
                  <c:v>0</c:v>
                </c:pt>
                <c:pt idx="4256" formatCode="#,##0_);\(#,##0\);&quot;-  &quot;;&quot; &quot;@&quot; &quot;">
                  <c:v>0</c:v>
                </c:pt>
                <c:pt idx="4257" formatCode="#,##0_);\(#,##0\);&quot;-  &quot;;&quot; &quot;@&quot; &quot;">
                  <c:v>0</c:v>
                </c:pt>
                <c:pt idx="4258" formatCode="#,##0_);\(#,##0\);&quot;-  &quot;;&quot; &quot;@&quot; &quot;">
                  <c:v>0</c:v>
                </c:pt>
                <c:pt idx="4259" formatCode="#,##0_);\(#,##0\);&quot;-  &quot;;&quot; &quot;@&quot; &quot;">
                  <c:v>0</c:v>
                </c:pt>
                <c:pt idx="4260" formatCode="#,##0_);\(#,##0\);&quot;-  &quot;;&quot; &quot;@&quot; &quot;">
                  <c:v>0</c:v>
                </c:pt>
                <c:pt idx="4261" formatCode="#,##0_);\(#,##0\);&quot;-  &quot;;&quot; &quot;@&quot; &quot;">
                  <c:v>0</c:v>
                </c:pt>
                <c:pt idx="4262" formatCode="#,##0_);\(#,##0\);&quot;-  &quot;;&quot; &quot;@&quot; &quot;">
                  <c:v>0</c:v>
                </c:pt>
                <c:pt idx="4263" formatCode="#,##0_);\(#,##0\);&quot;-  &quot;;&quot; &quot;@&quot; &quot;">
                  <c:v>0</c:v>
                </c:pt>
                <c:pt idx="4264" formatCode="#,##0_);\(#,##0\);&quot;-  &quot;;&quot; &quot;@&quot; &quot;">
                  <c:v>0</c:v>
                </c:pt>
                <c:pt idx="4265" formatCode="#,##0_);\(#,##0\);&quot;-  &quot;;&quot; &quot;@&quot; &quot;">
                  <c:v>0</c:v>
                </c:pt>
                <c:pt idx="4266" formatCode="#,##0_);\(#,##0\);&quot;-  &quot;;&quot; &quot;@&quot; &quot;">
                  <c:v>0</c:v>
                </c:pt>
                <c:pt idx="4267" formatCode="#,##0_);\(#,##0\);&quot;-  &quot;;&quot; &quot;@&quot; &quot;">
                  <c:v>0</c:v>
                </c:pt>
                <c:pt idx="4268" formatCode="#,##0_);\(#,##0\);&quot;-  &quot;;&quot; &quot;@&quot; &quot;">
                  <c:v>0</c:v>
                </c:pt>
                <c:pt idx="4269" formatCode="#,##0_);\(#,##0\);&quot;-  &quot;;&quot; &quot;@&quot; &quot;">
                  <c:v>0</c:v>
                </c:pt>
                <c:pt idx="4270" formatCode="#,##0_);\(#,##0\);&quot;-  &quot;;&quot; &quot;@&quot; &quot;">
                  <c:v>0</c:v>
                </c:pt>
                <c:pt idx="4271" formatCode="#,##0_);\(#,##0\);&quot;-  &quot;;&quot; &quot;@&quot; &quot;">
                  <c:v>0</c:v>
                </c:pt>
                <c:pt idx="4272" formatCode="#,##0_);\(#,##0\);&quot;-  &quot;;&quot; &quot;@&quot; &quot;">
                  <c:v>0</c:v>
                </c:pt>
                <c:pt idx="4273" formatCode="#,##0_);\(#,##0\);&quot;-  &quot;;&quot; &quot;@&quot; &quot;">
                  <c:v>0</c:v>
                </c:pt>
                <c:pt idx="4274" formatCode="#,##0_);\(#,##0\);&quot;-  &quot;;&quot; &quot;@&quot; &quot;">
                  <c:v>0</c:v>
                </c:pt>
                <c:pt idx="4275" formatCode="#,##0_);\(#,##0\);&quot;-  &quot;;&quot; &quot;@&quot; &quot;">
                  <c:v>0</c:v>
                </c:pt>
                <c:pt idx="4276" formatCode="#,##0_);\(#,##0\);&quot;-  &quot;;&quot; &quot;@&quot; &quot;">
                  <c:v>0</c:v>
                </c:pt>
                <c:pt idx="4277" formatCode="#,##0_);\(#,##0\);&quot;-  &quot;;&quot; &quot;@&quot; &quot;">
                  <c:v>0</c:v>
                </c:pt>
                <c:pt idx="4278" formatCode="#,##0_);\(#,##0\);&quot;-  &quot;;&quot; &quot;@&quot; &quot;">
                  <c:v>0</c:v>
                </c:pt>
                <c:pt idx="4279" formatCode="#,##0_);\(#,##0\);&quot;-  &quot;;&quot; &quot;@&quot; &quot;">
                  <c:v>0</c:v>
                </c:pt>
                <c:pt idx="4280" formatCode="#,##0_);\(#,##0\);&quot;-  &quot;;&quot; &quot;@&quot; &quot;">
                  <c:v>0</c:v>
                </c:pt>
                <c:pt idx="4281" formatCode="#,##0_);\(#,##0\);&quot;-  &quot;;&quot; &quot;@&quot; &quot;">
                  <c:v>0</c:v>
                </c:pt>
                <c:pt idx="4282" formatCode="#,##0_);\(#,##0\);&quot;-  &quot;;&quot; &quot;@&quot; &quot;">
                  <c:v>0</c:v>
                </c:pt>
                <c:pt idx="4283" formatCode="#,##0_);\(#,##0\);&quot;-  &quot;;&quot; &quot;@&quot; &quot;">
                  <c:v>0</c:v>
                </c:pt>
                <c:pt idx="4284" formatCode="#,##0_);\(#,##0\);&quot;-  &quot;;&quot; &quot;@&quot; &quot;">
                  <c:v>0</c:v>
                </c:pt>
                <c:pt idx="4285" formatCode="#,##0_);\(#,##0\);&quot;-  &quot;;&quot; &quot;@&quot; &quot;">
                  <c:v>0</c:v>
                </c:pt>
                <c:pt idx="4286" formatCode="#,##0_);\(#,##0\);&quot;-  &quot;;&quot; &quot;@&quot; &quot;">
                  <c:v>0</c:v>
                </c:pt>
                <c:pt idx="4287" formatCode="#,##0_);\(#,##0\);&quot;-  &quot;;&quot; &quot;@&quot; &quot;">
                  <c:v>0</c:v>
                </c:pt>
                <c:pt idx="4288" formatCode="#,##0_);\(#,##0\);&quot;-  &quot;;&quot; &quot;@&quot; &quot;">
                  <c:v>0</c:v>
                </c:pt>
                <c:pt idx="4289" formatCode="#,##0_);\(#,##0\);&quot;-  &quot;;&quot; &quot;@&quot; &quot;">
                  <c:v>0</c:v>
                </c:pt>
                <c:pt idx="4290" formatCode="#,##0_);\(#,##0\);&quot;-  &quot;;&quot; &quot;@&quot; &quot;">
                  <c:v>0</c:v>
                </c:pt>
                <c:pt idx="4291" formatCode="#,##0_);\(#,##0\);&quot;-  &quot;;&quot; &quot;@&quot; &quot;">
                  <c:v>0</c:v>
                </c:pt>
                <c:pt idx="4292" formatCode="#,##0_);\(#,##0\);&quot;-  &quot;;&quot; &quot;@&quot; &quot;">
                  <c:v>0</c:v>
                </c:pt>
                <c:pt idx="4293" formatCode="#,##0_);\(#,##0\);&quot;-  &quot;;&quot; &quot;@&quot; &quot;">
                  <c:v>0</c:v>
                </c:pt>
                <c:pt idx="4294" formatCode="#,##0_);\(#,##0\);&quot;-  &quot;;&quot; &quot;@&quot; &quot;">
                  <c:v>0</c:v>
                </c:pt>
                <c:pt idx="4295" formatCode="#,##0_);\(#,##0\);&quot;-  &quot;;&quot; &quot;@&quot; &quot;">
                  <c:v>0</c:v>
                </c:pt>
                <c:pt idx="4296" formatCode="#,##0_);\(#,##0\);&quot;-  &quot;;&quot; &quot;@&quot; &quot;">
                  <c:v>0</c:v>
                </c:pt>
                <c:pt idx="4297" formatCode="#,##0_);\(#,##0\);&quot;-  &quot;;&quot; &quot;@&quot; &quot;">
                  <c:v>0</c:v>
                </c:pt>
                <c:pt idx="4298" formatCode="#,##0_);\(#,##0\);&quot;-  &quot;;&quot; &quot;@&quot; &quot;">
                  <c:v>0</c:v>
                </c:pt>
                <c:pt idx="4299" formatCode="#,##0_);\(#,##0\);&quot;-  &quot;;&quot; &quot;@&quot; &quot;">
                  <c:v>0</c:v>
                </c:pt>
                <c:pt idx="4300" formatCode="#,##0_);\(#,##0\);&quot;-  &quot;;&quot; &quot;@&quot; &quot;">
                  <c:v>0</c:v>
                </c:pt>
                <c:pt idx="4301" formatCode="#,##0_);\(#,##0\);&quot;-  &quot;;&quot; &quot;@&quot; &quot;">
                  <c:v>0</c:v>
                </c:pt>
                <c:pt idx="4302" formatCode="#,##0_);\(#,##0\);&quot;-  &quot;;&quot; &quot;@&quot; &quot;">
                  <c:v>0</c:v>
                </c:pt>
                <c:pt idx="4303" formatCode="#,##0_);\(#,##0\);&quot;-  &quot;;&quot; &quot;@&quot; &quot;">
                  <c:v>0</c:v>
                </c:pt>
                <c:pt idx="4304" formatCode="#,##0_);\(#,##0\);&quot;-  &quot;;&quot; &quot;@&quot; &quot;">
                  <c:v>0</c:v>
                </c:pt>
                <c:pt idx="4305" formatCode="#,##0_);\(#,##0\);&quot;-  &quot;;&quot; &quot;@&quot; &quot;">
                  <c:v>0</c:v>
                </c:pt>
                <c:pt idx="4306" formatCode="#,##0_);\(#,##0\);&quot;-  &quot;;&quot; &quot;@&quot; &quot;">
                  <c:v>0</c:v>
                </c:pt>
                <c:pt idx="4307" formatCode="#,##0_);\(#,##0\);&quot;-  &quot;;&quot; &quot;@&quot; &quot;">
                  <c:v>0</c:v>
                </c:pt>
                <c:pt idx="4308" formatCode="#,##0_);\(#,##0\);&quot;-  &quot;;&quot; &quot;@&quot; &quot;">
                  <c:v>0</c:v>
                </c:pt>
                <c:pt idx="4309" formatCode="#,##0_);\(#,##0\);&quot;-  &quot;;&quot; &quot;@&quot; &quot;">
                  <c:v>0</c:v>
                </c:pt>
                <c:pt idx="4310" formatCode="#,##0_);\(#,##0\);&quot;-  &quot;;&quot; &quot;@&quot; &quot;">
                  <c:v>0</c:v>
                </c:pt>
                <c:pt idx="4311" formatCode="#,##0_);\(#,##0\);&quot;-  &quot;;&quot; &quot;@&quot; &quot;">
                  <c:v>0</c:v>
                </c:pt>
                <c:pt idx="4312" formatCode="#,##0_);\(#,##0\);&quot;-  &quot;;&quot; &quot;@&quot; &quot;">
                  <c:v>0</c:v>
                </c:pt>
                <c:pt idx="4313" formatCode="#,##0_);\(#,##0\);&quot;-  &quot;;&quot; &quot;@&quot; &quot;">
                  <c:v>0</c:v>
                </c:pt>
                <c:pt idx="4314" formatCode="#,##0_);\(#,##0\);&quot;-  &quot;;&quot; &quot;@&quot; &quot;">
                  <c:v>0</c:v>
                </c:pt>
                <c:pt idx="4315" formatCode="#,##0_);\(#,##0\);&quot;-  &quot;;&quot; &quot;@&quot; &quot;">
                  <c:v>0</c:v>
                </c:pt>
                <c:pt idx="4316" formatCode="#,##0_);\(#,##0\);&quot;-  &quot;;&quot; &quot;@&quot; &quot;">
                  <c:v>0</c:v>
                </c:pt>
                <c:pt idx="4317" formatCode="#,##0_);\(#,##0\);&quot;-  &quot;;&quot; &quot;@&quot; &quot;">
                  <c:v>0</c:v>
                </c:pt>
                <c:pt idx="4318" formatCode="#,##0_);\(#,##0\);&quot;-  &quot;;&quot; &quot;@&quot; &quot;">
                  <c:v>0</c:v>
                </c:pt>
                <c:pt idx="4319" formatCode="#,##0_);\(#,##0\);&quot;-  &quot;;&quot; &quot;@&quot; &quot;">
                  <c:v>0</c:v>
                </c:pt>
                <c:pt idx="4320" formatCode="#,##0_);\(#,##0\);&quot;-  &quot;;&quot; &quot;@&quot; &quot;">
                  <c:v>0</c:v>
                </c:pt>
                <c:pt idx="4321" formatCode="#,##0_);\(#,##0\);&quot;-  &quot;;&quot; &quot;@&quot; &quot;">
                  <c:v>0</c:v>
                </c:pt>
                <c:pt idx="4322" formatCode="#,##0_);\(#,##0\);&quot;-  &quot;;&quot; &quot;@&quot; &quot;">
                  <c:v>0</c:v>
                </c:pt>
                <c:pt idx="4323" formatCode="#,##0_);\(#,##0\);&quot;-  &quot;;&quot; &quot;@&quot; &quot;">
                  <c:v>0</c:v>
                </c:pt>
                <c:pt idx="4324" formatCode="#,##0_);\(#,##0\);&quot;-  &quot;;&quot; &quot;@&quot; &quot;">
                  <c:v>0</c:v>
                </c:pt>
                <c:pt idx="4325" formatCode="#,##0_);\(#,##0\);&quot;-  &quot;;&quot; &quot;@&quot; &quot;">
                  <c:v>0</c:v>
                </c:pt>
                <c:pt idx="4326" formatCode="#,##0_);\(#,##0\);&quot;-  &quot;;&quot; &quot;@&quot; &quot;">
                  <c:v>0</c:v>
                </c:pt>
                <c:pt idx="4327" formatCode="#,##0_);\(#,##0\);&quot;-  &quot;;&quot; &quot;@&quot; &quot;">
                  <c:v>0</c:v>
                </c:pt>
                <c:pt idx="4328" formatCode="#,##0_);\(#,##0\);&quot;-  &quot;;&quot; &quot;@&quot; &quot;">
                  <c:v>0</c:v>
                </c:pt>
                <c:pt idx="4329" formatCode="#,##0_);\(#,##0\);&quot;-  &quot;;&quot; &quot;@&quot; &quot;">
                  <c:v>0</c:v>
                </c:pt>
                <c:pt idx="4330" formatCode="#,##0_);\(#,##0\);&quot;-  &quot;;&quot; &quot;@&quot; &quot;">
                  <c:v>0</c:v>
                </c:pt>
                <c:pt idx="4331" formatCode="#,##0_);\(#,##0\);&quot;-  &quot;;&quot; &quot;@&quot; &quot;">
                  <c:v>0</c:v>
                </c:pt>
                <c:pt idx="4332" formatCode="#,##0_);\(#,##0\);&quot;-  &quot;;&quot; &quot;@&quot; &quot;">
                  <c:v>0</c:v>
                </c:pt>
                <c:pt idx="4333" formatCode="#,##0_);\(#,##0\);&quot;-  &quot;;&quot; &quot;@&quot; &quot;">
                  <c:v>0</c:v>
                </c:pt>
                <c:pt idx="4334" formatCode="#,##0_);\(#,##0\);&quot;-  &quot;;&quot; &quot;@&quot; &quot;">
                  <c:v>0</c:v>
                </c:pt>
                <c:pt idx="4335" formatCode="#,##0_);\(#,##0\);&quot;-  &quot;;&quot; &quot;@&quot; &quot;">
                  <c:v>0</c:v>
                </c:pt>
                <c:pt idx="4336" formatCode="#,##0_);\(#,##0\);&quot;-  &quot;;&quot; &quot;@&quot; &quot;">
                  <c:v>0</c:v>
                </c:pt>
                <c:pt idx="4337" formatCode="#,##0_);\(#,##0\);&quot;-  &quot;;&quot; &quot;@&quot; &quot;">
                  <c:v>0</c:v>
                </c:pt>
                <c:pt idx="4338" formatCode="#,##0_);\(#,##0\);&quot;-  &quot;;&quot; &quot;@&quot; &quot;">
                  <c:v>0</c:v>
                </c:pt>
                <c:pt idx="4339" formatCode="#,##0_);\(#,##0\);&quot;-  &quot;;&quot; &quot;@&quot; &quot;">
                  <c:v>0</c:v>
                </c:pt>
                <c:pt idx="4340" formatCode="#,##0_);\(#,##0\);&quot;-  &quot;;&quot; &quot;@&quot; &quot;">
                  <c:v>0</c:v>
                </c:pt>
                <c:pt idx="4341" formatCode="#,##0_);\(#,##0\);&quot;-  &quot;;&quot; &quot;@&quot; &quot;">
                  <c:v>0</c:v>
                </c:pt>
                <c:pt idx="4342" formatCode="#,##0_);\(#,##0\);&quot;-  &quot;;&quot; &quot;@&quot; &quot;">
                  <c:v>0</c:v>
                </c:pt>
                <c:pt idx="4343" formatCode="#,##0_);\(#,##0\);&quot;-  &quot;;&quot; &quot;@&quot; &quot;">
                  <c:v>0</c:v>
                </c:pt>
                <c:pt idx="4344" formatCode="#,##0_);\(#,##0\);&quot;-  &quot;;&quot; &quot;@&quot; &quot;">
                  <c:v>0</c:v>
                </c:pt>
                <c:pt idx="4345" formatCode="#,##0_);\(#,##0\);&quot;-  &quot;;&quot; &quot;@&quot; &quot;">
                  <c:v>0</c:v>
                </c:pt>
                <c:pt idx="4346" formatCode="#,##0_);\(#,##0\);&quot;-  &quot;;&quot; &quot;@&quot; &quot;">
                  <c:v>0</c:v>
                </c:pt>
                <c:pt idx="4347" formatCode="#,##0_);\(#,##0\);&quot;-  &quot;;&quot; &quot;@&quot; &quot;">
                  <c:v>0</c:v>
                </c:pt>
                <c:pt idx="4348" formatCode="#,##0_);\(#,##0\);&quot;-  &quot;;&quot; &quot;@&quot; &quot;">
                  <c:v>0</c:v>
                </c:pt>
                <c:pt idx="4349" formatCode="#,##0_);\(#,##0\);&quot;-  &quot;;&quot; &quot;@&quot; &quot;">
                  <c:v>0</c:v>
                </c:pt>
                <c:pt idx="4350" formatCode="#,##0_);\(#,##0\);&quot;-  &quot;;&quot; &quot;@&quot; &quot;">
                  <c:v>0</c:v>
                </c:pt>
                <c:pt idx="4351" formatCode="#,##0_);\(#,##0\);&quot;-  &quot;;&quot; &quot;@&quot; &quot;">
                  <c:v>0</c:v>
                </c:pt>
                <c:pt idx="4352" formatCode="#,##0_);\(#,##0\);&quot;-  &quot;;&quot; &quot;@&quot; &quot;">
                  <c:v>0</c:v>
                </c:pt>
                <c:pt idx="4353" formatCode="#,##0_);\(#,##0\);&quot;-  &quot;;&quot; &quot;@&quot; &quot;">
                  <c:v>0</c:v>
                </c:pt>
                <c:pt idx="4354" formatCode="#,##0_);\(#,##0\);&quot;-  &quot;;&quot; &quot;@&quot; &quot;">
                  <c:v>0</c:v>
                </c:pt>
                <c:pt idx="4355" formatCode="#,##0_);\(#,##0\);&quot;-  &quot;;&quot; &quot;@&quot; &quot;">
                  <c:v>0</c:v>
                </c:pt>
                <c:pt idx="4356" formatCode="#,##0_);\(#,##0\);&quot;-  &quot;;&quot; &quot;@&quot; &quot;">
                  <c:v>0</c:v>
                </c:pt>
                <c:pt idx="4357" formatCode="#,##0_);\(#,##0\);&quot;-  &quot;;&quot; &quot;@&quot; &quot;">
                  <c:v>0</c:v>
                </c:pt>
                <c:pt idx="4358" formatCode="#,##0_);\(#,##0\);&quot;-  &quot;;&quot; &quot;@&quot; &quot;">
                  <c:v>0</c:v>
                </c:pt>
                <c:pt idx="4359" formatCode="#,##0_);\(#,##0\);&quot;-  &quot;;&quot; &quot;@&quot; &quot;">
                  <c:v>0</c:v>
                </c:pt>
                <c:pt idx="4360" formatCode="#,##0_);\(#,##0\);&quot;-  &quot;;&quot; &quot;@&quot; &quot;">
                  <c:v>0</c:v>
                </c:pt>
                <c:pt idx="4361" formatCode="#,##0_);\(#,##0\);&quot;-  &quot;;&quot; &quot;@&quot; &quot;">
                  <c:v>0</c:v>
                </c:pt>
                <c:pt idx="4362" formatCode="#,##0_);\(#,##0\);&quot;-  &quot;;&quot; &quot;@&quot; &quot;">
                  <c:v>0</c:v>
                </c:pt>
                <c:pt idx="4363" formatCode="#,##0_);\(#,##0\);&quot;-  &quot;;&quot; &quot;@&quot; &quot;">
                  <c:v>0</c:v>
                </c:pt>
                <c:pt idx="4364" formatCode="#,##0_);\(#,##0\);&quot;-  &quot;;&quot; &quot;@&quot; &quot;">
                  <c:v>0</c:v>
                </c:pt>
                <c:pt idx="4365" formatCode="#,##0_);\(#,##0\);&quot;-  &quot;;&quot; &quot;@&quot; &quot;">
                  <c:v>0</c:v>
                </c:pt>
                <c:pt idx="4366" formatCode="#,##0_);\(#,##0\);&quot;-  &quot;;&quot; &quot;@&quot; &quot;">
                  <c:v>0</c:v>
                </c:pt>
                <c:pt idx="4367" formatCode="#,##0_);\(#,##0\);&quot;-  &quot;;&quot; &quot;@&quot; &quot;">
                  <c:v>0</c:v>
                </c:pt>
                <c:pt idx="4368" formatCode="#,##0_);\(#,##0\);&quot;-  &quot;;&quot; &quot;@&quot; &quot;">
                  <c:v>0</c:v>
                </c:pt>
                <c:pt idx="4369" formatCode="#,##0_);\(#,##0\);&quot;-  &quot;;&quot; &quot;@&quot; &quot;">
                  <c:v>0</c:v>
                </c:pt>
                <c:pt idx="4370" formatCode="#,##0_);\(#,##0\);&quot;-  &quot;;&quot; &quot;@&quot; &quot;">
                  <c:v>0</c:v>
                </c:pt>
                <c:pt idx="4371" formatCode="#,##0_);\(#,##0\);&quot;-  &quot;;&quot; &quot;@&quot; &quot;">
                  <c:v>0</c:v>
                </c:pt>
                <c:pt idx="4372" formatCode="#,##0_);\(#,##0\);&quot;-  &quot;;&quot; &quot;@&quot; &quot;">
                  <c:v>0</c:v>
                </c:pt>
                <c:pt idx="4373" formatCode="#,##0_);\(#,##0\);&quot;-  &quot;;&quot; &quot;@&quot; &quot;">
                  <c:v>0</c:v>
                </c:pt>
                <c:pt idx="4374" formatCode="#,##0_);\(#,##0\);&quot;-  &quot;;&quot; &quot;@&quot; &quot;">
                  <c:v>0</c:v>
                </c:pt>
                <c:pt idx="4375" formatCode="#,##0_);\(#,##0\);&quot;-  &quot;;&quot; &quot;@&quot; &quot;">
                  <c:v>0</c:v>
                </c:pt>
                <c:pt idx="4376" formatCode="#,##0_);\(#,##0\);&quot;-  &quot;;&quot; &quot;@&quot; &quot;">
                  <c:v>0</c:v>
                </c:pt>
                <c:pt idx="4377" formatCode="#,##0_);\(#,##0\);&quot;-  &quot;;&quot; &quot;@&quot; &quot;">
                  <c:v>0</c:v>
                </c:pt>
                <c:pt idx="4378" formatCode="#,##0_);\(#,##0\);&quot;-  &quot;;&quot; &quot;@&quot; &quot;">
                  <c:v>0</c:v>
                </c:pt>
                <c:pt idx="4379" formatCode="#,##0_);\(#,##0\);&quot;-  &quot;;&quot; &quot;@&quot; &quot;">
                  <c:v>0</c:v>
                </c:pt>
                <c:pt idx="4380" formatCode="#,##0_);\(#,##0\);&quot;-  &quot;;&quot; &quot;@&quot; &quot;">
                  <c:v>0</c:v>
                </c:pt>
                <c:pt idx="4381" formatCode="#,##0_);\(#,##0\);&quot;-  &quot;;&quot; &quot;@&quot; &quot;">
                  <c:v>0</c:v>
                </c:pt>
                <c:pt idx="4382" formatCode="#,##0_);\(#,##0\);&quot;-  &quot;;&quot; &quot;@&quot; &quot;">
                  <c:v>0</c:v>
                </c:pt>
                <c:pt idx="4383" formatCode="#,##0_);\(#,##0\);&quot;-  &quot;;&quot; &quot;@&quot; &quot;">
                  <c:v>0</c:v>
                </c:pt>
                <c:pt idx="4384" formatCode="#,##0_);\(#,##0\);&quot;-  &quot;;&quot; &quot;@&quot; &quot;">
                  <c:v>0</c:v>
                </c:pt>
                <c:pt idx="4385" formatCode="#,##0_);\(#,##0\);&quot;-  &quot;;&quot; &quot;@&quot; &quot;">
                  <c:v>0</c:v>
                </c:pt>
                <c:pt idx="4386" formatCode="#,##0_);\(#,##0\);&quot;-  &quot;;&quot; &quot;@&quot; &quot;">
                  <c:v>0</c:v>
                </c:pt>
                <c:pt idx="4387" formatCode="#,##0_);\(#,##0\);&quot;-  &quot;;&quot; &quot;@&quot; &quot;">
                  <c:v>0</c:v>
                </c:pt>
                <c:pt idx="4388" formatCode="#,##0_);\(#,##0\);&quot;-  &quot;;&quot; &quot;@&quot; &quot;">
                  <c:v>0</c:v>
                </c:pt>
                <c:pt idx="4389" formatCode="#,##0_);\(#,##0\);&quot;-  &quot;;&quot; &quot;@&quot; &quot;">
                  <c:v>0</c:v>
                </c:pt>
                <c:pt idx="4390" formatCode="#,##0_);\(#,##0\);&quot;-  &quot;;&quot; &quot;@&quot; &quot;">
                  <c:v>0</c:v>
                </c:pt>
                <c:pt idx="4391" formatCode="#,##0_);\(#,##0\);&quot;-  &quot;;&quot; &quot;@&quot; &quot;">
                  <c:v>0</c:v>
                </c:pt>
                <c:pt idx="4392" formatCode="#,##0_);\(#,##0\);&quot;-  &quot;;&quot; &quot;@&quot; &quot;">
                  <c:v>0</c:v>
                </c:pt>
                <c:pt idx="4393" formatCode="#,##0_);\(#,##0\);&quot;-  &quot;;&quot; &quot;@&quot; &quot;">
                  <c:v>0</c:v>
                </c:pt>
                <c:pt idx="4394" formatCode="#,##0_);\(#,##0\);&quot;-  &quot;;&quot; &quot;@&quot; &quot;">
                  <c:v>0</c:v>
                </c:pt>
                <c:pt idx="4395" formatCode="#,##0_);\(#,##0\);&quot;-  &quot;;&quot; &quot;@&quot; &quot;">
                  <c:v>0</c:v>
                </c:pt>
                <c:pt idx="4396" formatCode="#,##0_);\(#,##0\);&quot;-  &quot;;&quot; &quot;@&quot; &quot;">
                  <c:v>0</c:v>
                </c:pt>
                <c:pt idx="4397" formatCode="#,##0_);\(#,##0\);&quot;-  &quot;;&quot; &quot;@&quot; &quot;">
                  <c:v>0</c:v>
                </c:pt>
                <c:pt idx="4398" formatCode="#,##0_);\(#,##0\);&quot;-  &quot;;&quot; &quot;@&quot; &quot;">
                  <c:v>0</c:v>
                </c:pt>
                <c:pt idx="4399" formatCode="#,##0_);\(#,##0\);&quot;-  &quot;;&quot; &quot;@&quot; &quot;">
                  <c:v>0</c:v>
                </c:pt>
                <c:pt idx="4400" formatCode="#,##0_);\(#,##0\);&quot;-  &quot;;&quot; &quot;@&quot; &quot;">
                  <c:v>0</c:v>
                </c:pt>
                <c:pt idx="4401" formatCode="#,##0_);\(#,##0\);&quot;-  &quot;;&quot; &quot;@&quot; &quot;">
                  <c:v>0</c:v>
                </c:pt>
                <c:pt idx="4402" formatCode="#,##0_);\(#,##0\);&quot;-  &quot;;&quot; &quot;@&quot; &quot;">
                  <c:v>0</c:v>
                </c:pt>
                <c:pt idx="4403" formatCode="#,##0_);\(#,##0\);&quot;-  &quot;;&quot; &quot;@&quot; &quot;">
                  <c:v>0</c:v>
                </c:pt>
                <c:pt idx="4404" formatCode="#,##0_);\(#,##0\);&quot;-  &quot;;&quot; &quot;@&quot; &quot;">
                  <c:v>0</c:v>
                </c:pt>
                <c:pt idx="4405" formatCode="#,##0_);\(#,##0\);&quot;-  &quot;;&quot; &quot;@&quot; &quot;">
                  <c:v>0</c:v>
                </c:pt>
                <c:pt idx="4406" formatCode="#,##0_);\(#,##0\);&quot;-  &quot;;&quot; &quot;@&quot; &quot;">
                  <c:v>0</c:v>
                </c:pt>
                <c:pt idx="4407" formatCode="#,##0_);\(#,##0\);&quot;-  &quot;;&quot; &quot;@&quot; &quot;">
                  <c:v>0</c:v>
                </c:pt>
                <c:pt idx="4408" formatCode="#,##0_);\(#,##0\);&quot;-  &quot;;&quot; &quot;@&quot; &quot;">
                  <c:v>0</c:v>
                </c:pt>
                <c:pt idx="4409" formatCode="#,##0_);\(#,##0\);&quot;-  &quot;;&quot; &quot;@&quot; &quot;">
                  <c:v>0</c:v>
                </c:pt>
                <c:pt idx="4410" formatCode="#,##0_);\(#,##0\);&quot;-  &quot;;&quot; &quot;@&quot; &quot;">
                  <c:v>0</c:v>
                </c:pt>
                <c:pt idx="4411" formatCode="#,##0_);\(#,##0\);&quot;-  &quot;;&quot; &quot;@&quot; &quot;">
                  <c:v>0</c:v>
                </c:pt>
                <c:pt idx="4412" formatCode="#,##0_);\(#,##0\);&quot;-  &quot;;&quot; &quot;@&quot; &quot;">
                  <c:v>0</c:v>
                </c:pt>
                <c:pt idx="4413" formatCode="#,##0_);\(#,##0\);&quot;-  &quot;;&quot; &quot;@&quot; &quot;">
                  <c:v>0</c:v>
                </c:pt>
                <c:pt idx="4414" formatCode="#,##0_);\(#,##0\);&quot;-  &quot;;&quot; &quot;@&quot; &quot;">
                  <c:v>0</c:v>
                </c:pt>
                <c:pt idx="4415" formatCode="#,##0_);\(#,##0\);&quot;-  &quot;;&quot; &quot;@&quot; &quot;">
                  <c:v>0</c:v>
                </c:pt>
                <c:pt idx="4416" formatCode="#,##0_);\(#,##0\);&quot;-  &quot;;&quot; &quot;@&quot; &quot;">
                  <c:v>0</c:v>
                </c:pt>
                <c:pt idx="4417" formatCode="#,##0_);\(#,##0\);&quot;-  &quot;;&quot; &quot;@&quot; &quot;">
                  <c:v>0</c:v>
                </c:pt>
                <c:pt idx="4418" formatCode="#,##0_);\(#,##0\);&quot;-  &quot;;&quot; &quot;@&quot; &quot;">
                  <c:v>0</c:v>
                </c:pt>
                <c:pt idx="4419" formatCode="#,##0_);\(#,##0\);&quot;-  &quot;;&quot; &quot;@&quot; &quot;">
                  <c:v>0</c:v>
                </c:pt>
                <c:pt idx="4420" formatCode="#,##0_);\(#,##0\);&quot;-  &quot;;&quot; &quot;@&quot; &quot;">
                  <c:v>0</c:v>
                </c:pt>
                <c:pt idx="4421" formatCode="#,##0_);\(#,##0\);&quot;-  &quot;;&quot; &quot;@&quot; &quot;">
                  <c:v>0</c:v>
                </c:pt>
                <c:pt idx="4422" formatCode="#,##0_);\(#,##0\);&quot;-  &quot;;&quot; &quot;@&quot; &quot;">
                  <c:v>0</c:v>
                </c:pt>
                <c:pt idx="4423" formatCode="#,##0_);\(#,##0\);&quot;-  &quot;;&quot; &quot;@&quot; &quot;">
                  <c:v>0</c:v>
                </c:pt>
                <c:pt idx="4424" formatCode="#,##0_);\(#,##0\);&quot;-  &quot;;&quot; &quot;@&quot; &quot;">
                  <c:v>0</c:v>
                </c:pt>
                <c:pt idx="4425" formatCode="#,##0_);\(#,##0\);&quot;-  &quot;;&quot; &quot;@&quot; &quot;">
                  <c:v>0</c:v>
                </c:pt>
                <c:pt idx="4426" formatCode="#,##0_);\(#,##0\);&quot;-  &quot;;&quot; &quot;@&quot; &quot;">
                  <c:v>0</c:v>
                </c:pt>
                <c:pt idx="4427" formatCode="#,##0_);\(#,##0\);&quot;-  &quot;;&quot; &quot;@&quot; &quot;">
                  <c:v>0</c:v>
                </c:pt>
                <c:pt idx="4428" formatCode="#,##0_);\(#,##0\);&quot;-  &quot;;&quot; &quot;@&quot; &quot;">
                  <c:v>0</c:v>
                </c:pt>
                <c:pt idx="4429" formatCode="#,##0_);\(#,##0\);&quot;-  &quot;;&quot; &quot;@&quot; &quot;">
                  <c:v>0</c:v>
                </c:pt>
                <c:pt idx="4430" formatCode="#,##0_);\(#,##0\);&quot;-  &quot;;&quot; &quot;@&quot; &quot;">
                  <c:v>0</c:v>
                </c:pt>
                <c:pt idx="4431" formatCode="#,##0_);\(#,##0\);&quot;-  &quot;;&quot; &quot;@&quot; &quot;">
                  <c:v>0</c:v>
                </c:pt>
                <c:pt idx="4432" formatCode="#,##0_);\(#,##0\);&quot;-  &quot;;&quot; &quot;@&quot; &quot;">
                  <c:v>0</c:v>
                </c:pt>
                <c:pt idx="4433" formatCode="#,##0_);\(#,##0\);&quot;-  &quot;;&quot; &quot;@&quot; &quot;">
                  <c:v>0</c:v>
                </c:pt>
                <c:pt idx="4434" formatCode="#,##0_);\(#,##0\);&quot;-  &quot;;&quot; &quot;@&quot; &quot;">
                  <c:v>0</c:v>
                </c:pt>
                <c:pt idx="4435" formatCode="#,##0_);\(#,##0\);&quot;-  &quot;;&quot; &quot;@&quot; &quot;">
                  <c:v>0</c:v>
                </c:pt>
                <c:pt idx="4436" formatCode="#,##0_);\(#,##0\);&quot;-  &quot;;&quot; &quot;@&quot; &quot;">
                  <c:v>0</c:v>
                </c:pt>
                <c:pt idx="4437" formatCode="#,##0_);\(#,##0\);&quot;-  &quot;;&quot; &quot;@&quot; &quot;">
                  <c:v>0</c:v>
                </c:pt>
                <c:pt idx="4438" formatCode="#,##0_);\(#,##0\);&quot;-  &quot;;&quot; &quot;@&quot; &quot;">
                  <c:v>0</c:v>
                </c:pt>
                <c:pt idx="4439" formatCode="#,##0_);\(#,##0\);&quot;-  &quot;;&quot; &quot;@&quot; &quot;">
                  <c:v>0</c:v>
                </c:pt>
                <c:pt idx="4440" formatCode="#,##0_);\(#,##0\);&quot;-  &quot;;&quot; &quot;@&quot; &quot;">
                  <c:v>0</c:v>
                </c:pt>
                <c:pt idx="4441" formatCode="#,##0_);\(#,##0\);&quot;-  &quot;;&quot; &quot;@&quot; &quot;">
                  <c:v>0</c:v>
                </c:pt>
                <c:pt idx="4442" formatCode="#,##0_);\(#,##0\);&quot;-  &quot;;&quot; &quot;@&quot; &quot;">
                  <c:v>0</c:v>
                </c:pt>
                <c:pt idx="4443" formatCode="#,##0_);\(#,##0\);&quot;-  &quot;;&quot; &quot;@&quot; &quot;">
                  <c:v>0</c:v>
                </c:pt>
                <c:pt idx="4444" formatCode="#,##0_);\(#,##0\);&quot;-  &quot;;&quot; &quot;@&quot; &quot;">
                  <c:v>0</c:v>
                </c:pt>
                <c:pt idx="4445" formatCode="#,##0_);\(#,##0\);&quot;-  &quot;;&quot; &quot;@&quot; &quot;">
                  <c:v>0</c:v>
                </c:pt>
                <c:pt idx="4446" formatCode="#,##0_);\(#,##0\);&quot;-  &quot;;&quot; &quot;@&quot; &quot;">
                  <c:v>0</c:v>
                </c:pt>
                <c:pt idx="4447" formatCode="#,##0_);\(#,##0\);&quot;-  &quot;;&quot; &quot;@&quot; &quot;">
                  <c:v>0</c:v>
                </c:pt>
                <c:pt idx="4448" formatCode="#,##0_);\(#,##0\);&quot;-  &quot;;&quot; &quot;@&quot; &quot;">
                  <c:v>0</c:v>
                </c:pt>
                <c:pt idx="4449" formatCode="#,##0_);\(#,##0\);&quot;-  &quot;;&quot; &quot;@&quot; &quot;">
                  <c:v>0</c:v>
                </c:pt>
                <c:pt idx="4450" formatCode="#,##0_);\(#,##0\);&quot;-  &quot;;&quot; &quot;@&quot; &quot;">
                  <c:v>0</c:v>
                </c:pt>
                <c:pt idx="4451" formatCode="#,##0_);\(#,##0\);&quot;-  &quot;;&quot; &quot;@&quot; &quot;">
                  <c:v>0</c:v>
                </c:pt>
                <c:pt idx="4452" formatCode="#,##0_);\(#,##0\);&quot;-  &quot;;&quot; &quot;@&quot; &quot;">
                  <c:v>0</c:v>
                </c:pt>
                <c:pt idx="4453" formatCode="#,##0_);\(#,##0\);&quot;-  &quot;;&quot; &quot;@&quot; &quot;">
                  <c:v>0</c:v>
                </c:pt>
                <c:pt idx="4454" formatCode="#,##0_);\(#,##0\);&quot;-  &quot;;&quot; &quot;@&quot; &quot;">
                  <c:v>0</c:v>
                </c:pt>
                <c:pt idx="4455" formatCode="#,##0_);\(#,##0\);&quot;-  &quot;;&quot; &quot;@&quot; &quot;">
                  <c:v>0</c:v>
                </c:pt>
                <c:pt idx="4456" formatCode="#,##0_);\(#,##0\);&quot;-  &quot;;&quot; &quot;@&quot; &quot;">
                  <c:v>0</c:v>
                </c:pt>
                <c:pt idx="4457" formatCode="#,##0_);\(#,##0\);&quot;-  &quot;;&quot; &quot;@&quot; &quot;">
                  <c:v>0</c:v>
                </c:pt>
                <c:pt idx="4458" formatCode="#,##0_);\(#,##0\);&quot;-  &quot;;&quot; &quot;@&quot; &quot;">
                  <c:v>0</c:v>
                </c:pt>
                <c:pt idx="4459" formatCode="#,##0_);\(#,##0\);&quot;-  &quot;;&quot; &quot;@&quot; &quot;">
                  <c:v>0</c:v>
                </c:pt>
                <c:pt idx="4460" formatCode="#,##0_);\(#,##0\);&quot;-  &quot;;&quot; &quot;@&quot; &quot;">
                  <c:v>0</c:v>
                </c:pt>
                <c:pt idx="4461" formatCode="#,##0_);\(#,##0\);&quot;-  &quot;;&quot; &quot;@&quot; &quot;">
                  <c:v>0</c:v>
                </c:pt>
                <c:pt idx="4462" formatCode="#,##0_);\(#,##0\);&quot;-  &quot;;&quot; &quot;@&quot; &quot;">
                  <c:v>0</c:v>
                </c:pt>
                <c:pt idx="4463" formatCode="#,##0_);\(#,##0\);&quot;-  &quot;;&quot; &quot;@&quot; &quot;">
                  <c:v>0</c:v>
                </c:pt>
                <c:pt idx="4464" formatCode="#,##0_);\(#,##0\);&quot;-  &quot;;&quot; &quot;@&quot; &quot;">
                  <c:v>0</c:v>
                </c:pt>
                <c:pt idx="4465" formatCode="#,##0_);\(#,##0\);&quot;-  &quot;;&quot; &quot;@&quot; &quot;">
                  <c:v>0</c:v>
                </c:pt>
                <c:pt idx="4466" formatCode="#,##0_);\(#,##0\);&quot;-  &quot;;&quot; &quot;@&quot; &quot;">
                  <c:v>0</c:v>
                </c:pt>
                <c:pt idx="4467" formatCode="#,##0_);\(#,##0\);&quot;-  &quot;;&quot; &quot;@&quot; &quot;">
                  <c:v>0</c:v>
                </c:pt>
                <c:pt idx="4468" formatCode="#,##0_);\(#,##0\);&quot;-  &quot;;&quot; &quot;@&quot; &quot;">
                  <c:v>0</c:v>
                </c:pt>
                <c:pt idx="4469" formatCode="#,##0_);\(#,##0\);&quot;-  &quot;;&quot; &quot;@&quot; &quot;">
                  <c:v>0</c:v>
                </c:pt>
                <c:pt idx="4470" formatCode="#,##0_);\(#,##0\);&quot;-  &quot;;&quot; &quot;@&quot; &quot;">
                  <c:v>0</c:v>
                </c:pt>
                <c:pt idx="4471" formatCode="#,##0_);\(#,##0\);&quot;-  &quot;;&quot; &quot;@&quot; &quot;">
                  <c:v>0</c:v>
                </c:pt>
                <c:pt idx="4472" formatCode="#,##0_);\(#,##0\);&quot;-  &quot;;&quot; &quot;@&quot; &quot;">
                  <c:v>0</c:v>
                </c:pt>
                <c:pt idx="4473" formatCode="#,##0_);\(#,##0\);&quot;-  &quot;;&quot; &quot;@&quot; &quot;">
                  <c:v>0</c:v>
                </c:pt>
                <c:pt idx="4474" formatCode="#,##0_);\(#,##0\);&quot;-  &quot;;&quot; &quot;@&quot; &quot;">
                  <c:v>0</c:v>
                </c:pt>
                <c:pt idx="4475" formatCode="#,##0_);\(#,##0\);&quot;-  &quot;;&quot; &quot;@&quot; &quot;">
                  <c:v>0</c:v>
                </c:pt>
                <c:pt idx="4476" formatCode="#,##0_);\(#,##0\);&quot;-  &quot;;&quot; &quot;@&quot; &quot;">
                  <c:v>0</c:v>
                </c:pt>
                <c:pt idx="4477" formatCode="#,##0_);\(#,##0\);&quot;-  &quot;;&quot; &quot;@&quot; &quot;">
                  <c:v>0</c:v>
                </c:pt>
                <c:pt idx="4478" formatCode="#,##0_);\(#,##0\);&quot;-  &quot;;&quot; &quot;@&quot; &quot;">
                  <c:v>0</c:v>
                </c:pt>
                <c:pt idx="4479" formatCode="#,##0_);\(#,##0\);&quot;-  &quot;;&quot; &quot;@&quot; &quot;">
                  <c:v>0</c:v>
                </c:pt>
                <c:pt idx="4480" formatCode="#,##0_);\(#,##0\);&quot;-  &quot;;&quot; &quot;@&quot; &quot;">
                  <c:v>0</c:v>
                </c:pt>
                <c:pt idx="4481" formatCode="#,##0_);\(#,##0\);&quot;-  &quot;;&quot; &quot;@&quot; &quot;">
                  <c:v>0</c:v>
                </c:pt>
                <c:pt idx="4482" formatCode="#,##0_);\(#,##0\);&quot;-  &quot;;&quot; &quot;@&quot; &quot;">
                  <c:v>0</c:v>
                </c:pt>
                <c:pt idx="4483" formatCode="#,##0_);\(#,##0\);&quot;-  &quot;;&quot; &quot;@&quot; &quot;">
                  <c:v>0</c:v>
                </c:pt>
                <c:pt idx="4484" formatCode="#,##0_);\(#,##0\);&quot;-  &quot;;&quot; &quot;@&quot; &quot;">
                  <c:v>0</c:v>
                </c:pt>
                <c:pt idx="4485" formatCode="#,##0_);\(#,##0\);&quot;-  &quot;;&quot; &quot;@&quot; &quot;">
                  <c:v>0</c:v>
                </c:pt>
                <c:pt idx="4486" formatCode="#,##0_);\(#,##0\);&quot;-  &quot;;&quot; &quot;@&quot; &quot;">
                  <c:v>0</c:v>
                </c:pt>
                <c:pt idx="4487" formatCode="#,##0_);\(#,##0\);&quot;-  &quot;;&quot; &quot;@&quot; &quot;">
                  <c:v>0</c:v>
                </c:pt>
                <c:pt idx="4488" formatCode="#,##0_);\(#,##0\);&quot;-  &quot;;&quot; &quot;@&quot; &quot;">
                  <c:v>0</c:v>
                </c:pt>
                <c:pt idx="4489" formatCode="#,##0_);\(#,##0\);&quot;-  &quot;;&quot; &quot;@&quot; &quot;">
                  <c:v>0</c:v>
                </c:pt>
                <c:pt idx="4490" formatCode="#,##0_);\(#,##0\);&quot;-  &quot;;&quot; &quot;@&quot; &quot;">
                  <c:v>0</c:v>
                </c:pt>
                <c:pt idx="4491" formatCode="#,##0_);\(#,##0\);&quot;-  &quot;;&quot; &quot;@&quot; &quot;">
                  <c:v>0</c:v>
                </c:pt>
                <c:pt idx="4492" formatCode="#,##0_);\(#,##0\);&quot;-  &quot;;&quot; &quot;@&quot; &quot;">
                  <c:v>0</c:v>
                </c:pt>
                <c:pt idx="4493" formatCode="#,##0_);\(#,##0\);&quot;-  &quot;;&quot; &quot;@&quot; &quot;">
                  <c:v>0</c:v>
                </c:pt>
                <c:pt idx="4494" formatCode="#,##0_);\(#,##0\);&quot;-  &quot;;&quot; &quot;@&quot; &quot;">
                  <c:v>0</c:v>
                </c:pt>
                <c:pt idx="4495" formatCode="#,##0_);\(#,##0\);&quot;-  &quot;;&quot; &quot;@&quot; &quot;">
                  <c:v>0</c:v>
                </c:pt>
                <c:pt idx="4496" formatCode="#,##0_);\(#,##0\);&quot;-  &quot;;&quot; &quot;@&quot; &quot;">
                  <c:v>0</c:v>
                </c:pt>
                <c:pt idx="4497" formatCode="#,##0_);\(#,##0\);&quot;-  &quot;;&quot; &quot;@&quot; &quot;">
                  <c:v>0</c:v>
                </c:pt>
                <c:pt idx="4498" formatCode="#,##0_);\(#,##0\);&quot;-  &quot;;&quot; &quot;@&quot; &quot;">
                  <c:v>0</c:v>
                </c:pt>
                <c:pt idx="4499" formatCode="#,##0_);\(#,##0\);&quot;-  &quot;;&quot; &quot;@&quot; &quot;">
                  <c:v>0</c:v>
                </c:pt>
                <c:pt idx="4500" formatCode="#,##0_);\(#,##0\);&quot;-  &quot;;&quot; &quot;@&quot; &quot;">
                  <c:v>0</c:v>
                </c:pt>
                <c:pt idx="4501" formatCode="#,##0_);\(#,##0\);&quot;-  &quot;;&quot; &quot;@&quot; &quot;">
                  <c:v>0</c:v>
                </c:pt>
                <c:pt idx="4502" formatCode="#,##0_);\(#,##0\);&quot;-  &quot;;&quot; &quot;@&quot; &quot;">
                  <c:v>0</c:v>
                </c:pt>
                <c:pt idx="4503" formatCode="#,##0_);\(#,##0\);&quot;-  &quot;;&quot; &quot;@&quot; &quot;">
                  <c:v>0</c:v>
                </c:pt>
                <c:pt idx="4504" formatCode="#,##0_);\(#,##0\);&quot;-  &quot;;&quot; &quot;@&quot; &quot;">
                  <c:v>0</c:v>
                </c:pt>
                <c:pt idx="4505" formatCode="#,##0_);\(#,##0\);&quot;-  &quot;;&quot; &quot;@&quot; &quot;">
                  <c:v>0</c:v>
                </c:pt>
                <c:pt idx="4506" formatCode="#,##0_);\(#,##0\);&quot;-  &quot;;&quot; &quot;@&quot; &quot;">
                  <c:v>0</c:v>
                </c:pt>
                <c:pt idx="4507" formatCode="#,##0_);\(#,##0\);&quot;-  &quot;;&quot; &quot;@&quot; &quot;">
                  <c:v>0</c:v>
                </c:pt>
                <c:pt idx="4508" formatCode="#,##0_);\(#,##0\);&quot;-  &quot;;&quot; &quot;@&quot; &quot;">
                  <c:v>0</c:v>
                </c:pt>
                <c:pt idx="4509" formatCode="#,##0_);\(#,##0\);&quot;-  &quot;;&quot; &quot;@&quot; &quot;">
                  <c:v>0</c:v>
                </c:pt>
                <c:pt idx="4510" formatCode="#,##0_);\(#,##0\);&quot;-  &quot;;&quot; &quot;@&quot; &quot;">
                  <c:v>0</c:v>
                </c:pt>
                <c:pt idx="4511" formatCode="#,##0_);\(#,##0\);&quot;-  &quot;;&quot; &quot;@&quot; &quot;">
                  <c:v>0</c:v>
                </c:pt>
                <c:pt idx="4512" formatCode="#,##0_);\(#,##0\);&quot;-  &quot;;&quot; &quot;@&quot; &quot;">
                  <c:v>0</c:v>
                </c:pt>
                <c:pt idx="4513" formatCode="#,##0_);\(#,##0\);&quot;-  &quot;;&quot; &quot;@&quot; &quot;">
                  <c:v>0</c:v>
                </c:pt>
                <c:pt idx="4514" formatCode="#,##0_);\(#,##0\);&quot;-  &quot;;&quot; &quot;@&quot; &quot;">
                  <c:v>0</c:v>
                </c:pt>
                <c:pt idx="4515" formatCode="#,##0_);\(#,##0\);&quot;-  &quot;;&quot; &quot;@&quot; &quot;">
                  <c:v>0</c:v>
                </c:pt>
                <c:pt idx="4516" formatCode="#,##0_);\(#,##0\);&quot;-  &quot;;&quot; &quot;@&quot; &quot;">
                  <c:v>0</c:v>
                </c:pt>
                <c:pt idx="4517" formatCode="#,##0_);\(#,##0\);&quot;-  &quot;;&quot; &quot;@&quot; &quot;">
                  <c:v>0</c:v>
                </c:pt>
                <c:pt idx="4518" formatCode="#,##0_);\(#,##0\);&quot;-  &quot;;&quot; &quot;@&quot; &quot;">
                  <c:v>0</c:v>
                </c:pt>
                <c:pt idx="4519" formatCode="#,##0_);\(#,##0\);&quot;-  &quot;;&quot; &quot;@&quot; &quot;">
                  <c:v>0</c:v>
                </c:pt>
                <c:pt idx="4520" formatCode="#,##0_);\(#,##0\);&quot;-  &quot;;&quot; &quot;@&quot; &quot;">
                  <c:v>0</c:v>
                </c:pt>
                <c:pt idx="4521" formatCode="#,##0_);\(#,##0\);&quot;-  &quot;;&quot; &quot;@&quot; &quot;">
                  <c:v>0</c:v>
                </c:pt>
                <c:pt idx="4522" formatCode="#,##0_);\(#,##0\);&quot;-  &quot;;&quot; &quot;@&quot; &quot;">
                  <c:v>0</c:v>
                </c:pt>
                <c:pt idx="4523" formatCode="#,##0_);\(#,##0\);&quot;-  &quot;;&quot; &quot;@&quot; &quot;">
                  <c:v>0</c:v>
                </c:pt>
                <c:pt idx="4524" formatCode="#,##0_);\(#,##0\);&quot;-  &quot;;&quot; &quot;@&quot; &quot;">
                  <c:v>0</c:v>
                </c:pt>
                <c:pt idx="4525" formatCode="#,##0_);\(#,##0\);&quot;-  &quot;;&quot; &quot;@&quot; &quot;">
                  <c:v>0</c:v>
                </c:pt>
                <c:pt idx="4526" formatCode="#,##0_);\(#,##0\);&quot;-  &quot;;&quot; &quot;@&quot; &quot;">
                  <c:v>0</c:v>
                </c:pt>
                <c:pt idx="4527" formatCode="#,##0_);\(#,##0\);&quot;-  &quot;;&quot; &quot;@&quot; &quot;">
                  <c:v>0</c:v>
                </c:pt>
                <c:pt idx="4528" formatCode="#,##0_);\(#,##0\);&quot;-  &quot;;&quot; &quot;@&quot; &quot;">
                  <c:v>0</c:v>
                </c:pt>
                <c:pt idx="4529" formatCode="#,##0_);\(#,##0\);&quot;-  &quot;;&quot; &quot;@&quot; &quot;">
                  <c:v>0</c:v>
                </c:pt>
                <c:pt idx="4530" formatCode="#,##0_);\(#,##0\);&quot;-  &quot;;&quot; &quot;@&quot; &quot;">
                  <c:v>0</c:v>
                </c:pt>
                <c:pt idx="4531" formatCode="#,##0_);\(#,##0\);&quot;-  &quot;;&quot; &quot;@&quot; &quot;">
                  <c:v>0</c:v>
                </c:pt>
                <c:pt idx="4532" formatCode="#,##0_);\(#,##0\);&quot;-  &quot;;&quot; &quot;@&quot; &quot;">
                  <c:v>0</c:v>
                </c:pt>
                <c:pt idx="4533" formatCode="#,##0_);\(#,##0\);&quot;-  &quot;;&quot; &quot;@&quot; &quot;">
                  <c:v>0</c:v>
                </c:pt>
                <c:pt idx="4534" formatCode="#,##0_);\(#,##0\);&quot;-  &quot;;&quot; &quot;@&quot; &quot;">
                  <c:v>0</c:v>
                </c:pt>
                <c:pt idx="4535" formatCode="#,##0_);\(#,##0\);&quot;-  &quot;;&quot; &quot;@&quot; &quot;">
                  <c:v>0</c:v>
                </c:pt>
                <c:pt idx="4536" formatCode="#,##0_);\(#,##0\);&quot;-  &quot;;&quot; &quot;@&quot; &quot;">
                  <c:v>0</c:v>
                </c:pt>
                <c:pt idx="4537" formatCode="#,##0_);\(#,##0\);&quot;-  &quot;;&quot; &quot;@&quot; &quot;">
                  <c:v>0</c:v>
                </c:pt>
                <c:pt idx="4538" formatCode="#,##0_);\(#,##0\);&quot;-  &quot;;&quot; &quot;@&quot; &quot;">
                  <c:v>0</c:v>
                </c:pt>
                <c:pt idx="4539" formatCode="#,##0_);\(#,##0\);&quot;-  &quot;;&quot; &quot;@&quot; &quot;">
                  <c:v>0</c:v>
                </c:pt>
                <c:pt idx="4540" formatCode="#,##0_);\(#,##0\);&quot;-  &quot;;&quot; &quot;@&quot; &quot;">
                  <c:v>0</c:v>
                </c:pt>
                <c:pt idx="4541" formatCode="#,##0_);\(#,##0\);&quot;-  &quot;;&quot; &quot;@&quot; &quot;">
                  <c:v>0</c:v>
                </c:pt>
                <c:pt idx="4542" formatCode="#,##0_);\(#,##0\);&quot;-  &quot;;&quot; &quot;@&quot; &quot;">
                  <c:v>0</c:v>
                </c:pt>
                <c:pt idx="4543" formatCode="#,##0_);\(#,##0\);&quot;-  &quot;;&quot; &quot;@&quot; &quot;">
                  <c:v>0</c:v>
                </c:pt>
                <c:pt idx="4544" formatCode="#,##0_);\(#,##0\);&quot;-  &quot;;&quot; &quot;@&quot; &quot;">
                  <c:v>0</c:v>
                </c:pt>
                <c:pt idx="4545" formatCode="#,##0_);\(#,##0\);&quot;-  &quot;;&quot; &quot;@&quot; &quot;">
                  <c:v>0</c:v>
                </c:pt>
                <c:pt idx="4546" formatCode="#,##0_);\(#,##0\);&quot;-  &quot;;&quot; &quot;@&quot; &quot;">
                  <c:v>0</c:v>
                </c:pt>
                <c:pt idx="4547" formatCode="#,##0_);\(#,##0\);&quot;-  &quot;;&quot; &quot;@&quot; &quot;">
                  <c:v>0</c:v>
                </c:pt>
                <c:pt idx="4548" formatCode="#,##0_);\(#,##0\);&quot;-  &quot;;&quot; &quot;@&quot; &quot;">
                  <c:v>0</c:v>
                </c:pt>
                <c:pt idx="4549" formatCode="#,##0_);\(#,##0\);&quot;-  &quot;;&quot; &quot;@&quot; &quot;">
                  <c:v>0</c:v>
                </c:pt>
                <c:pt idx="4550" formatCode="#,##0_);\(#,##0\);&quot;-  &quot;;&quot; &quot;@&quot; &quot;">
                  <c:v>0</c:v>
                </c:pt>
                <c:pt idx="4551" formatCode="#,##0_);\(#,##0\);&quot;-  &quot;;&quot; &quot;@&quot; &quot;">
                  <c:v>0</c:v>
                </c:pt>
                <c:pt idx="4552" formatCode="#,##0_);\(#,##0\);&quot;-  &quot;;&quot; &quot;@&quot; &quot;">
                  <c:v>0</c:v>
                </c:pt>
                <c:pt idx="4553" formatCode="#,##0_);\(#,##0\);&quot;-  &quot;;&quot; &quot;@&quot; &quot;">
                  <c:v>0</c:v>
                </c:pt>
                <c:pt idx="4554" formatCode="#,##0_);\(#,##0\);&quot;-  &quot;;&quot; &quot;@&quot; &quot;">
                  <c:v>0</c:v>
                </c:pt>
                <c:pt idx="4555" formatCode="#,##0_);\(#,##0\);&quot;-  &quot;;&quot; &quot;@&quot; &quot;">
                  <c:v>0</c:v>
                </c:pt>
                <c:pt idx="4556" formatCode="#,##0_);\(#,##0\);&quot;-  &quot;;&quot; &quot;@&quot; &quot;">
                  <c:v>0</c:v>
                </c:pt>
                <c:pt idx="4557" formatCode="#,##0_);\(#,##0\);&quot;-  &quot;;&quot; &quot;@&quot; &quot;">
                  <c:v>0</c:v>
                </c:pt>
                <c:pt idx="4558" formatCode="#,##0_);\(#,##0\);&quot;-  &quot;;&quot; &quot;@&quot; &quot;">
                  <c:v>0</c:v>
                </c:pt>
                <c:pt idx="4559" formatCode="#,##0_);\(#,##0\);&quot;-  &quot;;&quot; &quot;@&quot; &quot;">
                  <c:v>0</c:v>
                </c:pt>
                <c:pt idx="4560" formatCode="#,##0_);\(#,##0\);&quot;-  &quot;;&quot; &quot;@&quot; &quot;">
                  <c:v>0</c:v>
                </c:pt>
                <c:pt idx="4561" formatCode="#,##0_);\(#,##0\);&quot;-  &quot;;&quot; &quot;@&quot; &quot;">
                  <c:v>0</c:v>
                </c:pt>
                <c:pt idx="4562" formatCode="#,##0_);\(#,##0\);&quot;-  &quot;;&quot; &quot;@&quot; &quot;">
                  <c:v>0</c:v>
                </c:pt>
                <c:pt idx="4563" formatCode="#,##0_);\(#,##0\);&quot;-  &quot;;&quot; &quot;@&quot; &quot;">
                  <c:v>0</c:v>
                </c:pt>
                <c:pt idx="4564" formatCode="#,##0_);\(#,##0\);&quot;-  &quot;;&quot; &quot;@&quot; &quot;">
                  <c:v>0</c:v>
                </c:pt>
                <c:pt idx="4565" formatCode="#,##0_);\(#,##0\);&quot;-  &quot;;&quot; &quot;@&quot; &quot;">
                  <c:v>0</c:v>
                </c:pt>
                <c:pt idx="4566" formatCode="#,##0_);\(#,##0\);&quot;-  &quot;;&quot; &quot;@&quot; &quot;">
                  <c:v>0</c:v>
                </c:pt>
                <c:pt idx="4567" formatCode="#,##0_);\(#,##0\);&quot;-  &quot;;&quot; &quot;@&quot; &quot;">
                  <c:v>0</c:v>
                </c:pt>
                <c:pt idx="4568" formatCode="#,##0_);\(#,##0\);&quot;-  &quot;;&quot; &quot;@&quot; &quot;">
                  <c:v>0</c:v>
                </c:pt>
                <c:pt idx="4569" formatCode="#,##0_);\(#,##0\);&quot;-  &quot;;&quot; &quot;@&quot; &quot;">
                  <c:v>0</c:v>
                </c:pt>
                <c:pt idx="4570" formatCode="#,##0_);\(#,##0\);&quot;-  &quot;;&quot; &quot;@&quot; &quot;">
                  <c:v>0</c:v>
                </c:pt>
                <c:pt idx="4571" formatCode="#,##0_);\(#,##0\);&quot;-  &quot;;&quot; &quot;@&quot; &quot;">
                  <c:v>0</c:v>
                </c:pt>
                <c:pt idx="4572" formatCode="#,##0_);\(#,##0\);&quot;-  &quot;;&quot; &quot;@&quot; &quot;">
                  <c:v>0</c:v>
                </c:pt>
                <c:pt idx="4573" formatCode="#,##0_);\(#,##0\);&quot;-  &quot;;&quot; &quot;@&quot; &quot;">
                  <c:v>0</c:v>
                </c:pt>
                <c:pt idx="4574" formatCode="#,##0_);\(#,##0\);&quot;-  &quot;;&quot; &quot;@&quot; &quot;">
                  <c:v>0</c:v>
                </c:pt>
                <c:pt idx="4575" formatCode="#,##0_);\(#,##0\);&quot;-  &quot;;&quot; &quot;@&quot; &quot;">
                  <c:v>0</c:v>
                </c:pt>
                <c:pt idx="4576" formatCode="#,##0_);\(#,##0\);&quot;-  &quot;;&quot; &quot;@&quot; &quot;">
                  <c:v>0</c:v>
                </c:pt>
                <c:pt idx="4577" formatCode="#,##0_);\(#,##0\);&quot;-  &quot;;&quot; &quot;@&quot; &quot;">
                  <c:v>0</c:v>
                </c:pt>
                <c:pt idx="4578" formatCode="#,##0_);\(#,##0\);&quot;-  &quot;;&quot; &quot;@&quot; &quot;">
                  <c:v>0</c:v>
                </c:pt>
                <c:pt idx="4579" formatCode="#,##0_);\(#,##0\);&quot;-  &quot;;&quot; &quot;@&quot; &quot;">
                  <c:v>0</c:v>
                </c:pt>
                <c:pt idx="4580" formatCode="#,##0_);\(#,##0\);&quot;-  &quot;;&quot; &quot;@&quot; &quot;">
                  <c:v>0</c:v>
                </c:pt>
                <c:pt idx="4581" formatCode="#,##0_);\(#,##0\);&quot;-  &quot;;&quot; &quot;@&quot; &quot;">
                  <c:v>0</c:v>
                </c:pt>
                <c:pt idx="4582" formatCode="#,##0_);\(#,##0\);&quot;-  &quot;;&quot; &quot;@&quot; &quot;">
                  <c:v>0</c:v>
                </c:pt>
                <c:pt idx="4583" formatCode="#,##0_);\(#,##0\);&quot;-  &quot;;&quot; &quot;@&quot; &quot;">
                  <c:v>0</c:v>
                </c:pt>
                <c:pt idx="4584" formatCode="#,##0_);\(#,##0\);&quot;-  &quot;;&quot; &quot;@&quot; &quot;">
                  <c:v>0</c:v>
                </c:pt>
                <c:pt idx="4585" formatCode="#,##0_);\(#,##0\);&quot;-  &quot;;&quot; &quot;@&quot; &quot;">
                  <c:v>0</c:v>
                </c:pt>
                <c:pt idx="4586" formatCode="#,##0_);\(#,##0\);&quot;-  &quot;;&quot; &quot;@&quot; &quot;">
                  <c:v>0</c:v>
                </c:pt>
                <c:pt idx="4587" formatCode="#,##0_);\(#,##0\);&quot;-  &quot;;&quot; &quot;@&quot; &quot;">
                  <c:v>0</c:v>
                </c:pt>
                <c:pt idx="4588" formatCode="#,##0_);\(#,##0\);&quot;-  &quot;;&quot; &quot;@&quot; &quot;">
                  <c:v>0</c:v>
                </c:pt>
                <c:pt idx="4589" formatCode="#,##0_);\(#,##0\);&quot;-  &quot;;&quot; &quot;@&quot; &quot;">
                  <c:v>0</c:v>
                </c:pt>
                <c:pt idx="4590" formatCode="#,##0_);\(#,##0\);&quot;-  &quot;;&quot; &quot;@&quot; &quot;">
                  <c:v>0</c:v>
                </c:pt>
                <c:pt idx="4591" formatCode="#,##0_);\(#,##0\);&quot;-  &quot;;&quot; &quot;@&quot; &quot;">
                  <c:v>0</c:v>
                </c:pt>
                <c:pt idx="4592" formatCode="#,##0_);\(#,##0\);&quot;-  &quot;;&quot; &quot;@&quot; &quot;">
                  <c:v>0</c:v>
                </c:pt>
                <c:pt idx="4593" formatCode="#,##0_);\(#,##0\);&quot;-  &quot;;&quot; &quot;@&quot; &quot;">
                  <c:v>0</c:v>
                </c:pt>
                <c:pt idx="4594" formatCode="#,##0_);\(#,##0\);&quot;-  &quot;;&quot; &quot;@&quot; &quot;">
                  <c:v>0</c:v>
                </c:pt>
                <c:pt idx="4595" formatCode="#,##0_);\(#,##0\);&quot;-  &quot;;&quot; &quot;@&quot; &quot;">
                  <c:v>0</c:v>
                </c:pt>
                <c:pt idx="4596" formatCode="#,##0_);\(#,##0\);&quot;-  &quot;;&quot; &quot;@&quot; &quot;">
                  <c:v>0</c:v>
                </c:pt>
                <c:pt idx="4597" formatCode="#,##0_);\(#,##0\);&quot;-  &quot;;&quot; &quot;@&quot; &quot;">
                  <c:v>0</c:v>
                </c:pt>
                <c:pt idx="4598" formatCode="#,##0_);\(#,##0\);&quot;-  &quot;;&quot; &quot;@&quot; &quot;">
                  <c:v>0</c:v>
                </c:pt>
                <c:pt idx="4599" formatCode="#,##0_);\(#,##0\);&quot;-  &quot;;&quot; &quot;@&quot; &quot;">
                  <c:v>0</c:v>
                </c:pt>
                <c:pt idx="4600" formatCode="#,##0_);\(#,##0\);&quot;-  &quot;;&quot; &quot;@&quot; &quot;">
                  <c:v>0</c:v>
                </c:pt>
                <c:pt idx="4601" formatCode="#,##0_);\(#,##0\);&quot;-  &quot;;&quot; &quot;@&quot; &quot;">
                  <c:v>0</c:v>
                </c:pt>
                <c:pt idx="4602" formatCode="#,##0_);\(#,##0\);&quot;-  &quot;;&quot; &quot;@&quot; &quot;">
                  <c:v>0</c:v>
                </c:pt>
                <c:pt idx="4603" formatCode="#,##0_);\(#,##0\);&quot;-  &quot;;&quot; &quot;@&quot; &quot;">
                  <c:v>0</c:v>
                </c:pt>
                <c:pt idx="4604" formatCode="#,##0_);\(#,##0\);&quot;-  &quot;;&quot; &quot;@&quot; &quot;">
                  <c:v>0</c:v>
                </c:pt>
                <c:pt idx="4605" formatCode="#,##0_);\(#,##0\);&quot;-  &quot;;&quot; &quot;@&quot; &quot;">
                  <c:v>0</c:v>
                </c:pt>
                <c:pt idx="4606" formatCode="#,##0_);\(#,##0\);&quot;-  &quot;;&quot; &quot;@&quot; &quot;">
                  <c:v>0</c:v>
                </c:pt>
                <c:pt idx="4607" formatCode="#,##0_);\(#,##0\);&quot;-  &quot;;&quot; &quot;@&quot; &quot;">
                  <c:v>0</c:v>
                </c:pt>
                <c:pt idx="4608" formatCode="#,##0_);\(#,##0\);&quot;-  &quot;;&quot; &quot;@&quot; &quot;">
                  <c:v>0</c:v>
                </c:pt>
                <c:pt idx="4609" formatCode="#,##0_);\(#,##0\);&quot;-  &quot;;&quot; &quot;@&quot; &quot;">
                  <c:v>0</c:v>
                </c:pt>
                <c:pt idx="4610" formatCode="#,##0_);\(#,##0\);&quot;-  &quot;;&quot; &quot;@&quot; &quot;">
                  <c:v>0</c:v>
                </c:pt>
                <c:pt idx="4611" formatCode="#,##0_);\(#,##0\);&quot;-  &quot;;&quot; &quot;@&quot; &quot;">
                  <c:v>0</c:v>
                </c:pt>
                <c:pt idx="4612" formatCode="#,##0_);\(#,##0\);&quot;-  &quot;;&quot; &quot;@&quot; &quot;">
                  <c:v>0</c:v>
                </c:pt>
                <c:pt idx="4613" formatCode="#,##0_);\(#,##0\);&quot;-  &quot;;&quot; &quot;@&quot; &quot;">
                  <c:v>0</c:v>
                </c:pt>
                <c:pt idx="4614" formatCode="#,##0_);\(#,##0\);&quot;-  &quot;;&quot; &quot;@&quot; &quot;">
                  <c:v>0</c:v>
                </c:pt>
                <c:pt idx="4615" formatCode="#,##0_);\(#,##0\);&quot;-  &quot;;&quot; &quot;@&quot; &quot;">
                  <c:v>0</c:v>
                </c:pt>
                <c:pt idx="4616" formatCode="#,##0_);\(#,##0\);&quot;-  &quot;;&quot; &quot;@&quot; &quot;">
                  <c:v>0</c:v>
                </c:pt>
                <c:pt idx="4617" formatCode="#,##0_);\(#,##0\);&quot;-  &quot;;&quot; &quot;@&quot; &quot;">
                  <c:v>0</c:v>
                </c:pt>
                <c:pt idx="4618" formatCode="#,##0_);\(#,##0\);&quot;-  &quot;;&quot; &quot;@&quot; &quot;">
                  <c:v>0</c:v>
                </c:pt>
                <c:pt idx="4619" formatCode="#,##0_);\(#,##0\);&quot;-  &quot;;&quot; &quot;@&quot; &quot;">
                  <c:v>0</c:v>
                </c:pt>
                <c:pt idx="4620" formatCode="#,##0_);\(#,##0\);&quot;-  &quot;;&quot; &quot;@&quot; &quot;">
                  <c:v>0</c:v>
                </c:pt>
                <c:pt idx="4621" formatCode="#,##0_);\(#,##0\);&quot;-  &quot;;&quot; &quot;@&quot; &quot;">
                  <c:v>0</c:v>
                </c:pt>
                <c:pt idx="4622" formatCode="#,##0_);\(#,##0\);&quot;-  &quot;;&quot; &quot;@&quot; &quot;">
                  <c:v>0</c:v>
                </c:pt>
                <c:pt idx="4623" formatCode="#,##0_);\(#,##0\);&quot;-  &quot;;&quot; &quot;@&quot; &quot;">
                  <c:v>0</c:v>
                </c:pt>
                <c:pt idx="4624" formatCode="#,##0_);\(#,##0\);&quot;-  &quot;;&quot; &quot;@&quot; &quot;">
                  <c:v>0</c:v>
                </c:pt>
                <c:pt idx="4625" formatCode="#,##0_);\(#,##0\);&quot;-  &quot;;&quot; &quot;@&quot; &quot;">
                  <c:v>0</c:v>
                </c:pt>
                <c:pt idx="4626" formatCode="#,##0_);\(#,##0\);&quot;-  &quot;;&quot; &quot;@&quot; &quot;">
                  <c:v>0</c:v>
                </c:pt>
                <c:pt idx="4627" formatCode="#,##0_);\(#,##0\);&quot;-  &quot;;&quot; &quot;@&quot; &quot;">
                  <c:v>0</c:v>
                </c:pt>
                <c:pt idx="4628" formatCode="#,##0_);\(#,##0\);&quot;-  &quot;;&quot; &quot;@&quot; &quot;">
                  <c:v>0</c:v>
                </c:pt>
                <c:pt idx="4629" formatCode="#,##0_);\(#,##0\);&quot;-  &quot;;&quot; &quot;@&quot; &quot;">
                  <c:v>0</c:v>
                </c:pt>
                <c:pt idx="4630" formatCode="#,##0_);\(#,##0\);&quot;-  &quot;;&quot; &quot;@&quot; &quot;">
                  <c:v>0</c:v>
                </c:pt>
                <c:pt idx="4631" formatCode="#,##0_);\(#,##0\);&quot;-  &quot;;&quot; &quot;@&quot; &quot;">
                  <c:v>0</c:v>
                </c:pt>
                <c:pt idx="4632" formatCode="#,##0_);\(#,##0\);&quot;-  &quot;;&quot; &quot;@&quot; &quot;">
                  <c:v>0</c:v>
                </c:pt>
                <c:pt idx="4633" formatCode="#,##0_);\(#,##0\);&quot;-  &quot;;&quot; &quot;@&quot; &quot;">
                  <c:v>0</c:v>
                </c:pt>
                <c:pt idx="4634" formatCode="#,##0_);\(#,##0\);&quot;-  &quot;;&quot; &quot;@&quot; &quot;">
                  <c:v>0</c:v>
                </c:pt>
                <c:pt idx="4635" formatCode="#,##0_);\(#,##0\);&quot;-  &quot;;&quot; &quot;@&quot; &quot;">
                  <c:v>0</c:v>
                </c:pt>
                <c:pt idx="4636" formatCode="#,##0_);\(#,##0\);&quot;-  &quot;;&quot; &quot;@&quot; &quot;">
                  <c:v>0</c:v>
                </c:pt>
                <c:pt idx="4637" formatCode="#,##0_);\(#,##0\);&quot;-  &quot;;&quot; &quot;@&quot; &quot;">
                  <c:v>0</c:v>
                </c:pt>
                <c:pt idx="4638" formatCode="#,##0_);\(#,##0\);&quot;-  &quot;;&quot; &quot;@&quot; &quot;">
                  <c:v>0</c:v>
                </c:pt>
                <c:pt idx="4639" formatCode="#,##0_);\(#,##0\);&quot;-  &quot;;&quot; &quot;@&quot; &quot;">
                  <c:v>0</c:v>
                </c:pt>
                <c:pt idx="4640" formatCode="#,##0_);\(#,##0\);&quot;-  &quot;;&quot; &quot;@&quot; &quot;">
                  <c:v>0</c:v>
                </c:pt>
                <c:pt idx="4641" formatCode="#,##0_);\(#,##0\);&quot;-  &quot;;&quot; &quot;@&quot; &quot;">
                  <c:v>0</c:v>
                </c:pt>
                <c:pt idx="4642" formatCode="#,##0_);\(#,##0\);&quot;-  &quot;;&quot; &quot;@&quot; &quot;">
                  <c:v>0</c:v>
                </c:pt>
                <c:pt idx="4643" formatCode="#,##0_);\(#,##0\);&quot;-  &quot;;&quot; &quot;@&quot; &quot;">
                  <c:v>0</c:v>
                </c:pt>
                <c:pt idx="4644" formatCode="#,##0_);\(#,##0\);&quot;-  &quot;;&quot; &quot;@&quot; &quot;">
                  <c:v>0</c:v>
                </c:pt>
                <c:pt idx="4645" formatCode="#,##0_);\(#,##0\);&quot;-  &quot;;&quot; &quot;@&quot; &quot;">
                  <c:v>0</c:v>
                </c:pt>
                <c:pt idx="4646" formatCode="#,##0_);\(#,##0\);&quot;-  &quot;;&quot; &quot;@&quot; &quot;">
                  <c:v>0</c:v>
                </c:pt>
                <c:pt idx="4647" formatCode="#,##0_);\(#,##0\);&quot;-  &quot;;&quot; &quot;@&quot; &quot;">
                  <c:v>0</c:v>
                </c:pt>
                <c:pt idx="4648" formatCode="#,##0_);\(#,##0\);&quot;-  &quot;;&quot; &quot;@&quot; &quot;">
                  <c:v>0</c:v>
                </c:pt>
                <c:pt idx="4649" formatCode="#,##0_);\(#,##0\);&quot;-  &quot;;&quot; &quot;@&quot; &quot;">
                  <c:v>0</c:v>
                </c:pt>
                <c:pt idx="4650" formatCode="#,##0_);\(#,##0\);&quot;-  &quot;;&quot; &quot;@&quot; &quot;">
                  <c:v>0</c:v>
                </c:pt>
                <c:pt idx="4651" formatCode="#,##0_);\(#,##0\);&quot;-  &quot;;&quot; &quot;@&quot; &quot;">
                  <c:v>0</c:v>
                </c:pt>
                <c:pt idx="4652" formatCode="#,##0_);\(#,##0\);&quot;-  &quot;;&quot; &quot;@&quot; &quot;">
                  <c:v>0</c:v>
                </c:pt>
                <c:pt idx="4653" formatCode="#,##0_);\(#,##0\);&quot;-  &quot;;&quot; &quot;@&quot; &quot;">
                  <c:v>0</c:v>
                </c:pt>
                <c:pt idx="4654" formatCode="#,##0_);\(#,##0\);&quot;-  &quot;;&quot; &quot;@&quot; &quot;">
                  <c:v>0</c:v>
                </c:pt>
                <c:pt idx="4655" formatCode="#,##0_);\(#,##0\);&quot;-  &quot;;&quot; &quot;@&quot; &quot;">
                  <c:v>0</c:v>
                </c:pt>
                <c:pt idx="4656" formatCode="#,##0_);\(#,##0\);&quot;-  &quot;;&quot; &quot;@&quot; &quot;">
                  <c:v>0</c:v>
                </c:pt>
                <c:pt idx="4657" formatCode="#,##0_);\(#,##0\);&quot;-  &quot;;&quot; &quot;@&quot; &quot;">
                  <c:v>0</c:v>
                </c:pt>
                <c:pt idx="4658" formatCode="#,##0_);\(#,##0\);&quot;-  &quot;;&quot; &quot;@&quot; &quot;">
                  <c:v>0</c:v>
                </c:pt>
                <c:pt idx="4659" formatCode="#,##0_);\(#,##0\);&quot;-  &quot;;&quot; &quot;@&quot; &quot;">
                  <c:v>0</c:v>
                </c:pt>
                <c:pt idx="4660" formatCode="#,##0_);\(#,##0\);&quot;-  &quot;;&quot; &quot;@&quot; &quot;">
                  <c:v>0</c:v>
                </c:pt>
                <c:pt idx="4661" formatCode="#,##0_);\(#,##0\);&quot;-  &quot;;&quot; &quot;@&quot; &quot;">
                  <c:v>0</c:v>
                </c:pt>
                <c:pt idx="4662" formatCode="#,##0_);\(#,##0\);&quot;-  &quot;;&quot; &quot;@&quot; &quot;">
                  <c:v>0</c:v>
                </c:pt>
                <c:pt idx="4663" formatCode="#,##0_);\(#,##0\);&quot;-  &quot;;&quot; &quot;@&quot; &quot;">
                  <c:v>0</c:v>
                </c:pt>
                <c:pt idx="4664" formatCode="#,##0_);\(#,##0\);&quot;-  &quot;;&quot; &quot;@&quot; &quot;">
                  <c:v>0</c:v>
                </c:pt>
                <c:pt idx="4665" formatCode="#,##0_);\(#,##0\);&quot;-  &quot;;&quot; &quot;@&quot; &quot;">
                  <c:v>0</c:v>
                </c:pt>
                <c:pt idx="4666" formatCode="#,##0_);\(#,##0\);&quot;-  &quot;;&quot; &quot;@&quot; &quot;">
                  <c:v>0</c:v>
                </c:pt>
                <c:pt idx="4667" formatCode="#,##0_);\(#,##0\);&quot;-  &quot;;&quot; &quot;@&quot; &quot;">
                  <c:v>0</c:v>
                </c:pt>
                <c:pt idx="4668" formatCode="#,##0_);\(#,##0\);&quot;-  &quot;;&quot; &quot;@&quot; &quot;">
                  <c:v>0</c:v>
                </c:pt>
                <c:pt idx="4669" formatCode="#,##0_);\(#,##0\);&quot;-  &quot;;&quot; &quot;@&quot; &quot;">
                  <c:v>0</c:v>
                </c:pt>
                <c:pt idx="4670" formatCode="#,##0_);\(#,##0\);&quot;-  &quot;;&quot; &quot;@&quot; &quot;">
                  <c:v>0</c:v>
                </c:pt>
                <c:pt idx="4671" formatCode="#,##0_);\(#,##0\);&quot;-  &quot;;&quot; &quot;@&quot; &quot;">
                  <c:v>0</c:v>
                </c:pt>
                <c:pt idx="4672" formatCode="#,##0_);\(#,##0\);&quot;-  &quot;;&quot; &quot;@&quot; &quot;">
                  <c:v>0</c:v>
                </c:pt>
                <c:pt idx="4673" formatCode="#,##0_);\(#,##0\);&quot;-  &quot;;&quot; &quot;@&quot; &quot;">
                  <c:v>0</c:v>
                </c:pt>
                <c:pt idx="4674" formatCode="#,##0_);\(#,##0\);&quot;-  &quot;;&quot; &quot;@&quot; &quot;">
                  <c:v>0</c:v>
                </c:pt>
                <c:pt idx="4675" formatCode="#,##0_);\(#,##0\);&quot;-  &quot;;&quot; &quot;@&quot; &quot;">
                  <c:v>0</c:v>
                </c:pt>
                <c:pt idx="4676" formatCode="#,##0_);\(#,##0\);&quot;-  &quot;;&quot; &quot;@&quot; &quot;">
                  <c:v>0</c:v>
                </c:pt>
                <c:pt idx="4677" formatCode="#,##0_);\(#,##0\);&quot;-  &quot;;&quot; &quot;@&quot; &quot;">
                  <c:v>0</c:v>
                </c:pt>
                <c:pt idx="4678" formatCode="#,##0_);\(#,##0\);&quot;-  &quot;;&quot; &quot;@&quot; &quot;">
                  <c:v>0</c:v>
                </c:pt>
                <c:pt idx="4679" formatCode="#,##0_);\(#,##0\);&quot;-  &quot;;&quot; &quot;@&quot; &quot;">
                  <c:v>0</c:v>
                </c:pt>
                <c:pt idx="4680" formatCode="#,##0_);\(#,##0\);&quot;-  &quot;;&quot; &quot;@&quot; &quot;">
                  <c:v>0</c:v>
                </c:pt>
                <c:pt idx="4681" formatCode="#,##0_);\(#,##0\);&quot;-  &quot;;&quot; &quot;@&quot; &quot;">
                  <c:v>0</c:v>
                </c:pt>
                <c:pt idx="4682" formatCode="#,##0_);\(#,##0\);&quot;-  &quot;;&quot; &quot;@&quot; &quot;">
                  <c:v>0</c:v>
                </c:pt>
                <c:pt idx="4683" formatCode="#,##0_);\(#,##0\);&quot;-  &quot;;&quot; &quot;@&quot; &quot;">
                  <c:v>0</c:v>
                </c:pt>
                <c:pt idx="4684" formatCode="#,##0_);\(#,##0\);&quot;-  &quot;;&quot; &quot;@&quot; &quot;">
                  <c:v>0</c:v>
                </c:pt>
                <c:pt idx="4685" formatCode="#,##0_);\(#,##0\);&quot;-  &quot;;&quot; &quot;@&quot; &quot;">
                  <c:v>0</c:v>
                </c:pt>
                <c:pt idx="4686" formatCode="#,##0_);\(#,##0\);&quot;-  &quot;;&quot; &quot;@&quot; &quot;">
                  <c:v>0</c:v>
                </c:pt>
                <c:pt idx="4687" formatCode="#,##0_);\(#,##0\);&quot;-  &quot;;&quot; &quot;@&quot; &quot;">
                  <c:v>0</c:v>
                </c:pt>
                <c:pt idx="4688" formatCode="#,##0_);\(#,##0\);&quot;-  &quot;;&quot; &quot;@&quot; &quot;">
                  <c:v>0</c:v>
                </c:pt>
                <c:pt idx="4689" formatCode="#,##0_);\(#,##0\);&quot;-  &quot;;&quot; &quot;@&quot; &quot;">
                  <c:v>0</c:v>
                </c:pt>
                <c:pt idx="4690" formatCode="#,##0_);\(#,##0\);&quot;-  &quot;;&quot; &quot;@&quot; &quot;">
                  <c:v>0</c:v>
                </c:pt>
                <c:pt idx="4691" formatCode="#,##0_);\(#,##0\);&quot;-  &quot;;&quot; &quot;@&quot; &quot;">
                  <c:v>0</c:v>
                </c:pt>
                <c:pt idx="4692" formatCode="#,##0_);\(#,##0\);&quot;-  &quot;;&quot; &quot;@&quot; &quot;">
                  <c:v>0</c:v>
                </c:pt>
                <c:pt idx="4693" formatCode="#,##0_);\(#,##0\);&quot;-  &quot;;&quot; &quot;@&quot; &quot;">
                  <c:v>0</c:v>
                </c:pt>
                <c:pt idx="4694" formatCode="#,##0_);\(#,##0\);&quot;-  &quot;;&quot; &quot;@&quot; &quot;">
                  <c:v>0</c:v>
                </c:pt>
                <c:pt idx="4695" formatCode="#,##0_);\(#,##0\);&quot;-  &quot;;&quot; &quot;@&quot; &quot;">
                  <c:v>0</c:v>
                </c:pt>
                <c:pt idx="4696" formatCode="#,##0_);\(#,##0\);&quot;-  &quot;;&quot; &quot;@&quot; &quot;">
                  <c:v>0</c:v>
                </c:pt>
                <c:pt idx="4697" formatCode="#,##0_);\(#,##0\);&quot;-  &quot;;&quot; &quot;@&quot; &quot;">
                  <c:v>0</c:v>
                </c:pt>
                <c:pt idx="4698" formatCode="#,##0_);\(#,##0\);&quot;-  &quot;;&quot; &quot;@&quot; &quot;">
                  <c:v>0</c:v>
                </c:pt>
                <c:pt idx="4699" formatCode="#,##0_);\(#,##0\);&quot;-  &quot;;&quot; &quot;@&quot; &quot;">
                  <c:v>0</c:v>
                </c:pt>
                <c:pt idx="4700" formatCode="#,##0_);\(#,##0\);&quot;-  &quot;;&quot; &quot;@&quot; &quot;">
                  <c:v>0</c:v>
                </c:pt>
                <c:pt idx="4701" formatCode="#,##0_);\(#,##0\);&quot;-  &quot;;&quot; &quot;@&quot; &quot;">
                  <c:v>0</c:v>
                </c:pt>
                <c:pt idx="4702" formatCode="#,##0_);\(#,##0\);&quot;-  &quot;;&quot; &quot;@&quot; &quot;">
                  <c:v>0</c:v>
                </c:pt>
                <c:pt idx="4703" formatCode="#,##0_);\(#,##0\);&quot;-  &quot;;&quot; &quot;@&quot; &quot;">
                  <c:v>0</c:v>
                </c:pt>
                <c:pt idx="4704" formatCode="#,##0_);\(#,##0\);&quot;-  &quot;;&quot; &quot;@&quot; &quot;">
                  <c:v>0</c:v>
                </c:pt>
                <c:pt idx="4705" formatCode="#,##0_);\(#,##0\);&quot;-  &quot;;&quot; &quot;@&quot; &quot;">
                  <c:v>0</c:v>
                </c:pt>
                <c:pt idx="4706" formatCode="#,##0_);\(#,##0\);&quot;-  &quot;;&quot; &quot;@&quot; &quot;">
                  <c:v>0</c:v>
                </c:pt>
                <c:pt idx="4707" formatCode="#,##0_);\(#,##0\);&quot;-  &quot;;&quot; &quot;@&quot; &quot;">
                  <c:v>0</c:v>
                </c:pt>
                <c:pt idx="4708" formatCode="#,##0_);\(#,##0\);&quot;-  &quot;;&quot; &quot;@&quot; &quot;">
                  <c:v>0</c:v>
                </c:pt>
                <c:pt idx="4709" formatCode="#,##0_);\(#,##0\);&quot;-  &quot;;&quot; &quot;@&quot; &quot;">
                  <c:v>0</c:v>
                </c:pt>
                <c:pt idx="4710" formatCode="#,##0_);\(#,##0\);&quot;-  &quot;;&quot; &quot;@&quot; &quot;">
                  <c:v>0</c:v>
                </c:pt>
                <c:pt idx="4711" formatCode="#,##0_);\(#,##0\);&quot;-  &quot;;&quot; &quot;@&quot; &quot;">
                  <c:v>0</c:v>
                </c:pt>
                <c:pt idx="4712" formatCode="#,##0_);\(#,##0\);&quot;-  &quot;;&quot; &quot;@&quot; &quot;">
                  <c:v>0</c:v>
                </c:pt>
                <c:pt idx="4713" formatCode="#,##0_);\(#,##0\);&quot;-  &quot;;&quot; &quot;@&quot; &quot;">
                  <c:v>0</c:v>
                </c:pt>
                <c:pt idx="4714" formatCode="#,##0_);\(#,##0\);&quot;-  &quot;;&quot; &quot;@&quot; &quot;">
                  <c:v>0</c:v>
                </c:pt>
                <c:pt idx="4715" formatCode="#,##0_);\(#,##0\);&quot;-  &quot;;&quot; &quot;@&quot; &quot;">
                  <c:v>0</c:v>
                </c:pt>
                <c:pt idx="4716" formatCode="#,##0_);\(#,##0\);&quot;-  &quot;;&quot; &quot;@&quot; &quot;">
                  <c:v>0</c:v>
                </c:pt>
                <c:pt idx="4717" formatCode="#,##0_);\(#,##0\);&quot;-  &quot;;&quot; &quot;@&quot; &quot;">
                  <c:v>0</c:v>
                </c:pt>
                <c:pt idx="4718" formatCode="#,##0_);\(#,##0\);&quot;-  &quot;;&quot; &quot;@&quot; &quot;">
                  <c:v>0</c:v>
                </c:pt>
                <c:pt idx="4719" formatCode="#,##0_);\(#,##0\);&quot;-  &quot;;&quot; &quot;@&quot; &quot;">
                  <c:v>0</c:v>
                </c:pt>
                <c:pt idx="4720" formatCode="#,##0_);\(#,##0\);&quot;-  &quot;;&quot; &quot;@&quot; &quot;">
                  <c:v>0</c:v>
                </c:pt>
                <c:pt idx="4721" formatCode="#,##0_);\(#,##0\);&quot;-  &quot;;&quot; &quot;@&quot; &quot;">
                  <c:v>0</c:v>
                </c:pt>
                <c:pt idx="4722" formatCode="#,##0_);\(#,##0\);&quot;-  &quot;;&quot; &quot;@&quot; &quot;">
                  <c:v>0</c:v>
                </c:pt>
                <c:pt idx="4723" formatCode="#,##0_);\(#,##0\);&quot;-  &quot;;&quot; &quot;@&quot; &quot;">
                  <c:v>0</c:v>
                </c:pt>
                <c:pt idx="4724" formatCode="#,##0_);\(#,##0\);&quot;-  &quot;;&quot; &quot;@&quot; &quot;">
                  <c:v>0</c:v>
                </c:pt>
                <c:pt idx="4725" formatCode="#,##0_);\(#,##0\);&quot;-  &quot;;&quot; &quot;@&quot; &quot;">
                  <c:v>0</c:v>
                </c:pt>
                <c:pt idx="4726" formatCode="#,##0_);\(#,##0\);&quot;-  &quot;;&quot; &quot;@&quot; &quot;">
                  <c:v>0</c:v>
                </c:pt>
                <c:pt idx="4727" formatCode="#,##0_);\(#,##0\);&quot;-  &quot;;&quot; &quot;@&quot; &quot;">
                  <c:v>0</c:v>
                </c:pt>
                <c:pt idx="4728" formatCode="#,##0_);\(#,##0\);&quot;-  &quot;;&quot; &quot;@&quot; &quot;">
                  <c:v>0</c:v>
                </c:pt>
                <c:pt idx="4729" formatCode="#,##0_);\(#,##0\);&quot;-  &quot;;&quot; &quot;@&quot; &quot;">
                  <c:v>0</c:v>
                </c:pt>
                <c:pt idx="4730" formatCode="#,##0_);\(#,##0\);&quot;-  &quot;;&quot; &quot;@&quot; &quot;">
                  <c:v>0</c:v>
                </c:pt>
                <c:pt idx="4731" formatCode="#,##0_);\(#,##0\);&quot;-  &quot;;&quot; &quot;@&quot; &quot;">
                  <c:v>0</c:v>
                </c:pt>
                <c:pt idx="4732" formatCode="#,##0_);\(#,##0\);&quot;-  &quot;;&quot; &quot;@&quot; &quot;">
                  <c:v>0</c:v>
                </c:pt>
                <c:pt idx="4733" formatCode="#,##0_);\(#,##0\);&quot;-  &quot;;&quot; &quot;@&quot; &quot;">
                  <c:v>0</c:v>
                </c:pt>
                <c:pt idx="4734" formatCode="#,##0_);\(#,##0\);&quot;-  &quot;;&quot; &quot;@&quot; &quot;">
                  <c:v>0</c:v>
                </c:pt>
                <c:pt idx="4735" formatCode="#,##0_);\(#,##0\);&quot;-  &quot;;&quot; &quot;@&quot; &quot;">
                  <c:v>0</c:v>
                </c:pt>
                <c:pt idx="4736" formatCode="#,##0_);\(#,##0\);&quot;-  &quot;;&quot; &quot;@&quot; &quot;">
                  <c:v>0</c:v>
                </c:pt>
                <c:pt idx="4737" formatCode="#,##0_);\(#,##0\);&quot;-  &quot;;&quot; &quot;@&quot; &quot;">
                  <c:v>0</c:v>
                </c:pt>
                <c:pt idx="4738" formatCode="#,##0_);\(#,##0\);&quot;-  &quot;;&quot; &quot;@&quot; &quot;">
                  <c:v>0</c:v>
                </c:pt>
                <c:pt idx="4739" formatCode="#,##0_);\(#,##0\);&quot;-  &quot;;&quot; &quot;@&quot; &quot;">
                  <c:v>0</c:v>
                </c:pt>
                <c:pt idx="4740" formatCode="#,##0_);\(#,##0\);&quot;-  &quot;;&quot; &quot;@&quot; &quot;">
                  <c:v>0</c:v>
                </c:pt>
                <c:pt idx="4741" formatCode="#,##0_);\(#,##0\);&quot;-  &quot;;&quot; &quot;@&quot; &quot;">
                  <c:v>0</c:v>
                </c:pt>
                <c:pt idx="4742" formatCode="#,##0_);\(#,##0\);&quot;-  &quot;;&quot; &quot;@&quot; &quot;">
                  <c:v>0</c:v>
                </c:pt>
                <c:pt idx="4743" formatCode="#,##0_);\(#,##0\);&quot;-  &quot;;&quot; &quot;@&quot; &quot;">
                  <c:v>0</c:v>
                </c:pt>
                <c:pt idx="4744" formatCode="#,##0_);\(#,##0\);&quot;-  &quot;;&quot; &quot;@&quot; &quot;">
                  <c:v>0</c:v>
                </c:pt>
                <c:pt idx="4745" formatCode="#,##0_);\(#,##0\);&quot;-  &quot;;&quot; &quot;@&quot; &quot;">
                  <c:v>0</c:v>
                </c:pt>
                <c:pt idx="4746" formatCode="#,##0_);\(#,##0\);&quot;-  &quot;;&quot; &quot;@&quot; &quot;">
                  <c:v>0</c:v>
                </c:pt>
                <c:pt idx="4747" formatCode="#,##0_);\(#,##0\);&quot;-  &quot;;&quot; &quot;@&quot; &quot;">
                  <c:v>0</c:v>
                </c:pt>
                <c:pt idx="4748" formatCode="#,##0_);\(#,##0\);&quot;-  &quot;;&quot; &quot;@&quot; &quot;">
                  <c:v>0</c:v>
                </c:pt>
                <c:pt idx="4749" formatCode="#,##0_);\(#,##0\);&quot;-  &quot;;&quot; &quot;@&quot; &quot;">
                  <c:v>0</c:v>
                </c:pt>
                <c:pt idx="4750" formatCode="#,##0_);\(#,##0\);&quot;-  &quot;;&quot; &quot;@&quot; &quot;">
                  <c:v>0</c:v>
                </c:pt>
                <c:pt idx="4751" formatCode="#,##0_);\(#,##0\);&quot;-  &quot;;&quot; &quot;@&quot; &quot;">
                  <c:v>0</c:v>
                </c:pt>
                <c:pt idx="4752" formatCode="#,##0_);\(#,##0\);&quot;-  &quot;;&quot; &quot;@&quot; &quot;">
                  <c:v>0</c:v>
                </c:pt>
                <c:pt idx="4753" formatCode="#,##0_);\(#,##0\);&quot;-  &quot;;&quot; &quot;@&quot; &quot;">
                  <c:v>0</c:v>
                </c:pt>
                <c:pt idx="4754" formatCode="#,##0_);\(#,##0\);&quot;-  &quot;;&quot; &quot;@&quot; &quot;">
                  <c:v>0</c:v>
                </c:pt>
                <c:pt idx="4755" formatCode="#,##0_);\(#,##0\);&quot;-  &quot;;&quot; &quot;@&quot; &quot;">
                  <c:v>0</c:v>
                </c:pt>
                <c:pt idx="4756" formatCode="#,##0_);\(#,##0\);&quot;-  &quot;;&quot; &quot;@&quot; &quot;">
                  <c:v>0</c:v>
                </c:pt>
                <c:pt idx="4757" formatCode="#,##0_);\(#,##0\);&quot;-  &quot;;&quot; &quot;@&quot; &quot;">
                  <c:v>0</c:v>
                </c:pt>
                <c:pt idx="4758" formatCode="#,##0_);\(#,##0\);&quot;-  &quot;;&quot; &quot;@&quot; &quot;">
                  <c:v>0</c:v>
                </c:pt>
                <c:pt idx="4759" formatCode="#,##0_);\(#,##0\);&quot;-  &quot;;&quot; &quot;@&quot; &quot;">
                  <c:v>0</c:v>
                </c:pt>
                <c:pt idx="4760" formatCode="#,##0_);\(#,##0\);&quot;-  &quot;;&quot; &quot;@&quot; &quot;">
                  <c:v>0</c:v>
                </c:pt>
                <c:pt idx="4761" formatCode="#,##0_);\(#,##0\);&quot;-  &quot;;&quot; &quot;@&quot; &quot;">
                  <c:v>0</c:v>
                </c:pt>
                <c:pt idx="4762" formatCode="#,##0_);\(#,##0\);&quot;-  &quot;;&quot; &quot;@&quot; &quot;">
                  <c:v>0</c:v>
                </c:pt>
                <c:pt idx="4763" formatCode="#,##0_);\(#,##0\);&quot;-  &quot;;&quot; &quot;@&quot; &quot;">
                  <c:v>0</c:v>
                </c:pt>
                <c:pt idx="4764" formatCode="#,##0_);\(#,##0\);&quot;-  &quot;;&quot; &quot;@&quot; &quot;">
                  <c:v>0</c:v>
                </c:pt>
                <c:pt idx="4765" formatCode="#,##0_);\(#,##0\);&quot;-  &quot;;&quot; &quot;@&quot; &quot;">
                  <c:v>0</c:v>
                </c:pt>
                <c:pt idx="4766" formatCode="#,##0_);\(#,##0\);&quot;-  &quot;;&quot; &quot;@&quot; &quot;">
                  <c:v>0</c:v>
                </c:pt>
                <c:pt idx="4767" formatCode="#,##0_);\(#,##0\);&quot;-  &quot;;&quot; &quot;@&quot; &quot;">
                  <c:v>0</c:v>
                </c:pt>
                <c:pt idx="4768" formatCode="#,##0_);\(#,##0\);&quot;-  &quot;;&quot; &quot;@&quot; &quot;">
                  <c:v>0</c:v>
                </c:pt>
                <c:pt idx="4769" formatCode="#,##0_);\(#,##0\);&quot;-  &quot;;&quot; &quot;@&quot; &quot;">
                  <c:v>0</c:v>
                </c:pt>
                <c:pt idx="4770" formatCode="#,##0_);\(#,##0\);&quot;-  &quot;;&quot; &quot;@&quot; &quot;">
                  <c:v>0</c:v>
                </c:pt>
                <c:pt idx="4771" formatCode="#,##0_);\(#,##0\);&quot;-  &quot;;&quot; &quot;@&quot; &quot;">
                  <c:v>0</c:v>
                </c:pt>
                <c:pt idx="4772" formatCode="#,##0_);\(#,##0\);&quot;-  &quot;;&quot; &quot;@&quot; &quot;">
                  <c:v>0</c:v>
                </c:pt>
                <c:pt idx="4773" formatCode="#,##0_);\(#,##0\);&quot;-  &quot;;&quot; &quot;@&quot; &quot;">
                  <c:v>0</c:v>
                </c:pt>
                <c:pt idx="4774" formatCode="#,##0_);\(#,##0\);&quot;-  &quot;;&quot; &quot;@&quot; &quot;">
                  <c:v>0</c:v>
                </c:pt>
                <c:pt idx="4775" formatCode="#,##0_);\(#,##0\);&quot;-  &quot;;&quot; &quot;@&quot; &quot;">
                  <c:v>0</c:v>
                </c:pt>
                <c:pt idx="4776" formatCode="#,##0_);\(#,##0\);&quot;-  &quot;;&quot; &quot;@&quot; &quot;">
                  <c:v>0</c:v>
                </c:pt>
                <c:pt idx="4777" formatCode="#,##0_);\(#,##0\);&quot;-  &quot;;&quot; &quot;@&quot; &quot;">
                  <c:v>0</c:v>
                </c:pt>
                <c:pt idx="4778" formatCode="#,##0_);\(#,##0\);&quot;-  &quot;;&quot; &quot;@&quot; &quot;">
                  <c:v>0</c:v>
                </c:pt>
                <c:pt idx="4779" formatCode="#,##0_);\(#,##0\);&quot;-  &quot;;&quot; &quot;@&quot; &quot;">
                  <c:v>0</c:v>
                </c:pt>
                <c:pt idx="4780" formatCode="#,##0_);\(#,##0\);&quot;-  &quot;;&quot; &quot;@&quot; &quot;">
                  <c:v>0</c:v>
                </c:pt>
                <c:pt idx="4781" formatCode="#,##0_);\(#,##0\);&quot;-  &quot;;&quot; &quot;@&quot; &quot;">
                  <c:v>0</c:v>
                </c:pt>
                <c:pt idx="4782" formatCode="#,##0_);\(#,##0\);&quot;-  &quot;;&quot; &quot;@&quot; &quot;">
                  <c:v>0</c:v>
                </c:pt>
                <c:pt idx="4783" formatCode="#,##0_);\(#,##0\);&quot;-  &quot;;&quot; &quot;@&quot; &quot;">
                  <c:v>0</c:v>
                </c:pt>
                <c:pt idx="4784" formatCode="#,##0_);\(#,##0\);&quot;-  &quot;;&quot; &quot;@&quot; &quot;">
                  <c:v>0</c:v>
                </c:pt>
                <c:pt idx="4785" formatCode="#,##0_);\(#,##0\);&quot;-  &quot;;&quot; &quot;@&quot; &quot;">
                  <c:v>0</c:v>
                </c:pt>
                <c:pt idx="4786" formatCode="#,##0_);\(#,##0\);&quot;-  &quot;;&quot; &quot;@&quot; &quot;">
                  <c:v>0</c:v>
                </c:pt>
                <c:pt idx="4787" formatCode="#,##0_);\(#,##0\);&quot;-  &quot;;&quot; &quot;@&quot; &quot;">
                  <c:v>0</c:v>
                </c:pt>
                <c:pt idx="4788" formatCode="#,##0_);\(#,##0\);&quot;-  &quot;;&quot; &quot;@&quot; &quot;">
                  <c:v>0</c:v>
                </c:pt>
                <c:pt idx="4789" formatCode="#,##0_);\(#,##0\);&quot;-  &quot;;&quot; &quot;@&quot; &quot;">
                  <c:v>0</c:v>
                </c:pt>
                <c:pt idx="4790" formatCode="#,##0_);\(#,##0\);&quot;-  &quot;;&quot; &quot;@&quot; &quot;">
                  <c:v>0</c:v>
                </c:pt>
                <c:pt idx="4791" formatCode="#,##0_);\(#,##0\);&quot;-  &quot;;&quot; &quot;@&quot; &quot;">
                  <c:v>0</c:v>
                </c:pt>
                <c:pt idx="4792" formatCode="#,##0_);\(#,##0\);&quot;-  &quot;;&quot; &quot;@&quot; &quot;">
                  <c:v>0</c:v>
                </c:pt>
                <c:pt idx="4793" formatCode="#,##0_);\(#,##0\);&quot;-  &quot;;&quot; &quot;@&quot; &quot;">
                  <c:v>0</c:v>
                </c:pt>
                <c:pt idx="4794" formatCode="#,##0_);\(#,##0\);&quot;-  &quot;;&quot; &quot;@&quot; &quot;">
                  <c:v>0</c:v>
                </c:pt>
                <c:pt idx="4795" formatCode="#,##0_);\(#,##0\);&quot;-  &quot;;&quot; &quot;@&quot; &quot;">
                  <c:v>0</c:v>
                </c:pt>
                <c:pt idx="4796" formatCode="#,##0_);\(#,##0\);&quot;-  &quot;;&quot; &quot;@&quot; &quot;">
                  <c:v>0</c:v>
                </c:pt>
                <c:pt idx="4797" formatCode="#,##0_);\(#,##0\);&quot;-  &quot;;&quot; &quot;@&quot; &quot;">
                  <c:v>0</c:v>
                </c:pt>
                <c:pt idx="4798" formatCode="#,##0_);\(#,##0\);&quot;-  &quot;;&quot; &quot;@&quot; &quot;">
                  <c:v>0</c:v>
                </c:pt>
                <c:pt idx="4799" formatCode="#,##0_);\(#,##0\);&quot;-  &quot;;&quot; &quot;@&quot; &quot;">
                  <c:v>0</c:v>
                </c:pt>
                <c:pt idx="4800" formatCode="#,##0_);\(#,##0\);&quot;-  &quot;;&quot; &quot;@&quot; &quot;">
                  <c:v>0</c:v>
                </c:pt>
                <c:pt idx="4801" formatCode="#,##0_);\(#,##0\);&quot;-  &quot;;&quot; &quot;@&quot; &quot;">
                  <c:v>0</c:v>
                </c:pt>
                <c:pt idx="4802" formatCode="#,##0_);\(#,##0\);&quot;-  &quot;;&quot; &quot;@&quot; &quot;">
                  <c:v>0</c:v>
                </c:pt>
                <c:pt idx="4803" formatCode="#,##0_);\(#,##0\);&quot;-  &quot;;&quot; &quot;@&quot; &quot;">
                  <c:v>0</c:v>
                </c:pt>
                <c:pt idx="4804" formatCode="#,##0_);\(#,##0\);&quot;-  &quot;;&quot; &quot;@&quot; &quot;">
                  <c:v>0</c:v>
                </c:pt>
                <c:pt idx="4805" formatCode="#,##0_);\(#,##0\);&quot;-  &quot;;&quot; &quot;@&quot; &quot;">
                  <c:v>0</c:v>
                </c:pt>
                <c:pt idx="4806" formatCode="#,##0_);\(#,##0\);&quot;-  &quot;;&quot; &quot;@&quot; &quot;">
                  <c:v>0</c:v>
                </c:pt>
                <c:pt idx="4807" formatCode="#,##0_);\(#,##0\);&quot;-  &quot;;&quot; &quot;@&quot; &quot;">
                  <c:v>0</c:v>
                </c:pt>
                <c:pt idx="4808" formatCode="#,##0_);\(#,##0\);&quot;-  &quot;;&quot; &quot;@&quot; &quot;">
                  <c:v>0</c:v>
                </c:pt>
                <c:pt idx="4809" formatCode="#,##0_);\(#,##0\);&quot;-  &quot;;&quot; &quot;@&quot; &quot;">
                  <c:v>0</c:v>
                </c:pt>
                <c:pt idx="4810" formatCode="#,##0_);\(#,##0\);&quot;-  &quot;;&quot; &quot;@&quot; &quot;">
                  <c:v>0</c:v>
                </c:pt>
                <c:pt idx="4811" formatCode="#,##0_);\(#,##0\);&quot;-  &quot;;&quot; &quot;@&quot; &quot;">
                  <c:v>0</c:v>
                </c:pt>
                <c:pt idx="4812" formatCode="#,##0_);\(#,##0\);&quot;-  &quot;;&quot; &quot;@&quot; &quot;">
                  <c:v>0</c:v>
                </c:pt>
                <c:pt idx="4813" formatCode="#,##0_);\(#,##0\);&quot;-  &quot;;&quot; &quot;@&quot; &quot;">
                  <c:v>0</c:v>
                </c:pt>
                <c:pt idx="4814" formatCode="#,##0_);\(#,##0\);&quot;-  &quot;;&quot; &quot;@&quot; &quot;">
                  <c:v>0</c:v>
                </c:pt>
                <c:pt idx="4815" formatCode="#,##0_);\(#,##0\);&quot;-  &quot;;&quot; &quot;@&quot; &quot;">
                  <c:v>0</c:v>
                </c:pt>
                <c:pt idx="4816" formatCode="#,##0_);\(#,##0\);&quot;-  &quot;;&quot; &quot;@&quot; &quot;">
                  <c:v>0</c:v>
                </c:pt>
                <c:pt idx="4817" formatCode="#,##0_);\(#,##0\);&quot;-  &quot;;&quot; &quot;@&quot; &quot;">
                  <c:v>0</c:v>
                </c:pt>
                <c:pt idx="4818" formatCode="#,##0_);\(#,##0\);&quot;-  &quot;;&quot; &quot;@&quot; &quot;">
                  <c:v>0</c:v>
                </c:pt>
                <c:pt idx="4819" formatCode="#,##0_);\(#,##0\);&quot;-  &quot;;&quot; &quot;@&quot; &quot;">
                  <c:v>0</c:v>
                </c:pt>
                <c:pt idx="4820" formatCode="#,##0_);\(#,##0\);&quot;-  &quot;;&quot; &quot;@&quot; &quot;">
                  <c:v>0</c:v>
                </c:pt>
                <c:pt idx="4821" formatCode="#,##0_);\(#,##0\);&quot;-  &quot;;&quot; &quot;@&quot; &quot;">
                  <c:v>0</c:v>
                </c:pt>
                <c:pt idx="4822" formatCode="#,##0_);\(#,##0\);&quot;-  &quot;;&quot; &quot;@&quot; &quot;">
                  <c:v>0</c:v>
                </c:pt>
                <c:pt idx="4823" formatCode="#,##0_);\(#,##0\);&quot;-  &quot;;&quot; &quot;@&quot; &quot;">
                  <c:v>0</c:v>
                </c:pt>
                <c:pt idx="4824" formatCode="#,##0_);\(#,##0\);&quot;-  &quot;;&quot; &quot;@&quot; &quot;">
                  <c:v>0</c:v>
                </c:pt>
                <c:pt idx="4825" formatCode="#,##0_);\(#,##0\);&quot;-  &quot;;&quot; &quot;@&quot; &quot;">
                  <c:v>0</c:v>
                </c:pt>
                <c:pt idx="4826" formatCode="#,##0_);\(#,##0\);&quot;-  &quot;;&quot; &quot;@&quot; &quot;">
                  <c:v>0</c:v>
                </c:pt>
                <c:pt idx="4827" formatCode="#,##0_);\(#,##0\);&quot;-  &quot;;&quot; &quot;@&quot; &quot;">
                  <c:v>0</c:v>
                </c:pt>
                <c:pt idx="4828" formatCode="#,##0_);\(#,##0\);&quot;-  &quot;;&quot; &quot;@&quot; &quot;">
                  <c:v>0</c:v>
                </c:pt>
                <c:pt idx="4829" formatCode="#,##0_);\(#,##0\);&quot;-  &quot;;&quot; &quot;@&quot; &quot;">
                  <c:v>0</c:v>
                </c:pt>
                <c:pt idx="4830" formatCode="#,##0_);\(#,##0\);&quot;-  &quot;;&quot; &quot;@&quot; &quot;">
                  <c:v>0</c:v>
                </c:pt>
                <c:pt idx="4831" formatCode="#,##0_);\(#,##0\);&quot;-  &quot;;&quot; &quot;@&quot; &quot;">
                  <c:v>0</c:v>
                </c:pt>
                <c:pt idx="4832" formatCode="#,##0_);\(#,##0\);&quot;-  &quot;;&quot; &quot;@&quot; &quot;">
                  <c:v>0</c:v>
                </c:pt>
                <c:pt idx="4833" formatCode="#,##0_);\(#,##0\);&quot;-  &quot;;&quot; &quot;@&quot; &quot;">
                  <c:v>0</c:v>
                </c:pt>
                <c:pt idx="4834" formatCode="#,##0_);\(#,##0\);&quot;-  &quot;;&quot; &quot;@&quot; &quot;">
                  <c:v>0</c:v>
                </c:pt>
                <c:pt idx="4835" formatCode="#,##0_);\(#,##0\);&quot;-  &quot;;&quot; &quot;@&quot; &quot;">
                  <c:v>0</c:v>
                </c:pt>
                <c:pt idx="4836" formatCode="#,##0_);\(#,##0\);&quot;-  &quot;;&quot; &quot;@&quot; &quot;">
                  <c:v>0</c:v>
                </c:pt>
                <c:pt idx="4837" formatCode="#,##0_);\(#,##0\);&quot;-  &quot;;&quot; &quot;@&quot; &quot;">
                  <c:v>0</c:v>
                </c:pt>
                <c:pt idx="4838" formatCode="#,##0_);\(#,##0\);&quot;-  &quot;;&quot; &quot;@&quot; &quot;">
                  <c:v>0</c:v>
                </c:pt>
                <c:pt idx="4839" formatCode="#,##0_);\(#,##0\);&quot;-  &quot;;&quot; &quot;@&quot; &quot;">
                  <c:v>0</c:v>
                </c:pt>
                <c:pt idx="4840" formatCode="#,##0_);\(#,##0\);&quot;-  &quot;;&quot; &quot;@&quot; &quot;">
                  <c:v>0</c:v>
                </c:pt>
                <c:pt idx="4841" formatCode="#,##0_);\(#,##0\);&quot;-  &quot;;&quot; &quot;@&quot; &quot;">
                  <c:v>0</c:v>
                </c:pt>
                <c:pt idx="4842" formatCode="#,##0_);\(#,##0\);&quot;-  &quot;;&quot; &quot;@&quot; &quot;">
                  <c:v>0</c:v>
                </c:pt>
                <c:pt idx="4843" formatCode="#,##0_);\(#,##0\);&quot;-  &quot;;&quot; &quot;@&quot; &quot;">
                  <c:v>0</c:v>
                </c:pt>
                <c:pt idx="4844" formatCode="#,##0_);\(#,##0\);&quot;-  &quot;;&quot; &quot;@&quot; &quot;">
                  <c:v>0</c:v>
                </c:pt>
                <c:pt idx="4845" formatCode="#,##0_);\(#,##0\);&quot;-  &quot;;&quot; &quot;@&quot; &quot;">
                  <c:v>0</c:v>
                </c:pt>
                <c:pt idx="4846" formatCode="#,##0_);\(#,##0\);&quot;-  &quot;;&quot; &quot;@&quot; &quot;">
                  <c:v>0</c:v>
                </c:pt>
                <c:pt idx="4847" formatCode="#,##0_);\(#,##0\);&quot;-  &quot;;&quot; &quot;@&quot; &quot;">
                  <c:v>0</c:v>
                </c:pt>
                <c:pt idx="4848" formatCode="#,##0_);\(#,##0\);&quot;-  &quot;;&quot; &quot;@&quot; &quot;">
                  <c:v>0</c:v>
                </c:pt>
                <c:pt idx="4849" formatCode="#,##0_);\(#,##0\);&quot;-  &quot;;&quot; &quot;@&quot; &quot;">
                  <c:v>0</c:v>
                </c:pt>
                <c:pt idx="4850" formatCode="#,##0_);\(#,##0\);&quot;-  &quot;;&quot; &quot;@&quot; &quot;">
                  <c:v>0</c:v>
                </c:pt>
                <c:pt idx="4851" formatCode="#,##0_);\(#,##0\);&quot;-  &quot;;&quot; &quot;@&quot; &quot;">
                  <c:v>0</c:v>
                </c:pt>
                <c:pt idx="4852" formatCode="#,##0_);\(#,##0\);&quot;-  &quot;;&quot; &quot;@&quot; &quot;">
                  <c:v>0</c:v>
                </c:pt>
                <c:pt idx="4853" formatCode="#,##0_);\(#,##0\);&quot;-  &quot;;&quot; &quot;@&quot; &quot;">
                  <c:v>0</c:v>
                </c:pt>
                <c:pt idx="4854" formatCode="#,##0_);\(#,##0\);&quot;-  &quot;;&quot; &quot;@&quot; &quot;">
                  <c:v>0</c:v>
                </c:pt>
                <c:pt idx="4855" formatCode="#,##0_);\(#,##0\);&quot;-  &quot;;&quot; &quot;@&quot; &quot;">
                  <c:v>0</c:v>
                </c:pt>
                <c:pt idx="4856" formatCode="#,##0_);\(#,##0\);&quot;-  &quot;;&quot; &quot;@&quot; &quot;">
                  <c:v>0</c:v>
                </c:pt>
                <c:pt idx="4857" formatCode="#,##0_);\(#,##0\);&quot;-  &quot;;&quot; &quot;@&quot; &quot;">
                  <c:v>0</c:v>
                </c:pt>
                <c:pt idx="4858" formatCode="#,##0_);\(#,##0\);&quot;-  &quot;;&quot; &quot;@&quot; &quot;">
                  <c:v>0</c:v>
                </c:pt>
                <c:pt idx="4859" formatCode="#,##0_);\(#,##0\);&quot;-  &quot;;&quot; &quot;@&quot; &quot;">
                  <c:v>0</c:v>
                </c:pt>
                <c:pt idx="4860" formatCode="#,##0_);\(#,##0\);&quot;-  &quot;;&quot; &quot;@&quot; &quot;">
                  <c:v>0</c:v>
                </c:pt>
                <c:pt idx="4861" formatCode="#,##0_);\(#,##0\);&quot;-  &quot;;&quot; &quot;@&quot; &quot;">
                  <c:v>0</c:v>
                </c:pt>
                <c:pt idx="4862" formatCode="#,##0_);\(#,##0\);&quot;-  &quot;;&quot; &quot;@&quot; &quot;">
                  <c:v>0</c:v>
                </c:pt>
                <c:pt idx="4863" formatCode="#,##0_);\(#,##0\);&quot;-  &quot;;&quot; &quot;@&quot; &quot;">
                  <c:v>0</c:v>
                </c:pt>
                <c:pt idx="4864" formatCode="#,##0_);\(#,##0\);&quot;-  &quot;;&quot; &quot;@&quot; &quot;">
                  <c:v>0</c:v>
                </c:pt>
                <c:pt idx="4865" formatCode="#,##0_);\(#,##0\);&quot;-  &quot;;&quot; &quot;@&quot; &quot;">
                  <c:v>0</c:v>
                </c:pt>
                <c:pt idx="4866" formatCode="#,##0_);\(#,##0\);&quot;-  &quot;;&quot; &quot;@&quot; &quot;">
                  <c:v>0</c:v>
                </c:pt>
                <c:pt idx="4867" formatCode="#,##0_);\(#,##0\);&quot;-  &quot;;&quot; &quot;@&quot; &quot;">
                  <c:v>0</c:v>
                </c:pt>
                <c:pt idx="4868" formatCode="#,##0_);\(#,##0\);&quot;-  &quot;;&quot; &quot;@&quot; &quot;">
                  <c:v>0</c:v>
                </c:pt>
                <c:pt idx="4869" formatCode="#,##0_);\(#,##0\);&quot;-  &quot;;&quot; &quot;@&quot; &quot;">
                  <c:v>0</c:v>
                </c:pt>
                <c:pt idx="4870" formatCode="#,##0_);\(#,##0\);&quot;-  &quot;;&quot; &quot;@&quot; &quot;">
                  <c:v>0</c:v>
                </c:pt>
                <c:pt idx="4871" formatCode="#,##0_);\(#,##0\);&quot;-  &quot;;&quot; &quot;@&quot; &quot;">
                  <c:v>0</c:v>
                </c:pt>
                <c:pt idx="4872" formatCode="#,##0_);\(#,##0\);&quot;-  &quot;;&quot; &quot;@&quot; &quot;">
                  <c:v>0</c:v>
                </c:pt>
                <c:pt idx="4873" formatCode="#,##0_);\(#,##0\);&quot;-  &quot;;&quot; &quot;@&quot; &quot;">
                  <c:v>0</c:v>
                </c:pt>
                <c:pt idx="4874" formatCode="#,##0_);\(#,##0\);&quot;-  &quot;;&quot; &quot;@&quot; &quot;">
                  <c:v>0</c:v>
                </c:pt>
                <c:pt idx="4875" formatCode="#,##0_);\(#,##0\);&quot;-  &quot;;&quot; &quot;@&quot; &quot;">
                  <c:v>0</c:v>
                </c:pt>
                <c:pt idx="4876" formatCode="#,##0_);\(#,##0\);&quot;-  &quot;;&quot; &quot;@&quot; &quot;">
                  <c:v>0</c:v>
                </c:pt>
                <c:pt idx="4877" formatCode="#,##0_);\(#,##0\);&quot;-  &quot;;&quot; &quot;@&quot; &quot;">
                  <c:v>0</c:v>
                </c:pt>
                <c:pt idx="4878" formatCode="#,##0_);\(#,##0\);&quot;-  &quot;;&quot; &quot;@&quot; &quot;">
                  <c:v>0</c:v>
                </c:pt>
                <c:pt idx="4879" formatCode="#,##0_);\(#,##0\);&quot;-  &quot;;&quot; &quot;@&quot; &quot;">
                  <c:v>0</c:v>
                </c:pt>
                <c:pt idx="4880" formatCode="#,##0_);\(#,##0\);&quot;-  &quot;;&quot; &quot;@&quot; &quot;">
                  <c:v>0</c:v>
                </c:pt>
                <c:pt idx="4881" formatCode="#,##0_);\(#,##0\);&quot;-  &quot;;&quot; &quot;@&quot; &quot;">
                  <c:v>0</c:v>
                </c:pt>
                <c:pt idx="4882" formatCode="#,##0_);\(#,##0\);&quot;-  &quot;;&quot; &quot;@&quot; &quot;">
                  <c:v>0</c:v>
                </c:pt>
                <c:pt idx="4883" formatCode="#,##0_);\(#,##0\);&quot;-  &quot;;&quot; &quot;@&quot; &quot;">
                  <c:v>0</c:v>
                </c:pt>
                <c:pt idx="4884" formatCode="#,##0_);\(#,##0\);&quot;-  &quot;;&quot; &quot;@&quot; &quot;">
                  <c:v>0</c:v>
                </c:pt>
                <c:pt idx="4885" formatCode="#,##0_);\(#,##0\);&quot;-  &quot;;&quot; &quot;@&quot; &quot;">
                  <c:v>0</c:v>
                </c:pt>
                <c:pt idx="4886" formatCode="#,##0_);\(#,##0\);&quot;-  &quot;;&quot; &quot;@&quot; &quot;">
                  <c:v>0</c:v>
                </c:pt>
                <c:pt idx="4887" formatCode="#,##0_);\(#,##0\);&quot;-  &quot;;&quot; &quot;@&quot; &quot;">
                  <c:v>0</c:v>
                </c:pt>
                <c:pt idx="4888" formatCode="#,##0_);\(#,##0\);&quot;-  &quot;;&quot; &quot;@&quot; &quot;">
                  <c:v>0</c:v>
                </c:pt>
                <c:pt idx="4889" formatCode="#,##0_);\(#,##0\);&quot;-  &quot;;&quot; &quot;@&quot; &quot;">
                  <c:v>0</c:v>
                </c:pt>
                <c:pt idx="4890" formatCode="#,##0_);\(#,##0\);&quot;-  &quot;;&quot; &quot;@&quot; &quot;">
                  <c:v>0</c:v>
                </c:pt>
                <c:pt idx="4891" formatCode="#,##0_);\(#,##0\);&quot;-  &quot;;&quot; &quot;@&quot; &quot;">
                  <c:v>0</c:v>
                </c:pt>
                <c:pt idx="4892" formatCode="#,##0_);\(#,##0\);&quot;-  &quot;;&quot; &quot;@&quot; &quot;">
                  <c:v>0</c:v>
                </c:pt>
                <c:pt idx="4893" formatCode="#,##0_);\(#,##0\);&quot;-  &quot;;&quot; &quot;@&quot; &quot;">
                  <c:v>0</c:v>
                </c:pt>
                <c:pt idx="4894" formatCode="#,##0_);\(#,##0\);&quot;-  &quot;;&quot; &quot;@&quot; &quot;">
                  <c:v>0</c:v>
                </c:pt>
                <c:pt idx="4895" formatCode="#,##0_);\(#,##0\);&quot;-  &quot;;&quot; &quot;@&quot; &quot;">
                  <c:v>0</c:v>
                </c:pt>
                <c:pt idx="4896" formatCode="#,##0_);\(#,##0\);&quot;-  &quot;;&quot; &quot;@&quot; &quot;">
                  <c:v>0</c:v>
                </c:pt>
                <c:pt idx="4897" formatCode="#,##0_);\(#,##0\);&quot;-  &quot;;&quot; &quot;@&quot; &quot;">
                  <c:v>0</c:v>
                </c:pt>
                <c:pt idx="4898" formatCode="#,##0_);\(#,##0\);&quot;-  &quot;;&quot; &quot;@&quot; &quot;">
                  <c:v>0</c:v>
                </c:pt>
                <c:pt idx="4899" formatCode="#,##0_);\(#,##0\);&quot;-  &quot;;&quot; &quot;@&quot; &quot;">
                  <c:v>0</c:v>
                </c:pt>
                <c:pt idx="4900" formatCode="#,##0_);\(#,##0\);&quot;-  &quot;;&quot; &quot;@&quot; &quot;">
                  <c:v>0</c:v>
                </c:pt>
                <c:pt idx="4901" formatCode="#,##0_);\(#,##0\);&quot;-  &quot;;&quot; &quot;@&quot; &quot;">
                  <c:v>0</c:v>
                </c:pt>
                <c:pt idx="4902" formatCode="#,##0_);\(#,##0\);&quot;-  &quot;;&quot; &quot;@&quot; &quot;">
                  <c:v>0</c:v>
                </c:pt>
                <c:pt idx="4903" formatCode="#,##0_);\(#,##0\);&quot;-  &quot;;&quot; &quot;@&quot; &quot;">
                  <c:v>0</c:v>
                </c:pt>
                <c:pt idx="4904" formatCode="#,##0_);\(#,##0\);&quot;-  &quot;;&quot; &quot;@&quot; &quot;">
                  <c:v>0</c:v>
                </c:pt>
                <c:pt idx="4905" formatCode="#,##0_);\(#,##0\);&quot;-  &quot;;&quot; &quot;@&quot; &quot;">
                  <c:v>0</c:v>
                </c:pt>
                <c:pt idx="4906" formatCode="#,##0_);\(#,##0\);&quot;-  &quot;;&quot; &quot;@&quot; &quot;">
                  <c:v>0</c:v>
                </c:pt>
                <c:pt idx="4907" formatCode="#,##0_);\(#,##0\);&quot;-  &quot;;&quot; &quot;@&quot; &quot;">
                  <c:v>0</c:v>
                </c:pt>
                <c:pt idx="4908" formatCode="#,##0_);\(#,##0\);&quot;-  &quot;;&quot; &quot;@&quot; &quot;">
                  <c:v>0</c:v>
                </c:pt>
                <c:pt idx="4909" formatCode="#,##0_);\(#,##0\);&quot;-  &quot;;&quot; &quot;@&quot; &quot;">
                  <c:v>0</c:v>
                </c:pt>
                <c:pt idx="4910" formatCode="#,##0_);\(#,##0\);&quot;-  &quot;;&quot; &quot;@&quot; &quot;">
                  <c:v>0</c:v>
                </c:pt>
                <c:pt idx="4911" formatCode="#,##0_);\(#,##0\);&quot;-  &quot;;&quot; &quot;@&quot; &quot;">
                  <c:v>0</c:v>
                </c:pt>
                <c:pt idx="4912" formatCode="#,##0_);\(#,##0\);&quot;-  &quot;;&quot; &quot;@&quot; &quot;">
                  <c:v>0</c:v>
                </c:pt>
                <c:pt idx="4913" formatCode="#,##0_);\(#,##0\);&quot;-  &quot;;&quot; &quot;@&quot; &quot;">
                  <c:v>0</c:v>
                </c:pt>
                <c:pt idx="4914" formatCode="#,##0_);\(#,##0\);&quot;-  &quot;;&quot; &quot;@&quot; &quot;">
                  <c:v>0</c:v>
                </c:pt>
                <c:pt idx="4915" formatCode="#,##0_);\(#,##0\);&quot;-  &quot;;&quot; &quot;@&quot; &quot;">
                  <c:v>0</c:v>
                </c:pt>
                <c:pt idx="4916" formatCode="#,##0_);\(#,##0\);&quot;-  &quot;;&quot; &quot;@&quot; &quot;">
                  <c:v>0</c:v>
                </c:pt>
                <c:pt idx="4917" formatCode="#,##0_);\(#,##0\);&quot;-  &quot;;&quot; &quot;@&quot; &quot;">
                  <c:v>0</c:v>
                </c:pt>
                <c:pt idx="4918" formatCode="#,##0_);\(#,##0\);&quot;-  &quot;;&quot; &quot;@&quot; &quot;">
                  <c:v>0</c:v>
                </c:pt>
                <c:pt idx="4919" formatCode="#,##0_);\(#,##0\);&quot;-  &quot;;&quot; &quot;@&quot; &quot;">
                  <c:v>0</c:v>
                </c:pt>
                <c:pt idx="4920" formatCode="#,##0_);\(#,##0\);&quot;-  &quot;;&quot; &quot;@&quot; &quot;">
                  <c:v>0</c:v>
                </c:pt>
                <c:pt idx="4921" formatCode="#,##0_);\(#,##0\);&quot;-  &quot;;&quot; &quot;@&quot; &quot;">
                  <c:v>0</c:v>
                </c:pt>
                <c:pt idx="4922" formatCode="#,##0_);\(#,##0\);&quot;-  &quot;;&quot; &quot;@&quot; &quot;">
                  <c:v>0</c:v>
                </c:pt>
                <c:pt idx="4923" formatCode="#,##0_);\(#,##0\);&quot;-  &quot;;&quot; &quot;@&quot; &quot;">
                  <c:v>0</c:v>
                </c:pt>
                <c:pt idx="4924" formatCode="#,##0_);\(#,##0\);&quot;-  &quot;;&quot; &quot;@&quot; &quot;">
                  <c:v>0</c:v>
                </c:pt>
                <c:pt idx="4925" formatCode="#,##0_);\(#,##0\);&quot;-  &quot;;&quot; &quot;@&quot; &quot;">
                  <c:v>0</c:v>
                </c:pt>
                <c:pt idx="4926" formatCode="#,##0_);\(#,##0\);&quot;-  &quot;;&quot; &quot;@&quot; &quot;">
                  <c:v>0</c:v>
                </c:pt>
                <c:pt idx="4927" formatCode="#,##0_);\(#,##0\);&quot;-  &quot;;&quot; &quot;@&quot; &quot;">
                  <c:v>0</c:v>
                </c:pt>
                <c:pt idx="4928" formatCode="#,##0_);\(#,##0\);&quot;-  &quot;;&quot; &quot;@&quot; &quot;">
                  <c:v>0</c:v>
                </c:pt>
                <c:pt idx="4929" formatCode="#,##0_);\(#,##0\);&quot;-  &quot;;&quot; &quot;@&quot; &quot;">
                  <c:v>0</c:v>
                </c:pt>
                <c:pt idx="4930" formatCode="#,##0_);\(#,##0\);&quot;-  &quot;;&quot; &quot;@&quot; &quot;">
                  <c:v>0</c:v>
                </c:pt>
                <c:pt idx="4931" formatCode="#,##0_);\(#,##0\);&quot;-  &quot;;&quot; &quot;@&quot; &quot;">
                  <c:v>0</c:v>
                </c:pt>
                <c:pt idx="4932" formatCode="#,##0_);\(#,##0\);&quot;-  &quot;;&quot; &quot;@&quot; &quot;">
                  <c:v>0</c:v>
                </c:pt>
                <c:pt idx="4933" formatCode="#,##0_);\(#,##0\);&quot;-  &quot;;&quot; &quot;@&quot; &quot;">
                  <c:v>0</c:v>
                </c:pt>
                <c:pt idx="4934" formatCode="#,##0_);\(#,##0\);&quot;-  &quot;;&quot; &quot;@&quot; &quot;">
                  <c:v>0</c:v>
                </c:pt>
                <c:pt idx="4935" formatCode="#,##0_);\(#,##0\);&quot;-  &quot;;&quot; &quot;@&quot; &quot;">
                  <c:v>0</c:v>
                </c:pt>
                <c:pt idx="4936" formatCode="#,##0_);\(#,##0\);&quot;-  &quot;;&quot; &quot;@&quot; &quot;">
                  <c:v>0</c:v>
                </c:pt>
                <c:pt idx="4937" formatCode="#,##0_);\(#,##0\);&quot;-  &quot;;&quot; &quot;@&quot; &quot;">
                  <c:v>0</c:v>
                </c:pt>
                <c:pt idx="4938" formatCode="#,##0_);\(#,##0\);&quot;-  &quot;;&quot; &quot;@&quot; &quot;">
                  <c:v>0</c:v>
                </c:pt>
                <c:pt idx="4939" formatCode="#,##0_);\(#,##0\);&quot;-  &quot;;&quot; &quot;@&quot; &quot;">
                  <c:v>0</c:v>
                </c:pt>
                <c:pt idx="4940" formatCode="#,##0_);\(#,##0\);&quot;-  &quot;;&quot; &quot;@&quot; &quot;">
                  <c:v>0</c:v>
                </c:pt>
                <c:pt idx="4941" formatCode="#,##0_);\(#,##0\);&quot;-  &quot;;&quot; &quot;@&quot; &quot;">
                  <c:v>0</c:v>
                </c:pt>
                <c:pt idx="4942" formatCode="#,##0_);\(#,##0\);&quot;-  &quot;;&quot; &quot;@&quot; &quot;">
                  <c:v>0</c:v>
                </c:pt>
                <c:pt idx="4943" formatCode="#,##0_);\(#,##0\);&quot;-  &quot;;&quot; &quot;@&quot; &quot;">
                  <c:v>0</c:v>
                </c:pt>
                <c:pt idx="4944" formatCode="#,##0_);\(#,##0\);&quot;-  &quot;;&quot; &quot;@&quot; &quot;">
                  <c:v>0</c:v>
                </c:pt>
                <c:pt idx="4945" formatCode="#,##0_);\(#,##0\);&quot;-  &quot;;&quot; &quot;@&quot; &quot;">
                  <c:v>0</c:v>
                </c:pt>
                <c:pt idx="4946" formatCode="#,##0_);\(#,##0\);&quot;-  &quot;;&quot; &quot;@&quot; &quot;">
                  <c:v>0</c:v>
                </c:pt>
                <c:pt idx="4947" formatCode="#,##0_);\(#,##0\);&quot;-  &quot;;&quot; &quot;@&quot; &quot;">
                  <c:v>0</c:v>
                </c:pt>
                <c:pt idx="4948" formatCode="#,##0_);\(#,##0\);&quot;-  &quot;;&quot; &quot;@&quot; &quot;">
                  <c:v>0</c:v>
                </c:pt>
                <c:pt idx="4949" formatCode="#,##0_);\(#,##0\);&quot;-  &quot;;&quot; &quot;@&quot; &quot;">
                  <c:v>0</c:v>
                </c:pt>
                <c:pt idx="4950" formatCode="#,##0_);\(#,##0\);&quot;-  &quot;;&quot; &quot;@&quot; &quot;">
                  <c:v>0</c:v>
                </c:pt>
                <c:pt idx="4951" formatCode="#,##0_);\(#,##0\);&quot;-  &quot;;&quot; &quot;@&quot; &quot;">
                  <c:v>0</c:v>
                </c:pt>
                <c:pt idx="4952" formatCode="#,##0_);\(#,##0\);&quot;-  &quot;;&quot; &quot;@&quot; &quot;">
                  <c:v>0</c:v>
                </c:pt>
                <c:pt idx="4953" formatCode="#,##0_);\(#,##0\);&quot;-  &quot;;&quot; &quot;@&quot; &quot;">
                  <c:v>0</c:v>
                </c:pt>
                <c:pt idx="4954" formatCode="#,##0_);\(#,##0\);&quot;-  &quot;;&quot; &quot;@&quot; &quot;">
                  <c:v>0</c:v>
                </c:pt>
                <c:pt idx="4955" formatCode="#,##0_);\(#,##0\);&quot;-  &quot;;&quot; &quot;@&quot; &quot;">
                  <c:v>0</c:v>
                </c:pt>
                <c:pt idx="4956" formatCode="#,##0_);\(#,##0\);&quot;-  &quot;;&quot; &quot;@&quot; &quot;">
                  <c:v>0</c:v>
                </c:pt>
                <c:pt idx="4957" formatCode="#,##0_);\(#,##0\);&quot;-  &quot;;&quot; &quot;@&quot; &quot;">
                  <c:v>0</c:v>
                </c:pt>
                <c:pt idx="4958" formatCode="#,##0_);\(#,##0\);&quot;-  &quot;;&quot; &quot;@&quot; &quot;">
                  <c:v>0</c:v>
                </c:pt>
                <c:pt idx="4959" formatCode="#,##0_);\(#,##0\);&quot;-  &quot;;&quot; &quot;@&quot; &quot;">
                  <c:v>0</c:v>
                </c:pt>
                <c:pt idx="4960" formatCode="#,##0_);\(#,##0\);&quot;-  &quot;;&quot; &quot;@&quot; &quot;">
                  <c:v>0</c:v>
                </c:pt>
                <c:pt idx="4961" formatCode="#,##0_);\(#,##0\);&quot;-  &quot;;&quot; &quot;@&quot; &quot;">
                  <c:v>0</c:v>
                </c:pt>
                <c:pt idx="4962" formatCode="#,##0_);\(#,##0\);&quot;-  &quot;;&quot; &quot;@&quot; &quot;">
                  <c:v>0</c:v>
                </c:pt>
                <c:pt idx="4963" formatCode="#,##0_);\(#,##0\);&quot;-  &quot;;&quot; &quot;@&quot; &quot;">
                  <c:v>0</c:v>
                </c:pt>
                <c:pt idx="4964" formatCode="#,##0_);\(#,##0\);&quot;-  &quot;;&quot; &quot;@&quot; &quot;">
                  <c:v>0</c:v>
                </c:pt>
                <c:pt idx="4965" formatCode="#,##0_);\(#,##0\);&quot;-  &quot;;&quot; &quot;@&quot; &quot;">
                  <c:v>0</c:v>
                </c:pt>
                <c:pt idx="4966" formatCode="#,##0_);\(#,##0\);&quot;-  &quot;;&quot; &quot;@&quot; &quot;">
                  <c:v>0</c:v>
                </c:pt>
                <c:pt idx="4967" formatCode="#,##0_);\(#,##0\);&quot;-  &quot;;&quot; &quot;@&quot; &quot;">
                  <c:v>0</c:v>
                </c:pt>
                <c:pt idx="4968" formatCode="#,##0_);\(#,##0\);&quot;-  &quot;;&quot; &quot;@&quot; &quot;">
                  <c:v>0</c:v>
                </c:pt>
                <c:pt idx="4969" formatCode="#,##0_);\(#,##0\);&quot;-  &quot;;&quot; &quot;@&quot; &quot;">
                  <c:v>0</c:v>
                </c:pt>
                <c:pt idx="4970" formatCode="#,##0_);\(#,##0\);&quot;-  &quot;;&quot; &quot;@&quot; &quot;">
                  <c:v>0</c:v>
                </c:pt>
                <c:pt idx="4971" formatCode="#,##0_);\(#,##0\);&quot;-  &quot;;&quot; &quot;@&quot; &quot;">
                  <c:v>0</c:v>
                </c:pt>
                <c:pt idx="4972" formatCode="#,##0_);\(#,##0\);&quot;-  &quot;;&quot; &quot;@&quot; &quot;">
                  <c:v>0</c:v>
                </c:pt>
                <c:pt idx="4973" formatCode="#,##0_);\(#,##0\);&quot;-  &quot;;&quot; &quot;@&quot; &quot;">
                  <c:v>0</c:v>
                </c:pt>
                <c:pt idx="4974" formatCode="#,##0_);\(#,##0\);&quot;-  &quot;;&quot; &quot;@&quot; &quot;">
                  <c:v>0</c:v>
                </c:pt>
                <c:pt idx="4975" formatCode="#,##0_);\(#,##0\);&quot;-  &quot;;&quot; &quot;@&quot; &quot;">
                  <c:v>0</c:v>
                </c:pt>
                <c:pt idx="4976" formatCode="#,##0_);\(#,##0\);&quot;-  &quot;;&quot; &quot;@&quot; &quot;">
                  <c:v>0</c:v>
                </c:pt>
                <c:pt idx="4977" formatCode="#,##0_);\(#,##0\);&quot;-  &quot;;&quot; &quot;@&quot; &quot;">
                  <c:v>0</c:v>
                </c:pt>
                <c:pt idx="4978" formatCode="#,##0_);\(#,##0\);&quot;-  &quot;;&quot; &quot;@&quot; &quot;">
                  <c:v>0</c:v>
                </c:pt>
                <c:pt idx="4979" formatCode="#,##0_);\(#,##0\);&quot;-  &quot;;&quot; &quot;@&quot; &quot;">
                  <c:v>0</c:v>
                </c:pt>
                <c:pt idx="4980" formatCode="#,##0_);\(#,##0\);&quot;-  &quot;;&quot; &quot;@&quot; &quot;">
                  <c:v>0</c:v>
                </c:pt>
                <c:pt idx="4981" formatCode="#,##0_);\(#,##0\);&quot;-  &quot;;&quot; &quot;@&quot; &quot;">
                  <c:v>0</c:v>
                </c:pt>
                <c:pt idx="4982" formatCode="#,##0_);\(#,##0\);&quot;-  &quot;;&quot; &quot;@&quot; &quot;">
                  <c:v>0</c:v>
                </c:pt>
                <c:pt idx="4983" formatCode="#,##0_);\(#,##0\);&quot;-  &quot;;&quot; &quot;@&quot; &quot;">
                  <c:v>0</c:v>
                </c:pt>
                <c:pt idx="4984" formatCode="#,##0_);\(#,##0\);&quot;-  &quot;;&quot; &quot;@&quot; &quot;">
                  <c:v>0</c:v>
                </c:pt>
                <c:pt idx="4985" formatCode="#,##0_);\(#,##0\);&quot;-  &quot;;&quot; &quot;@&quot; &quot;">
                  <c:v>0</c:v>
                </c:pt>
                <c:pt idx="4986" formatCode="#,##0_);\(#,##0\);&quot;-  &quot;;&quot; &quot;@&quot; &quot;">
                  <c:v>0</c:v>
                </c:pt>
                <c:pt idx="4987" formatCode="#,##0_);\(#,##0\);&quot;-  &quot;;&quot; &quot;@&quot; &quot;">
                  <c:v>0</c:v>
                </c:pt>
                <c:pt idx="4988" formatCode="#,##0_);\(#,##0\);&quot;-  &quot;;&quot; &quot;@&quot; &quot;">
                  <c:v>0</c:v>
                </c:pt>
                <c:pt idx="4989" formatCode="#,##0_);\(#,##0\);&quot;-  &quot;;&quot; &quot;@&quot; &quot;">
                  <c:v>0</c:v>
                </c:pt>
                <c:pt idx="4990" formatCode="#,##0_);\(#,##0\);&quot;-  &quot;;&quot; &quot;@&quot; &quot;">
                  <c:v>0</c:v>
                </c:pt>
                <c:pt idx="4991" formatCode="#,##0_);\(#,##0\);&quot;-  &quot;;&quot; &quot;@&quot; &quot;">
                  <c:v>0</c:v>
                </c:pt>
                <c:pt idx="4992" formatCode="#,##0_);\(#,##0\);&quot;-  &quot;;&quot; &quot;@&quot; &quot;">
                  <c:v>0</c:v>
                </c:pt>
                <c:pt idx="4993" formatCode="#,##0_);\(#,##0\);&quot;-  &quot;;&quot; &quot;@&quot; &quot;">
                  <c:v>0</c:v>
                </c:pt>
                <c:pt idx="4994" formatCode="#,##0_);\(#,##0\);&quot;-  &quot;;&quot; &quot;@&quot; &quot;">
                  <c:v>0</c:v>
                </c:pt>
                <c:pt idx="4995" formatCode="#,##0_);\(#,##0\);&quot;-  &quot;;&quot; &quot;@&quot; &quot;">
                  <c:v>0</c:v>
                </c:pt>
                <c:pt idx="4996" formatCode="#,##0_);\(#,##0\);&quot;-  &quot;;&quot; &quot;@&quot; &quot;">
                  <c:v>0</c:v>
                </c:pt>
                <c:pt idx="4997" formatCode="#,##0_);\(#,##0\);&quot;-  &quot;;&quot; &quot;@&quot; &quot;">
                  <c:v>0</c:v>
                </c:pt>
                <c:pt idx="4998" formatCode="#,##0_);\(#,##0\);&quot;-  &quot;;&quot; &quot;@&quot; &quot;">
                  <c:v>0</c:v>
                </c:pt>
                <c:pt idx="4999" formatCode="#,##0_);\(#,##0\);&quot;-  &quot;;&quot; &quot;@&quot; &quot;">
                  <c:v>0</c:v>
                </c:pt>
                <c:pt idx="5000" formatCode="#,##0_);\(#,##0\);&quot;-  &quot;;&quot; &quot;@&quot; &quot;">
                  <c:v>0</c:v>
                </c:pt>
                <c:pt idx="5001" formatCode="#,##0_);\(#,##0\);&quot;-  &quot;;&quot; &quot;@&quot; &quot;">
                  <c:v>0</c:v>
                </c:pt>
                <c:pt idx="5002" formatCode="#,##0_);\(#,##0\);&quot;-  &quot;;&quot; &quot;@&quot; &quot;">
                  <c:v>0</c:v>
                </c:pt>
                <c:pt idx="5003" formatCode="#,##0_);\(#,##0\);&quot;-  &quot;;&quot; &quot;@&quot; &quot;">
                  <c:v>0</c:v>
                </c:pt>
                <c:pt idx="5004" formatCode="#,##0_);\(#,##0\);&quot;-  &quot;;&quot; &quot;@&quot; &quot;">
                  <c:v>0</c:v>
                </c:pt>
                <c:pt idx="5005" formatCode="#,##0_);\(#,##0\);&quot;-  &quot;;&quot; &quot;@&quot; &quot;">
                  <c:v>0</c:v>
                </c:pt>
                <c:pt idx="5006" formatCode="#,##0_);\(#,##0\);&quot;-  &quot;;&quot; &quot;@&quot; &quot;">
                  <c:v>0</c:v>
                </c:pt>
                <c:pt idx="5007" formatCode="#,##0_);\(#,##0\);&quot;-  &quot;;&quot; &quot;@&quot; &quot;">
                  <c:v>0</c:v>
                </c:pt>
                <c:pt idx="5008" formatCode="#,##0_);\(#,##0\);&quot;-  &quot;;&quot; &quot;@&quot; &quot;">
                  <c:v>0</c:v>
                </c:pt>
                <c:pt idx="5009" formatCode="#,##0_);\(#,##0\);&quot;-  &quot;;&quot; &quot;@&quot; &quot;">
                  <c:v>0</c:v>
                </c:pt>
                <c:pt idx="5010" formatCode="#,##0_);\(#,##0\);&quot;-  &quot;;&quot; &quot;@&quot; &quot;">
                  <c:v>0</c:v>
                </c:pt>
                <c:pt idx="5011" formatCode="#,##0_);\(#,##0\);&quot;-  &quot;;&quot; &quot;@&quot; &quot;">
                  <c:v>0</c:v>
                </c:pt>
                <c:pt idx="5012" formatCode="#,##0_);\(#,##0\);&quot;-  &quot;;&quot; &quot;@&quot; &quot;">
                  <c:v>0</c:v>
                </c:pt>
                <c:pt idx="5013" formatCode="#,##0_);\(#,##0\);&quot;-  &quot;;&quot; &quot;@&quot; &quot;">
                  <c:v>0</c:v>
                </c:pt>
                <c:pt idx="5014" formatCode="#,##0_);\(#,##0\);&quot;-  &quot;;&quot; &quot;@&quot; &quot;">
                  <c:v>0</c:v>
                </c:pt>
                <c:pt idx="5015" formatCode="#,##0_);\(#,##0\);&quot;-  &quot;;&quot; &quot;@&quot; &quot;">
                  <c:v>0</c:v>
                </c:pt>
                <c:pt idx="5016" formatCode="#,##0_);\(#,##0\);&quot;-  &quot;;&quot; &quot;@&quot; &quot;">
                  <c:v>0</c:v>
                </c:pt>
                <c:pt idx="5017" formatCode="#,##0_);\(#,##0\);&quot;-  &quot;;&quot; &quot;@&quot; &quot;">
                  <c:v>0</c:v>
                </c:pt>
                <c:pt idx="5018" formatCode="#,##0_);\(#,##0\);&quot;-  &quot;;&quot; &quot;@&quot; &quot;">
                  <c:v>0</c:v>
                </c:pt>
                <c:pt idx="5019" formatCode="#,##0_);\(#,##0\);&quot;-  &quot;;&quot; &quot;@&quot; &quot;">
                  <c:v>0</c:v>
                </c:pt>
                <c:pt idx="5020" formatCode="#,##0_);\(#,##0\);&quot;-  &quot;;&quot; &quot;@&quot; &quot;">
                  <c:v>0</c:v>
                </c:pt>
                <c:pt idx="5021" formatCode="#,##0_);\(#,##0\);&quot;-  &quot;;&quot; &quot;@&quot; &quot;">
                  <c:v>0</c:v>
                </c:pt>
                <c:pt idx="5022" formatCode="#,##0_);\(#,##0\);&quot;-  &quot;;&quot; &quot;@&quot; &quot;">
                  <c:v>0</c:v>
                </c:pt>
                <c:pt idx="5023" formatCode="#,##0_);\(#,##0\);&quot;-  &quot;;&quot; &quot;@&quot; &quot;">
                  <c:v>0</c:v>
                </c:pt>
                <c:pt idx="5024" formatCode="#,##0_);\(#,##0\);&quot;-  &quot;;&quot; &quot;@&quot; &quot;">
                  <c:v>0</c:v>
                </c:pt>
                <c:pt idx="5025" formatCode="#,##0_);\(#,##0\);&quot;-  &quot;;&quot; &quot;@&quot; &quot;">
                  <c:v>0</c:v>
                </c:pt>
                <c:pt idx="5026" formatCode="#,##0_);\(#,##0\);&quot;-  &quot;;&quot; &quot;@&quot; &quot;">
                  <c:v>0</c:v>
                </c:pt>
                <c:pt idx="5027" formatCode="#,##0_);\(#,##0\);&quot;-  &quot;;&quot; &quot;@&quot; &quot;">
                  <c:v>0</c:v>
                </c:pt>
                <c:pt idx="5028" formatCode="#,##0_);\(#,##0\);&quot;-  &quot;;&quot; &quot;@&quot; &quot;">
                  <c:v>0</c:v>
                </c:pt>
                <c:pt idx="5029" formatCode="#,##0_);\(#,##0\);&quot;-  &quot;;&quot; &quot;@&quot; &quot;">
                  <c:v>0</c:v>
                </c:pt>
                <c:pt idx="5030" formatCode="#,##0_);\(#,##0\);&quot;-  &quot;;&quot; &quot;@&quot; &quot;">
                  <c:v>0</c:v>
                </c:pt>
                <c:pt idx="5031" formatCode="#,##0_);\(#,##0\);&quot;-  &quot;;&quot; &quot;@&quot; &quot;">
                  <c:v>0</c:v>
                </c:pt>
                <c:pt idx="5032" formatCode="#,##0_);\(#,##0\);&quot;-  &quot;;&quot; &quot;@&quot; &quot;">
                  <c:v>0</c:v>
                </c:pt>
                <c:pt idx="5033" formatCode="#,##0_);\(#,##0\);&quot;-  &quot;;&quot; &quot;@&quot; &quot;">
                  <c:v>0</c:v>
                </c:pt>
                <c:pt idx="5034" formatCode="#,##0_);\(#,##0\);&quot;-  &quot;;&quot; &quot;@&quot; &quot;">
                  <c:v>0</c:v>
                </c:pt>
                <c:pt idx="5035" formatCode="#,##0_);\(#,##0\);&quot;-  &quot;;&quot; &quot;@&quot; &quot;">
                  <c:v>0</c:v>
                </c:pt>
                <c:pt idx="5036" formatCode="#,##0_);\(#,##0\);&quot;-  &quot;;&quot; &quot;@&quot; &quot;">
                  <c:v>0</c:v>
                </c:pt>
                <c:pt idx="5037" formatCode="#,##0_);\(#,##0\);&quot;-  &quot;;&quot; &quot;@&quot; &quot;">
                  <c:v>0</c:v>
                </c:pt>
                <c:pt idx="5038" formatCode="#,##0_);\(#,##0\);&quot;-  &quot;;&quot; &quot;@&quot; &quot;">
                  <c:v>0</c:v>
                </c:pt>
                <c:pt idx="5039" formatCode="#,##0_);\(#,##0\);&quot;-  &quot;;&quot; &quot;@&quot; &quot;">
                  <c:v>0</c:v>
                </c:pt>
                <c:pt idx="5040" formatCode="#,##0_);\(#,##0\);&quot;-  &quot;;&quot; &quot;@&quot; &quot;">
                  <c:v>0</c:v>
                </c:pt>
                <c:pt idx="5041" formatCode="#,##0_);\(#,##0\);&quot;-  &quot;;&quot; &quot;@&quot; &quot;">
                  <c:v>0</c:v>
                </c:pt>
                <c:pt idx="5042" formatCode="#,##0_);\(#,##0\);&quot;-  &quot;;&quot; &quot;@&quot; &quot;">
                  <c:v>0</c:v>
                </c:pt>
                <c:pt idx="5043" formatCode="#,##0_);\(#,##0\);&quot;-  &quot;;&quot; &quot;@&quot; &quot;">
                  <c:v>0</c:v>
                </c:pt>
                <c:pt idx="5044" formatCode="#,##0_);\(#,##0\);&quot;-  &quot;;&quot; &quot;@&quot; &quot;">
                  <c:v>0</c:v>
                </c:pt>
                <c:pt idx="5045" formatCode="#,##0_);\(#,##0\);&quot;-  &quot;;&quot; &quot;@&quot; &quot;">
                  <c:v>0</c:v>
                </c:pt>
                <c:pt idx="5046" formatCode="#,##0_);\(#,##0\);&quot;-  &quot;;&quot; &quot;@&quot; &quot;">
                  <c:v>0</c:v>
                </c:pt>
                <c:pt idx="5047" formatCode="#,##0_);\(#,##0\);&quot;-  &quot;;&quot; &quot;@&quot; &quot;">
                  <c:v>0</c:v>
                </c:pt>
                <c:pt idx="5048" formatCode="#,##0_);\(#,##0\);&quot;-  &quot;;&quot; &quot;@&quot; &quot;">
                  <c:v>0</c:v>
                </c:pt>
                <c:pt idx="5049" formatCode="#,##0_);\(#,##0\);&quot;-  &quot;;&quot; &quot;@&quot; &quot;">
                  <c:v>0</c:v>
                </c:pt>
                <c:pt idx="5050" formatCode="#,##0_);\(#,##0\);&quot;-  &quot;;&quot; &quot;@&quot; &quot;">
                  <c:v>0</c:v>
                </c:pt>
                <c:pt idx="5051" formatCode="#,##0_);\(#,##0\);&quot;-  &quot;;&quot; &quot;@&quot; &quot;">
                  <c:v>0</c:v>
                </c:pt>
                <c:pt idx="5052" formatCode="#,##0_);\(#,##0\);&quot;-  &quot;;&quot; &quot;@&quot; &quot;">
                  <c:v>0</c:v>
                </c:pt>
                <c:pt idx="5053" formatCode="#,##0_);\(#,##0\);&quot;-  &quot;;&quot; &quot;@&quot; &quot;">
                  <c:v>0</c:v>
                </c:pt>
                <c:pt idx="5054" formatCode="#,##0_);\(#,##0\);&quot;-  &quot;;&quot; &quot;@&quot; &quot;">
                  <c:v>0</c:v>
                </c:pt>
                <c:pt idx="5055" formatCode="#,##0_);\(#,##0\);&quot;-  &quot;;&quot; &quot;@&quot; &quot;">
                  <c:v>0</c:v>
                </c:pt>
                <c:pt idx="5056" formatCode="#,##0_);\(#,##0\);&quot;-  &quot;;&quot; &quot;@&quot; &quot;">
                  <c:v>0</c:v>
                </c:pt>
                <c:pt idx="5057" formatCode="#,##0_);\(#,##0\);&quot;-  &quot;;&quot; &quot;@&quot; &quot;">
                  <c:v>0</c:v>
                </c:pt>
                <c:pt idx="5058" formatCode="#,##0_);\(#,##0\);&quot;-  &quot;;&quot; &quot;@&quot; &quot;">
                  <c:v>0</c:v>
                </c:pt>
                <c:pt idx="5059" formatCode="#,##0_);\(#,##0\);&quot;-  &quot;;&quot; &quot;@&quot; &quot;">
                  <c:v>0</c:v>
                </c:pt>
                <c:pt idx="5060" formatCode="#,##0_);\(#,##0\);&quot;-  &quot;;&quot; &quot;@&quot; &quot;">
                  <c:v>0</c:v>
                </c:pt>
                <c:pt idx="5061" formatCode="#,##0_);\(#,##0\);&quot;-  &quot;;&quot; &quot;@&quot; &quot;">
                  <c:v>0</c:v>
                </c:pt>
                <c:pt idx="5062" formatCode="#,##0_);\(#,##0\);&quot;-  &quot;;&quot; &quot;@&quot; &quot;">
                  <c:v>0</c:v>
                </c:pt>
                <c:pt idx="5063" formatCode="#,##0_);\(#,##0\);&quot;-  &quot;;&quot; &quot;@&quot; &quot;">
                  <c:v>0</c:v>
                </c:pt>
                <c:pt idx="5064" formatCode="#,##0_);\(#,##0\);&quot;-  &quot;;&quot; &quot;@&quot; &quot;">
                  <c:v>0</c:v>
                </c:pt>
                <c:pt idx="5065" formatCode="#,##0_);\(#,##0\);&quot;-  &quot;;&quot; &quot;@&quot; &quot;">
                  <c:v>0</c:v>
                </c:pt>
                <c:pt idx="5066" formatCode="#,##0_);\(#,##0\);&quot;-  &quot;;&quot; &quot;@&quot; &quot;">
                  <c:v>0</c:v>
                </c:pt>
                <c:pt idx="5067" formatCode="#,##0_);\(#,##0\);&quot;-  &quot;;&quot; &quot;@&quot; &quot;">
                  <c:v>0</c:v>
                </c:pt>
                <c:pt idx="5068" formatCode="#,##0_);\(#,##0\);&quot;-  &quot;;&quot; &quot;@&quot; &quot;">
                  <c:v>0</c:v>
                </c:pt>
                <c:pt idx="5069" formatCode="#,##0_);\(#,##0\);&quot;-  &quot;;&quot; &quot;@&quot; &quot;">
                  <c:v>0</c:v>
                </c:pt>
                <c:pt idx="5070" formatCode="#,##0_);\(#,##0\);&quot;-  &quot;;&quot; &quot;@&quot; &quot;">
                  <c:v>0</c:v>
                </c:pt>
                <c:pt idx="5071" formatCode="#,##0_);\(#,##0\);&quot;-  &quot;;&quot; &quot;@&quot; &quot;">
                  <c:v>0</c:v>
                </c:pt>
                <c:pt idx="5072" formatCode="#,##0_);\(#,##0\);&quot;-  &quot;;&quot; &quot;@&quot; &quot;">
                  <c:v>0</c:v>
                </c:pt>
                <c:pt idx="5073" formatCode="#,##0_);\(#,##0\);&quot;-  &quot;;&quot; &quot;@&quot; &quot;">
                  <c:v>0</c:v>
                </c:pt>
                <c:pt idx="5074" formatCode="#,##0_);\(#,##0\);&quot;-  &quot;;&quot; &quot;@&quot; &quot;">
                  <c:v>0</c:v>
                </c:pt>
                <c:pt idx="5075" formatCode="#,##0_);\(#,##0\);&quot;-  &quot;;&quot; &quot;@&quot; &quot;">
                  <c:v>0</c:v>
                </c:pt>
                <c:pt idx="5076" formatCode="#,##0_);\(#,##0\);&quot;-  &quot;;&quot; &quot;@&quot; &quot;">
                  <c:v>0</c:v>
                </c:pt>
                <c:pt idx="5077" formatCode="#,##0_);\(#,##0\);&quot;-  &quot;;&quot; &quot;@&quot; &quot;">
                  <c:v>0</c:v>
                </c:pt>
                <c:pt idx="5078" formatCode="#,##0_);\(#,##0\);&quot;-  &quot;;&quot; &quot;@&quot; &quot;">
                  <c:v>0</c:v>
                </c:pt>
                <c:pt idx="5079" formatCode="#,##0_);\(#,##0\);&quot;-  &quot;;&quot; &quot;@&quot; &quot;">
                  <c:v>0</c:v>
                </c:pt>
                <c:pt idx="5080" formatCode="#,##0_);\(#,##0\);&quot;-  &quot;;&quot; &quot;@&quot; &quot;">
                  <c:v>0</c:v>
                </c:pt>
                <c:pt idx="5081" formatCode="#,##0_);\(#,##0\);&quot;-  &quot;;&quot; &quot;@&quot; &quot;">
                  <c:v>0</c:v>
                </c:pt>
                <c:pt idx="5082" formatCode="#,##0_);\(#,##0\);&quot;-  &quot;;&quot; &quot;@&quot; &quot;">
                  <c:v>0</c:v>
                </c:pt>
                <c:pt idx="5083" formatCode="#,##0_);\(#,##0\);&quot;-  &quot;;&quot; &quot;@&quot; &quot;">
                  <c:v>0</c:v>
                </c:pt>
                <c:pt idx="5084" formatCode="#,##0_);\(#,##0\);&quot;-  &quot;;&quot; &quot;@&quot; &quot;">
                  <c:v>0</c:v>
                </c:pt>
                <c:pt idx="5085" formatCode="#,##0_);\(#,##0\);&quot;-  &quot;;&quot; &quot;@&quot; &quot;">
                  <c:v>0</c:v>
                </c:pt>
                <c:pt idx="5086" formatCode="#,##0_);\(#,##0\);&quot;-  &quot;;&quot; &quot;@&quot; &quot;">
                  <c:v>0</c:v>
                </c:pt>
                <c:pt idx="5087" formatCode="#,##0_);\(#,##0\);&quot;-  &quot;;&quot; &quot;@&quot; &quot;">
                  <c:v>0</c:v>
                </c:pt>
                <c:pt idx="5088" formatCode="#,##0_);\(#,##0\);&quot;-  &quot;;&quot; &quot;@&quot; &quot;">
                  <c:v>0</c:v>
                </c:pt>
                <c:pt idx="5089" formatCode="#,##0_);\(#,##0\);&quot;-  &quot;;&quot; &quot;@&quot; &quot;">
                  <c:v>0</c:v>
                </c:pt>
                <c:pt idx="5090" formatCode="#,##0_);\(#,##0\);&quot;-  &quot;;&quot; &quot;@&quot; &quot;">
                  <c:v>0</c:v>
                </c:pt>
                <c:pt idx="5091" formatCode="#,##0_);\(#,##0\);&quot;-  &quot;;&quot; &quot;@&quot; &quot;">
                  <c:v>0</c:v>
                </c:pt>
                <c:pt idx="5092" formatCode="#,##0_);\(#,##0\);&quot;-  &quot;;&quot; &quot;@&quot; &quot;">
                  <c:v>0</c:v>
                </c:pt>
                <c:pt idx="5093" formatCode="#,##0_);\(#,##0\);&quot;-  &quot;;&quot; &quot;@&quot; &quot;">
                  <c:v>0</c:v>
                </c:pt>
                <c:pt idx="5094" formatCode="#,##0_);\(#,##0\);&quot;-  &quot;;&quot; &quot;@&quot; &quot;">
                  <c:v>0</c:v>
                </c:pt>
                <c:pt idx="5095" formatCode="#,##0_);\(#,##0\);&quot;-  &quot;;&quot; &quot;@&quot; &quot;">
                  <c:v>0</c:v>
                </c:pt>
                <c:pt idx="5096" formatCode="#,##0_);\(#,##0\);&quot;-  &quot;;&quot; &quot;@&quot; &quot;">
                  <c:v>0</c:v>
                </c:pt>
                <c:pt idx="5097" formatCode="#,##0_);\(#,##0\);&quot;-  &quot;;&quot; &quot;@&quot; &quot;">
                  <c:v>0</c:v>
                </c:pt>
                <c:pt idx="5098" formatCode="#,##0_);\(#,##0\);&quot;-  &quot;;&quot; &quot;@&quot; &quot;">
                  <c:v>0</c:v>
                </c:pt>
                <c:pt idx="5099" formatCode="#,##0_);\(#,##0\);&quot;-  &quot;;&quot; &quot;@&quot; &quot;">
                  <c:v>0</c:v>
                </c:pt>
                <c:pt idx="5100" formatCode="#,##0_);\(#,##0\);&quot;-  &quot;;&quot; &quot;@&quot; &quot;">
                  <c:v>0</c:v>
                </c:pt>
                <c:pt idx="5101" formatCode="#,##0_);\(#,##0\);&quot;-  &quot;;&quot; &quot;@&quot; &quot;">
                  <c:v>0</c:v>
                </c:pt>
                <c:pt idx="5102" formatCode="#,##0_);\(#,##0\);&quot;-  &quot;;&quot; &quot;@&quot; &quot;">
                  <c:v>0</c:v>
                </c:pt>
                <c:pt idx="5103" formatCode="#,##0_);\(#,##0\);&quot;-  &quot;;&quot; &quot;@&quot; &quot;">
                  <c:v>0</c:v>
                </c:pt>
                <c:pt idx="5104" formatCode="#,##0_);\(#,##0\);&quot;-  &quot;;&quot; &quot;@&quot; &quot;">
                  <c:v>0</c:v>
                </c:pt>
                <c:pt idx="5105" formatCode="#,##0_);\(#,##0\);&quot;-  &quot;;&quot; &quot;@&quot; &quot;">
                  <c:v>0</c:v>
                </c:pt>
                <c:pt idx="5106" formatCode="#,##0_);\(#,##0\);&quot;-  &quot;;&quot; &quot;@&quot; &quot;">
                  <c:v>0</c:v>
                </c:pt>
                <c:pt idx="5107" formatCode="#,##0_);\(#,##0\);&quot;-  &quot;;&quot; &quot;@&quot; &quot;">
                  <c:v>0</c:v>
                </c:pt>
                <c:pt idx="5108" formatCode="#,##0_);\(#,##0\);&quot;-  &quot;;&quot; &quot;@&quot; &quot;">
                  <c:v>0</c:v>
                </c:pt>
                <c:pt idx="5109" formatCode="#,##0_);\(#,##0\);&quot;-  &quot;;&quot; &quot;@&quot; &quot;">
                  <c:v>0</c:v>
                </c:pt>
                <c:pt idx="5110" formatCode="#,##0_);\(#,##0\);&quot;-  &quot;;&quot; &quot;@&quot; &quot;">
                  <c:v>0</c:v>
                </c:pt>
                <c:pt idx="5111" formatCode="#,##0_);\(#,##0\);&quot;-  &quot;;&quot; &quot;@&quot; &quot;">
                  <c:v>0</c:v>
                </c:pt>
                <c:pt idx="5112" formatCode="#,##0_);\(#,##0\);&quot;-  &quot;;&quot; &quot;@&quot; &quot;">
                  <c:v>0</c:v>
                </c:pt>
                <c:pt idx="5113" formatCode="#,##0_);\(#,##0\);&quot;-  &quot;;&quot; &quot;@&quot; &quot;">
                  <c:v>0</c:v>
                </c:pt>
                <c:pt idx="5114" formatCode="#,##0_);\(#,##0\);&quot;-  &quot;;&quot; &quot;@&quot; &quot;">
                  <c:v>0</c:v>
                </c:pt>
                <c:pt idx="5115" formatCode="#,##0_);\(#,##0\);&quot;-  &quot;;&quot; &quot;@&quot; &quot;">
                  <c:v>0</c:v>
                </c:pt>
                <c:pt idx="5116" formatCode="#,##0_);\(#,##0\);&quot;-  &quot;;&quot; &quot;@&quot; &quot;">
                  <c:v>0</c:v>
                </c:pt>
                <c:pt idx="5117" formatCode="#,##0_);\(#,##0\);&quot;-  &quot;;&quot; &quot;@&quot; &quot;">
                  <c:v>0</c:v>
                </c:pt>
                <c:pt idx="5118" formatCode="#,##0_);\(#,##0\);&quot;-  &quot;;&quot; &quot;@&quot; &quot;">
                  <c:v>0</c:v>
                </c:pt>
                <c:pt idx="5119" formatCode="#,##0_);\(#,##0\);&quot;-  &quot;;&quot; &quot;@&quot; &quot;">
                  <c:v>0</c:v>
                </c:pt>
                <c:pt idx="5120" formatCode="#,##0_);\(#,##0\);&quot;-  &quot;;&quot; &quot;@&quot; &quot;">
                  <c:v>0</c:v>
                </c:pt>
                <c:pt idx="5121" formatCode="#,##0_);\(#,##0\);&quot;-  &quot;;&quot; &quot;@&quot; &quot;">
                  <c:v>0</c:v>
                </c:pt>
                <c:pt idx="5122" formatCode="#,##0_);\(#,##0\);&quot;-  &quot;;&quot; &quot;@&quot; &quot;">
                  <c:v>0</c:v>
                </c:pt>
                <c:pt idx="5123" formatCode="#,##0_);\(#,##0\);&quot;-  &quot;;&quot; &quot;@&quot; &quot;">
                  <c:v>0</c:v>
                </c:pt>
                <c:pt idx="5124" formatCode="#,##0_);\(#,##0\);&quot;-  &quot;;&quot; &quot;@&quot; &quot;">
                  <c:v>0</c:v>
                </c:pt>
                <c:pt idx="5125" formatCode="#,##0_);\(#,##0\);&quot;-  &quot;;&quot; &quot;@&quot; &quot;">
                  <c:v>0</c:v>
                </c:pt>
                <c:pt idx="5126" formatCode="#,##0_);\(#,##0\);&quot;-  &quot;;&quot; &quot;@&quot; &quot;">
                  <c:v>0</c:v>
                </c:pt>
                <c:pt idx="5127" formatCode="#,##0_);\(#,##0\);&quot;-  &quot;;&quot; &quot;@&quot; &quot;">
                  <c:v>0</c:v>
                </c:pt>
                <c:pt idx="5128" formatCode="#,##0_);\(#,##0\);&quot;-  &quot;;&quot; &quot;@&quot; &quot;">
                  <c:v>0</c:v>
                </c:pt>
                <c:pt idx="5129" formatCode="#,##0_);\(#,##0\);&quot;-  &quot;;&quot; &quot;@&quot; &quot;">
                  <c:v>0</c:v>
                </c:pt>
                <c:pt idx="5130" formatCode="#,##0_);\(#,##0\);&quot;-  &quot;;&quot; &quot;@&quot; &quot;">
                  <c:v>0</c:v>
                </c:pt>
                <c:pt idx="5131" formatCode="#,##0_);\(#,##0\);&quot;-  &quot;;&quot; &quot;@&quot; &quot;">
                  <c:v>0</c:v>
                </c:pt>
                <c:pt idx="5132" formatCode="#,##0_);\(#,##0\);&quot;-  &quot;;&quot; &quot;@&quot; &quot;">
                  <c:v>0</c:v>
                </c:pt>
                <c:pt idx="5133" formatCode="#,##0_);\(#,##0\);&quot;-  &quot;;&quot; &quot;@&quot; &quot;">
                  <c:v>0</c:v>
                </c:pt>
                <c:pt idx="5134" formatCode="#,##0_);\(#,##0\);&quot;-  &quot;;&quot; &quot;@&quot; &quot;">
                  <c:v>0</c:v>
                </c:pt>
                <c:pt idx="5135" formatCode="#,##0_);\(#,##0\);&quot;-  &quot;;&quot; &quot;@&quot; &quot;">
                  <c:v>0</c:v>
                </c:pt>
                <c:pt idx="5136" formatCode="#,##0_);\(#,##0\);&quot;-  &quot;;&quot; &quot;@&quot; &quot;">
                  <c:v>0</c:v>
                </c:pt>
                <c:pt idx="5137" formatCode="#,##0_);\(#,##0\);&quot;-  &quot;;&quot; &quot;@&quot; &quot;">
                  <c:v>0</c:v>
                </c:pt>
                <c:pt idx="5138" formatCode="#,##0_);\(#,##0\);&quot;-  &quot;;&quot; &quot;@&quot; &quot;">
                  <c:v>0</c:v>
                </c:pt>
                <c:pt idx="5139" formatCode="#,##0_);\(#,##0\);&quot;-  &quot;;&quot; &quot;@&quot; &quot;">
                  <c:v>0</c:v>
                </c:pt>
                <c:pt idx="5140" formatCode="#,##0_);\(#,##0\);&quot;-  &quot;;&quot; &quot;@&quot; &quot;">
                  <c:v>0</c:v>
                </c:pt>
                <c:pt idx="5141" formatCode="#,##0_);\(#,##0\);&quot;-  &quot;;&quot; &quot;@&quot; &quot;">
                  <c:v>0</c:v>
                </c:pt>
                <c:pt idx="5142" formatCode="#,##0_);\(#,##0\);&quot;-  &quot;;&quot; &quot;@&quot; &quot;">
                  <c:v>0</c:v>
                </c:pt>
                <c:pt idx="5143" formatCode="#,##0_);\(#,##0\);&quot;-  &quot;;&quot; &quot;@&quot; &quot;">
                  <c:v>0</c:v>
                </c:pt>
                <c:pt idx="5144" formatCode="#,##0_);\(#,##0\);&quot;-  &quot;;&quot; &quot;@&quot; &quot;">
                  <c:v>0</c:v>
                </c:pt>
                <c:pt idx="5145" formatCode="#,##0_);\(#,##0\);&quot;-  &quot;;&quot; &quot;@&quot; &quot;">
                  <c:v>0</c:v>
                </c:pt>
                <c:pt idx="5146" formatCode="#,##0_);\(#,##0\);&quot;-  &quot;;&quot; &quot;@&quot; &quot;">
                  <c:v>0</c:v>
                </c:pt>
                <c:pt idx="5147" formatCode="#,##0_);\(#,##0\);&quot;-  &quot;;&quot; &quot;@&quot; &quot;">
                  <c:v>0</c:v>
                </c:pt>
                <c:pt idx="5148" formatCode="#,##0_);\(#,##0\);&quot;-  &quot;;&quot; &quot;@&quot; &quot;">
                  <c:v>0</c:v>
                </c:pt>
                <c:pt idx="5149" formatCode="#,##0_);\(#,##0\);&quot;-  &quot;;&quot; &quot;@&quot; &quot;">
                  <c:v>0</c:v>
                </c:pt>
                <c:pt idx="5150" formatCode="#,##0_);\(#,##0\);&quot;-  &quot;;&quot; &quot;@&quot; &quot;">
                  <c:v>0</c:v>
                </c:pt>
                <c:pt idx="5151" formatCode="#,##0_);\(#,##0\);&quot;-  &quot;;&quot; &quot;@&quot; &quot;">
                  <c:v>0</c:v>
                </c:pt>
                <c:pt idx="5152" formatCode="#,##0_);\(#,##0\);&quot;-  &quot;;&quot; &quot;@&quot; &quot;">
                  <c:v>0</c:v>
                </c:pt>
                <c:pt idx="5153" formatCode="#,##0_);\(#,##0\);&quot;-  &quot;;&quot; &quot;@&quot; &quot;">
                  <c:v>0</c:v>
                </c:pt>
                <c:pt idx="5154" formatCode="#,##0_);\(#,##0\);&quot;-  &quot;;&quot; &quot;@&quot; &quot;">
                  <c:v>0</c:v>
                </c:pt>
                <c:pt idx="5155" formatCode="#,##0_);\(#,##0\);&quot;-  &quot;;&quot; &quot;@&quot; &quot;">
                  <c:v>0</c:v>
                </c:pt>
                <c:pt idx="5156" formatCode="#,##0_);\(#,##0\);&quot;-  &quot;;&quot; &quot;@&quot; &quot;">
                  <c:v>0</c:v>
                </c:pt>
                <c:pt idx="5157" formatCode="#,##0_);\(#,##0\);&quot;-  &quot;;&quot; &quot;@&quot; &quot;">
                  <c:v>0</c:v>
                </c:pt>
                <c:pt idx="5158" formatCode="#,##0_);\(#,##0\);&quot;-  &quot;;&quot; &quot;@&quot; &quot;">
                  <c:v>0</c:v>
                </c:pt>
                <c:pt idx="5159" formatCode="#,##0_);\(#,##0\);&quot;-  &quot;;&quot; &quot;@&quot; &quot;">
                  <c:v>0</c:v>
                </c:pt>
                <c:pt idx="5160" formatCode="#,##0_);\(#,##0\);&quot;-  &quot;;&quot; &quot;@&quot; &quot;">
                  <c:v>0</c:v>
                </c:pt>
                <c:pt idx="5161" formatCode="#,##0_);\(#,##0\);&quot;-  &quot;;&quot; &quot;@&quot; &quot;">
                  <c:v>0</c:v>
                </c:pt>
                <c:pt idx="5162" formatCode="#,##0_);\(#,##0\);&quot;-  &quot;;&quot; &quot;@&quot; &quot;">
                  <c:v>0</c:v>
                </c:pt>
                <c:pt idx="5163" formatCode="#,##0_);\(#,##0\);&quot;-  &quot;;&quot; &quot;@&quot; &quot;">
                  <c:v>0</c:v>
                </c:pt>
                <c:pt idx="5164" formatCode="#,##0_);\(#,##0\);&quot;-  &quot;;&quot; &quot;@&quot; &quot;">
                  <c:v>0</c:v>
                </c:pt>
                <c:pt idx="5165" formatCode="#,##0_);\(#,##0\);&quot;-  &quot;;&quot; &quot;@&quot; &quot;">
                  <c:v>0</c:v>
                </c:pt>
                <c:pt idx="5166" formatCode="#,##0_);\(#,##0\);&quot;-  &quot;;&quot; &quot;@&quot; &quot;">
                  <c:v>0</c:v>
                </c:pt>
                <c:pt idx="5167" formatCode="#,##0_);\(#,##0\);&quot;-  &quot;;&quot; &quot;@&quot; &quot;">
                  <c:v>0</c:v>
                </c:pt>
                <c:pt idx="5168" formatCode="#,##0_);\(#,##0\);&quot;-  &quot;;&quot; &quot;@&quot; &quot;">
                  <c:v>0</c:v>
                </c:pt>
                <c:pt idx="5169" formatCode="#,##0_);\(#,##0\);&quot;-  &quot;;&quot; &quot;@&quot; &quot;">
                  <c:v>0</c:v>
                </c:pt>
                <c:pt idx="5170" formatCode="#,##0_);\(#,##0\);&quot;-  &quot;;&quot; &quot;@&quot; &quot;">
                  <c:v>0</c:v>
                </c:pt>
                <c:pt idx="5171" formatCode="#,##0_);\(#,##0\);&quot;-  &quot;;&quot; &quot;@&quot; &quot;">
                  <c:v>0</c:v>
                </c:pt>
                <c:pt idx="5172" formatCode="#,##0_);\(#,##0\);&quot;-  &quot;;&quot; &quot;@&quot; &quot;">
                  <c:v>0</c:v>
                </c:pt>
                <c:pt idx="5173" formatCode="#,##0_);\(#,##0\);&quot;-  &quot;;&quot; &quot;@&quot; &quot;">
                  <c:v>0</c:v>
                </c:pt>
                <c:pt idx="5174" formatCode="#,##0_);\(#,##0\);&quot;-  &quot;;&quot; &quot;@&quot; &quot;">
                  <c:v>0</c:v>
                </c:pt>
                <c:pt idx="5175" formatCode="#,##0_);\(#,##0\);&quot;-  &quot;;&quot; &quot;@&quot; &quot;">
                  <c:v>0</c:v>
                </c:pt>
                <c:pt idx="5176" formatCode="#,##0_);\(#,##0\);&quot;-  &quot;;&quot; &quot;@&quot; &quot;">
                  <c:v>0</c:v>
                </c:pt>
                <c:pt idx="5177" formatCode="#,##0_);\(#,##0\);&quot;-  &quot;;&quot; &quot;@&quot; &quot;">
                  <c:v>0</c:v>
                </c:pt>
                <c:pt idx="5178" formatCode="#,##0_);\(#,##0\);&quot;-  &quot;;&quot; &quot;@&quot; &quot;">
                  <c:v>0</c:v>
                </c:pt>
                <c:pt idx="5179" formatCode="#,##0_);\(#,##0\);&quot;-  &quot;;&quot; &quot;@&quot; &quot;">
                  <c:v>0</c:v>
                </c:pt>
                <c:pt idx="5180" formatCode="#,##0_);\(#,##0\);&quot;-  &quot;;&quot; &quot;@&quot; &quot;">
                  <c:v>0</c:v>
                </c:pt>
                <c:pt idx="5181" formatCode="#,##0_);\(#,##0\);&quot;-  &quot;;&quot; &quot;@&quot; &quot;">
                  <c:v>0</c:v>
                </c:pt>
                <c:pt idx="5182" formatCode="#,##0_);\(#,##0\);&quot;-  &quot;;&quot; &quot;@&quot; &quot;">
                  <c:v>0</c:v>
                </c:pt>
                <c:pt idx="5183" formatCode="#,##0_);\(#,##0\);&quot;-  &quot;;&quot; &quot;@&quot; &quot;">
                  <c:v>0</c:v>
                </c:pt>
                <c:pt idx="5184" formatCode="#,##0_);\(#,##0\);&quot;-  &quot;;&quot; &quot;@&quot; &quot;">
                  <c:v>0</c:v>
                </c:pt>
                <c:pt idx="5185" formatCode="#,##0_);\(#,##0\);&quot;-  &quot;;&quot; &quot;@&quot; &quot;">
                  <c:v>0</c:v>
                </c:pt>
                <c:pt idx="5186" formatCode="#,##0_);\(#,##0\);&quot;-  &quot;;&quot; &quot;@&quot; &quot;">
                  <c:v>0</c:v>
                </c:pt>
                <c:pt idx="5187" formatCode="#,##0_);\(#,##0\);&quot;-  &quot;;&quot; &quot;@&quot; &quot;">
                  <c:v>0</c:v>
                </c:pt>
                <c:pt idx="5188" formatCode="#,##0_);\(#,##0\);&quot;-  &quot;;&quot; &quot;@&quot; &quot;">
                  <c:v>0</c:v>
                </c:pt>
                <c:pt idx="5189" formatCode="#,##0_);\(#,##0\);&quot;-  &quot;;&quot; &quot;@&quot; &quot;">
                  <c:v>0</c:v>
                </c:pt>
                <c:pt idx="5190" formatCode="#,##0_);\(#,##0\);&quot;-  &quot;;&quot; &quot;@&quot; &quot;">
                  <c:v>0</c:v>
                </c:pt>
                <c:pt idx="5191" formatCode="#,##0_);\(#,##0\);&quot;-  &quot;;&quot; &quot;@&quot; &quot;">
                  <c:v>0</c:v>
                </c:pt>
                <c:pt idx="5192" formatCode="#,##0_);\(#,##0\);&quot;-  &quot;;&quot; &quot;@&quot; &quot;">
                  <c:v>0</c:v>
                </c:pt>
                <c:pt idx="5193" formatCode="#,##0_);\(#,##0\);&quot;-  &quot;;&quot; &quot;@&quot; &quot;">
                  <c:v>0</c:v>
                </c:pt>
                <c:pt idx="5194" formatCode="#,##0_);\(#,##0\);&quot;-  &quot;;&quot; &quot;@&quot; &quot;">
                  <c:v>0</c:v>
                </c:pt>
                <c:pt idx="5195" formatCode="#,##0_);\(#,##0\);&quot;-  &quot;;&quot; &quot;@&quot; &quot;">
                  <c:v>0</c:v>
                </c:pt>
                <c:pt idx="5196" formatCode="#,##0_);\(#,##0\);&quot;-  &quot;;&quot; &quot;@&quot; &quot;">
                  <c:v>0</c:v>
                </c:pt>
                <c:pt idx="5197" formatCode="#,##0_);\(#,##0\);&quot;-  &quot;;&quot; &quot;@&quot; &quot;">
                  <c:v>0</c:v>
                </c:pt>
                <c:pt idx="5198" formatCode="#,##0_);\(#,##0\);&quot;-  &quot;;&quot; &quot;@&quot; &quot;">
                  <c:v>0</c:v>
                </c:pt>
                <c:pt idx="5199" formatCode="#,##0_);\(#,##0\);&quot;-  &quot;;&quot; &quot;@&quot; &quot;">
                  <c:v>0</c:v>
                </c:pt>
                <c:pt idx="5200" formatCode="#,##0_);\(#,##0\);&quot;-  &quot;;&quot; &quot;@&quot; &quot;">
                  <c:v>0</c:v>
                </c:pt>
                <c:pt idx="5201" formatCode="#,##0_);\(#,##0\);&quot;-  &quot;;&quot; &quot;@&quot; &quot;">
                  <c:v>0</c:v>
                </c:pt>
                <c:pt idx="5202" formatCode="#,##0_);\(#,##0\);&quot;-  &quot;;&quot; &quot;@&quot; &quot;">
                  <c:v>0</c:v>
                </c:pt>
                <c:pt idx="5203" formatCode="#,##0_);\(#,##0\);&quot;-  &quot;;&quot; &quot;@&quot; &quot;">
                  <c:v>0</c:v>
                </c:pt>
                <c:pt idx="5204" formatCode="#,##0_);\(#,##0\);&quot;-  &quot;;&quot; &quot;@&quot; &quot;">
                  <c:v>0</c:v>
                </c:pt>
                <c:pt idx="5205" formatCode="#,##0_);\(#,##0\);&quot;-  &quot;;&quot; &quot;@&quot; &quot;">
                  <c:v>0</c:v>
                </c:pt>
                <c:pt idx="5206" formatCode="#,##0_);\(#,##0\);&quot;-  &quot;;&quot; &quot;@&quot; &quot;">
                  <c:v>0</c:v>
                </c:pt>
                <c:pt idx="5207" formatCode="#,##0_);\(#,##0\);&quot;-  &quot;;&quot; &quot;@&quot; &quot;">
                  <c:v>0</c:v>
                </c:pt>
                <c:pt idx="5208" formatCode="#,##0_);\(#,##0\);&quot;-  &quot;;&quot; &quot;@&quot; &quot;">
                  <c:v>0</c:v>
                </c:pt>
                <c:pt idx="5209" formatCode="#,##0_);\(#,##0\);&quot;-  &quot;;&quot; &quot;@&quot; &quot;">
                  <c:v>0</c:v>
                </c:pt>
                <c:pt idx="5210" formatCode="#,##0_);\(#,##0\);&quot;-  &quot;;&quot; &quot;@&quot; &quot;">
                  <c:v>0</c:v>
                </c:pt>
                <c:pt idx="5211" formatCode="#,##0_);\(#,##0\);&quot;-  &quot;;&quot; &quot;@&quot; &quot;">
                  <c:v>0</c:v>
                </c:pt>
                <c:pt idx="5212" formatCode="#,##0_);\(#,##0\);&quot;-  &quot;;&quot; &quot;@&quot; &quot;">
                  <c:v>0</c:v>
                </c:pt>
                <c:pt idx="5213" formatCode="#,##0_);\(#,##0\);&quot;-  &quot;;&quot; &quot;@&quot; &quot;">
                  <c:v>0</c:v>
                </c:pt>
                <c:pt idx="5214" formatCode="#,##0_);\(#,##0\);&quot;-  &quot;;&quot; &quot;@&quot; &quot;">
                  <c:v>0</c:v>
                </c:pt>
                <c:pt idx="5215" formatCode="#,##0_);\(#,##0\);&quot;-  &quot;;&quot; &quot;@&quot; &quot;">
                  <c:v>0</c:v>
                </c:pt>
                <c:pt idx="5216" formatCode="#,##0_);\(#,##0\);&quot;-  &quot;;&quot; &quot;@&quot; &quot;">
                  <c:v>0</c:v>
                </c:pt>
                <c:pt idx="5217" formatCode="#,##0_);\(#,##0\);&quot;-  &quot;;&quot; &quot;@&quot; &quot;">
                  <c:v>0</c:v>
                </c:pt>
                <c:pt idx="5218" formatCode="#,##0_);\(#,##0\);&quot;-  &quot;;&quot; &quot;@&quot; &quot;">
                  <c:v>0</c:v>
                </c:pt>
                <c:pt idx="5219" formatCode="#,##0_);\(#,##0\);&quot;-  &quot;;&quot; &quot;@&quot; &quot;">
                  <c:v>0</c:v>
                </c:pt>
                <c:pt idx="5220" formatCode="#,##0_);\(#,##0\);&quot;-  &quot;;&quot; &quot;@&quot; &quot;">
                  <c:v>0</c:v>
                </c:pt>
                <c:pt idx="5221" formatCode="#,##0_);\(#,##0\);&quot;-  &quot;;&quot; &quot;@&quot; &quot;">
                  <c:v>0</c:v>
                </c:pt>
                <c:pt idx="5222" formatCode="#,##0_);\(#,##0\);&quot;-  &quot;;&quot; &quot;@&quot; &quot;">
                  <c:v>0</c:v>
                </c:pt>
                <c:pt idx="5223" formatCode="#,##0_);\(#,##0\);&quot;-  &quot;;&quot; &quot;@&quot; &quot;">
                  <c:v>0</c:v>
                </c:pt>
                <c:pt idx="5224" formatCode="#,##0_);\(#,##0\);&quot;-  &quot;;&quot; &quot;@&quot; &quot;">
                  <c:v>0</c:v>
                </c:pt>
                <c:pt idx="5225" formatCode="#,##0_);\(#,##0\);&quot;-  &quot;;&quot; &quot;@&quot; &quot;">
                  <c:v>0</c:v>
                </c:pt>
                <c:pt idx="5226" formatCode="#,##0_);\(#,##0\);&quot;-  &quot;;&quot; &quot;@&quot; &quot;">
                  <c:v>0</c:v>
                </c:pt>
                <c:pt idx="5227" formatCode="#,##0_);\(#,##0\);&quot;-  &quot;;&quot; &quot;@&quot; &quot;">
                  <c:v>0</c:v>
                </c:pt>
                <c:pt idx="5228" formatCode="#,##0_);\(#,##0\);&quot;-  &quot;;&quot; &quot;@&quot; &quot;">
                  <c:v>0</c:v>
                </c:pt>
                <c:pt idx="5229" formatCode="#,##0_);\(#,##0\);&quot;-  &quot;;&quot; &quot;@&quot; &quot;">
                  <c:v>0</c:v>
                </c:pt>
                <c:pt idx="5230" formatCode="#,##0_);\(#,##0\);&quot;-  &quot;;&quot; &quot;@&quot; &quot;">
                  <c:v>0</c:v>
                </c:pt>
                <c:pt idx="5231" formatCode="#,##0_);\(#,##0\);&quot;-  &quot;;&quot; &quot;@&quot; &quot;">
                  <c:v>0</c:v>
                </c:pt>
                <c:pt idx="5232" formatCode="#,##0_);\(#,##0\);&quot;-  &quot;;&quot; &quot;@&quot; &quot;">
                  <c:v>0</c:v>
                </c:pt>
                <c:pt idx="5233" formatCode="#,##0_);\(#,##0\);&quot;-  &quot;;&quot; &quot;@&quot; &quot;">
                  <c:v>0</c:v>
                </c:pt>
                <c:pt idx="5234" formatCode="#,##0_);\(#,##0\);&quot;-  &quot;;&quot; &quot;@&quot; &quot;">
                  <c:v>0</c:v>
                </c:pt>
                <c:pt idx="5235" formatCode="#,##0_);\(#,##0\);&quot;-  &quot;;&quot; &quot;@&quot; &quot;">
                  <c:v>0</c:v>
                </c:pt>
                <c:pt idx="5236" formatCode="#,##0_);\(#,##0\);&quot;-  &quot;;&quot; &quot;@&quot; &quot;">
                  <c:v>0</c:v>
                </c:pt>
                <c:pt idx="5237" formatCode="#,##0_);\(#,##0\);&quot;-  &quot;;&quot; &quot;@&quot; &quot;">
                  <c:v>0</c:v>
                </c:pt>
                <c:pt idx="5238" formatCode="#,##0_);\(#,##0\);&quot;-  &quot;;&quot; &quot;@&quot; &quot;">
                  <c:v>0</c:v>
                </c:pt>
                <c:pt idx="5239" formatCode="#,##0_);\(#,##0\);&quot;-  &quot;;&quot; &quot;@&quot; &quot;">
                  <c:v>0</c:v>
                </c:pt>
                <c:pt idx="5240" formatCode="#,##0_);\(#,##0\);&quot;-  &quot;;&quot; &quot;@&quot; &quot;">
                  <c:v>0</c:v>
                </c:pt>
                <c:pt idx="5241" formatCode="#,##0_);\(#,##0\);&quot;-  &quot;;&quot; &quot;@&quot; &quot;">
                  <c:v>0</c:v>
                </c:pt>
                <c:pt idx="5242" formatCode="#,##0_);\(#,##0\);&quot;-  &quot;;&quot; &quot;@&quot; &quot;">
                  <c:v>0</c:v>
                </c:pt>
                <c:pt idx="5243" formatCode="#,##0_);\(#,##0\);&quot;-  &quot;;&quot; &quot;@&quot; &quot;">
                  <c:v>0</c:v>
                </c:pt>
                <c:pt idx="5244" formatCode="#,##0_);\(#,##0\);&quot;-  &quot;;&quot; &quot;@&quot; &quot;">
                  <c:v>0</c:v>
                </c:pt>
                <c:pt idx="5245" formatCode="#,##0_);\(#,##0\);&quot;-  &quot;;&quot; &quot;@&quot; &quot;">
                  <c:v>0</c:v>
                </c:pt>
                <c:pt idx="5246" formatCode="#,##0_);\(#,##0\);&quot;-  &quot;;&quot; &quot;@&quot; &quot;">
                  <c:v>0</c:v>
                </c:pt>
                <c:pt idx="5247" formatCode="#,##0_);\(#,##0\);&quot;-  &quot;;&quot; &quot;@&quot; &quot;">
                  <c:v>0</c:v>
                </c:pt>
                <c:pt idx="5248" formatCode="#,##0_);\(#,##0\);&quot;-  &quot;;&quot; &quot;@&quot; &quot;">
                  <c:v>0</c:v>
                </c:pt>
                <c:pt idx="5249" formatCode="#,##0_);\(#,##0\);&quot;-  &quot;;&quot; &quot;@&quot; &quot;">
                  <c:v>0</c:v>
                </c:pt>
                <c:pt idx="5250" formatCode="#,##0_);\(#,##0\);&quot;-  &quot;;&quot; &quot;@&quot; &quot;">
                  <c:v>0</c:v>
                </c:pt>
                <c:pt idx="5251" formatCode="#,##0_);\(#,##0\);&quot;-  &quot;;&quot; &quot;@&quot; &quot;">
                  <c:v>0</c:v>
                </c:pt>
                <c:pt idx="5252" formatCode="#,##0_);\(#,##0\);&quot;-  &quot;;&quot; &quot;@&quot; &quot;">
                  <c:v>0</c:v>
                </c:pt>
                <c:pt idx="5253" formatCode="#,##0_);\(#,##0\);&quot;-  &quot;;&quot; &quot;@&quot; &quot;">
                  <c:v>0</c:v>
                </c:pt>
                <c:pt idx="5254" formatCode="#,##0_);\(#,##0\);&quot;-  &quot;;&quot; &quot;@&quot; &quot;">
                  <c:v>0</c:v>
                </c:pt>
                <c:pt idx="5255" formatCode="#,##0_);\(#,##0\);&quot;-  &quot;;&quot; &quot;@&quot; &quot;">
                  <c:v>0</c:v>
                </c:pt>
                <c:pt idx="5256" formatCode="#,##0_);\(#,##0\);&quot;-  &quot;;&quot; &quot;@&quot; &quot;">
                  <c:v>0</c:v>
                </c:pt>
                <c:pt idx="5257" formatCode="#,##0_);\(#,##0\);&quot;-  &quot;;&quot; &quot;@&quot; &quot;">
                  <c:v>0</c:v>
                </c:pt>
                <c:pt idx="5258" formatCode="#,##0_);\(#,##0\);&quot;-  &quot;;&quot; &quot;@&quot; &quot;">
                  <c:v>0</c:v>
                </c:pt>
                <c:pt idx="5259" formatCode="#,##0_);\(#,##0\);&quot;-  &quot;;&quot; &quot;@&quot; &quot;">
                  <c:v>0</c:v>
                </c:pt>
                <c:pt idx="5260" formatCode="#,##0_);\(#,##0\);&quot;-  &quot;;&quot; &quot;@&quot; &quot;">
                  <c:v>0</c:v>
                </c:pt>
                <c:pt idx="5261" formatCode="#,##0_);\(#,##0\);&quot;-  &quot;;&quot; &quot;@&quot; &quot;">
                  <c:v>0</c:v>
                </c:pt>
                <c:pt idx="5262" formatCode="#,##0_);\(#,##0\);&quot;-  &quot;;&quot; &quot;@&quot; &quot;">
                  <c:v>0</c:v>
                </c:pt>
                <c:pt idx="5263" formatCode="#,##0_);\(#,##0\);&quot;-  &quot;;&quot; &quot;@&quot; &quot;">
                  <c:v>0</c:v>
                </c:pt>
                <c:pt idx="5264" formatCode="#,##0_);\(#,##0\);&quot;-  &quot;;&quot; &quot;@&quot; &quot;">
                  <c:v>0</c:v>
                </c:pt>
                <c:pt idx="5265" formatCode="#,##0_);\(#,##0\);&quot;-  &quot;;&quot; &quot;@&quot; &quot;">
                  <c:v>0</c:v>
                </c:pt>
                <c:pt idx="5266" formatCode="#,##0_);\(#,##0\);&quot;-  &quot;;&quot; &quot;@&quot; &quot;">
                  <c:v>0</c:v>
                </c:pt>
                <c:pt idx="5267" formatCode="#,##0_);\(#,##0\);&quot;-  &quot;;&quot; &quot;@&quot; &quot;">
                  <c:v>0</c:v>
                </c:pt>
                <c:pt idx="5268" formatCode="#,##0_);\(#,##0\);&quot;-  &quot;;&quot; &quot;@&quot; &quot;">
                  <c:v>0</c:v>
                </c:pt>
                <c:pt idx="5269" formatCode="#,##0_);\(#,##0\);&quot;-  &quot;;&quot; &quot;@&quot; &quot;">
                  <c:v>0</c:v>
                </c:pt>
                <c:pt idx="5270" formatCode="#,##0_);\(#,##0\);&quot;-  &quot;;&quot; &quot;@&quot; &quot;">
                  <c:v>0</c:v>
                </c:pt>
                <c:pt idx="5271" formatCode="#,##0_);\(#,##0\);&quot;-  &quot;;&quot; &quot;@&quot; &quot;">
                  <c:v>0</c:v>
                </c:pt>
                <c:pt idx="5272" formatCode="#,##0_);\(#,##0\);&quot;-  &quot;;&quot; &quot;@&quot; &quot;">
                  <c:v>0</c:v>
                </c:pt>
                <c:pt idx="5273" formatCode="#,##0_);\(#,##0\);&quot;-  &quot;;&quot; &quot;@&quot; &quot;">
                  <c:v>0</c:v>
                </c:pt>
                <c:pt idx="5274" formatCode="#,##0_);\(#,##0\);&quot;-  &quot;;&quot; &quot;@&quot; &quot;">
                  <c:v>0</c:v>
                </c:pt>
                <c:pt idx="5275" formatCode="#,##0_);\(#,##0\);&quot;-  &quot;;&quot; &quot;@&quot; &quot;">
                  <c:v>0</c:v>
                </c:pt>
                <c:pt idx="5276" formatCode="#,##0_);\(#,##0\);&quot;-  &quot;;&quot; &quot;@&quot; &quot;">
                  <c:v>0</c:v>
                </c:pt>
                <c:pt idx="5277" formatCode="#,##0_);\(#,##0\);&quot;-  &quot;;&quot; &quot;@&quot; &quot;">
                  <c:v>0</c:v>
                </c:pt>
                <c:pt idx="5278" formatCode="#,##0_);\(#,##0\);&quot;-  &quot;;&quot; &quot;@&quot; &quot;">
                  <c:v>0</c:v>
                </c:pt>
                <c:pt idx="5279" formatCode="#,##0_);\(#,##0\);&quot;-  &quot;;&quot; &quot;@&quot; &quot;">
                  <c:v>0</c:v>
                </c:pt>
                <c:pt idx="5280" formatCode="#,##0_);\(#,##0\);&quot;-  &quot;;&quot; &quot;@&quot; &quot;">
                  <c:v>0</c:v>
                </c:pt>
                <c:pt idx="5281" formatCode="#,##0_);\(#,##0\);&quot;-  &quot;;&quot; &quot;@&quot; &quot;">
                  <c:v>0</c:v>
                </c:pt>
                <c:pt idx="5282" formatCode="#,##0_);\(#,##0\);&quot;-  &quot;;&quot; &quot;@&quot; &quot;">
                  <c:v>0</c:v>
                </c:pt>
                <c:pt idx="5283" formatCode="#,##0_);\(#,##0\);&quot;-  &quot;;&quot; &quot;@&quot; &quot;">
                  <c:v>0</c:v>
                </c:pt>
                <c:pt idx="5284" formatCode="#,##0_);\(#,##0\);&quot;-  &quot;;&quot; &quot;@&quot; &quot;">
                  <c:v>0</c:v>
                </c:pt>
                <c:pt idx="5285" formatCode="#,##0_);\(#,##0\);&quot;-  &quot;;&quot; &quot;@&quot; &quot;">
                  <c:v>0</c:v>
                </c:pt>
                <c:pt idx="5286" formatCode="#,##0_);\(#,##0\);&quot;-  &quot;;&quot; &quot;@&quot; &quot;">
                  <c:v>0</c:v>
                </c:pt>
                <c:pt idx="5287" formatCode="#,##0_);\(#,##0\);&quot;-  &quot;;&quot; &quot;@&quot; &quot;">
                  <c:v>0</c:v>
                </c:pt>
                <c:pt idx="5288" formatCode="#,##0_);\(#,##0\);&quot;-  &quot;;&quot; &quot;@&quot; &quot;">
                  <c:v>0</c:v>
                </c:pt>
                <c:pt idx="5289" formatCode="#,##0_);\(#,##0\);&quot;-  &quot;;&quot; &quot;@&quot; &quot;">
                  <c:v>0</c:v>
                </c:pt>
                <c:pt idx="5290" formatCode="#,##0_);\(#,##0\);&quot;-  &quot;;&quot; &quot;@&quot; &quot;">
                  <c:v>0</c:v>
                </c:pt>
                <c:pt idx="5291" formatCode="#,##0_);\(#,##0\);&quot;-  &quot;;&quot; &quot;@&quot; &quot;">
                  <c:v>0</c:v>
                </c:pt>
                <c:pt idx="5292" formatCode="#,##0_);\(#,##0\);&quot;-  &quot;;&quot; &quot;@&quot; &quot;">
                  <c:v>0</c:v>
                </c:pt>
                <c:pt idx="5293" formatCode="#,##0_);\(#,##0\);&quot;-  &quot;;&quot; &quot;@&quot; &quot;">
                  <c:v>0</c:v>
                </c:pt>
                <c:pt idx="5294" formatCode="#,##0_);\(#,##0\);&quot;-  &quot;;&quot; &quot;@&quot; &quot;">
                  <c:v>0</c:v>
                </c:pt>
                <c:pt idx="5295" formatCode="#,##0_);\(#,##0\);&quot;-  &quot;;&quot; &quot;@&quot; &quot;">
                  <c:v>0</c:v>
                </c:pt>
                <c:pt idx="5296" formatCode="#,##0_);\(#,##0\);&quot;-  &quot;;&quot; &quot;@&quot; &quot;">
                  <c:v>0</c:v>
                </c:pt>
                <c:pt idx="5297" formatCode="#,##0_);\(#,##0\);&quot;-  &quot;;&quot; &quot;@&quot; &quot;">
                  <c:v>0</c:v>
                </c:pt>
                <c:pt idx="5298" formatCode="#,##0_);\(#,##0\);&quot;-  &quot;;&quot; &quot;@&quot; &quot;">
                  <c:v>0</c:v>
                </c:pt>
                <c:pt idx="5299" formatCode="#,##0_);\(#,##0\);&quot;-  &quot;;&quot; &quot;@&quot; &quot;">
                  <c:v>0</c:v>
                </c:pt>
                <c:pt idx="5300" formatCode="#,##0_);\(#,##0\);&quot;-  &quot;;&quot; &quot;@&quot; &quot;">
                  <c:v>0</c:v>
                </c:pt>
                <c:pt idx="5301" formatCode="#,##0_);\(#,##0\);&quot;-  &quot;;&quot; &quot;@&quot; &quot;">
                  <c:v>0</c:v>
                </c:pt>
                <c:pt idx="5302" formatCode="#,##0_);\(#,##0\);&quot;-  &quot;;&quot; &quot;@&quot; &quot;">
                  <c:v>0</c:v>
                </c:pt>
                <c:pt idx="5303" formatCode="#,##0_);\(#,##0\);&quot;-  &quot;;&quot; &quot;@&quot; &quot;">
                  <c:v>0</c:v>
                </c:pt>
                <c:pt idx="5304" formatCode="#,##0_);\(#,##0\);&quot;-  &quot;;&quot; &quot;@&quot; &quot;">
                  <c:v>0</c:v>
                </c:pt>
                <c:pt idx="5305" formatCode="#,##0_);\(#,##0\);&quot;-  &quot;;&quot; &quot;@&quot; &quot;">
                  <c:v>0</c:v>
                </c:pt>
                <c:pt idx="5306" formatCode="#,##0_);\(#,##0\);&quot;-  &quot;;&quot; &quot;@&quot; &quot;">
                  <c:v>0</c:v>
                </c:pt>
                <c:pt idx="5307" formatCode="#,##0_);\(#,##0\);&quot;-  &quot;;&quot; &quot;@&quot; &quot;">
                  <c:v>0</c:v>
                </c:pt>
                <c:pt idx="5308" formatCode="#,##0_);\(#,##0\);&quot;-  &quot;;&quot; &quot;@&quot; &quot;">
                  <c:v>0</c:v>
                </c:pt>
                <c:pt idx="5309" formatCode="#,##0_);\(#,##0\);&quot;-  &quot;;&quot; &quot;@&quot; &quot;">
                  <c:v>0</c:v>
                </c:pt>
                <c:pt idx="5310" formatCode="#,##0_);\(#,##0\);&quot;-  &quot;;&quot; &quot;@&quot; &quot;">
                  <c:v>0</c:v>
                </c:pt>
                <c:pt idx="5311" formatCode="#,##0_);\(#,##0\);&quot;-  &quot;;&quot; &quot;@&quot; &quot;">
                  <c:v>0</c:v>
                </c:pt>
                <c:pt idx="5312" formatCode="#,##0_);\(#,##0\);&quot;-  &quot;;&quot; &quot;@&quot; &quot;">
                  <c:v>0</c:v>
                </c:pt>
                <c:pt idx="5313" formatCode="#,##0_);\(#,##0\);&quot;-  &quot;;&quot; &quot;@&quot; &quot;">
                  <c:v>0</c:v>
                </c:pt>
                <c:pt idx="5314" formatCode="#,##0_);\(#,##0\);&quot;-  &quot;;&quot; &quot;@&quot; &quot;">
                  <c:v>0</c:v>
                </c:pt>
                <c:pt idx="5315" formatCode="#,##0_);\(#,##0\);&quot;-  &quot;;&quot; &quot;@&quot; &quot;">
                  <c:v>0</c:v>
                </c:pt>
                <c:pt idx="5316" formatCode="#,##0_);\(#,##0\);&quot;-  &quot;;&quot; &quot;@&quot; &quot;">
                  <c:v>0</c:v>
                </c:pt>
                <c:pt idx="5317" formatCode="#,##0_);\(#,##0\);&quot;-  &quot;;&quot; &quot;@&quot; &quot;">
                  <c:v>0</c:v>
                </c:pt>
                <c:pt idx="5318" formatCode="#,##0_);\(#,##0\);&quot;-  &quot;;&quot; &quot;@&quot; &quot;">
                  <c:v>0</c:v>
                </c:pt>
                <c:pt idx="5319" formatCode="#,##0_);\(#,##0\);&quot;-  &quot;;&quot; &quot;@&quot; &quot;">
                  <c:v>0</c:v>
                </c:pt>
                <c:pt idx="5320" formatCode="#,##0_);\(#,##0\);&quot;-  &quot;;&quot; &quot;@&quot; &quot;">
                  <c:v>0</c:v>
                </c:pt>
                <c:pt idx="5321" formatCode="#,##0_);\(#,##0\);&quot;-  &quot;;&quot; &quot;@&quot; &quot;">
                  <c:v>0</c:v>
                </c:pt>
                <c:pt idx="5322" formatCode="#,##0_);\(#,##0\);&quot;-  &quot;;&quot; &quot;@&quot; &quot;">
                  <c:v>0</c:v>
                </c:pt>
                <c:pt idx="5323" formatCode="#,##0_);\(#,##0\);&quot;-  &quot;;&quot; &quot;@&quot; &quot;">
                  <c:v>0</c:v>
                </c:pt>
                <c:pt idx="5324" formatCode="#,##0_);\(#,##0\);&quot;-  &quot;;&quot; &quot;@&quot; &quot;">
                  <c:v>0</c:v>
                </c:pt>
                <c:pt idx="5325" formatCode="#,##0_);\(#,##0\);&quot;-  &quot;;&quot; &quot;@&quot; &quot;">
                  <c:v>0</c:v>
                </c:pt>
                <c:pt idx="5326" formatCode="#,##0_);\(#,##0\);&quot;-  &quot;;&quot; &quot;@&quot; &quot;">
                  <c:v>0</c:v>
                </c:pt>
                <c:pt idx="5327" formatCode="#,##0_);\(#,##0\);&quot;-  &quot;;&quot; &quot;@&quot; &quot;">
                  <c:v>0</c:v>
                </c:pt>
                <c:pt idx="5328" formatCode="#,##0_);\(#,##0\);&quot;-  &quot;;&quot; &quot;@&quot; &quot;">
                  <c:v>0</c:v>
                </c:pt>
                <c:pt idx="5329" formatCode="#,##0_);\(#,##0\);&quot;-  &quot;;&quot; &quot;@&quot; &quot;">
                  <c:v>0</c:v>
                </c:pt>
                <c:pt idx="5330" formatCode="#,##0_);\(#,##0\);&quot;-  &quot;;&quot; &quot;@&quot; &quot;">
                  <c:v>0</c:v>
                </c:pt>
                <c:pt idx="5331" formatCode="#,##0_);\(#,##0\);&quot;-  &quot;;&quot; &quot;@&quot; &quot;">
                  <c:v>0</c:v>
                </c:pt>
                <c:pt idx="5332" formatCode="#,##0_);\(#,##0\);&quot;-  &quot;;&quot; &quot;@&quot; &quot;">
                  <c:v>0</c:v>
                </c:pt>
                <c:pt idx="5333" formatCode="#,##0_);\(#,##0\);&quot;-  &quot;;&quot; &quot;@&quot; &quot;">
                  <c:v>0</c:v>
                </c:pt>
                <c:pt idx="5334" formatCode="#,##0_);\(#,##0\);&quot;-  &quot;;&quot; &quot;@&quot; &quot;">
                  <c:v>0</c:v>
                </c:pt>
                <c:pt idx="5335" formatCode="#,##0_);\(#,##0\);&quot;-  &quot;;&quot; &quot;@&quot; &quot;">
                  <c:v>0</c:v>
                </c:pt>
                <c:pt idx="5336" formatCode="#,##0_);\(#,##0\);&quot;-  &quot;;&quot; &quot;@&quot; &quot;">
                  <c:v>0</c:v>
                </c:pt>
                <c:pt idx="5337" formatCode="#,##0_);\(#,##0\);&quot;-  &quot;;&quot; &quot;@&quot; &quot;">
                  <c:v>0</c:v>
                </c:pt>
                <c:pt idx="5338" formatCode="#,##0_);\(#,##0\);&quot;-  &quot;;&quot; &quot;@&quot; &quot;">
                  <c:v>0</c:v>
                </c:pt>
                <c:pt idx="5339" formatCode="#,##0_);\(#,##0\);&quot;-  &quot;;&quot; &quot;@&quot; &quot;">
                  <c:v>0</c:v>
                </c:pt>
                <c:pt idx="5340" formatCode="#,##0_);\(#,##0\);&quot;-  &quot;;&quot; &quot;@&quot; &quot;">
                  <c:v>0</c:v>
                </c:pt>
                <c:pt idx="5341" formatCode="#,##0_);\(#,##0\);&quot;-  &quot;;&quot; &quot;@&quot; &quot;">
                  <c:v>0</c:v>
                </c:pt>
                <c:pt idx="5342" formatCode="#,##0_);\(#,##0\);&quot;-  &quot;;&quot; &quot;@&quot; &quot;">
                  <c:v>0</c:v>
                </c:pt>
                <c:pt idx="5343" formatCode="#,##0_);\(#,##0\);&quot;-  &quot;;&quot; &quot;@&quot; &quot;">
                  <c:v>0</c:v>
                </c:pt>
                <c:pt idx="5344" formatCode="#,##0_);\(#,##0\);&quot;-  &quot;;&quot; &quot;@&quot; &quot;">
                  <c:v>0</c:v>
                </c:pt>
                <c:pt idx="5345" formatCode="#,##0_);\(#,##0\);&quot;-  &quot;;&quot; &quot;@&quot; &quot;">
                  <c:v>0</c:v>
                </c:pt>
                <c:pt idx="5346" formatCode="#,##0_);\(#,##0\);&quot;-  &quot;;&quot; &quot;@&quot; &quot;">
                  <c:v>0</c:v>
                </c:pt>
                <c:pt idx="5347" formatCode="#,##0_);\(#,##0\);&quot;-  &quot;;&quot; &quot;@&quot; &quot;">
                  <c:v>0</c:v>
                </c:pt>
                <c:pt idx="5348" formatCode="#,##0_);\(#,##0\);&quot;-  &quot;;&quot; &quot;@&quot; &quot;">
                  <c:v>0</c:v>
                </c:pt>
                <c:pt idx="5349" formatCode="#,##0_);\(#,##0\);&quot;-  &quot;;&quot; &quot;@&quot; &quot;">
                  <c:v>0</c:v>
                </c:pt>
                <c:pt idx="5350" formatCode="#,##0_);\(#,##0\);&quot;-  &quot;;&quot; &quot;@&quot; &quot;">
                  <c:v>0</c:v>
                </c:pt>
                <c:pt idx="5351" formatCode="#,##0_);\(#,##0\);&quot;-  &quot;;&quot; &quot;@&quot; &quot;">
                  <c:v>0</c:v>
                </c:pt>
                <c:pt idx="5352" formatCode="#,##0_);\(#,##0\);&quot;-  &quot;;&quot; &quot;@&quot; &quot;">
                  <c:v>0</c:v>
                </c:pt>
                <c:pt idx="5353" formatCode="#,##0_);\(#,##0\);&quot;-  &quot;;&quot; &quot;@&quot; &quot;">
                  <c:v>0</c:v>
                </c:pt>
                <c:pt idx="5354" formatCode="#,##0_);\(#,##0\);&quot;-  &quot;;&quot; &quot;@&quot; &quot;">
                  <c:v>0</c:v>
                </c:pt>
                <c:pt idx="5355" formatCode="#,##0_);\(#,##0\);&quot;-  &quot;;&quot; &quot;@&quot; &quot;">
                  <c:v>0</c:v>
                </c:pt>
                <c:pt idx="5356" formatCode="#,##0_);\(#,##0\);&quot;-  &quot;;&quot; &quot;@&quot; &quot;">
                  <c:v>0</c:v>
                </c:pt>
                <c:pt idx="5357" formatCode="#,##0_);\(#,##0\);&quot;-  &quot;;&quot; &quot;@&quot; &quot;">
                  <c:v>0</c:v>
                </c:pt>
                <c:pt idx="5358" formatCode="#,##0_);\(#,##0\);&quot;-  &quot;;&quot; &quot;@&quot; &quot;">
                  <c:v>0</c:v>
                </c:pt>
                <c:pt idx="5359" formatCode="#,##0_);\(#,##0\);&quot;-  &quot;;&quot; &quot;@&quot; &quot;">
                  <c:v>0</c:v>
                </c:pt>
                <c:pt idx="5360" formatCode="#,##0_);\(#,##0\);&quot;-  &quot;;&quot; &quot;@&quot; &quot;">
                  <c:v>0</c:v>
                </c:pt>
                <c:pt idx="5361" formatCode="#,##0_);\(#,##0\);&quot;-  &quot;;&quot; &quot;@&quot; &quot;">
                  <c:v>0</c:v>
                </c:pt>
                <c:pt idx="5362" formatCode="#,##0_);\(#,##0\);&quot;-  &quot;;&quot; &quot;@&quot; &quot;">
                  <c:v>0</c:v>
                </c:pt>
                <c:pt idx="5363" formatCode="#,##0_);\(#,##0\);&quot;-  &quot;;&quot; &quot;@&quot; &quot;">
                  <c:v>0</c:v>
                </c:pt>
                <c:pt idx="5364" formatCode="#,##0_);\(#,##0\);&quot;-  &quot;;&quot; &quot;@&quot; &quot;">
                  <c:v>0</c:v>
                </c:pt>
                <c:pt idx="5365" formatCode="#,##0_);\(#,##0\);&quot;-  &quot;;&quot; &quot;@&quot; &quot;">
                  <c:v>0</c:v>
                </c:pt>
                <c:pt idx="5366" formatCode="#,##0_);\(#,##0\);&quot;-  &quot;;&quot; &quot;@&quot; &quot;">
                  <c:v>0</c:v>
                </c:pt>
                <c:pt idx="5367" formatCode="#,##0_);\(#,##0\);&quot;-  &quot;;&quot; &quot;@&quot; &quot;">
                  <c:v>0</c:v>
                </c:pt>
                <c:pt idx="5368" formatCode="#,##0_);\(#,##0\);&quot;-  &quot;;&quot; &quot;@&quot; &quot;">
                  <c:v>0</c:v>
                </c:pt>
                <c:pt idx="5369" formatCode="#,##0_);\(#,##0\);&quot;-  &quot;;&quot; &quot;@&quot; &quot;">
                  <c:v>0</c:v>
                </c:pt>
                <c:pt idx="5370" formatCode="#,##0_);\(#,##0\);&quot;-  &quot;;&quot; &quot;@&quot; &quot;">
                  <c:v>0</c:v>
                </c:pt>
                <c:pt idx="5371" formatCode="#,##0_);\(#,##0\);&quot;-  &quot;;&quot; &quot;@&quot; &quot;">
                  <c:v>0</c:v>
                </c:pt>
                <c:pt idx="5372" formatCode="#,##0_);\(#,##0\);&quot;-  &quot;;&quot; &quot;@&quot; &quot;">
                  <c:v>0</c:v>
                </c:pt>
                <c:pt idx="5373" formatCode="#,##0_);\(#,##0\);&quot;-  &quot;;&quot; &quot;@&quot; &quot;">
                  <c:v>0</c:v>
                </c:pt>
                <c:pt idx="5374" formatCode="#,##0_);\(#,##0\);&quot;-  &quot;;&quot; &quot;@&quot; &quot;">
                  <c:v>0</c:v>
                </c:pt>
                <c:pt idx="5375" formatCode="#,##0_);\(#,##0\);&quot;-  &quot;;&quot; &quot;@&quot; &quot;">
                  <c:v>0</c:v>
                </c:pt>
                <c:pt idx="5376" formatCode="#,##0_);\(#,##0\);&quot;-  &quot;;&quot; &quot;@&quot; &quot;">
                  <c:v>0</c:v>
                </c:pt>
                <c:pt idx="5377" formatCode="#,##0_);\(#,##0\);&quot;-  &quot;;&quot; &quot;@&quot; &quot;">
                  <c:v>0</c:v>
                </c:pt>
                <c:pt idx="5378" formatCode="#,##0_);\(#,##0\);&quot;-  &quot;;&quot; &quot;@&quot; &quot;">
                  <c:v>0</c:v>
                </c:pt>
                <c:pt idx="5379" formatCode="#,##0_);\(#,##0\);&quot;-  &quot;;&quot; &quot;@&quot; &quot;">
                  <c:v>0</c:v>
                </c:pt>
                <c:pt idx="5380" formatCode="#,##0_);\(#,##0\);&quot;-  &quot;;&quot; &quot;@&quot; &quot;">
                  <c:v>0</c:v>
                </c:pt>
                <c:pt idx="5381" formatCode="#,##0_);\(#,##0\);&quot;-  &quot;;&quot; &quot;@&quot; &quot;">
                  <c:v>0</c:v>
                </c:pt>
                <c:pt idx="5382" formatCode="#,##0_);\(#,##0\);&quot;-  &quot;;&quot; &quot;@&quot; &quot;">
                  <c:v>0</c:v>
                </c:pt>
                <c:pt idx="5383" formatCode="#,##0_);\(#,##0\);&quot;-  &quot;;&quot; &quot;@&quot; &quot;">
                  <c:v>0</c:v>
                </c:pt>
                <c:pt idx="5384" formatCode="#,##0_);\(#,##0\);&quot;-  &quot;;&quot; &quot;@&quot; &quot;">
                  <c:v>0</c:v>
                </c:pt>
                <c:pt idx="5385" formatCode="#,##0_);\(#,##0\);&quot;-  &quot;;&quot; &quot;@&quot; &quot;">
                  <c:v>0</c:v>
                </c:pt>
                <c:pt idx="5386" formatCode="#,##0_);\(#,##0\);&quot;-  &quot;;&quot; &quot;@&quot; &quot;">
                  <c:v>0</c:v>
                </c:pt>
                <c:pt idx="5387" formatCode="#,##0_);\(#,##0\);&quot;-  &quot;;&quot; &quot;@&quot; &quot;">
                  <c:v>0</c:v>
                </c:pt>
                <c:pt idx="5388" formatCode="#,##0_);\(#,##0\);&quot;-  &quot;;&quot; &quot;@&quot; &quot;">
                  <c:v>0</c:v>
                </c:pt>
                <c:pt idx="5389" formatCode="#,##0_);\(#,##0\);&quot;-  &quot;;&quot; &quot;@&quot; &quot;">
                  <c:v>0</c:v>
                </c:pt>
                <c:pt idx="5390" formatCode="#,##0_);\(#,##0\);&quot;-  &quot;;&quot; &quot;@&quot; &quot;">
                  <c:v>0</c:v>
                </c:pt>
                <c:pt idx="5391" formatCode="#,##0_);\(#,##0\);&quot;-  &quot;;&quot; &quot;@&quot; &quot;">
                  <c:v>0</c:v>
                </c:pt>
                <c:pt idx="5392" formatCode="#,##0_);\(#,##0\);&quot;-  &quot;;&quot; &quot;@&quot; &quot;">
                  <c:v>0</c:v>
                </c:pt>
                <c:pt idx="5393" formatCode="#,##0_);\(#,##0\);&quot;-  &quot;;&quot; &quot;@&quot; &quot;">
                  <c:v>0</c:v>
                </c:pt>
                <c:pt idx="5394" formatCode="#,##0_);\(#,##0\);&quot;-  &quot;;&quot; &quot;@&quot; &quot;">
                  <c:v>0</c:v>
                </c:pt>
                <c:pt idx="5395" formatCode="#,##0_);\(#,##0\);&quot;-  &quot;;&quot; &quot;@&quot; &quot;">
                  <c:v>0</c:v>
                </c:pt>
                <c:pt idx="5396" formatCode="#,##0_);\(#,##0\);&quot;-  &quot;;&quot; &quot;@&quot; &quot;">
                  <c:v>0</c:v>
                </c:pt>
                <c:pt idx="5397" formatCode="#,##0_);\(#,##0\);&quot;-  &quot;;&quot; &quot;@&quot; &quot;">
                  <c:v>0</c:v>
                </c:pt>
                <c:pt idx="5398" formatCode="#,##0_);\(#,##0\);&quot;-  &quot;;&quot; &quot;@&quot; &quot;">
                  <c:v>0</c:v>
                </c:pt>
                <c:pt idx="5399" formatCode="#,##0_);\(#,##0\);&quot;-  &quot;;&quot; &quot;@&quot; &quot;">
                  <c:v>0</c:v>
                </c:pt>
                <c:pt idx="5400" formatCode="#,##0_);\(#,##0\);&quot;-  &quot;;&quot; &quot;@&quot; &quot;">
                  <c:v>0</c:v>
                </c:pt>
                <c:pt idx="5401" formatCode="#,##0_);\(#,##0\);&quot;-  &quot;;&quot; &quot;@&quot; &quot;">
                  <c:v>0</c:v>
                </c:pt>
                <c:pt idx="5402" formatCode="#,##0_);\(#,##0\);&quot;-  &quot;;&quot; &quot;@&quot; &quot;">
                  <c:v>0</c:v>
                </c:pt>
                <c:pt idx="5403" formatCode="#,##0_);\(#,##0\);&quot;-  &quot;;&quot; &quot;@&quot; &quot;">
                  <c:v>0</c:v>
                </c:pt>
                <c:pt idx="5404" formatCode="#,##0_);\(#,##0\);&quot;-  &quot;;&quot; &quot;@&quot; &quot;">
                  <c:v>0</c:v>
                </c:pt>
                <c:pt idx="5405" formatCode="#,##0_);\(#,##0\);&quot;-  &quot;;&quot; &quot;@&quot; &quot;">
                  <c:v>0</c:v>
                </c:pt>
                <c:pt idx="5406" formatCode="#,##0_);\(#,##0\);&quot;-  &quot;;&quot; &quot;@&quot; &quot;">
                  <c:v>0</c:v>
                </c:pt>
                <c:pt idx="5407" formatCode="#,##0_);\(#,##0\);&quot;-  &quot;;&quot; &quot;@&quot; &quot;">
                  <c:v>0</c:v>
                </c:pt>
                <c:pt idx="5408" formatCode="#,##0_);\(#,##0\);&quot;-  &quot;;&quot; &quot;@&quot; &quot;">
                  <c:v>0</c:v>
                </c:pt>
                <c:pt idx="5409" formatCode="#,##0_);\(#,##0\);&quot;-  &quot;;&quot; &quot;@&quot; &quot;">
                  <c:v>0</c:v>
                </c:pt>
                <c:pt idx="5410" formatCode="#,##0_);\(#,##0\);&quot;-  &quot;;&quot; &quot;@&quot; &quot;">
                  <c:v>0</c:v>
                </c:pt>
                <c:pt idx="5411" formatCode="#,##0_);\(#,##0\);&quot;-  &quot;;&quot; &quot;@&quot; &quot;">
                  <c:v>0</c:v>
                </c:pt>
                <c:pt idx="5412" formatCode="#,##0_);\(#,##0\);&quot;-  &quot;;&quot; &quot;@&quot; &quot;">
                  <c:v>0</c:v>
                </c:pt>
                <c:pt idx="5413" formatCode="#,##0_);\(#,##0\);&quot;-  &quot;;&quot; &quot;@&quot; &quot;">
                  <c:v>0</c:v>
                </c:pt>
                <c:pt idx="5414" formatCode="#,##0_);\(#,##0\);&quot;-  &quot;;&quot; &quot;@&quot; &quot;">
                  <c:v>0</c:v>
                </c:pt>
                <c:pt idx="5415" formatCode="#,##0_);\(#,##0\);&quot;-  &quot;;&quot; &quot;@&quot; &quot;">
                  <c:v>0</c:v>
                </c:pt>
                <c:pt idx="5416" formatCode="#,##0_);\(#,##0\);&quot;-  &quot;;&quot; &quot;@&quot; &quot;">
                  <c:v>0</c:v>
                </c:pt>
                <c:pt idx="5417" formatCode="#,##0_);\(#,##0\);&quot;-  &quot;;&quot; &quot;@&quot; &quot;">
                  <c:v>0</c:v>
                </c:pt>
                <c:pt idx="5418" formatCode="#,##0_);\(#,##0\);&quot;-  &quot;;&quot; &quot;@&quot; &quot;">
                  <c:v>0</c:v>
                </c:pt>
                <c:pt idx="5419" formatCode="#,##0_);\(#,##0\);&quot;-  &quot;;&quot; &quot;@&quot; &quot;">
                  <c:v>0</c:v>
                </c:pt>
                <c:pt idx="5420" formatCode="#,##0_);\(#,##0\);&quot;-  &quot;;&quot; &quot;@&quot; &quot;">
                  <c:v>0</c:v>
                </c:pt>
                <c:pt idx="5421" formatCode="#,##0_);\(#,##0\);&quot;-  &quot;;&quot; &quot;@&quot; &quot;">
                  <c:v>0</c:v>
                </c:pt>
                <c:pt idx="5422" formatCode="#,##0_);\(#,##0\);&quot;-  &quot;;&quot; &quot;@&quot; &quot;">
                  <c:v>0</c:v>
                </c:pt>
                <c:pt idx="5423" formatCode="#,##0_);\(#,##0\);&quot;-  &quot;;&quot; &quot;@&quot; &quot;">
                  <c:v>0</c:v>
                </c:pt>
                <c:pt idx="5424" formatCode="#,##0_);\(#,##0\);&quot;-  &quot;;&quot; &quot;@&quot; &quot;">
                  <c:v>0</c:v>
                </c:pt>
                <c:pt idx="5425" formatCode="#,##0_);\(#,##0\);&quot;-  &quot;;&quot; &quot;@&quot; &quot;">
                  <c:v>0</c:v>
                </c:pt>
                <c:pt idx="5426" formatCode="#,##0_);\(#,##0\);&quot;-  &quot;;&quot; &quot;@&quot; &quot;">
                  <c:v>0</c:v>
                </c:pt>
                <c:pt idx="5427" formatCode="#,##0_);\(#,##0\);&quot;-  &quot;;&quot; &quot;@&quot; &quot;">
                  <c:v>0</c:v>
                </c:pt>
                <c:pt idx="5428" formatCode="#,##0_);\(#,##0\);&quot;-  &quot;;&quot; &quot;@&quot; &quot;">
                  <c:v>0</c:v>
                </c:pt>
                <c:pt idx="5429" formatCode="#,##0_);\(#,##0\);&quot;-  &quot;;&quot; &quot;@&quot; &quot;">
                  <c:v>0</c:v>
                </c:pt>
                <c:pt idx="5430" formatCode="#,##0_);\(#,##0\);&quot;-  &quot;;&quot; &quot;@&quot; &quot;">
                  <c:v>0</c:v>
                </c:pt>
                <c:pt idx="5431" formatCode="#,##0_);\(#,##0\);&quot;-  &quot;;&quot; &quot;@&quot; &quot;">
                  <c:v>0</c:v>
                </c:pt>
                <c:pt idx="5432" formatCode="#,##0_);\(#,##0\);&quot;-  &quot;;&quot; &quot;@&quot; &quot;">
                  <c:v>0</c:v>
                </c:pt>
                <c:pt idx="5433" formatCode="#,##0_);\(#,##0\);&quot;-  &quot;;&quot; &quot;@&quot; &quot;">
                  <c:v>0</c:v>
                </c:pt>
                <c:pt idx="5434" formatCode="#,##0_);\(#,##0\);&quot;-  &quot;;&quot; &quot;@&quot; &quot;">
                  <c:v>0</c:v>
                </c:pt>
                <c:pt idx="5435" formatCode="#,##0_);\(#,##0\);&quot;-  &quot;;&quot; &quot;@&quot; &quot;">
                  <c:v>0</c:v>
                </c:pt>
                <c:pt idx="5436" formatCode="#,##0_);\(#,##0\);&quot;-  &quot;;&quot; &quot;@&quot; &quot;">
                  <c:v>0</c:v>
                </c:pt>
                <c:pt idx="5437" formatCode="#,##0_);\(#,##0\);&quot;-  &quot;;&quot; &quot;@&quot; &quot;">
                  <c:v>0</c:v>
                </c:pt>
                <c:pt idx="5438" formatCode="#,##0_);\(#,##0\);&quot;-  &quot;;&quot; &quot;@&quot; &quot;">
                  <c:v>0</c:v>
                </c:pt>
                <c:pt idx="5439" formatCode="#,##0_);\(#,##0\);&quot;-  &quot;;&quot; &quot;@&quot; &quot;">
                  <c:v>0</c:v>
                </c:pt>
                <c:pt idx="5440" formatCode="#,##0_);\(#,##0\);&quot;-  &quot;;&quot; &quot;@&quot; &quot;">
                  <c:v>0</c:v>
                </c:pt>
                <c:pt idx="5441" formatCode="#,##0_);\(#,##0\);&quot;-  &quot;;&quot; &quot;@&quot; &quot;">
                  <c:v>0</c:v>
                </c:pt>
                <c:pt idx="5442" formatCode="#,##0_);\(#,##0\);&quot;-  &quot;;&quot; &quot;@&quot; &quot;">
                  <c:v>0</c:v>
                </c:pt>
                <c:pt idx="5443" formatCode="#,##0_);\(#,##0\);&quot;-  &quot;;&quot; &quot;@&quot; &quot;">
                  <c:v>0</c:v>
                </c:pt>
                <c:pt idx="5444" formatCode="#,##0_);\(#,##0\);&quot;-  &quot;;&quot; &quot;@&quot; &quot;">
                  <c:v>0</c:v>
                </c:pt>
                <c:pt idx="5445" formatCode="#,##0_);\(#,##0\);&quot;-  &quot;;&quot; &quot;@&quot; &quot;">
                  <c:v>0</c:v>
                </c:pt>
                <c:pt idx="5446" formatCode="#,##0_);\(#,##0\);&quot;-  &quot;;&quot; &quot;@&quot; &quot;">
                  <c:v>0</c:v>
                </c:pt>
                <c:pt idx="5447" formatCode="#,##0_);\(#,##0\);&quot;-  &quot;;&quot; &quot;@&quot; &quot;">
                  <c:v>0</c:v>
                </c:pt>
                <c:pt idx="5448" formatCode="#,##0_);\(#,##0\);&quot;-  &quot;;&quot; &quot;@&quot; &quot;">
                  <c:v>0</c:v>
                </c:pt>
                <c:pt idx="5449" formatCode="#,##0_);\(#,##0\);&quot;-  &quot;;&quot; &quot;@&quot; &quot;">
                  <c:v>0</c:v>
                </c:pt>
                <c:pt idx="5450" formatCode="#,##0_);\(#,##0\);&quot;-  &quot;;&quot; &quot;@&quot; &quot;">
                  <c:v>0</c:v>
                </c:pt>
                <c:pt idx="5451" formatCode="#,##0_);\(#,##0\);&quot;-  &quot;;&quot; &quot;@&quot; &quot;">
                  <c:v>0</c:v>
                </c:pt>
                <c:pt idx="5452" formatCode="#,##0_);\(#,##0\);&quot;-  &quot;;&quot; &quot;@&quot; &quot;">
                  <c:v>0</c:v>
                </c:pt>
                <c:pt idx="5453" formatCode="#,##0_);\(#,##0\);&quot;-  &quot;;&quot; &quot;@&quot; &quot;">
                  <c:v>0</c:v>
                </c:pt>
                <c:pt idx="5454" formatCode="#,##0_);\(#,##0\);&quot;-  &quot;;&quot; &quot;@&quot; &quot;">
                  <c:v>0</c:v>
                </c:pt>
                <c:pt idx="5455" formatCode="#,##0_);\(#,##0\);&quot;-  &quot;;&quot; &quot;@&quot; &quot;">
                  <c:v>0</c:v>
                </c:pt>
                <c:pt idx="5456" formatCode="#,##0_);\(#,##0\);&quot;-  &quot;;&quot; &quot;@&quot; &quot;">
                  <c:v>0</c:v>
                </c:pt>
                <c:pt idx="5457" formatCode="#,##0_);\(#,##0\);&quot;-  &quot;;&quot; &quot;@&quot; &quot;">
                  <c:v>0</c:v>
                </c:pt>
                <c:pt idx="5458" formatCode="#,##0_);\(#,##0\);&quot;-  &quot;;&quot; &quot;@&quot; &quot;">
                  <c:v>0</c:v>
                </c:pt>
                <c:pt idx="5459" formatCode="#,##0_);\(#,##0\);&quot;-  &quot;;&quot; &quot;@&quot; &quot;">
                  <c:v>0</c:v>
                </c:pt>
                <c:pt idx="5460" formatCode="#,##0_);\(#,##0\);&quot;-  &quot;;&quot; &quot;@&quot; &quot;">
                  <c:v>0</c:v>
                </c:pt>
                <c:pt idx="5461" formatCode="#,##0_);\(#,##0\);&quot;-  &quot;;&quot; &quot;@&quot; &quot;">
                  <c:v>0</c:v>
                </c:pt>
                <c:pt idx="5462" formatCode="#,##0_);\(#,##0\);&quot;-  &quot;;&quot; &quot;@&quot; &quot;">
                  <c:v>0</c:v>
                </c:pt>
                <c:pt idx="5463" formatCode="#,##0_);\(#,##0\);&quot;-  &quot;;&quot; &quot;@&quot; &quot;">
                  <c:v>0</c:v>
                </c:pt>
                <c:pt idx="5464" formatCode="#,##0_);\(#,##0\);&quot;-  &quot;;&quot; &quot;@&quot; &quot;">
                  <c:v>0</c:v>
                </c:pt>
                <c:pt idx="5465" formatCode="#,##0_);\(#,##0\);&quot;-  &quot;;&quot; &quot;@&quot; &quot;">
                  <c:v>0</c:v>
                </c:pt>
                <c:pt idx="5466" formatCode="#,##0_);\(#,##0\);&quot;-  &quot;;&quot; &quot;@&quot; &quot;">
                  <c:v>0</c:v>
                </c:pt>
                <c:pt idx="5467" formatCode="#,##0_);\(#,##0\);&quot;-  &quot;;&quot; &quot;@&quot; &quot;">
                  <c:v>0</c:v>
                </c:pt>
                <c:pt idx="5468" formatCode="#,##0_);\(#,##0\);&quot;-  &quot;;&quot; &quot;@&quot; &quot;">
                  <c:v>0</c:v>
                </c:pt>
                <c:pt idx="5469" formatCode="#,##0_);\(#,##0\);&quot;-  &quot;;&quot; &quot;@&quot; &quot;">
                  <c:v>0</c:v>
                </c:pt>
                <c:pt idx="5470" formatCode="#,##0_);\(#,##0\);&quot;-  &quot;;&quot; &quot;@&quot; &quot;">
                  <c:v>0</c:v>
                </c:pt>
                <c:pt idx="5471" formatCode="#,##0_);\(#,##0\);&quot;-  &quot;;&quot; &quot;@&quot; &quot;">
                  <c:v>0</c:v>
                </c:pt>
                <c:pt idx="5472" formatCode="#,##0_);\(#,##0\);&quot;-  &quot;;&quot; &quot;@&quot; &quot;">
                  <c:v>0</c:v>
                </c:pt>
                <c:pt idx="5473" formatCode="#,##0_);\(#,##0\);&quot;-  &quot;;&quot; &quot;@&quot; &quot;">
                  <c:v>0</c:v>
                </c:pt>
                <c:pt idx="5474" formatCode="#,##0_);\(#,##0\);&quot;-  &quot;;&quot; &quot;@&quot; &quot;">
                  <c:v>0</c:v>
                </c:pt>
                <c:pt idx="5475" formatCode="#,##0_);\(#,##0\);&quot;-  &quot;;&quot; &quot;@&quot; &quot;">
                  <c:v>0</c:v>
                </c:pt>
                <c:pt idx="5476" formatCode="#,##0_);\(#,##0\);&quot;-  &quot;;&quot; &quot;@&quot; &quot;">
                  <c:v>0</c:v>
                </c:pt>
                <c:pt idx="5477" formatCode="#,##0_);\(#,##0\);&quot;-  &quot;;&quot; &quot;@&quot; &quot;">
                  <c:v>0</c:v>
                </c:pt>
                <c:pt idx="5478" formatCode="#,##0_);\(#,##0\);&quot;-  &quot;;&quot; &quot;@&quot; &quot;">
                  <c:v>0</c:v>
                </c:pt>
                <c:pt idx="5479" formatCode="#,##0_);\(#,##0\);&quot;-  &quot;;&quot; &quot;@&quot; &quot;">
                  <c:v>0</c:v>
                </c:pt>
                <c:pt idx="5480" formatCode="#,##0_);\(#,##0\);&quot;-  &quot;;&quot; &quot;@&quot; &quot;">
                  <c:v>0</c:v>
                </c:pt>
                <c:pt idx="5481" formatCode="#,##0_);\(#,##0\);&quot;-  &quot;;&quot; &quot;@&quot; &quot;">
                  <c:v>0</c:v>
                </c:pt>
                <c:pt idx="5482" formatCode="#,##0_);\(#,##0\);&quot;-  &quot;;&quot; &quot;@&quot; &quot;">
                  <c:v>0</c:v>
                </c:pt>
                <c:pt idx="5483" formatCode="#,##0_);\(#,##0\);&quot;-  &quot;;&quot; &quot;@&quot; &quot;">
                  <c:v>0</c:v>
                </c:pt>
                <c:pt idx="5484" formatCode="#,##0_);\(#,##0\);&quot;-  &quot;;&quot; &quot;@&quot; &quot;">
                  <c:v>0</c:v>
                </c:pt>
                <c:pt idx="5485" formatCode="#,##0_);\(#,##0\);&quot;-  &quot;;&quot; &quot;@&quot; &quot;">
                  <c:v>0</c:v>
                </c:pt>
                <c:pt idx="5486" formatCode="#,##0_);\(#,##0\);&quot;-  &quot;;&quot; &quot;@&quot; &quot;">
                  <c:v>0</c:v>
                </c:pt>
                <c:pt idx="5487" formatCode="#,##0_);\(#,##0\);&quot;-  &quot;;&quot; &quot;@&quot; &quot;">
                  <c:v>0</c:v>
                </c:pt>
                <c:pt idx="5488" formatCode="#,##0_);\(#,##0\);&quot;-  &quot;;&quot; &quot;@&quot; &quot;">
                  <c:v>0</c:v>
                </c:pt>
                <c:pt idx="5489" formatCode="#,##0_);\(#,##0\);&quot;-  &quot;;&quot; &quot;@&quot; &quot;">
                  <c:v>0</c:v>
                </c:pt>
                <c:pt idx="5490" formatCode="#,##0_);\(#,##0\);&quot;-  &quot;;&quot; &quot;@&quot; &quot;">
                  <c:v>0</c:v>
                </c:pt>
                <c:pt idx="5491" formatCode="#,##0_);\(#,##0\);&quot;-  &quot;;&quot; &quot;@&quot; &quot;">
                  <c:v>0</c:v>
                </c:pt>
                <c:pt idx="5492" formatCode="#,##0_);\(#,##0\);&quot;-  &quot;;&quot; &quot;@&quot; &quot;">
                  <c:v>0</c:v>
                </c:pt>
                <c:pt idx="5493" formatCode="#,##0_);\(#,##0\);&quot;-  &quot;;&quot; &quot;@&quot; &quot;">
                  <c:v>0</c:v>
                </c:pt>
                <c:pt idx="5494" formatCode="#,##0_);\(#,##0\);&quot;-  &quot;;&quot; &quot;@&quot; &quot;">
                  <c:v>0</c:v>
                </c:pt>
                <c:pt idx="5495" formatCode="#,##0_);\(#,##0\);&quot;-  &quot;;&quot; &quot;@&quot; &quot;">
                  <c:v>0</c:v>
                </c:pt>
                <c:pt idx="5496" formatCode="#,##0_);\(#,##0\);&quot;-  &quot;;&quot; &quot;@&quot; &quot;">
                  <c:v>0</c:v>
                </c:pt>
                <c:pt idx="5497" formatCode="#,##0_);\(#,##0\);&quot;-  &quot;;&quot; &quot;@&quot; &quot;">
                  <c:v>0</c:v>
                </c:pt>
                <c:pt idx="5498" formatCode="#,##0_);\(#,##0\);&quot;-  &quot;;&quot; &quot;@&quot; &quot;">
                  <c:v>0</c:v>
                </c:pt>
                <c:pt idx="5499" formatCode="#,##0_);\(#,##0\);&quot;-  &quot;;&quot; &quot;@&quot; &quot;">
                  <c:v>0</c:v>
                </c:pt>
                <c:pt idx="5500" formatCode="#,##0_);\(#,##0\);&quot;-  &quot;;&quot; &quot;@&quot; &quot;">
                  <c:v>0</c:v>
                </c:pt>
                <c:pt idx="5501" formatCode="#,##0_);\(#,##0\);&quot;-  &quot;;&quot; &quot;@&quot; &quot;">
                  <c:v>0</c:v>
                </c:pt>
                <c:pt idx="5502" formatCode="#,##0_);\(#,##0\);&quot;-  &quot;;&quot; &quot;@&quot; &quot;">
                  <c:v>0</c:v>
                </c:pt>
                <c:pt idx="5503" formatCode="#,##0_);\(#,##0\);&quot;-  &quot;;&quot; &quot;@&quot; &quot;">
                  <c:v>0</c:v>
                </c:pt>
                <c:pt idx="5504" formatCode="#,##0_);\(#,##0\);&quot;-  &quot;;&quot; &quot;@&quot; &quot;">
                  <c:v>0</c:v>
                </c:pt>
                <c:pt idx="5505" formatCode="#,##0_);\(#,##0\);&quot;-  &quot;;&quot; &quot;@&quot; &quot;">
                  <c:v>0</c:v>
                </c:pt>
                <c:pt idx="5506" formatCode="#,##0_);\(#,##0\);&quot;-  &quot;;&quot; &quot;@&quot; &quot;">
                  <c:v>0</c:v>
                </c:pt>
                <c:pt idx="5507" formatCode="#,##0_);\(#,##0\);&quot;-  &quot;;&quot; &quot;@&quot; &quot;">
                  <c:v>0</c:v>
                </c:pt>
                <c:pt idx="5508" formatCode="#,##0_);\(#,##0\);&quot;-  &quot;;&quot; &quot;@&quot; &quot;">
                  <c:v>0</c:v>
                </c:pt>
                <c:pt idx="5509" formatCode="#,##0_);\(#,##0\);&quot;-  &quot;;&quot; &quot;@&quot; &quot;">
                  <c:v>0</c:v>
                </c:pt>
                <c:pt idx="5510" formatCode="#,##0_);\(#,##0\);&quot;-  &quot;;&quot; &quot;@&quot; &quot;">
                  <c:v>0</c:v>
                </c:pt>
                <c:pt idx="5511" formatCode="#,##0_);\(#,##0\);&quot;-  &quot;;&quot; &quot;@&quot; &quot;">
                  <c:v>0</c:v>
                </c:pt>
                <c:pt idx="5512" formatCode="#,##0_);\(#,##0\);&quot;-  &quot;;&quot; &quot;@&quot; &quot;">
                  <c:v>0</c:v>
                </c:pt>
                <c:pt idx="5513" formatCode="#,##0_);\(#,##0\);&quot;-  &quot;;&quot; &quot;@&quot; &quot;">
                  <c:v>0</c:v>
                </c:pt>
                <c:pt idx="5514" formatCode="#,##0_);\(#,##0\);&quot;-  &quot;;&quot; &quot;@&quot; &quot;">
                  <c:v>0</c:v>
                </c:pt>
                <c:pt idx="5515" formatCode="#,##0_);\(#,##0\);&quot;-  &quot;;&quot; &quot;@&quot; &quot;">
                  <c:v>0</c:v>
                </c:pt>
                <c:pt idx="5516" formatCode="#,##0_);\(#,##0\);&quot;-  &quot;;&quot; &quot;@&quot; &quot;">
                  <c:v>0</c:v>
                </c:pt>
                <c:pt idx="5517" formatCode="#,##0_);\(#,##0\);&quot;-  &quot;;&quot; &quot;@&quot; &quot;">
                  <c:v>0</c:v>
                </c:pt>
                <c:pt idx="5518" formatCode="#,##0_);\(#,##0\);&quot;-  &quot;;&quot; &quot;@&quot; &quot;">
                  <c:v>0</c:v>
                </c:pt>
                <c:pt idx="5519" formatCode="#,##0_);\(#,##0\);&quot;-  &quot;;&quot; &quot;@&quot; &quot;">
                  <c:v>0</c:v>
                </c:pt>
                <c:pt idx="5520" formatCode="#,##0_);\(#,##0\);&quot;-  &quot;;&quot; &quot;@&quot; &quot;">
                  <c:v>0</c:v>
                </c:pt>
                <c:pt idx="5521" formatCode="#,##0_);\(#,##0\);&quot;-  &quot;;&quot; &quot;@&quot; &quot;">
                  <c:v>0</c:v>
                </c:pt>
                <c:pt idx="5522" formatCode="#,##0_);\(#,##0\);&quot;-  &quot;;&quot; &quot;@&quot; &quot;">
                  <c:v>0</c:v>
                </c:pt>
                <c:pt idx="5523" formatCode="#,##0_);\(#,##0\);&quot;-  &quot;;&quot; &quot;@&quot; &quot;">
                  <c:v>0</c:v>
                </c:pt>
                <c:pt idx="5524" formatCode="#,##0_);\(#,##0\);&quot;-  &quot;;&quot; &quot;@&quot; &quot;">
                  <c:v>0</c:v>
                </c:pt>
                <c:pt idx="5525" formatCode="#,##0_);\(#,##0\);&quot;-  &quot;;&quot; &quot;@&quot; &quot;">
                  <c:v>0</c:v>
                </c:pt>
                <c:pt idx="5526" formatCode="#,##0_);\(#,##0\);&quot;-  &quot;;&quot; &quot;@&quot; &quot;">
                  <c:v>0</c:v>
                </c:pt>
                <c:pt idx="5527" formatCode="#,##0_);\(#,##0\);&quot;-  &quot;;&quot; &quot;@&quot; &quot;">
                  <c:v>0</c:v>
                </c:pt>
                <c:pt idx="5528" formatCode="#,##0_);\(#,##0\);&quot;-  &quot;;&quot; &quot;@&quot; &quot;">
                  <c:v>0</c:v>
                </c:pt>
                <c:pt idx="5529" formatCode="#,##0_);\(#,##0\);&quot;-  &quot;;&quot; &quot;@&quot; &quot;">
                  <c:v>0</c:v>
                </c:pt>
                <c:pt idx="5530" formatCode="#,##0_);\(#,##0\);&quot;-  &quot;;&quot; &quot;@&quot; &quot;">
                  <c:v>0</c:v>
                </c:pt>
                <c:pt idx="5531" formatCode="#,##0_);\(#,##0\);&quot;-  &quot;;&quot; &quot;@&quot; &quot;">
                  <c:v>0</c:v>
                </c:pt>
                <c:pt idx="5532" formatCode="#,##0_);\(#,##0\);&quot;-  &quot;;&quot; &quot;@&quot; &quot;">
                  <c:v>0</c:v>
                </c:pt>
                <c:pt idx="5533" formatCode="#,##0_);\(#,##0\);&quot;-  &quot;;&quot; &quot;@&quot; &quot;">
                  <c:v>0</c:v>
                </c:pt>
                <c:pt idx="5534" formatCode="#,##0_);\(#,##0\);&quot;-  &quot;;&quot; &quot;@&quot; &quot;">
                  <c:v>0</c:v>
                </c:pt>
                <c:pt idx="5535" formatCode="#,##0_);\(#,##0\);&quot;-  &quot;;&quot; &quot;@&quot; &quot;">
                  <c:v>0</c:v>
                </c:pt>
                <c:pt idx="5536" formatCode="#,##0_);\(#,##0\);&quot;-  &quot;;&quot; &quot;@&quot; &quot;">
                  <c:v>0</c:v>
                </c:pt>
                <c:pt idx="5537" formatCode="#,##0_);\(#,##0\);&quot;-  &quot;;&quot; &quot;@&quot; &quot;">
                  <c:v>0</c:v>
                </c:pt>
                <c:pt idx="5538" formatCode="#,##0_);\(#,##0\);&quot;-  &quot;;&quot; &quot;@&quot; &quot;">
                  <c:v>0</c:v>
                </c:pt>
                <c:pt idx="5539" formatCode="#,##0_);\(#,##0\);&quot;-  &quot;;&quot; &quot;@&quot; &quot;">
                  <c:v>0</c:v>
                </c:pt>
                <c:pt idx="5540" formatCode="#,##0_);\(#,##0\);&quot;-  &quot;;&quot; &quot;@&quot; &quot;">
                  <c:v>0</c:v>
                </c:pt>
                <c:pt idx="5541" formatCode="#,##0_);\(#,##0\);&quot;-  &quot;;&quot; &quot;@&quot; &quot;">
                  <c:v>0</c:v>
                </c:pt>
                <c:pt idx="5542" formatCode="#,##0_);\(#,##0\);&quot;-  &quot;;&quot; &quot;@&quot; &quot;">
                  <c:v>0</c:v>
                </c:pt>
                <c:pt idx="5543" formatCode="#,##0_);\(#,##0\);&quot;-  &quot;;&quot; &quot;@&quot; &quot;">
                  <c:v>0</c:v>
                </c:pt>
                <c:pt idx="5544" formatCode="#,##0_);\(#,##0\);&quot;-  &quot;;&quot; &quot;@&quot; &quot;">
                  <c:v>0</c:v>
                </c:pt>
                <c:pt idx="5545" formatCode="#,##0_);\(#,##0\);&quot;-  &quot;;&quot; &quot;@&quot; &quot;">
                  <c:v>0</c:v>
                </c:pt>
                <c:pt idx="5546" formatCode="#,##0_);\(#,##0\);&quot;-  &quot;;&quot; &quot;@&quot; &quot;">
                  <c:v>0</c:v>
                </c:pt>
                <c:pt idx="5547" formatCode="#,##0_);\(#,##0\);&quot;-  &quot;;&quot; &quot;@&quot; &quot;">
                  <c:v>0</c:v>
                </c:pt>
                <c:pt idx="5548" formatCode="#,##0_);\(#,##0\);&quot;-  &quot;;&quot; &quot;@&quot; &quot;">
                  <c:v>0</c:v>
                </c:pt>
                <c:pt idx="5549" formatCode="#,##0_);\(#,##0\);&quot;-  &quot;;&quot; &quot;@&quot; &quot;">
                  <c:v>0</c:v>
                </c:pt>
                <c:pt idx="5550" formatCode="#,##0_);\(#,##0\);&quot;-  &quot;;&quot; &quot;@&quot; &quot;">
                  <c:v>0</c:v>
                </c:pt>
                <c:pt idx="5551" formatCode="#,##0_);\(#,##0\);&quot;-  &quot;;&quot; &quot;@&quot; &quot;">
                  <c:v>0</c:v>
                </c:pt>
                <c:pt idx="5552" formatCode="#,##0_);\(#,##0\);&quot;-  &quot;;&quot; &quot;@&quot; &quot;">
                  <c:v>0</c:v>
                </c:pt>
                <c:pt idx="5553" formatCode="#,##0_);\(#,##0\);&quot;-  &quot;;&quot; &quot;@&quot; &quot;">
                  <c:v>0</c:v>
                </c:pt>
                <c:pt idx="5554" formatCode="#,##0_);\(#,##0\);&quot;-  &quot;;&quot; &quot;@&quot; &quot;">
                  <c:v>0</c:v>
                </c:pt>
                <c:pt idx="5555" formatCode="#,##0_);\(#,##0\);&quot;-  &quot;;&quot; &quot;@&quot; &quot;">
                  <c:v>0</c:v>
                </c:pt>
                <c:pt idx="5556" formatCode="#,##0_);\(#,##0\);&quot;-  &quot;;&quot; &quot;@&quot; &quot;">
                  <c:v>0</c:v>
                </c:pt>
                <c:pt idx="5557" formatCode="#,##0_);\(#,##0\);&quot;-  &quot;;&quot; &quot;@&quot; &quot;">
                  <c:v>0</c:v>
                </c:pt>
                <c:pt idx="5558" formatCode="#,##0_);\(#,##0\);&quot;-  &quot;;&quot; &quot;@&quot; &quot;">
                  <c:v>0</c:v>
                </c:pt>
                <c:pt idx="5559" formatCode="#,##0_);\(#,##0\);&quot;-  &quot;;&quot; &quot;@&quot; &quot;">
                  <c:v>0</c:v>
                </c:pt>
                <c:pt idx="5560" formatCode="#,##0_);\(#,##0\);&quot;-  &quot;;&quot; &quot;@&quot; &quot;">
                  <c:v>0</c:v>
                </c:pt>
                <c:pt idx="5561" formatCode="#,##0_);\(#,##0\);&quot;-  &quot;;&quot; &quot;@&quot; &quot;">
                  <c:v>0</c:v>
                </c:pt>
                <c:pt idx="5562" formatCode="#,##0_);\(#,##0\);&quot;-  &quot;;&quot; &quot;@&quot; &quot;">
                  <c:v>0</c:v>
                </c:pt>
                <c:pt idx="5563" formatCode="#,##0_);\(#,##0\);&quot;-  &quot;;&quot; &quot;@&quot; &quot;">
                  <c:v>0</c:v>
                </c:pt>
                <c:pt idx="5564" formatCode="#,##0_);\(#,##0\);&quot;-  &quot;;&quot; &quot;@&quot; &quot;">
                  <c:v>0</c:v>
                </c:pt>
                <c:pt idx="5565" formatCode="#,##0_);\(#,##0\);&quot;-  &quot;;&quot; &quot;@&quot; &quot;">
                  <c:v>0</c:v>
                </c:pt>
                <c:pt idx="5566" formatCode="#,##0_);\(#,##0\);&quot;-  &quot;;&quot; &quot;@&quot; &quot;">
                  <c:v>0</c:v>
                </c:pt>
                <c:pt idx="5567" formatCode="#,##0_);\(#,##0\);&quot;-  &quot;;&quot; &quot;@&quot; &quot;">
                  <c:v>0</c:v>
                </c:pt>
                <c:pt idx="5568" formatCode="#,##0_);\(#,##0\);&quot;-  &quot;;&quot; &quot;@&quot; &quot;">
                  <c:v>0</c:v>
                </c:pt>
                <c:pt idx="5569" formatCode="#,##0_);\(#,##0\);&quot;-  &quot;;&quot; &quot;@&quot; &quot;">
                  <c:v>0</c:v>
                </c:pt>
                <c:pt idx="5570" formatCode="#,##0_);\(#,##0\);&quot;-  &quot;;&quot; &quot;@&quot; &quot;">
                  <c:v>0</c:v>
                </c:pt>
                <c:pt idx="5571" formatCode="#,##0_);\(#,##0\);&quot;-  &quot;;&quot; &quot;@&quot; &quot;">
                  <c:v>0</c:v>
                </c:pt>
                <c:pt idx="5572" formatCode="#,##0_);\(#,##0\);&quot;-  &quot;;&quot; &quot;@&quot; &quot;">
                  <c:v>0</c:v>
                </c:pt>
                <c:pt idx="5573" formatCode="#,##0_);\(#,##0\);&quot;-  &quot;;&quot; &quot;@&quot; &quot;">
                  <c:v>0</c:v>
                </c:pt>
                <c:pt idx="5574" formatCode="#,##0_);\(#,##0\);&quot;-  &quot;;&quot; &quot;@&quot; &quot;">
                  <c:v>0</c:v>
                </c:pt>
                <c:pt idx="5575" formatCode="#,##0_);\(#,##0\);&quot;-  &quot;;&quot; &quot;@&quot; &quot;">
                  <c:v>0</c:v>
                </c:pt>
                <c:pt idx="5576" formatCode="#,##0_);\(#,##0\);&quot;-  &quot;;&quot; &quot;@&quot; &quot;">
                  <c:v>0</c:v>
                </c:pt>
                <c:pt idx="5577" formatCode="#,##0_);\(#,##0\);&quot;-  &quot;;&quot; &quot;@&quot; &quot;">
                  <c:v>0</c:v>
                </c:pt>
                <c:pt idx="5578" formatCode="#,##0_);\(#,##0\);&quot;-  &quot;;&quot; &quot;@&quot; &quot;">
                  <c:v>0</c:v>
                </c:pt>
                <c:pt idx="5579" formatCode="#,##0_);\(#,##0\);&quot;-  &quot;;&quot; &quot;@&quot; &quot;">
                  <c:v>0</c:v>
                </c:pt>
                <c:pt idx="5580" formatCode="#,##0_);\(#,##0\);&quot;-  &quot;;&quot; &quot;@&quot; &quot;">
                  <c:v>0</c:v>
                </c:pt>
                <c:pt idx="5581" formatCode="#,##0_);\(#,##0\);&quot;-  &quot;;&quot; &quot;@&quot; &quot;">
                  <c:v>0</c:v>
                </c:pt>
                <c:pt idx="5582" formatCode="#,##0_);\(#,##0\);&quot;-  &quot;;&quot; &quot;@&quot; &quot;">
                  <c:v>0</c:v>
                </c:pt>
                <c:pt idx="5583" formatCode="#,##0_);\(#,##0\);&quot;-  &quot;;&quot; &quot;@&quot; &quot;">
                  <c:v>0</c:v>
                </c:pt>
                <c:pt idx="5584" formatCode="#,##0_);\(#,##0\);&quot;-  &quot;;&quot; &quot;@&quot; &quot;">
                  <c:v>0</c:v>
                </c:pt>
                <c:pt idx="5585" formatCode="#,##0_);\(#,##0\);&quot;-  &quot;;&quot; &quot;@&quot; &quot;">
                  <c:v>0</c:v>
                </c:pt>
                <c:pt idx="5586" formatCode="#,##0_);\(#,##0\);&quot;-  &quot;;&quot; &quot;@&quot; &quot;">
                  <c:v>0</c:v>
                </c:pt>
                <c:pt idx="5587" formatCode="#,##0_);\(#,##0\);&quot;-  &quot;;&quot; &quot;@&quot; &quot;">
                  <c:v>0</c:v>
                </c:pt>
                <c:pt idx="5588" formatCode="#,##0_);\(#,##0\);&quot;-  &quot;;&quot; &quot;@&quot; &quot;">
                  <c:v>0</c:v>
                </c:pt>
                <c:pt idx="5589" formatCode="#,##0_);\(#,##0\);&quot;-  &quot;;&quot; &quot;@&quot; &quot;">
                  <c:v>0</c:v>
                </c:pt>
                <c:pt idx="5590" formatCode="#,##0_);\(#,##0\);&quot;-  &quot;;&quot; &quot;@&quot; &quot;">
                  <c:v>0</c:v>
                </c:pt>
                <c:pt idx="5591" formatCode="#,##0_);\(#,##0\);&quot;-  &quot;;&quot; &quot;@&quot; &quot;">
                  <c:v>0</c:v>
                </c:pt>
                <c:pt idx="5592" formatCode="#,##0_);\(#,##0\);&quot;-  &quot;;&quot; &quot;@&quot; &quot;">
                  <c:v>0</c:v>
                </c:pt>
                <c:pt idx="5593" formatCode="#,##0_);\(#,##0\);&quot;-  &quot;;&quot; &quot;@&quot; &quot;">
                  <c:v>0</c:v>
                </c:pt>
                <c:pt idx="5594" formatCode="#,##0_);\(#,##0\);&quot;-  &quot;;&quot; &quot;@&quot; &quot;">
                  <c:v>0</c:v>
                </c:pt>
                <c:pt idx="5595" formatCode="#,##0_);\(#,##0\);&quot;-  &quot;;&quot; &quot;@&quot; &quot;">
                  <c:v>0</c:v>
                </c:pt>
                <c:pt idx="5596" formatCode="#,##0_);\(#,##0\);&quot;-  &quot;;&quot; &quot;@&quot; &quot;">
                  <c:v>0</c:v>
                </c:pt>
                <c:pt idx="5597" formatCode="#,##0_);\(#,##0\);&quot;-  &quot;;&quot; &quot;@&quot; &quot;">
                  <c:v>0</c:v>
                </c:pt>
                <c:pt idx="5598" formatCode="#,##0_);\(#,##0\);&quot;-  &quot;;&quot; &quot;@&quot; &quot;">
                  <c:v>0</c:v>
                </c:pt>
                <c:pt idx="5599" formatCode="#,##0_);\(#,##0\);&quot;-  &quot;;&quot; &quot;@&quot; &quot;">
                  <c:v>0</c:v>
                </c:pt>
                <c:pt idx="5600" formatCode="#,##0_);\(#,##0\);&quot;-  &quot;;&quot; &quot;@&quot; &quot;">
                  <c:v>0</c:v>
                </c:pt>
                <c:pt idx="5601" formatCode="#,##0_);\(#,##0\);&quot;-  &quot;;&quot; &quot;@&quot; &quot;">
                  <c:v>0</c:v>
                </c:pt>
                <c:pt idx="5602" formatCode="#,##0_);\(#,##0\);&quot;-  &quot;;&quot; &quot;@&quot; &quot;">
                  <c:v>0</c:v>
                </c:pt>
                <c:pt idx="5603" formatCode="#,##0_);\(#,##0\);&quot;-  &quot;;&quot; &quot;@&quot; &quot;">
                  <c:v>0</c:v>
                </c:pt>
                <c:pt idx="5604" formatCode="#,##0_);\(#,##0\);&quot;-  &quot;;&quot; &quot;@&quot; &quot;">
                  <c:v>0</c:v>
                </c:pt>
                <c:pt idx="5605" formatCode="#,##0_);\(#,##0\);&quot;-  &quot;;&quot; &quot;@&quot; &quot;">
                  <c:v>0</c:v>
                </c:pt>
                <c:pt idx="5606" formatCode="#,##0_);\(#,##0\);&quot;-  &quot;;&quot; &quot;@&quot; &quot;">
                  <c:v>0</c:v>
                </c:pt>
                <c:pt idx="5607" formatCode="#,##0_);\(#,##0\);&quot;-  &quot;;&quot; &quot;@&quot; &quot;">
                  <c:v>0</c:v>
                </c:pt>
                <c:pt idx="5608" formatCode="#,##0_);\(#,##0\);&quot;-  &quot;;&quot; &quot;@&quot; &quot;">
                  <c:v>0</c:v>
                </c:pt>
                <c:pt idx="5609" formatCode="#,##0_);\(#,##0\);&quot;-  &quot;;&quot; &quot;@&quot; &quot;">
                  <c:v>0</c:v>
                </c:pt>
                <c:pt idx="5610" formatCode="#,##0_);\(#,##0\);&quot;-  &quot;;&quot; &quot;@&quot; &quot;">
                  <c:v>0</c:v>
                </c:pt>
                <c:pt idx="5611" formatCode="#,##0_);\(#,##0\);&quot;-  &quot;;&quot; &quot;@&quot; &quot;">
                  <c:v>0</c:v>
                </c:pt>
                <c:pt idx="5612" formatCode="#,##0_);\(#,##0\);&quot;-  &quot;;&quot; &quot;@&quot; &quot;">
                  <c:v>0</c:v>
                </c:pt>
                <c:pt idx="5613" formatCode="#,##0_);\(#,##0\);&quot;-  &quot;;&quot; &quot;@&quot; &quot;">
                  <c:v>0</c:v>
                </c:pt>
                <c:pt idx="5614" formatCode="#,##0_);\(#,##0\);&quot;-  &quot;;&quot; &quot;@&quot; &quot;">
                  <c:v>0</c:v>
                </c:pt>
                <c:pt idx="5615" formatCode="#,##0_);\(#,##0\);&quot;-  &quot;;&quot; &quot;@&quot; &quot;">
                  <c:v>0</c:v>
                </c:pt>
                <c:pt idx="5616" formatCode="#,##0_);\(#,##0\);&quot;-  &quot;;&quot; &quot;@&quot; &quot;">
                  <c:v>0</c:v>
                </c:pt>
                <c:pt idx="5617" formatCode="#,##0_);\(#,##0\);&quot;-  &quot;;&quot; &quot;@&quot; &quot;">
                  <c:v>0</c:v>
                </c:pt>
                <c:pt idx="5618" formatCode="#,##0_);\(#,##0\);&quot;-  &quot;;&quot; &quot;@&quot; &quot;">
                  <c:v>0</c:v>
                </c:pt>
                <c:pt idx="5619" formatCode="#,##0_);\(#,##0\);&quot;-  &quot;;&quot; &quot;@&quot; &quot;">
                  <c:v>0</c:v>
                </c:pt>
                <c:pt idx="5620" formatCode="#,##0_);\(#,##0\);&quot;-  &quot;;&quot; &quot;@&quot; &quot;">
                  <c:v>0</c:v>
                </c:pt>
                <c:pt idx="5621" formatCode="#,##0_);\(#,##0\);&quot;-  &quot;;&quot; &quot;@&quot; &quot;">
                  <c:v>0</c:v>
                </c:pt>
                <c:pt idx="5622" formatCode="#,##0_);\(#,##0\);&quot;-  &quot;;&quot; &quot;@&quot; &quot;">
                  <c:v>0</c:v>
                </c:pt>
                <c:pt idx="5623" formatCode="#,##0_);\(#,##0\);&quot;-  &quot;;&quot; &quot;@&quot; &quot;">
                  <c:v>0</c:v>
                </c:pt>
                <c:pt idx="5624" formatCode="#,##0_);\(#,##0\);&quot;-  &quot;;&quot; &quot;@&quot; &quot;">
                  <c:v>0</c:v>
                </c:pt>
                <c:pt idx="5625" formatCode="#,##0_);\(#,##0\);&quot;-  &quot;;&quot; &quot;@&quot; &quot;">
                  <c:v>0</c:v>
                </c:pt>
                <c:pt idx="5626" formatCode="#,##0_);\(#,##0\);&quot;-  &quot;;&quot; &quot;@&quot; &quot;">
                  <c:v>0</c:v>
                </c:pt>
                <c:pt idx="5627" formatCode="#,##0_);\(#,##0\);&quot;-  &quot;;&quot; &quot;@&quot; &quot;">
                  <c:v>0</c:v>
                </c:pt>
                <c:pt idx="5628" formatCode="#,##0_);\(#,##0\);&quot;-  &quot;;&quot; &quot;@&quot; &quot;">
                  <c:v>0</c:v>
                </c:pt>
                <c:pt idx="5629" formatCode="#,##0_);\(#,##0\);&quot;-  &quot;;&quot; &quot;@&quot; &quot;">
                  <c:v>0</c:v>
                </c:pt>
                <c:pt idx="5630" formatCode="#,##0_);\(#,##0\);&quot;-  &quot;;&quot; &quot;@&quot; &quot;">
                  <c:v>0</c:v>
                </c:pt>
                <c:pt idx="5631" formatCode="#,##0_);\(#,##0\);&quot;-  &quot;;&quot; &quot;@&quot; &quot;">
                  <c:v>0</c:v>
                </c:pt>
                <c:pt idx="5632" formatCode="#,##0_);\(#,##0\);&quot;-  &quot;;&quot; &quot;@&quot; &quot;">
                  <c:v>0</c:v>
                </c:pt>
                <c:pt idx="5633" formatCode="#,##0_);\(#,##0\);&quot;-  &quot;;&quot; &quot;@&quot; &quot;">
                  <c:v>0</c:v>
                </c:pt>
                <c:pt idx="5634" formatCode="#,##0_);\(#,##0\);&quot;-  &quot;;&quot; &quot;@&quot; &quot;">
                  <c:v>0</c:v>
                </c:pt>
                <c:pt idx="5635" formatCode="#,##0_);\(#,##0\);&quot;-  &quot;;&quot; &quot;@&quot; &quot;">
                  <c:v>0</c:v>
                </c:pt>
                <c:pt idx="5636" formatCode="#,##0_);\(#,##0\);&quot;-  &quot;;&quot; &quot;@&quot; &quot;">
                  <c:v>0</c:v>
                </c:pt>
                <c:pt idx="5637" formatCode="#,##0_);\(#,##0\);&quot;-  &quot;;&quot; &quot;@&quot; &quot;">
                  <c:v>0</c:v>
                </c:pt>
                <c:pt idx="5638" formatCode="#,##0_);\(#,##0\);&quot;-  &quot;;&quot; &quot;@&quot; &quot;">
                  <c:v>0</c:v>
                </c:pt>
                <c:pt idx="5639" formatCode="#,##0_);\(#,##0\);&quot;-  &quot;;&quot; &quot;@&quot; &quot;">
                  <c:v>0</c:v>
                </c:pt>
                <c:pt idx="5640" formatCode="#,##0_);\(#,##0\);&quot;-  &quot;;&quot; &quot;@&quot; &quot;">
                  <c:v>0</c:v>
                </c:pt>
                <c:pt idx="5641" formatCode="#,##0_);\(#,##0\);&quot;-  &quot;;&quot; &quot;@&quot; &quot;">
                  <c:v>0</c:v>
                </c:pt>
                <c:pt idx="5642" formatCode="#,##0_);\(#,##0\);&quot;-  &quot;;&quot; &quot;@&quot; &quot;">
                  <c:v>0</c:v>
                </c:pt>
                <c:pt idx="5643" formatCode="#,##0_);\(#,##0\);&quot;-  &quot;;&quot; &quot;@&quot; &quot;">
                  <c:v>0</c:v>
                </c:pt>
                <c:pt idx="5644" formatCode="#,##0_);\(#,##0\);&quot;-  &quot;;&quot; &quot;@&quot; &quot;">
                  <c:v>0</c:v>
                </c:pt>
                <c:pt idx="5645" formatCode="#,##0_);\(#,##0\);&quot;-  &quot;;&quot; &quot;@&quot; &quot;">
                  <c:v>0</c:v>
                </c:pt>
                <c:pt idx="5646" formatCode="#,##0_);\(#,##0\);&quot;-  &quot;;&quot; &quot;@&quot; &quot;">
                  <c:v>0</c:v>
                </c:pt>
                <c:pt idx="5647" formatCode="#,##0_);\(#,##0\);&quot;-  &quot;;&quot; &quot;@&quot; &quot;">
                  <c:v>0</c:v>
                </c:pt>
                <c:pt idx="5648" formatCode="#,##0_);\(#,##0\);&quot;-  &quot;;&quot; &quot;@&quot; &quot;">
                  <c:v>0</c:v>
                </c:pt>
                <c:pt idx="5649" formatCode="#,##0_);\(#,##0\);&quot;-  &quot;;&quot; &quot;@&quot; &quot;">
                  <c:v>0</c:v>
                </c:pt>
                <c:pt idx="5650" formatCode="#,##0_);\(#,##0\);&quot;-  &quot;;&quot; &quot;@&quot; &quot;">
                  <c:v>0</c:v>
                </c:pt>
                <c:pt idx="5651" formatCode="#,##0_);\(#,##0\);&quot;-  &quot;;&quot; &quot;@&quot; &quot;">
                  <c:v>0</c:v>
                </c:pt>
                <c:pt idx="5652" formatCode="#,##0_);\(#,##0\);&quot;-  &quot;;&quot; &quot;@&quot; &quot;">
                  <c:v>0</c:v>
                </c:pt>
                <c:pt idx="5653" formatCode="#,##0_);\(#,##0\);&quot;-  &quot;;&quot; &quot;@&quot; &quot;">
                  <c:v>0</c:v>
                </c:pt>
                <c:pt idx="5654" formatCode="#,##0_);\(#,##0\);&quot;-  &quot;;&quot; &quot;@&quot; &quot;">
                  <c:v>0</c:v>
                </c:pt>
                <c:pt idx="5655" formatCode="#,##0_);\(#,##0\);&quot;-  &quot;;&quot; &quot;@&quot; &quot;">
                  <c:v>0</c:v>
                </c:pt>
                <c:pt idx="5656" formatCode="#,##0_);\(#,##0\);&quot;-  &quot;;&quot; &quot;@&quot; &quot;">
                  <c:v>0</c:v>
                </c:pt>
                <c:pt idx="5657" formatCode="#,##0_);\(#,##0\);&quot;-  &quot;;&quot; &quot;@&quot; &quot;">
                  <c:v>0</c:v>
                </c:pt>
                <c:pt idx="5658" formatCode="#,##0_);\(#,##0\);&quot;-  &quot;;&quot; &quot;@&quot; &quot;">
                  <c:v>0</c:v>
                </c:pt>
                <c:pt idx="5659" formatCode="#,##0_);\(#,##0\);&quot;-  &quot;;&quot; &quot;@&quot; &quot;">
                  <c:v>0</c:v>
                </c:pt>
                <c:pt idx="5660" formatCode="#,##0_);\(#,##0\);&quot;-  &quot;;&quot; &quot;@&quot; &quot;">
                  <c:v>0</c:v>
                </c:pt>
                <c:pt idx="5661" formatCode="#,##0_);\(#,##0\);&quot;-  &quot;;&quot; &quot;@&quot; &quot;">
                  <c:v>0</c:v>
                </c:pt>
                <c:pt idx="5662" formatCode="#,##0_);\(#,##0\);&quot;-  &quot;;&quot; &quot;@&quot; &quot;">
                  <c:v>0</c:v>
                </c:pt>
                <c:pt idx="5663" formatCode="#,##0_);\(#,##0\);&quot;-  &quot;;&quot; &quot;@&quot; &quot;">
                  <c:v>0</c:v>
                </c:pt>
                <c:pt idx="5664" formatCode="#,##0_);\(#,##0\);&quot;-  &quot;;&quot; &quot;@&quot; &quot;">
                  <c:v>0</c:v>
                </c:pt>
                <c:pt idx="5665" formatCode="#,##0_);\(#,##0\);&quot;-  &quot;;&quot; &quot;@&quot; &quot;">
                  <c:v>0</c:v>
                </c:pt>
                <c:pt idx="5666" formatCode="#,##0_);\(#,##0\);&quot;-  &quot;;&quot; &quot;@&quot; &quot;">
                  <c:v>0</c:v>
                </c:pt>
                <c:pt idx="5667" formatCode="#,##0_);\(#,##0\);&quot;-  &quot;;&quot; &quot;@&quot; &quot;">
                  <c:v>0</c:v>
                </c:pt>
                <c:pt idx="5668" formatCode="#,##0_);\(#,##0\);&quot;-  &quot;;&quot; &quot;@&quot; &quot;">
                  <c:v>0</c:v>
                </c:pt>
                <c:pt idx="5669" formatCode="#,##0_);\(#,##0\);&quot;-  &quot;;&quot; &quot;@&quot; &quot;">
                  <c:v>0</c:v>
                </c:pt>
                <c:pt idx="5670" formatCode="#,##0_);\(#,##0\);&quot;-  &quot;;&quot; &quot;@&quot; &quot;">
                  <c:v>0</c:v>
                </c:pt>
                <c:pt idx="5671" formatCode="#,##0_);\(#,##0\);&quot;-  &quot;;&quot; &quot;@&quot; &quot;">
                  <c:v>0</c:v>
                </c:pt>
                <c:pt idx="5672" formatCode="#,##0_);\(#,##0\);&quot;-  &quot;;&quot; &quot;@&quot; &quot;">
                  <c:v>0</c:v>
                </c:pt>
                <c:pt idx="5673" formatCode="#,##0_);\(#,##0\);&quot;-  &quot;;&quot; &quot;@&quot; &quot;">
                  <c:v>0</c:v>
                </c:pt>
                <c:pt idx="5674" formatCode="#,##0_);\(#,##0\);&quot;-  &quot;;&quot; &quot;@&quot; &quot;">
                  <c:v>0</c:v>
                </c:pt>
                <c:pt idx="5675" formatCode="#,##0_);\(#,##0\);&quot;-  &quot;;&quot; &quot;@&quot; &quot;">
                  <c:v>0</c:v>
                </c:pt>
                <c:pt idx="5676" formatCode="#,##0_);\(#,##0\);&quot;-  &quot;;&quot; &quot;@&quot; &quot;">
                  <c:v>0</c:v>
                </c:pt>
                <c:pt idx="5677" formatCode="#,##0_);\(#,##0\);&quot;-  &quot;;&quot; &quot;@&quot; &quot;">
                  <c:v>0</c:v>
                </c:pt>
                <c:pt idx="5678" formatCode="#,##0_);\(#,##0\);&quot;-  &quot;;&quot; &quot;@&quot; &quot;">
                  <c:v>0</c:v>
                </c:pt>
                <c:pt idx="5679" formatCode="#,##0_);\(#,##0\);&quot;-  &quot;;&quot; &quot;@&quot; &quot;">
                  <c:v>0</c:v>
                </c:pt>
                <c:pt idx="5680" formatCode="#,##0_);\(#,##0\);&quot;-  &quot;;&quot; &quot;@&quot; &quot;">
                  <c:v>0</c:v>
                </c:pt>
                <c:pt idx="5681" formatCode="#,##0_);\(#,##0\);&quot;-  &quot;;&quot; &quot;@&quot; &quot;">
                  <c:v>0</c:v>
                </c:pt>
                <c:pt idx="5682" formatCode="#,##0_);\(#,##0\);&quot;-  &quot;;&quot; &quot;@&quot; &quot;">
                  <c:v>0</c:v>
                </c:pt>
                <c:pt idx="5683" formatCode="#,##0_);\(#,##0\);&quot;-  &quot;;&quot; &quot;@&quot; &quot;">
                  <c:v>0</c:v>
                </c:pt>
                <c:pt idx="5684" formatCode="#,##0_);\(#,##0\);&quot;-  &quot;;&quot; &quot;@&quot; &quot;">
                  <c:v>0</c:v>
                </c:pt>
                <c:pt idx="5685" formatCode="#,##0_);\(#,##0\);&quot;-  &quot;;&quot; &quot;@&quot; &quot;">
                  <c:v>0</c:v>
                </c:pt>
                <c:pt idx="5686" formatCode="#,##0_);\(#,##0\);&quot;-  &quot;;&quot; &quot;@&quot; &quot;">
                  <c:v>0</c:v>
                </c:pt>
                <c:pt idx="5687" formatCode="#,##0_);\(#,##0\);&quot;-  &quot;;&quot; &quot;@&quot; &quot;">
                  <c:v>0</c:v>
                </c:pt>
                <c:pt idx="5688" formatCode="#,##0_);\(#,##0\);&quot;-  &quot;;&quot; &quot;@&quot; &quot;">
                  <c:v>0</c:v>
                </c:pt>
                <c:pt idx="5689" formatCode="#,##0_);\(#,##0\);&quot;-  &quot;;&quot; &quot;@&quot; &quot;">
                  <c:v>0</c:v>
                </c:pt>
                <c:pt idx="5690" formatCode="#,##0_);\(#,##0\);&quot;-  &quot;;&quot; &quot;@&quot; &quot;">
                  <c:v>0</c:v>
                </c:pt>
                <c:pt idx="5691" formatCode="#,##0_);\(#,##0\);&quot;-  &quot;;&quot; &quot;@&quot; &quot;">
                  <c:v>0</c:v>
                </c:pt>
                <c:pt idx="5692" formatCode="#,##0_);\(#,##0\);&quot;-  &quot;;&quot; &quot;@&quot; &quot;">
                  <c:v>0</c:v>
                </c:pt>
                <c:pt idx="5693" formatCode="#,##0_);\(#,##0\);&quot;-  &quot;;&quot; &quot;@&quot; &quot;">
                  <c:v>0</c:v>
                </c:pt>
                <c:pt idx="5694" formatCode="#,##0_);\(#,##0\);&quot;-  &quot;;&quot; &quot;@&quot; &quot;">
                  <c:v>0</c:v>
                </c:pt>
                <c:pt idx="5695" formatCode="#,##0_);\(#,##0\);&quot;-  &quot;;&quot; &quot;@&quot; &quot;">
                  <c:v>0</c:v>
                </c:pt>
                <c:pt idx="5696" formatCode="#,##0_);\(#,##0\);&quot;-  &quot;;&quot; &quot;@&quot; &quot;">
                  <c:v>0</c:v>
                </c:pt>
                <c:pt idx="5697" formatCode="#,##0_);\(#,##0\);&quot;-  &quot;;&quot; &quot;@&quot; &quot;">
                  <c:v>0</c:v>
                </c:pt>
                <c:pt idx="5698" formatCode="#,##0_);\(#,##0\);&quot;-  &quot;;&quot; &quot;@&quot; &quot;">
                  <c:v>0</c:v>
                </c:pt>
                <c:pt idx="5699" formatCode="#,##0_);\(#,##0\);&quot;-  &quot;;&quot; &quot;@&quot; &quot;">
                  <c:v>0</c:v>
                </c:pt>
                <c:pt idx="5700" formatCode="#,##0_);\(#,##0\);&quot;-  &quot;;&quot; &quot;@&quot; &quot;">
                  <c:v>0</c:v>
                </c:pt>
                <c:pt idx="5701" formatCode="#,##0_);\(#,##0\);&quot;-  &quot;;&quot; &quot;@&quot; &quot;">
                  <c:v>0</c:v>
                </c:pt>
                <c:pt idx="5702" formatCode="#,##0_);\(#,##0\);&quot;-  &quot;;&quot; &quot;@&quot; &quot;">
                  <c:v>0</c:v>
                </c:pt>
                <c:pt idx="5703" formatCode="#,##0_);\(#,##0\);&quot;-  &quot;;&quot; &quot;@&quot; &quot;">
                  <c:v>0</c:v>
                </c:pt>
                <c:pt idx="5704" formatCode="#,##0_);\(#,##0\);&quot;-  &quot;;&quot; &quot;@&quot; &quot;">
                  <c:v>0</c:v>
                </c:pt>
                <c:pt idx="5705" formatCode="#,##0_);\(#,##0\);&quot;-  &quot;;&quot; &quot;@&quot; &quot;">
                  <c:v>0</c:v>
                </c:pt>
                <c:pt idx="5706" formatCode="#,##0_);\(#,##0\);&quot;-  &quot;;&quot; &quot;@&quot; &quot;">
                  <c:v>0</c:v>
                </c:pt>
                <c:pt idx="5707" formatCode="#,##0_);\(#,##0\);&quot;-  &quot;;&quot; &quot;@&quot; &quot;">
                  <c:v>0</c:v>
                </c:pt>
                <c:pt idx="5708" formatCode="#,##0_);\(#,##0\);&quot;-  &quot;;&quot; &quot;@&quot; &quot;">
                  <c:v>0</c:v>
                </c:pt>
                <c:pt idx="5709" formatCode="#,##0_);\(#,##0\);&quot;-  &quot;;&quot; &quot;@&quot; &quot;">
                  <c:v>0</c:v>
                </c:pt>
                <c:pt idx="5710" formatCode="#,##0_);\(#,##0\);&quot;-  &quot;;&quot; &quot;@&quot; &quot;">
                  <c:v>0</c:v>
                </c:pt>
                <c:pt idx="5711" formatCode="#,##0_);\(#,##0\);&quot;-  &quot;;&quot; &quot;@&quot; &quot;">
                  <c:v>0</c:v>
                </c:pt>
                <c:pt idx="5712" formatCode="#,##0_);\(#,##0\);&quot;-  &quot;;&quot; &quot;@&quot; &quot;">
                  <c:v>0</c:v>
                </c:pt>
                <c:pt idx="5713" formatCode="#,##0_);\(#,##0\);&quot;-  &quot;;&quot; &quot;@&quot; &quot;">
                  <c:v>0</c:v>
                </c:pt>
                <c:pt idx="5714" formatCode="#,##0_);\(#,##0\);&quot;-  &quot;;&quot; &quot;@&quot; &quot;">
                  <c:v>0</c:v>
                </c:pt>
                <c:pt idx="5715" formatCode="#,##0_);\(#,##0\);&quot;-  &quot;;&quot; &quot;@&quot; &quot;">
                  <c:v>0</c:v>
                </c:pt>
                <c:pt idx="5716" formatCode="#,##0_);\(#,##0\);&quot;-  &quot;;&quot; &quot;@&quot; &quot;">
                  <c:v>0</c:v>
                </c:pt>
                <c:pt idx="5717" formatCode="#,##0_);\(#,##0\);&quot;-  &quot;;&quot; &quot;@&quot; &quot;">
                  <c:v>0</c:v>
                </c:pt>
                <c:pt idx="5718" formatCode="#,##0_);\(#,##0\);&quot;-  &quot;;&quot; &quot;@&quot; &quot;">
                  <c:v>0</c:v>
                </c:pt>
                <c:pt idx="5719" formatCode="#,##0_);\(#,##0\);&quot;-  &quot;;&quot; &quot;@&quot; &quot;">
                  <c:v>0</c:v>
                </c:pt>
                <c:pt idx="5720" formatCode="#,##0_);\(#,##0\);&quot;-  &quot;;&quot; &quot;@&quot; &quot;">
                  <c:v>0</c:v>
                </c:pt>
                <c:pt idx="5721" formatCode="#,##0_);\(#,##0\);&quot;-  &quot;;&quot; &quot;@&quot; &quot;">
                  <c:v>0</c:v>
                </c:pt>
                <c:pt idx="5722" formatCode="#,##0_);\(#,##0\);&quot;-  &quot;;&quot; &quot;@&quot; &quot;">
                  <c:v>0</c:v>
                </c:pt>
                <c:pt idx="5723" formatCode="#,##0_);\(#,##0\);&quot;-  &quot;;&quot; &quot;@&quot; &quot;">
                  <c:v>0</c:v>
                </c:pt>
                <c:pt idx="5724" formatCode="#,##0_);\(#,##0\);&quot;-  &quot;;&quot; &quot;@&quot; &quot;">
                  <c:v>0</c:v>
                </c:pt>
                <c:pt idx="5725" formatCode="#,##0_);\(#,##0\);&quot;-  &quot;;&quot; &quot;@&quot; &quot;">
                  <c:v>0</c:v>
                </c:pt>
                <c:pt idx="5726" formatCode="#,##0_);\(#,##0\);&quot;-  &quot;;&quot; &quot;@&quot; &quot;">
                  <c:v>0</c:v>
                </c:pt>
                <c:pt idx="5727" formatCode="#,##0_);\(#,##0\);&quot;-  &quot;;&quot; &quot;@&quot; &quot;">
                  <c:v>0</c:v>
                </c:pt>
                <c:pt idx="5728" formatCode="#,##0_);\(#,##0\);&quot;-  &quot;;&quot; &quot;@&quot; &quot;">
                  <c:v>0</c:v>
                </c:pt>
                <c:pt idx="5729" formatCode="#,##0_);\(#,##0\);&quot;-  &quot;;&quot; &quot;@&quot; &quot;">
                  <c:v>0</c:v>
                </c:pt>
                <c:pt idx="5730" formatCode="#,##0_);\(#,##0\);&quot;-  &quot;;&quot; &quot;@&quot; &quot;">
                  <c:v>0</c:v>
                </c:pt>
                <c:pt idx="5731" formatCode="#,##0_);\(#,##0\);&quot;-  &quot;;&quot; &quot;@&quot; &quot;">
                  <c:v>0</c:v>
                </c:pt>
                <c:pt idx="5732" formatCode="#,##0_);\(#,##0\);&quot;-  &quot;;&quot; &quot;@&quot; &quot;">
                  <c:v>0</c:v>
                </c:pt>
                <c:pt idx="5733" formatCode="#,##0_);\(#,##0\);&quot;-  &quot;;&quot; &quot;@&quot; &quot;">
                  <c:v>0</c:v>
                </c:pt>
                <c:pt idx="5734" formatCode="#,##0_);\(#,##0\);&quot;-  &quot;;&quot; &quot;@&quot; &quot;">
                  <c:v>0</c:v>
                </c:pt>
                <c:pt idx="5735" formatCode="#,##0_);\(#,##0\);&quot;-  &quot;;&quot; &quot;@&quot; &quot;">
                  <c:v>0</c:v>
                </c:pt>
                <c:pt idx="5736" formatCode="#,##0_);\(#,##0\);&quot;-  &quot;;&quot; &quot;@&quot; &quot;">
                  <c:v>0</c:v>
                </c:pt>
                <c:pt idx="5737" formatCode="#,##0_);\(#,##0\);&quot;-  &quot;;&quot; &quot;@&quot; &quot;">
                  <c:v>0</c:v>
                </c:pt>
                <c:pt idx="5738" formatCode="#,##0_);\(#,##0\);&quot;-  &quot;;&quot; &quot;@&quot; &quot;">
                  <c:v>0</c:v>
                </c:pt>
                <c:pt idx="5739" formatCode="#,##0_);\(#,##0\);&quot;-  &quot;;&quot; &quot;@&quot; &quot;">
                  <c:v>0</c:v>
                </c:pt>
                <c:pt idx="5740" formatCode="#,##0_);\(#,##0\);&quot;-  &quot;;&quot; &quot;@&quot; &quot;">
                  <c:v>0</c:v>
                </c:pt>
                <c:pt idx="5741" formatCode="#,##0_);\(#,##0\);&quot;-  &quot;;&quot; &quot;@&quot; &quot;">
                  <c:v>0</c:v>
                </c:pt>
                <c:pt idx="5742" formatCode="#,##0_);\(#,##0\);&quot;-  &quot;;&quot; &quot;@&quot; &quot;">
                  <c:v>0</c:v>
                </c:pt>
                <c:pt idx="5743" formatCode="#,##0_);\(#,##0\);&quot;-  &quot;;&quot; &quot;@&quot; &quot;">
                  <c:v>0</c:v>
                </c:pt>
                <c:pt idx="5744" formatCode="#,##0_);\(#,##0\);&quot;-  &quot;;&quot; &quot;@&quot; &quot;">
                  <c:v>0</c:v>
                </c:pt>
                <c:pt idx="5745" formatCode="#,##0_);\(#,##0\);&quot;-  &quot;;&quot; &quot;@&quot; &quot;">
                  <c:v>0</c:v>
                </c:pt>
                <c:pt idx="5746" formatCode="#,##0_);\(#,##0\);&quot;-  &quot;;&quot; &quot;@&quot; &quot;">
                  <c:v>0</c:v>
                </c:pt>
                <c:pt idx="5747" formatCode="#,##0_);\(#,##0\);&quot;-  &quot;;&quot; &quot;@&quot; &quot;">
                  <c:v>0</c:v>
                </c:pt>
                <c:pt idx="5748" formatCode="#,##0_);\(#,##0\);&quot;-  &quot;;&quot; &quot;@&quot; &quot;">
                  <c:v>0</c:v>
                </c:pt>
                <c:pt idx="5749" formatCode="#,##0_);\(#,##0\);&quot;-  &quot;;&quot; &quot;@&quot; &quot;">
                  <c:v>0</c:v>
                </c:pt>
                <c:pt idx="5750" formatCode="#,##0_);\(#,##0\);&quot;-  &quot;;&quot; &quot;@&quot; &quot;">
                  <c:v>0</c:v>
                </c:pt>
                <c:pt idx="5751" formatCode="#,##0_);\(#,##0\);&quot;-  &quot;;&quot; &quot;@&quot; &quot;">
                  <c:v>0</c:v>
                </c:pt>
                <c:pt idx="5752" formatCode="#,##0_);\(#,##0\);&quot;-  &quot;;&quot; &quot;@&quot; &quot;">
                  <c:v>0</c:v>
                </c:pt>
                <c:pt idx="5753" formatCode="#,##0_);\(#,##0\);&quot;-  &quot;;&quot; &quot;@&quot; &quot;">
                  <c:v>0</c:v>
                </c:pt>
                <c:pt idx="5754" formatCode="#,##0_);\(#,##0\);&quot;-  &quot;;&quot; &quot;@&quot; &quot;">
                  <c:v>0</c:v>
                </c:pt>
                <c:pt idx="5755" formatCode="#,##0_);\(#,##0\);&quot;-  &quot;;&quot; &quot;@&quot; &quot;">
                  <c:v>0</c:v>
                </c:pt>
                <c:pt idx="5756" formatCode="#,##0_);\(#,##0\);&quot;-  &quot;;&quot; &quot;@&quot; &quot;">
                  <c:v>0</c:v>
                </c:pt>
                <c:pt idx="5757" formatCode="#,##0_);\(#,##0\);&quot;-  &quot;;&quot; &quot;@&quot; &quot;">
                  <c:v>0</c:v>
                </c:pt>
                <c:pt idx="5758" formatCode="#,##0_);\(#,##0\);&quot;-  &quot;;&quot; &quot;@&quot; &quot;">
                  <c:v>0</c:v>
                </c:pt>
                <c:pt idx="5759" formatCode="#,##0_);\(#,##0\);&quot;-  &quot;;&quot; &quot;@&quot; &quot;">
                  <c:v>0</c:v>
                </c:pt>
                <c:pt idx="5760" formatCode="#,##0_);\(#,##0\);&quot;-  &quot;;&quot; &quot;@&quot; &quot;">
                  <c:v>0</c:v>
                </c:pt>
                <c:pt idx="5761" formatCode="#,##0_);\(#,##0\);&quot;-  &quot;;&quot; &quot;@&quot; &quot;">
                  <c:v>0</c:v>
                </c:pt>
                <c:pt idx="5762" formatCode="#,##0_);\(#,##0\);&quot;-  &quot;;&quot; &quot;@&quot; &quot;">
                  <c:v>0</c:v>
                </c:pt>
                <c:pt idx="5763" formatCode="#,##0_);\(#,##0\);&quot;-  &quot;;&quot; &quot;@&quot; &quot;">
                  <c:v>0</c:v>
                </c:pt>
                <c:pt idx="5764" formatCode="#,##0_);\(#,##0\);&quot;-  &quot;;&quot; &quot;@&quot; &quot;">
                  <c:v>0</c:v>
                </c:pt>
                <c:pt idx="5765" formatCode="#,##0_);\(#,##0\);&quot;-  &quot;;&quot; &quot;@&quot; &quot;">
                  <c:v>0</c:v>
                </c:pt>
                <c:pt idx="5766" formatCode="#,##0_);\(#,##0\);&quot;-  &quot;;&quot; &quot;@&quot; &quot;">
                  <c:v>0</c:v>
                </c:pt>
                <c:pt idx="5767" formatCode="#,##0_);\(#,##0\);&quot;-  &quot;;&quot; &quot;@&quot; &quot;">
                  <c:v>0</c:v>
                </c:pt>
                <c:pt idx="5768" formatCode="#,##0_);\(#,##0\);&quot;-  &quot;;&quot; &quot;@&quot; &quot;">
                  <c:v>0</c:v>
                </c:pt>
                <c:pt idx="5769" formatCode="#,##0_);\(#,##0\);&quot;-  &quot;;&quot; &quot;@&quot; &quot;">
                  <c:v>0</c:v>
                </c:pt>
                <c:pt idx="5770" formatCode="#,##0_);\(#,##0\);&quot;-  &quot;;&quot; &quot;@&quot; &quot;">
                  <c:v>0</c:v>
                </c:pt>
                <c:pt idx="5771" formatCode="#,##0_);\(#,##0\);&quot;-  &quot;;&quot; &quot;@&quot; &quot;">
                  <c:v>0</c:v>
                </c:pt>
                <c:pt idx="5772" formatCode="#,##0_);\(#,##0\);&quot;-  &quot;;&quot; &quot;@&quot; &quot;">
                  <c:v>0</c:v>
                </c:pt>
                <c:pt idx="5773" formatCode="#,##0_);\(#,##0\);&quot;-  &quot;;&quot; &quot;@&quot; &quot;">
                  <c:v>0</c:v>
                </c:pt>
                <c:pt idx="5774" formatCode="#,##0_);\(#,##0\);&quot;-  &quot;;&quot; &quot;@&quot; &quot;">
                  <c:v>0</c:v>
                </c:pt>
                <c:pt idx="5775" formatCode="#,##0_);\(#,##0\);&quot;-  &quot;;&quot; &quot;@&quot; &quot;">
                  <c:v>0</c:v>
                </c:pt>
                <c:pt idx="5776" formatCode="#,##0_);\(#,##0\);&quot;-  &quot;;&quot; &quot;@&quot; &quot;">
                  <c:v>0</c:v>
                </c:pt>
                <c:pt idx="5777" formatCode="#,##0_);\(#,##0\);&quot;-  &quot;;&quot; &quot;@&quot; &quot;">
                  <c:v>0</c:v>
                </c:pt>
                <c:pt idx="5778" formatCode="#,##0_);\(#,##0\);&quot;-  &quot;;&quot; &quot;@&quot; &quot;">
                  <c:v>0</c:v>
                </c:pt>
                <c:pt idx="5779" formatCode="#,##0_);\(#,##0\);&quot;-  &quot;;&quot; &quot;@&quot; &quot;">
                  <c:v>0</c:v>
                </c:pt>
                <c:pt idx="5780" formatCode="#,##0_);\(#,##0\);&quot;-  &quot;;&quot; &quot;@&quot; &quot;">
                  <c:v>0</c:v>
                </c:pt>
                <c:pt idx="5781" formatCode="#,##0_);\(#,##0\);&quot;-  &quot;;&quot; &quot;@&quot; &quot;">
                  <c:v>0</c:v>
                </c:pt>
                <c:pt idx="5782" formatCode="#,##0_);\(#,##0\);&quot;-  &quot;;&quot; &quot;@&quot; &quot;">
                  <c:v>0</c:v>
                </c:pt>
                <c:pt idx="5783" formatCode="#,##0_);\(#,##0\);&quot;-  &quot;;&quot; &quot;@&quot; &quot;">
                  <c:v>0</c:v>
                </c:pt>
                <c:pt idx="5784" formatCode="#,##0_);\(#,##0\);&quot;-  &quot;;&quot; &quot;@&quot; &quot;">
                  <c:v>0</c:v>
                </c:pt>
                <c:pt idx="5785" formatCode="#,##0_);\(#,##0\);&quot;-  &quot;;&quot; &quot;@&quot; &quot;">
                  <c:v>0</c:v>
                </c:pt>
                <c:pt idx="5786" formatCode="#,##0_);\(#,##0\);&quot;-  &quot;;&quot; &quot;@&quot; &quot;">
                  <c:v>0</c:v>
                </c:pt>
                <c:pt idx="5787" formatCode="#,##0_);\(#,##0\);&quot;-  &quot;;&quot; &quot;@&quot; &quot;">
                  <c:v>0</c:v>
                </c:pt>
                <c:pt idx="5788" formatCode="#,##0_);\(#,##0\);&quot;-  &quot;;&quot; &quot;@&quot; &quot;">
                  <c:v>0</c:v>
                </c:pt>
                <c:pt idx="5789" formatCode="#,##0_);\(#,##0\);&quot;-  &quot;;&quot; &quot;@&quot; &quot;">
                  <c:v>0</c:v>
                </c:pt>
                <c:pt idx="5790" formatCode="#,##0_);\(#,##0\);&quot;-  &quot;;&quot; &quot;@&quot; &quot;">
                  <c:v>0</c:v>
                </c:pt>
                <c:pt idx="5791" formatCode="#,##0_);\(#,##0\);&quot;-  &quot;;&quot; &quot;@&quot; &quot;">
                  <c:v>0</c:v>
                </c:pt>
                <c:pt idx="5792" formatCode="#,##0_);\(#,##0\);&quot;-  &quot;;&quot; &quot;@&quot; &quot;">
                  <c:v>0</c:v>
                </c:pt>
                <c:pt idx="5793" formatCode="#,##0_);\(#,##0\);&quot;-  &quot;;&quot; &quot;@&quot; &quot;">
                  <c:v>0</c:v>
                </c:pt>
                <c:pt idx="5794" formatCode="#,##0_);\(#,##0\);&quot;-  &quot;;&quot; &quot;@&quot; &quot;">
                  <c:v>0</c:v>
                </c:pt>
                <c:pt idx="5795" formatCode="#,##0_);\(#,##0\);&quot;-  &quot;;&quot; &quot;@&quot; &quot;">
                  <c:v>0</c:v>
                </c:pt>
                <c:pt idx="5796" formatCode="#,##0_);\(#,##0\);&quot;-  &quot;;&quot; &quot;@&quot; &quot;">
                  <c:v>0</c:v>
                </c:pt>
                <c:pt idx="5797" formatCode="#,##0_);\(#,##0\);&quot;-  &quot;;&quot; &quot;@&quot; &quot;">
                  <c:v>0</c:v>
                </c:pt>
                <c:pt idx="5798" formatCode="#,##0_);\(#,##0\);&quot;-  &quot;;&quot; &quot;@&quot; &quot;">
                  <c:v>0</c:v>
                </c:pt>
                <c:pt idx="5799" formatCode="#,##0_);\(#,##0\);&quot;-  &quot;;&quot; &quot;@&quot; &quot;">
                  <c:v>0</c:v>
                </c:pt>
                <c:pt idx="5800" formatCode="#,##0_);\(#,##0\);&quot;-  &quot;;&quot; &quot;@&quot; &quot;">
                  <c:v>0</c:v>
                </c:pt>
                <c:pt idx="5801" formatCode="#,##0_);\(#,##0\);&quot;-  &quot;;&quot; &quot;@&quot; &quot;">
                  <c:v>0</c:v>
                </c:pt>
                <c:pt idx="5802" formatCode="#,##0_);\(#,##0\);&quot;-  &quot;;&quot; &quot;@&quot; &quot;">
                  <c:v>0</c:v>
                </c:pt>
                <c:pt idx="5803" formatCode="#,##0_);\(#,##0\);&quot;-  &quot;;&quot; &quot;@&quot; &quot;">
                  <c:v>0</c:v>
                </c:pt>
                <c:pt idx="5804" formatCode="#,##0_);\(#,##0\);&quot;-  &quot;;&quot; &quot;@&quot; &quot;">
                  <c:v>0</c:v>
                </c:pt>
                <c:pt idx="5805" formatCode="#,##0_);\(#,##0\);&quot;-  &quot;;&quot; &quot;@&quot; &quot;">
                  <c:v>0</c:v>
                </c:pt>
                <c:pt idx="5806" formatCode="#,##0_);\(#,##0\);&quot;-  &quot;;&quot; &quot;@&quot; &quot;">
                  <c:v>0</c:v>
                </c:pt>
                <c:pt idx="5807" formatCode="#,##0_);\(#,##0\);&quot;-  &quot;;&quot; &quot;@&quot; &quot;">
                  <c:v>0</c:v>
                </c:pt>
                <c:pt idx="5808" formatCode="#,##0_);\(#,##0\);&quot;-  &quot;;&quot; &quot;@&quot; &quot;">
                  <c:v>0</c:v>
                </c:pt>
                <c:pt idx="5809" formatCode="#,##0_);\(#,##0\);&quot;-  &quot;;&quot; &quot;@&quot; &quot;">
                  <c:v>0</c:v>
                </c:pt>
                <c:pt idx="5810" formatCode="#,##0_);\(#,##0\);&quot;-  &quot;;&quot; &quot;@&quot; &quot;">
                  <c:v>0</c:v>
                </c:pt>
                <c:pt idx="5811" formatCode="#,##0_);\(#,##0\);&quot;-  &quot;;&quot; &quot;@&quot; &quot;">
                  <c:v>0</c:v>
                </c:pt>
                <c:pt idx="5812" formatCode="#,##0_);\(#,##0\);&quot;-  &quot;;&quot; &quot;@&quot; &quot;">
                  <c:v>0</c:v>
                </c:pt>
                <c:pt idx="5813" formatCode="#,##0_);\(#,##0\);&quot;-  &quot;;&quot; &quot;@&quot; &quot;">
                  <c:v>0</c:v>
                </c:pt>
                <c:pt idx="5814" formatCode="#,##0_);\(#,##0\);&quot;-  &quot;;&quot; &quot;@&quot; &quot;">
                  <c:v>0</c:v>
                </c:pt>
                <c:pt idx="5815" formatCode="#,##0_);\(#,##0\);&quot;-  &quot;;&quot; &quot;@&quot; &quot;">
                  <c:v>0</c:v>
                </c:pt>
                <c:pt idx="5816" formatCode="#,##0_);\(#,##0\);&quot;-  &quot;;&quot; &quot;@&quot; &quot;">
                  <c:v>0</c:v>
                </c:pt>
                <c:pt idx="5817" formatCode="#,##0_);\(#,##0\);&quot;-  &quot;;&quot; &quot;@&quot; &quot;">
                  <c:v>0</c:v>
                </c:pt>
                <c:pt idx="5818" formatCode="#,##0_);\(#,##0\);&quot;-  &quot;;&quot; &quot;@&quot; &quot;">
                  <c:v>0</c:v>
                </c:pt>
                <c:pt idx="5819" formatCode="#,##0_);\(#,##0\);&quot;-  &quot;;&quot; &quot;@&quot; &quot;">
                  <c:v>0</c:v>
                </c:pt>
                <c:pt idx="5820" formatCode="#,##0_);\(#,##0\);&quot;-  &quot;;&quot; &quot;@&quot; &quot;">
                  <c:v>0</c:v>
                </c:pt>
                <c:pt idx="5821" formatCode="#,##0_);\(#,##0\);&quot;-  &quot;;&quot; &quot;@&quot; &quot;">
                  <c:v>0</c:v>
                </c:pt>
                <c:pt idx="5822" formatCode="#,##0_);\(#,##0\);&quot;-  &quot;;&quot; &quot;@&quot; &quot;">
                  <c:v>0</c:v>
                </c:pt>
                <c:pt idx="5823" formatCode="#,##0_);\(#,##0\);&quot;-  &quot;;&quot; &quot;@&quot; &quot;">
                  <c:v>0</c:v>
                </c:pt>
                <c:pt idx="5824" formatCode="#,##0_);\(#,##0\);&quot;-  &quot;;&quot; &quot;@&quot; &quot;">
                  <c:v>0</c:v>
                </c:pt>
                <c:pt idx="5825" formatCode="#,##0_);\(#,##0\);&quot;-  &quot;;&quot; &quot;@&quot; &quot;">
                  <c:v>0</c:v>
                </c:pt>
                <c:pt idx="5826" formatCode="#,##0_);\(#,##0\);&quot;-  &quot;;&quot; &quot;@&quot; &quot;">
                  <c:v>0</c:v>
                </c:pt>
                <c:pt idx="5827" formatCode="#,##0_);\(#,##0\);&quot;-  &quot;;&quot; &quot;@&quot; &quot;">
                  <c:v>0</c:v>
                </c:pt>
                <c:pt idx="5828" formatCode="#,##0_);\(#,##0\);&quot;-  &quot;;&quot; &quot;@&quot; &quot;">
                  <c:v>0</c:v>
                </c:pt>
                <c:pt idx="5829" formatCode="#,##0_);\(#,##0\);&quot;-  &quot;;&quot; &quot;@&quot; &quot;">
                  <c:v>0</c:v>
                </c:pt>
                <c:pt idx="5830" formatCode="#,##0_);\(#,##0\);&quot;-  &quot;;&quot; &quot;@&quot; &quot;">
                  <c:v>0</c:v>
                </c:pt>
                <c:pt idx="5831" formatCode="#,##0_);\(#,##0\);&quot;-  &quot;;&quot; &quot;@&quot; &quot;">
                  <c:v>0</c:v>
                </c:pt>
                <c:pt idx="5832" formatCode="#,##0_);\(#,##0\);&quot;-  &quot;;&quot; &quot;@&quot; &quot;">
                  <c:v>0</c:v>
                </c:pt>
                <c:pt idx="5833" formatCode="#,##0_);\(#,##0\);&quot;-  &quot;;&quot; &quot;@&quot; &quot;">
                  <c:v>0</c:v>
                </c:pt>
                <c:pt idx="5834" formatCode="#,##0_);\(#,##0\);&quot;-  &quot;;&quot; &quot;@&quot; &quot;">
                  <c:v>0</c:v>
                </c:pt>
                <c:pt idx="5835" formatCode="#,##0_);\(#,##0\);&quot;-  &quot;;&quot; &quot;@&quot; &quot;">
                  <c:v>0</c:v>
                </c:pt>
                <c:pt idx="5836" formatCode="#,##0_);\(#,##0\);&quot;-  &quot;;&quot; &quot;@&quot; &quot;">
                  <c:v>0</c:v>
                </c:pt>
                <c:pt idx="5837" formatCode="#,##0_);\(#,##0\);&quot;-  &quot;;&quot; &quot;@&quot; &quot;">
                  <c:v>0</c:v>
                </c:pt>
                <c:pt idx="5838" formatCode="#,##0_);\(#,##0\);&quot;-  &quot;;&quot; &quot;@&quot; &quot;">
                  <c:v>0</c:v>
                </c:pt>
                <c:pt idx="5839" formatCode="#,##0_);\(#,##0\);&quot;-  &quot;;&quot; &quot;@&quot; &quot;">
                  <c:v>0</c:v>
                </c:pt>
                <c:pt idx="5840" formatCode="#,##0_);\(#,##0\);&quot;-  &quot;;&quot; &quot;@&quot; &quot;">
                  <c:v>0</c:v>
                </c:pt>
                <c:pt idx="5841" formatCode="#,##0_);\(#,##0\);&quot;-  &quot;;&quot; &quot;@&quot; &quot;">
                  <c:v>0</c:v>
                </c:pt>
                <c:pt idx="5842" formatCode="#,##0_);\(#,##0\);&quot;-  &quot;;&quot; &quot;@&quot; &quot;">
                  <c:v>0</c:v>
                </c:pt>
                <c:pt idx="5843" formatCode="#,##0_);\(#,##0\);&quot;-  &quot;;&quot; &quot;@&quot; &quot;">
                  <c:v>0</c:v>
                </c:pt>
                <c:pt idx="5844" formatCode="#,##0_);\(#,##0\);&quot;-  &quot;;&quot; &quot;@&quot; &quot;">
                  <c:v>0</c:v>
                </c:pt>
                <c:pt idx="5845" formatCode="#,##0_);\(#,##0\);&quot;-  &quot;;&quot; &quot;@&quot; &quot;">
                  <c:v>0</c:v>
                </c:pt>
                <c:pt idx="5846" formatCode="#,##0_);\(#,##0\);&quot;-  &quot;;&quot; &quot;@&quot; &quot;">
                  <c:v>0</c:v>
                </c:pt>
                <c:pt idx="5847" formatCode="#,##0_);\(#,##0\);&quot;-  &quot;;&quot; &quot;@&quot; &quot;">
                  <c:v>0</c:v>
                </c:pt>
                <c:pt idx="5848" formatCode="#,##0_);\(#,##0\);&quot;-  &quot;;&quot; &quot;@&quot; &quot;">
                  <c:v>0</c:v>
                </c:pt>
                <c:pt idx="5849" formatCode="#,##0_);\(#,##0\);&quot;-  &quot;;&quot; &quot;@&quot; &quot;">
                  <c:v>0</c:v>
                </c:pt>
                <c:pt idx="5850" formatCode="#,##0_);\(#,##0\);&quot;-  &quot;;&quot; &quot;@&quot; &quot;">
                  <c:v>0</c:v>
                </c:pt>
                <c:pt idx="5851" formatCode="#,##0_);\(#,##0\);&quot;-  &quot;;&quot; &quot;@&quot; &quot;">
                  <c:v>0</c:v>
                </c:pt>
                <c:pt idx="5852" formatCode="#,##0_);\(#,##0\);&quot;-  &quot;;&quot; &quot;@&quot; &quot;">
                  <c:v>0</c:v>
                </c:pt>
                <c:pt idx="5853" formatCode="#,##0_);\(#,##0\);&quot;-  &quot;;&quot; &quot;@&quot; &quot;">
                  <c:v>0</c:v>
                </c:pt>
                <c:pt idx="5854" formatCode="#,##0_);\(#,##0\);&quot;-  &quot;;&quot; &quot;@&quot; &quot;">
                  <c:v>0</c:v>
                </c:pt>
                <c:pt idx="5855" formatCode="#,##0_);\(#,##0\);&quot;-  &quot;;&quot; &quot;@&quot; &quot;">
                  <c:v>0</c:v>
                </c:pt>
                <c:pt idx="5856" formatCode="#,##0_);\(#,##0\);&quot;-  &quot;;&quot; &quot;@&quot; &quot;">
                  <c:v>0</c:v>
                </c:pt>
                <c:pt idx="5857" formatCode="#,##0_);\(#,##0\);&quot;-  &quot;;&quot; &quot;@&quot; &quot;">
                  <c:v>0</c:v>
                </c:pt>
                <c:pt idx="5858" formatCode="#,##0_);\(#,##0\);&quot;-  &quot;;&quot; &quot;@&quot; &quot;">
                  <c:v>0</c:v>
                </c:pt>
                <c:pt idx="5859" formatCode="#,##0_);\(#,##0\);&quot;-  &quot;;&quot; &quot;@&quot; &quot;">
                  <c:v>0</c:v>
                </c:pt>
                <c:pt idx="5860" formatCode="#,##0_);\(#,##0\);&quot;-  &quot;;&quot; &quot;@&quot; &quot;">
                  <c:v>0</c:v>
                </c:pt>
                <c:pt idx="5861" formatCode="#,##0_);\(#,##0\);&quot;-  &quot;;&quot; &quot;@&quot; &quot;">
                  <c:v>0</c:v>
                </c:pt>
                <c:pt idx="5862" formatCode="#,##0_);\(#,##0\);&quot;-  &quot;;&quot; &quot;@&quot; &quot;">
                  <c:v>0</c:v>
                </c:pt>
                <c:pt idx="5863" formatCode="#,##0_);\(#,##0\);&quot;-  &quot;;&quot; &quot;@&quot; &quot;">
                  <c:v>0</c:v>
                </c:pt>
                <c:pt idx="5864" formatCode="#,##0_);\(#,##0\);&quot;-  &quot;;&quot; &quot;@&quot; &quot;">
                  <c:v>0</c:v>
                </c:pt>
                <c:pt idx="5865" formatCode="#,##0_);\(#,##0\);&quot;-  &quot;;&quot; &quot;@&quot; &quot;">
                  <c:v>0</c:v>
                </c:pt>
                <c:pt idx="5866" formatCode="#,##0_);\(#,##0\);&quot;-  &quot;;&quot; &quot;@&quot; &quot;">
                  <c:v>0</c:v>
                </c:pt>
                <c:pt idx="5867" formatCode="#,##0_);\(#,##0\);&quot;-  &quot;;&quot; &quot;@&quot; &quot;">
                  <c:v>0</c:v>
                </c:pt>
                <c:pt idx="5868" formatCode="#,##0_);\(#,##0\);&quot;-  &quot;;&quot; &quot;@&quot; &quot;">
                  <c:v>0</c:v>
                </c:pt>
                <c:pt idx="5869" formatCode="#,##0_);\(#,##0\);&quot;-  &quot;;&quot; &quot;@&quot; &quot;">
                  <c:v>0</c:v>
                </c:pt>
                <c:pt idx="5870" formatCode="#,##0_);\(#,##0\);&quot;-  &quot;;&quot; &quot;@&quot; &quot;">
                  <c:v>0</c:v>
                </c:pt>
                <c:pt idx="5871" formatCode="#,##0_);\(#,##0\);&quot;-  &quot;;&quot; &quot;@&quot; &quot;">
                  <c:v>0</c:v>
                </c:pt>
                <c:pt idx="5872" formatCode="#,##0_);\(#,##0\);&quot;-  &quot;;&quot; &quot;@&quot; &quot;">
                  <c:v>0</c:v>
                </c:pt>
                <c:pt idx="5873" formatCode="#,##0_);\(#,##0\);&quot;-  &quot;;&quot; &quot;@&quot; &quot;">
                  <c:v>0</c:v>
                </c:pt>
                <c:pt idx="5874" formatCode="#,##0_);\(#,##0\);&quot;-  &quot;;&quot; &quot;@&quot; &quot;">
                  <c:v>0</c:v>
                </c:pt>
                <c:pt idx="5875" formatCode="#,##0_);\(#,##0\);&quot;-  &quot;;&quot; &quot;@&quot; &quot;">
                  <c:v>0</c:v>
                </c:pt>
                <c:pt idx="5876" formatCode="#,##0_);\(#,##0\);&quot;-  &quot;;&quot; &quot;@&quot; &quot;">
                  <c:v>0</c:v>
                </c:pt>
                <c:pt idx="5877" formatCode="#,##0_);\(#,##0\);&quot;-  &quot;;&quot; &quot;@&quot; &quot;">
                  <c:v>0</c:v>
                </c:pt>
                <c:pt idx="5878" formatCode="#,##0_);\(#,##0\);&quot;-  &quot;;&quot; &quot;@&quot; &quot;">
                  <c:v>0</c:v>
                </c:pt>
                <c:pt idx="5879" formatCode="#,##0_);\(#,##0\);&quot;-  &quot;;&quot; &quot;@&quot; &quot;">
                  <c:v>0</c:v>
                </c:pt>
                <c:pt idx="5880" formatCode="#,##0_);\(#,##0\);&quot;-  &quot;;&quot; &quot;@&quot; &quot;">
                  <c:v>0</c:v>
                </c:pt>
                <c:pt idx="5881" formatCode="#,##0_);\(#,##0\);&quot;-  &quot;;&quot; &quot;@&quot; &quot;">
                  <c:v>0</c:v>
                </c:pt>
                <c:pt idx="5882" formatCode="#,##0_);\(#,##0\);&quot;-  &quot;;&quot; &quot;@&quot; &quot;">
                  <c:v>0</c:v>
                </c:pt>
                <c:pt idx="5883" formatCode="#,##0_);\(#,##0\);&quot;-  &quot;;&quot; &quot;@&quot; &quot;">
                  <c:v>0</c:v>
                </c:pt>
                <c:pt idx="5884" formatCode="#,##0_);\(#,##0\);&quot;-  &quot;;&quot; &quot;@&quot; &quot;">
                  <c:v>0</c:v>
                </c:pt>
                <c:pt idx="5885" formatCode="#,##0_);\(#,##0\);&quot;-  &quot;;&quot; &quot;@&quot; &quot;">
                  <c:v>0</c:v>
                </c:pt>
                <c:pt idx="5886" formatCode="#,##0_);\(#,##0\);&quot;-  &quot;;&quot; &quot;@&quot; &quot;">
                  <c:v>0</c:v>
                </c:pt>
                <c:pt idx="5887" formatCode="#,##0_);\(#,##0\);&quot;-  &quot;;&quot; &quot;@&quot; &quot;">
                  <c:v>0</c:v>
                </c:pt>
                <c:pt idx="5888" formatCode="#,##0_);\(#,##0\);&quot;-  &quot;;&quot; &quot;@&quot; &quot;">
                  <c:v>0</c:v>
                </c:pt>
                <c:pt idx="5889" formatCode="#,##0_);\(#,##0\);&quot;-  &quot;;&quot; &quot;@&quot; &quot;">
                  <c:v>0</c:v>
                </c:pt>
                <c:pt idx="5890" formatCode="#,##0_);\(#,##0\);&quot;-  &quot;;&quot; &quot;@&quot; &quot;">
                  <c:v>0</c:v>
                </c:pt>
                <c:pt idx="5891" formatCode="#,##0_);\(#,##0\);&quot;-  &quot;;&quot; &quot;@&quot; &quot;">
                  <c:v>0</c:v>
                </c:pt>
                <c:pt idx="5892" formatCode="#,##0_);\(#,##0\);&quot;-  &quot;;&quot; &quot;@&quot; &quot;">
                  <c:v>0</c:v>
                </c:pt>
                <c:pt idx="5893" formatCode="#,##0_);\(#,##0\);&quot;-  &quot;;&quot; &quot;@&quot; &quot;">
                  <c:v>0</c:v>
                </c:pt>
                <c:pt idx="5894" formatCode="#,##0_);\(#,##0\);&quot;-  &quot;;&quot; &quot;@&quot; &quot;">
                  <c:v>0</c:v>
                </c:pt>
                <c:pt idx="5895" formatCode="#,##0_);\(#,##0\);&quot;-  &quot;;&quot; &quot;@&quot; &quot;">
                  <c:v>0</c:v>
                </c:pt>
                <c:pt idx="5896" formatCode="#,##0_);\(#,##0\);&quot;-  &quot;;&quot; &quot;@&quot; &quot;">
                  <c:v>0</c:v>
                </c:pt>
                <c:pt idx="5897" formatCode="#,##0_);\(#,##0\);&quot;-  &quot;;&quot; &quot;@&quot; &quot;">
                  <c:v>0</c:v>
                </c:pt>
                <c:pt idx="5898" formatCode="#,##0_);\(#,##0\);&quot;-  &quot;;&quot; &quot;@&quot; &quot;">
                  <c:v>0</c:v>
                </c:pt>
                <c:pt idx="5899" formatCode="#,##0_);\(#,##0\);&quot;-  &quot;;&quot; &quot;@&quot; &quot;">
                  <c:v>0</c:v>
                </c:pt>
                <c:pt idx="5900" formatCode="#,##0_);\(#,##0\);&quot;-  &quot;;&quot; &quot;@&quot; &quot;">
                  <c:v>0</c:v>
                </c:pt>
                <c:pt idx="5901" formatCode="#,##0_);\(#,##0\);&quot;-  &quot;;&quot; &quot;@&quot; &quot;">
                  <c:v>0</c:v>
                </c:pt>
                <c:pt idx="5902" formatCode="#,##0_);\(#,##0\);&quot;-  &quot;;&quot; &quot;@&quot; &quot;">
                  <c:v>0</c:v>
                </c:pt>
                <c:pt idx="5903" formatCode="#,##0_);\(#,##0\);&quot;-  &quot;;&quot; &quot;@&quot; &quot;">
                  <c:v>0</c:v>
                </c:pt>
                <c:pt idx="5904" formatCode="#,##0_);\(#,##0\);&quot;-  &quot;;&quot; &quot;@&quot; &quot;">
                  <c:v>0</c:v>
                </c:pt>
                <c:pt idx="5905" formatCode="#,##0_);\(#,##0\);&quot;-  &quot;;&quot; &quot;@&quot; &quot;">
                  <c:v>0</c:v>
                </c:pt>
                <c:pt idx="5906" formatCode="#,##0_);\(#,##0\);&quot;-  &quot;;&quot; &quot;@&quot; &quot;">
                  <c:v>0</c:v>
                </c:pt>
                <c:pt idx="5907" formatCode="#,##0_);\(#,##0\);&quot;-  &quot;;&quot; &quot;@&quot; &quot;">
                  <c:v>0</c:v>
                </c:pt>
                <c:pt idx="5908" formatCode="#,##0_);\(#,##0\);&quot;-  &quot;;&quot; &quot;@&quot; &quot;">
                  <c:v>0</c:v>
                </c:pt>
                <c:pt idx="5909" formatCode="#,##0_);\(#,##0\);&quot;-  &quot;;&quot; &quot;@&quot; &quot;">
                  <c:v>0</c:v>
                </c:pt>
                <c:pt idx="5910" formatCode="#,##0_);\(#,##0\);&quot;-  &quot;;&quot; &quot;@&quot; &quot;">
                  <c:v>0</c:v>
                </c:pt>
                <c:pt idx="5911" formatCode="#,##0_);\(#,##0\);&quot;-  &quot;;&quot; &quot;@&quot; &quot;">
                  <c:v>0</c:v>
                </c:pt>
                <c:pt idx="5912" formatCode="#,##0_);\(#,##0\);&quot;-  &quot;;&quot; &quot;@&quot; &quot;">
                  <c:v>0</c:v>
                </c:pt>
                <c:pt idx="5913" formatCode="#,##0_);\(#,##0\);&quot;-  &quot;;&quot; &quot;@&quot; &quot;">
                  <c:v>0</c:v>
                </c:pt>
                <c:pt idx="5914" formatCode="#,##0_);\(#,##0\);&quot;-  &quot;;&quot; &quot;@&quot; &quot;">
                  <c:v>0</c:v>
                </c:pt>
                <c:pt idx="5915" formatCode="#,##0_);\(#,##0\);&quot;-  &quot;;&quot; &quot;@&quot; &quot;">
                  <c:v>0</c:v>
                </c:pt>
                <c:pt idx="5916" formatCode="#,##0_);\(#,##0\);&quot;-  &quot;;&quot; &quot;@&quot; &quot;">
                  <c:v>0</c:v>
                </c:pt>
                <c:pt idx="5917" formatCode="#,##0_);\(#,##0\);&quot;-  &quot;;&quot; &quot;@&quot; &quot;">
                  <c:v>0</c:v>
                </c:pt>
                <c:pt idx="5918" formatCode="#,##0_);\(#,##0\);&quot;-  &quot;;&quot; &quot;@&quot; &quot;">
                  <c:v>0</c:v>
                </c:pt>
                <c:pt idx="5919" formatCode="#,##0_);\(#,##0\);&quot;-  &quot;;&quot; &quot;@&quot; &quot;">
                  <c:v>0</c:v>
                </c:pt>
                <c:pt idx="5920" formatCode="#,##0_);\(#,##0\);&quot;-  &quot;;&quot; &quot;@&quot; &quot;">
                  <c:v>0</c:v>
                </c:pt>
                <c:pt idx="5921" formatCode="#,##0_);\(#,##0\);&quot;-  &quot;;&quot; &quot;@&quot; &quot;">
                  <c:v>0</c:v>
                </c:pt>
                <c:pt idx="5922" formatCode="#,##0_);\(#,##0\);&quot;-  &quot;;&quot; &quot;@&quot; &quot;">
                  <c:v>0</c:v>
                </c:pt>
                <c:pt idx="5923" formatCode="#,##0_);\(#,##0\);&quot;-  &quot;;&quot; &quot;@&quot; &quot;">
                  <c:v>0</c:v>
                </c:pt>
                <c:pt idx="5924" formatCode="#,##0_);\(#,##0\);&quot;-  &quot;;&quot; &quot;@&quot; &quot;">
                  <c:v>0</c:v>
                </c:pt>
                <c:pt idx="5925" formatCode="#,##0_);\(#,##0\);&quot;-  &quot;;&quot; &quot;@&quot; &quot;">
                  <c:v>0</c:v>
                </c:pt>
                <c:pt idx="5926" formatCode="#,##0_);\(#,##0\);&quot;-  &quot;;&quot; &quot;@&quot; &quot;">
                  <c:v>0</c:v>
                </c:pt>
                <c:pt idx="5927" formatCode="#,##0_);\(#,##0\);&quot;-  &quot;;&quot; &quot;@&quot; &quot;">
                  <c:v>0</c:v>
                </c:pt>
                <c:pt idx="5928" formatCode="#,##0_);\(#,##0\);&quot;-  &quot;;&quot; &quot;@&quot; &quot;">
                  <c:v>0</c:v>
                </c:pt>
                <c:pt idx="5929" formatCode="#,##0_);\(#,##0\);&quot;-  &quot;;&quot; &quot;@&quot; &quot;">
                  <c:v>0</c:v>
                </c:pt>
                <c:pt idx="5930" formatCode="#,##0_);\(#,##0\);&quot;-  &quot;;&quot; &quot;@&quot; &quot;">
                  <c:v>0</c:v>
                </c:pt>
                <c:pt idx="5931" formatCode="#,##0_);\(#,##0\);&quot;-  &quot;;&quot; &quot;@&quot; &quot;">
                  <c:v>0</c:v>
                </c:pt>
                <c:pt idx="5932" formatCode="#,##0_);\(#,##0\);&quot;-  &quot;;&quot; &quot;@&quot; &quot;">
                  <c:v>0</c:v>
                </c:pt>
                <c:pt idx="5933" formatCode="#,##0_);\(#,##0\);&quot;-  &quot;;&quot; &quot;@&quot; &quot;">
                  <c:v>0</c:v>
                </c:pt>
                <c:pt idx="5934" formatCode="#,##0_);\(#,##0\);&quot;-  &quot;;&quot; &quot;@&quot; &quot;">
                  <c:v>0</c:v>
                </c:pt>
                <c:pt idx="5935" formatCode="#,##0_);\(#,##0\);&quot;-  &quot;;&quot; &quot;@&quot; &quot;">
                  <c:v>0</c:v>
                </c:pt>
                <c:pt idx="5936" formatCode="#,##0_);\(#,##0\);&quot;-  &quot;;&quot; &quot;@&quot; &quot;">
                  <c:v>0</c:v>
                </c:pt>
                <c:pt idx="5937" formatCode="#,##0_);\(#,##0\);&quot;-  &quot;;&quot; &quot;@&quot; &quot;">
                  <c:v>0</c:v>
                </c:pt>
                <c:pt idx="5938" formatCode="#,##0_);\(#,##0\);&quot;-  &quot;;&quot; &quot;@&quot; &quot;">
                  <c:v>0</c:v>
                </c:pt>
                <c:pt idx="5939" formatCode="#,##0_);\(#,##0\);&quot;-  &quot;;&quot; &quot;@&quot; &quot;">
                  <c:v>0</c:v>
                </c:pt>
                <c:pt idx="5940" formatCode="#,##0_);\(#,##0\);&quot;-  &quot;;&quot; &quot;@&quot; &quot;">
                  <c:v>0</c:v>
                </c:pt>
                <c:pt idx="5941" formatCode="#,##0_);\(#,##0\);&quot;-  &quot;;&quot; &quot;@&quot; &quot;">
                  <c:v>0</c:v>
                </c:pt>
                <c:pt idx="5942" formatCode="#,##0_);\(#,##0\);&quot;-  &quot;;&quot; &quot;@&quot; &quot;">
                  <c:v>0</c:v>
                </c:pt>
                <c:pt idx="5943" formatCode="#,##0_);\(#,##0\);&quot;-  &quot;;&quot; &quot;@&quot; &quot;">
                  <c:v>0</c:v>
                </c:pt>
                <c:pt idx="5944" formatCode="#,##0_);\(#,##0\);&quot;-  &quot;;&quot; &quot;@&quot; &quot;">
                  <c:v>0</c:v>
                </c:pt>
                <c:pt idx="5945" formatCode="#,##0_);\(#,##0\);&quot;-  &quot;;&quot; &quot;@&quot; &quot;">
                  <c:v>0</c:v>
                </c:pt>
                <c:pt idx="5946" formatCode="#,##0_);\(#,##0\);&quot;-  &quot;;&quot; &quot;@&quot; &quot;">
                  <c:v>0</c:v>
                </c:pt>
                <c:pt idx="5947" formatCode="#,##0_);\(#,##0\);&quot;-  &quot;;&quot; &quot;@&quot; &quot;">
                  <c:v>0</c:v>
                </c:pt>
                <c:pt idx="5948" formatCode="#,##0_);\(#,##0\);&quot;-  &quot;;&quot; &quot;@&quot; &quot;">
                  <c:v>0</c:v>
                </c:pt>
                <c:pt idx="5949" formatCode="#,##0_);\(#,##0\);&quot;-  &quot;;&quot; &quot;@&quot; &quot;">
                  <c:v>0</c:v>
                </c:pt>
                <c:pt idx="5950" formatCode="#,##0_);\(#,##0\);&quot;-  &quot;;&quot; &quot;@&quot; &quot;">
                  <c:v>0</c:v>
                </c:pt>
                <c:pt idx="5951" formatCode="#,##0_);\(#,##0\);&quot;-  &quot;;&quot; &quot;@&quot; &quot;">
                  <c:v>0</c:v>
                </c:pt>
                <c:pt idx="5952" formatCode="#,##0_);\(#,##0\);&quot;-  &quot;;&quot; &quot;@&quot; &quot;">
                  <c:v>0</c:v>
                </c:pt>
                <c:pt idx="5953" formatCode="#,##0_);\(#,##0\);&quot;-  &quot;;&quot; &quot;@&quot; &quot;">
                  <c:v>0</c:v>
                </c:pt>
                <c:pt idx="5954" formatCode="#,##0_);\(#,##0\);&quot;-  &quot;;&quot; &quot;@&quot; &quot;">
                  <c:v>0</c:v>
                </c:pt>
                <c:pt idx="5955" formatCode="#,##0_);\(#,##0\);&quot;-  &quot;;&quot; &quot;@&quot; &quot;">
                  <c:v>0</c:v>
                </c:pt>
                <c:pt idx="5956" formatCode="#,##0_);\(#,##0\);&quot;-  &quot;;&quot; &quot;@&quot; &quot;">
                  <c:v>0</c:v>
                </c:pt>
                <c:pt idx="5957" formatCode="#,##0_);\(#,##0\);&quot;-  &quot;;&quot; &quot;@&quot; &quot;">
                  <c:v>0</c:v>
                </c:pt>
                <c:pt idx="5958" formatCode="#,##0_);\(#,##0\);&quot;-  &quot;;&quot; &quot;@&quot; &quot;">
                  <c:v>0</c:v>
                </c:pt>
                <c:pt idx="5959" formatCode="#,##0_);\(#,##0\);&quot;-  &quot;;&quot; &quot;@&quot; &quot;">
                  <c:v>0</c:v>
                </c:pt>
                <c:pt idx="5960" formatCode="#,##0_);\(#,##0\);&quot;-  &quot;;&quot; &quot;@&quot; &quot;">
                  <c:v>0</c:v>
                </c:pt>
                <c:pt idx="5961" formatCode="#,##0_);\(#,##0\);&quot;-  &quot;;&quot; &quot;@&quot; &quot;">
                  <c:v>0</c:v>
                </c:pt>
                <c:pt idx="5962" formatCode="#,##0_);\(#,##0\);&quot;-  &quot;;&quot; &quot;@&quot; &quot;">
                  <c:v>0</c:v>
                </c:pt>
                <c:pt idx="5963" formatCode="#,##0_);\(#,##0\);&quot;-  &quot;;&quot; &quot;@&quot; &quot;">
                  <c:v>0</c:v>
                </c:pt>
                <c:pt idx="5964" formatCode="#,##0_);\(#,##0\);&quot;-  &quot;;&quot; &quot;@&quot; &quot;">
                  <c:v>0</c:v>
                </c:pt>
                <c:pt idx="5965" formatCode="#,##0_);\(#,##0\);&quot;-  &quot;;&quot; &quot;@&quot; &quot;">
                  <c:v>0</c:v>
                </c:pt>
                <c:pt idx="5966" formatCode="#,##0_);\(#,##0\);&quot;-  &quot;;&quot; &quot;@&quot; &quot;">
                  <c:v>0</c:v>
                </c:pt>
                <c:pt idx="5967" formatCode="#,##0_);\(#,##0\);&quot;-  &quot;;&quot; &quot;@&quot; &quot;">
                  <c:v>0</c:v>
                </c:pt>
                <c:pt idx="5968" formatCode="#,##0_);\(#,##0\);&quot;-  &quot;;&quot; &quot;@&quot; &quot;">
                  <c:v>0</c:v>
                </c:pt>
                <c:pt idx="5969" formatCode="#,##0_);\(#,##0\);&quot;-  &quot;;&quot; &quot;@&quot; &quot;">
                  <c:v>0</c:v>
                </c:pt>
                <c:pt idx="5970" formatCode="#,##0_);\(#,##0\);&quot;-  &quot;;&quot; &quot;@&quot; &quot;">
                  <c:v>0</c:v>
                </c:pt>
                <c:pt idx="5971" formatCode="#,##0_);\(#,##0\);&quot;-  &quot;;&quot; &quot;@&quot; &quot;">
                  <c:v>0</c:v>
                </c:pt>
                <c:pt idx="5972" formatCode="#,##0_);\(#,##0\);&quot;-  &quot;;&quot; &quot;@&quot; &quot;">
                  <c:v>0</c:v>
                </c:pt>
                <c:pt idx="5973" formatCode="#,##0_);\(#,##0\);&quot;-  &quot;;&quot; &quot;@&quot; &quot;">
                  <c:v>0</c:v>
                </c:pt>
                <c:pt idx="5974" formatCode="#,##0_);\(#,##0\);&quot;-  &quot;;&quot; &quot;@&quot; &quot;">
                  <c:v>0</c:v>
                </c:pt>
                <c:pt idx="5975" formatCode="#,##0_);\(#,##0\);&quot;-  &quot;;&quot; &quot;@&quot; &quot;">
                  <c:v>0</c:v>
                </c:pt>
                <c:pt idx="5976" formatCode="#,##0_);\(#,##0\);&quot;-  &quot;;&quot; &quot;@&quot; &quot;">
                  <c:v>0</c:v>
                </c:pt>
                <c:pt idx="5977" formatCode="#,##0_);\(#,##0\);&quot;-  &quot;;&quot; &quot;@&quot; &quot;">
                  <c:v>0</c:v>
                </c:pt>
                <c:pt idx="5978" formatCode="#,##0_);\(#,##0\);&quot;-  &quot;;&quot; &quot;@&quot; &quot;">
                  <c:v>0</c:v>
                </c:pt>
                <c:pt idx="5979" formatCode="#,##0_);\(#,##0\);&quot;-  &quot;;&quot; &quot;@&quot; &quot;">
                  <c:v>0</c:v>
                </c:pt>
                <c:pt idx="5980" formatCode="#,##0_);\(#,##0\);&quot;-  &quot;;&quot; &quot;@&quot; &quot;">
                  <c:v>0</c:v>
                </c:pt>
                <c:pt idx="5981" formatCode="#,##0_);\(#,##0\);&quot;-  &quot;;&quot; &quot;@&quot; &quot;">
                  <c:v>0</c:v>
                </c:pt>
                <c:pt idx="5982" formatCode="#,##0_);\(#,##0\);&quot;-  &quot;;&quot; &quot;@&quot; &quot;">
                  <c:v>0</c:v>
                </c:pt>
                <c:pt idx="5983" formatCode="#,##0_);\(#,##0\);&quot;-  &quot;;&quot; &quot;@&quot; &quot;">
                  <c:v>0</c:v>
                </c:pt>
                <c:pt idx="5984" formatCode="#,##0_);\(#,##0\);&quot;-  &quot;;&quot; &quot;@&quot; &quot;">
                  <c:v>0</c:v>
                </c:pt>
                <c:pt idx="5985" formatCode="#,##0_);\(#,##0\);&quot;-  &quot;;&quot; &quot;@&quot; &quot;">
                  <c:v>0</c:v>
                </c:pt>
                <c:pt idx="5986" formatCode="#,##0_);\(#,##0\);&quot;-  &quot;;&quot; &quot;@&quot; &quot;">
                  <c:v>0</c:v>
                </c:pt>
                <c:pt idx="5987" formatCode="#,##0_);\(#,##0\);&quot;-  &quot;;&quot; &quot;@&quot; &quot;">
                  <c:v>0</c:v>
                </c:pt>
                <c:pt idx="5988" formatCode="#,##0_);\(#,##0\);&quot;-  &quot;;&quot; &quot;@&quot; &quot;">
                  <c:v>0</c:v>
                </c:pt>
                <c:pt idx="5989" formatCode="#,##0_);\(#,##0\);&quot;-  &quot;;&quot; &quot;@&quot; &quot;">
                  <c:v>0</c:v>
                </c:pt>
                <c:pt idx="5990" formatCode="#,##0_);\(#,##0\);&quot;-  &quot;;&quot; &quot;@&quot; &quot;">
                  <c:v>0</c:v>
                </c:pt>
                <c:pt idx="5991" formatCode="#,##0_);\(#,##0\);&quot;-  &quot;;&quot; &quot;@&quot; &quot;">
                  <c:v>0</c:v>
                </c:pt>
                <c:pt idx="5992" formatCode="#,##0_);\(#,##0\);&quot;-  &quot;;&quot; &quot;@&quot; &quot;">
                  <c:v>0</c:v>
                </c:pt>
                <c:pt idx="5993" formatCode="#,##0_);\(#,##0\);&quot;-  &quot;;&quot; &quot;@&quot; &quot;">
                  <c:v>0</c:v>
                </c:pt>
                <c:pt idx="5994" formatCode="#,##0_);\(#,##0\);&quot;-  &quot;;&quot; &quot;@&quot; &quot;">
                  <c:v>0</c:v>
                </c:pt>
                <c:pt idx="5995" formatCode="#,##0_);\(#,##0\);&quot;-  &quot;;&quot; &quot;@&quot; &quot;">
                  <c:v>0</c:v>
                </c:pt>
                <c:pt idx="5996" formatCode="#,##0_);\(#,##0\);&quot;-  &quot;;&quot; &quot;@&quot; &quot;">
                  <c:v>0</c:v>
                </c:pt>
                <c:pt idx="5997" formatCode="#,##0_);\(#,##0\);&quot;-  &quot;;&quot; &quot;@&quot; &quot;">
                  <c:v>0</c:v>
                </c:pt>
                <c:pt idx="5998" formatCode="#,##0_);\(#,##0\);&quot;-  &quot;;&quot; &quot;@&quot; &quot;">
                  <c:v>0</c:v>
                </c:pt>
                <c:pt idx="5999" formatCode="#,##0_);\(#,##0\);&quot;-  &quot;;&quot; &quot;@&quot; &quot;">
                  <c:v>0</c:v>
                </c:pt>
                <c:pt idx="6000" formatCode="#,##0_);\(#,##0\);&quot;-  &quot;;&quot; &quot;@&quot; &quot;">
                  <c:v>0</c:v>
                </c:pt>
                <c:pt idx="6001" formatCode="#,##0_);\(#,##0\);&quot;-  &quot;;&quot; &quot;@&quot; &quot;">
                  <c:v>0</c:v>
                </c:pt>
                <c:pt idx="6002" formatCode="#,##0_);\(#,##0\);&quot;-  &quot;;&quot; &quot;@&quot; &quot;">
                  <c:v>0</c:v>
                </c:pt>
                <c:pt idx="6003" formatCode="#,##0_);\(#,##0\);&quot;-  &quot;;&quot; &quot;@&quot; &quot;">
                  <c:v>0</c:v>
                </c:pt>
                <c:pt idx="6004" formatCode="#,##0_);\(#,##0\);&quot;-  &quot;;&quot; &quot;@&quot; &quot;">
                  <c:v>0</c:v>
                </c:pt>
                <c:pt idx="6005" formatCode="#,##0_);\(#,##0\);&quot;-  &quot;;&quot; &quot;@&quot; &quot;">
                  <c:v>0</c:v>
                </c:pt>
                <c:pt idx="6006" formatCode="#,##0_);\(#,##0\);&quot;-  &quot;;&quot; &quot;@&quot; &quot;">
                  <c:v>0</c:v>
                </c:pt>
                <c:pt idx="6007" formatCode="#,##0_);\(#,##0\);&quot;-  &quot;;&quot; &quot;@&quot; &quot;">
                  <c:v>0</c:v>
                </c:pt>
                <c:pt idx="6008" formatCode="#,##0_);\(#,##0\);&quot;-  &quot;;&quot; &quot;@&quot; &quot;">
                  <c:v>0</c:v>
                </c:pt>
                <c:pt idx="6009" formatCode="#,##0_);\(#,##0\);&quot;-  &quot;;&quot; &quot;@&quot; &quot;">
                  <c:v>0</c:v>
                </c:pt>
                <c:pt idx="6010" formatCode="#,##0_);\(#,##0\);&quot;-  &quot;;&quot; &quot;@&quot; &quot;">
                  <c:v>0</c:v>
                </c:pt>
                <c:pt idx="6011" formatCode="#,##0_);\(#,##0\);&quot;-  &quot;;&quot; &quot;@&quot; &quot;">
                  <c:v>0</c:v>
                </c:pt>
                <c:pt idx="6012" formatCode="#,##0_);\(#,##0\);&quot;-  &quot;;&quot; &quot;@&quot; &quot;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3F-40E7-97EE-865B99DAA1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6916279"/>
        <c:axId val="106918439"/>
      </c:areaChart>
      <c:lineChart>
        <c:grouping val="standard"/>
        <c:varyColors val="0"/>
        <c:ser>
          <c:idx val="9"/>
          <c:order val="1"/>
          <c:tx>
            <c:strRef>
              <c:f>Platts!$I$23</c:f>
              <c:strCache>
                <c:ptCount val="1"/>
                <c:pt idx="0">
                  <c:v> Futures </c:v>
                </c:pt>
              </c:strCache>
            </c:strRef>
          </c:tx>
          <c:spPr>
            <a:ln w="19050">
              <a:solidFill>
                <a:srgbClr val="1E32FA"/>
              </a:solidFill>
              <a:prstDash val="sysDash"/>
            </a:ln>
          </c:spPr>
          <c:marker>
            <c:symbol val="none"/>
          </c:marker>
          <c:cat>
            <c:numRef>
              <c:f>Platts!$B$24:$B$6036</c:f>
              <c:numCache>
                <c:formatCode>dd\ mmm\ yyyy_);\(###0\);"-  ";" "@" "</c:formatCode>
                <c:ptCount val="6013"/>
                <c:pt idx="0">
                  <c:v>46357</c:v>
                </c:pt>
                <c:pt idx="1">
                  <c:v>46327</c:v>
                </c:pt>
                <c:pt idx="2">
                  <c:v>46296</c:v>
                </c:pt>
                <c:pt idx="3">
                  <c:v>46266</c:v>
                </c:pt>
                <c:pt idx="4">
                  <c:v>46235</c:v>
                </c:pt>
                <c:pt idx="5">
                  <c:v>46204</c:v>
                </c:pt>
                <c:pt idx="6">
                  <c:v>46174</c:v>
                </c:pt>
                <c:pt idx="7">
                  <c:v>46143</c:v>
                </c:pt>
                <c:pt idx="8">
                  <c:v>46113</c:v>
                </c:pt>
                <c:pt idx="9">
                  <c:v>46082</c:v>
                </c:pt>
                <c:pt idx="10">
                  <c:v>46054</c:v>
                </c:pt>
                <c:pt idx="11">
                  <c:v>46023</c:v>
                </c:pt>
                <c:pt idx="12">
                  <c:v>45992</c:v>
                </c:pt>
                <c:pt idx="13">
                  <c:v>45962</c:v>
                </c:pt>
                <c:pt idx="14">
                  <c:v>45931</c:v>
                </c:pt>
                <c:pt idx="15">
                  <c:v>45901</c:v>
                </c:pt>
                <c:pt idx="16">
                  <c:v>45870</c:v>
                </c:pt>
                <c:pt idx="17">
                  <c:v>45839</c:v>
                </c:pt>
                <c:pt idx="18">
                  <c:v>41639</c:v>
                </c:pt>
                <c:pt idx="19">
                  <c:v>41640</c:v>
                </c:pt>
                <c:pt idx="20">
                  <c:v>41641</c:v>
                </c:pt>
                <c:pt idx="21">
                  <c:v>41642</c:v>
                </c:pt>
                <c:pt idx="22">
                  <c:v>41645</c:v>
                </c:pt>
                <c:pt idx="23">
                  <c:v>41646</c:v>
                </c:pt>
                <c:pt idx="24">
                  <c:v>41647</c:v>
                </c:pt>
                <c:pt idx="25">
                  <c:v>41648</c:v>
                </c:pt>
                <c:pt idx="26">
                  <c:v>41649</c:v>
                </c:pt>
                <c:pt idx="27">
                  <c:v>41652</c:v>
                </c:pt>
                <c:pt idx="28">
                  <c:v>41653</c:v>
                </c:pt>
                <c:pt idx="29">
                  <c:v>41654</c:v>
                </c:pt>
                <c:pt idx="30">
                  <c:v>41655</c:v>
                </c:pt>
                <c:pt idx="31">
                  <c:v>41656</c:v>
                </c:pt>
                <c:pt idx="32">
                  <c:v>41659</c:v>
                </c:pt>
                <c:pt idx="33">
                  <c:v>41660</c:v>
                </c:pt>
                <c:pt idx="34">
                  <c:v>41661</c:v>
                </c:pt>
                <c:pt idx="35">
                  <c:v>41662</c:v>
                </c:pt>
                <c:pt idx="36">
                  <c:v>41663</c:v>
                </c:pt>
                <c:pt idx="37">
                  <c:v>41666</c:v>
                </c:pt>
                <c:pt idx="38">
                  <c:v>41667</c:v>
                </c:pt>
                <c:pt idx="39">
                  <c:v>41668</c:v>
                </c:pt>
                <c:pt idx="40">
                  <c:v>41669</c:v>
                </c:pt>
                <c:pt idx="41">
                  <c:v>41670</c:v>
                </c:pt>
                <c:pt idx="42">
                  <c:v>41673</c:v>
                </c:pt>
                <c:pt idx="43">
                  <c:v>41674</c:v>
                </c:pt>
                <c:pt idx="44">
                  <c:v>41675</c:v>
                </c:pt>
                <c:pt idx="45">
                  <c:v>41676</c:v>
                </c:pt>
                <c:pt idx="46">
                  <c:v>41677</c:v>
                </c:pt>
                <c:pt idx="47">
                  <c:v>41680</c:v>
                </c:pt>
                <c:pt idx="48">
                  <c:v>41681</c:v>
                </c:pt>
                <c:pt idx="49">
                  <c:v>41682</c:v>
                </c:pt>
                <c:pt idx="50">
                  <c:v>41683</c:v>
                </c:pt>
                <c:pt idx="51">
                  <c:v>41684</c:v>
                </c:pt>
                <c:pt idx="52">
                  <c:v>41687</c:v>
                </c:pt>
                <c:pt idx="53">
                  <c:v>41688</c:v>
                </c:pt>
                <c:pt idx="54">
                  <c:v>41689</c:v>
                </c:pt>
                <c:pt idx="55">
                  <c:v>41690</c:v>
                </c:pt>
                <c:pt idx="56">
                  <c:v>41691</c:v>
                </c:pt>
                <c:pt idx="57">
                  <c:v>41694</c:v>
                </c:pt>
                <c:pt idx="58">
                  <c:v>41695</c:v>
                </c:pt>
                <c:pt idx="59">
                  <c:v>41696</c:v>
                </c:pt>
                <c:pt idx="60">
                  <c:v>41697</c:v>
                </c:pt>
                <c:pt idx="61">
                  <c:v>41698</c:v>
                </c:pt>
                <c:pt idx="62">
                  <c:v>41701</c:v>
                </c:pt>
                <c:pt idx="63">
                  <c:v>41702</c:v>
                </c:pt>
                <c:pt idx="64">
                  <c:v>41703</c:v>
                </c:pt>
                <c:pt idx="65">
                  <c:v>41704</c:v>
                </c:pt>
                <c:pt idx="66">
                  <c:v>41705</c:v>
                </c:pt>
                <c:pt idx="67">
                  <c:v>41708</c:v>
                </c:pt>
                <c:pt idx="68">
                  <c:v>41709</c:v>
                </c:pt>
                <c:pt idx="69">
                  <c:v>41710</c:v>
                </c:pt>
                <c:pt idx="70">
                  <c:v>41711</c:v>
                </c:pt>
                <c:pt idx="71">
                  <c:v>41712</c:v>
                </c:pt>
                <c:pt idx="72">
                  <c:v>41715</c:v>
                </c:pt>
                <c:pt idx="73">
                  <c:v>41716</c:v>
                </c:pt>
                <c:pt idx="74">
                  <c:v>41717</c:v>
                </c:pt>
                <c:pt idx="75">
                  <c:v>41718</c:v>
                </c:pt>
                <c:pt idx="76">
                  <c:v>41719</c:v>
                </c:pt>
                <c:pt idx="77">
                  <c:v>41722</c:v>
                </c:pt>
                <c:pt idx="78">
                  <c:v>41723</c:v>
                </c:pt>
                <c:pt idx="79">
                  <c:v>41724</c:v>
                </c:pt>
                <c:pt idx="80">
                  <c:v>41725</c:v>
                </c:pt>
                <c:pt idx="81">
                  <c:v>41726</c:v>
                </c:pt>
                <c:pt idx="82">
                  <c:v>41729</c:v>
                </c:pt>
                <c:pt idx="83">
                  <c:v>41730</c:v>
                </c:pt>
                <c:pt idx="84">
                  <c:v>41731</c:v>
                </c:pt>
                <c:pt idx="85">
                  <c:v>41732</c:v>
                </c:pt>
                <c:pt idx="86">
                  <c:v>41733</c:v>
                </c:pt>
                <c:pt idx="87">
                  <c:v>41736</c:v>
                </c:pt>
                <c:pt idx="88">
                  <c:v>41737</c:v>
                </c:pt>
                <c:pt idx="89">
                  <c:v>41738</c:v>
                </c:pt>
                <c:pt idx="90">
                  <c:v>41739</c:v>
                </c:pt>
                <c:pt idx="91">
                  <c:v>41740</c:v>
                </c:pt>
                <c:pt idx="92">
                  <c:v>41743</c:v>
                </c:pt>
                <c:pt idx="93">
                  <c:v>41744</c:v>
                </c:pt>
                <c:pt idx="94">
                  <c:v>41745</c:v>
                </c:pt>
                <c:pt idx="95">
                  <c:v>41746</c:v>
                </c:pt>
                <c:pt idx="96">
                  <c:v>41747</c:v>
                </c:pt>
                <c:pt idx="97">
                  <c:v>41750</c:v>
                </c:pt>
                <c:pt idx="98">
                  <c:v>41751</c:v>
                </c:pt>
                <c:pt idx="99">
                  <c:v>41752</c:v>
                </c:pt>
                <c:pt idx="100">
                  <c:v>41753</c:v>
                </c:pt>
                <c:pt idx="101">
                  <c:v>41754</c:v>
                </c:pt>
                <c:pt idx="102">
                  <c:v>41757</c:v>
                </c:pt>
                <c:pt idx="103">
                  <c:v>41758</c:v>
                </c:pt>
                <c:pt idx="104">
                  <c:v>41759</c:v>
                </c:pt>
                <c:pt idx="105">
                  <c:v>41760</c:v>
                </c:pt>
                <c:pt idx="106">
                  <c:v>41761</c:v>
                </c:pt>
                <c:pt idx="107">
                  <c:v>41764</c:v>
                </c:pt>
                <c:pt idx="108">
                  <c:v>41765</c:v>
                </c:pt>
                <c:pt idx="109">
                  <c:v>41766</c:v>
                </c:pt>
                <c:pt idx="110">
                  <c:v>41767</c:v>
                </c:pt>
                <c:pt idx="111">
                  <c:v>41768</c:v>
                </c:pt>
                <c:pt idx="112">
                  <c:v>41771</c:v>
                </c:pt>
                <c:pt idx="113">
                  <c:v>41772</c:v>
                </c:pt>
                <c:pt idx="114">
                  <c:v>41773</c:v>
                </c:pt>
                <c:pt idx="115">
                  <c:v>41774</c:v>
                </c:pt>
                <c:pt idx="116">
                  <c:v>41775</c:v>
                </c:pt>
                <c:pt idx="117">
                  <c:v>41778</c:v>
                </c:pt>
                <c:pt idx="118">
                  <c:v>41779</c:v>
                </c:pt>
                <c:pt idx="119">
                  <c:v>41780</c:v>
                </c:pt>
                <c:pt idx="120">
                  <c:v>41781</c:v>
                </c:pt>
                <c:pt idx="121">
                  <c:v>41782</c:v>
                </c:pt>
                <c:pt idx="122">
                  <c:v>41785</c:v>
                </c:pt>
                <c:pt idx="123">
                  <c:v>41786</c:v>
                </c:pt>
                <c:pt idx="124">
                  <c:v>41787</c:v>
                </c:pt>
                <c:pt idx="125">
                  <c:v>41788</c:v>
                </c:pt>
                <c:pt idx="126">
                  <c:v>41789</c:v>
                </c:pt>
                <c:pt idx="127">
                  <c:v>41792</c:v>
                </c:pt>
                <c:pt idx="128">
                  <c:v>41793</c:v>
                </c:pt>
                <c:pt idx="129">
                  <c:v>41794</c:v>
                </c:pt>
                <c:pt idx="130">
                  <c:v>41795</c:v>
                </c:pt>
                <c:pt idx="131">
                  <c:v>41796</c:v>
                </c:pt>
                <c:pt idx="132">
                  <c:v>41799</c:v>
                </c:pt>
                <c:pt idx="133">
                  <c:v>41800</c:v>
                </c:pt>
                <c:pt idx="134">
                  <c:v>41801</c:v>
                </c:pt>
                <c:pt idx="135">
                  <c:v>41802</c:v>
                </c:pt>
                <c:pt idx="136">
                  <c:v>41803</c:v>
                </c:pt>
                <c:pt idx="137">
                  <c:v>41806</c:v>
                </c:pt>
                <c:pt idx="138">
                  <c:v>41807</c:v>
                </c:pt>
                <c:pt idx="139">
                  <c:v>41808</c:v>
                </c:pt>
                <c:pt idx="140">
                  <c:v>41809</c:v>
                </c:pt>
                <c:pt idx="141">
                  <c:v>41810</c:v>
                </c:pt>
                <c:pt idx="142">
                  <c:v>41813</c:v>
                </c:pt>
                <c:pt idx="143">
                  <c:v>41814</c:v>
                </c:pt>
                <c:pt idx="144">
                  <c:v>41815</c:v>
                </c:pt>
                <c:pt idx="145">
                  <c:v>41816</c:v>
                </c:pt>
                <c:pt idx="146">
                  <c:v>41817</c:v>
                </c:pt>
                <c:pt idx="147">
                  <c:v>41820</c:v>
                </c:pt>
                <c:pt idx="148">
                  <c:v>41821</c:v>
                </c:pt>
                <c:pt idx="149">
                  <c:v>41822</c:v>
                </c:pt>
                <c:pt idx="150">
                  <c:v>41823</c:v>
                </c:pt>
                <c:pt idx="151">
                  <c:v>41824</c:v>
                </c:pt>
                <c:pt idx="152">
                  <c:v>41827</c:v>
                </c:pt>
                <c:pt idx="153">
                  <c:v>41828</c:v>
                </c:pt>
                <c:pt idx="154">
                  <c:v>41829</c:v>
                </c:pt>
                <c:pt idx="155">
                  <c:v>41830</c:v>
                </c:pt>
                <c:pt idx="156">
                  <c:v>41831</c:v>
                </c:pt>
                <c:pt idx="157">
                  <c:v>41834</c:v>
                </c:pt>
                <c:pt idx="158">
                  <c:v>41835</c:v>
                </c:pt>
                <c:pt idx="159">
                  <c:v>41836</c:v>
                </c:pt>
                <c:pt idx="160">
                  <c:v>41837</c:v>
                </c:pt>
                <c:pt idx="161">
                  <c:v>41838</c:v>
                </c:pt>
                <c:pt idx="162">
                  <c:v>41841</c:v>
                </c:pt>
                <c:pt idx="163">
                  <c:v>41842</c:v>
                </c:pt>
                <c:pt idx="164">
                  <c:v>41843</c:v>
                </c:pt>
                <c:pt idx="165">
                  <c:v>41844</c:v>
                </c:pt>
                <c:pt idx="166">
                  <c:v>41845</c:v>
                </c:pt>
                <c:pt idx="167">
                  <c:v>41848</c:v>
                </c:pt>
                <c:pt idx="168">
                  <c:v>41849</c:v>
                </c:pt>
                <c:pt idx="169">
                  <c:v>41850</c:v>
                </c:pt>
                <c:pt idx="170">
                  <c:v>41851</c:v>
                </c:pt>
                <c:pt idx="171">
                  <c:v>41852</c:v>
                </c:pt>
                <c:pt idx="172">
                  <c:v>41855</c:v>
                </c:pt>
                <c:pt idx="173">
                  <c:v>41856</c:v>
                </c:pt>
                <c:pt idx="174">
                  <c:v>41857</c:v>
                </c:pt>
                <c:pt idx="175">
                  <c:v>41858</c:v>
                </c:pt>
                <c:pt idx="176">
                  <c:v>41859</c:v>
                </c:pt>
                <c:pt idx="177">
                  <c:v>41862</c:v>
                </c:pt>
                <c:pt idx="178">
                  <c:v>41863</c:v>
                </c:pt>
                <c:pt idx="179">
                  <c:v>41864</c:v>
                </c:pt>
                <c:pt idx="180">
                  <c:v>41865</c:v>
                </c:pt>
                <c:pt idx="181">
                  <c:v>41866</c:v>
                </c:pt>
                <c:pt idx="182">
                  <c:v>41869</c:v>
                </c:pt>
                <c:pt idx="183">
                  <c:v>41870</c:v>
                </c:pt>
                <c:pt idx="184">
                  <c:v>41871</c:v>
                </c:pt>
                <c:pt idx="185">
                  <c:v>41872</c:v>
                </c:pt>
                <c:pt idx="186">
                  <c:v>41873</c:v>
                </c:pt>
                <c:pt idx="187">
                  <c:v>41876</c:v>
                </c:pt>
                <c:pt idx="188">
                  <c:v>41877</c:v>
                </c:pt>
                <c:pt idx="189">
                  <c:v>41878</c:v>
                </c:pt>
                <c:pt idx="190">
                  <c:v>41879</c:v>
                </c:pt>
                <c:pt idx="191">
                  <c:v>41880</c:v>
                </c:pt>
                <c:pt idx="192">
                  <c:v>41883</c:v>
                </c:pt>
                <c:pt idx="193">
                  <c:v>41884</c:v>
                </c:pt>
                <c:pt idx="194">
                  <c:v>41885</c:v>
                </c:pt>
                <c:pt idx="195">
                  <c:v>41886</c:v>
                </c:pt>
                <c:pt idx="196">
                  <c:v>41887</c:v>
                </c:pt>
                <c:pt idx="197">
                  <c:v>41890</c:v>
                </c:pt>
                <c:pt idx="198">
                  <c:v>41891</c:v>
                </c:pt>
                <c:pt idx="199">
                  <c:v>41892</c:v>
                </c:pt>
                <c:pt idx="200">
                  <c:v>41893</c:v>
                </c:pt>
                <c:pt idx="201">
                  <c:v>41894</c:v>
                </c:pt>
                <c:pt idx="202">
                  <c:v>41897</c:v>
                </c:pt>
                <c:pt idx="203">
                  <c:v>41898</c:v>
                </c:pt>
                <c:pt idx="204">
                  <c:v>41899</c:v>
                </c:pt>
                <c:pt idx="205">
                  <c:v>41900</c:v>
                </c:pt>
                <c:pt idx="206">
                  <c:v>41901</c:v>
                </c:pt>
                <c:pt idx="207">
                  <c:v>41904</c:v>
                </c:pt>
                <c:pt idx="208">
                  <c:v>41905</c:v>
                </c:pt>
                <c:pt idx="209">
                  <c:v>41906</c:v>
                </c:pt>
                <c:pt idx="210">
                  <c:v>41907</c:v>
                </c:pt>
                <c:pt idx="211">
                  <c:v>41908</c:v>
                </c:pt>
                <c:pt idx="212">
                  <c:v>41911</c:v>
                </c:pt>
                <c:pt idx="213">
                  <c:v>41912</c:v>
                </c:pt>
                <c:pt idx="214">
                  <c:v>41913</c:v>
                </c:pt>
                <c:pt idx="215">
                  <c:v>41914</c:v>
                </c:pt>
                <c:pt idx="216">
                  <c:v>41915</c:v>
                </c:pt>
                <c:pt idx="217">
                  <c:v>41918</c:v>
                </c:pt>
                <c:pt idx="218">
                  <c:v>41919</c:v>
                </c:pt>
                <c:pt idx="219">
                  <c:v>41920</c:v>
                </c:pt>
                <c:pt idx="220">
                  <c:v>41921</c:v>
                </c:pt>
                <c:pt idx="221">
                  <c:v>41922</c:v>
                </c:pt>
                <c:pt idx="222">
                  <c:v>41925</c:v>
                </c:pt>
                <c:pt idx="223">
                  <c:v>41926</c:v>
                </c:pt>
                <c:pt idx="224">
                  <c:v>41927</c:v>
                </c:pt>
                <c:pt idx="225">
                  <c:v>41928</c:v>
                </c:pt>
                <c:pt idx="226">
                  <c:v>41929</c:v>
                </c:pt>
                <c:pt idx="227">
                  <c:v>41932</c:v>
                </c:pt>
                <c:pt idx="228">
                  <c:v>41933</c:v>
                </c:pt>
                <c:pt idx="229">
                  <c:v>41934</c:v>
                </c:pt>
                <c:pt idx="230">
                  <c:v>41935</c:v>
                </c:pt>
                <c:pt idx="231">
                  <c:v>41936</c:v>
                </c:pt>
                <c:pt idx="232">
                  <c:v>41939</c:v>
                </c:pt>
                <c:pt idx="233">
                  <c:v>41940</c:v>
                </c:pt>
                <c:pt idx="234">
                  <c:v>41941</c:v>
                </c:pt>
                <c:pt idx="235">
                  <c:v>41942</c:v>
                </c:pt>
                <c:pt idx="236">
                  <c:v>41943</c:v>
                </c:pt>
                <c:pt idx="237">
                  <c:v>41946</c:v>
                </c:pt>
                <c:pt idx="238">
                  <c:v>41947</c:v>
                </c:pt>
                <c:pt idx="239">
                  <c:v>41948</c:v>
                </c:pt>
                <c:pt idx="240">
                  <c:v>41949</c:v>
                </c:pt>
                <c:pt idx="241">
                  <c:v>41950</c:v>
                </c:pt>
                <c:pt idx="242">
                  <c:v>41953</c:v>
                </c:pt>
                <c:pt idx="243">
                  <c:v>41954</c:v>
                </c:pt>
                <c:pt idx="244">
                  <c:v>41955</c:v>
                </c:pt>
                <c:pt idx="245">
                  <c:v>41956</c:v>
                </c:pt>
                <c:pt idx="246">
                  <c:v>41957</c:v>
                </c:pt>
                <c:pt idx="247">
                  <c:v>41960</c:v>
                </c:pt>
                <c:pt idx="248">
                  <c:v>41961</c:v>
                </c:pt>
                <c:pt idx="249">
                  <c:v>41962</c:v>
                </c:pt>
                <c:pt idx="250">
                  <c:v>41963</c:v>
                </c:pt>
                <c:pt idx="251">
                  <c:v>41964</c:v>
                </c:pt>
                <c:pt idx="252">
                  <c:v>41967</c:v>
                </c:pt>
                <c:pt idx="253">
                  <c:v>41968</c:v>
                </c:pt>
                <c:pt idx="254">
                  <c:v>41969</c:v>
                </c:pt>
                <c:pt idx="255">
                  <c:v>41970</c:v>
                </c:pt>
                <c:pt idx="256">
                  <c:v>41971</c:v>
                </c:pt>
                <c:pt idx="257">
                  <c:v>41974</c:v>
                </c:pt>
                <c:pt idx="258">
                  <c:v>41975</c:v>
                </c:pt>
                <c:pt idx="259">
                  <c:v>41976</c:v>
                </c:pt>
                <c:pt idx="260">
                  <c:v>41977</c:v>
                </c:pt>
                <c:pt idx="261">
                  <c:v>41978</c:v>
                </c:pt>
                <c:pt idx="262">
                  <c:v>41981</c:v>
                </c:pt>
                <c:pt idx="263">
                  <c:v>41982</c:v>
                </c:pt>
                <c:pt idx="264">
                  <c:v>41983</c:v>
                </c:pt>
                <c:pt idx="265">
                  <c:v>41984</c:v>
                </c:pt>
                <c:pt idx="266">
                  <c:v>41985</c:v>
                </c:pt>
                <c:pt idx="267">
                  <c:v>41988</c:v>
                </c:pt>
                <c:pt idx="268">
                  <c:v>41989</c:v>
                </c:pt>
                <c:pt idx="269">
                  <c:v>41990</c:v>
                </c:pt>
                <c:pt idx="270">
                  <c:v>41991</c:v>
                </c:pt>
                <c:pt idx="271">
                  <c:v>41992</c:v>
                </c:pt>
                <c:pt idx="272">
                  <c:v>41995</c:v>
                </c:pt>
                <c:pt idx="273">
                  <c:v>41996</c:v>
                </c:pt>
                <c:pt idx="274">
                  <c:v>41997</c:v>
                </c:pt>
                <c:pt idx="275">
                  <c:v>42002</c:v>
                </c:pt>
                <c:pt idx="276">
                  <c:v>42003</c:v>
                </c:pt>
                <c:pt idx="277">
                  <c:v>42004</c:v>
                </c:pt>
                <c:pt idx="278">
                  <c:v>42006</c:v>
                </c:pt>
                <c:pt idx="279">
                  <c:v>42009</c:v>
                </c:pt>
                <c:pt idx="280">
                  <c:v>42010</c:v>
                </c:pt>
                <c:pt idx="281">
                  <c:v>42011</c:v>
                </c:pt>
                <c:pt idx="282">
                  <c:v>42012</c:v>
                </c:pt>
                <c:pt idx="283">
                  <c:v>42013</c:v>
                </c:pt>
                <c:pt idx="284">
                  <c:v>42016</c:v>
                </c:pt>
                <c:pt idx="285">
                  <c:v>42017</c:v>
                </c:pt>
                <c:pt idx="286">
                  <c:v>42018</c:v>
                </c:pt>
                <c:pt idx="287">
                  <c:v>42019</c:v>
                </c:pt>
                <c:pt idx="288">
                  <c:v>42020</c:v>
                </c:pt>
                <c:pt idx="289">
                  <c:v>42023</c:v>
                </c:pt>
                <c:pt idx="290">
                  <c:v>42024</c:v>
                </c:pt>
                <c:pt idx="291">
                  <c:v>42025</c:v>
                </c:pt>
                <c:pt idx="292">
                  <c:v>42026</c:v>
                </c:pt>
                <c:pt idx="293">
                  <c:v>42027</c:v>
                </c:pt>
                <c:pt idx="294">
                  <c:v>42030</c:v>
                </c:pt>
                <c:pt idx="295">
                  <c:v>42031</c:v>
                </c:pt>
                <c:pt idx="296">
                  <c:v>42032</c:v>
                </c:pt>
                <c:pt idx="297">
                  <c:v>42033</c:v>
                </c:pt>
                <c:pt idx="298">
                  <c:v>42034</c:v>
                </c:pt>
                <c:pt idx="299">
                  <c:v>42037</c:v>
                </c:pt>
                <c:pt idx="300">
                  <c:v>42038</c:v>
                </c:pt>
                <c:pt idx="301">
                  <c:v>42039</c:v>
                </c:pt>
                <c:pt idx="302">
                  <c:v>42040</c:v>
                </c:pt>
                <c:pt idx="303">
                  <c:v>42041</c:v>
                </c:pt>
                <c:pt idx="304">
                  <c:v>42044</c:v>
                </c:pt>
                <c:pt idx="305">
                  <c:v>42045</c:v>
                </c:pt>
                <c:pt idx="306">
                  <c:v>42046</c:v>
                </c:pt>
                <c:pt idx="307">
                  <c:v>42047</c:v>
                </c:pt>
                <c:pt idx="308">
                  <c:v>42048</c:v>
                </c:pt>
                <c:pt idx="309">
                  <c:v>42051</c:v>
                </c:pt>
                <c:pt idx="310">
                  <c:v>42052</c:v>
                </c:pt>
                <c:pt idx="311">
                  <c:v>42053</c:v>
                </c:pt>
                <c:pt idx="312">
                  <c:v>42054</c:v>
                </c:pt>
                <c:pt idx="313">
                  <c:v>42055</c:v>
                </c:pt>
                <c:pt idx="314">
                  <c:v>42058</c:v>
                </c:pt>
                <c:pt idx="315">
                  <c:v>42059</c:v>
                </c:pt>
                <c:pt idx="316">
                  <c:v>42060</c:v>
                </c:pt>
                <c:pt idx="317">
                  <c:v>42061</c:v>
                </c:pt>
                <c:pt idx="318">
                  <c:v>42062</c:v>
                </c:pt>
                <c:pt idx="319">
                  <c:v>42065</c:v>
                </c:pt>
                <c:pt idx="320">
                  <c:v>42066</c:v>
                </c:pt>
                <c:pt idx="321">
                  <c:v>42067</c:v>
                </c:pt>
                <c:pt idx="322">
                  <c:v>42068</c:v>
                </c:pt>
                <c:pt idx="323">
                  <c:v>42069</c:v>
                </c:pt>
                <c:pt idx="324">
                  <c:v>42072</c:v>
                </c:pt>
                <c:pt idx="325">
                  <c:v>42073</c:v>
                </c:pt>
                <c:pt idx="326">
                  <c:v>42074</c:v>
                </c:pt>
                <c:pt idx="327">
                  <c:v>42075</c:v>
                </c:pt>
                <c:pt idx="328">
                  <c:v>42076</c:v>
                </c:pt>
                <c:pt idx="329">
                  <c:v>42079</c:v>
                </c:pt>
                <c:pt idx="330">
                  <c:v>42080</c:v>
                </c:pt>
                <c:pt idx="331">
                  <c:v>42081</c:v>
                </c:pt>
                <c:pt idx="332">
                  <c:v>42082</c:v>
                </c:pt>
                <c:pt idx="333">
                  <c:v>42083</c:v>
                </c:pt>
                <c:pt idx="334">
                  <c:v>42086</c:v>
                </c:pt>
                <c:pt idx="335">
                  <c:v>42087</c:v>
                </c:pt>
                <c:pt idx="336">
                  <c:v>42088</c:v>
                </c:pt>
                <c:pt idx="337">
                  <c:v>42089</c:v>
                </c:pt>
                <c:pt idx="338">
                  <c:v>42090</c:v>
                </c:pt>
                <c:pt idx="339">
                  <c:v>42093</c:v>
                </c:pt>
                <c:pt idx="340">
                  <c:v>42094</c:v>
                </c:pt>
                <c:pt idx="341">
                  <c:v>42095</c:v>
                </c:pt>
                <c:pt idx="342">
                  <c:v>42096</c:v>
                </c:pt>
                <c:pt idx="343">
                  <c:v>42100</c:v>
                </c:pt>
                <c:pt idx="344">
                  <c:v>42101</c:v>
                </c:pt>
                <c:pt idx="345">
                  <c:v>42102</c:v>
                </c:pt>
                <c:pt idx="346">
                  <c:v>42103</c:v>
                </c:pt>
                <c:pt idx="347">
                  <c:v>42104</c:v>
                </c:pt>
                <c:pt idx="348">
                  <c:v>42107</c:v>
                </c:pt>
                <c:pt idx="349">
                  <c:v>42108</c:v>
                </c:pt>
                <c:pt idx="350">
                  <c:v>42109</c:v>
                </c:pt>
                <c:pt idx="351">
                  <c:v>42110</c:v>
                </c:pt>
                <c:pt idx="352">
                  <c:v>42111</c:v>
                </c:pt>
                <c:pt idx="353">
                  <c:v>42114</c:v>
                </c:pt>
                <c:pt idx="354">
                  <c:v>42115</c:v>
                </c:pt>
                <c:pt idx="355">
                  <c:v>42116</c:v>
                </c:pt>
                <c:pt idx="356">
                  <c:v>42117</c:v>
                </c:pt>
                <c:pt idx="357">
                  <c:v>42118</c:v>
                </c:pt>
                <c:pt idx="358">
                  <c:v>42121</c:v>
                </c:pt>
                <c:pt idx="359">
                  <c:v>42122</c:v>
                </c:pt>
                <c:pt idx="360">
                  <c:v>42123</c:v>
                </c:pt>
                <c:pt idx="361">
                  <c:v>42124</c:v>
                </c:pt>
                <c:pt idx="362">
                  <c:v>42125</c:v>
                </c:pt>
                <c:pt idx="363">
                  <c:v>42128</c:v>
                </c:pt>
                <c:pt idx="364">
                  <c:v>42129</c:v>
                </c:pt>
                <c:pt idx="365">
                  <c:v>42130</c:v>
                </c:pt>
                <c:pt idx="366">
                  <c:v>42131</c:v>
                </c:pt>
                <c:pt idx="367">
                  <c:v>42132</c:v>
                </c:pt>
                <c:pt idx="368">
                  <c:v>42135</c:v>
                </c:pt>
                <c:pt idx="369">
                  <c:v>42136</c:v>
                </c:pt>
                <c:pt idx="370">
                  <c:v>42137</c:v>
                </c:pt>
                <c:pt idx="371">
                  <c:v>42138</c:v>
                </c:pt>
                <c:pt idx="372">
                  <c:v>42139</c:v>
                </c:pt>
                <c:pt idx="373">
                  <c:v>42142</c:v>
                </c:pt>
                <c:pt idx="374">
                  <c:v>42143</c:v>
                </c:pt>
                <c:pt idx="375">
                  <c:v>42144</c:v>
                </c:pt>
                <c:pt idx="376">
                  <c:v>42145</c:v>
                </c:pt>
                <c:pt idx="377">
                  <c:v>42146</c:v>
                </c:pt>
                <c:pt idx="378">
                  <c:v>42150</c:v>
                </c:pt>
                <c:pt idx="379">
                  <c:v>42151</c:v>
                </c:pt>
                <c:pt idx="380">
                  <c:v>42152</c:v>
                </c:pt>
                <c:pt idx="381">
                  <c:v>42153</c:v>
                </c:pt>
                <c:pt idx="382">
                  <c:v>42156</c:v>
                </c:pt>
                <c:pt idx="383">
                  <c:v>42157</c:v>
                </c:pt>
                <c:pt idx="384">
                  <c:v>42158</c:v>
                </c:pt>
                <c:pt idx="385">
                  <c:v>42159</c:v>
                </c:pt>
                <c:pt idx="386">
                  <c:v>42160</c:v>
                </c:pt>
                <c:pt idx="387">
                  <c:v>42163</c:v>
                </c:pt>
                <c:pt idx="388">
                  <c:v>42164</c:v>
                </c:pt>
                <c:pt idx="389">
                  <c:v>42165</c:v>
                </c:pt>
                <c:pt idx="390">
                  <c:v>42166</c:v>
                </c:pt>
                <c:pt idx="391">
                  <c:v>42167</c:v>
                </c:pt>
                <c:pt idx="392">
                  <c:v>42170</c:v>
                </c:pt>
                <c:pt idx="393">
                  <c:v>42171</c:v>
                </c:pt>
                <c:pt idx="394">
                  <c:v>42172</c:v>
                </c:pt>
                <c:pt idx="395">
                  <c:v>42173</c:v>
                </c:pt>
                <c:pt idx="396">
                  <c:v>42174</c:v>
                </c:pt>
                <c:pt idx="397">
                  <c:v>42177</c:v>
                </c:pt>
                <c:pt idx="398">
                  <c:v>42178</c:v>
                </c:pt>
                <c:pt idx="399">
                  <c:v>42179</c:v>
                </c:pt>
                <c:pt idx="400">
                  <c:v>42180</c:v>
                </c:pt>
                <c:pt idx="401">
                  <c:v>42181</c:v>
                </c:pt>
                <c:pt idx="402">
                  <c:v>42184</c:v>
                </c:pt>
                <c:pt idx="403">
                  <c:v>42185</c:v>
                </c:pt>
                <c:pt idx="404">
                  <c:v>42186</c:v>
                </c:pt>
                <c:pt idx="405">
                  <c:v>42187</c:v>
                </c:pt>
                <c:pt idx="406">
                  <c:v>42188</c:v>
                </c:pt>
                <c:pt idx="407">
                  <c:v>42191</c:v>
                </c:pt>
                <c:pt idx="408">
                  <c:v>42192</c:v>
                </c:pt>
                <c:pt idx="409">
                  <c:v>42193</c:v>
                </c:pt>
                <c:pt idx="410">
                  <c:v>42194</c:v>
                </c:pt>
                <c:pt idx="411">
                  <c:v>42195</c:v>
                </c:pt>
                <c:pt idx="412">
                  <c:v>42198</c:v>
                </c:pt>
                <c:pt idx="413">
                  <c:v>42199</c:v>
                </c:pt>
                <c:pt idx="414">
                  <c:v>42200</c:v>
                </c:pt>
                <c:pt idx="415">
                  <c:v>42201</c:v>
                </c:pt>
                <c:pt idx="416">
                  <c:v>42202</c:v>
                </c:pt>
                <c:pt idx="417">
                  <c:v>42205</c:v>
                </c:pt>
                <c:pt idx="418">
                  <c:v>42206</c:v>
                </c:pt>
                <c:pt idx="419">
                  <c:v>42207</c:v>
                </c:pt>
                <c:pt idx="420">
                  <c:v>42208</c:v>
                </c:pt>
                <c:pt idx="421">
                  <c:v>42209</c:v>
                </c:pt>
                <c:pt idx="422">
                  <c:v>42212</c:v>
                </c:pt>
                <c:pt idx="423">
                  <c:v>42213</c:v>
                </c:pt>
                <c:pt idx="424">
                  <c:v>42214</c:v>
                </c:pt>
                <c:pt idx="425">
                  <c:v>42215</c:v>
                </c:pt>
                <c:pt idx="426">
                  <c:v>42216</c:v>
                </c:pt>
                <c:pt idx="427">
                  <c:v>42219</c:v>
                </c:pt>
                <c:pt idx="428">
                  <c:v>42220</c:v>
                </c:pt>
                <c:pt idx="429">
                  <c:v>42221</c:v>
                </c:pt>
                <c:pt idx="430">
                  <c:v>42222</c:v>
                </c:pt>
                <c:pt idx="431">
                  <c:v>42223</c:v>
                </c:pt>
                <c:pt idx="432">
                  <c:v>42226</c:v>
                </c:pt>
                <c:pt idx="433">
                  <c:v>42227</c:v>
                </c:pt>
                <c:pt idx="434">
                  <c:v>42228</c:v>
                </c:pt>
                <c:pt idx="435">
                  <c:v>42229</c:v>
                </c:pt>
                <c:pt idx="436">
                  <c:v>42230</c:v>
                </c:pt>
                <c:pt idx="437">
                  <c:v>42233</c:v>
                </c:pt>
                <c:pt idx="438">
                  <c:v>42234</c:v>
                </c:pt>
                <c:pt idx="439">
                  <c:v>42235</c:v>
                </c:pt>
                <c:pt idx="440">
                  <c:v>42236</c:v>
                </c:pt>
                <c:pt idx="441">
                  <c:v>42237</c:v>
                </c:pt>
                <c:pt idx="442">
                  <c:v>42240</c:v>
                </c:pt>
                <c:pt idx="443">
                  <c:v>42241</c:v>
                </c:pt>
                <c:pt idx="444">
                  <c:v>42242</c:v>
                </c:pt>
                <c:pt idx="445">
                  <c:v>42243</c:v>
                </c:pt>
                <c:pt idx="446">
                  <c:v>42244</c:v>
                </c:pt>
                <c:pt idx="447">
                  <c:v>42247</c:v>
                </c:pt>
                <c:pt idx="448">
                  <c:v>42248</c:v>
                </c:pt>
                <c:pt idx="449">
                  <c:v>42249</c:v>
                </c:pt>
                <c:pt idx="450">
                  <c:v>42250</c:v>
                </c:pt>
                <c:pt idx="451">
                  <c:v>42251</c:v>
                </c:pt>
                <c:pt idx="452">
                  <c:v>42254</c:v>
                </c:pt>
                <c:pt idx="453">
                  <c:v>42255</c:v>
                </c:pt>
                <c:pt idx="454">
                  <c:v>42256</c:v>
                </c:pt>
                <c:pt idx="455">
                  <c:v>42257</c:v>
                </c:pt>
                <c:pt idx="456">
                  <c:v>42258</c:v>
                </c:pt>
                <c:pt idx="457">
                  <c:v>42261</c:v>
                </c:pt>
                <c:pt idx="458">
                  <c:v>42262</c:v>
                </c:pt>
                <c:pt idx="459">
                  <c:v>42263</c:v>
                </c:pt>
                <c:pt idx="460">
                  <c:v>42264</c:v>
                </c:pt>
                <c:pt idx="461">
                  <c:v>42265</c:v>
                </c:pt>
                <c:pt idx="462">
                  <c:v>42268</c:v>
                </c:pt>
                <c:pt idx="463">
                  <c:v>42269</c:v>
                </c:pt>
                <c:pt idx="464">
                  <c:v>42270</c:v>
                </c:pt>
                <c:pt idx="465">
                  <c:v>42271</c:v>
                </c:pt>
                <c:pt idx="466">
                  <c:v>42272</c:v>
                </c:pt>
                <c:pt idx="467">
                  <c:v>42275</c:v>
                </c:pt>
                <c:pt idx="468">
                  <c:v>42276</c:v>
                </c:pt>
                <c:pt idx="469">
                  <c:v>42277</c:v>
                </c:pt>
                <c:pt idx="470">
                  <c:v>42278</c:v>
                </c:pt>
                <c:pt idx="471">
                  <c:v>42279</c:v>
                </c:pt>
                <c:pt idx="472">
                  <c:v>42282</c:v>
                </c:pt>
                <c:pt idx="473">
                  <c:v>42283</c:v>
                </c:pt>
                <c:pt idx="474">
                  <c:v>42284</c:v>
                </c:pt>
                <c:pt idx="475">
                  <c:v>42285</c:v>
                </c:pt>
                <c:pt idx="476">
                  <c:v>42286</c:v>
                </c:pt>
                <c:pt idx="477">
                  <c:v>42289</c:v>
                </c:pt>
                <c:pt idx="478">
                  <c:v>42290</c:v>
                </c:pt>
                <c:pt idx="479">
                  <c:v>42291</c:v>
                </c:pt>
                <c:pt idx="480">
                  <c:v>42292</c:v>
                </c:pt>
                <c:pt idx="481">
                  <c:v>42293</c:v>
                </c:pt>
                <c:pt idx="482">
                  <c:v>42296</c:v>
                </c:pt>
                <c:pt idx="483">
                  <c:v>42297</c:v>
                </c:pt>
                <c:pt idx="484">
                  <c:v>42298</c:v>
                </c:pt>
                <c:pt idx="485">
                  <c:v>42299</c:v>
                </c:pt>
                <c:pt idx="486">
                  <c:v>42300</c:v>
                </c:pt>
                <c:pt idx="487">
                  <c:v>42303</c:v>
                </c:pt>
                <c:pt idx="488">
                  <c:v>42304</c:v>
                </c:pt>
                <c:pt idx="489">
                  <c:v>42305</c:v>
                </c:pt>
                <c:pt idx="490">
                  <c:v>42306</c:v>
                </c:pt>
                <c:pt idx="491">
                  <c:v>42307</c:v>
                </c:pt>
                <c:pt idx="492">
                  <c:v>42310</c:v>
                </c:pt>
                <c:pt idx="493">
                  <c:v>42311</c:v>
                </c:pt>
                <c:pt idx="494">
                  <c:v>42312</c:v>
                </c:pt>
                <c:pt idx="495">
                  <c:v>42313</c:v>
                </c:pt>
                <c:pt idx="496">
                  <c:v>42314</c:v>
                </c:pt>
                <c:pt idx="497">
                  <c:v>42317</c:v>
                </c:pt>
                <c:pt idx="498">
                  <c:v>42318</c:v>
                </c:pt>
                <c:pt idx="499">
                  <c:v>42319</c:v>
                </c:pt>
                <c:pt idx="500">
                  <c:v>42320</c:v>
                </c:pt>
                <c:pt idx="501">
                  <c:v>42321</c:v>
                </c:pt>
                <c:pt idx="502">
                  <c:v>42324</c:v>
                </c:pt>
                <c:pt idx="503">
                  <c:v>42325</c:v>
                </c:pt>
                <c:pt idx="504">
                  <c:v>42326</c:v>
                </c:pt>
                <c:pt idx="505">
                  <c:v>42327</c:v>
                </c:pt>
                <c:pt idx="506">
                  <c:v>42328</c:v>
                </c:pt>
                <c:pt idx="507">
                  <c:v>42331</c:v>
                </c:pt>
                <c:pt idx="508">
                  <c:v>42332</c:v>
                </c:pt>
                <c:pt idx="509">
                  <c:v>42333</c:v>
                </c:pt>
                <c:pt idx="510">
                  <c:v>42334</c:v>
                </c:pt>
                <c:pt idx="511">
                  <c:v>42335</c:v>
                </c:pt>
                <c:pt idx="512">
                  <c:v>42338</c:v>
                </c:pt>
                <c:pt idx="513">
                  <c:v>42339</c:v>
                </c:pt>
                <c:pt idx="514">
                  <c:v>42340</c:v>
                </c:pt>
                <c:pt idx="515">
                  <c:v>42341</c:v>
                </c:pt>
                <c:pt idx="516">
                  <c:v>42342</c:v>
                </c:pt>
                <c:pt idx="517">
                  <c:v>42345</c:v>
                </c:pt>
                <c:pt idx="518">
                  <c:v>42346</c:v>
                </c:pt>
                <c:pt idx="519">
                  <c:v>42347</c:v>
                </c:pt>
                <c:pt idx="520">
                  <c:v>42348</c:v>
                </c:pt>
                <c:pt idx="521">
                  <c:v>42349</c:v>
                </c:pt>
                <c:pt idx="522">
                  <c:v>42352</c:v>
                </c:pt>
                <c:pt idx="523">
                  <c:v>42353</c:v>
                </c:pt>
                <c:pt idx="524">
                  <c:v>42354</c:v>
                </c:pt>
                <c:pt idx="525">
                  <c:v>42355</c:v>
                </c:pt>
                <c:pt idx="526">
                  <c:v>42356</c:v>
                </c:pt>
                <c:pt idx="527">
                  <c:v>42359</c:v>
                </c:pt>
                <c:pt idx="528">
                  <c:v>42360</c:v>
                </c:pt>
                <c:pt idx="529">
                  <c:v>42361</c:v>
                </c:pt>
                <c:pt idx="530">
                  <c:v>42362</c:v>
                </c:pt>
                <c:pt idx="531">
                  <c:v>42366</c:v>
                </c:pt>
                <c:pt idx="532">
                  <c:v>42367</c:v>
                </c:pt>
                <c:pt idx="533">
                  <c:v>42368</c:v>
                </c:pt>
                <c:pt idx="534">
                  <c:v>42369</c:v>
                </c:pt>
                <c:pt idx="535">
                  <c:v>42373</c:v>
                </c:pt>
                <c:pt idx="536">
                  <c:v>42374</c:v>
                </c:pt>
                <c:pt idx="537">
                  <c:v>42375</c:v>
                </c:pt>
                <c:pt idx="538">
                  <c:v>42376</c:v>
                </c:pt>
                <c:pt idx="539">
                  <c:v>42377</c:v>
                </c:pt>
                <c:pt idx="540">
                  <c:v>42380</c:v>
                </c:pt>
                <c:pt idx="541">
                  <c:v>42381</c:v>
                </c:pt>
                <c:pt idx="542">
                  <c:v>42382</c:v>
                </c:pt>
                <c:pt idx="543">
                  <c:v>42383</c:v>
                </c:pt>
                <c:pt idx="544">
                  <c:v>42384</c:v>
                </c:pt>
                <c:pt idx="545">
                  <c:v>42387</c:v>
                </c:pt>
                <c:pt idx="546">
                  <c:v>42388</c:v>
                </c:pt>
                <c:pt idx="547">
                  <c:v>42389</c:v>
                </c:pt>
                <c:pt idx="548">
                  <c:v>42390</c:v>
                </c:pt>
                <c:pt idx="549">
                  <c:v>42391</c:v>
                </c:pt>
                <c:pt idx="550">
                  <c:v>42394</c:v>
                </c:pt>
                <c:pt idx="551">
                  <c:v>42395</c:v>
                </c:pt>
                <c:pt idx="552">
                  <c:v>42396</c:v>
                </c:pt>
                <c:pt idx="553">
                  <c:v>42397</c:v>
                </c:pt>
                <c:pt idx="554">
                  <c:v>42398</c:v>
                </c:pt>
                <c:pt idx="555">
                  <c:v>42401</c:v>
                </c:pt>
                <c:pt idx="556">
                  <c:v>42402</c:v>
                </c:pt>
                <c:pt idx="557">
                  <c:v>42403</c:v>
                </c:pt>
                <c:pt idx="558">
                  <c:v>42404</c:v>
                </c:pt>
                <c:pt idx="559">
                  <c:v>42405</c:v>
                </c:pt>
                <c:pt idx="560">
                  <c:v>42408</c:v>
                </c:pt>
                <c:pt idx="561">
                  <c:v>42409</c:v>
                </c:pt>
                <c:pt idx="562">
                  <c:v>42410</c:v>
                </c:pt>
                <c:pt idx="563">
                  <c:v>42411</c:v>
                </c:pt>
                <c:pt idx="564">
                  <c:v>42412</c:v>
                </c:pt>
                <c:pt idx="565">
                  <c:v>42415</c:v>
                </c:pt>
                <c:pt idx="566">
                  <c:v>42416</c:v>
                </c:pt>
                <c:pt idx="567">
                  <c:v>42417</c:v>
                </c:pt>
                <c:pt idx="568">
                  <c:v>42418</c:v>
                </c:pt>
                <c:pt idx="569">
                  <c:v>42419</c:v>
                </c:pt>
                <c:pt idx="570">
                  <c:v>42422</c:v>
                </c:pt>
                <c:pt idx="571">
                  <c:v>42423</c:v>
                </c:pt>
                <c:pt idx="572">
                  <c:v>42424</c:v>
                </c:pt>
                <c:pt idx="573">
                  <c:v>42425</c:v>
                </c:pt>
                <c:pt idx="574">
                  <c:v>42426</c:v>
                </c:pt>
                <c:pt idx="575">
                  <c:v>42429</c:v>
                </c:pt>
                <c:pt idx="576">
                  <c:v>42430</c:v>
                </c:pt>
                <c:pt idx="577">
                  <c:v>42431</c:v>
                </c:pt>
                <c:pt idx="578">
                  <c:v>42432</c:v>
                </c:pt>
                <c:pt idx="579">
                  <c:v>42433</c:v>
                </c:pt>
                <c:pt idx="580">
                  <c:v>42436</c:v>
                </c:pt>
                <c:pt idx="581">
                  <c:v>42437</c:v>
                </c:pt>
                <c:pt idx="582">
                  <c:v>42438</c:v>
                </c:pt>
                <c:pt idx="583">
                  <c:v>42439</c:v>
                </c:pt>
                <c:pt idx="584">
                  <c:v>42440</c:v>
                </c:pt>
                <c:pt idx="585">
                  <c:v>42443</c:v>
                </c:pt>
                <c:pt idx="586">
                  <c:v>42444</c:v>
                </c:pt>
                <c:pt idx="587">
                  <c:v>42445</c:v>
                </c:pt>
                <c:pt idx="588">
                  <c:v>42446</c:v>
                </c:pt>
                <c:pt idx="589">
                  <c:v>42447</c:v>
                </c:pt>
                <c:pt idx="590">
                  <c:v>42450</c:v>
                </c:pt>
                <c:pt idx="591">
                  <c:v>42451</c:v>
                </c:pt>
                <c:pt idx="592">
                  <c:v>42452</c:v>
                </c:pt>
                <c:pt idx="593">
                  <c:v>42453</c:v>
                </c:pt>
                <c:pt idx="594">
                  <c:v>42457</c:v>
                </c:pt>
                <c:pt idx="595">
                  <c:v>42458</c:v>
                </c:pt>
                <c:pt idx="596">
                  <c:v>42459</c:v>
                </c:pt>
                <c:pt idx="597">
                  <c:v>42460</c:v>
                </c:pt>
                <c:pt idx="598">
                  <c:v>42461</c:v>
                </c:pt>
                <c:pt idx="599">
                  <c:v>42464</c:v>
                </c:pt>
                <c:pt idx="600">
                  <c:v>42465</c:v>
                </c:pt>
                <c:pt idx="601">
                  <c:v>42466</c:v>
                </c:pt>
                <c:pt idx="602">
                  <c:v>42467</c:v>
                </c:pt>
                <c:pt idx="603">
                  <c:v>42468</c:v>
                </c:pt>
                <c:pt idx="604">
                  <c:v>42471</c:v>
                </c:pt>
                <c:pt idx="605">
                  <c:v>42472</c:v>
                </c:pt>
                <c:pt idx="606">
                  <c:v>42473</c:v>
                </c:pt>
                <c:pt idx="607">
                  <c:v>42474</c:v>
                </c:pt>
                <c:pt idx="608">
                  <c:v>42475</c:v>
                </c:pt>
                <c:pt idx="609">
                  <c:v>42478</c:v>
                </c:pt>
                <c:pt idx="610">
                  <c:v>42479</c:v>
                </c:pt>
                <c:pt idx="611">
                  <c:v>42480</c:v>
                </c:pt>
                <c:pt idx="612">
                  <c:v>42481</c:v>
                </c:pt>
                <c:pt idx="613">
                  <c:v>42482</c:v>
                </c:pt>
                <c:pt idx="614">
                  <c:v>42485</c:v>
                </c:pt>
                <c:pt idx="615">
                  <c:v>42486</c:v>
                </c:pt>
                <c:pt idx="616">
                  <c:v>42487</c:v>
                </c:pt>
                <c:pt idx="617">
                  <c:v>42488</c:v>
                </c:pt>
                <c:pt idx="618">
                  <c:v>42489</c:v>
                </c:pt>
                <c:pt idx="619">
                  <c:v>42492</c:v>
                </c:pt>
                <c:pt idx="620">
                  <c:v>42493</c:v>
                </c:pt>
                <c:pt idx="621">
                  <c:v>42494</c:v>
                </c:pt>
                <c:pt idx="622">
                  <c:v>42495</c:v>
                </c:pt>
                <c:pt idx="623">
                  <c:v>42496</c:v>
                </c:pt>
                <c:pt idx="624">
                  <c:v>42499</c:v>
                </c:pt>
                <c:pt idx="625">
                  <c:v>42500</c:v>
                </c:pt>
                <c:pt idx="626">
                  <c:v>42501</c:v>
                </c:pt>
                <c:pt idx="627">
                  <c:v>42502</c:v>
                </c:pt>
                <c:pt idx="628">
                  <c:v>42503</c:v>
                </c:pt>
                <c:pt idx="629">
                  <c:v>42506</c:v>
                </c:pt>
                <c:pt idx="630">
                  <c:v>42507</c:v>
                </c:pt>
                <c:pt idx="631">
                  <c:v>42508</c:v>
                </c:pt>
                <c:pt idx="632">
                  <c:v>42509</c:v>
                </c:pt>
                <c:pt idx="633">
                  <c:v>42510</c:v>
                </c:pt>
                <c:pt idx="634">
                  <c:v>42513</c:v>
                </c:pt>
                <c:pt idx="635">
                  <c:v>42514</c:v>
                </c:pt>
                <c:pt idx="636">
                  <c:v>42515</c:v>
                </c:pt>
                <c:pt idx="637">
                  <c:v>42516</c:v>
                </c:pt>
                <c:pt idx="638">
                  <c:v>42517</c:v>
                </c:pt>
                <c:pt idx="639">
                  <c:v>42521</c:v>
                </c:pt>
                <c:pt idx="640">
                  <c:v>42522</c:v>
                </c:pt>
                <c:pt idx="641">
                  <c:v>42523</c:v>
                </c:pt>
                <c:pt idx="642">
                  <c:v>42524</c:v>
                </c:pt>
                <c:pt idx="643">
                  <c:v>42527</c:v>
                </c:pt>
                <c:pt idx="644">
                  <c:v>42528</c:v>
                </c:pt>
                <c:pt idx="645">
                  <c:v>42529</c:v>
                </c:pt>
                <c:pt idx="646">
                  <c:v>42530</c:v>
                </c:pt>
                <c:pt idx="647">
                  <c:v>42531</c:v>
                </c:pt>
                <c:pt idx="648">
                  <c:v>42534</c:v>
                </c:pt>
                <c:pt idx="649">
                  <c:v>42535</c:v>
                </c:pt>
                <c:pt idx="650">
                  <c:v>42536</c:v>
                </c:pt>
                <c:pt idx="651">
                  <c:v>42537</c:v>
                </c:pt>
                <c:pt idx="652">
                  <c:v>42538</c:v>
                </c:pt>
                <c:pt idx="653">
                  <c:v>42541</c:v>
                </c:pt>
                <c:pt idx="654">
                  <c:v>42542</c:v>
                </c:pt>
                <c:pt idx="655">
                  <c:v>42543</c:v>
                </c:pt>
                <c:pt idx="656">
                  <c:v>42544</c:v>
                </c:pt>
                <c:pt idx="657">
                  <c:v>42545</c:v>
                </c:pt>
                <c:pt idx="658">
                  <c:v>42548</c:v>
                </c:pt>
                <c:pt idx="659">
                  <c:v>42549</c:v>
                </c:pt>
                <c:pt idx="660">
                  <c:v>42550</c:v>
                </c:pt>
                <c:pt idx="661">
                  <c:v>42551</c:v>
                </c:pt>
                <c:pt idx="662">
                  <c:v>42552</c:v>
                </c:pt>
                <c:pt idx="663">
                  <c:v>42555</c:v>
                </c:pt>
                <c:pt idx="664">
                  <c:v>42556</c:v>
                </c:pt>
                <c:pt idx="665">
                  <c:v>42557</c:v>
                </c:pt>
                <c:pt idx="666">
                  <c:v>42558</c:v>
                </c:pt>
                <c:pt idx="667">
                  <c:v>42559</c:v>
                </c:pt>
                <c:pt idx="668">
                  <c:v>42562</c:v>
                </c:pt>
                <c:pt idx="669">
                  <c:v>42563</c:v>
                </c:pt>
                <c:pt idx="670">
                  <c:v>42564</c:v>
                </c:pt>
                <c:pt idx="671">
                  <c:v>42565</c:v>
                </c:pt>
                <c:pt idx="672">
                  <c:v>42566</c:v>
                </c:pt>
                <c:pt idx="673">
                  <c:v>42569</c:v>
                </c:pt>
                <c:pt idx="674">
                  <c:v>42570</c:v>
                </c:pt>
                <c:pt idx="675">
                  <c:v>42571</c:v>
                </c:pt>
                <c:pt idx="676">
                  <c:v>42572</c:v>
                </c:pt>
                <c:pt idx="677">
                  <c:v>42573</c:v>
                </c:pt>
                <c:pt idx="678">
                  <c:v>42576</c:v>
                </c:pt>
                <c:pt idx="679">
                  <c:v>42577</c:v>
                </c:pt>
                <c:pt idx="680">
                  <c:v>42578</c:v>
                </c:pt>
                <c:pt idx="681">
                  <c:v>42579</c:v>
                </c:pt>
                <c:pt idx="682">
                  <c:v>42580</c:v>
                </c:pt>
                <c:pt idx="683">
                  <c:v>42583</c:v>
                </c:pt>
                <c:pt idx="684">
                  <c:v>42584</c:v>
                </c:pt>
                <c:pt idx="685">
                  <c:v>42585</c:v>
                </c:pt>
                <c:pt idx="686">
                  <c:v>42586</c:v>
                </c:pt>
                <c:pt idx="687">
                  <c:v>42587</c:v>
                </c:pt>
                <c:pt idx="688">
                  <c:v>42590</c:v>
                </c:pt>
                <c:pt idx="689">
                  <c:v>42591</c:v>
                </c:pt>
                <c:pt idx="690">
                  <c:v>42592</c:v>
                </c:pt>
                <c:pt idx="691">
                  <c:v>42593</c:v>
                </c:pt>
                <c:pt idx="692">
                  <c:v>42594</c:v>
                </c:pt>
                <c:pt idx="693">
                  <c:v>42597</c:v>
                </c:pt>
                <c:pt idx="694">
                  <c:v>42598</c:v>
                </c:pt>
                <c:pt idx="695">
                  <c:v>42599</c:v>
                </c:pt>
                <c:pt idx="696">
                  <c:v>42600</c:v>
                </c:pt>
                <c:pt idx="697">
                  <c:v>42601</c:v>
                </c:pt>
                <c:pt idx="698">
                  <c:v>42604</c:v>
                </c:pt>
                <c:pt idx="699">
                  <c:v>42605</c:v>
                </c:pt>
                <c:pt idx="700">
                  <c:v>42606</c:v>
                </c:pt>
                <c:pt idx="701">
                  <c:v>42607</c:v>
                </c:pt>
                <c:pt idx="702">
                  <c:v>42608</c:v>
                </c:pt>
                <c:pt idx="703">
                  <c:v>42611</c:v>
                </c:pt>
                <c:pt idx="704">
                  <c:v>42612</c:v>
                </c:pt>
                <c:pt idx="705">
                  <c:v>42613</c:v>
                </c:pt>
                <c:pt idx="706">
                  <c:v>42614</c:v>
                </c:pt>
                <c:pt idx="707">
                  <c:v>42615</c:v>
                </c:pt>
                <c:pt idx="708">
                  <c:v>42618</c:v>
                </c:pt>
                <c:pt idx="709">
                  <c:v>42619</c:v>
                </c:pt>
                <c:pt idx="710">
                  <c:v>42620</c:v>
                </c:pt>
                <c:pt idx="711">
                  <c:v>42621</c:v>
                </c:pt>
                <c:pt idx="712">
                  <c:v>42622</c:v>
                </c:pt>
                <c:pt idx="713">
                  <c:v>42625</c:v>
                </c:pt>
                <c:pt idx="714">
                  <c:v>42626</c:v>
                </c:pt>
                <c:pt idx="715">
                  <c:v>42627</c:v>
                </c:pt>
                <c:pt idx="716">
                  <c:v>42628</c:v>
                </c:pt>
                <c:pt idx="717">
                  <c:v>42629</c:v>
                </c:pt>
                <c:pt idx="718">
                  <c:v>42632</c:v>
                </c:pt>
                <c:pt idx="719">
                  <c:v>42633</c:v>
                </c:pt>
                <c:pt idx="720">
                  <c:v>42634</c:v>
                </c:pt>
                <c:pt idx="721">
                  <c:v>42635</c:v>
                </c:pt>
                <c:pt idx="722">
                  <c:v>42636</c:v>
                </c:pt>
                <c:pt idx="723">
                  <c:v>42639</c:v>
                </c:pt>
                <c:pt idx="724">
                  <c:v>42640</c:v>
                </c:pt>
                <c:pt idx="725">
                  <c:v>42641</c:v>
                </c:pt>
                <c:pt idx="726">
                  <c:v>42642</c:v>
                </c:pt>
                <c:pt idx="727">
                  <c:v>42643</c:v>
                </c:pt>
                <c:pt idx="728">
                  <c:v>42646</c:v>
                </c:pt>
                <c:pt idx="729">
                  <c:v>42647</c:v>
                </c:pt>
                <c:pt idx="730">
                  <c:v>42648</c:v>
                </c:pt>
                <c:pt idx="731">
                  <c:v>42649</c:v>
                </c:pt>
                <c:pt idx="732">
                  <c:v>42650</c:v>
                </c:pt>
                <c:pt idx="733">
                  <c:v>42653</c:v>
                </c:pt>
                <c:pt idx="734">
                  <c:v>42654</c:v>
                </c:pt>
                <c:pt idx="735">
                  <c:v>42655</c:v>
                </c:pt>
                <c:pt idx="736">
                  <c:v>42656</c:v>
                </c:pt>
                <c:pt idx="737">
                  <c:v>42657</c:v>
                </c:pt>
                <c:pt idx="738">
                  <c:v>42660</c:v>
                </c:pt>
                <c:pt idx="739">
                  <c:v>42661</c:v>
                </c:pt>
                <c:pt idx="740">
                  <c:v>42662</c:v>
                </c:pt>
                <c:pt idx="741">
                  <c:v>42663</c:v>
                </c:pt>
                <c:pt idx="742">
                  <c:v>42664</c:v>
                </c:pt>
                <c:pt idx="743">
                  <c:v>42667</c:v>
                </c:pt>
                <c:pt idx="744">
                  <c:v>42668</c:v>
                </c:pt>
                <c:pt idx="745">
                  <c:v>42669</c:v>
                </c:pt>
                <c:pt idx="746">
                  <c:v>42670</c:v>
                </c:pt>
                <c:pt idx="747">
                  <c:v>42671</c:v>
                </c:pt>
                <c:pt idx="748">
                  <c:v>42674</c:v>
                </c:pt>
                <c:pt idx="749">
                  <c:v>42675</c:v>
                </c:pt>
                <c:pt idx="750">
                  <c:v>42676</c:v>
                </c:pt>
                <c:pt idx="751">
                  <c:v>42677</c:v>
                </c:pt>
                <c:pt idx="752">
                  <c:v>42678</c:v>
                </c:pt>
                <c:pt idx="753">
                  <c:v>42681</c:v>
                </c:pt>
                <c:pt idx="754">
                  <c:v>42682</c:v>
                </c:pt>
                <c:pt idx="755">
                  <c:v>42683</c:v>
                </c:pt>
                <c:pt idx="756">
                  <c:v>42684</c:v>
                </c:pt>
                <c:pt idx="757">
                  <c:v>42685</c:v>
                </c:pt>
                <c:pt idx="758">
                  <c:v>42688</c:v>
                </c:pt>
                <c:pt idx="759">
                  <c:v>42689</c:v>
                </c:pt>
                <c:pt idx="760">
                  <c:v>42690</c:v>
                </c:pt>
                <c:pt idx="761">
                  <c:v>42691</c:v>
                </c:pt>
                <c:pt idx="762">
                  <c:v>42692</c:v>
                </c:pt>
                <c:pt idx="763">
                  <c:v>42695</c:v>
                </c:pt>
                <c:pt idx="764">
                  <c:v>42696</c:v>
                </c:pt>
                <c:pt idx="765">
                  <c:v>42697</c:v>
                </c:pt>
                <c:pt idx="766">
                  <c:v>42698</c:v>
                </c:pt>
                <c:pt idx="767">
                  <c:v>42699</c:v>
                </c:pt>
                <c:pt idx="768">
                  <c:v>42702</c:v>
                </c:pt>
                <c:pt idx="769">
                  <c:v>42703</c:v>
                </c:pt>
                <c:pt idx="770">
                  <c:v>42704</c:v>
                </c:pt>
                <c:pt idx="771">
                  <c:v>42705</c:v>
                </c:pt>
                <c:pt idx="772">
                  <c:v>42706</c:v>
                </c:pt>
                <c:pt idx="773">
                  <c:v>42709</c:v>
                </c:pt>
                <c:pt idx="774">
                  <c:v>42710</c:v>
                </c:pt>
                <c:pt idx="775">
                  <c:v>42711</c:v>
                </c:pt>
                <c:pt idx="776">
                  <c:v>42712</c:v>
                </c:pt>
                <c:pt idx="777">
                  <c:v>42713</c:v>
                </c:pt>
                <c:pt idx="778">
                  <c:v>42716</c:v>
                </c:pt>
                <c:pt idx="779">
                  <c:v>42717</c:v>
                </c:pt>
                <c:pt idx="780">
                  <c:v>42718</c:v>
                </c:pt>
                <c:pt idx="781">
                  <c:v>42719</c:v>
                </c:pt>
                <c:pt idx="782">
                  <c:v>42720</c:v>
                </c:pt>
                <c:pt idx="783">
                  <c:v>42723</c:v>
                </c:pt>
                <c:pt idx="784">
                  <c:v>42724</c:v>
                </c:pt>
                <c:pt idx="785">
                  <c:v>42725</c:v>
                </c:pt>
                <c:pt idx="786">
                  <c:v>42726</c:v>
                </c:pt>
                <c:pt idx="787">
                  <c:v>42727</c:v>
                </c:pt>
                <c:pt idx="788">
                  <c:v>42731</c:v>
                </c:pt>
                <c:pt idx="789">
                  <c:v>42732</c:v>
                </c:pt>
                <c:pt idx="790">
                  <c:v>42733</c:v>
                </c:pt>
                <c:pt idx="791">
                  <c:v>42734</c:v>
                </c:pt>
                <c:pt idx="792">
                  <c:v>42738</c:v>
                </c:pt>
                <c:pt idx="793">
                  <c:v>42739</c:v>
                </c:pt>
                <c:pt idx="794">
                  <c:v>42740</c:v>
                </c:pt>
                <c:pt idx="795">
                  <c:v>42741</c:v>
                </c:pt>
                <c:pt idx="796">
                  <c:v>42744</c:v>
                </c:pt>
                <c:pt idx="797">
                  <c:v>42745</c:v>
                </c:pt>
                <c:pt idx="798">
                  <c:v>42746</c:v>
                </c:pt>
                <c:pt idx="799">
                  <c:v>42747</c:v>
                </c:pt>
                <c:pt idx="800">
                  <c:v>42748</c:v>
                </c:pt>
                <c:pt idx="801">
                  <c:v>42751</c:v>
                </c:pt>
                <c:pt idx="802">
                  <c:v>42752</c:v>
                </c:pt>
                <c:pt idx="803">
                  <c:v>42753</c:v>
                </c:pt>
                <c:pt idx="804">
                  <c:v>42754</c:v>
                </c:pt>
                <c:pt idx="805">
                  <c:v>42755</c:v>
                </c:pt>
                <c:pt idx="806">
                  <c:v>42758</c:v>
                </c:pt>
                <c:pt idx="807">
                  <c:v>42759</c:v>
                </c:pt>
                <c:pt idx="808">
                  <c:v>42760</c:v>
                </c:pt>
                <c:pt idx="809">
                  <c:v>42761</c:v>
                </c:pt>
                <c:pt idx="810">
                  <c:v>42762</c:v>
                </c:pt>
                <c:pt idx="811">
                  <c:v>42765</c:v>
                </c:pt>
                <c:pt idx="812">
                  <c:v>42766</c:v>
                </c:pt>
                <c:pt idx="813">
                  <c:v>42767</c:v>
                </c:pt>
                <c:pt idx="814">
                  <c:v>42768</c:v>
                </c:pt>
                <c:pt idx="815">
                  <c:v>42769</c:v>
                </c:pt>
                <c:pt idx="816">
                  <c:v>42772</c:v>
                </c:pt>
                <c:pt idx="817">
                  <c:v>42773</c:v>
                </c:pt>
                <c:pt idx="818">
                  <c:v>42774</c:v>
                </c:pt>
                <c:pt idx="819">
                  <c:v>42775</c:v>
                </c:pt>
                <c:pt idx="820">
                  <c:v>42776</c:v>
                </c:pt>
                <c:pt idx="821">
                  <c:v>42779</c:v>
                </c:pt>
                <c:pt idx="822">
                  <c:v>42780</c:v>
                </c:pt>
                <c:pt idx="823">
                  <c:v>42781</c:v>
                </c:pt>
                <c:pt idx="824">
                  <c:v>42782</c:v>
                </c:pt>
                <c:pt idx="825">
                  <c:v>42783</c:v>
                </c:pt>
                <c:pt idx="826">
                  <c:v>42786</c:v>
                </c:pt>
                <c:pt idx="827">
                  <c:v>42787</c:v>
                </c:pt>
                <c:pt idx="828">
                  <c:v>42788</c:v>
                </c:pt>
                <c:pt idx="829">
                  <c:v>42789</c:v>
                </c:pt>
                <c:pt idx="830">
                  <c:v>42790</c:v>
                </c:pt>
                <c:pt idx="831">
                  <c:v>42793</c:v>
                </c:pt>
                <c:pt idx="832">
                  <c:v>42794</c:v>
                </c:pt>
                <c:pt idx="833">
                  <c:v>42795</c:v>
                </c:pt>
                <c:pt idx="834">
                  <c:v>42796</c:v>
                </c:pt>
                <c:pt idx="835">
                  <c:v>42797</c:v>
                </c:pt>
                <c:pt idx="836">
                  <c:v>42800</c:v>
                </c:pt>
                <c:pt idx="837">
                  <c:v>42801</c:v>
                </c:pt>
                <c:pt idx="838">
                  <c:v>42802</c:v>
                </c:pt>
                <c:pt idx="839">
                  <c:v>42803</c:v>
                </c:pt>
                <c:pt idx="840">
                  <c:v>42804</c:v>
                </c:pt>
                <c:pt idx="841">
                  <c:v>42807</c:v>
                </c:pt>
                <c:pt idx="842">
                  <c:v>42808</c:v>
                </c:pt>
                <c:pt idx="843">
                  <c:v>42809</c:v>
                </c:pt>
                <c:pt idx="844">
                  <c:v>42810</c:v>
                </c:pt>
                <c:pt idx="845">
                  <c:v>42811</c:v>
                </c:pt>
                <c:pt idx="846">
                  <c:v>42814</c:v>
                </c:pt>
                <c:pt idx="847">
                  <c:v>42815</c:v>
                </c:pt>
                <c:pt idx="848">
                  <c:v>42816</c:v>
                </c:pt>
                <c:pt idx="849">
                  <c:v>42817</c:v>
                </c:pt>
                <c:pt idx="850">
                  <c:v>42818</c:v>
                </c:pt>
                <c:pt idx="851">
                  <c:v>42821</c:v>
                </c:pt>
                <c:pt idx="852">
                  <c:v>42822</c:v>
                </c:pt>
                <c:pt idx="853">
                  <c:v>42823</c:v>
                </c:pt>
                <c:pt idx="854">
                  <c:v>42824</c:v>
                </c:pt>
                <c:pt idx="855">
                  <c:v>42825</c:v>
                </c:pt>
                <c:pt idx="856">
                  <c:v>42828</c:v>
                </c:pt>
                <c:pt idx="857">
                  <c:v>42829</c:v>
                </c:pt>
                <c:pt idx="858">
                  <c:v>42830</c:v>
                </c:pt>
                <c:pt idx="859">
                  <c:v>42831</c:v>
                </c:pt>
                <c:pt idx="860">
                  <c:v>42832</c:v>
                </c:pt>
                <c:pt idx="861">
                  <c:v>42835</c:v>
                </c:pt>
                <c:pt idx="862">
                  <c:v>42836</c:v>
                </c:pt>
                <c:pt idx="863">
                  <c:v>42837</c:v>
                </c:pt>
                <c:pt idx="864">
                  <c:v>42838</c:v>
                </c:pt>
                <c:pt idx="865">
                  <c:v>42842</c:v>
                </c:pt>
                <c:pt idx="866">
                  <c:v>42843</c:v>
                </c:pt>
                <c:pt idx="867">
                  <c:v>42844</c:v>
                </c:pt>
                <c:pt idx="868">
                  <c:v>42845</c:v>
                </c:pt>
                <c:pt idx="869">
                  <c:v>42846</c:v>
                </c:pt>
                <c:pt idx="870">
                  <c:v>42849</c:v>
                </c:pt>
                <c:pt idx="871">
                  <c:v>42850</c:v>
                </c:pt>
                <c:pt idx="872">
                  <c:v>42851</c:v>
                </c:pt>
                <c:pt idx="873">
                  <c:v>42852</c:v>
                </c:pt>
                <c:pt idx="874">
                  <c:v>42853</c:v>
                </c:pt>
                <c:pt idx="875">
                  <c:v>42856</c:v>
                </c:pt>
                <c:pt idx="876">
                  <c:v>42857</c:v>
                </c:pt>
                <c:pt idx="877">
                  <c:v>42858</c:v>
                </c:pt>
                <c:pt idx="878">
                  <c:v>42859</c:v>
                </c:pt>
                <c:pt idx="879">
                  <c:v>42860</c:v>
                </c:pt>
                <c:pt idx="880">
                  <c:v>42863</c:v>
                </c:pt>
                <c:pt idx="881">
                  <c:v>42864</c:v>
                </c:pt>
                <c:pt idx="882">
                  <c:v>42865</c:v>
                </c:pt>
                <c:pt idx="883">
                  <c:v>42866</c:v>
                </c:pt>
                <c:pt idx="884">
                  <c:v>42867</c:v>
                </c:pt>
                <c:pt idx="885">
                  <c:v>42870</c:v>
                </c:pt>
                <c:pt idx="886">
                  <c:v>42871</c:v>
                </c:pt>
                <c:pt idx="887">
                  <c:v>42872</c:v>
                </c:pt>
                <c:pt idx="888">
                  <c:v>42873</c:v>
                </c:pt>
                <c:pt idx="889">
                  <c:v>42874</c:v>
                </c:pt>
                <c:pt idx="890">
                  <c:v>42877</c:v>
                </c:pt>
                <c:pt idx="891">
                  <c:v>42878</c:v>
                </c:pt>
                <c:pt idx="892">
                  <c:v>42879</c:v>
                </c:pt>
                <c:pt idx="893">
                  <c:v>42880</c:v>
                </c:pt>
                <c:pt idx="894">
                  <c:v>42881</c:v>
                </c:pt>
                <c:pt idx="895">
                  <c:v>42885</c:v>
                </c:pt>
                <c:pt idx="896">
                  <c:v>42886</c:v>
                </c:pt>
                <c:pt idx="897">
                  <c:v>42887</c:v>
                </c:pt>
                <c:pt idx="898">
                  <c:v>42888</c:v>
                </c:pt>
                <c:pt idx="899">
                  <c:v>42891</c:v>
                </c:pt>
                <c:pt idx="900">
                  <c:v>42892</c:v>
                </c:pt>
                <c:pt idx="901">
                  <c:v>42893</c:v>
                </c:pt>
                <c:pt idx="902">
                  <c:v>42894</c:v>
                </c:pt>
                <c:pt idx="903">
                  <c:v>42895</c:v>
                </c:pt>
                <c:pt idx="904">
                  <c:v>42898</c:v>
                </c:pt>
                <c:pt idx="905">
                  <c:v>42899</c:v>
                </c:pt>
                <c:pt idx="906">
                  <c:v>42900</c:v>
                </c:pt>
                <c:pt idx="907">
                  <c:v>42901</c:v>
                </c:pt>
                <c:pt idx="908">
                  <c:v>42902</c:v>
                </c:pt>
                <c:pt idx="909">
                  <c:v>42905</c:v>
                </c:pt>
                <c:pt idx="910">
                  <c:v>42906</c:v>
                </c:pt>
                <c:pt idx="911">
                  <c:v>42907</c:v>
                </c:pt>
                <c:pt idx="912">
                  <c:v>42908</c:v>
                </c:pt>
                <c:pt idx="913">
                  <c:v>42909</c:v>
                </c:pt>
                <c:pt idx="914">
                  <c:v>42912</c:v>
                </c:pt>
                <c:pt idx="915">
                  <c:v>42913</c:v>
                </c:pt>
                <c:pt idx="916">
                  <c:v>42914</c:v>
                </c:pt>
                <c:pt idx="917">
                  <c:v>42915</c:v>
                </c:pt>
                <c:pt idx="918">
                  <c:v>42916</c:v>
                </c:pt>
                <c:pt idx="919">
                  <c:v>42919</c:v>
                </c:pt>
                <c:pt idx="920">
                  <c:v>42920</c:v>
                </c:pt>
                <c:pt idx="921">
                  <c:v>42921</c:v>
                </c:pt>
                <c:pt idx="922">
                  <c:v>42922</c:v>
                </c:pt>
                <c:pt idx="923">
                  <c:v>42923</c:v>
                </c:pt>
                <c:pt idx="924">
                  <c:v>42926</c:v>
                </c:pt>
                <c:pt idx="925">
                  <c:v>42927</c:v>
                </c:pt>
                <c:pt idx="926">
                  <c:v>42928</c:v>
                </c:pt>
                <c:pt idx="927">
                  <c:v>42929</c:v>
                </c:pt>
                <c:pt idx="928">
                  <c:v>42930</c:v>
                </c:pt>
                <c:pt idx="929">
                  <c:v>42933</c:v>
                </c:pt>
                <c:pt idx="930">
                  <c:v>42934</c:v>
                </c:pt>
                <c:pt idx="931">
                  <c:v>42935</c:v>
                </c:pt>
                <c:pt idx="932">
                  <c:v>42936</c:v>
                </c:pt>
                <c:pt idx="933">
                  <c:v>42937</c:v>
                </c:pt>
                <c:pt idx="934">
                  <c:v>42940</c:v>
                </c:pt>
                <c:pt idx="935">
                  <c:v>42941</c:v>
                </c:pt>
                <c:pt idx="936">
                  <c:v>42942</c:v>
                </c:pt>
                <c:pt idx="937">
                  <c:v>42943</c:v>
                </c:pt>
                <c:pt idx="938">
                  <c:v>42944</c:v>
                </c:pt>
                <c:pt idx="939">
                  <c:v>42947</c:v>
                </c:pt>
                <c:pt idx="940">
                  <c:v>42948</c:v>
                </c:pt>
                <c:pt idx="941">
                  <c:v>42949</c:v>
                </c:pt>
                <c:pt idx="942">
                  <c:v>42950</c:v>
                </c:pt>
                <c:pt idx="943">
                  <c:v>42951</c:v>
                </c:pt>
                <c:pt idx="944">
                  <c:v>42954</c:v>
                </c:pt>
                <c:pt idx="945">
                  <c:v>42955</c:v>
                </c:pt>
                <c:pt idx="946">
                  <c:v>42956</c:v>
                </c:pt>
                <c:pt idx="947">
                  <c:v>42957</c:v>
                </c:pt>
                <c:pt idx="948">
                  <c:v>42958</c:v>
                </c:pt>
                <c:pt idx="949">
                  <c:v>42961</c:v>
                </c:pt>
                <c:pt idx="950">
                  <c:v>42962</c:v>
                </c:pt>
                <c:pt idx="951">
                  <c:v>42963</c:v>
                </c:pt>
                <c:pt idx="952">
                  <c:v>42964</c:v>
                </c:pt>
                <c:pt idx="953">
                  <c:v>42965</c:v>
                </c:pt>
                <c:pt idx="954">
                  <c:v>42968</c:v>
                </c:pt>
                <c:pt idx="955">
                  <c:v>42969</c:v>
                </c:pt>
                <c:pt idx="956">
                  <c:v>42970</c:v>
                </c:pt>
                <c:pt idx="957">
                  <c:v>42971</c:v>
                </c:pt>
                <c:pt idx="958">
                  <c:v>42972</c:v>
                </c:pt>
                <c:pt idx="959">
                  <c:v>42975</c:v>
                </c:pt>
                <c:pt idx="960">
                  <c:v>42976</c:v>
                </c:pt>
                <c:pt idx="961">
                  <c:v>42977</c:v>
                </c:pt>
                <c:pt idx="962">
                  <c:v>42978</c:v>
                </c:pt>
                <c:pt idx="963">
                  <c:v>42979</c:v>
                </c:pt>
                <c:pt idx="964">
                  <c:v>42982</c:v>
                </c:pt>
                <c:pt idx="965">
                  <c:v>42983</c:v>
                </c:pt>
                <c:pt idx="966">
                  <c:v>42984</c:v>
                </c:pt>
                <c:pt idx="967">
                  <c:v>42985</c:v>
                </c:pt>
                <c:pt idx="968">
                  <c:v>42986</c:v>
                </c:pt>
                <c:pt idx="969">
                  <c:v>42989</c:v>
                </c:pt>
                <c:pt idx="970">
                  <c:v>42990</c:v>
                </c:pt>
                <c:pt idx="971">
                  <c:v>42991</c:v>
                </c:pt>
                <c:pt idx="972">
                  <c:v>42992</c:v>
                </c:pt>
                <c:pt idx="973">
                  <c:v>42993</c:v>
                </c:pt>
                <c:pt idx="974">
                  <c:v>42996</c:v>
                </c:pt>
                <c:pt idx="975">
                  <c:v>42997</c:v>
                </c:pt>
                <c:pt idx="976">
                  <c:v>42998</c:v>
                </c:pt>
                <c:pt idx="977">
                  <c:v>42999</c:v>
                </c:pt>
                <c:pt idx="978">
                  <c:v>43000</c:v>
                </c:pt>
                <c:pt idx="979">
                  <c:v>43003</c:v>
                </c:pt>
                <c:pt idx="980">
                  <c:v>43004</c:v>
                </c:pt>
                <c:pt idx="981">
                  <c:v>43005</c:v>
                </c:pt>
                <c:pt idx="982">
                  <c:v>43006</c:v>
                </c:pt>
                <c:pt idx="983">
                  <c:v>43007</c:v>
                </c:pt>
                <c:pt idx="984">
                  <c:v>43010</c:v>
                </c:pt>
                <c:pt idx="985">
                  <c:v>43011</c:v>
                </c:pt>
                <c:pt idx="986">
                  <c:v>43012</c:v>
                </c:pt>
                <c:pt idx="987">
                  <c:v>43013</c:v>
                </c:pt>
                <c:pt idx="988">
                  <c:v>43014</c:v>
                </c:pt>
                <c:pt idx="989">
                  <c:v>43017</c:v>
                </c:pt>
                <c:pt idx="990">
                  <c:v>43018</c:v>
                </c:pt>
                <c:pt idx="991">
                  <c:v>43019</c:v>
                </c:pt>
                <c:pt idx="992">
                  <c:v>43020</c:v>
                </c:pt>
                <c:pt idx="993">
                  <c:v>43021</c:v>
                </c:pt>
                <c:pt idx="994">
                  <c:v>43024</c:v>
                </c:pt>
                <c:pt idx="995">
                  <c:v>43025</c:v>
                </c:pt>
                <c:pt idx="996">
                  <c:v>43026</c:v>
                </c:pt>
                <c:pt idx="997">
                  <c:v>43027</c:v>
                </c:pt>
                <c:pt idx="998">
                  <c:v>43028</c:v>
                </c:pt>
                <c:pt idx="999">
                  <c:v>43031</c:v>
                </c:pt>
                <c:pt idx="1000">
                  <c:v>43032</c:v>
                </c:pt>
                <c:pt idx="1001">
                  <c:v>43033</c:v>
                </c:pt>
                <c:pt idx="1002">
                  <c:v>43034</c:v>
                </c:pt>
                <c:pt idx="1003">
                  <c:v>43035</c:v>
                </c:pt>
                <c:pt idx="1004">
                  <c:v>43038</c:v>
                </c:pt>
                <c:pt idx="1005">
                  <c:v>43039</c:v>
                </c:pt>
                <c:pt idx="1006">
                  <c:v>43040</c:v>
                </c:pt>
                <c:pt idx="1007">
                  <c:v>43041</c:v>
                </c:pt>
                <c:pt idx="1008">
                  <c:v>43042</c:v>
                </c:pt>
                <c:pt idx="1009">
                  <c:v>43045</c:v>
                </c:pt>
                <c:pt idx="1010">
                  <c:v>43046</c:v>
                </c:pt>
                <c:pt idx="1011">
                  <c:v>43047</c:v>
                </c:pt>
                <c:pt idx="1012">
                  <c:v>43048</c:v>
                </c:pt>
                <c:pt idx="1013">
                  <c:v>43049</c:v>
                </c:pt>
                <c:pt idx="1014">
                  <c:v>43052</c:v>
                </c:pt>
                <c:pt idx="1015">
                  <c:v>43053</c:v>
                </c:pt>
                <c:pt idx="1016">
                  <c:v>43054</c:v>
                </c:pt>
                <c:pt idx="1017">
                  <c:v>43055</c:v>
                </c:pt>
                <c:pt idx="1018">
                  <c:v>43056</c:v>
                </c:pt>
                <c:pt idx="1019">
                  <c:v>43059</c:v>
                </c:pt>
                <c:pt idx="1020">
                  <c:v>43060</c:v>
                </c:pt>
                <c:pt idx="1021">
                  <c:v>43061</c:v>
                </c:pt>
                <c:pt idx="1022">
                  <c:v>43062</c:v>
                </c:pt>
                <c:pt idx="1023">
                  <c:v>43063</c:v>
                </c:pt>
                <c:pt idx="1024">
                  <c:v>43066</c:v>
                </c:pt>
                <c:pt idx="1025">
                  <c:v>43067</c:v>
                </c:pt>
                <c:pt idx="1026">
                  <c:v>43068</c:v>
                </c:pt>
                <c:pt idx="1027">
                  <c:v>43069</c:v>
                </c:pt>
                <c:pt idx="1028">
                  <c:v>43070</c:v>
                </c:pt>
                <c:pt idx="1029">
                  <c:v>43073</c:v>
                </c:pt>
                <c:pt idx="1030">
                  <c:v>43074</c:v>
                </c:pt>
                <c:pt idx="1031">
                  <c:v>43075</c:v>
                </c:pt>
                <c:pt idx="1032">
                  <c:v>43076</c:v>
                </c:pt>
                <c:pt idx="1033">
                  <c:v>43077</c:v>
                </c:pt>
                <c:pt idx="1034">
                  <c:v>43080</c:v>
                </c:pt>
                <c:pt idx="1035">
                  <c:v>43081</c:v>
                </c:pt>
                <c:pt idx="1036">
                  <c:v>43082</c:v>
                </c:pt>
                <c:pt idx="1037">
                  <c:v>43083</c:v>
                </c:pt>
                <c:pt idx="1038">
                  <c:v>43084</c:v>
                </c:pt>
                <c:pt idx="1039">
                  <c:v>43087</c:v>
                </c:pt>
                <c:pt idx="1040">
                  <c:v>43088</c:v>
                </c:pt>
                <c:pt idx="1041">
                  <c:v>43089</c:v>
                </c:pt>
                <c:pt idx="1042">
                  <c:v>43090</c:v>
                </c:pt>
                <c:pt idx="1043">
                  <c:v>43091</c:v>
                </c:pt>
                <c:pt idx="1044">
                  <c:v>43095</c:v>
                </c:pt>
                <c:pt idx="1045">
                  <c:v>43096</c:v>
                </c:pt>
                <c:pt idx="1046">
                  <c:v>43097</c:v>
                </c:pt>
                <c:pt idx="1047">
                  <c:v>43098</c:v>
                </c:pt>
                <c:pt idx="1048">
                  <c:v>43102</c:v>
                </c:pt>
                <c:pt idx="1049">
                  <c:v>43103</c:v>
                </c:pt>
                <c:pt idx="1050">
                  <c:v>43104</c:v>
                </c:pt>
                <c:pt idx="1051">
                  <c:v>43105</c:v>
                </c:pt>
                <c:pt idx="1052">
                  <c:v>43108</c:v>
                </c:pt>
                <c:pt idx="1053">
                  <c:v>43109</c:v>
                </c:pt>
                <c:pt idx="1054">
                  <c:v>43110</c:v>
                </c:pt>
                <c:pt idx="1055">
                  <c:v>43111</c:v>
                </c:pt>
                <c:pt idx="1056">
                  <c:v>43112</c:v>
                </c:pt>
                <c:pt idx="1057">
                  <c:v>43115</c:v>
                </c:pt>
                <c:pt idx="1058">
                  <c:v>43116</c:v>
                </c:pt>
                <c:pt idx="1059">
                  <c:v>43117</c:v>
                </c:pt>
                <c:pt idx="1060">
                  <c:v>43118</c:v>
                </c:pt>
                <c:pt idx="1061">
                  <c:v>43119</c:v>
                </c:pt>
                <c:pt idx="1062">
                  <c:v>43122</c:v>
                </c:pt>
                <c:pt idx="1063">
                  <c:v>43123</c:v>
                </c:pt>
                <c:pt idx="1064">
                  <c:v>43124</c:v>
                </c:pt>
                <c:pt idx="1065">
                  <c:v>43125</c:v>
                </c:pt>
                <c:pt idx="1066">
                  <c:v>43126</c:v>
                </c:pt>
                <c:pt idx="1067">
                  <c:v>43129</c:v>
                </c:pt>
                <c:pt idx="1068">
                  <c:v>43130</c:v>
                </c:pt>
                <c:pt idx="1069">
                  <c:v>43131</c:v>
                </c:pt>
                <c:pt idx="1070">
                  <c:v>43132</c:v>
                </c:pt>
                <c:pt idx="1071">
                  <c:v>43133</c:v>
                </c:pt>
                <c:pt idx="1072">
                  <c:v>43136</c:v>
                </c:pt>
                <c:pt idx="1073">
                  <c:v>43137</c:v>
                </c:pt>
                <c:pt idx="1074">
                  <c:v>43138</c:v>
                </c:pt>
                <c:pt idx="1075">
                  <c:v>43139</c:v>
                </c:pt>
                <c:pt idx="1076">
                  <c:v>43140</c:v>
                </c:pt>
                <c:pt idx="1077">
                  <c:v>43143</c:v>
                </c:pt>
                <c:pt idx="1078">
                  <c:v>43144</c:v>
                </c:pt>
                <c:pt idx="1079">
                  <c:v>43145</c:v>
                </c:pt>
                <c:pt idx="1080">
                  <c:v>43146</c:v>
                </c:pt>
                <c:pt idx="1081">
                  <c:v>43147</c:v>
                </c:pt>
                <c:pt idx="1082">
                  <c:v>43150</c:v>
                </c:pt>
                <c:pt idx="1083">
                  <c:v>43151</c:v>
                </c:pt>
                <c:pt idx="1084">
                  <c:v>43152</c:v>
                </c:pt>
                <c:pt idx="1085">
                  <c:v>43153</c:v>
                </c:pt>
                <c:pt idx="1086">
                  <c:v>43154</c:v>
                </c:pt>
                <c:pt idx="1087">
                  <c:v>43157</c:v>
                </c:pt>
                <c:pt idx="1088">
                  <c:v>43158</c:v>
                </c:pt>
                <c:pt idx="1089">
                  <c:v>43159</c:v>
                </c:pt>
                <c:pt idx="1090">
                  <c:v>43160</c:v>
                </c:pt>
                <c:pt idx="1091">
                  <c:v>43161</c:v>
                </c:pt>
                <c:pt idx="1092">
                  <c:v>43164</c:v>
                </c:pt>
                <c:pt idx="1093">
                  <c:v>43165</c:v>
                </c:pt>
                <c:pt idx="1094">
                  <c:v>43166</c:v>
                </c:pt>
                <c:pt idx="1095">
                  <c:v>43167</c:v>
                </c:pt>
                <c:pt idx="1096">
                  <c:v>43168</c:v>
                </c:pt>
                <c:pt idx="1097">
                  <c:v>43171</c:v>
                </c:pt>
                <c:pt idx="1098">
                  <c:v>43172</c:v>
                </c:pt>
                <c:pt idx="1099">
                  <c:v>43173</c:v>
                </c:pt>
                <c:pt idx="1100">
                  <c:v>43174</c:v>
                </c:pt>
                <c:pt idx="1101">
                  <c:v>43175</c:v>
                </c:pt>
                <c:pt idx="1102">
                  <c:v>43178</c:v>
                </c:pt>
                <c:pt idx="1103">
                  <c:v>43179</c:v>
                </c:pt>
                <c:pt idx="1104">
                  <c:v>43180</c:v>
                </c:pt>
                <c:pt idx="1105">
                  <c:v>43181</c:v>
                </c:pt>
                <c:pt idx="1106">
                  <c:v>43182</c:v>
                </c:pt>
                <c:pt idx="1107">
                  <c:v>43185</c:v>
                </c:pt>
                <c:pt idx="1108">
                  <c:v>43186</c:v>
                </c:pt>
                <c:pt idx="1109">
                  <c:v>43187</c:v>
                </c:pt>
                <c:pt idx="1110">
                  <c:v>43188</c:v>
                </c:pt>
                <c:pt idx="1111">
                  <c:v>43192</c:v>
                </c:pt>
                <c:pt idx="1112">
                  <c:v>43193</c:v>
                </c:pt>
                <c:pt idx="1113">
                  <c:v>43194</c:v>
                </c:pt>
                <c:pt idx="1114">
                  <c:v>43195</c:v>
                </c:pt>
                <c:pt idx="1115">
                  <c:v>43196</c:v>
                </c:pt>
                <c:pt idx="1116">
                  <c:v>43199</c:v>
                </c:pt>
                <c:pt idx="1117">
                  <c:v>43200</c:v>
                </c:pt>
                <c:pt idx="1118">
                  <c:v>43201</c:v>
                </c:pt>
                <c:pt idx="1119">
                  <c:v>43202</c:v>
                </c:pt>
                <c:pt idx="1120">
                  <c:v>43203</c:v>
                </c:pt>
                <c:pt idx="1121">
                  <c:v>43206</c:v>
                </c:pt>
                <c:pt idx="1122">
                  <c:v>43207</c:v>
                </c:pt>
                <c:pt idx="1123">
                  <c:v>43208</c:v>
                </c:pt>
                <c:pt idx="1124">
                  <c:v>43209</c:v>
                </c:pt>
                <c:pt idx="1125">
                  <c:v>43210</c:v>
                </c:pt>
                <c:pt idx="1126">
                  <c:v>43213</c:v>
                </c:pt>
                <c:pt idx="1127">
                  <c:v>43214</c:v>
                </c:pt>
                <c:pt idx="1128">
                  <c:v>43215</c:v>
                </c:pt>
                <c:pt idx="1129">
                  <c:v>43216</c:v>
                </c:pt>
                <c:pt idx="1130">
                  <c:v>43217</c:v>
                </c:pt>
                <c:pt idx="1131">
                  <c:v>43220</c:v>
                </c:pt>
                <c:pt idx="1132">
                  <c:v>43221</c:v>
                </c:pt>
                <c:pt idx="1133">
                  <c:v>43222</c:v>
                </c:pt>
                <c:pt idx="1134">
                  <c:v>43223</c:v>
                </c:pt>
                <c:pt idx="1135">
                  <c:v>43224</c:v>
                </c:pt>
                <c:pt idx="1136">
                  <c:v>43227</c:v>
                </c:pt>
                <c:pt idx="1137">
                  <c:v>43228</c:v>
                </c:pt>
                <c:pt idx="1138">
                  <c:v>43229</c:v>
                </c:pt>
                <c:pt idx="1139">
                  <c:v>43230</c:v>
                </c:pt>
                <c:pt idx="1140">
                  <c:v>43231</c:v>
                </c:pt>
                <c:pt idx="1141">
                  <c:v>43234</c:v>
                </c:pt>
                <c:pt idx="1142">
                  <c:v>43235</c:v>
                </c:pt>
                <c:pt idx="1143">
                  <c:v>43236</c:v>
                </c:pt>
                <c:pt idx="1144">
                  <c:v>43237</c:v>
                </c:pt>
                <c:pt idx="1145">
                  <c:v>43238</c:v>
                </c:pt>
                <c:pt idx="1146">
                  <c:v>43241</c:v>
                </c:pt>
                <c:pt idx="1147">
                  <c:v>43242</c:v>
                </c:pt>
                <c:pt idx="1148">
                  <c:v>43243</c:v>
                </c:pt>
                <c:pt idx="1149">
                  <c:v>43244</c:v>
                </c:pt>
                <c:pt idx="1150">
                  <c:v>43245</c:v>
                </c:pt>
                <c:pt idx="1151">
                  <c:v>43249</c:v>
                </c:pt>
                <c:pt idx="1152">
                  <c:v>43250</c:v>
                </c:pt>
                <c:pt idx="1153">
                  <c:v>43251</c:v>
                </c:pt>
                <c:pt idx="1154">
                  <c:v>43252</c:v>
                </c:pt>
                <c:pt idx="1155">
                  <c:v>43255</c:v>
                </c:pt>
                <c:pt idx="1156">
                  <c:v>43256</c:v>
                </c:pt>
                <c:pt idx="1157">
                  <c:v>43257</c:v>
                </c:pt>
                <c:pt idx="1158">
                  <c:v>43258</c:v>
                </c:pt>
                <c:pt idx="1159">
                  <c:v>43259</c:v>
                </c:pt>
                <c:pt idx="1160">
                  <c:v>43262</c:v>
                </c:pt>
                <c:pt idx="1161">
                  <c:v>43263</c:v>
                </c:pt>
                <c:pt idx="1162">
                  <c:v>43264</c:v>
                </c:pt>
                <c:pt idx="1163">
                  <c:v>43265</c:v>
                </c:pt>
                <c:pt idx="1164">
                  <c:v>43266</c:v>
                </c:pt>
                <c:pt idx="1165">
                  <c:v>43269</c:v>
                </c:pt>
                <c:pt idx="1166">
                  <c:v>43270</c:v>
                </c:pt>
                <c:pt idx="1167">
                  <c:v>43271</c:v>
                </c:pt>
                <c:pt idx="1168">
                  <c:v>43272</c:v>
                </c:pt>
                <c:pt idx="1169">
                  <c:v>43273</c:v>
                </c:pt>
                <c:pt idx="1170">
                  <c:v>43276</c:v>
                </c:pt>
                <c:pt idx="1171">
                  <c:v>43277</c:v>
                </c:pt>
                <c:pt idx="1172">
                  <c:v>43278</c:v>
                </c:pt>
                <c:pt idx="1173">
                  <c:v>43279</c:v>
                </c:pt>
                <c:pt idx="1174">
                  <c:v>43280</c:v>
                </c:pt>
                <c:pt idx="1175">
                  <c:v>43283</c:v>
                </c:pt>
                <c:pt idx="1176">
                  <c:v>43284</c:v>
                </c:pt>
                <c:pt idx="1177">
                  <c:v>43285</c:v>
                </c:pt>
                <c:pt idx="1178">
                  <c:v>43286</c:v>
                </c:pt>
                <c:pt idx="1179">
                  <c:v>43287</c:v>
                </c:pt>
                <c:pt idx="1180">
                  <c:v>43290</c:v>
                </c:pt>
                <c:pt idx="1181">
                  <c:v>43291</c:v>
                </c:pt>
                <c:pt idx="1182">
                  <c:v>43292</c:v>
                </c:pt>
                <c:pt idx="1183">
                  <c:v>43293</c:v>
                </c:pt>
                <c:pt idx="1184">
                  <c:v>43294</c:v>
                </c:pt>
                <c:pt idx="1185">
                  <c:v>43297</c:v>
                </c:pt>
                <c:pt idx="1186">
                  <c:v>43298</c:v>
                </c:pt>
                <c:pt idx="1187">
                  <c:v>43299</c:v>
                </c:pt>
                <c:pt idx="1188">
                  <c:v>43300</c:v>
                </c:pt>
                <c:pt idx="1189">
                  <c:v>43301</c:v>
                </c:pt>
                <c:pt idx="1190">
                  <c:v>43304</c:v>
                </c:pt>
                <c:pt idx="1191">
                  <c:v>43305</c:v>
                </c:pt>
                <c:pt idx="1192">
                  <c:v>43306</c:v>
                </c:pt>
                <c:pt idx="1193">
                  <c:v>43307</c:v>
                </c:pt>
                <c:pt idx="1194">
                  <c:v>43308</c:v>
                </c:pt>
                <c:pt idx="1195">
                  <c:v>43311</c:v>
                </c:pt>
                <c:pt idx="1196">
                  <c:v>43312</c:v>
                </c:pt>
                <c:pt idx="1197">
                  <c:v>43313</c:v>
                </c:pt>
                <c:pt idx="1198">
                  <c:v>43314</c:v>
                </c:pt>
                <c:pt idx="1199">
                  <c:v>43315</c:v>
                </c:pt>
                <c:pt idx="1200">
                  <c:v>43318</c:v>
                </c:pt>
                <c:pt idx="1201">
                  <c:v>43319</c:v>
                </c:pt>
                <c:pt idx="1202">
                  <c:v>43320</c:v>
                </c:pt>
                <c:pt idx="1203">
                  <c:v>43321</c:v>
                </c:pt>
                <c:pt idx="1204">
                  <c:v>43322</c:v>
                </c:pt>
                <c:pt idx="1205">
                  <c:v>43325</c:v>
                </c:pt>
                <c:pt idx="1206">
                  <c:v>43326</c:v>
                </c:pt>
                <c:pt idx="1207">
                  <c:v>43327</c:v>
                </c:pt>
                <c:pt idx="1208">
                  <c:v>43328</c:v>
                </c:pt>
                <c:pt idx="1209">
                  <c:v>43329</c:v>
                </c:pt>
                <c:pt idx="1210">
                  <c:v>43332</c:v>
                </c:pt>
                <c:pt idx="1211">
                  <c:v>43333</c:v>
                </c:pt>
                <c:pt idx="1212">
                  <c:v>43334</c:v>
                </c:pt>
                <c:pt idx="1213">
                  <c:v>43335</c:v>
                </c:pt>
                <c:pt idx="1214">
                  <c:v>43336</c:v>
                </c:pt>
                <c:pt idx="1215">
                  <c:v>43339</c:v>
                </c:pt>
                <c:pt idx="1216">
                  <c:v>43340</c:v>
                </c:pt>
                <c:pt idx="1217">
                  <c:v>43341</c:v>
                </c:pt>
                <c:pt idx="1218">
                  <c:v>43342</c:v>
                </c:pt>
                <c:pt idx="1219">
                  <c:v>43343</c:v>
                </c:pt>
                <c:pt idx="1220">
                  <c:v>43346</c:v>
                </c:pt>
                <c:pt idx="1221">
                  <c:v>43347</c:v>
                </c:pt>
                <c:pt idx="1222">
                  <c:v>43348</c:v>
                </c:pt>
                <c:pt idx="1223">
                  <c:v>43349</c:v>
                </c:pt>
                <c:pt idx="1224">
                  <c:v>43350</c:v>
                </c:pt>
                <c:pt idx="1225">
                  <c:v>43353</c:v>
                </c:pt>
                <c:pt idx="1226">
                  <c:v>43354</c:v>
                </c:pt>
                <c:pt idx="1227">
                  <c:v>43355</c:v>
                </c:pt>
                <c:pt idx="1228">
                  <c:v>43356</c:v>
                </c:pt>
                <c:pt idx="1229">
                  <c:v>43357</c:v>
                </c:pt>
                <c:pt idx="1230">
                  <c:v>43360</c:v>
                </c:pt>
                <c:pt idx="1231">
                  <c:v>43361</c:v>
                </c:pt>
                <c:pt idx="1232">
                  <c:v>43362</c:v>
                </c:pt>
                <c:pt idx="1233">
                  <c:v>43363</c:v>
                </c:pt>
                <c:pt idx="1234">
                  <c:v>43364</c:v>
                </c:pt>
                <c:pt idx="1235">
                  <c:v>43367</c:v>
                </c:pt>
                <c:pt idx="1236">
                  <c:v>43368</c:v>
                </c:pt>
                <c:pt idx="1237">
                  <c:v>43369</c:v>
                </c:pt>
                <c:pt idx="1238">
                  <c:v>43370</c:v>
                </c:pt>
                <c:pt idx="1239">
                  <c:v>43371</c:v>
                </c:pt>
                <c:pt idx="1240">
                  <c:v>43374</c:v>
                </c:pt>
                <c:pt idx="1241">
                  <c:v>43375</c:v>
                </c:pt>
                <c:pt idx="1242">
                  <c:v>43376</c:v>
                </c:pt>
                <c:pt idx="1243">
                  <c:v>43377</c:v>
                </c:pt>
                <c:pt idx="1244">
                  <c:v>43378</c:v>
                </c:pt>
                <c:pt idx="1245">
                  <c:v>43381</c:v>
                </c:pt>
                <c:pt idx="1246">
                  <c:v>43382</c:v>
                </c:pt>
                <c:pt idx="1247">
                  <c:v>43383</c:v>
                </c:pt>
                <c:pt idx="1248">
                  <c:v>43384</c:v>
                </c:pt>
                <c:pt idx="1249">
                  <c:v>43385</c:v>
                </c:pt>
                <c:pt idx="1250">
                  <c:v>43388</c:v>
                </c:pt>
                <c:pt idx="1251">
                  <c:v>43389</c:v>
                </c:pt>
                <c:pt idx="1252">
                  <c:v>43390</c:v>
                </c:pt>
                <c:pt idx="1253">
                  <c:v>43391</c:v>
                </c:pt>
                <c:pt idx="1254">
                  <c:v>43392</c:v>
                </c:pt>
                <c:pt idx="1255">
                  <c:v>43395</c:v>
                </c:pt>
                <c:pt idx="1256">
                  <c:v>43396</c:v>
                </c:pt>
                <c:pt idx="1257">
                  <c:v>43397</c:v>
                </c:pt>
                <c:pt idx="1258">
                  <c:v>43398</c:v>
                </c:pt>
                <c:pt idx="1259">
                  <c:v>43399</c:v>
                </c:pt>
                <c:pt idx="1260">
                  <c:v>43402</c:v>
                </c:pt>
                <c:pt idx="1261">
                  <c:v>43403</c:v>
                </c:pt>
                <c:pt idx="1262">
                  <c:v>43404</c:v>
                </c:pt>
                <c:pt idx="1263">
                  <c:v>43405</c:v>
                </c:pt>
                <c:pt idx="1264">
                  <c:v>43406</c:v>
                </c:pt>
                <c:pt idx="1265">
                  <c:v>43409</c:v>
                </c:pt>
                <c:pt idx="1266">
                  <c:v>43410</c:v>
                </c:pt>
                <c:pt idx="1267">
                  <c:v>43411</c:v>
                </c:pt>
                <c:pt idx="1268">
                  <c:v>43412</c:v>
                </c:pt>
                <c:pt idx="1269">
                  <c:v>43413</c:v>
                </c:pt>
                <c:pt idx="1270">
                  <c:v>43416</c:v>
                </c:pt>
                <c:pt idx="1271">
                  <c:v>43417</c:v>
                </c:pt>
                <c:pt idx="1272">
                  <c:v>43418</c:v>
                </c:pt>
                <c:pt idx="1273">
                  <c:v>43419</c:v>
                </c:pt>
                <c:pt idx="1274">
                  <c:v>43420</c:v>
                </c:pt>
                <c:pt idx="1275">
                  <c:v>43423</c:v>
                </c:pt>
                <c:pt idx="1276">
                  <c:v>43424</c:v>
                </c:pt>
                <c:pt idx="1277">
                  <c:v>43425</c:v>
                </c:pt>
                <c:pt idx="1278">
                  <c:v>43426</c:v>
                </c:pt>
                <c:pt idx="1279">
                  <c:v>43427</c:v>
                </c:pt>
                <c:pt idx="1280">
                  <c:v>43430</c:v>
                </c:pt>
                <c:pt idx="1281">
                  <c:v>43431</c:v>
                </c:pt>
                <c:pt idx="1282">
                  <c:v>43432</c:v>
                </c:pt>
                <c:pt idx="1283">
                  <c:v>43433</c:v>
                </c:pt>
                <c:pt idx="1284">
                  <c:v>43434</c:v>
                </c:pt>
                <c:pt idx="1285">
                  <c:v>43437</c:v>
                </c:pt>
                <c:pt idx="1286">
                  <c:v>43438</c:v>
                </c:pt>
                <c:pt idx="1287">
                  <c:v>43439</c:v>
                </c:pt>
                <c:pt idx="1288">
                  <c:v>43440</c:v>
                </c:pt>
                <c:pt idx="1289">
                  <c:v>43441</c:v>
                </c:pt>
                <c:pt idx="1290">
                  <c:v>43444</c:v>
                </c:pt>
                <c:pt idx="1291">
                  <c:v>43445</c:v>
                </c:pt>
                <c:pt idx="1292">
                  <c:v>43446</c:v>
                </c:pt>
                <c:pt idx="1293">
                  <c:v>43447</c:v>
                </c:pt>
                <c:pt idx="1294">
                  <c:v>43448</c:v>
                </c:pt>
                <c:pt idx="1295">
                  <c:v>43451</c:v>
                </c:pt>
                <c:pt idx="1296">
                  <c:v>43452</c:v>
                </c:pt>
                <c:pt idx="1297">
                  <c:v>43453</c:v>
                </c:pt>
                <c:pt idx="1298">
                  <c:v>43454</c:v>
                </c:pt>
                <c:pt idx="1299">
                  <c:v>43455</c:v>
                </c:pt>
                <c:pt idx="1300">
                  <c:v>43460</c:v>
                </c:pt>
                <c:pt idx="1301">
                  <c:v>43461</c:v>
                </c:pt>
                <c:pt idx="1302">
                  <c:v>43462</c:v>
                </c:pt>
                <c:pt idx="1303">
                  <c:v>43467</c:v>
                </c:pt>
                <c:pt idx="1304">
                  <c:v>43468</c:v>
                </c:pt>
                <c:pt idx="1305">
                  <c:v>43469</c:v>
                </c:pt>
                <c:pt idx="1306">
                  <c:v>43472</c:v>
                </c:pt>
                <c:pt idx="1307">
                  <c:v>43473</c:v>
                </c:pt>
                <c:pt idx="1308">
                  <c:v>43474</c:v>
                </c:pt>
                <c:pt idx="1309">
                  <c:v>43475</c:v>
                </c:pt>
                <c:pt idx="1310">
                  <c:v>43476</c:v>
                </c:pt>
                <c:pt idx="1311">
                  <c:v>43479</c:v>
                </c:pt>
                <c:pt idx="1312">
                  <c:v>43480</c:v>
                </c:pt>
                <c:pt idx="1313">
                  <c:v>43481</c:v>
                </c:pt>
                <c:pt idx="1314">
                  <c:v>43482</c:v>
                </c:pt>
                <c:pt idx="1315">
                  <c:v>43483</c:v>
                </c:pt>
                <c:pt idx="1316">
                  <c:v>43486</c:v>
                </c:pt>
                <c:pt idx="1317">
                  <c:v>43487</c:v>
                </c:pt>
                <c:pt idx="1318">
                  <c:v>43488</c:v>
                </c:pt>
                <c:pt idx="1319">
                  <c:v>43489</c:v>
                </c:pt>
                <c:pt idx="1320">
                  <c:v>43490</c:v>
                </c:pt>
                <c:pt idx="1321">
                  <c:v>43493</c:v>
                </c:pt>
                <c:pt idx="1322">
                  <c:v>43494</c:v>
                </c:pt>
                <c:pt idx="1323">
                  <c:v>43495</c:v>
                </c:pt>
                <c:pt idx="1324">
                  <c:v>43496</c:v>
                </c:pt>
                <c:pt idx="1325">
                  <c:v>43497</c:v>
                </c:pt>
                <c:pt idx="1326">
                  <c:v>43500</c:v>
                </c:pt>
                <c:pt idx="1327">
                  <c:v>43501</c:v>
                </c:pt>
                <c:pt idx="1328">
                  <c:v>43502</c:v>
                </c:pt>
                <c:pt idx="1329">
                  <c:v>43503</c:v>
                </c:pt>
                <c:pt idx="1330">
                  <c:v>43504</c:v>
                </c:pt>
                <c:pt idx="1331">
                  <c:v>43507</c:v>
                </c:pt>
                <c:pt idx="1332">
                  <c:v>43508</c:v>
                </c:pt>
                <c:pt idx="1333">
                  <c:v>43509</c:v>
                </c:pt>
                <c:pt idx="1334">
                  <c:v>43510</c:v>
                </c:pt>
                <c:pt idx="1335">
                  <c:v>43511</c:v>
                </c:pt>
                <c:pt idx="1336">
                  <c:v>43514</c:v>
                </c:pt>
                <c:pt idx="1337">
                  <c:v>43515</c:v>
                </c:pt>
                <c:pt idx="1338">
                  <c:v>43516</c:v>
                </c:pt>
                <c:pt idx="1339">
                  <c:v>43517</c:v>
                </c:pt>
                <c:pt idx="1340">
                  <c:v>43518</c:v>
                </c:pt>
                <c:pt idx="1341">
                  <c:v>43521</c:v>
                </c:pt>
                <c:pt idx="1342">
                  <c:v>43522</c:v>
                </c:pt>
                <c:pt idx="1343">
                  <c:v>43523</c:v>
                </c:pt>
                <c:pt idx="1344">
                  <c:v>43524</c:v>
                </c:pt>
                <c:pt idx="1345">
                  <c:v>43525</c:v>
                </c:pt>
                <c:pt idx="1346">
                  <c:v>43528</c:v>
                </c:pt>
                <c:pt idx="1347">
                  <c:v>43529</c:v>
                </c:pt>
                <c:pt idx="1348">
                  <c:v>43530</c:v>
                </c:pt>
                <c:pt idx="1349">
                  <c:v>43531</c:v>
                </c:pt>
                <c:pt idx="1350">
                  <c:v>43532</c:v>
                </c:pt>
                <c:pt idx="1351">
                  <c:v>43535</c:v>
                </c:pt>
                <c:pt idx="1352">
                  <c:v>43536</c:v>
                </c:pt>
                <c:pt idx="1353">
                  <c:v>43537</c:v>
                </c:pt>
                <c:pt idx="1354">
                  <c:v>43538</c:v>
                </c:pt>
                <c:pt idx="1355">
                  <c:v>43539</c:v>
                </c:pt>
                <c:pt idx="1356">
                  <c:v>43542</c:v>
                </c:pt>
                <c:pt idx="1357">
                  <c:v>43543</c:v>
                </c:pt>
                <c:pt idx="1358">
                  <c:v>43544</c:v>
                </c:pt>
                <c:pt idx="1359">
                  <c:v>43545</c:v>
                </c:pt>
                <c:pt idx="1360">
                  <c:v>43546</c:v>
                </c:pt>
                <c:pt idx="1361">
                  <c:v>43549</c:v>
                </c:pt>
                <c:pt idx="1362">
                  <c:v>43550</c:v>
                </c:pt>
                <c:pt idx="1363">
                  <c:v>43551</c:v>
                </c:pt>
                <c:pt idx="1364">
                  <c:v>43552</c:v>
                </c:pt>
                <c:pt idx="1365">
                  <c:v>43553</c:v>
                </c:pt>
                <c:pt idx="1366">
                  <c:v>43556</c:v>
                </c:pt>
                <c:pt idx="1367">
                  <c:v>43557</c:v>
                </c:pt>
                <c:pt idx="1368">
                  <c:v>43558</c:v>
                </c:pt>
                <c:pt idx="1369">
                  <c:v>43559</c:v>
                </c:pt>
                <c:pt idx="1370">
                  <c:v>43560</c:v>
                </c:pt>
                <c:pt idx="1371">
                  <c:v>43563</c:v>
                </c:pt>
                <c:pt idx="1372">
                  <c:v>43564</c:v>
                </c:pt>
                <c:pt idx="1373">
                  <c:v>43565</c:v>
                </c:pt>
                <c:pt idx="1374">
                  <c:v>43566</c:v>
                </c:pt>
                <c:pt idx="1375">
                  <c:v>43567</c:v>
                </c:pt>
                <c:pt idx="1376">
                  <c:v>43570</c:v>
                </c:pt>
                <c:pt idx="1377">
                  <c:v>43571</c:v>
                </c:pt>
                <c:pt idx="1378">
                  <c:v>43572</c:v>
                </c:pt>
                <c:pt idx="1379">
                  <c:v>43573</c:v>
                </c:pt>
                <c:pt idx="1380">
                  <c:v>43577</c:v>
                </c:pt>
                <c:pt idx="1381">
                  <c:v>43578</c:v>
                </c:pt>
                <c:pt idx="1382">
                  <c:v>43579</c:v>
                </c:pt>
                <c:pt idx="1383">
                  <c:v>43580</c:v>
                </c:pt>
                <c:pt idx="1384">
                  <c:v>43581</c:v>
                </c:pt>
                <c:pt idx="1385">
                  <c:v>43584</c:v>
                </c:pt>
                <c:pt idx="1386">
                  <c:v>43585</c:v>
                </c:pt>
                <c:pt idx="1387">
                  <c:v>43586</c:v>
                </c:pt>
                <c:pt idx="1388">
                  <c:v>43587</c:v>
                </c:pt>
                <c:pt idx="1389">
                  <c:v>43588</c:v>
                </c:pt>
                <c:pt idx="1390">
                  <c:v>43591</c:v>
                </c:pt>
                <c:pt idx="1391">
                  <c:v>43592</c:v>
                </c:pt>
                <c:pt idx="1392">
                  <c:v>43593</c:v>
                </c:pt>
                <c:pt idx="1393">
                  <c:v>43594</c:v>
                </c:pt>
                <c:pt idx="1394">
                  <c:v>43595</c:v>
                </c:pt>
                <c:pt idx="1395">
                  <c:v>43598</c:v>
                </c:pt>
                <c:pt idx="1396">
                  <c:v>43599</c:v>
                </c:pt>
                <c:pt idx="1397">
                  <c:v>43600</c:v>
                </c:pt>
                <c:pt idx="1398">
                  <c:v>43601</c:v>
                </c:pt>
                <c:pt idx="1399">
                  <c:v>43602</c:v>
                </c:pt>
                <c:pt idx="1400">
                  <c:v>43605</c:v>
                </c:pt>
                <c:pt idx="1401">
                  <c:v>43606</c:v>
                </c:pt>
                <c:pt idx="1402">
                  <c:v>43607</c:v>
                </c:pt>
                <c:pt idx="1403">
                  <c:v>43608</c:v>
                </c:pt>
                <c:pt idx="1404">
                  <c:v>43609</c:v>
                </c:pt>
                <c:pt idx="1405">
                  <c:v>43613</c:v>
                </c:pt>
                <c:pt idx="1406">
                  <c:v>43614</c:v>
                </c:pt>
                <c:pt idx="1407">
                  <c:v>43615</c:v>
                </c:pt>
                <c:pt idx="1408">
                  <c:v>43616</c:v>
                </c:pt>
                <c:pt idx="1409">
                  <c:v>43619</c:v>
                </c:pt>
                <c:pt idx="1410">
                  <c:v>43620</c:v>
                </c:pt>
                <c:pt idx="1411">
                  <c:v>43621</c:v>
                </c:pt>
                <c:pt idx="1412">
                  <c:v>43622</c:v>
                </c:pt>
                <c:pt idx="1413">
                  <c:v>43623</c:v>
                </c:pt>
                <c:pt idx="1414">
                  <c:v>43626</c:v>
                </c:pt>
                <c:pt idx="1415">
                  <c:v>43627</c:v>
                </c:pt>
                <c:pt idx="1416">
                  <c:v>43628</c:v>
                </c:pt>
                <c:pt idx="1417">
                  <c:v>43629</c:v>
                </c:pt>
                <c:pt idx="1418">
                  <c:v>43630</c:v>
                </c:pt>
                <c:pt idx="1419">
                  <c:v>43633</c:v>
                </c:pt>
                <c:pt idx="1420">
                  <c:v>43634</c:v>
                </c:pt>
                <c:pt idx="1421">
                  <c:v>43635</c:v>
                </c:pt>
                <c:pt idx="1422">
                  <c:v>43636</c:v>
                </c:pt>
                <c:pt idx="1423">
                  <c:v>43637</c:v>
                </c:pt>
                <c:pt idx="1424">
                  <c:v>43640</c:v>
                </c:pt>
                <c:pt idx="1425">
                  <c:v>43641</c:v>
                </c:pt>
                <c:pt idx="1426">
                  <c:v>43642</c:v>
                </c:pt>
                <c:pt idx="1427">
                  <c:v>43643</c:v>
                </c:pt>
                <c:pt idx="1428">
                  <c:v>43644</c:v>
                </c:pt>
                <c:pt idx="1429">
                  <c:v>43647</c:v>
                </c:pt>
                <c:pt idx="1430">
                  <c:v>43648</c:v>
                </c:pt>
                <c:pt idx="1431">
                  <c:v>43649</c:v>
                </c:pt>
                <c:pt idx="1432">
                  <c:v>43650</c:v>
                </c:pt>
                <c:pt idx="1433">
                  <c:v>43651</c:v>
                </c:pt>
                <c:pt idx="1434">
                  <c:v>43654</c:v>
                </c:pt>
                <c:pt idx="1435">
                  <c:v>43655</c:v>
                </c:pt>
                <c:pt idx="1436">
                  <c:v>43656</c:v>
                </c:pt>
                <c:pt idx="1437">
                  <c:v>43657</c:v>
                </c:pt>
                <c:pt idx="1438">
                  <c:v>43658</c:v>
                </c:pt>
                <c:pt idx="1439">
                  <c:v>43661</c:v>
                </c:pt>
                <c:pt idx="1440">
                  <c:v>43662</c:v>
                </c:pt>
                <c:pt idx="1441">
                  <c:v>43663</c:v>
                </c:pt>
                <c:pt idx="1442">
                  <c:v>43664</c:v>
                </c:pt>
                <c:pt idx="1443">
                  <c:v>43665</c:v>
                </c:pt>
                <c:pt idx="1444">
                  <c:v>43668</c:v>
                </c:pt>
                <c:pt idx="1445">
                  <c:v>43669</c:v>
                </c:pt>
                <c:pt idx="1446">
                  <c:v>43670</c:v>
                </c:pt>
                <c:pt idx="1447">
                  <c:v>43671</c:v>
                </c:pt>
                <c:pt idx="1448">
                  <c:v>43672</c:v>
                </c:pt>
                <c:pt idx="1449">
                  <c:v>43675</c:v>
                </c:pt>
                <c:pt idx="1450">
                  <c:v>43676</c:v>
                </c:pt>
                <c:pt idx="1451">
                  <c:v>43677</c:v>
                </c:pt>
                <c:pt idx="1452">
                  <c:v>43678</c:v>
                </c:pt>
                <c:pt idx="1453">
                  <c:v>43679</c:v>
                </c:pt>
                <c:pt idx="1454">
                  <c:v>43682</c:v>
                </c:pt>
                <c:pt idx="1455">
                  <c:v>43683</c:v>
                </c:pt>
                <c:pt idx="1456">
                  <c:v>43684</c:v>
                </c:pt>
                <c:pt idx="1457">
                  <c:v>43685</c:v>
                </c:pt>
                <c:pt idx="1458">
                  <c:v>43686</c:v>
                </c:pt>
                <c:pt idx="1459">
                  <c:v>43689</c:v>
                </c:pt>
                <c:pt idx="1460">
                  <c:v>43690</c:v>
                </c:pt>
                <c:pt idx="1461">
                  <c:v>43691</c:v>
                </c:pt>
                <c:pt idx="1462">
                  <c:v>43692</c:v>
                </c:pt>
                <c:pt idx="1463">
                  <c:v>43693</c:v>
                </c:pt>
                <c:pt idx="1464">
                  <c:v>43696</c:v>
                </c:pt>
                <c:pt idx="1465">
                  <c:v>43697</c:v>
                </c:pt>
                <c:pt idx="1466">
                  <c:v>43698</c:v>
                </c:pt>
                <c:pt idx="1467">
                  <c:v>43699</c:v>
                </c:pt>
                <c:pt idx="1468">
                  <c:v>43700</c:v>
                </c:pt>
                <c:pt idx="1469">
                  <c:v>43703</c:v>
                </c:pt>
                <c:pt idx="1470">
                  <c:v>43704</c:v>
                </c:pt>
                <c:pt idx="1471">
                  <c:v>43705</c:v>
                </c:pt>
                <c:pt idx="1472">
                  <c:v>43706</c:v>
                </c:pt>
                <c:pt idx="1473">
                  <c:v>43707</c:v>
                </c:pt>
                <c:pt idx="1474">
                  <c:v>43710</c:v>
                </c:pt>
                <c:pt idx="1475">
                  <c:v>43711</c:v>
                </c:pt>
                <c:pt idx="1476">
                  <c:v>43712</c:v>
                </c:pt>
                <c:pt idx="1477">
                  <c:v>43713</c:v>
                </c:pt>
                <c:pt idx="1478">
                  <c:v>43714</c:v>
                </c:pt>
                <c:pt idx="1479">
                  <c:v>43717</c:v>
                </c:pt>
                <c:pt idx="1480">
                  <c:v>43718</c:v>
                </c:pt>
                <c:pt idx="1481">
                  <c:v>43719</c:v>
                </c:pt>
                <c:pt idx="1482">
                  <c:v>43720</c:v>
                </c:pt>
                <c:pt idx="1483">
                  <c:v>43721</c:v>
                </c:pt>
                <c:pt idx="1484">
                  <c:v>43724</c:v>
                </c:pt>
                <c:pt idx="1485">
                  <c:v>43725</c:v>
                </c:pt>
                <c:pt idx="1486">
                  <c:v>43726</c:v>
                </c:pt>
                <c:pt idx="1487">
                  <c:v>43727</c:v>
                </c:pt>
                <c:pt idx="1488">
                  <c:v>43728</c:v>
                </c:pt>
                <c:pt idx="1489">
                  <c:v>43731</c:v>
                </c:pt>
                <c:pt idx="1490">
                  <c:v>43732</c:v>
                </c:pt>
                <c:pt idx="1491">
                  <c:v>43733</c:v>
                </c:pt>
                <c:pt idx="1492">
                  <c:v>43734</c:v>
                </c:pt>
                <c:pt idx="1493">
                  <c:v>43735</c:v>
                </c:pt>
                <c:pt idx="1494">
                  <c:v>43738</c:v>
                </c:pt>
                <c:pt idx="1495">
                  <c:v>43739</c:v>
                </c:pt>
                <c:pt idx="1496">
                  <c:v>43740</c:v>
                </c:pt>
                <c:pt idx="1497">
                  <c:v>43741</c:v>
                </c:pt>
                <c:pt idx="1498">
                  <c:v>43742</c:v>
                </c:pt>
                <c:pt idx="1499">
                  <c:v>43745</c:v>
                </c:pt>
                <c:pt idx="1500">
                  <c:v>43746</c:v>
                </c:pt>
                <c:pt idx="1501">
                  <c:v>43747</c:v>
                </c:pt>
                <c:pt idx="1502">
                  <c:v>43748</c:v>
                </c:pt>
                <c:pt idx="1503">
                  <c:v>43749</c:v>
                </c:pt>
                <c:pt idx="1504">
                  <c:v>43752</c:v>
                </c:pt>
                <c:pt idx="1505">
                  <c:v>43753</c:v>
                </c:pt>
                <c:pt idx="1506">
                  <c:v>43754</c:v>
                </c:pt>
                <c:pt idx="1507">
                  <c:v>43755</c:v>
                </c:pt>
                <c:pt idx="1508">
                  <c:v>43756</c:v>
                </c:pt>
                <c:pt idx="1509">
                  <c:v>43759</c:v>
                </c:pt>
                <c:pt idx="1510">
                  <c:v>43760</c:v>
                </c:pt>
                <c:pt idx="1511">
                  <c:v>43761</c:v>
                </c:pt>
                <c:pt idx="1512">
                  <c:v>43762</c:v>
                </c:pt>
                <c:pt idx="1513">
                  <c:v>43763</c:v>
                </c:pt>
                <c:pt idx="1514">
                  <c:v>43766</c:v>
                </c:pt>
                <c:pt idx="1515">
                  <c:v>43767</c:v>
                </c:pt>
                <c:pt idx="1516">
                  <c:v>43768</c:v>
                </c:pt>
                <c:pt idx="1517">
                  <c:v>43769</c:v>
                </c:pt>
                <c:pt idx="1518">
                  <c:v>43770</c:v>
                </c:pt>
                <c:pt idx="1519">
                  <c:v>43773</c:v>
                </c:pt>
                <c:pt idx="1520">
                  <c:v>43774</c:v>
                </c:pt>
                <c:pt idx="1521">
                  <c:v>43775</c:v>
                </c:pt>
                <c:pt idx="1522">
                  <c:v>43776</c:v>
                </c:pt>
                <c:pt idx="1523">
                  <c:v>43777</c:v>
                </c:pt>
                <c:pt idx="1524">
                  <c:v>43780</c:v>
                </c:pt>
                <c:pt idx="1525">
                  <c:v>43781</c:v>
                </c:pt>
                <c:pt idx="1526">
                  <c:v>43782</c:v>
                </c:pt>
                <c:pt idx="1527">
                  <c:v>43783</c:v>
                </c:pt>
                <c:pt idx="1528">
                  <c:v>43784</c:v>
                </c:pt>
                <c:pt idx="1529">
                  <c:v>43787</c:v>
                </c:pt>
                <c:pt idx="1530">
                  <c:v>43788</c:v>
                </c:pt>
                <c:pt idx="1531">
                  <c:v>43789</c:v>
                </c:pt>
                <c:pt idx="1532">
                  <c:v>43790</c:v>
                </c:pt>
                <c:pt idx="1533">
                  <c:v>43791</c:v>
                </c:pt>
                <c:pt idx="1534">
                  <c:v>43794</c:v>
                </c:pt>
                <c:pt idx="1535">
                  <c:v>43795</c:v>
                </c:pt>
                <c:pt idx="1536">
                  <c:v>43796</c:v>
                </c:pt>
                <c:pt idx="1537">
                  <c:v>43797</c:v>
                </c:pt>
                <c:pt idx="1538">
                  <c:v>43798</c:v>
                </c:pt>
                <c:pt idx="1539">
                  <c:v>43801</c:v>
                </c:pt>
                <c:pt idx="1540">
                  <c:v>43802</c:v>
                </c:pt>
                <c:pt idx="1541">
                  <c:v>43803</c:v>
                </c:pt>
                <c:pt idx="1542">
                  <c:v>43804</c:v>
                </c:pt>
                <c:pt idx="1543">
                  <c:v>43805</c:v>
                </c:pt>
                <c:pt idx="1544">
                  <c:v>43808</c:v>
                </c:pt>
                <c:pt idx="1545">
                  <c:v>43809</c:v>
                </c:pt>
                <c:pt idx="1546">
                  <c:v>43810</c:v>
                </c:pt>
                <c:pt idx="1547">
                  <c:v>43811</c:v>
                </c:pt>
                <c:pt idx="1548">
                  <c:v>43812</c:v>
                </c:pt>
                <c:pt idx="1549">
                  <c:v>43815</c:v>
                </c:pt>
                <c:pt idx="1550">
                  <c:v>43816</c:v>
                </c:pt>
                <c:pt idx="1551">
                  <c:v>43817</c:v>
                </c:pt>
                <c:pt idx="1552">
                  <c:v>43818</c:v>
                </c:pt>
                <c:pt idx="1553">
                  <c:v>43819</c:v>
                </c:pt>
                <c:pt idx="1554">
                  <c:v>43822</c:v>
                </c:pt>
                <c:pt idx="1555">
                  <c:v>43823</c:v>
                </c:pt>
                <c:pt idx="1556">
                  <c:v>43825</c:v>
                </c:pt>
                <c:pt idx="1557">
                  <c:v>43826</c:v>
                </c:pt>
                <c:pt idx="1558">
                  <c:v>43829</c:v>
                </c:pt>
                <c:pt idx="1559">
                  <c:v>43830</c:v>
                </c:pt>
                <c:pt idx="1560">
                  <c:v>43832</c:v>
                </c:pt>
                <c:pt idx="1561">
                  <c:v>43833</c:v>
                </c:pt>
                <c:pt idx="1562">
                  <c:v>43836</c:v>
                </c:pt>
                <c:pt idx="1563">
                  <c:v>43837</c:v>
                </c:pt>
                <c:pt idx="1564">
                  <c:v>43838</c:v>
                </c:pt>
                <c:pt idx="1565">
                  <c:v>43839</c:v>
                </c:pt>
                <c:pt idx="1566">
                  <c:v>43840</c:v>
                </c:pt>
                <c:pt idx="1567">
                  <c:v>43843</c:v>
                </c:pt>
                <c:pt idx="1568">
                  <c:v>43844</c:v>
                </c:pt>
                <c:pt idx="1569">
                  <c:v>43845</c:v>
                </c:pt>
                <c:pt idx="1570">
                  <c:v>43846</c:v>
                </c:pt>
                <c:pt idx="1571">
                  <c:v>43847</c:v>
                </c:pt>
                <c:pt idx="1572">
                  <c:v>43850</c:v>
                </c:pt>
                <c:pt idx="1573">
                  <c:v>43851</c:v>
                </c:pt>
                <c:pt idx="1574">
                  <c:v>43852</c:v>
                </c:pt>
                <c:pt idx="1575">
                  <c:v>43853</c:v>
                </c:pt>
                <c:pt idx="1576">
                  <c:v>43854</c:v>
                </c:pt>
                <c:pt idx="1577">
                  <c:v>43857</c:v>
                </c:pt>
                <c:pt idx="1578">
                  <c:v>43858</c:v>
                </c:pt>
                <c:pt idx="1579">
                  <c:v>43859</c:v>
                </c:pt>
                <c:pt idx="1580">
                  <c:v>43860</c:v>
                </c:pt>
                <c:pt idx="1581">
                  <c:v>43861</c:v>
                </c:pt>
                <c:pt idx="1582">
                  <c:v>43864</c:v>
                </c:pt>
                <c:pt idx="1583">
                  <c:v>43865</c:v>
                </c:pt>
                <c:pt idx="1584">
                  <c:v>43866</c:v>
                </c:pt>
                <c:pt idx="1585">
                  <c:v>43867</c:v>
                </c:pt>
                <c:pt idx="1586">
                  <c:v>43868</c:v>
                </c:pt>
                <c:pt idx="1587">
                  <c:v>43871</c:v>
                </c:pt>
                <c:pt idx="1588">
                  <c:v>43872</c:v>
                </c:pt>
                <c:pt idx="1589">
                  <c:v>43873</c:v>
                </c:pt>
                <c:pt idx="1590">
                  <c:v>43874</c:v>
                </c:pt>
                <c:pt idx="1591">
                  <c:v>43875</c:v>
                </c:pt>
                <c:pt idx="1592">
                  <c:v>43878</c:v>
                </c:pt>
                <c:pt idx="1593">
                  <c:v>43879</c:v>
                </c:pt>
                <c:pt idx="1594">
                  <c:v>43880</c:v>
                </c:pt>
                <c:pt idx="1595">
                  <c:v>43881</c:v>
                </c:pt>
                <c:pt idx="1596">
                  <c:v>43882</c:v>
                </c:pt>
                <c:pt idx="1597">
                  <c:v>43885</c:v>
                </c:pt>
                <c:pt idx="1598">
                  <c:v>43886</c:v>
                </c:pt>
                <c:pt idx="1599">
                  <c:v>43887</c:v>
                </c:pt>
                <c:pt idx="1600">
                  <c:v>43888</c:v>
                </c:pt>
                <c:pt idx="1601">
                  <c:v>43889</c:v>
                </c:pt>
                <c:pt idx="1602">
                  <c:v>43892</c:v>
                </c:pt>
                <c:pt idx="1603">
                  <c:v>43893</c:v>
                </c:pt>
                <c:pt idx="1604">
                  <c:v>43894</c:v>
                </c:pt>
                <c:pt idx="1605">
                  <c:v>43895</c:v>
                </c:pt>
                <c:pt idx="1606">
                  <c:v>43896</c:v>
                </c:pt>
                <c:pt idx="1607">
                  <c:v>43899</c:v>
                </c:pt>
                <c:pt idx="1608">
                  <c:v>43900</c:v>
                </c:pt>
                <c:pt idx="1609">
                  <c:v>43901</c:v>
                </c:pt>
                <c:pt idx="1610">
                  <c:v>43902</c:v>
                </c:pt>
                <c:pt idx="1611">
                  <c:v>43903</c:v>
                </c:pt>
                <c:pt idx="1612">
                  <c:v>43906</c:v>
                </c:pt>
                <c:pt idx="1613">
                  <c:v>43907</c:v>
                </c:pt>
                <c:pt idx="1614">
                  <c:v>43908</c:v>
                </c:pt>
                <c:pt idx="1615">
                  <c:v>43909</c:v>
                </c:pt>
                <c:pt idx="1616">
                  <c:v>43910</c:v>
                </c:pt>
                <c:pt idx="1617">
                  <c:v>43913</c:v>
                </c:pt>
                <c:pt idx="1618">
                  <c:v>43914</c:v>
                </c:pt>
                <c:pt idx="1619">
                  <c:v>43915</c:v>
                </c:pt>
                <c:pt idx="1620">
                  <c:v>43916</c:v>
                </c:pt>
                <c:pt idx="1621">
                  <c:v>43917</c:v>
                </c:pt>
                <c:pt idx="1622">
                  <c:v>43920</c:v>
                </c:pt>
                <c:pt idx="1623">
                  <c:v>43921</c:v>
                </c:pt>
                <c:pt idx="1624">
                  <c:v>43922</c:v>
                </c:pt>
                <c:pt idx="1625">
                  <c:v>43923</c:v>
                </c:pt>
                <c:pt idx="1626">
                  <c:v>43924</c:v>
                </c:pt>
                <c:pt idx="1627">
                  <c:v>43927</c:v>
                </c:pt>
                <c:pt idx="1628">
                  <c:v>43928</c:v>
                </c:pt>
                <c:pt idx="1629">
                  <c:v>43929</c:v>
                </c:pt>
                <c:pt idx="1630">
                  <c:v>43930</c:v>
                </c:pt>
                <c:pt idx="1631">
                  <c:v>43934</c:v>
                </c:pt>
                <c:pt idx="1632">
                  <c:v>43935</c:v>
                </c:pt>
                <c:pt idx="1633">
                  <c:v>43936</c:v>
                </c:pt>
                <c:pt idx="1634">
                  <c:v>43937</c:v>
                </c:pt>
                <c:pt idx="1635">
                  <c:v>43938</c:v>
                </c:pt>
                <c:pt idx="1636">
                  <c:v>43941</c:v>
                </c:pt>
                <c:pt idx="1637">
                  <c:v>43942</c:v>
                </c:pt>
                <c:pt idx="1638">
                  <c:v>43943</c:v>
                </c:pt>
                <c:pt idx="1639">
                  <c:v>43944</c:v>
                </c:pt>
                <c:pt idx="1640">
                  <c:v>43945</c:v>
                </c:pt>
                <c:pt idx="1641">
                  <c:v>43948</c:v>
                </c:pt>
                <c:pt idx="1642">
                  <c:v>43949</c:v>
                </c:pt>
                <c:pt idx="1643">
                  <c:v>43950</c:v>
                </c:pt>
                <c:pt idx="1644">
                  <c:v>43951</c:v>
                </c:pt>
                <c:pt idx="1645">
                  <c:v>43952</c:v>
                </c:pt>
                <c:pt idx="1646">
                  <c:v>43955</c:v>
                </c:pt>
                <c:pt idx="1647">
                  <c:v>43956</c:v>
                </c:pt>
                <c:pt idx="1648">
                  <c:v>43957</c:v>
                </c:pt>
                <c:pt idx="1649">
                  <c:v>43958</c:v>
                </c:pt>
                <c:pt idx="1650">
                  <c:v>43959</c:v>
                </c:pt>
                <c:pt idx="1651">
                  <c:v>43962</c:v>
                </c:pt>
                <c:pt idx="1652">
                  <c:v>43963</c:v>
                </c:pt>
                <c:pt idx="1653">
                  <c:v>43964</c:v>
                </c:pt>
                <c:pt idx="1654">
                  <c:v>43965</c:v>
                </c:pt>
                <c:pt idx="1655">
                  <c:v>43966</c:v>
                </c:pt>
                <c:pt idx="1656">
                  <c:v>43969</c:v>
                </c:pt>
                <c:pt idx="1657">
                  <c:v>43970</c:v>
                </c:pt>
                <c:pt idx="1658">
                  <c:v>43971</c:v>
                </c:pt>
                <c:pt idx="1659">
                  <c:v>43972</c:v>
                </c:pt>
                <c:pt idx="1660">
                  <c:v>43973</c:v>
                </c:pt>
                <c:pt idx="1661">
                  <c:v>43977</c:v>
                </c:pt>
                <c:pt idx="1662">
                  <c:v>43978</c:v>
                </c:pt>
                <c:pt idx="1663">
                  <c:v>43979</c:v>
                </c:pt>
                <c:pt idx="1664">
                  <c:v>43980</c:v>
                </c:pt>
                <c:pt idx="1665">
                  <c:v>43983</c:v>
                </c:pt>
                <c:pt idx="1666">
                  <c:v>43984</c:v>
                </c:pt>
                <c:pt idx="1667">
                  <c:v>43985</c:v>
                </c:pt>
                <c:pt idx="1668">
                  <c:v>43986</c:v>
                </c:pt>
                <c:pt idx="1669">
                  <c:v>43987</c:v>
                </c:pt>
                <c:pt idx="1670">
                  <c:v>43990</c:v>
                </c:pt>
                <c:pt idx="1671">
                  <c:v>43991</c:v>
                </c:pt>
                <c:pt idx="1672">
                  <c:v>43992</c:v>
                </c:pt>
                <c:pt idx="1673">
                  <c:v>43993</c:v>
                </c:pt>
                <c:pt idx="1674">
                  <c:v>43994</c:v>
                </c:pt>
                <c:pt idx="1675">
                  <c:v>43997</c:v>
                </c:pt>
                <c:pt idx="1676">
                  <c:v>43998</c:v>
                </c:pt>
                <c:pt idx="1677">
                  <c:v>43999</c:v>
                </c:pt>
                <c:pt idx="1678">
                  <c:v>44000</c:v>
                </c:pt>
                <c:pt idx="1679">
                  <c:v>44001</c:v>
                </c:pt>
                <c:pt idx="1680">
                  <c:v>44004</c:v>
                </c:pt>
                <c:pt idx="1681">
                  <c:v>44005</c:v>
                </c:pt>
                <c:pt idx="1682">
                  <c:v>44006</c:v>
                </c:pt>
                <c:pt idx="1683">
                  <c:v>44007</c:v>
                </c:pt>
                <c:pt idx="1684">
                  <c:v>44008</c:v>
                </c:pt>
                <c:pt idx="1685">
                  <c:v>44011</c:v>
                </c:pt>
                <c:pt idx="1686">
                  <c:v>44012</c:v>
                </c:pt>
                <c:pt idx="1687">
                  <c:v>44013</c:v>
                </c:pt>
                <c:pt idx="1688">
                  <c:v>44014</c:v>
                </c:pt>
                <c:pt idx="1689">
                  <c:v>44015</c:v>
                </c:pt>
                <c:pt idx="1690">
                  <c:v>44018</c:v>
                </c:pt>
                <c:pt idx="1691">
                  <c:v>44019</c:v>
                </c:pt>
                <c:pt idx="1692">
                  <c:v>44020</c:v>
                </c:pt>
                <c:pt idx="1693">
                  <c:v>44021</c:v>
                </c:pt>
                <c:pt idx="1694">
                  <c:v>44022</c:v>
                </c:pt>
                <c:pt idx="1695">
                  <c:v>44025</c:v>
                </c:pt>
                <c:pt idx="1696">
                  <c:v>44026</c:v>
                </c:pt>
                <c:pt idx="1697">
                  <c:v>44027</c:v>
                </c:pt>
                <c:pt idx="1698">
                  <c:v>44028</c:v>
                </c:pt>
                <c:pt idx="1699">
                  <c:v>44029</c:v>
                </c:pt>
                <c:pt idx="1700">
                  <c:v>44032</c:v>
                </c:pt>
                <c:pt idx="1701">
                  <c:v>44033</c:v>
                </c:pt>
                <c:pt idx="1702">
                  <c:v>44034</c:v>
                </c:pt>
                <c:pt idx="1703">
                  <c:v>44035</c:v>
                </c:pt>
                <c:pt idx="1704">
                  <c:v>44036</c:v>
                </c:pt>
                <c:pt idx="1705">
                  <c:v>44039</c:v>
                </c:pt>
                <c:pt idx="1706">
                  <c:v>44040</c:v>
                </c:pt>
                <c:pt idx="1707">
                  <c:v>44041</c:v>
                </c:pt>
                <c:pt idx="1708">
                  <c:v>44042</c:v>
                </c:pt>
                <c:pt idx="1709">
                  <c:v>44043</c:v>
                </c:pt>
                <c:pt idx="1710">
                  <c:v>44046</c:v>
                </c:pt>
                <c:pt idx="1711">
                  <c:v>44047</c:v>
                </c:pt>
                <c:pt idx="1712">
                  <c:v>44048</c:v>
                </c:pt>
                <c:pt idx="1713">
                  <c:v>44049</c:v>
                </c:pt>
                <c:pt idx="1714">
                  <c:v>44050</c:v>
                </c:pt>
                <c:pt idx="1715">
                  <c:v>44053</c:v>
                </c:pt>
                <c:pt idx="1716">
                  <c:v>44054</c:v>
                </c:pt>
                <c:pt idx="1717">
                  <c:v>44055</c:v>
                </c:pt>
                <c:pt idx="1718">
                  <c:v>44056</c:v>
                </c:pt>
                <c:pt idx="1719">
                  <c:v>44057</c:v>
                </c:pt>
                <c:pt idx="1720">
                  <c:v>44060</c:v>
                </c:pt>
                <c:pt idx="1721">
                  <c:v>44061</c:v>
                </c:pt>
                <c:pt idx="1722">
                  <c:v>44062</c:v>
                </c:pt>
                <c:pt idx="1723">
                  <c:v>44063</c:v>
                </c:pt>
                <c:pt idx="1724">
                  <c:v>44064</c:v>
                </c:pt>
                <c:pt idx="1725">
                  <c:v>44067</c:v>
                </c:pt>
                <c:pt idx="1726">
                  <c:v>44068</c:v>
                </c:pt>
                <c:pt idx="1727">
                  <c:v>44069</c:v>
                </c:pt>
                <c:pt idx="1728">
                  <c:v>44070</c:v>
                </c:pt>
                <c:pt idx="1729">
                  <c:v>44071</c:v>
                </c:pt>
                <c:pt idx="1730">
                  <c:v>44074</c:v>
                </c:pt>
                <c:pt idx="1731">
                  <c:v>44075</c:v>
                </c:pt>
                <c:pt idx="1732">
                  <c:v>44076</c:v>
                </c:pt>
                <c:pt idx="1733">
                  <c:v>44077</c:v>
                </c:pt>
                <c:pt idx="1734">
                  <c:v>44078</c:v>
                </c:pt>
                <c:pt idx="1735">
                  <c:v>44081</c:v>
                </c:pt>
                <c:pt idx="1736">
                  <c:v>44082</c:v>
                </c:pt>
                <c:pt idx="1737">
                  <c:v>44083</c:v>
                </c:pt>
                <c:pt idx="1738">
                  <c:v>44084</c:v>
                </c:pt>
                <c:pt idx="1739">
                  <c:v>44085</c:v>
                </c:pt>
                <c:pt idx="1740">
                  <c:v>44088</c:v>
                </c:pt>
                <c:pt idx="1741">
                  <c:v>44089</c:v>
                </c:pt>
                <c:pt idx="1742">
                  <c:v>44090</c:v>
                </c:pt>
                <c:pt idx="1743">
                  <c:v>44091</c:v>
                </c:pt>
                <c:pt idx="1744">
                  <c:v>44092</c:v>
                </c:pt>
                <c:pt idx="1745">
                  <c:v>44095</c:v>
                </c:pt>
                <c:pt idx="1746">
                  <c:v>44096</c:v>
                </c:pt>
                <c:pt idx="1747">
                  <c:v>44097</c:v>
                </c:pt>
                <c:pt idx="1748">
                  <c:v>44098</c:v>
                </c:pt>
                <c:pt idx="1749">
                  <c:v>44099</c:v>
                </c:pt>
                <c:pt idx="1750">
                  <c:v>44102</c:v>
                </c:pt>
                <c:pt idx="1751">
                  <c:v>44103</c:v>
                </c:pt>
                <c:pt idx="1752">
                  <c:v>44104</c:v>
                </c:pt>
                <c:pt idx="1753">
                  <c:v>44105</c:v>
                </c:pt>
                <c:pt idx="1754">
                  <c:v>44106</c:v>
                </c:pt>
                <c:pt idx="1755">
                  <c:v>44109</c:v>
                </c:pt>
                <c:pt idx="1756">
                  <c:v>44110</c:v>
                </c:pt>
                <c:pt idx="1757">
                  <c:v>44111</c:v>
                </c:pt>
                <c:pt idx="1758">
                  <c:v>44112</c:v>
                </c:pt>
                <c:pt idx="1759">
                  <c:v>44113</c:v>
                </c:pt>
                <c:pt idx="1760">
                  <c:v>44116</c:v>
                </c:pt>
                <c:pt idx="1761">
                  <c:v>44117</c:v>
                </c:pt>
                <c:pt idx="1762">
                  <c:v>44118</c:v>
                </c:pt>
                <c:pt idx="1763">
                  <c:v>44119</c:v>
                </c:pt>
                <c:pt idx="1764">
                  <c:v>44120</c:v>
                </c:pt>
                <c:pt idx="1765">
                  <c:v>44123</c:v>
                </c:pt>
                <c:pt idx="1766">
                  <c:v>44124</c:v>
                </c:pt>
                <c:pt idx="1767">
                  <c:v>44125</c:v>
                </c:pt>
                <c:pt idx="1768">
                  <c:v>44126</c:v>
                </c:pt>
                <c:pt idx="1769">
                  <c:v>44127</c:v>
                </c:pt>
                <c:pt idx="1770">
                  <c:v>44130</c:v>
                </c:pt>
                <c:pt idx="1771">
                  <c:v>44131</c:v>
                </c:pt>
                <c:pt idx="1772">
                  <c:v>44132</c:v>
                </c:pt>
                <c:pt idx="1773">
                  <c:v>44133</c:v>
                </c:pt>
                <c:pt idx="1774">
                  <c:v>44134</c:v>
                </c:pt>
                <c:pt idx="1775">
                  <c:v>44137</c:v>
                </c:pt>
                <c:pt idx="1776">
                  <c:v>44138</c:v>
                </c:pt>
                <c:pt idx="1777">
                  <c:v>44139</c:v>
                </c:pt>
                <c:pt idx="1778">
                  <c:v>44140</c:v>
                </c:pt>
                <c:pt idx="1779">
                  <c:v>44141</c:v>
                </c:pt>
                <c:pt idx="1780">
                  <c:v>44144</c:v>
                </c:pt>
                <c:pt idx="1781">
                  <c:v>44145</c:v>
                </c:pt>
                <c:pt idx="1782">
                  <c:v>44146</c:v>
                </c:pt>
                <c:pt idx="1783">
                  <c:v>44147</c:v>
                </c:pt>
                <c:pt idx="1784">
                  <c:v>44148</c:v>
                </c:pt>
                <c:pt idx="1785">
                  <c:v>44151</c:v>
                </c:pt>
                <c:pt idx="1786">
                  <c:v>44152</c:v>
                </c:pt>
                <c:pt idx="1787">
                  <c:v>44153</c:v>
                </c:pt>
                <c:pt idx="1788">
                  <c:v>44154</c:v>
                </c:pt>
                <c:pt idx="1789">
                  <c:v>44155</c:v>
                </c:pt>
                <c:pt idx="1790">
                  <c:v>44158</c:v>
                </c:pt>
                <c:pt idx="1791">
                  <c:v>44159</c:v>
                </c:pt>
                <c:pt idx="1792">
                  <c:v>44160</c:v>
                </c:pt>
                <c:pt idx="1793">
                  <c:v>44161</c:v>
                </c:pt>
                <c:pt idx="1794">
                  <c:v>44162</c:v>
                </c:pt>
                <c:pt idx="1795">
                  <c:v>44165</c:v>
                </c:pt>
                <c:pt idx="1796">
                  <c:v>44166</c:v>
                </c:pt>
                <c:pt idx="1797">
                  <c:v>44167</c:v>
                </c:pt>
                <c:pt idx="1798">
                  <c:v>44168</c:v>
                </c:pt>
                <c:pt idx="1799">
                  <c:v>44169</c:v>
                </c:pt>
                <c:pt idx="1800">
                  <c:v>44172</c:v>
                </c:pt>
                <c:pt idx="1801">
                  <c:v>44173</c:v>
                </c:pt>
                <c:pt idx="1802">
                  <c:v>44174</c:v>
                </c:pt>
                <c:pt idx="1803">
                  <c:v>44175</c:v>
                </c:pt>
                <c:pt idx="1804">
                  <c:v>44176</c:v>
                </c:pt>
                <c:pt idx="1805">
                  <c:v>44179</c:v>
                </c:pt>
                <c:pt idx="1806">
                  <c:v>44180</c:v>
                </c:pt>
                <c:pt idx="1807">
                  <c:v>44181</c:v>
                </c:pt>
                <c:pt idx="1808">
                  <c:v>44182</c:v>
                </c:pt>
                <c:pt idx="1809">
                  <c:v>44183</c:v>
                </c:pt>
                <c:pt idx="1810">
                  <c:v>44186</c:v>
                </c:pt>
                <c:pt idx="1811">
                  <c:v>44187</c:v>
                </c:pt>
                <c:pt idx="1812">
                  <c:v>44188</c:v>
                </c:pt>
                <c:pt idx="1813">
                  <c:v>44189</c:v>
                </c:pt>
                <c:pt idx="1814">
                  <c:v>44193</c:v>
                </c:pt>
                <c:pt idx="1815">
                  <c:v>44194</c:v>
                </c:pt>
                <c:pt idx="1816">
                  <c:v>44195</c:v>
                </c:pt>
                <c:pt idx="1817">
                  <c:v>44196</c:v>
                </c:pt>
                <c:pt idx="1818">
                  <c:v>44200</c:v>
                </c:pt>
                <c:pt idx="1819">
                  <c:v>44201</c:v>
                </c:pt>
                <c:pt idx="1820">
                  <c:v>44202</c:v>
                </c:pt>
                <c:pt idx="1821">
                  <c:v>44203</c:v>
                </c:pt>
                <c:pt idx="1822">
                  <c:v>44204</c:v>
                </c:pt>
                <c:pt idx="1823">
                  <c:v>44207</c:v>
                </c:pt>
                <c:pt idx="1824">
                  <c:v>44208</c:v>
                </c:pt>
                <c:pt idx="1825">
                  <c:v>44209</c:v>
                </c:pt>
                <c:pt idx="1826">
                  <c:v>44210</c:v>
                </c:pt>
                <c:pt idx="1827">
                  <c:v>44211</c:v>
                </c:pt>
                <c:pt idx="1828">
                  <c:v>44214</c:v>
                </c:pt>
                <c:pt idx="1829">
                  <c:v>44215</c:v>
                </c:pt>
                <c:pt idx="1830">
                  <c:v>44216</c:v>
                </c:pt>
                <c:pt idx="1831">
                  <c:v>44217</c:v>
                </c:pt>
                <c:pt idx="1832">
                  <c:v>44218</c:v>
                </c:pt>
                <c:pt idx="1833">
                  <c:v>44221</c:v>
                </c:pt>
                <c:pt idx="1834">
                  <c:v>44222</c:v>
                </c:pt>
                <c:pt idx="1835">
                  <c:v>44223</c:v>
                </c:pt>
                <c:pt idx="1836">
                  <c:v>44224</c:v>
                </c:pt>
                <c:pt idx="1837">
                  <c:v>44225</c:v>
                </c:pt>
                <c:pt idx="1838">
                  <c:v>44228</c:v>
                </c:pt>
                <c:pt idx="1839">
                  <c:v>44229</c:v>
                </c:pt>
                <c:pt idx="1840">
                  <c:v>44230</c:v>
                </c:pt>
                <c:pt idx="1841">
                  <c:v>44231</c:v>
                </c:pt>
                <c:pt idx="1842">
                  <c:v>44232</c:v>
                </c:pt>
                <c:pt idx="1843">
                  <c:v>44235</c:v>
                </c:pt>
                <c:pt idx="1844">
                  <c:v>44236</c:v>
                </c:pt>
                <c:pt idx="1845">
                  <c:v>44237</c:v>
                </c:pt>
                <c:pt idx="1846">
                  <c:v>44238</c:v>
                </c:pt>
                <c:pt idx="1847">
                  <c:v>44239</c:v>
                </c:pt>
                <c:pt idx="1848">
                  <c:v>44242</c:v>
                </c:pt>
                <c:pt idx="1849">
                  <c:v>44243</c:v>
                </c:pt>
                <c:pt idx="1850">
                  <c:v>44244</c:v>
                </c:pt>
                <c:pt idx="1851">
                  <c:v>44245</c:v>
                </c:pt>
                <c:pt idx="1852">
                  <c:v>44246</c:v>
                </c:pt>
                <c:pt idx="1853">
                  <c:v>44249</c:v>
                </c:pt>
                <c:pt idx="1854">
                  <c:v>44250</c:v>
                </c:pt>
                <c:pt idx="1855">
                  <c:v>44251</c:v>
                </c:pt>
                <c:pt idx="1856">
                  <c:v>44252</c:v>
                </c:pt>
                <c:pt idx="1857">
                  <c:v>44253</c:v>
                </c:pt>
                <c:pt idx="1858">
                  <c:v>44256</c:v>
                </c:pt>
                <c:pt idx="1859">
                  <c:v>44257</c:v>
                </c:pt>
                <c:pt idx="1860">
                  <c:v>44258</c:v>
                </c:pt>
                <c:pt idx="1861">
                  <c:v>44259</c:v>
                </c:pt>
                <c:pt idx="1862">
                  <c:v>44260</c:v>
                </c:pt>
                <c:pt idx="1863">
                  <c:v>44263</c:v>
                </c:pt>
                <c:pt idx="1864">
                  <c:v>44264</c:v>
                </c:pt>
                <c:pt idx="1865">
                  <c:v>44265</c:v>
                </c:pt>
                <c:pt idx="1866">
                  <c:v>44266</c:v>
                </c:pt>
                <c:pt idx="1867">
                  <c:v>44267</c:v>
                </c:pt>
                <c:pt idx="1868">
                  <c:v>44270</c:v>
                </c:pt>
                <c:pt idx="1869">
                  <c:v>44271</c:v>
                </c:pt>
                <c:pt idx="1870">
                  <c:v>44272</c:v>
                </c:pt>
                <c:pt idx="1871">
                  <c:v>44273</c:v>
                </c:pt>
                <c:pt idx="1872">
                  <c:v>44274</c:v>
                </c:pt>
                <c:pt idx="1873">
                  <c:v>44277</c:v>
                </c:pt>
                <c:pt idx="1874">
                  <c:v>44278</c:v>
                </c:pt>
                <c:pt idx="1875">
                  <c:v>44279</c:v>
                </c:pt>
                <c:pt idx="1876">
                  <c:v>44280</c:v>
                </c:pt>
                <c:pt idx="1877">
                  <c:v>44281</c:v>
                </c:pt>
                <c:pt idx="1878">
                  <c:v>44284</c:v>
                </c:pt>
                <c:pt idx="1879">
                  <c:v>44285</c:v>
                </c:pt>
                <c:pt idx="1880">
                  <c:v>44286</c:v>
                </c:pt>
                <c:pt idx="1881">
                  <c:v>44287</c:v>
                </c:pt>
                <c:pt idx="1882">
                  <c:v>44291</c:v>
                </c:pt>
                <c:pt idx="1883">
                  <c:v>44292</c:v>
                </c:pt>
                <c:pt idx="1884">
                  <c:v>44293</c:v>
                </c:pt>
                <c:pt idx="1885">
                  <c:v>44294</c:v>
                </c:pt>
                <c:pt idx="1886">
                  <c:v>44295</c:v>
                </c:pt>
                <c:pt idx="1887">
                  <c:v>44298</c:v>
                </c:pt>
                <c:pt idx="1888">
                  <c:v>44299</c:v>
                </c:pt>
                <c:pt idx="1889">
                  <c:v>44300</c:v>
                </c:pt>
                <c:pt idx="1890">
                  <c:v>44301</c:v>
                </c:pt>
                <c:pt idx="1891">
                  <c:v>44302</c:v>
                </c:pt>
                <c:pt idx="1892">
                  <c:v>44305</c:v>
                </c:pt>
                <c:pt idx="1893">
                  <c:v>44306</c:v>
                </c:pt>
                <c:pt idx="1894">
                  <c:v>44307</c:v>
                </c:pt>
                <c:pt idx="1895">
                  <c:v>44308</c:v>
                </c:pt>
                <c:pt idx="1896">
                  <c:v>44309</c:v>
                </c:pt>
                <c:pt idx="1897">
                  <c:v>44312</c:v>
                </c:pt>
                <c:pt idx="1898">
                  <c:v>44313</c:v>
                </c:pt>
                <c:pt idx="1899">
                  <c:v>44314</c:v>
                </c:pt>
                <c:pt idx="1900">
                  <c:v>44315</c:v>
                </c:pt>
                <c:pt idx="1901">
                  <c:v>44316</c:v>
                </c:pt>
                <c:pt idx="1902">
                  <c:v>44319</c:v>
                </c:pt>
                <c:pt idx="1903">
                  <c:v>44320</c:v>
                </c:pt>
                <c:pt idx="1904">
                  <c:v>44321</c:v>
                </c:pt>
                <c:pt idx="1905">
                  <c:v>44322</c:v>
                </c:pt>
                <c:pt idx="1906">
                  <c:v>44323</c:v>
                </c:pt>
                <c:pt idx="1907">
                  <c:v>44326</c:v>
                </c:pt>
                <c:pt idx="1908">
                  <c:v>44327</c:v>
                </c:pt>
                <c:pt idx="1909">
                  <c:v>44328</c:v>
                </c:pt>
                <c:pt idx="1910">
                  <c:v>44329</c:v>
                </c:pt>
                <c:pt idx="1911">
                  <c:v>44330</c:v>
                </c:pt>
                <c:pt idx="1912">
                  <c:v>44333</c:v>
                </c:pt>
                <c:pt idx="1913">
                  <c:v>44334</c:v>
                </c:pt>
                <c:pt idx="1914">
                  <c:v>44335</c:v>
                </c:pt>
                <c:pt idx="1915">
                  <c:v>44336</c:v>
                </c:pt>
                <c:pt idx="1916">
                  <c:v>44337</c:v>
                </c:pt>
                <c:pt idx="1917">
                  <c:v>44340</c:v>
                </c:pt>
                <c:pt idx="1918">
                  <c:v>44341</c:v>
                </c:pt>
                <c:pt idx="1919">
                  <c:v>44342</c:v>
                </c:pt>
                <c:pt idx="1920">
                  <c:v>44343</c:v>
                </c:pt>
                <c:pt idx="1921">
                  <c:v>44344</c:v>
                </c:pt>
                <c:pt idx="1922">
                  <c:v>44348</c:v>
                </c:pt>
                <c:pt idx="1923">
                  <c:v>44349</c:v>
                </c:pt>
                <c:pt idx="1924">
                  <c:v>44350</c:v>
                </c:pt>
                <c:pt idx="1925">
                  <c:v>44351</c:v>
                </c:pt>
                <c:pt idx="1926">
                  <c:v>44354</c:v>
                </c:pt>
                <c:pt idx="1927">
                  <c:v>44355</c:v>
                </c:pt>
                <c:pt idx="1928">
                  <c:v>44356</c:v>
                </c:pt>
                <c:pt idx="1929">
                  <c:v>44357</c:v>
                </c:pt>
                <c:pt idx="1930">
                  <c:v>44358</c:v>
                </c:pt>
                <c:pt idx="1931">
                  <c:v>44361</c:v>
                </c:pt>
                <c:pt idx="1932">
                  <c:v>44362</c:v>
                </c:pt>
                <c:pt idx="1933">
                  <c:v>44363</c:v>
                </c:pt>
                <c:pt idx="1934">
                  <c:v>44364</c:v>
                </c:pt>
                <c:pt idx="1935">
                  <c:v>44365</c:v>
                </c:pt>
                <c:pt idx="1936">
                  <c:v>44368</c:v>
                </c:pt>
                <c:pt idx="1937">
                  <c:v>44369</c:v>
                </c:pt>
                <c:pt idx="1938">
                  <c:v>44370</c:v>
                </c:pt>
                <c:pt idx="1939">
                  <c:v>44371</c:v>
                </c:pt>
                <c:pt idx="1940">
                  <c:v>44372</c:v>
                </c:pt>
                <c:pt idx="1941">
                  <c:v>44375</c:v>
                </c:pt>
                <c:pt idx="1942">
                  <c:v>44376</c:v>
                </c:pt>
                <c:pt idx="1943">
                  <c:v>44377</c:v>
                </c:pt>
                <c:pt idx="1944">
                  <c:v>44378</c:v>
                </c:pt>
                <c:pt idx="1945">
                  <c:v>44379</c:v>
                </c:pt>
                <c:pt idx="1946">
                  <c:v>44382</c:v>
                </c:pt>
                <c:pt idx="1947">
                  <c:v>44383</c:v>
                </c:pt>
                <c:pt idx="1948">
                  <c:v>44384</c:v>
                </c:pt>
                <c:pt idx="1949">
                  <c:v>44385</c:v>
                </c:pt>
                <c:pt idx="1950">
                  <c:v>44386</c:v>
                </c:pt>
                <c:pt idx="1951">
                  <c:v>44389</c:v>
                </c:pt>
                <c:pt idx="1952">
                  <c:v>44390</c:v>
                </c:pt>
                <c:pt idx="1953">
                  <c:v>44391</c:v>
                </c:pt>
                <c:pt idx="1954">
                  <c:v>44392</c:v>
                </c:pt>
                <c:pt idx="1955">
                  <c:v>44393</c:v>
                </c:pt>
                <c:pt idx="1956">
                  <c:v>44396</c:v>
                </c:pt>
                <c:pt idx="1957">
                  <c:v>44397</c:v>
                </c:pt>
                <c:pt idx="1958">
                  <c:v>44398</c:v>
                </c:pt>
                <c:pt idx="1959">
                  <c:v>44399</c:v>
                </c:pt>
                <c:pt idx="1960">
                  <c:v>44400</c:v>
                </c:pt>
                <c:pt idx="1961">
                  <c:v>44403</c:v>
                </c:pt>
                <c:pt idx="1962">
                  <c:v>44404</c:v>
                </c:pt>
                <c:pt idx="1963">
                  <c:v>44405</c:v>
                </c:pt>
                <c:pt idx="1964">
                  <c:v>44406</c:v>
                </c:pt>
                <c:pt idx="1965">
                  <c:v>44407</c:v>
                </c:pt>
                <c:pt idx="1966">
                  <c:v>44410</c:v>
                </c:pt>
                <c:pt idx="1967">
                  <c:v>44411</c:v>
                </c:pt>
                <c:pt idx="1968">
                  <c:v>44412</c:v>
                </c:pt>
                <c:pt idx="1969">
                  <c:v>44413</c:v>
                </c:pt>
                <c:pt idx="1970">
                  <c:v>44414</c:v>
                </c:pt>
                <c:pt idx="1971">
                  <c:v>44417</c:v>
                </c:pt>
                <c:pt idx="1972">
                  <c:v>44418</c:v>
                </c:pt>
                <c:pt idx="1973">
                  <c:v>44419</c:v>
                </c:pt>
                <c:pt idx="1974">
                  <c:v>44420</c:v>
                </c:pt>
                <c:pt idx="1975">
                  <c:v>44421</c:v>
                </c:pt>
                <c:pt idx="1976">
                  <c:v>44424</c:v>
                </c:pt>
                <c:pt idx="1977">
                  <c:v>44425</c:v>
                </c:pt>
                <c:pt idx="1978">
                  <c:v>44426</c:v>
                </c:pt>
                <c:pt idx="1979">
                  <c:v>44427</c:v>
                </c:pt>
                <c:pt idx="1980">
                  <c:v>44428</c:v>
                </c:pt>
                <c:pt idx="1981">
                  <c:v>44431</c:v>
                </c:pt>
                <c:pt idx="1982">
                  <c:v>44432</c:v>
                </c:pt>
                <c:pt idx="1983">
                  <c:v>44433</c:v>
                </c:pt>
                <c:pt idx="1984">
                  <c:v>44434</c:v>
                </c:pt>
                <c:pt idx="1985">
                  <c:v>44435</c:v>
                </c:pt>
                <c:pt idx="1986">
                  <c:v>44438</c:v>
                </c:pt>
                <c:pt idx="1987">
                  <c:v>44439</c:v>
                </c:pt>
                <c:pt idx="1988">
                  <c:v>44440</c:v>
                </c:pt>
                <c:pt idx="1989">
                  <c:v>44441</c:v>
                </c:pt>
                <c:pt idx="1990">
                  <c:v>44442</c:v>
                </c:pt>
                <c:pt idx="1991">
                  <c:v>44445</c:v>
                </c:pt>
                <c:pt idx="1992">
                  <c:v>44446</c:v>
                </c:pt>
                <c:pt idx="1993">
                  <c:v>44447</c:v>
                </c:pt>
                <c:pt idx="1994">
                  <c:v>44448</c:v>
                </c:pt>
                <c:pt idx="1995">
                  <c:v>44449</c:v>
                </c:pt>
                <c:pt idx="1996">
                  <c:v>44452</c:v>
                </c:pt>
                <c:pt idx="1997">
                  <c:v>44453</c:v>
                </c:pt>
                <c:pt idx="1998">
                  <c:v>44454</c:v>
                </c:pt>
                <c:pt idx="1999">
                  <c:v>44455</c:v>
                </c:pt>
                <c:pt idx="2000">
                  <c:v>44456</c:v>
                </c:pt>
                <c:pt idx="2001">
                  <c:v>44459</c:v>
                </c:pt>
                <c:pt idx="2002">
                  <c:v>44460</c:v>
                </c:pt>
                <c:pt idx="2003">
                  <c:v>44461</c:v>
                </c:pt>
                <c:pt idx="2004">
                  <c:v>44462</c:v>
                </c:pt>
                <c:pt idx="2005">
                  <c:v>44463</c:v>
                </c:pt>
                <c:pt idx="2006">
                  <c:v>44466</c:v>
                </c:pt>
                <c:pt idx="2007">
                  <c:v>44467</c:v>
                </c:pt>
                <c:pt idx="2008">
                  <c:v>44468</c:v>
                </c:pt>
                <c:pt idx="2009">
                  <c:v>44469</c:v>
                </c:pt>
                <c:pt idx="2010">
                  <c:v>44470</c:v>
                </c:pt>
                <c:pt idx="2011">
                  <c:v>44473</c:v>
                </c:pt>
                <c:pt idx="2012">
                  <c:v>44474</c:v>
                </c:pt>
                <c:pt idx="2013">
                  <c:v>44475</c:v>
                </c:pt>
                <c:pt idx="2014">
                  <c:v>44476</c:v>
                </c:pt>
                <c:pt idx="2015">
                  <c:v>44477</c:v>
                </c:pt>
                <c:pt idx="2016">
                  <c:v>44480</c:v>
                </c:pt>
                <c:pt idx="2017">
                  <c:v>44481</c:v>
                </c:pt>
                <c:pt idx="2018">
                  <c:v>44482</c:v>
                </c:pt>
                <c:pt idx="2019">
                  <c:v>44483</c:v>
                </c:pt>
                <c:pt idx="2020">
                  <c:v>44484</c:v>
                </c:pt>
                <c:pt idx="2021">
                  <c:v>44487</c:v>
                </c:pt>
                <c:pt idx="2022">
                  <c:v>44488</c:v>
                </c:pt>
                <c:pt idx="2023">
                  <c:v>44489</c:v>
                </c:pt>
                <c:pt idx="2024">
                  <c:v>44490</c:v>
                </c:pt>
                <c:pt idx="2025">
                  <c:v>44491</c:v>
                </c:pt>
                <c:pt idx="2026">
                  <c:v>44494</c:v>
                </c:pt>
                <c:pt idx="2027">
                  <c:v>44495</c:v>
                </c:pt>
                <c:pt idx="2028">
                  <c:v>44496</c:v>
                </c:pt>
                <c:pt idx="2029">
                  <c:v>44497</c:v>
                </c:pt>
                <c:pt idx="2030">
                  <c:v>44498</c:v>
                </c:pt>
                <c:pt idx="2031">
                  <c:v>44501</c:v>
                </c:pt>
                <c:pt idx="2032">
                  <c:v>44502</c:v>
                </c:pt>
                <c:pt idx="2033">
                  <c:v>44503</c:v>
                </c:pt>
                <c:pt idx="2034">
                  <c:v>44504</c:v>
                </c:pt>
                <c:pt idx="2035">
                  <c:v>44505</c:v>
                </c:pt>
                <c:pt idx="2036">
                  <c:v>44508</c:v>
                </c:pt>
                <c:pt idx="2037">
                  <c:v>44509</c:v>
                </c:pt>
                <c:pt idx="2038">
                  <c:v>44510</c:v>
                </c:pt>
                <c:pt idx="2039">
                  <c:v>44511</c:v>
                </c:pt>
                <c:pt idx="2040">
                  <c:v>44512</c:v>
                </c:pt>
                <c:pt idx="2041">
                  <c:v>44515</c:v>
                </c:pt>
                <c:pt idx="2042">
                  <c:v>44516</c:v>
                </c:pt>
                <c:pt idx="2043">
                  <c:v>44517</c:v>
                </c:pt>
                <c:pt idx="2044">
                  <c:v>44518</c:v>
                </c:pt>
                <c:pt idx="2045">
                  <c:v>44519</c:v>
                </c:pt>
                <c:pt idx="2046">
                  <c:v>44522</c:v>
                </c:pt>
                <c:pt idx="2047">
                  <c:v>44523</c:v>
                </c:pt>
                <c:pt idx="2048">
                  <c:v>44524</c:v>
                </c:pt>
                <c:pt idx="2049">
                  <c:v>44525</c:v>
                </c:pt>
                <c:pt idx="2050">
                  <c:v>44526</c:v>
                </c:pt>
                <c:pt idx="2051">
                  <c:v>44529</c:v>
                </c:pt>
                <c:pt idx="2052">
                  <c:v>44530</c:v>
                </c:pt>
                <c:pt idx="2053">
                  <c:v>44531</c:v>
                </c:pt>
                <c:pt idx="2054">
                  <c:v>44532</c:v>
                </c:pt>
                <c:pt idx="2055">
                  <c:v>44533</c:v>
                </c:pt>
                <c:pt idx="2056">
                  <c:v>44536</c:v>
                </c:pt>
                <c:pt idx="2057">
                  <c:v>44537</c:v>
                </c:pt>
                <c:pt idx="2058">
                  <c:v>44538</c:v>
                </c:pt>
                <c:pt idx="2059">
                  <c:v>44539</c:v>
                </c:pt>
                <c:pt idx="2060">
                  <c:v>44540</c:v>
                </c:pt>
                <c:pt idx="2061">
                  <c:v>44543</c:v>
                </c:pt>
                <c:pt idx="2062">
                  <c:v>44544</c:v>
                </c:pt>
                <c:pt idx="2063">
                  <c:v>44545</c:v>
                </c:pt>
                <c:pt idx="2064">
                  <c:v>44546</c:v>
                </c:pt>
                <c:pt idx="2065">
                  <c:v>44547</c:v>
                </c:pt>
                <c:pt idx="2066">
                  <c:v>44550</c:v>
                </c:pt>
                <c:pt idx="2067">
                  <c:v>44551</c:v>
                </c:pt>
                <c:pt idx="2068">
                  <c:v>44552</c:v>
                </c:pt>
                <c:pt idx="2069">
                  <c:v>44553</c:v>
                </c:pt>
                <c:pt idx="2070">
                  <c:v>44554</c:v>
                </c:pt>
                <c:pt idx="2071">
                  <c:v>44557</c:v>
                </c:pt>
                <c:pt idx="2072">
                  <c:v>44558</c:v>
                </c:pt>
                <c:pt idx="2073">
                  <c:v>44559</c:v>
                </c:pt>
                <c:pt idx="2074">
                  <c:v>44560</c:v>
                </c:pt>
                <c:pt idx="2075">
                  <c:v>44561</c:v>
                </c:pt>
                <c:pt idx="2076">
                  <c:v>44564</c:v>
                </c:pt>
                <c:pt idx="2077">
                  <c:v>44565</c:v>
                </c:pt>
                <c:pt idx="2078">
                  <c:v>44566</c:v>
                </c:pt>
                <c:pt idx="2079">
                  <c:v>44567</c:v>
                </c:pt>
                <c:pt idx="2080">
                  <c:v>44568</c:v>
                </c:pt>
                <c:pt idx="2081">
                  <c:v>44571</c:v>
                </c:pt>
                <c:pt idx="2082">
                  <c:v>44572</c:v>
                </c:pt>
                <c:pt idx="2083">
                  <c:v>44573</c:v>
                </c:pt>
                <c:pt idx="2084">
                  <c:v>44574</c:v>
                </c:pt>
                <c:pt idx="2085">
                  <c:v>44575</c:v>
                </c:pt>
                <c:pt idx="2086">
                  <c:v>44578</c:v>
                </c:pt>
                <c:pt idx="2087">
                  <c:v>44579</c:v>
                </c:pt>
                <c:pt idx="2088">
                  <c:v>44580</c:v>
                </c:pt>
                <c:pt idx="2089">
                  <c:v>44581</c:v>
                </c:pt>
                <c:pt idx="2090">
                  <c:v>44582</c:v>
                </c:pt>
                <c:pt idx="2091">
                  <c:v>44585</c:v>
                </c:pt>
                <c:pt idx="2092">
                  <c:v>44586</c:v>
                </c:pt>
                <c:pt idx="2093">
                  <c:v>44587</c:v>
                </c:pt>
                <c:pt idx="2094">
                  <c:v>44588</c:v>
                </c:pt>
                <c:pt idx="2095">
                  <c:v>44589</c:v>
                </c:pt>
                <c:pt idx="2096">
                  <c:v>44592</c:v>
                </c:pt>
                <c:pt idx="2097">
                  <c:v>44593</c:v>
                </c:pt>
                <c:pt idx="2098">
                  <c:v>44594</c:v>
                </c:pt>
                <c:pt idx="2099">
                  <c:v>44595</c:v>
                </c:pt>
                <c:pt idx="2100">
                  <c:v>44596</c:v>
                </c:pt>
                <c:pt idx="2101">
                  <c:v>44599</c:v>
                </c:pt>
                <c:pt idx="2102">
                  <c:v>44600</c:v>
                </c:pt>
                <c:pt idx="2103">
                  <c:v>44601</c:v>
                </c:pt>
                <c:pt idx="2104">
                  <c:v>44602</c:v>
                </c:pt>
                <c:pt idx="2105">
                  <c:v>44603</c:v>
                </c:pt>
                <c:pt idx="2106">
                  <c:v>44606</c:v>
                </c:pt>
                <c:pt idx="2107">
                  <c:v>44607</c:v>
                </c:pt>
                <c:pt idx="2108">
                  <c:v>44608</c:v>
                </c:pt>
                <c:pt idx="2109">
                  <c:v>44609</c:v>
                </c:pt>
                <c:pt idx="2110">
                  <c:v>44610</c:v>
                </c:pt>
                <c:pt idx="2111">
                  <c:v>44613</c:v>
                </c:pt>
                <c:pt idx="2112">
                  <c:v>44614</c:v>
                </c:pt>
                <c:pt idx="2113">
                  <c:v>44615</c:v>
                </c:pt>
                <c:pt idx="2114">
                  <c:v>44616</c:v>
                </c:pt>
                <c:pt idx="2115">
                  <c:v>44617</c:v>
                </c:pt>
                <c:pt idx="2116">
                  <c:v>44620</c:v>
                </c:pt>
                <c:pt idx="2117">
                  <c:v>44621</c:v>
                </c:pt>
                <c:pt idx="2118">
                  <c:v>44622</c:v>
                </c:pt>
                <c:pt idx="2119">
                  <c:v>44623</c:v>
                </c:pt>
                <c:pt idx="2120">
                  <c:v>44624</c:v>
                </c:pt>
                <c:pt idx="2121">
                  <c:v>44627</c:v>
                </c:pt>
                <c:pt idx="2122">
                  <c:v>44628</c:v>
                </c:pt>
                <c:pt idx="2123">
                  <c:v>44629</c:v>
                </c:pt>
                <c:pt idx="2124">
                  <c:v>44630</c:v>
                </c:pt>
                <c:pt idx="2125">
                  <c:v>44631</c:v>
                </c:pt>
                <c:pt idx="2126">
                  <c:v>44634</c:v>
                </c:pt>
                <c:pt idx="2127">
                  <c:v>44635</c:v>
                </c:pt>
                <c:pt idx="2128">
                  <c:v>44636</c:v>
                </c:pt>
                <c:pt idx="2129">
                  <c:v>44637</c:v>
                </c:pt>
                <c:pt idx="2130">
                  <c:v>44638</c:v>
                </c:pt>
                <c:pt idx="2131">
                  <c:v>44641</c:v>
                </c:pt>
                <c:pt idx="2132">
                  <c:v>44642</c:v>
                </c:pt>
                <c:pt idx="2133">
                  <c:v>44643</c:v>
                </c:pt>
                <c:pt idx="2134">
                  <c:v>44644</c:v>
                </c:pt>
                <c:pt idx="2135">
                  <c:v>44645</c:v>
                </c:pt>
                <c:pt idx="2136">
                  <c:v>44648</c:v>
                </c:pt>
                <c:pt idx="2137">
                  <c:v>44649</c:v>
                </c:pt>
                <c:pt idx="2138">
                  <c:v>44650</c:v>
                </c:pt>
                <c:pt idx="2139">
                  <c:v>44651</c:v>
                </c:pt>
                <c:pt idx="2140">
                  <c:v>44652</c:v>
                </c:pt>
                <c:pt idx="2141">
                  <c:v>44655</c:v>
                </c:pt>
                <c:pt idx="2142">
                  <c:v>44656</c:v>
                </c:pt>
                <c:pt idx="2143">
                  <c:v>44657</c:v>
                </c:pt>
                <c:pt idx="2144">
                  <c:v>44658</c:v>
                </c:pt>
                <c:pt idx="2145">
                  <c:v>44659</c:v>
                </c:pt>
                <c:pt idx="2146">
                  <c:v>44662</c:v>
                </c:pt>
                <c:pt idx="2147">
                  <c:v>44663</c:v>
                </c:pt>
                <c:pt idx="2148">
                  <c:v>44664</c:v>
                </c:pt>
                <c:pt idx="2149">
                  <c:v>44665</c:v>
                </c:pt>
                <c:pt idx="2150">
                  <c:v>44669</c:v>
                </c:pt>
                <c:pt idx="2151">
                  <c:v>44670</c:v>
                </c:pt>
                <c:pt idx="2152">
                  <c:v>44671</c:v>
                </c:pt>
                <c:pt idx="2153">
                  <c:v>44672</c:v>
                </c:pt>
                <c:pt idx="2154">
                  <c:v>44673</c:v>
                </c:pt>
                <c:pt idx="2155">
                  <c:v>44676</c:v>
                </c:pt>
                <c:pt idx="2156">
                  <c:v>44677</c:v>
                </c:pt>
                <c:pt idx="2157">
                  <c:v>44678</c:v>
                </c:pt>
                <c:pt idx="2158">
                  <c:v>44679</c:v>
                </c:pt>
                <c:pt idx="2159">
                  <c:v>44680</c:v>
                </c:pt>
                <c:pt idx="2160">
                  <c:v>44683</c:v>
                </c:pt>
                <c:pt idx="2161">
                  <c:v>44684</c:v>
                </c:pt>
                <c:pt idx="2162">
                  <c:v>44685</c:v>
                </c:pt>
                <c:pt idx="2163">
                  <c:v>44686</c:v>
                </c:pt>
                <c:pt idx="2164">
                  <c:v>44687</c:v>
                </c:pt>
                <c:pt idx="2165">
                  <c:v>44690</c:v>
                </c:pt>
                <c:pt idx="2166">
                  <c:v>44691</c:v>
                </c:pt>
                <c:pt idx="2167">
                  <c:v>44692</c:v>
                </c:pt>
                <c:pt idx="2168">
                  <c:v>44693</c:v>
                </c:pt>
                <c:pt idx="2169">
                  <c:v>44694</c:v>
                </c:pt>
                <c:pt idx="2170">
                  <c:v>44697</c:v>
                </c:pt>
                <c:pt idx="2171">
                  <c:v>44698</c:v>
                </c:pt>
                <c:pt idx="2172">
                  <c:v>44699</c:v>
                </c:pt>
                <c:pt idx="2173">
                  <c:v>44700</c:v>
                </c:pt>
                <c:pt idx="2174">
                  <c:v>44701</c:v>
                </c:pt>
                <c:pt idx="2175">
                  <c:v>44704</c:v>
                </c:pt>
                <c:pt idx="2176">
                  <c:v>44705</c:v>
                </c:pt>
                <c:pt idx="2177">
                  <c:v>44706</c:v>
                </c:pt>
                <c:pt idx="2178">
                  <c:v>44707</c:v>
                </c:pt>
                <c:pt idx="2179">
                  <c:v>44708</c:v>
                </c:pt>
                <c:pt idx="2180">
                  <c:v>44711</c:v>
                </c:pt>
                <c:pt idx="2181">
                  <c:v>44712</c:v>
                </c:pt>
                <c:pt idx="2182">
                  <c:v>44713</c:v>
                </c:pt>
                <c:pt idx="2183">
                  <c:v>44714</c:v>
                </c:pt>
                <c:pt idx="2184">
                  <c:v>44715</c:v>
                </c:pt>
                <c:pt idx="2185">
                  <c:v>44718</c:v>
                </c:pt>
                <c:pt idx="2186">
                  <c:v>44719</c:v>
                </c:pt>
                <c:pt idx="2187">
                  <c:v>44720</c:v>
                </c:pt>
                <c:pt idx="2188">
                  <c:v>44721</c:v>
                </c:pt>
                <c:pt idx="2189">
                  <c:v>44722</c:v>
                </c:pt>
                <c:pt idx="2190">
                  <c:v>44725</c:v>
                </c:pt>
                <c:pt idx="2191">
                  <c:v>44726</c:v>
                </c:pt>
                <c:pt idx="2192">
                  <c:v>44727</c:v>
                </c:pt>
                <c:pt idx="2193">
                  <c:v>44728</c:v>
                </c:pt>
                <c:pt idx="2194">
                  <c:v>44729</c:v>
                </c:pt>
                <c:pt idx="2195">
                  <c:v>44732</c:v>
                </c:pt>
                <c:pt idx="2196">
                  <c:v>44733</c:v>
                </c:pt>
                <c:pt idx="2197">
                  <c:v>44734</c:v>
                </c:pt>
                <c:pt idx="2198">
                  <c:v>44735</c:v>
                </c:pt>
                <c:pt idx="2199">
                  <c:v>44736</c:v>
                </c:pt>
                <c:pt idx="2200">
                  <c:v>44739</c:v>
                </c:pt>
                <c:pt idx="2201">
                  <c:v>44740</c:v>
                </c:pt>
                <c:pt idx="2202">
                  <c:v>44741</c:v>
                </c:pt>
                <c:pt idx="2203">
                  <c:v>44742</c:v>
                </c:pt>
                <c:pt idx="2204">
                  <c:v>44743</c:v>
                </c:pt>
                <c:pt idx="2205">
                  <c:v>44746</c:v>
                </c:pt>
                <c:pt idx="2206">
                  <c:v>44747</c:v>
                </c:pt>
                <c:pt idx="2207">
                  <c:v>44748</c:v>
                </c:pt>
                <c:pt idx="2208">
                  <c:v>44749</c:v>
                </c:pt>
                <c:pt idx="2209">
                  <c:v>44750</c:v>
                </c:pt>
                <c:pt idx="2210">
                  <c:v>44753</c:v>
                </c:pt>
                <c:pt idx="2211">
                  <c:v>44754</c:v>
                </c:pt>
                <c:pt idx="2212">
                  <c:v>44755</c:v>
                </c:pt>
                <c:pt idx="2213">
                  <c:v>44756</c:v>
                </c:pt>
                <c:pt idx="2214">
                  <c:v>44757</c:v>
                </c:pt>
                <c:pt idx="2215">
                  <c:v>44760</c:v>
                </c:pt>
                <c:pt idx="2216">
                  <c:v>44761</c:v>
                </c:pt>
                <c:pt idx="2217">
                  <c:v>44762</c:v>
                </c:pt>
                <c:pt idx="2218">
                  <c:v>44763</c:v>
                </c:pt>
                <c:pt idx="2219">
                  <c:v>44764</c:v>
                </c:pt>
                <c:pt idx="2220">
                  <c:v>44767</c:v>
                </c:pt>
                <c:pt idx="2221">
                  <c:v>44768</c:v>
                </c:pt>
                <c:pt idx="2222">
                  <c:v>44769</c:v>
                </c:pt>
                <c:pt idx="2223">
                  <c:v>44770</c:v>
                </c:pt>
                <c:pt idx="2224">
                  <c:v>44771</c:v>
                </c:pt>
                <c:pt idx="2225">
                  <c:v>44774</c:v>
                </c:pt>
                <c:pt idx="2226">
                  <c:v>44775</c:v>
                </c:pt>
                <c:pt idx="2227">
                  <c:v>44776</c:v>
                </c:pt>
                <c:pt idx="2228">
                  <c:v>44777</c:v>
                </c:pt>
                <c:pt idx="2229">
                  <c:v>44778</c:v>
                </c:pt>
                <c:pt idx="2230">
                  <c:v>44781</c:v>
                </c:pt>
                <c:pt idx="2231">
                  <c:v>44782</c:v>
                </c:pt>
                <c:pt idx="2232">
                  <c:v>44783</c:v>
                </c:pt>
                <c:pt idx="2233">
                  <c:v>44784</c:v>
                </c:pt>
                <c:pt idx="2234">
                  <c:v>44785</c:v>
                </c:pt>
                <c:pt idx="2235">
                  <c:v>44788</c:v>
                </c:pt>
                <c:pt idx="2236">
                  <c:v>44789</c:v>
                </c:pt>
                <c:pt idx="2237">
                  <c:v>44790</c:v>
                </c:pt>
                <c:pt idx="2238">
                  <c:v>44791</c:v>
                </c:pt>
                <c:pt idx="2239">
                  <c:v>44792</c:v>
                </c:pt>
                <c:pt idx="2240">
                  <c:v>44795</c:v>
                </c:pt>
                <c:pt idx="2241">
                  <c:v>44796</c:v>
                </c:pt>
                <c:pt idx="2242">
                  <c:v>44797</c:v>
                </c:pt>
                <c:pt idx="2243">
                  <c:v>44798</c:v>
                </c:pt>
                <c:pt idx="2244">
                  <c:v>44799</c:v>
                </c:pt>
                <c:pt idx="2245">
                  <c:v>44802</c:v>
                </c:pt>
                <c:pt idx="2246">
                  <c:v>44803</c:v>
                </c:pt>
                <c:pt idx="2247">
                  <c:v>44804</c:v>
                </c:pt>
                <c:pt idx="2248">
                  <c:v>44805</c:v>
                </c:pt>
                <c:pt idx="2249">
                  <c:v>44806</c:v>
                </c:pt>
                <c:pt idx="2250">
                  <c:v>44809</c:v>
                </c:pt>
                <c:pt idx="2251">
                  <c:v>44810</c:v>
                </c:pt>
                <c:pt idx="2252">
                  <c:v>44811</c:v>
                </c:pt>
                <c:pt idx="2253">
                  <c:v>44812</c:v>
                </c:pt>
                <c:pt idx="2254">
                  <c:v>44813</c:v>
                </c:pt>
                <c:pt idx="2255">
                  <c:v>44816</c:v>
                </c:pt>
                <c:pt idx="2256">
                  <c:v>44817</c:v>
                </c:pt>
                <c:pt idx="2257">
                  <c:v>44818</c:v>
                </c:pt>
                <c:pt idx="2258">
                  <c:v>44819</c:v>
                </c:pt>
                <c:pt idx="2259">
                  <c:v>44820</c:v>
                </c:pt>
                <c:pt idx="2260">
                  <c:v>44823</c:v>
                </c:pt>
                <c:pt idx="2261">
                  <c:v>44824</c:v>
                </c:pt>
                <c:pt idx="2262">
                  <c:v>44825</c:v>
                </c:pt>
                <c:pt idx="2263">
                  <c:v>44826</c:v>
                </c:pt>
                <c:pt idx="2264">
                  <c:v>44827</c:v>
                </c:pt>
                <c:pt idx="2265">
                  <c:v>44830</c:v>
                </c:pt>
                <c:pt idx="2266">
                  <c:v>44831</c:v>
                </c:pt>
                <c:pt idx="2267">
                  <c:v>44832</c:v>
                </c:pt>
                <c:pt idx="2268">
                  <c:v>44833</c:v>
                </c:pt>
                <c:pt idx="2269">
                  <c:v>44834</c:v>
                </c:pt>
                <c:pt idx="2270">
                  <c:v>44837</c:v>
                </c:pt>
                <c:pt idx="2271">
                  <c:v>44838</c:v>
                </c:pt>
                <c:pt idx="2272">
                  <c:v>44839</c:v>
                </c:pt>
                <c:pt idx="2273">
                  <c:v>44840</c:v>
                </c:pt>
                <c:pt idx="2274">
                  <c:v>44841</c:v>
                </c:pt>
                <c:pt idx="2275">
                  <c:v>44844</c:v>
                </c:pt>
                <c:pt idx="2276">
                  <c:v>44845</c:v>
                </c:pt>
                <c:pt idx="2277">
                  <c:v>44846</c:v>
                </c:pt>
                <c:pt idx="2278">
                  <c:v>44847</c:v>
                </c:pt>
                <c:pt idx="2279">
                  <c:v>44848</c:v>
                </c:pt>
                <c:pt idx="2280">
                  <c:v>44851</c:v>
                </c:pt>
                <c:pt idx="2281">
                  <c:v>44852</c:v>
                </c:pt>
                <c:pt idx="2282">
                  <c:v>44853</c:v>
                </c:pt>
                <c:pt idx="2283">
                  <c:v>44854</c:v>
                </c:pt>
                <c:pt idx="2284">
                  <c:v>44855</c:v>
                </c:pt>
                <c:pt idx="2285">
                  <c:v>44858</c:v>
                </c:pt>
                <c:pt idx="2286">
                  <c:v>44859</c:v>
                </c:pt>
                <c:pt idx="2287">
                  <c:v>44860</c:v>
                </c:pt>
                <c:pt idx="2288">
                  <c:v>44861</c:v>
                </c:pt>
                <c:pt idx="2289">
                  <c:v>44862</c:v>
                </c:pt>
                <c:pt idx="2290">
                  <c:v>44865</c:v>
                </c:pt>
                <c:pt idx="2291">
                  <c:v>44866</c:v>
                </c:pt>
                <c:pt idx="2292">
                  <c:v>44867</c:v>
                </c:pt>
                <c:pt idx="2293">
                  <c:v>44868</c:v>
                </c:pt>
                <c:pt idx="2294">
                  <c:v>44869</c:v>
                </c:pt>
                <c:pt idx="2295">
                  <c:v>44872</c:v>
                </c:pt>
                <c:pt idx="2296">
                  <c:v>44873</c:v>
                </c:pt>
                <c:pt idx="2297">
                  <c:v>44874</c:v>
                </c:pt>
                <c:pt idx="2298">
                  <c:v>44875</c:v>
                </c:pt>
                <c:pt idx="2299">
                  <c:v>44876</c:v>
                </c:pt>
                <c:pt idx="2300">
                  <c:v>44879</c:v>
                </c:pt>
                <c:pt idx="2301">
                  <c:v>44880</c:v>
                </c:pt>
                <c:pt idx="2302">
                  <c:v>44881</c:v>
                </c:pt>
                <c:pt idx="2303">
                  <c:v>44882</c:v>
                </c:pt>
                <c:pt idx="2304">
                  <c:v>44883</c:v>
                </c:pt>
                <c:pt idx="2305">
                  <c:v>44886</c:v>
                </c:pt>
                <c:pt idx="2306">
                  <c:v>44887</c:v>
                </c:pt>
                <c:pt idx="2307">
                  <c:v>44888</c:v>
                </c:pt>
                <c:pt idx="2308">
                  <c:v>44889</c:v>
                </c:pt>
                <c:pt idx="2309">
                  <c:v>44890</c:v>
                </c:pt>
                <c:pt idx="2310">
                  <c:v>44893</c:v>
                </c:pt>
                <c:pt idx="2311">
                  <c:v>44894</c:v>
                </c:pt>
                <c:pt idx="2312">
                  <c:v>44895</c:v>
                </c:pt>
                <c:pt idx="2313">
                  <c:v>44896</c:v>
                </c:pt>
                <c:pt idx="2314">
                  <c:v>44897</c:v>
                </c:pt>
                <c:pt idx="2315">
                  <c:v>44900</c:v>
                </c:pt>
                <c:pt idx="2316">
                  <c:v>44901</c:v>
                </c:pt>
                <c:pt idx="2317">
                  <c:v>44902</c:v>
                </c:pt>
                <c:pt idx="2318">
                  <c:v>44903</c:v>
                </c:pt>
                <c:pt idx="2319">
                  <c:v>44904</c:v>
                </c:pt>
                <c:pt idx="2320">
                  <c:v>44907</c:v>
                </c:pt>
                <c:pt idx="2321">
                  <c:v>44908</c:v>
                </c:pt>
                <c:pt idx="2322">
                  <c:v>44909</c:v>
                </c:pt>
                <c:pt idx="2323">
                  <c:v>44910</c:v>
                </c:pt>
                <c:pt idx="2324">
                  <c:v>44911</c:v>
                </c:pt>
                <c:pt idx="2325">
                  <c:v>44914</c:v>
                </c:pt>
                <c:pt idx="2326">
                  <c:v>44915</c:v>
                </c:pt>
                <c:pt idx="2327">
                  <c:v>44916</c:v>
                </c:pt>
                <c:pt idx="2328">
                  <c:v>44917</c:v>
                </c:pt>
                <c:pt idx="2329">
                  <c:v>44918</c:v>
                </c:pt>
                <c:pt idx="2330">
                  <c:v>44922</c:v>
                </c:pt>
                <c:pt idx="2331">
                  <c:v>44923</c:v>
                </c:pt>
                <c:pt idx="2332">
                  <c:v>44924</c:v>
                </c:pt>
                <c:pt idx="2333">
                  <c:v>44925</c:v>
                </c:pt>
                <c:pt idx="2334">
                  <c:v>44929</c:v>
                </c:pt>
                <c:pt idx="2335">
                  <c:v>44930</c:v>
                </c:pt>
                <c:pt idx="2336">
                  <c:v>44931</c:v>
                </c:pt>
                <c:pt idx="2337">
                  <c:v>44932</c:v>
                </c:pt>
                <c:pt idx="2338">
                  <c:v>44935</c:v>
                </c:pt>
                <c:pt idx="2339">
                  <c:v>44936</c:v>
                </c:pt>
                <c:pt idx="2340">
                  <c:v>44937</c:v>
                </c:pt>
                <c:pt idx="2341">
                  <c:v>44938</c:v>
                </c:pt>
                <c:pt idx="2342">
                  <c:v>44939</c:v>
                </c:pt>
                <c:pt idx="2343">
                  <c:v>44942</c:v>
                </c:pt>
                <c:pt idx="2344">
                  <c:v>44943</c:v>
                </c:pt>
                <c:pt idx="2345">
                  <c:v>44944</c:v>
                </c:pt>
                <c:pt idx="2346">
                  <c:v>44945</c:v>
                </c:pt>
                <c:pt idx="2347">
                  <c:v>44946</c:v>
                </c:pt>
                <c:pt idx="2348">
                  <c:v>44949</c:v>
                </c:pt>
                <c:pt idx="2349">
                  <c:v>44950</c:v>
                </c:pt>
                <c:pt idx="2350">
                  <c:v>44951</c:v>
                </c:pt>
                <c:pt idx="2351">
                  <c:v>44952</c:v>
                </c:pt>
                <c:pt idx="2352">
                  <c:v>44953</c:v>
                </c:pt>
                <c:pt idx="2353">
                  <c:v>44956</c:v>
                </c:pt>
                <c:pt idx="2354">
                  <c:v>44957</c:v>
                </c:pt>
                <c:pt idx="2355">
                  <c:v>44958</c:v>
                </c:pt>
                <c:pt idx="2356">
                  <c:v>44959</c:v>
                </c:pt>
                <c:pt idx="2357">
                  <c:v>44960</c:v>
                </c:pt>
                <c:pt idx="2358">
                  <c:v>44963</c:v>
                </c:pt>
                <c:pt idx="2359">
                  <c:v>44964</c:v>
                </c:pt>
                <c:pt idx="2360">
                  <c:v>44965</c:v>
                </c:pt>
                <c:pt idx="2361">
                  <c:v>44966</c:v>
                </c:pt>
                <c:pt idx="2362">
                  <c:v>44967</c:v>
                </c:pt>
                <c:pt idx="2363">
                  <c:v>44970</c:v>
                </c:pt>
                <c:pt idx="2364">
                  <c:v>44971</c:v>
                </c:pt>
                <c:pt idx="2365">
                  <c:v>44972</c:v>
                </c:pt>
                <c:pt idx="2366">
                  <c:v>44973</c:v>
                </c:pt>
                <c:pt idx="2367">
                  <c:v>44974</c:v>
                </c:pt>
                <c:pt idx="2368">
                  <c:v>44977</c:v>
                </c:pt>
                <c:pt idx="2369">
                  <c:v>44978</c:v>
                </c:pt>
                <c:pt idx="2370">
                  <c:v>44979</c:v>
                </c:pt>
                <c:pt idx="2371">
                  <c:v>44980</c:v>
                </c:pt>
                <c:pt idx="2372">
                  <c:v>44981</c:v>
                </c:pt>
                <c:pt idx="2373">
                  <c:v>44984</c:v>
                </c:pt>
                <c:pt idx="2374">
                  <c:v>44985</c:v>
                </c:pt>
                <c:pt idx="2375">
                  <c:v>44986</c:v>
                </c:pt>
                <c:pt idx="2376">
                  <c:v>44987</c:v>
                </c:pt>
                <c:pt idx="2377">
                  <c:v>44988</c:v>
                </c:pt>
                <c:pt idx="2378">
                  <c:v>44991</c:v>
                </c:pt>
                <c:pt idx="2379">
                  <c:v>44992</c:v>
                </c:pt>
                <c:pt idx="2380">
                  <c:v>44993</c:v>
                </c:pt>
                <c:pt idx="2381">
                  <c:v>44994</c:v>
                </c:pt>
                <c:pt idx="2382">
                  <c:v>44995</c:v>
                </c:pt>
                <c:pt idx="2383">
                  <c:v>44998</c:v>
                </c:pt>
                <c:pt idx="2384">
                  <c:v>44999</c:v>
                </c:pt>
                <c:pt idx="2385">
                  <c:v>45000</c:v>
                </c:pt>
                <c:pt idx="2386">
                  <c:v>45001</c:v>
                </c:pt>
                <c:pt idx="2387">
                  <c:v>45002</c:v>
                </c:pt>
                <c:pt idx="2388">
                  <c:v>45005</c:v>
                </c:pt>
                <c:pt idx="2389">
                  <c:v>45006</c:v>
                </c:pt>
                <c:pt idx="2390">
                  <c:v>45007</c:v>
                </c:pt>
                <c:pt idx="2391">
                  <c:v>45008</c:v>
                </c:pt>
                <c:pt idx="2392">
                  <c:v>45009</c:v>
                </c:pt>
                <c:pt idx="2393">
                  <c:v>45012</c:v>
                </c:pt>
                <c:pt idx="2394">
                  <c:v>45013</c:v>
                </c:pt>
                <c:pt idx="2395">
                  <c:v>45014</c:v>
                </c:pt>
                <c:pt idx="2396">
                  <c:v>45015</c:v>
                </c:pt>
                <c:pt idx="2397">
                  <c:v>45016</c:v>
                </c:pt>
                <c:pt idx="2398">
                  <c:v>45019</c:v>
                </c:pt>
                <c:pt idx="2399">
                  <c:v>45020</c:v>
                </c:pt>
                <c:pt idx="2400">
                  <c:v>45021</c:v>
                </c:pt>
                <c:pt idx="2401">
                  <c:v>45022</c:v>
                </c:pt>
                <c:pt idx="2402">
                  <c:v>45026</c:v>
                </c:pt>
                <c:pt idx="2403">
                  <c:v>45027</c:v>
                </c:pt>
                <c:pt idx="2404">
                  <c:v>45028</c:v>
                </c:pt>
                <c:pt idx="2405">
                  <c:v>45029</c:v>
                </c:pt>
                <c:pt idx="2406">
                  <c:v>45030</c:v>
                </c:pt>
                <c:pt idx="2407">
                  <c:v>45033</c:v>
                </c:pt>
                <c:pt idx="2408">
                  <c:v>45034</c:v>
                </c:pt>
                <c:pt idx="2409">
                  <c:v>45035</c:v>
                </c:pt>
                <c:pt idx="2410">
                  <c:v>45036</c:v>
                </c:pt>
                <c:pt idx="2411">
                  <c:v>45037</c:v>
                </c:pt>
                <c:pt idx="2412">
                  <c:v>45040</c:v>
                </c:pt>
                <c:pt idx="2413">
                  <c:v>45041</c:v>
                </c:pt>
                <c:pt idx="2414">
                  <c:v>45042</c:v>
                </c:pt>
                <c:pt idx="2415">
                  <c:v>45043</c:v>
                </c:pt>
                <c:pt idx="2416">
                  <c:v>45044</c:v>
                </c:pt>
                <c:pt idx="2417">
                  <c:v>45047</c:v>
                </c:pt>
                <c:pt idx="2418">
                  <c:v>45048</c:v>
                </c:pt>
                <c:pt idx="2419">
                  <c:v>45049</c:v>
                </c:pt>
                <c:pt idx="2420">
                  <c:v>45050</c:v>
                </c:pt>
                <c:pt idx="2421">
                  <c:v>45051</c:v>
                </c:pt>
                <c:pt idx="2422">
                  <c:v>45054</c:v>
                </c:pt>
                <c:pt idx="2423">
                  <c:v>45055</c:v>
                </c:pt>
                <c:pt idx="2424">
                  <c:v>45056</c:v>
                </c:pt>
                <c:pt idx="2425">
                  <c:v>45057</c:v>
                </c:pt>
                <c:pt idx="2426">
                  <c:v>45058</c:v>
                </c:pt>
                <c:pt idx="2427">
                  <c:v>45061</c:v>
                </c:pt>
                <c:pt idx="2428">
                  <c:v>45062</c:v>
                </c:pt>
                <c:pt idx="2429">
                  <c:v>45063</c:v>
                </c:pt>
                <c:pt idx="2430">
                  <c:v>45064</c:v>
                </c:pt>
                <c:pt idx="2431">
                  <c:v>45065</c:v>
                </c:pt>
                <c:pt idx="2432">
                  <c:v>45068</c:v>
                </c:pt>
                <c:pt idx="2433">
                  <c:v>45069</c:v>
                </c:pt>
                <c:pt idx="2434">
                  <c:v>45070</c:v>
                </c:pt>
                <c:pt idx="2435">
                  <c:v>45071</c:v>
                </c:pt>
                <c:pt idx="2436">
                  <c:v>45072</c:v>
                </c:pt>
                <c:pt idx="2437">
                  <c:v>45075</c:v>
                </c:pt>
                <c:pt idx="2438">
                  <c:v>45076</c:v>
                </c:pt>
                <c:pt idx="2439">
                  <c:v>45077</c:v>
                </c:pt>
                <c:pt idx="2440">
                  <c:v>45078</c:v>
                </c:pt>
                <c:pt idx="2441">
                  <c:v>45079</c:v>
                </c:pt>
                <c:pt idx="2442">
                  <c:v>45082</c:v>
                </c:pt>
                <c:pt idx="2443">
                  <c:v>45083</c:v>
                </c:pt>
                <c:pt idx="2444">
                  <c:v>45084</c:v>
                </c:pt>
                <c:pt idx="2445">
                  <c:v>45085</c:v>
                </c:pt>
                <c:pt idx="2446">
                  <c:v>45086</c:v>
                </c:pt>
                <c:pt idx="2447">
                  <c:v>45089</c:v>
                </c:pt>
                <c:pt idx="2448">
                  <c:v>45090</c:v>
                </c:pt>
                <c:pt idx="2449">
                  <c:v>45091</c:v>
                </c:pt>
                <c:pt idx="2450">
                  <c:v>45092</c:v>
                </c:pt>
                <c:pt idx="2451">
                  <c:v>45093</c:v>
                </c:pt>
                <c:pt idx="2452">
                  <c:v>45096</c:v>
                </c:pt>
                <c:pt idx="2453">
                  <c:v>45097</c:v>
                </c:pt>
                <c:pt idx="2454">
                  <c:v>45098</c:v>
                </c:pt>
                <c:pt idx="2455">
                  <c:v>45099</c:v>
                </c:pt>
                <c:pt idx="2456">
                  <c:v>45100</c:v>
                </c:pt>
                <c:pt idx="2457">
                  <c:v>45103</c:v>
                </c:pt>
                <c:pt idx="2458">
                  <c:v>45104</c:v>
                </c:pt>
                <c:pt idx="2459">
                  <c:v>45105</c:v>
                </c:pt>
                <c:pt idx="2460">
                  <c:v>45106</c:v>
                </c:pt>
                <c:pt idx="2461">
                  <c:v>45107</c:v>
                </c:pt>
                <c:pt idx="2462">
                  <c:v>45110</c:v>
                </c:pt>
                <c:pt idx="2463">
                  <c:v>45111</c:v>
                </c:pt>
                <c:pt idx="2464">
                  <c:v>45112</c:v>
                </c:pt>
                <c:pt idx="2465">
                  <c:v>45113</c:v>
                </c:pt>
                <c:pt idx="2466">
                  <c:v>45114</c:v>
                </c:pt>
                <c:pt idx="2467">
                  <c:v>45117</c:v>
                </c:pt>
                <c:pt idx="2468">
                  <c:v>45118</c:v>
                </c:pt>
                <c:pt idx="2469">
                  <c:v>45119</c:v>
                </c:pt>
                <c:pt idx="2470">
                  <c:v>45120</c:v>
                </c:pt>
                <c:pt idx="2471">
                  <c:v>45121</c:v>
                </c:pt>
                <c:pt idx="2472">
                  <c:v>45124</c:v>
                </c:pt>
                <c:pt idx="2473">
                  <c:v>45125</c:v>
                </c:pt>
                <c:pt idx="2474">
                  <c:v>45126</c:v>
                </c:pt>
                <c:pt idx="2475">
                  <c:v>45127</c:v>
                </c:pt>
                <c:pt idx="2476">
                  <c:v>45128</c:v>
                </c:pt>
                <c:pt idx="2477">
                  <c:v>45131</c:v>
                </c:pt>
                <c:pt idx="2478">
                  <c:v>45132</c:v>
                </c:pt>
                <c:pt idx="2479">
                  <c:v>45133</c:v>
                </c:pt>
                <c:pt idx="2480">
                  <c:v>45134</c:v>
                </c:pt>
                <c:pt idx="2481">
                  <c:v>45135</c:v>
                </c:pt>
                <c:pt idx="2482">
                  <c:v>45138</c:v>
                </c:pt>
                <c:pt idx="2483">
                  <c:v>45139</c:v>
                </c:pt>
                <c:pt idx="2484">
                  <c:v>45140</c:v>
                </c:pt>
                <c:pt idx="2485">
                  <c:v>45141</c:v>
                </c:pt>
                <c:pt idx="2486">
                  <c:v>45142</c:v>
                </c:pt>
                <c:pt idx="2487">
                  <c:v>45145</c:v>
                </c:pt>
                <c:pt idx="2488">
                  <c:v>45146</c:v>
                </c:pt>
                <c:pt idx="2489">
                  <c:v>45147</c:v>
                </c:pt>
                <c:pt idx="2490">
                  <c:v>45148</c:v>
                </c:pt>
                <c:pt idx="2491">
                  <c:v>45149</c:v>
                </c:pt>
                <c:pt idx="2492">
                  <c:v>45152</c:v>
                </c:pt>
                <c:pt idx="2493">
                  <c:v>45153</c:v>
                </c:pt>
                <c:pt idx="2494">
                  <c:v>45154</c:v>
                </c:pt>
                <c:pt idx="2495">
                  <c:v>45155</c:v>
                </c:pt>
                <c:pt idx="2496">
                  <c:v>45156</c:v>
                </c:pt>
                <c:pt idx="2497">
                  <c:v>45159</c:v>
                </c:pt>
                <c:pt idx="2498">
                  <c:v>45160</c:v>
                </c:pt>
                <c:pt idx="2499">
                  <c:v>45161</c:v>
                </c:pt>
                <c:pt idx="2500">
                  <c:v>45162</c:v>
                </c:pt>
                <c:pt idx="2501">
                  <c:v>45163</c:v>
                </c:pt>
                <c:pt idx="2502">
                  <c:v>45166</c:v>
                </c:pt>
                <c:pt idx="2503">
                  <c:v>45167</c:v>
                </c:pt>
                <c:pt idx="2504">
                  <c:v>45168</c:v>
                </c:pt>
                <c:pt idx="2505">
                  <c:v>45169</c:v>
                </c:pt>
                <c:pt idx="2506">
                  <c:v>45170</c:v>
                </c:pt>
                <c:pt idx="2507">
                  <c:v>45173</c:v>
                </c:pt>
                <c:pt idx="2508">
                  <c:v>45174</c:v>
                </c:pt>
                <c:pt idx="2509">
                  <c:v>45175</c:v>
                </c:pt>
                <c:pt idx="2510">
                  <c:v>45176</c:v>
                </c:pt>
                <c:pt idx="2511">
                  <c:v>45177</c:v>
                </c:pt>
                <c:pt idx="2512">
                  <c:v>45180</c:v>
                </c:pt>
                <c:pt idx="2513">
                  <c:v>45181</c:v>
                </c:pt>
                <c:pt idx="2514">
                  <c:v>45182</c:v>
                </c:pt>
                <c:pt idx="2515">
                  <c:v>45183</c:v>
                </c:pt>
                <c:pt idx="2516">
                  <c:v>45184</c:v>
                </c:pt>
                <c:pt idx="2517">
                  <c:v>45187</c:v>
                </c:pt>
                <c:pt idx="2518">
                  <c:v>45188</c:v>
                </c:pt>
                <c:pt idx="2519">
                  <c:v>45189</c:v>
                </c:pt>
                <c:pt idx="2520">
                  <c:v>45190</c:v>
                </c:pt>
                <c:pt idx="2521">
                  <c:v>45191</c:v>
                </c:pt>
                <c:pt idx="2522">
                  <c:v>45194</c:v>
                </c:pt>
                <c:pt idx="2523">
                  <c:v>45195</c:v>
                </c:pt>
                <c:pt idx="2524">
                  <c:v>45196</c:v>
                </c:pt>
                <c:pt idx="2525">
                  <c:v>45197</c:v>
                </c:pt>
                <c:pt idx="2526">
                  <c:v>45198</c:v>
                </c:pt>
                <c:pt idx="2527">
                  <c:v>45201</c:v>
                </c:pt>
                <c:pt idx="2528">
                  <c:v>45202</c:v>
                </c:pt>
                <c:pt idx="2529">
                  <c:v>45203</c:v>
                </c:pt>
                <c:pt idx="2530">
                  <c:v>45204</c:v>
                </c:pt>
                <c:pt idx="2531">
                  <c:v>45205</c:v>
                </c:pt>
                <c:pt idx="2532">
                  <c:v>45208</c:v>
                </c:pt>
                <c:pt idx="2533">
                  <c:v>45209</c:v>
                </c:pt>
                <c:pt idx="2534">
                  <c:v>45210</c:v>
                </c:pt>
                <c:pt idx="2535">
                  <c:v>45211</c:v>
                </c:pt>
                <c:pt idx="2536">
                  <c:v>45212</c:v>
                </c:pt>
                <c:pt idx="2537">
                  <c:v>45215</c:v>
                </c:pt>
                <c:pt idx="2538">
                  <c:v>45216</c:v>
                </c:pt>
                <c:pt idx="2539">
                  <c:v>45217</c:v>
                </c:pt>
                <c:pt idx="2540">
                  <c:v>45218</c:v>
                </c:pt>
                <c:pt idx="2541">
                  <c:v>45219</c:v>
                </c:pt>
                <c:pt idx="2542">
                  <c:v>45222</c:v>
                </c:pt>
                <c:pt idx="2543">
                  <c:v>45223</c:v>
                </c:pt>
                <c:pt idx="2544">
                  <c:v>45224</c:v>
                </c:pt>
                <c:pt idx="2545">
                  <c:v>45225</c:v>
                </c:pt>
                <c:pt idx="2546">
                  <c:v>45226</c:v>
                </c:pt>
                <c:pt idx="2547">
                  <c:v>45229</c:v>
                </c:pt>
                <c:pt idx="2548">
                  <c:v>45230</c:v>
                </c:pt>
                <c:pt idx="2549">
                  <c:v>45231</c:v>
                </c:pt>
                <c:pt idx="2550">
                  <c:v>45232</c:v>
                </c:pt>
                <c:pt idx="2551">
                  <c:v>45233</c:v>
                </c:pt>
                <c:pt idx="2552">
                  <c:v>45236</c:v>
                </c:pt>
                <c:pt idx="2553">
                  <c:v>45237</c:v>
                </c:pt>
                <c:pt idx="2554">
                  <c:v>45238</c:v>
                </c:pt>
                <c:pt idx="2555">
                  <c:v>45239</c:v>
                </c:pt>
                <c:pt idx="2556">
                  <c:v>45240</c:v>
                </c:pt>
                <c:pt idx="2557">
                  <c:v>45243</c:v>
                </c:pt>
                <c:pt idx="2558">
                  <c:v>45244</c:v>
                </c:pt>
                <c:pt idx="2559">
                  <c:v>45245</c:v>
                </c:pt>
                <c:pt idx="2560">
                  <c:v>45246</c:v>
                </c:pt>
                <c:pt idx="2561">
                  <c:v>45247</c:v>
                </c:pt>
                <c:pt idx="2562">
                  <c:v>45250</c:v>
                </c:pt>
                <c:pt idx="2563">
                  <c:v>45251</c:v>
                </c:pt>
                <c:pt idx="2564">
                  <c:v>45252</c:v>
                </c:pt>
                <c:pt idx="2565">
                  <c:v>45253</c:v>
                </c:pt>
                <c:pt idx="2566">
                  <c:v>45254</c:v>
                </c:pt>
                <c:pt idx="2567">
                  <c:v>45257</c:v>
                </c:pt>
                <c:pt idx="2568">
                  <c:v>45258</c:v>
                </c:pt>
                <c:pt idx="2569">
                  <c:v>45259</c:v>
                </c:pt>
                <c:pt idx="2570">
                  <c:v>45260</c:v>
                </c:pt>
                <c:pt idx="2571">
                  <c:v>45261</c:v>
                </c:pt>
                <c:pt idx="2572">
                  <c:v>45264</c:v>
                </c:pt>
                <c:pt idx="2573">
                  <c:v>45265</c:v>
                </c:pt>
                <c:pt idx="2574">
                  <c:v>45266</c:v>
                </c:pt>
                <c:pt idx="2575">
                  <c:v>45267</c:v>
                </c:pt>
                <c:pt idx="2576">
                  <c:v>45268</c:v>
                </c:pt>
                <c:pt idx="2577">
                  <c:v>45271</c:v>
                </c:pt>
                <c:pt idx="2578">
                  <c:v>45272</c:v>
                </c:pt>
                <c:pt idx="2579">
                  <c:v>45273</c:v>
                </c:pt>
                <c:pt idx="2580">
                  <c:v>45274</c:v>
                </c:pt>
                <c:pt idx="2581">
                  <c:v>45275</c:v>
                </c:pt>
                <c:pt idx="2582">
                  <c:v>45278</c:v>
                </c:pt>
                <c:pt idx="2583">
                  <c:v>45279</c:v>
                </c:pt>
                <c:pt idx="2584">
                  <c:v>45280</c:v>
                </c:pt>
                <c:pt idx="2585">
                  <c:v>45281</c:v>
                </c:pt>
                <c:pt idx="2586">
                  <c:v>45282</c:v>
                </c:pt>
                <c:pt idx="2587">
                  <c:v>45287</c:v>
                </c:pt>
                <c:pt idx="2588">
                  <c:v>45288</c:v>
                </c:pt>
                <c:pt idx="2589">
                  <c:v>45289</c:v>
                </c:pt>
                <c:pt idx="2590">
                  <c:v>45293</c:v>
                </c:pt>
                <c:pt idx="2591">
                  <c:v>45294</c:v>
                </c:pt>
                <c:pt idx="2592">
                  <c:v>45295</c:v>
                </c:pt>
                <c:pt idx="2593">
                  <c:v>45296</c:v>
                </c:pt>
                <c:pt idx="2594">
                  <c:v>45299</c:v>
                </c:pt>
                <c:pt idx="2595">
                  <c:v>45300</c:v>
                </c:pt>
                <c:pt idx="2596">
                  <c:v>45301</c:v>
                </c:pt>
                <c:pt idx="2597">
                  <c:v>45302</c:v>
                </c:pt>
                <c:pt idx="2598">
                  <c:v>45303</c:v>
                </c:pt>
                <c:pt idx="2599">
                  <c:v>45306</c:v>
                </c:pt>
                <c:pt idx="2600">
                  <c:v>45307</c:v>
                </c:pt>
                <c:pt idx="2601">
                  <c:v>45308</c:v>
                </c:pt>
                <c:pt idx="2602">
                  <c:v>45309</c:v>
                </c:pt>
                <c:pt idx="2603">
                  <c:v>45310</c:v>
                </c:pt>
                <c:pt idx="2604">
                  <c:v>45313</c:v>
                </c:pt>
                <c:pt idx="2605">
                  <c:v>45314</c:v>
                </c:pt>
                <c:pt idx="2606">
                  <c:v>45315</c:v>
                </c:pt>
                <c:pt idx="2607">
                  <c:v>45316</c:v>
                </c:pt>
                <c:pt idx="2608">
                  <c:v>45317</c:v>
                </c:pt>
                <c:pt idx="2609">
                  <c:v>45320</c:v>
                </c:pt>
                <c:pt idx="2610">
                  <c:v>45321</c:v>
                </c:pt>
                <c:pt idx="2611">
                  <c:v>45322</c:v>
                </c:pt>
                <c:pt idx="2612">
                  <c:v>45323</c:v>
                </c:pt>
                <c:pt idx="2613">
                  <c:v>45324</c:v>
                </c:pt>
                <c:pt idx="2614">
                  <c:v>45327</c:v>
                </c:pt>
                <c:pt idx="2615">
                  <c:v>45328</c:v>
                </c:pt>
                <c:pt idx="2616">
                  <c:v>45329</c:v>
                </c:pt>
                <c:pt idx="2617">
                  <c:v>45330</c:v>
                </c:pt>
                <c:pt idx="2618">
                  <c:v>45331</c:v>
                </c:pt>
                <c:pt idx="2619">
                  <c:v>45334</c:v>
                </c:pt>
                <c:pt idx="2620">
                  <c:v>45335</c:v>
                </c:pt>
                <c:pt idx="2621">
                  <c:v>45336</c:v>
                </c:pt>
                <c:pt idx="2622">
                  <c:v>45337</c:v>
                </c:pt>
                <c:pt idx="2623">
                  <c:v>45338</c:v>
                </c:pt>
                <c:pt idx="2624">
                  <c:v>45341</c:v>
                </c:pt>
                <c:pt idx="2625">
                  <c:v>45342</c:v>
                </c:pt>
                <c:pt idx="2626">
                  <c:v>45343</c:v>
                </c:pt>
                <c:pt idx="2627">
                  <c:v>45344</c:v>
                </c:pt>
                <c:pt idx="2628">
                  <c:v>45345</c:v>
                </c:pt>
                <c:pt idx="2629">
                  <c:v>45348</c:v>
                </c:pt>
                <c:pt idx="2630">
                  <c:v>45349</c:v>
                </c:pt>
                <c:pt idx="2631">
                  <c:v>45350</c:v>
                </c:pt>
                <c:pt idx="2632">
                  <c:v>45351</c:v>
                </c:pt>
                <c:pt idx="2633">
                  <c:v>45352</c:v>
                </c:pt>
                <c:pt idx="2634">
                  <c:v>45355</c:v>
                </c:pt>
                <c:pt idx="2635">
                  <c:v>45356</c:v>
                </c:pt>
                <c:pt idx="2636">
                  <c:v>45357</c:v>
                </c:pt>
                <c:pt idx="2637">
                  <c:v>45358</c:v>
                </c:pt>
                <c:pt idx="2638">
                  <c:v>45359</c:v>
                </c:pt>
                <c:pt idx="2639">
                  <c:v>45362</c:v>
                </c:pt>
                <c:pt idx="2640">
                  <c:v>45363</c:v>
                </c:pt>
                <c:pt idx="2641">
                  <c:v>45364</c:v>
                </c:pt>
                <c:pt idx="2642">
                  <c:v>45365</c:v>
                </c:pt>
                <c:pt idx="2643">
                  <c:v>45366</c:v>
                </c:pt>
                <c:pt idx="2644">
                  <c:v>45369</c:v>
                </c:pt>
                <c:pt idx="2645">
                  <c:v>45370</c:v>
                </c:pt>
                <c:pt idx="2646">
                  <c:v>45371</c:v>
                </c:pt>
                <c:pt idx="2647">
                  <c:v>45372</c:v>
                </c:pt>
                <c:pt idx="2648">
                  <c:v>45373</c:v>
                </c:pt>
                <c:pt idx="2649">
                  <c:v>45376</c:v>
                </c:pt>
                <c:pt idx="2650">
                  <c:v>45377</c:v>
                </c:pt>
                <c:pt idx="2651">
                  <c:v>45378</c:v>
                </c:pt>
                <c:pt idx="2652">
                  <c:v>45379</c:v>
                </c:pt>
                <c:pt idx="2653">
                  <c:v>45383</c:v>
                </c:pt>
                <c:pt idx="2654">
                  <c:v>45384</c:v>
                </c:pt>
                <c:pt idx="2655">
                  <c:v>45385</c:v>
                </c:pt>
                <c:pt idx="2656">
                  <c:v>45386</c:v>
                </c:pt>
                <c:pt idx="2657">
                  <c:v>45387</c:v>
                </c:pt>
                <c:pt idx="2658">
                  <c:v>45390</c:v>
                </c:pt>
                <c:pt idx="2659">
                  <c:v>45391</c:v>
                </c:pt>
                <c:pt idx="2660">
                  <c:v>45392</c:v>
                </c:pt>
                <c:pt idx="2661">
                  <c:v>45393</c:v>
                </c:pt>
                <c:pt idx="2662">
                  <c:v>45394</c:v>
                </c:pt>
                <c:pt idx="2663">
                  <c:v>45397</c:v>
                </c:pt>
                <c:pt idx="2664">
                  <c:v>45398</c:v>
                </c:pt>
                <c:pt idx="2665">
                  <c:v>45399</c:v>
                </c:pt>
                <c:pt idx="2666">
                  <c:v>45400</c:v>
                </c:pt>
                <c:pt idx="2667">
                  <c:v>45401</c:v>
                </c:pt>
                <c:pt idx="2668">
                  <c:v>45404</c:v>
                </c:pt>
                <c:pt idx="2669">
                  <c:v>45405</c:v>
                </c:pt>
                <c:pt idx="2670">
                  <c:v>45406</c:v>
                </c:pt>
                <c:pt idx="2671">
                  <c:v>45407</c:v>
                </c:pt>
                <c:pt idx="2672">
                  <c:v>45408</c:v>
                </c:pt>
                <c:pt idx="2673">
                  <c:v>45411</c:v>
                </c:pt>
                <c:pt idx="2674">
                  <c:v>45412</c:v>
                </c:pt>
                <c:pt idx="2675">
                  <c:v>45413</c:v>
                </c:pt>
                <c:pt idx="2676">
                  <c:v>45414</c:v>
                </c:pt>
                <c:pt idx="2677">
                  <c:v>45415</c:v>
                </c:pt>
                <c:pt idx="2678">
                  <c:v>45418</c:v>
                </c:pt>
                <c:pt idx="2679">
                  <c:v>45419</c:v>
                </c:pt>
                <c:pt idx="2680">
                  <c:v>45420</c:v>
                </c:pt>
                <c:pt idx="2681">
                  <c:v>45421</c:v>
                </c:pt>
                <c:pt idx="2682">
                  <c:v>45422</c:v>
                </c:pt>
                <c:pt idx="2683">
                  <c:v>45425</c:v>
                </c:pt>
                <c:pt idx="2684">
                  <c:v>45426</c:v>
                </c:pt>
                <c:pt idx="2685">
                  <c:v>45427</c:v>
                </c:pt>
                <c:pt idx="2686">
                  <c:v>45428</c:v>
                </c:pt>
                <c:pt idx="2687">
                  <c:v>45429</c:v>
                </c:pt>
                <c:pt idx="2688">
                  <c:v>45432</c:v>
                </c:pt>
                <c:pt idx="2689">
                  <c:v>45433</c:v>
                </c:pt>
                <c:pt idx="2690">
                  <c:v>45434</c:v>
                </c:pt>
                <c:pt idx="2691">
                  <c:v>45435</c:v>
                </c:pt>
                <c:pt idx="2692">
                  <c:v>45436</c:v>
                </c:pt>
                <c:pt idx="2693">
                  <c:v>45440</c:v>
                </c:pt>
                <c:pt idx="2694">
                  <c:v>45441</c:v>
                </c:pt>
                <c:pt idx="2695">
                  <c:v>45442</c:v>
                </c:pt>
                <c:pt idx="2696">
                  <c:v>45443</c:v>
                </c:pt>
                <c:pt idx="2697">
                  <c:v>45446</c:v>
                </c:pt>
                <c:pt idx="2698">
                  <c:v>45447</c:v>
                </c:pt>
                <c:pt idx="2699">
                  <c:v>45448</c:v>
                </c:pt>
                <c:pt idx="2700">
                  <c:v>45449</c:v>
                </c:pt>
                <c:pt idx="2701">
                  <c:v>45450</c:v>
                </c:pt>
                <c:pt idx="2702">
                  <c:v>45453</c:v>
                </c:pt>
                <c:pt idx="2703">
                  <c:v>45454</c:v>
                </c:pt>
                <c:pt idx="2704">
                  <c:v>45455</c:v>
                </c:pt>
                <c:pt idx="2705">
                  <c:v>45456</c:v>
                </c:pt>
                <c:pt idx="2706">
                  <c:v>45457</c:v>
                </c:pt>
                <c:pt idx="2707">
                  <c:v>45460</c:v>
                </c:pt>
                <c:pt idx="2708">
                  <c:v>45461</c:v>
                </c:pt>
                <c:pt idx="2709">
                  <c:v>45462</c:v>
                </c:pt>
                <c:pt idx="2710">
                  <c:v>45463</c:v>
                </c:pt>
                <c:pt idx="2711">
                  <c:v>45464</c:v>
                </c:pt>
                <c:pt idx="2712">
                  <c:v>45467</c:v>
                </c:pt>
                <c:pt idx="2713">
                  <c:v>45468</c:v>
                </c:pt>
                <c:pt idx="2714">
                  <c:v>45469</c:v>
                </c:pt>
                <c:pt idx="2715">
                  <c:v>45470</c:v>
                </c:pt>
                <c:pt idx="2716">
                  <c:v>45471</c:v>
                </c:pt>
                <c:pt idx="2717">
                  <c:v>45474</c:v>
                </c:pt>
                <c:pt idx="2718">
                  <c:v>45475</c:v>
                </c:pt>
                <c:pt idx="2719">
                  <c:v>45476</c:v>
                </c:pt>
                <c:pt idx="2720">
                  <c:v>45477</c:v>
                </c:pt>
                <c:pt idx="2721">
                  <c:v>45478</c:v>
                </c:pt>
                <c:pt idx="2722">
                  <c:v>45481</c:v>
                </c:pt>
                <c:pt idx="2723">
                  <c:v>45482</c:v>
                </c:pt>
                <c:pt idx="2724">
                  <c:v>45483</c:v>
                </c:pt>
                <c:pt idx="2725">
                  <c:v>45484</c:v>
                </c:pt>
                <c:pt idx="2726">
                  <c:v>45485</c:v>
                </c:pt>
                <c:pt idx="2727">
                  <c:v>45488</c:v>
                </c:pt>
                <c:pt idx="2728">
                  <c:v>45489</c:v>
                </c:pt>
                <c:pt idx="2729">
                  <c:v>45490</c:v>
                </c:pt>
                <c:pt idx="2730">
                  <c:v>45491</c:v>
                </c:pt>
                <c:pt idx="2731">
                  <c:v>45492</c:v>
                </c:pt>
                <c:pt idx="2732">
                  <c:v>45495</c:v>
                </c:pt>
                <c:pt idx="2733">
                  <c:v>45496</c:v>
                </c:pt>
                <c:pt idx="2734">
                  <c:v>45497</c:v>
                </c:pt>
                <c:pt idx="2735">
                  <c:v>45498</c:v>
                </c:pt>
                <c:pt idx="2736">
                  <c:v>45499</c:v>
                </c:pt>
                <c:pt idx="2737">
                  <c:v>45502</c:v>
                </c:pt>
                <c:pt idx="2738">
                  <c:v>45503</c:v>
                </c:pt>
                <c:pt idx="2739">
                  <c:v>45504</c:v>
                </c:pt>
                <c:pt idx="2740">
                  <c:v>45505</c:v>
                </c:pt>
                <c:pt idx="2741">
                  <c:v>45506</c:v>
                </c:pt>
                <c:pt idx="2742">
                  <c:v>45509</c:v>
                </c:pt>
                <c:pt idx="2743">
                  <c:v>45510</c:v>
                </c:pt>
                <c:pt idx="2744">
                  <c:v>45511</c:v>
                </c:pt>
                <c:pt idx="2745">
                  <c:v>45512</c:v>
                </c:pt>
                <c:pt idx="2746">
                  <c:v>45513</c:v>
                </c:pt>
                <c:pt idx="2747">
                  <c:v>45516</c:v>
                </c:pt>
                <c:pt idx="2748">
                  <c:v>45517</c:v>
                </c:pt>
                <c:pt idx="2749">
                  <c:v>45518</c:v>
                </c:pt>
                <c:pt idx="2750">
                  <c:v>45519</c:v>
                </c:pt>
                <c:pt idx="2751">
                  <c:v>45520</c:v>
                </c:pt>
                <c:pt idx="2752">
                  <c:v>45523</c:v>
                </c:pt>
                <c:pt idx="2753">
                  <c:v>45524</c:v>
                </c:pt>
                <c:pt idx="2754">
                  <c:v>45525</c:v>
                </c:pt>
                <c:pt idx="2755">
                  <c:v>45526</c:v>
                </c:pt>
                <c:pt idx="2756">
                  <c:v>45527</c:v>
                </c:pt>
                <c:pt idx="2757">
                  <c:v>45530</c:v>
                </c:pt>
                <c:pt idx="2758">
                  <c:v>45531</c:v>
                </c:pt>
                <c:pt idx="2759">
                  <c:v>45532</c:v>
                </c:pt>
                <c:pt idx="2760">
                  <c:v>45533</c:v>
                </c:pt>
                <c:pt idx="2761">
                  <c:v>45534</c:v>
                </c:pt>
                <c:pt idx="2762">
                  <c:v>45537</c:v>
                </c:pt>
                <c:pt idx="2763">
                  <c:v>45538</c:v>
                </c:pt>
                <c:pt idx="2764">
                  <c:v>45539</c:v>
                </c:pt>
                <c:pt idx="2765">
                  <c:v>45540</c:v>
                </c:pt>
                <c:pt idx="2766">
                  <c:v>45541</c:v>
                </c:pt>
                <c:pt idx="2767">
                  <c:v>45544</c:v>
                </c:pt>
                <c:pt idx="2768">
                  <c:v>45545</c:v>
                </c:pt>
                <c:pt idx="2769">
                  <c:v>45546</c:v>
                </c:pt>
                <c:pt idx="2770">
                  <c:v>45547</c:v>
                </c:pt>
                <c:pt idx="2771">
                  <c:v>45548</c:v>
                </c:pt>
                <c:pt idx="2772">
                  <c:v>45551</c:v>
                </c:pt>
                <c:pt idx="2773">
                  <c:v>45552</c:v>
                </c:pt>
                <c:pt idx="2774">
                  <c:v>45553</c:v>
                </c:pt>
                <c:pt idx="2775">
                  <c:v>45554</c:v>
                </c:pt>
                <c:pt idx="2776">
                  <c:v>45555</c:v>
                </c:pt>
                <c:pt idx="2777">
                  <c:v>45558</c:v>
                </c:pt>
                <c:pt idx="2778">
                  <c:v>45559</c:v>
                </c:pt>
                <c:pt idx="2779">
                  <c:v>45560</c:v>
                </c:pt>
                <c:pt idx="2780">
                  <c:v>45561</c:v>
                </c:pt>
                <c:pt idx="2781">
                  <c:v>45562</c:v>
                </c:pt>
                <c:pt idx="2782">
                  <c:v>45565</c:v>
                </c:pt>
                <c:pt idx="2783">
                  <c:v>45566</c:v>
                </c:pt>
                <c:pt idx="2784">
                  <c:v>45567</c:v>
                </c:pt>
                <c:pt idx="2785">
                  <c:v>45568</c:v>
                </c:pt>
                <c:pt idx="2786">
                  <c:v>45569</c:v>
                </c:pt>
                <c:pt idx="2787">
                  <c:v>45572</c:v>
                </c:pt>
                <c:pt idx="2788">
                  <c:v>45573</c:v>
                </c:pt>
                <c:pt idx="2789">
                  <c:v>45574</c:v>
                </c:pt>
                <c:pt idx="2790">
                  <c:v>45575</c:v>
                </c:pt>
                <c:pt idx="2791">
                  <c:v>45576</c:v>
                </c:pt>
                <c:pt idx="2792">
                  <c:v>45579</c:v>
                </c:pt>
                <c:pt idx="2793">
                  <c:v>45580</c:v>
                </c:pt>
                <c:pt idx="2794">
                  <c:v>45581</c:v>
                </c:pt>
                <c:pt idx="2795">
                  <c:v>45582</c:v>
                </c:pt>
                <c:pt idx="2796">
                  <c:v>45583</c:v>
                </c:pt>
                <c:pt idx="2797">
                  <c:v>45586</c:v>
                </c:pt>
                <c:pt idx="2798">
                  <c:v>45587</c:v>
                </c:pt>
                <c:pt idx="2799">
                  <c:v>45588</c:v>
                </c:pt>
                <c:pt idx="2800">
                  <c:v>45589</c:v>
                </c:pt>
                <c:pt idx="2801">
                  <c:v>45590</c:v>
                </c:pt>
                <c:pt idx="2802">
                  <c:v>45593</c:v>
                </c:pt>
                <c:pt idx="2803">
                  <c:v>45594</c:v>
                </c:pt>
                <c:pt idx="2804">
                  <c:v>45595</c:v>
                </c:pt>
                <c:pt idx="2805">
                  <c:v>45596</c:v>
                </c:pt>
                <c:pt idx="2806">
                  <c:v>45597</c:v>
                </c:pt>
                <c:pt idx="2807">
                  <c:v>45600</c:v>
                </c:pt>
                <c:pt idx="2808">
                  <c:v>45601</c:v>
                </c:pt>
                <c:pt idx="2809">
                  <c:v>45602</c:v>
                </c:pt>
                <c:pt idx="2810">
                  <c:v>45603</c:v>
                </c:pt>
                <c:pt idx="2811">
                  <c:v>45604</c:v>
                </c:pt>
                <c:pt idx="2812">
                  <c:v>45607</c:v>
                </c:pt>
                <c:pt idx="2813">
                  <c:v>45608</c:v>
                </c:pt>
                <c:pt idx="2814">
                  <c:v>45609</c:v>
                </c:pt>
                <c:pt idx="2815">
                  <c:v>45610</c:v>
                </c:pt>
                <c:pt idx="2816">
                  <c:v>45611</c:v>
                </c:pt>
                <c:pt idx="2817">
                  <c:v>45614</c:v>
                </c:pt>
                <c:pt idx="2818">
                  <c:v>45615</c:v>
                </c:pt>
                <c:pt idx="2819">
                  <c:v>45616</c:v>
                </c:pt>
                <c:pt idx="2820">
                  <c:v>45617</c:v>
                </c:pt>
                <c:pt idx="2821">
                  <c:v>45618</c:v>
                </c:pt>
                <c:pt idx="2822">
                  <c:v>45621</c:v>
                </c:pt>
                <c:pt idx="2823">
                  <c:v>45622</c:v>
                </c:pt>
                <c:pt idx="2824">
                  <c:v>45623</c:v>
                </c:pt>
                <c:pt idx="2825">
                  <c:v>45624</c:v>
                </c:pt>
                <c:pt idx="2826">
                  <c:v>45625</c:v>
                </c:pt>
                <c:pt idx="2827">
                  <c:v>45628</c:v>
                </c:pt>
                <c:pt idx="2828">
                  <c:v>45629</c:v>
                </c:pt>
                <c:pt idx="2829">
                  <c:v>45630</c:v>
                </c:pt>
                <c:pt idx="2830">
                  <c:v>45631</c:v>
                </c:pt>
                <c:pt idx="2831">
                  <c:v>45632</c:v>
                </c:pt>
                <c:pt idx="2832">
                  <c:v>45635</c:v>
                </c:pt>
                <c:pt idx="2833">
                  <c:v>45636</c:v>
                </c:pt>
                <c:pt idx="2834">
                  <c:v>45637</c:v>
                </c:pt>
                <c:pt idx="2835">
                  <c:v>45638</c:v>
                </c:pt>
                <c:pt idx="2836">
                  <c:v>45639</c:v>
                </c:pt>
                <c:pt idx="2837">
                  <c:v>45642</c:v>
                </c:pt>
                <c:pt idx="2838">
                  <c:v>45643</c:v>
                </c:pt>
                <c:pt idx="2839">
                  <c:v>45644</c:v>
                </c:pt>
                <c:pt idx="2840">
                  <c:v>45645</c:v>
                </c:pt>
                <c:pt idx="2841">
                  <c:v>45646</c:v>
                </c:pt>
                <c:pt idx="2842">
                  <c:v>45649</c:v>
                </c:pt>
                <c:pt idx="2843">
                  <c:v>45650</c:v>
                </c:pt>
                <c:pt idx="2844">
                  <c:v>45652</c:v>
                </c:pt>
                <c:pt idx="2845">
                  <c:v>45653</c:v>
                </c:pt>
                <c:pt idx="2846">
                  <c:v>45656</c:v>
                </c:pt>
                <c:pt idx="2847">
                  <c:v>45657</c:v>
                </c:pt>
                <c:pt idx="2848">
                  <c:v>45659</c:v>
                </c:pt>
                <c:pt idx="2849">
                  <c:v>45660</c:v>
                </c:pt>
                <c:pt idx="2850">
                  <c:v>45663</c:v>
                </c:pt>
                <c:pt idx="2851">
                  <c:v>45664</c:v>
                </c:pt>
                <c:pt idx="2852">
                  <c:v>45665</c:v>
                </c:pt>
                <c:pt idx="2853">
                  <c:v>45666</c:v>
                </c:pt>
                <c:pt idx="2854">
                  <c:v>45667</c:v>
                </c:pt>
                <c:pt idx="2855">
                  <c:v>45670</c:v>
                </c:pt>
                <c:pt idx="2856">
                  <c:v>45671</c:v>
                </c:pt>
                <c:pt idx="2857">
                  <c:v>45672</c:v>
                </c:pt>
                <c:pt idx="2858">
                  <c:v>45673</c:v>
                </c:pt>
                <c:pt idx="2859">
                  <c:v>45674</c:v>
                </c:pt>
                <c:pt idx="2860">
                  <c:v>45677</c:v>
                </c:pt>
                <c:pt idx="2861">
                  <c:v>45678</c:v>
                </c:pt>
                <c:pt idx="2862">
                  <c:v>45679</c:v>
                </c:pt>
                <c:pt idx="2863">
                  <c:v>45680</c:v>
                </c:pt>
                <c:pt idx="2864">
                  <c:v>45681</c:v>
                </c:pt>
                <c:pt idx="2865">
                  <c:v>45684</c:v>
                </c:pt>
                <c:pt idx="2866">
                  <c:v>45685</c:v>
                </c:pt>
                <c:pt idx="2867">
                  <c:v>45686</c:v>
                </c:pt>
                <c:pt idx="2868">
                  <c:v>45687</c:v>
                </c:pt>
                <c:pt idx="2869">
                  <c:v>45688</c:v>
                </c:pt>
                <c:pt idx="2870">
                  <c:v>45691</c:v>
                </c:pt>
                <c:pt idx="2871">
                  <c:v>45692</c:v>
                </c:pt>
                <c:pt idx="2872">
                  <c:v>45693</c:v>
                </c:pt>
                <c:pt idx="2873">
                  <c:v>45694</c:v>
                </c:pt>
                <c:pt idx="2874">
                  <c:v>45695</c:v>
                </c:pt>
                <c:pt idx="2875">
                  <c:v>45698</c:v>
                </c:pt>
                <c:pt idx="2876">
                  <c:v>45699</c:v>
                </c:pt>
                <c:pt idx="2877">
                  <c:v>45700</c:v>
                </c:pt>
                <c:pt idx="2878">
                  <c:v>45701</c:v>
                </c:pt>
                <c:pt idx="2879">
                  <c:v>45702</c:v>
                </c:pt>
                <c:pt idx="2880">
                  <c:v>45705</c:v>
                </c:pt>
                <c:pt idx="2881">
                  <c:v>45706</c:v>
                </c:pt>
                <c:pt idx="2882">
                  <c:v>45707</c:v>
                </c:pt>
                <c:pt idx="2883">
                  <c:v>45708</c:v>
                </c:pt>
                <c:pt idx="2884">
                  <c:v>45709</c:v>
                </c:pt>
                <c:pt idx="2885">
                  <c:v>45712</c:v>
                </c:pt>
                <c:pt idx="2886">
                  <c:v>45713</c:v>
                </c:pt>
                <c:pt idx="2887">
                  <c:v>45714</c:v>
                </c:pt>
                <c:pt idx="2888">
                  <c:v>45715</c:v>
                </c:pt>
                <c:pt idx="2889">
                  <c:v>45716</c:v>
                </c:pt>
                <c:pt idx="2890">
                  <c:v>45719</c:v>
                </c:pt>
                <c:pt idx="2891">
                  <c:v>45720</c:v>
                </c:pt>
                <c:pt idx="2892">
                  <c:v>45721</c:v>
                </c:pt>
                <c:pt idx="2893">
                  <c:v>45722</c:v>
                </c:pt>
                <c:pt idx="2894">
                  <c:v>45723</c:v>
                </c:pt>
                <c:pt idx="2895">
                  <c:v>45726</c:v>
                </c:pt>
                <c:pt idx="2896">
                  <c:v>45727</c:v>
                </c:pt>
                <c:pt idx="2897">
                  <c:v>45728</c:v>
                </c:pt>
                <c:pt idx="2898">
                  <c:v>45729</c:v>
                </c:pt>
                <c:pt idx="2899">
                  <c:v>45730</c:v>
                </c:pt>
                <c:pt idx="2900">
                  <c:v>45733</c:v>
                </c:pt>
                <c:pt idx="2901">
                  <c:v>45734</c:v>
                </c:pt>
                <c:pt idx="2902">
                  <c:v>45735</c:v>
                </c:pt>
                <c:pt idx="2903">
                  <c:v>45736</c:v>
                </c:pt>
                <c:pt idx="2904">
                  <c:v>45737</c:v>
                </c:pt>
                <c:pt idx="2905">
                  <c:v>45740</c:v>
                </c:pt>
                <c:pt idx="2906">
                  <c:v>45741</c:v>
                </c:pt>
                <c:pt idx="2907">
                  <c:v>45742</c:v>
                </c:pt>
                <c:pt idx="2908">
                  <c:v>45743</c:v>
                </c:pt>
                <c:pt idx="2909">
                  <c:v>45744</c:v>
                </c:pt>
                <c:pt idx="2910">
                  <c:v>45747</c:v>
                </c:pt>
                <c:pt idx="2911">
                  <c:v>45748</c:v>
                </c:pt>
                <c:pt idx="2912">
                  <c:v>45749</c:v>
                </c:pt>
                <c:pt idx="2913">
                  <c:v>45750</c:v>
                </c:pt>
                <c:pt idx="2914">
                  <c:v>45751</c:v>
                </c:pt>
                <c:pt idx="2915">
                  <c:v>45754</c:v>
                </c:pt>
                <c:pt idx="2916">
                  <c:v>45755</c:v>
                </c:pt>
                <c:pt idx="2917">
                  <c:v>45756</c:v>
                </c:pt>
                <c:pt idx="2918">
                  <c:v>45757</c:v>
                </c:pt>
                <c:pt idx="2919">
                  <c:v>45758</c:v>
                </c:pt>
                <c:pt idx="2920">
                  <c:v>45761</c:v>
                </c:pt>
                <c:pt idx="2921">
                  <c:v>45762</c:v>
                </c:pt>
                <c:pt idx="2922">
                  <c:v>45763</c:v>
                </c:pt>
                <c:pt idx="2923">
                  <c:v>45764</c:v>
                </c:pt>
                <c:pt idx="2924">
                  <c:v>45768</c:v>
                </c:pt>
                <c:pt idx="2925">
                  <c:v>45769</c:v>
                </c:pt>
                <c:pt idx="2926">
                  <c:v>45770</c:v>
                </c:pt>
                <c:pt idx="2927">
                  <c:v>45771</c:v>
                </c:pt>
                <c:pt idx="2928">
                  <c:v>45772</c:v>
                </c:pt>
                <c:pt idx="2929">
                  <c:v>45775</c:v>
                </c:pt>
                <c:pt idx="2930">
                  <c:v>45776</c:v>
                </c:pt>
                <c:pt idx="2931">
                  <c:v>45777</c:v>
                </c:pt>
                <c:pt idx="2932">
                  <c:v>45778</c:v>
                </c:pt>
                <c:pt idx="2933">
                  <c:v>45779</c:v>
                </c:pt>
                <c:pt idx="2934">
                  <c:v>45782</c:v>
                </c:pt>
                <c:pt idx="2935">
                  <c:v>45783</c:v>
                </c:pt>
                <c:pt idx="2936">
                  <c:v>45784</c:v>
                </c:pt>
                <c:pt idx="2937">
                  <c:v>45785</c:v>
                </c:pt>
                <c:pt idx="2938">
                  <c:v>45786</c:v>
                </c:pt>
                <c:pt idx="2939">
                  <c:v>45789</c:v>
                </c:pt>
                <c:pt idx="2940">
                  <c:v>45790</c:v>
                </c:pt>
                <c:pt idx="2941">
                  <c:v>45791</c:v>
                </c:pt>
                <c:pt idx="2942">
                  <c:v>45792</c:v>
                </c:pt>
                <c:pt idx="2943">
                  <c:v>45793</c:v>
                </c:pt>
                <c:pt idx="2944">
                  <c:v>0</c:v>
                </c:pt>
                <c:pt idx="2945">
                  <c:v>0</c:v>
                </c:pt>
                <c:pt idx="2946">
                  <c:v>0</c:v>
                </c:pt>
                <c:pt idx="2947">
                  <c:v>0</c:v>
                </c:pt>
                <c:pt idx="2948">
                  <c:v>0</c:v>
                </c:pt>
                <c:pt idx="2949">
                  <c:v>0</c:v>
                </c:pt>
                <c:pt idx="2950">
                  <c:v>0</c:v>
                </c:pt>
                <c:pt idx="2951">
                  <c:v>0</c:v>
                </c:pt>
                <c:pt idx="2952">
                  <c:v>0</c:v>
                </c:pt>
                <c:pt idx="2953">
                  <c:v>0</c:v>
                </c:pt>
                <c:pt idx="2954">
                  <c:v>0</c:v>
                </c:pt>
                <c:pt idx="2955">
                  <c:v>0</c:v>
                </c:pt>
                <c:pt idx="2956">
                  <c:v>0</c:v>
                </c:pt>
                <c:pt idx="2957">
                  <c:v>0</c:v>
                </c:pt>
                <c:pt idx="2958">
                  <c:v>0</c:v>
                </c:pt>
                <c:pt idx="2959">
                  <c:v>0</c:v>
                </c:pt>
                <c:pt idx="2960">
                  <c:v>0</c:v>
                </c:pt>
                <c:pt idx="2961">
                  <c:v>0</c:v>
                </c:pt>
                <c:pt idx="2962">
                  <c:v>0</c:v>
                </c:pt>
                <c:pt idx="2963">
                  <c:v>0</c:v>
                </c:pt>
                <c:pt idx="2964">
                  <c:v>0</c:v>
                </c:pt>
                <c:pt idx="2965">
                  <c:v>0</c:v>
                </c:pt>
                <c:pt idx="2966">
                  <c:v>0</c:v>
                </c:pt>
                <c:pt idx="2967">
                  <c:v>0</c:v>
                </c:pt>
                <c:pt idx="2968">
                  <c:v>0</c:v>
                </c:pt>
                <c:pt idx="2969">
                  <c:v>0</c:v>
                </c:pt>
                <c:pt idx="2970">
                  <c:v>0</c:v>
                </c:pt>
                <c:pt idx="2971">
                  <c:v>0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0</c:v>
                </c:pt>
                <c:pt idx="2977">
                  <c:v>0</c:v>
                </c:pt>
                <c:pt idx="2978">
                  <c:v>0</c:v>
                </c:pt>
                <c:pt idx="2979">
                  <c:v>0</c:v>
                </c:pt>
                <c:pt idx="2980">
                  <c:v>0</c:v>
                </c:pt>
                <c:pt idx="2981">
                  <c:v>0</c:v>
                </c:pt>
                <c:pt idx="2982">
                  <c:v>0</c:v>
                </c:pt>
                <c:pt idx="2983">
                  <c:v>0</c:v>
                </c:pt>
                <c:pt idx="2984">
                  <c:v>0</c:v>
                </c:pt>
                <c:pt idx="2985">
                  <c:v>0</c:v>
                </c:pt>
                <c:pt idx="2986">
                  <c:v>0</c:v>
                </c:pt>
                <c:pt idx="2987">
                  <c:v>0</c:v>
                </c:pt>
                <c:pt idx="2988">
                  <c:v>0</c:v>
                </c:pt>
                <c:pt idx="2989">
                  <c:v>0</c:v>
                </c:pt>
                <c:pt idx="2990">
                  <c:v>0</c:v>
                </c:pt>
                <c:pt idx="2991">
                  <c:v>0</c:v>
                </c:pt>
                <c:pt idx="2992">
                  <c:v>0</c:v>
                </c:pt>
                <c:pt idx="2993">
                  <c:v>0</c:v>
                </c:pt>
                <c:pt idx="2994">
                  <c:v>0</c:v>
                </c:pt>
                <c:pt idx="2995">
                  <c:v>0</c:v>
                </c:pt>
                <c:pt idx="2996">
                  <c:v>0</c:v>
                </c:pt>
                <c:pt idx="2997">
                  <c:v>0</c:v>
                </c:pt>
                <c:pt idx="2998">
                  <c:v>0</c:v>
                </c:pt>
                <c:pt idx="2999">
                  <c:v>0</c:v>
                </c:pt>
                <c:pt idx="3000">
                  <c:v>0</c:v>
                </c:pt>
                <c:pt idx="3001">
                  <c:v>0</c:v>
                </c:pt>
                <c:pt idx="3002">
                  <c:v>0</c:v>
                </c:pt>
                <c:pt idx="3003">
                  <c:v>0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0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0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0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0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0</c:v>
                </c:pt>
                <c:pt idx="3049">
                  <c:v>0</c:v>
                </c:pt>
                <c:pt idx="3050">
                  <c:v>0</c:v>
                </c:pt>
                <c:pt idx="3051">
                  <c:v>0</c:v>
                </c:pt>
                <c:pt idx="3052">
                  <c:v>0</c:v>
                </c:pt>
                <c:pt idx="3053">
                  <c:v>0</c:v>
                </c:pt>
                <c:pt idx="3054">
                  <c:v>0</c:v>
                </c:pt>
                <c:pt idx="3055">
                  <c:v>0</c:v>
                </c:pt>
                <c:pt idx="3056">
                  <c:v>0</c:v>
                </c:pt>
                <c:pt idx="3057">
                  <c:v>0</c:v>
                </c:pt>
                <c:pt idx="3058">
                  <c:v>0</c:v>
                </c:pt>
                <c:pt idx="3059">
                  <c:v>0</c:v>
                </c:pt>
                <c:pt idx="3060">
                  <c:v>0</c:v>
                </c:pt>
                <c:pt idx="3061">
                  <c:v>0</c:v>
                </c:pt>
                <c:pt idx="3062">
                  <c:v>0</c:v>
                </c:pt>
                <c:pt idx="3063">
                  <c:v>0</c:v>
                </c:pt>
                <c:pt idx="3064">
                  <c:v>0</c:v>
                </c:pt>
                <c:pt idx="3065">
                  <c:v>0</c:v>
                </c:pt>
                <c:pt idx="3066">
                  <c:v>0</c:v>
                </c:pt>
                <c:pt idx="3067">
                  <c:v>0</c:v>
                </c:pt>
                <c:pt idx="3068">
                  <c:v>0</c:v>
                </c:pt>
                <c:pt idx="3069">
                  <c:v>0</c:v>
                </c:pt>
                <c:pt idx="3070">
                  <c:v>0</c:v>
                </c:pt>
                <c:pt idx="3071">
                  <c:v>0</c:v>
                </c:pt>
                <c:pt idx="3072">
                  <c:v>0</c:v>
                </c:pt>
                <c:pt idx="3073">
                  <c:v>0</c:v>
                </c:pt>
                <c:pt idx="3074">
                  <c:v>0</c:v>
                </c:pt>
                <c:pt idx="3075">
                  <c:v>0</c:v>
                </c:pt>
                <c:pt idx="3076">
                  <c:v>0</c:v>
                </c:pt>
                <c:pt idx="3077">
                  <c:v>0</c:v>
                </c:pt>
                <c:pt idx="3078">
                  <c:v>0</c:v>
                </c:pt>
                <c:pt idx="3079">
                  <c:v>0</c:v>
                </c:pt>
                <c:pt idx="3080">
                  <c:v>0</c:v>
                </c:pt>
                <c:pt idx="3081">
                  <c:v>0</c:v>
                </c:pt>
                <c:pt idx="3082">
                  <c:v>0</c:v>
                </c:pt>
                <c:pt idx="3083">
                  <c:v>0</c:v>
                </c:pt>
                <c:pt idx="3084">
                  <c:v>0</c:v>
                </c:pt>
                <c:pt idx="3085">
                  <c:v>0</c:v>
                </c:pt>
                <c:pt idx="3086">
                  <c:v>0</c:v>
                </c:pt>
                <c:pt idx="3087">
                  <c:v>0</c:v>
                </c:pt>
                <c:pt idx="3088">
                  <c:v>0</c:v>
                </c:pt>
                <c:pt idx="3089">
                  <c:v>0</c:v>
                </c:pt>
                <c:pt idx="3090">
                  <c:v>0</c:v>
                </c:pt>
                <c:pt idx="3091">
                  <c:v>0</c:v>
                </c:pt>
                <c:pt idx="3092">
                  <c:v>0</c:v>
                </c:pt>
                <c:pt idx="3093">
                  <c:v>0</c:v>
                </c:pt>
                <c:pt idx="3094">
                  <c:v>0</c:v>
                </c:pt>
                <c:pt idx="3095">
                  <c:v>0</c:v>
                </c:pt>
                <c:pt idx="3096">
                  <c:v>0</c:v>
                </c:pt>
                <c:pt idx="3097">
                  <c:v>0</c:v>
                </c:pt>
                <c:pt idx="3098">
                  <c:v>0</c:v>
                </c:pt>
                <c:pt idx="3099">
                  <c:v>0</c:v>
                </c:pt>
                <c:pt idx="3100">
                  <c:v>0</c:v>
                </c:pt>
                <c:pt idx="3101">
                  <c:v>0</c:v>
                </c:pt>
                <c:pt idx="3102">
                  <c:v>0</c:v>
                </c:pt>
                <c:pt idx="3103">
                  <c:v>0</c:v>
                </c:pt>
                <c:pt idx="3104">
                  <c:v>0</c:v>
                </c:pt>
                <c:pt idx="3105">
                  <c:v>0</c:v>
                </c:pt>
                <c:pt idx="3106">
                  <c:v>0</c:v>
                </c:pt>
                <c:pt idx="3107">
                  <c:v>0</c:v>
                </c:pt>
                <c:pt idx="3108">
                  <c:v>0</c:v>
                </c:pt>
                <c:pt idx="3109">
                  <c:v>0</c:v>
                </c:pt>
                <c:pt idx="3110">
                  <c:v>0</c:v>
                </c:pt>
                <c:pt idx="3111">
                  <c:v>0</c:v>
                </c:pt>
                <c:pt idx="3112">
                  <c:v>0</c:v>
                </c:pt>
                <c:pt idx="3113">
                  <c:v>0</c:v>
                </c:pt>
                <c:pt idx="3114">
                  <c:v>0</c:v>
                </c:pt>
                <c:pt idx="3115">
                  <c:v>0</c:v>
                </c:pt>
                <c:pt idx="3116">
                  <c:v>0</c:v>
                </c:pt>
                <c:pt idx="3117">
                  <c:v>0</c:v>
                </c:pt>
                <c:pt idx="3118">
                  <c:v>0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0</c:v>
                </c:pt>
                <c:pt idx="3123">
                  <c:v>0</c:v>
                </c:pt>
                <c:pt idx="3124">
                  <c:v>0</c:v>
                </c:pt>
                <c:pt idx="3125">
                  <c:v>0</c:v>
                </c:pt>
                <c:pt idx="3126">
                  <c:v>0</c:v>
                </c:pt>
                <c:pt idx="3127">
                  <c:v>0</c:v>
                </c:pt>
                <c:pt idx="3128">
                  <c:v>0</c:v>
                </c:pt>
                <c:pt idx="3129">
                  <c:v>0</c:v>
                </c:pt>
                <c:pt idx="3130">
                  <c:v>0</c:v>
                </c:pt>
                <c:pt idx="3131">
                  <c:v>0</c:v>
                </c:pt>
                <c:pt idx="3132">
                  <c:v>0</c:v>
                </c:pt>
                <c:pt idx="3133">
                  <c:v>0</c:v>
                </c:pt>
                <c:pt idx="3134">
                  <c:v>0</c:v>
                </c:pt>
                <c:pt idx="3135">
                  <c:v>0</c:v>
                </c:pt>
                <c:pt idx="3136">
                  <c:v>0</c:v>
                </c:pt>
                <c:pt idx="3137">
                  <c:v>0</c:v>
                </c:pt>
                <c:pt idx="3138">
                  <c:v>0</c:v>
                </c:pt>
                <c:pt idx="3139">
                  <c:v>0</c:v>
                </c:pt>
                <c:pt idx="3140">
                  <c:v>0</c:v>
                </c:pt>
                <c:pt idx="3141">
                  <c:v>0</c:v>
                </c:pt>
                <c:pt idx="3142">
                  <c:v>0</c:v>
                </c:pt>
                <c:pt idx="3143">
                  <c:v>0</c:v>
                </c:pt>
                <c:pt idx="3144">
                  <c:v>0</c:v>
                </c:pt>
                <c:pt idx="3145">
                  <c:v>0</c:v>
                </c:pt>
                <c:pt idx="3146">
                  <c:v>0</c:v>
                </c:pt>
                <c:pt idx="3147">
                  <c:v>0</c:v>
                </c:pt>
                <c:pt idx="3148">
                  <c:v>0</c:v>
                </c:pt>
                <c:pt idx="3149">
                  <c:v>0</c:v>
                </c:pt>
                <c:pt idx="3150">
                  <c:v>0</c:v>
                </c:pt>
                <c:pt idx="3151">
                  <c:v>0</c:v>
                </c:pt>
                <c:pt idx="3152">
                  <c:v>0</c:v>
                </c:pt>
                <c:pt idx="3153">
                  <c:v>0</c:v>
                </c:pt>
                <c:pt idx="3154">
                  <c:v>0</c:v>
                </c:pt>
                <c:pt idx="3155">
                  <c:v>0</c:v>
                </c:pt>
                <c:pt idx="3156">
                  <c:v>0</c:v>
                </c:pt>
                <c:pt idx="3157">
                  <c:v>0</c:v>
                </c:pt>
                <c:pt idx="3158">
                  <c:v>0</c:v>
                </c:pt>
                <c:pt idx="3159">
                  <c:v>0</c:v>
                </c:pt>
                <c:pt idx="3160">
                  <c:v>0</c:v>
                </c:pt>
                <c:pt idx="3161">
                  <c:v>0</c:v>
                </c:pt>
                <c:pt idx="3162">
                  <c:v>0</c:v>
                </c:pt>
                <c:pt idx="3163">
                  <c:v>0</c:v>
                </c:pt>
                <c:pt idx="3164">
                  <c:v>0</c:v>
                </c:pt>
                <c:pt idx="3165">
                  <c:v>0</c:v>
                </c:pt>
                <c:pt idx="3166">
                  <c:v>0</c:v>
                </c:pt>
                <c:pt idx="3167">
                  <c:v>0</c:v>
                </c:pt>
                <c:pt idx="3168">
                  <c:v>0</c:v>
                </c:pt>
                <c:pt idx="3169">
                  <c:v>0</c:v>
                </c:pt>
                <c:pt idx="3170">
                  <c:v>0</c:v>
                </c:pt>
                <c:pt idx="3171">
                  <c:v>0</c:v>
                </c:pt>
                <c:pt idx="3172">
                  <c:v>0</c:v>
                </c:pt>
                <c:pt idx="3173">
                  <c:v>0</c:v>
                </c:pt>
                <c:pt idx="3174">
                  <c:v>0</c:v>
                </c:pt>
                <c:pt idx="3175">
                  <c:v>0</c:v>
                </c:pt>
                <c:pt idx="3176">
                  <c:v>0</c:v>
                </c:pt>
                <c:pt idx="3177">
                  <c:v>0</c:v>
                </c:pt>
                <c:pt idx="3178">
                  <c:v>0</c:v>
                </c:pt>
                <c:pt idx="3179">
                  <c:v>0</c:v>
                </c:pt>
                <c:pt idx="3180">
                  <c:v>0</c:v>
                </c:pt>
                <c:pt idx="3181">
                  <c:v>0</c:v>
                </c:pt>
                <c:pt idx="3182">
                  <c:v>0</c:v>
                </c:pt>
                <c:pt idx="3183">
                  <c:v>0</c:v>
                </c:pt>
                <c:pt idx="3184">
                  <c:v>0</c:v>
                </c:pt>
                <c:pt idx="3185">
                  <c:v>0</c:v>
                </c:pt>
                <c:pt idx="3186">
                  <c:v>0</c:v>
                </c:pt>
                <c:pt idx="3187">
                  <c:v>0</c:v>
                </c:pt>
                <c:pt idx="3188">
                  <c:v>0</c:v>
                </c:pt>
                <c:pt idx="3189">
                  <c:v>0</c:v>
                </c:pt>
                <c:pt idx="3190">
                  <c:v>0</c:v>
                </c:pt>
                <c:pt idx="3191">
                  <c:v>0</c:v>
                </c:pt>
                <c:pt idx="3192">
                  <c:v>0</c:v>
                </c:pt>
                <c:pt idx="3193">
                  <c:v>0</c:v>
                </c:pt>
                <c:pt idx="3194">
                  <c:v>0</c:v>
                </c:pt>
                <c:pt idx="3195">
                  <c:v>0</c:v>
                </c:pt>
                <c:pt idx="3196">
                  <c:v>0</c:v>
                </c:pt>
                <c:pt idx="3197">
                  <c:v>0</c:v>
                </c:pt>
                <c:pt idx="3198">
                  <c:v>0</c:v>
                </c:pt>
                <c:pt idx="3199">
                  <c:v>0</c:v>
                </c:pt>
                <c:pt idx="3200">
                  <c:v>0</c:v>
                </c:pt>
                <c:pt idx="3201">
                  <c:v>0</c:v>
                </c:pt>
                <c:pt idx="3202">
                  <c:v>0</c:v>
                </c:pt>
                <c:pt idx="3203">
                  <c:v>0</c:v>
                </c:pt>
                <c:pt idx="3204">
                  <c:v>0</c:v>
                </c:pt>
                <c:pt idx="3205">
                  <c:v>0</c:v>
                </c:pt>
                <c:pt idx="3206">
                  <c:v>0</c:v>
                </c:pt>
                <c:pt idx="3207">
                  <c:v>0</c:v>
                </c:pt>
                <c:pt idx="3208">
                  <c:v>0</c:v>
                </c:pt>
                <c:pt idx="3209">
                  <c:v>0</c:v>
                </c:pt>
                <c:pt idx="3210">
                  <c:v>0</c:v>
                </c:pt>
                <c:pt idx="3211">
                  <c:v>0</c:v>
                </c:pt>
                <c:pt idx="3212">
                  <c:v>0</c:v>
                </c:pt>
                <c:pt idx="3213">
                  <c:v>0</c:v>
                </c:pt>
                <c:pt idx="3214">
                  <c:v>0</c:v>
                </c:pt>
                <c:pt idx="3215">
                  <c:v>0</c:v>
                </c:pt>
                <c:pt idx="3216">
                  <c:v>0</c:v>
                </c:pt>
                <c:pt idx="3217">
                  <c:v>0</c:v>
                </c:pt>
                <c:pt idx="3218">
                  <c:v>0</c:v>
                </c:pt>
                <c:pt idx="3219">
                  <c:v>0</c:v>
                </c:pt>
                <c:pt idx="3220">
                  <c:v>0</c:v>
                </c:pt>
                <c:pt idx="3221">
                  <c:v>0</c:v>
                </c:pt>
                <c:pt idx="3222">
                  <c:v>0</c:v>
                </c:pt>
                <c:pt idx="3223">
                  <c:v>0</c:v>
                </c:pt>
                <c:pt idx="3224">
                  <c:v>0</c:v>
                </c:pt>
                <c:pt idx="3225">
                  <c:v>0</c:v>
                </c:pt>
                <c:pt idx="3226">
                  <c:v>0</c:v>
                </c:pt>
                <c:pt idx="3227">
                  <c:v>0</c:v>
                </c:pt>
                <c:pt idx="3228">
                  <c:v>0</c:v>
                </c:pt>
                <c:pt idx="3229">
                  <c:v>0</c:v>
                </c:pt>
                <c:pt idx="3230">
                  <c:v>0</c:v>
                </c:pt>
                <c:pt idx="3231">
                  <c:v>0</c:v>
                </c:pt>
                <c:pt idx="3232">
                  <c:v>0</c:v>
                </c:pt>
                <c:pt idx="3233">
                  <c:v>0</c:v>
                </c:pt>
                <c:pt idx="3234">
                  <c:v>0</c:v>
                </c:pt>
                <c:pt idx="3235">
                  <c:v>0</c:v>
                </c:pt>
                <c:pt idx="3236">
                  <c:v>0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0</c:v>
                </c:pt>
                <c:pt idx="3246">
                  <c:v>0</c:v>
                </c:pt>
                <c:pt idx="3247">
                  <c:v>0</c:v>
                </c:pt>
                <c:pt idx="3248">
                  <c:v>0</c:v>
                </c:pt>
                <c:pt idx="3249">
                  <c:v>0</c:v>
                </c:pt>
                <c:pt idx="3250">
                  <c:v>0</c:v>
                </c:pt>
                <c:pt idx="3251">
                  <c:v>0</c:v>
                </c:pt>
                <c:pt idx="3252">
                  <c:v>0</c:v>
                </c:pt>
                <c:pt idx="3253">
                  <c:v>0</c:v>
                </c:pt>
                <c:pt idx="3254">
                  <c:v>0</c:v>
                </c:pt>
                <c:pt idx="3255">
                  <c:v>0</c:v>
                </c:pt>
                <c:pt idx="3256">
                  <c:v>0</c:v>
                </c:pt>
                <c:pt idx="3257">
                  <c:v>0</c:v>
                </c:pt>
                <c:pt idx="3258">
                  <c:v>0</c:v>
                </c:pt>
                <c:pt idx="3259">
                  <c:v>0</c:v>
                </c:pt>
                <c:pt idx="3260">
                  <c:v>0</c:v>
                </c:pt>
                <c:pt idx="3261">
                  <c:v>0</c:v>
                </c:pt>
                <c:pt idx="3262">
                  <c:v>0</c:v>
                </c:pt>
                <c:pt idx="3263">
                  <c:v>0</c:v>
                </c:pt>
                <c:pt idx="3264">
                  <c:v>0</c:v>
                </c:pt>
                <c:pt idx="3265">
                  <c:v>0</c:v>
                </c:pt>
                <c:pt idx="3266">
                  <c:v>0</c:v>
                </c:pt>
                <c:pt idx="3267">
                  <c:v>0</c:v>
                </c:pt>
                <c:pt idx="3268">
                  <c:v>0</c:v>
                </c:pt>
                <c:pt idx="3269">
                  <c:v>0</c:v>
                </c:pt>
                <c:pt idx="3270">
                  <c:v>0</c:v>
                </c:pt>
                <c:pt idx="3271">
                  <c:v>0</c:v>
                </c:pt>
                <c:pt idx="3272">
                  <c:v>0</c:v>
                </c:pt>
                <c:pt idx="3273">
                  <c:v>0</c:v>
                </c:pt>
                <c:pt idx="3274">
                  <c:v>0</c:v>
                </c:pt>
                <c:pt idx="3275">
                  <c:v>0</c:v>
                </c:pt>
                <c:pt idx="3276">
                  <c:v>0</c:v>
                </c:pt>
                <c:pt idx="3277">
                  <c:v>0</c:v>
                </c:pt>
                <c:pt idx="3278">
                  <c:v>0</c:v>
                </c:pt>
                <c:pt idx="3279">
                  <c:v>0</c:v>
                </c:pt>
                <c:pt idx="3280">
                  <c:v>0</c:v>
                </c:pt>
                <c:pt idx="3281">
                  <c:v>0</c:v>
                </c:pt>
                <c:pt idx="3282">
                  <c:v>0</c:v>
                </c:pt>
                <c:pt idx="3283">
                  <c:v>0</c:v>
                </c:pt>
                <c:pt idx="3284">
                  <c:v>0</c:v>
                </c:pt>
                <c:pt idx="3285">
                  <c:v>0</c:v>
                </c:pt>
                <c:pt idx="3286">
                  <c:v>0</c:v>
                </c:pt>
                <c:pt idx="3287">
                  <c:v>0</c:v>
                </c:pt>
                <c:pt idx="3288">
                  <c:v>0</c:v>
                </c:pt>
                <c:pt idx="3289">
                  <c:v>0</c:v>
                </c:pt>
                <c:pt idx="3290">
                  <c:v>0</c:v>
                </c:pt>
                <c:pt idx="3291">
                  <c:v>0</c:v>
                </c:pt>
                <c:pt idx="3292">
                  <c:v>0</c:v>
                </c:pt>
                <c:pt idx="3293">
                  <c:v>0</c:v>
                </c:pt>
                <c:pt idx="3294">
                  <c:v>0</c:v>
                </c:pt>
                <c:pt idx="3295">
                  <c:v>0</c:v>
                </c:pt>
                <c:pt idx="3296">
                  <c:v>0</c:v>
                </c:pt>
                <c:pt idx="3297">
                  <c:v>0</c:v>
                </c:pt>
                <c:pt idx="3298">
                  <c:v>0</c:v>
                </c:pt>
                <c:pt idx="3299">
                  <c:v>0</c:v>
                </c:pt>
                <c:pt idx="3300">
                  <c:v>0</c:v>
                </c:pt>
                <c:pt idx="3301">
                  <c:v>0</c:v>
                </c:pt>
                <c:pt idx="3302">
                  <c:v>0</c:v>
                </c:pt>
                <c:pt idx="3303">
                  <c:v>0</c:v>
                </c:pt>
                <c:pt idx="3304">
                  <c:v>0</c:v>
                </c:pt>
                <c:pt idx="3305">
                  <c:v>0</c:v>
                </c:pt>
                <c:pt idx="3306">
                  <c:v>0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0</c:v>
                </c:pt>
                <c:pt idx="3311">
                  <c:v>0</c:v>
                </c:pt>
                <c:pt idx="3312">
                  <c:v>0</c:v>
                </c:pt>
                <c:pt idx="3313">
                  <c:v>0</c:v>
                </c:pt>
                <c:pt idx="3314">
                  <c:v>0</c:v>
                </c:pt>
                <c:pt idx="3315">
                  <c:v>0</c:v>
                </c:pt>
                <c:pt idx="3316">
                  <c:v>0</c:v>
                </c:pt>
                <c:pt idx="3317">
                  <c:v>0</c:v>
                </c:pt>
                <c:pt idx="3318">
                  <c:v>0</c:v>
                </c:pt>
                <c:pt idx="3319">
                  <c:v>0</c:v>
                </c:pt>
                <c:pt idx="3320">
                  <c:v>0</c:v>
                </c:pt>
                <c:pt idx="3321">
                  <c:v>0</c:v>
                </c:pt>
                <c:pt idx="3322">
                  <c:v>0</c:v>
                </c:pt>
                <c:pt idx="3323">
                  <c:v>0</c:v>
                </c:pt>
                <c:pt idx="3324">
                  <c:v>0</c:v>
                </c:pt>
                <c:pt idx="3325">
                  <c:v>0</c:v>
                </c:pt>
                <c:pt idx="3326">
                  <c:v>0</c:v>
                </c:pt>
                <c:pt idx="3327">
                  <c:v>0</c:v>
                </c:pt>
                <c:pt idx="3328">
                  <c:v>0</c:v>
                </c:pt>
                <c:pt idx="3329">
                  <c:v>0</c:v>
                </c:pt>
                <c:pt idx="3330">
                  <c:v>0</c:v>
                </c:pt>
                <c:pt idx="3331">
                  <c:v>0</c:v>
                </c:pt>
                <c:pt idx="3332">
                  <c:v>0</c:v>
                </c:pt>
                <c:pt idx="3333">
                  <c:v>0</c:v>
                </c:pt>
                <c:pt idx="3334">
                  <c:v>0</c:v>
                </c:pt>
                <c:pt idx="3335">
                  <c:v>0</c:v>
                </c:pt>
                <c:pt idx="3336">
                  <c:v>0</c:v>
                </c:pt>
                <c:pt idx="3337">
                  <c:v>0</c:v>
                </c:pt>
                <c:pt idx="3338">
                  <c:v>0</c:v>
                </c:pt>
                <c:pt idx="3339">
                  <c:v>0</c:v>
                </c:pt>
                <c:pt idx="3340">
                  <c:v>0</c:v>
                </c:pt>
                <c:pt idx="3341">
                  <c:v>0</c:v>
                </c:pt>
                <c:pt idx="3342">
                  <c:v>0</c:v>
                </c:pt>
                <c:pt idx="3343">
                  <c:v>0</c:v>
                </c:pt>
                <c:pt idx="3344">
                  <c:v>0</c:v>
                </c:pt>
                <c:pt idx="3345">
                  <c:v>0</c:v>
                </c:pt>
                <c:pt idx="3346">
                  <c:v>0</c:v>
                </c:pt>
                <c:pt idx="3347">
                  <c:v>0</c:v>
                </c:pt>
                <c:pt idx="3348">
                  <c:v>0</c:v>
                </c:pt>
                <c:pt idx="3349">
                  <c:v>0</c:v>
                </c:pt>
                <c:pt idx="3350">
                  <c:v>0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0</c:v>
                </c:pt>
                <c:pt idx="3356">
                  <c:v>0</c:v>
                </c:pt>
                <c:pt idx="3357">
                  <c:v>0</c:v>
                </c:pt>
                <c:pt idx="3358">
                  <c:v>0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0</c:v>
                </c:pt>
                <c:pt idx="3363">
                  <c:v>0</c:v>
                </c:pt>
                <c:pt idx="3364">
                  <c:v>0</c:v>
                </c:pt>
                <c:pt idx="3365">
                  <c:v>0</c:v>
                </c:pt>
                <c:pt idx="3366">
                  <c:v>0</c:v>
                </c:pt>
                <c:pt idx="3367">
                  <c:v>0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0</c:v>
                </c:pt>
                <c:pt idx="3373">
                  <c:v>0</c:v>
                </c:pt>
                <c:pt idx="3374">
                  <c:v>0</c:v>
                </c:pt>
                <c:pt idx="3375">
                  <c:v>0</c:v>
                </c:pt>
                <c:pt idx="3376">
                  <c:v>0</c:v>
                </c:pt>
                <c:pt idx="3377">
                  <c:v>0</c:v>
                </c:pt>
                <c:pt idx="3378">
                  <c:v>0</c:v>
                </c:pt>
                <c:pt idx="3379">
                  <c:v>0</c:v>
                </c:pt>
                <c:pt idx="3380">
                  <c:v>0</c:v>
                </c:pt>
                <c:pt idx="3381">
                  <c:v>0</c:v>
                </c:pt>
                <c:pt idx="3382">
                  <c:v>0</c:v>
                </c:pt>
                <c:pt idx="3383">
                  <c:v>0</c:v>
                </c:pt>
                <c:pt idx="3384">
                  <c:v>0</c:v>
                </c:pt>
                <c:pt idx="3385">
                  <c:v>0</c:v>
                </c:pt>
                <c:pt idx="3386">
                  <c:v>0</c:v>
                </c:pt>
                <c:pt idx="3387">
                  <c:v>0</c:v>
                </c:pt>
                <c:pt idx="3388">
                  <c:v>0</c:v>
                </c:pt>
                <c:pt idx="3389">
                  <c:v>0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0</c:v>
                </c:pt>
                <c:pt idx="3397">
                  <c:v>0</c:v>
                </c:pt>
                <c:pt idx="3398">
                  <c:v>0</c:v>
                </c:pt>
                <c:pt idx="3399">
                  <c:v>0</c:v>
                </c:pt>
                <c:pt idx="3400">
                  <c:v>0</c:v>
                </c:pt>
                <c:pt idx="3401">
                  <c:v>0</c:v>
                </c:pt>
                <c:pt idx="3402">
                  <c:v>0</c:v>
                </c:pt>
                <c:pt idx="3403">
                  <c:v>0</c:v>
                </c:pt>
                <c:pt idx="3404">
                  <c:v>0</c:v>
                </c:pt>
                <c:pt idx="3405">
                  <c:v>0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0</c:v>
                </c:pt>
                <c:pt idx="3411">
                  <c:v>0</c:v>
                </c:pt>
                <c:pt idx="3412">
                  <c:v>0</c:v>
                </c:pt>
                <c:pt idx="3413">
                  <c:v>0</c:v>
                </c:pt>
                <c:pt idx="3414">
                  <c:v>0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0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0</c:v>
                </c:pt>
                <c:pt idx="3427">
                  <c:v>0</c:v>
                </c:pt>
                <c:pt idx="3428">
                  <c:v>0</c:v>
                </c:pt>
                <c:pt idx="3429">
                  <c:v>0</c:v>
                </c:pt>
                <c:pt idx="3430">
                  <c:v>0</c:v>
                </c:pt>
                <c:pt idx="3431">
                  <c:v>0</c:v>
                </c:pt>
                <c:pt idx="3432">
                  <c:v>0</c:v>
                </c:pt>
                <c:pt idx="3433">
                  <c:v>0</c:v>
                </c:pt>
                <c:pt idx="3434">
                  <c:v>0</c:v>
                </c:pt>
                <c:pt idx="3435">
                  <c:v>0</c:v>
                </c:pt>
                <c:pt idx="3436">
                  <c:v>0</c:v>
                </c:pt>
                <c:pt idx="3437">
                  <c:v>0</c:v>
                </c:pt>
                <c:pt idx="3438">
                  <c:v>0</c:v>
                </c:pt>
                <c:pt idx="3439">
                  <c:v>0</c:v>
                </c:pt>
                <c:pt idx="3440">
                  <c:v>0</c:v>
                </c:pt>
                <c:pt idx="3441">
                  <c:v>0</c:v>
                </c:pt>
                <c:pt idx="3442">
                  <c:v>0</c:v>
                </c:pt>
                <c:pt idx="3443">
                  <c:v>0</c:v>
                </c:pt>
                <c:pt idx="3444">
                  <c:v>0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0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0</c:v>
                </c:pt>
                <c:pt idx="3460">
                  <c:v>0</c:v>
                </c:pt>
                <c:pt idx="3461">
                  <c:v>0</c:v>
                </c:pt>
                <c:pt idx="3462">
                  <c:v>0</c:v>
                </c:pt>
                <c:pt idx="3463">
                  <c:v>0</c:v>
                </c:pt>
                <c:pt idx="3464">
                  <c:v>0</c:v>
                </c:pt>
                <c:pt idx="3465">
                  <c:v>0</c:v>
                </c:pt>
                <c:pt idx="3466">
                  <c:v>0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0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0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0</c:v>
                </c:pt>
                <c:pt idx="3753">
                  <c:v>0</c:v>
                </c:pt>
                <c:pt idx="3754">
                  <c:v>0</c:v>
                </c:pt>
                <c:pt idx="3755">
                  <c:v>0</c:v>
                </c:pt>
                <c:pt idx="3756">
                  <c:v>0</c:v>
                </c:pt>
                <c:pt idx="3757">
                  <c:v>0</c:v>
                </c:pt>
                <c:pt idx="3758">
                  <c:v>0</c:v>
                </c:pt>
                <c:pt idx="3759">
                  <c:v>0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0</c:v>
                </c:pt>
                <c:pt idx="3781">
                  <c:v>0</c:v>
                </c:pt>
                <c:pt idx="3782">
                  <c:v>0</c:v>
                </c:pt>
                <c:pt idx="3783">
                  <c:v>0</c:v>
                </c:pt>
                <c:pt idx="3784">
                  <c:v>0</c:v>
                </c:pt>
                <c:pt idx="3785">
                  <c:v>0</c:v>
                </c:pt>
                <c:pt idx="3786">
                  <c:v>0</c:v>
                </c:pt>
                <c:pt idx="3787">
                  <c:v>0</c:v>
                </c:pt>
                <c:pt idx="3788">
                  <c:v>0</c:v>
                </c:pt>
                <c:pt idx="3789">
                  <c:v>0</c:v>
                </c:pt>
                <c:pt idx="3790">
                  <c:v>0</c:v>
                </c:pt>
                <c:pt idx="3791">
                  <c:v>0</c:v>
                </c:pt>
                <c:pt idx="3792">
                  <c:v>0</c:v>
                </c:pt>
                <c:pt idx="3793">
                  <c:v>0</c:v>
                </c:pt>
                <c:pt idx="3794">
                  <c:v>0</c:v>
                </c:pt>
                <c:pt idx="3795">
                  <c:v>0</c:v>
                </c:pt>
                <c:pt idx="3796">
                  <c:v>0</c:v>
                </c:pt>
                <c:pt idx="3797">
                  <c:v>0</c:v>
                </c:pt>
                <c:pt idx="3798">
                  <c:v>0</c:v>
                </c:pt>
                <c:pt idx="3799">
                  <c:v>0</c:v>
                </c:pt>
                <c:pt idx="3800">
                  <c:v>0</c:v>
                </c:pt>
                <c:pt idx="3801">
                  <c:v>0</c:v>
                </c:pt>
                <c:pt idx="3802">
                  <c:v>0</c:v>
                </c:pt>
                <c:pt idx="3803">
                  <c:v>0</c:v>
                </c:pt>
                <c:pt idx="3804">
                  <c:v>0</c:v>
                </c:pt>
                <c:pt idx="3805">
                  <c:v>0</c:v>
                </c:pt>
                <c:pt idx="3806">
                  <c:v>0</c:v>
                </c:pt>
                <c:pt idx="3807">
                  <c:v>0</c:v>
                </c:pt>
                <c:pt idx="3808">
                  <c:v>0</c:v>
                </c:pt>
                <c:pt idx="3809">
                  <c:v>0</c:v>
                </c:pt>
                <c:pt idx="3810">
                  <c:v>0</c:v>
                </c:pt>
                <c:pt idx="3811">
                  <c:v>0</c:v>
                </c:pt>
                <c:pt idx="3812">
                  <c:v>0</c:v>
                </c:pt>
                <c:pt idx="3813">
                  <c:v>0</c:v>
                </c:pt>
                <c:pt idx="3814">
                  <c:v>0</c:v>
                </c:pt>
                <c:pt idx="3815">
                  <c:v>0</c:v>
                </c:pt>
                <c:pt idx="3816">
                  <c:v>0</c:v>
                </c:pt>
                <c:pt idx="3817">
                  <c:v>0</c:v>
                </c:pt>
                <c:pt idx="3818">
                  <c:v>0</c:v>
                </c:pt>
                <c:pt idx="3819">
                  <c:v>0</c:v>
                </c:pt>
                <c:pt idx="3820">
                  <c:v>0</c:v>
                </c:pt>
                <c:pt idx="3821">
                  <c:v>0</c:v>
                </c:pt>
                <c:pt idx="3822">
                  <c:v>0</c:v>
                </c:pt>
                <c:pt idx="3823">
                  <c:v>0</c:v>
                </c:pt>
                <c:pt idx="3824">
                  <c:v>0</c:v>
                </c:pt>
                <c:pt idx="3825">
                  <c:v>0</c:v>
                </c:pt>
                <c:pt idx="3826">
                  <c:v>0</c:v>
                </c:pt>
                <c:pt idx="3827">
                  <c:v>0</c:v>
                </c:pt>
                <c:pt idx="3828">
                  <c:v>0</c:v>
                </c:pt>
                <c:pt idx="3829">
                  <c:v>0</c:v>
                </c:pt>
                <c:pt idx="3830">
                  <c:v>0</c:v>
                </c:pt>
                <c:pt idx="3831">
                  <c:v>0</c:v>
                </c:pt>
                <c:pt idx="3832">
                  <c:v>0</c:v>
                </c:pt>
                <c:pt idx="3833">
                  <c:v>0</c:v>
                </c:pt>
                <c:pt idx="3834">
                  <c:v>0</c:v>
                </c:pt>
                <c:pt idx="3835">
                  <c:v>0</c:v>
                </c:pt>
                <c:pt idx="3836">
                  <c:v>0</c:v>
                </c:pt>
                <c:pt idx="3837">
                  <c:v>0</c:v>
                </c:pt>
                <c:pt idx="3838">
                  <c:v>0</c:v>
                </c:pt>
                <c:pt idx="3839">
                  <c:v>0</c:v>
                </c:pt>
                <c:pt idx="3840">
                  <c:v>0</c:v>
                </c:pt>
                <c:pt idx="3841">
                  <c:v>0</c:v>
                </c:pt>
                <c:pt idx="3842">
                  <c:v>0</c:v>
                </c:pt>
                <c:pt idx="3843">
                  <c:v>0</c:v>
                </c:pt>
                <c:pt idx="3844">
                  <c:v>0</c:v>
                </c:pt>
                <c:pt idx="3845">
                  <c:v>0</c:v>
                </c:pt>
                <c:pt idx="3846">
                  <c:v>0</c:v>
                </c:pt>
                <c:pt idx="3847">
                  <c:v>0</c:v>
                </c:pt>
                <c:pt idx="3848">
                  <c:v>0</c:v>
                </c:pt>
                <c:pt idx="3849">
                  <c:v>0</c:v>
                </c:pt>
                <c:pt idx="3850">
                  <c:v>0</c:v>
                </c:pt>
                <c:pt idx="3851">
                  <c:v>0</c:v>
                </c:pt>
                <c:pt idx="3852">
                  <c:v>0</c:v>
                </c:pt>
                <c:pt idx="3853">
                  <c:v>0</c:v>
                </c:pt>
                <c:pt idx="3854">
                  <c:v>0</c:v>
                </c:pt>
                <c:pt idx="3855">
                  <c:v>0</c:v>
                </c:pt>
                <c:pt idx="3856">
                  <c:v>0</c:v>
                </c:pt>
                <c:pt idx="3857">
                  <c:v>0</c:v>
                </c:pt>
                <c:pt idx="3858">
                  <c:v>0</c:v>
                </c:pt>
                <c:pt idx="3859">
                  <c:v>0</c:v>
                </c:pt>
                <c:pt idx="3860">
                  <c:v>0</c:v>
                </c:pt>
                <c:pt idx="3861">
                  <c:v>0</c:v>
                </c:pt>
                <c:pt idx="3862">
                  <c:v>0</c:v>
                </c:pt>
                <c:pt idx="3863">
                  <c:v>0</c:v>
                </c:pt>
                <c:pt idx="3864">
                  <c:v>0</c:v>
                </c:pt>
                <c:pt idx="3865">
                  <c:v>0</c:v>
                </c:pt>
                <c:pt idx="3866">
                  <c:v>0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0</c:v>
                </c:pt>
                <c:pt idx="3871">
                  <c:v>0</c:v>
                </c:pt>
                <c:pt idx="3872">
                  <c:v>0</c:v>
                </c:pt>
                <c:pt idx="3873">
                  <c:v>0</c:v>
                </c:pt>
                <c:pt idx="3874">
                  <c:v>0</c:v>
                </c:pt>
                <c:pt idx="3875">
                  <c:v>0</c:v>
                </c:pt>
                <c:pt idx="3876">
                  <c:v>0</c:v>
                </c:pt>
                <c:pt idx="3877">
                  <c:v>0</c:v>
                </c:pt>
                <c:pt idx="3878">
                  <c:v>0</c:v>
                </c:pt>
                <c:pt idx="3879">
                  <c:v>0</c:v>
                </c:pt>
                <c:pt idx="3880">
                  <c:v>0</c:v>
                </c:pt>
                <c:pt idx="3881">
                  <c:v>0</c:v>
                </c:pt>
                <c:pt idx="3882">
                  <c:v>0</c:v>
                </c:pt>
                <c:pt idx="3883">
                  <c:v>0</c:v>
                </c:pt>
                <c:pt idx="3884">
                  <c:v>0</c:v>
                </c:pt>
                <c:pt idx="3885">
                  <c:v>0</c:v>
                </c:pt>
                <c:pt idx="3886">
                  <c:v>0</c:v>
                </c:pt>
                <c:pt idx="3887">
                  <c:v>0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0</c:v>
                </c:pt>
                <c:pt idx="3892">
                  <c:v>0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0</c:v>
                </c:pt>
                <c:pt idx="3903">
                  <c:v>0</c:v>
                </c:pt>
                <c:pt idx="3904">
                  <c:v>0</c:v>
                </c:pt>
                <c:pt idx="3905">
                  <c:v>0</c:v>
                </c:pt>
                <c:pt idx="3906">
                  <c:v>0</c:v>
                </c:pt>
                <c:pt idx="3907">
                  <c:v>0</c:v>
                </c:pt>
                <c:pt idx="3908">
                  <c:v>0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0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0</c:v>
                </c:pt>
                <c:pt idx="3918">
                  <c:v>0</c:v>
                </c:pt>
                <c:pt idx="3919">
                  <c:v>0</c:v>
                </c:pt>
                <c:pt idx="3920">
                  <c:v>0</c:v>
                </c:pt>
                <c:pt idx="3921">
                  <c:v>0</c:v>
                </c:pt>
                <c:pt idx="3922">
                  <c:v>0</c:v>
                </c:pt>
                <c:pt idx="3923">
                  <c:v>0</c:v>
                </c:pt>
                <c:pt idx="3924">
                  <c:v>0</c:v>
                </c:pt>
                <c:pt idx="3925">
                  <c:v>0</c:v>
                </c:pt>
                <c:pt idx="3926">
                  <c:v>0</c:v>
                </c:pt>
                <c:pt idx="3927">
                  <c:v>0</c:v>
                </c:pt>
                <c:pt idx="3928">
                  <c:v>0</c:v>
                </c:pt>
                <c:pt idx="3929">
                  <c:v>0</c:v>
                </c:pt>
                <c:pt idx="3930">
                  <c:v>0</c:v>
                </c:pt>
                <c:pt idx="3931">
                  <c:v>0</c:v>
                </c:pt>
                <c:pt idx="3932">
                  <c:v>0</c:v>
                </c:pt>
                <c:pt idx="3933">
                  <c:v>0</c:v>
                </c:pt>
                <c:pt idx="3934">
                  <c:v>0</c:v>
                </c:pt>
                <c:pt idx="3935">
                  <c:v>0</c:v>
                </c:pt>
                <c:pt idx="3936">
                  <c:v>0</c:v>
                </c:pt>
                <c:pt idx="3937">
                  <c:v>0</c:v>
                </c:pt>
                <c:pt idx="3938">
                  <c:v>0</c:v>
                </c:pt>
                <c:pt idx="3939">
                  <c:v>0</c:v>
                </c:pt>
                <c:pt idx="3940">
                  <c:v>0</c:v>
                </c:pt>
                <c:pt idx="3941">
                  <c:v>0</c:v>
                </c:pt>
                <c:pt idx="3942">
                  <c:v>0</c:v>
                </c:pt>
                <c:pt idx="3943">
                  <c:v>0</c:v>
                </c:pt>
                <c:pt idx="3944">
                  <c:v>0</c:v>
                </c:pt>
                <c:pt idx="3945">
                  <c:v>0</c:v>
                </c:pt>
                <c:pt idx="3946">
                  <c:v>0</c:v>
                </c:pt>
                <c:pt idx="3947">
                  <c:v>0</c:v>
                </c:pt>
                <c:pt idx="3948">
                  <c:v>0</c:v>
                </c:pt>
                <c:pt idx="3949">
                  <c:v>0</c:v>
                </c:pt>
                <c:pt idx="3950">
                  <c:v>0</c:v>
                </c:pt>
                <c:pt idx="3951">
                  <c:v>0</c:v>
                </c:pt>
                <c:pt idx="3952">
                  <c:v>0</c:v>
                </c:pt>
                <c:pt idx="3953">
                  <c:v>0</c:v>
                </c:pt>
                <c:pt idx="3954">
                  <c:v>0</c:v>
                </c:pt>
                <c:pt idx="3955">
                  <c:v>0</c:v>
                </c:pt>
                <c:pt idx="3956">
                  <c:v>0</c:v>
                </c:pt>
                <c:pt idx="3957">
                  <c:v>0</c:v>
                </c:pt>
                <c:pt idx="3958">
                  <c:v>0</c:v>
                </c:pt>
                <c:pt idx="3959">
                  <c:v>0</c:v>
                </c:pt>
                <c:pt idx="3960">
                  <c:v>0</c:v>
                </c:pt>
                <c:pt idx="3961">
                  <c:v>0</c:v>
                </c:pt>
                <c:pt idx="3962">
                  <c:v>0</c:v>
                </c:pt>
                <c:pt idx="3963">
                  <c:v>0</c:v>
                </c:pt>
                <c:pt idx="3964">
                  <c:v>0</c:v>
                </c:pt>
                <c:pt idx="3965">
                  <c:v>0</c:v>
                </c:pt>
                <c:pt idx="3966">
                  <c:v>0</c:v>
                </c:pt>
                <c:pt idx="3967">
                  <c:v>0</c:v>
                </c:pt>
                <c:pt idx="3968">
                  <c:v>0</c:v>
                </c:pt>
                <c:pt idx="3969">
                  <c:v>0</c:v>
                </c:pt>
                <c:pt idx="3970">
                  <c:v>0</c:v>
                </c:pt>
                <c:pt idx="3971">
                  <c:v>0</c:v>
                </c:pt>
                <c:pt idx="3972">
                  <c:v>0</c:v>
                </c:pt>
                <c:pt idx="3973">
                  <c:v>0</c:v>
                </c:pt>
                <c:pt idx="3974">
                  <c:v>0</c:v>
                </c:pt>
                <c:pt idx="3975">
                  <c:v>0</c:v>
                </c:pt>
                <c:pt idx="3976">
                  <c:v>0</c:v>
                </c:pt>
                <c:pt idx="3977">
                  <c:v>0</c:v>
                </c:pt>
                <c:pt idx="3978">
                  <c:v>0</c:v>
                </c:pt>
                <c:pt idx="3979">
                  <c:v>0</c:v>
                </c:pt>
                <c:pt idx="3980">
                  <c:v>0</c:v>
                </c:pt>
                <c:pt idx="3981">
                  <c:v>0</c:v>
                </c:pt>
                <c:pt idx="3982">
                  <c:v>0</c:v>
                </c:pt>
                <c:pt idx="3983">
                  <c:v>0</c:v>
                </c:pt>
                <c:pt idx="3984">
                  <c:v>0</c:v>
                </c:pt>
                <c:pt idx="3985">
                  <c:v>0</c:v>
                </c:pt>
                <c:pt idx="3986">
                  <c:v>0</c:v>
                </c:pt>
                <c:pt idx="3987">
                  <c:v>0</c:v>
                </c:pt>
                <c:pt idx="3988">
                  <c:v>0</c:v>
                </c:pt>
                <c:pt idx="3989">
                  <c:v>0</c:v>
                </c:pt>
                <c:pt idx="3990">
                  <c:v>0</c:v>
                </c:pt>
                <c:pt idx="3991">
                  <c:v>0</c:v>
                </c:pt>
                <c:pt idx="3992">
                  <c:v>0</c:v>
                </c:pt>
                <c:pt idx="3993">
                  <c:v>0</c:v>
                </c:pt>
                <c:pt idx="3994">
                  <c:v>0</c:v>
                </c:pt>
                <c:pt idx="3995">
                  <c:v>0</c:v>
                </c:pt>
                <c:pt idx="3996">
                  <c:v>0</c:v>
                </c:pt>
                <c:pt idx="3997">
                  <c:v>0</c:v>
                </c:pt>
                <c:pt idx="3998">
                  <c:v>0</c:v>
                </c:pt>
                <c:pt idx="3999">
                  <c:v>0</c:v>
                </c:pt>
                <c:pt idx="4000">
                  <c:v>0</c:v>
                </c:pt>
                <c:pt idx="4001">
                  <c:v>0</c:v>
                </c:pt>
                <c:pt idx="4002">
                  <c:v>0</c:v>
                </c:pt>
                <c:pt idx="4003">
                  <c:v>0</c:v>
                </c:pt>
                <c:pt idx="4004">
                  <c:v>0</c:v>
                </c:pt>
                <c:pt idx="4005">
                  <c:v>0</c:v>
                </c:pt>
                <c:pt idx="4006">
                  <c:v>0</c:v>
                </c:pt>
                <c:pt idx="4007">
                  <c:v>0</c:v>
                </c:pt>
                <c:pt idx="4008">
                  <c:v>0</c:v>
                </c:pt>
                <c:pt idx="4009">
                  <c:v>0</c:v>
                </c:pt>
                <c:pt idx="4010">
                  <c:v>0</c:v>
                </c:pt>
                <c:pt idx="4011">
                  <c:v>0</c:v>
                </c:pt>
                <c:pt idx="4012">
                  <c:v>0</c:v>
                </c:pt>
                <c:pt idx="4013">
                  <c:v>0</c:v>
                </c:pt>
                <c:pt idx="4014">
                  <c:v>0</c:v>
                </c:pt>
                <c:pt idx="4015">
                  <c:v>0</c:v>
                </c:pt>
                <c:pt idx="4016">
                  <c:v>0</c:v>
                </c:pt>
                <c:pt idx="4017">
                  <c:v>0</c:v>
                </c:pt>
                <c:pt idx="4018">
                  <c:v>0</c:v>
                </c:pt>
                <c:pt idx="4019">
                  <c:v>0</c:v>
                </c:pt>
                <c:pt idx="4020">
                  <c:v>0</c:v>
                </c:pt>
                <c:pt idx="4021">
                  <c:v>0</c:v>
                </c:pt>
                <c:pt idx="4022">
                  <c:v>0</c:v>
                </c:pt>
                <c:pt idx="4023">
                  <c:v>0</c:v>
                </c:pt>
                <c:pt idx="4024">
                  <c:v>0</c:v>
                </c:pt>
                <c:pt idx="4025">
                  <c:v>0</c:v>
                </c:pt>
                <c:pt idx="4026">
                  <c:v>0</c:v>
                </c:pt>
                <c:pt idx="4027">
                  <c:v>0</c:v>
                </c:pt>
                <c:pt idx="4028">
                  <c:v>0</c:v>
                </c:pt>
                <c:pt idx="4029">
                  <c:v>0</c:v>
                </c:pt>
                <c:pt idx="4030">
                  <c:v>0</c:v>
                </c:pt>
                <c:pt idx="4031">
                  <c:v>0</c:v>
                </c:pt>
                <c:pt idx="4032">
                  <c:v>0</c:v>
                </c:pt>
                <c:pt idx="4033">
                  <c:v>0</c:v>
                </c:pt>
                <c:pt idx="4034">
                  <c:v>0</c:v>
                </c:pt>
                <c:pt idx="4035">
                  <c:v>0</c:v>
                </c:pt>
                <c:pt idx="4036">
                  <c:v>0</c:v>
                </c:pt>
                <c:pt idx="4037">
                  <c:v>0</c:v>
                </c:pt>
                <c:pt idx="4038">
                  <c:v>0</c:v>
                </c:pt>
                <c:pt idx="4039">
                  <c:v>0</c:v>
                </c:pt>
                <c:pt idx="4040">
                  <c:v>0</c:v>
                </c:pt>
                <c:pt idx="4041">
                  <c:v>0</c:v>
                </c:pt>
                <c:pt idx="4042">
                  <c:v>0</c:v>
                </c:pt>
                <c:pt idx="4043">
                  <c:v>0</c:v>
                </c:pt>
                <c:pt idx="4044">
                  <c:v>0</c:v>
                </c:pt>
                <c:pt idx="4045">
                  <c:v>0</c:v>
                </c:pt>
                <c:pt idx="4046">
                  <c:v>0</c:v>
                </c:pt>
                <c:pt idx="4047">
                  <c:v>0</c:v>
                </c:pt>
                <c:pt idx="4048">
                  <c:v>0</c:v>
                </c:pt>
                <c:pt idx="4049">
                  <c:v>0</c:v>
                </c:pt>
                <c:pt idx="4050">
                  <c:v>0</c:v>
                </c:pt>
                <c:pt idx="4051">
                  <c:v>0</c:v>
                </c:pt>
                <c:pt idx="4052">
                  <c:v>0</c:v>
                </c:pt>
                <c:pt idx="4053">
                  <c:v>0</c:v>
                </c:pt>
                <c:pt idx="4054">
                  <c:v>0</c:v>
                </c:pt>
                <c:pt idx="4055">
                  <c:v>0</c:v>
                </c:pt>
                <c:pt idx="4056">
                  <c:v>0</c:v>
                </c:pt>
                <c:pt idx="4057">
                  <c:v>0</c:v>
                </c:pt>
                <c:pt idx="4058">
                  <c:v>0</c:v>
                </c:pt>
                <c:pt idx="4059">
                  <c:v>0</c:v>
                </c:pt>
                <c:pt idx="4060">
                  <c:v>0</c:v>
                </c:pt>
                <c:pt idx="4061">
                  <c:v>0</c:v>
                </c:pt>
                <c:pt idx="4062">
                  <c:v>0</c:v>
                </c:pt>
                <c:pt idx="4063">
                  <c:v>0</c:v>
                </c:pt>
                <c:pt idx="4064">
                  <c:v>0</c:v>
                </c:pt>
                <c:pt idx="4065">
                  <c:v>0</c:v>
                </c:pt>
                <c:pt idx="4066">
                  <c:v>0</c:v>
                </c:pt>
                <c:pt idx="4067">
                  <c:v>0</c:v>
                </c:pt>
                <c:pt idx="4068">
                  <c:v>0</c:v>
                </c:pt>
                <c:pt idx="4069">
                  <c:v>0</c:v>
                </c:pt>
                <c:pt idx="4070">
                  <c:v>0</c:v>
                </c:pt>
                <c:pt idx="4071">
                  <c:v>0</c:v>
                </c:pt>
                <c:pt idx="4072">
                  <c:v>0</c:v>
                </c:pt>
                <c:pt idx="4073">
                  <c:v>0</c:v>
                </c:pt>
                <c:pt idx="4074">
                  <c:v>0</c:v>
                </c:pt>
                <c:pt idx="4075">
                  <c:v>0</c:v>
                </c:pt>
                <c:pt idx="4076">
                  <c:v>0</c:v>
                </c:pt>
                <c:pt idx="4077">
                  <c:v>0</c:v>
                </c:pt>
                <c:pt idx="4078">
                  <c:v>0</c:v>
                </c:pt>
                <c:pt idx="4079">
                  <c:v>0</c:v>
                </c:pt>
                <c:pt idx="4080">
                  <c:v>0</c:v>
                </c:pt>
                <c:pt idx="4081">
                  <c:v>0</c:v>
                </c:pt>
                <c:pt idx="4082">
                  <c:v>0</c:v>
                </c:pt>
                <c:pt idx="4083">
                  <c:v>0</c:v>
                </c:pt>
                <c:pt idx="4084">
                  <c:v>0</c:v>
                </c:pt>
                <c:pt idx="4085">
                  <c:v>0</c:v>
                </c:pt>
                <c:pt idx="4086">
                  <c:v>0</c:v>
                </c:pt>
                <c:pt idx="4087">
                  <c:v>0</c:v>
                </c:pt>
                <c:pt idx="4088">
                  <c:v>0</c:v>
                </c:pt>
                <c:pt idx="4089">
                  <c:v>0</c:v>
                </c:pt>
                <c:pt idx="4090">
                  <c:v>0</c:v>
                </c:pt>
                <c:pt idx="4091">
                  <c:v>0</c:v>
                </c:pt>
                <c:pt idx="4092">
                  <c:v>0</c:v>
                </c:pt>
                <c:pt idx="4093">
                  <c:v>0</c:v>
                </c:pt>
                <c:pt idx="4094">
                  <c:v>0</c:v>
                </c:pt>
                <c:pt idx="4095">
                  <c:v>0</c:v>
                </c:pt>
                <c:pt idx="4096">
                  <c:v>0</c:v>
                </c:pt>
                <c:pt idx="4097">
                  <c:v>0</c:v>
                </c:pt>
                <c:pt idx="4098">
                  <c:v>0</c:v>
                </c:pt>
                <c:pt idx="4099">
                  <c:v>0</c:v>
                </c:pt>
                <c:pt idx="4100">
                  <c:v>0</c:v>
                </c:pt>
                <c:pt idx="4101">
                  <c:v>0</c:v>
                </c:pt>
                <c:pt idx="4102">
                  <c:v>0</c:v>
                </c:pt>
                <c:pt idx="4103">
                  <c:v>0</c:v>
                </c:pt>
                <c:pt idx="4104">
                  <c:v>0</c:v>
                </c:pt>
                <c:pt idx="4105">
                  <c:v>0</c:v>
                </c:pt>
                <c:pt idx="4106">
                  <c:v>0</c:v>
                </c:pt>
                <c:pt idx="4107">
                  <c:v>0</c:v>
                </c:pt>
                <c:pt idx="4108">
                  <c:v>0</c:v>
                </c:pt>
                <c:pt idx="4109">
                  <c:v>0</c:v>
                </c:pt>
                <c:pt idx="4110">
                  <c:v>0</c:v>
                </c:pt>
                <c:pt idx="4111">
                  <c:v>0</c:v>
                </c:pt>
                <c:pt idx="4112">
                  <c:v>0</c:v>
                </c:pt>
                <c:pt idx="4113">
                  <c:v>0</c:v>
                </c:pt>
                <c:pt idx="4114">
                  <c:v>0</c:v>
                </c:pt>
                <c:pt idx="4115">
                  <c:v>0</c:v>
                </c:pt>
                <c:pt idx="4116">
                  <c:v>0</c:v>
                </c:pt>
                <c:pt idx="4117">
                  <c:v>0</c:v>
                </c:pt>
                <c:pt idx="4118">
                  <c:v>0</c:v>
                </c:pt>
                <c:pt idx="4119">
                  <c:v>0</c:v>
                </c:pt>
                <c:pt idx="4120">
                  <c:v>0</c:v>
                </c:pt>
                <c:pt idx="4121">
                  <c:v>0</c:v>
                </c:pt>
                <c:pt idx="4122">
                  <c:v>0</c:v>
                </c:pt>
                <c:pt idx="4123">
                  <c:v>0</c:v>
                </c:pt>
                <c:pt idx="4124">
                  <c:v>0</c:v>
                </c:pt>
                <c:pt idx="4125">
                  <c:v>0</c:v>
                </c:pt>
                <c:pt idx="4126">
                  <c:v>0</c:v>
                </c:pt>
                <c:pt idx="4127">
                  <c:v>0</c:v>
                </c:pt>
                <c:pt idx="4128">
                  <c:v>0</c:v>
                </c:pt>
                <c:pt idx="4129">
                  <c:v>0</c:v>
                </c:pt>
                <c:pt idx="4130">
                  <c:v>0</c:v>
                </c:pt>
                <c:pt idx="4131">
                  <c:v>0</c:v>
                </c:pt>
                <c:pt idx="4132">
                  <c:v>0</c:v>
                </c:pt>
                <c:pt idx="4133">
                  <c:v>0</c:v>
                </c:pt>
                <c:pt idx="4134">
                  <c:v>0</c:v>
                </c:pt>
                <c:pt idx="4135">
                  <c:v>0</c:v>
                </c:pt>
                <c:pt idx="4136">
                  <c:v>0</c:v>
                </c:pt>
                <c:pt idx="4137">
                  <c:v>0</c:v>
                </c:pt>
                <c:pt idx="4138">
                  <c:v>0</c:v>
                </c:pt>
                <c:pt idx="4139">
                  <c:v>0</c:v>
                </c:pt>
                <c:pt idx="4140">
                  <c:v>0</c:v>
                </c:pt>
                <c:pt idx="4141">
                  <c:v>0</c:v>
                </c:pt>
                <c:pt idx="4142">
                  <c:v>0</c:v>
                </c:pt>
                <c:pt idx="4143">
                  <c:v>0</c:v>
                </c:pt>
                <c:pt idx="4144">
                  <c:v>0</c:v>
                </c:pt>
                <c:pt idx="4145">
                  <c:v>0</c:v>
                </c:pt>
                <c:pt idx="4146">
                  <c:v>0</c:v>
                </c:pt>
                <c:pt idx="4147">
                  <c:v>0</c:v>
                </c:pt>
                <c:pt idx="4148">
                  <c:v>0</c:v>
                </c:pt>
                <c:pt idx="4149">
                  <c:v>0</c:v>
                </c:pt>
                <c:pt idx="4150">
                  <c:v>0</c:v>
                </c:pt>
                <c:pt idx="4151">
                  <c:v>0</c:v>
                </c:pt>
                <c:pt idx="4152">
                  <c:v>0</c:v>
                </c:pt>
                <c:pt idx="4153">
                  <c:v>0</c:v>
                </c:pt>
                <c:pt idx="4154">
                  <c:v>0</c:v>
                </c:pt>
                <c:pt idx="4155">
                  <c:v>0</c:v>
                </c:pt>
                <c:pt idx="4156">
                  <c:v>0</c:v>
                </c:pt>
                <c:pt idx="4157">
                  <c:v>0</c:v>
                </c:pt>
                <c:pt idx="4158">
                  <c:v>0</c:v>
                </c:pt>
                <c:pt idx="4159">
                  <c:v>0</c:v>
                </c:pt>
                <c:pt idx="4160">
                  <c:v>0</c:v>
                </c:pt>
                <c:pt idx="4161">
                  <c:v>0</c:v>
                </c:pt>
                <c:pt idx="4162">
                  <c:v>0</c:v>
                </c:pt>
                <c:pt idx="4163">
                  <c:v>0</c:v>
                </c:pt>
                <c:pt idx="4164">
                  <c:v>0</c:v>
                </c:pt>
                <c:pt idx="4165">
                  <c:v>0</c:v>
                </c:pt>
                <c:pt idx="4166">
                  <c:v>0</c:v>
                </c:pt>
                <c:pt idx="4167">
                  <c:v>0</c:v>
                </c:pt>
                <c:pt idx="4168">
                  <c:v>0</c:v>
                </c:pt>
                <c:pt idx="4169">
                  <c:v>0</c:v>
                </c:pt>
                <c:pt idx="4170">
                  <c:v>0</c:v>
                </c:pt>
                <c:pt idx="4171">
                  <c:v>0</c:v>
                </c:pt>
                <c:pt idx="4172">
                  <c:v>0</c:v>
                </c:pt>
                <c:pt idx="4173">
                  <c:v>0</c:v>
                </c:pt>
                <c:pt idx="4174">
                  <c:v>0</c:v>
                </c:pt>
                <c:pt idx="4175">
                  <c:v>0</c:v>
                </c:pt>
                <c:pt idx="4176">
                  <c:v>0</c:v>
                </c:pt>
                <c:pt idx="4177">
                  <c:v>0</c:v>
                </c:pt>
                <c:pt idx="4178">
                  <c:v>0</c:v>
                </c:pt>
                <c:pt idx="4179">
                  <c:v>0</c:v>
                </c:pt>
                <c:pt idx="4180">
                  <c:v>0</c:v>
                </c:pt>
                <c:pt idx="4181">
                  <c:v>0</c:v>
                </c:pt>
                <c:pt idx="4182">
                  <c:v>0</c:v>
                </c:pt>
                <c:pt idx="4183">
                  <c:v>0</c:v>
                </c:pt>
                <c:pt idx="4184">
                  <c:v>0</c:v>
                </c:pt>
                <c:pt idx="4185">
                  <c:v>0</c:v>
                </c:pt>
                <c:pt idx="4186">
                  <c:v>0</c:v>
                </c:pt>
                <c:pt idx="4187">
                  <c:v>0</c:v>
                </c:pt>
                <c:pt idx="4188">
                  <c:v>0</c:v>
                </c:pt>
                <c:pt idx="4189">
                  <c:v>0</c:v>
                </c:pt>
                <c:pt idx="4190">
                  <c:v>0</c:v>
                </c:pt>
                <c:pt idx="4191">
                  <c:v>0</c:v>
                </c:pt>
                <c:pt idx="4192">
                  <c:v>0</c:v>
                </c:pt>
                <c:pt idx="4193">
                  <c:v>0</c:v>
                </c:pt>
                <c:pt idx="4194">
                  <c:v>0</c:v>
                </c:pt>
                <c:pt idx="4195">
                  <c:v>0</c:v>
                </c:pt>
                <c:pt idx="4196">
                  <c:v>0</c:v>
                </c:pt>
                <c:pt idx="4197">
                  <c:v>0</c:v>
                </c:pt>
                <c:pt idx="4198">
                  <c:v>0</c:v>
                </c:pt>
                <c:pt idx="4199">
                  <c:v>0</c:v>
                </c:pt>
                <c:pt idx="4200">
                  <c:v>0</c:v>
                </c:pt>
                <c:pt idx="4201">
                  <c:v>0</c:v>
                </c:pt>
                <c:pt idx="4202">
                  <c:v>0</c:v>
                </c:pt>
                <c:pt idx="4203">
                  <c:v>0</c:v>
                </c:pt>
                <c:pt idx="4204">
                  <c:v>0</c:v>
                </c:pt>
                <c:pt idx="4205">
                  <c:v>0</c:v>
                </c:pt>
                <c:pt idx="4206">
                  <c:v>0</c:v>
                </c:pt>
                <c:pt idx="4207">
                  <c:v>0</c:v>
                </c:pt>
                <c:pt idx="4208">
                  <c:v>0</c:v>
                </c:pt>
                <c:pt idx="4209">
                  <c:v>0</c:v>
                </c:pt>
                <c:pt idx="4210">
                  <c:v>0</c:v>
                </c:pt>
                <c:pt idx="4211">
                  <c:v>0</c:v>
                </c:pt>
                <c:pt idx="4212">
                  <c:v>0</c:v>
                </c:pt>
                <c:pt idx="4213">
                  <c:v>0</c:v>
                </c:pt>
                <c:pt idx="4214">
                  <c:v>0</c:v>
                </c:pt>
                <c:pt idx="4215">
                  <c:v>0</c:v>
                </c:pt>
                <c:pt idx="4216">
                  <c:v>0</c:v>
                </c:pt>
                <c:pt idx="4217">
                  <c:v>0</c:v>
                </c:pt>
                <c:pt idx="4218">
                  <c:v>0</c:v>
                </c:pt>
                <c:pt idx="4219">
                  <c:v>0</c:v>
                </c:pt>
                <c:pt idx="4220">
                  <c:v>0</c:v>
                </c:pt>
                <c:pt idx="4221">
                  <c:v>0</c:v>
                </c:pt>
                <c:pt idx="4222">
                  <c:v>0</c:v>
                </c:pt>
                <c:pt idx="4223">
                  <c:v>0</c:v>
                </c:pt>
                <c:pt idx="4224">
                  <c:v>0</c:v>
                </c:pt>
                <c:pt idx="4225">
                  <c:v>0</c:v>
                </c:pt>
                <c:pt idx="4226">
                  <c:v>0</c:v>
                </c:pt>
                <c:pt idx="4227">
                  <c:v>0</c:v>
                </c:pt>
                <c:pt idx="4228">
                  <c:v>0</c:v>
                </c:pt>
                <c:pt idx="4229">
                  <c:v>0</c:v>
                </c:pt>
                <c:pt idx="4230">
                  <c:v>0</c:v>
                </c:pt>
                <c:pt idx="4231">
                  <c:v>0</c:v>
                </c:pt>
                <c:pt idx="4232">
                  <c:v>0</c:v>
                </c:pt>
                <c:pt idx="4233">
                  <c:v>0</c:v>
                </c:pt>
                <c:pt idx="4234">
                  <c:v>0</c:v>
                </c:pt>
                <c:pt idx="4235">
                  <c:v>0</c:v>
                </c:pt>
                <c:pt idx="4236">
                  <c:v>0</c:v>
                </c:pt>
                <c:pt idx="4237">
                  <c:v>0</c:v>
                </c:pt>
                <c:pt idx="4238">
                  <c:v>0</c:v>
                </c:pt>
                <c:pt idx="4239">
                  <c:v>0</c:v>
                </c:pt>
                <c:pt idx="4240">
                  <c:v>0</c:v>
                </c:pt>
                <c:pt idx="4241">
                  <c:v>0</c:v>
                </c:pt>
                <c:pt idx="4242">
                  <c:v>0</c:v>
                </c:pt>
                <c:pt idx="4243">
                  <c:v>0</c:v>
                </c:pt>
                <c:pt idx="4244">
                  <c:v>0</c:v>
                </c:pt>
                <c:pt idx="4245">
                  <c:v>0</c:v>
                </c:pt>
                <c:pt idx="4246">
                  <c:v>0</c:v>
                </c:pt>
                <c:pt idx="4247">
                  <c:v>0</c:v>
                </c:pt>
                <c:pt idx="4248">
                  <c:v>0</c:v>
                </c:pt>
                <c:pt idx="4249">
                  <c:v>0</c:v>
                </c:pt>
                <c:pt idx="4250">
                  <c:v>0</c:v>
                </c:pt>
                <c:pt idx="4251">
                  <c:v>0</c:v>
                </c:pt>
                <c:pt idx="4252">
                  <c:v>0</c:v>
                </c:pt>
                <c:pt idx="4253">
                  <c:v>0</c:v>
                </c:pt>
                <c:pt idx="4254">
                  <c:v>0</c:v>
                </c:pt>
                <c:pt idx="4255">
                  <c:v>0</c:v>
                </c:pt>
                <c:pt idx="4256">
                  <c:v>0</c:v>
                </c:pt>
                <c:pt idx="4257">
                  <c:v>0</c:v>
                </c:pt>
                <c:pt idx="4258">
                  <c:v>0</c:v>
                </c:pt>
                <c:pt idx="4259">
                  <c:v>0</c:v>
                </c:pt>
                <c:pt idx="4260">
                  <c:v>0</c:v>
                </c:pt>
                <c:pt idx="4261">
                  <c:v>0</c:v>
                </c:pt>
                <c:pt idx="4262">
                  <c:v>0</c:v>
                </c:pt>
                <c:pt idx="4263">
                  <c:v>0</c:v>
                </c:pt>
                <c:pt idx="4264">
                  <c:v>0</c:v>
                </c:pt>
                <c:pt idx="4265">
                  <c:v>0</c:v>
                </c:pt>
                <c:pt idx="4266">
                  <c:v>0</c:v>
                </c:pt>
                <c:pt idx="4267">
                  <c:v>0</c:v>
                </c:pt>
                <c:pt idx="4268">
                  <c:v>0</c:v>
                </c:pt>
                <c:pt idx="4269">
                  <c:v>0</c:v>
                </c:pt>
                <c:pt idx="4270">
                  <c:v>0</c:v>
                </c:pt>
                <c:pt idx="4271">
                  <c:v>0</c:v>
                </c:pt>
                <c:pt idx="4272">
                  <c:v>0</c:v>
                </c:pt>
                <c:pt idx="4273">
                  <c:v>0</c:v>
                </c:pt>
                <c:pt idx="4274">
                  <c:v>0</c:v>
                </c:pt>
                <c:pt idx="4275">
                  <c:v>0</c:v>
                </c:pt>
                <c:pt idx="4276">
                  <c:v>0</c:v>
                </c:pt>
                <c:pt idx="4277">
                  <c:v>0</c:v>
                </c:pt>
                <c:pt idx="4278">
                  <c:v>0</c:v>
                </c:pt>
                <c:pt idx="4279">
                  <c:v>0</c:v>
                </c:pt>
                <c:pt idx="4280">
                  <c:v>0</c:v>
                </c:pt>
                <c:pt idx="4281">
                  <c:v>0</c:v>
                </c:pt>
                <c:pt idx="4282">
                  <c:v>0</c:v>
                </c:pt>
                <c:pt idx="4283">
                  <c:v>0</c:v>
                </c:pt>
                <c:pt idx="4284">
                  <c:v>0</c:v>
                </c:pt>
                <c:pt idx="4285">
                  <c:v>0</c:v>
                </c:pt>
                <c:pt idx="4286">
                  <c:v>0</c:v>
                </c:pt>
                <c:pt idx="4287">
                  <c:v>0</c:v>
                </c:pt>
                <c:pt idx="4288">
                  <c:v>0</c:v>
                </c:pt>
                <c:pt idx="4289">
                  <c:v>0</c:v>
                </c:pt>
                <c:pt idx="4290">
                  <c:v>0</c:v>
                </c:pt>
                <c:pt idx="4291">
                  <c:v>0</c:v>
                </c:pt>
                <c:pt idx="4292">
                  <c:v>0</c:v>
                </c:pt>
                <c:pt idx="4293">
                  <c:v>0</c:v>
                </c:pt>
                <c:pt idx="4294">
                  <c:v>0</c:v>
                </c:pt>
                <c:pt idx="4295">
                  <c:v>0</c:v>
                </c:pt>
                <c:pt idx="4296">
                  <c:v>0</c:v>
                </c:pt>
                <c:pt idx="4297">
                  <c:v>0</c:v>
                </c:pt>
                <c:pt idx="4298">
                  <c:v>0</c:v>
                </c:pt>
                <c:pt idx="4299">
                  <c:v>0</c:v>
                </c:pt>
                <c:pt idx="4300">
                  <c:v>0</c:v>
                </c:pt>
                <c:pt idx="4301">
                  <c:v>0</c:v>
                </c:pt>
                <c:pt idx="4302">
                  <c:v>0</c:v>
                </c:pt>
                <c:pt idx="4303">
                  <c:v>0</c:v>
                </c:pt>
                <c:pt idx="4304">
                  <c:v>0</c:v>
                </c:pt>
                <c:pt idx="4305">
                  <c:v>0</c:v>
                </c:pt>
                <c:pt idx="4306">
                  <c:v>0</c:v>
                </c:pt>
                <c:pt idx="4307">
                  <c:v>0</c:v>
                </c:pt>
                <c:pt idx="4308">
                  <c:v>0</c:v>
                </c:pt>
                <c:pt idx="4309">
                  <c:v>0</c:v>
                </c:pt>
                <c:pt idx="4310">
                  <c:v>0</c:v>
                </c:pt>
                <c:pt idx="4311">
                  <c:v>0</c:v>
                </c:pt>
                <c:pt idx="4312">
                  <c:v>0</c:v>
                </c:pt>
                <c:pt idx="4313">
                  <c:v>0</c:v>
                </c:pt>
                <c:pt idx="4314">
                  <c:v>0</c:v>
                </c:pt>
                <c:pt idx="4315">
                  <c:v>0</c:v>
                </c:pt>
                <c:pt idx="4316">
                  <c:v>0</c:v>
                </c:pt>
                <c:pt idx="4317">
                  <c:v>0</c:v>
                </c:pt>
                <c:pt idx="4318">
                  <c:v>0</c:v>
                </c:pt>
                <c:pt idx="4319">
                  <c:v>0</c:v>
                </c:pt>
                <c:pt idx="4320">
                  <c:v>0</c:v>
                </c:pt>
                <c:pt idx="4321">
                  <c:v>0</c:v>
                </c:pt>
                <c:pt idx="4322">
                  <c:v>0</c:v>
                </c:pt>
                <c:pt idx="4323">
                  <c:v>0</c:v>
                </c:pt>
                <c:pt idx="4324">
                  <c:v>0</c:v>
                </c:pt>
                <c:pt idx="4325">
                  <c:v>0</c:v>
                </c:pt>
                <c:pt idx="4326">
                  <c:v>0</c:v>
                </c:pt>
                <c:pt idx="4327">
                  <c:v>0</c:v>
                </c:pt>
                <c:pt idx="4328">
                  <c:v>0</c:v>
                </c:pt>
                <c:pt idx="4329">
                  <c:v>0</c:v>
                </c:pt>
                <c:pt idx="4330">
                  <c:v>0</c:v>
                </c:pt>
                <c:pt idx="4331">
                  <c:v>0</c:v>
                </c:pt>
                <c:pt idx="4332">
                  <c:v>0</c:v>
                </c:pt>
                <c:pt idx="4333">
                  <c:v>0</c:v>
                </c:pt>
                <c:pt idx="4334">
                  <c:v>0</c:v>
                </c:pt>
                <c:pt idx="4335">
                  <c:v>0</c:v>
                </c:pt>
                <c:pt idx="4336">
                  <c:v>0</c:v>
                </c:pt>
                <c:pt idx="4337">
                  <c:v>0</c:v>
                </c:pt>
                <c:pt idx="4338">
                  <c:v>0</c:v>
                </c:pt>
                <c:pt idx="4339">
                  <c:v>0</c:v>
                </c:pt>
                <c:pt idx="4340">
                  <c:v>0</c:v>
                </c:pt>
                <c:pt idx="4341">
                  <c:v>0</c:v>
                </c:pt>
                <c:pt idx="4342">
                  <c:v>0</c:v>
                </c:pt>
                <c:pt idx="4343">
                  <c:v>0</c:v>
                </c:pt>
                <c:pt idx="4344">
                  <c:v>0</c:v>
                </c:pt>
                <c:pt idx="4345">
                  <c:v>0</c:v>
                </c:pt>
                <c:pt idx="4346">
                  <c:v>0</c:v>
                </c:pt>
                <c:pt idx="4347">
                  <c:v>0</c:v>
                </c:pt>
                <c:pt idx="4348">
                  <c:v>0</c:v>
                </c:pt>
                <c:pt idx="4349">
                  <c:v>0</c:v>
                </c:pt>
                <c:pt idx="4350">
                  <c:v>0</c:v>
                </c:pt>
                <c:pt idx="4351">
                  <c:v>0</c:v>
                </c:pt>
                <c:pt idx="4352">
                  <c:v>0</c:v>
                </c:pt>
                <c:pt idx="4353">
                  <c:v>0</c:v>
                </c:pt>
                <c:pt idx="4354">
                  <c:v>0</c:v>
                </c:pt>
                <c:pt idx="4355">
                  <c:v>0</c:v>
                </c:pt>
                <c:pt idx="4356">
                  <c:v>0</c:v>
                </c:pt>
                <c:pt idx="4357">
                  <c:v>0</c:v>
                </c:pt>
                <c:pt idx="4358">
                  <c:v>0</c:v>
                </c:pt>
                <c:pt idx="4359">
                  <c:v>0</c:v>
                </c:pt>
                <c:pt idx="4360">
                  <c:v>0</c:v>
                </c:pt>
                <c:pt idx="4361">
                  <c:v>0</c:v>
                </c:pt>
                <c:pt idx="4362">
                  <c:v>0</c:v>
                </c:pt>
                <c:pt idx="4363">
                  <c:v>0</c:v>
                </c:pt>
                <c:pt idx="4364">
                  <c:v>0</c:v>
                </c:pt>
                <c:pt idx="4365">
                  <c:v>0</c:v>
                </c:pt>
                <c:pt idx="4366">
                  <c:v>0</c:v>
                </c:pt>
                <c:pt idx="4367">
                  <c:v>0</c:v>
                </c:pt>
                <c:pt idx="4368">
                  <c:v>0</c:v>
                </c:pt>
                <c:pt idx="4369">
                  <c:v>0</c:v>
                </c:pt>
                <c:pt idx="4370">
                  <c:v>0</c:v>
                </c:pt>
                <c:pt idx="4371">
                  <c:v>0</c:v>
                </c:pt>
                <c:pt idx="4372">
                  <c:v>0</c:v>
                </c:pt>
                <c:pt idx="4373">
                  <c:v>0</c:v>
                </c:pt>
                <c:pt idx="4374">
                  <c:v>0</c:v>
                </c:pt>
                <c:pt idx="4375">
                  <c:v>0</c:v>
                </c:pt>
                <c:pt idx="4376">
                  <c:v>0</c:v>
                </c:pt>
                <c:pt idx="4377">
                  <c:v>0</c:v>
                </c:pt>
                <c:pt idx="4378">
                  <c:v>0</c:v>
                </c:pt>
                <c:pt idx="4379">
                  <c:v>0</c:v>
                </c:pt>
                <c:pt idx="4380">
                  <c:v>0</c:v>
                </c:pt>
                <c:pt idx="4381">
                  <c:v>0</c:v>
                </c:pt>
                <c:pt idx="4382">
                  <c:v>0</c:v>
                </c:pt>
                <c:pt idx="4383">
                  <c:v>0</c:v>
                </c:pt>
                <c:pt idx="4384">
                  <c:v>0</c:v>
                </c:pt>
                <c:pt idx="4385">
                  <c:v>0</c:v>
                </c:pt>
                <c:pt idx="4386">
                  <c:v>0</c:v>
                </c:pt>
                <c:pt idx="4387">
                  <c:v>0</c:v>
                </c:pt>
                <c:pt idx="4388">
                  <c:v>0</c:v>
                </c:pt>
                <c:pt idx="4389">
                  <c:v>0</c:v>
                </c:pt>
                <c:pt idx="4390">
                  <c:v>0</c:v>
                </c:pt>
                <c:pt idx="4391">
                  <c:v>0</c:v>
                </c:pt>
                <c:pt idx="4392">
                  <c:v>0</c:v>
                </c:pt>
                <c:pt idx="4393">
                  <c:v>0</c:v>
                </c:pt>
                <c:pt idx="4394">
                  <c:v>0</c:v>
                </c:pt>
                <c:pt idx="4395">
                  <c:v>0</c:v>
                </c:pt>
                <c:pt idx="4396">
                  <c:v>0</c:v>
                </c:pt>
                <c:pt idx="4397">
                  <c:v>0</c:v>
                </c:pt>
                <c:pt idx="4398">
                  <c:v>0</c:v>
                </c:pt>
                <c:pt idx="4399">
                  <c:v>0</c:v>
                </c:pt>
                <c:pt idx="4400">
                  <c:v>0</c:v>
                </c:pt>
                <c:pt idx="4401">
                  <c:v>0</c:v>
                </c:pt>
                <c:pt idx="4402">
                  <c:v>0</c:v>
                </c:pt>
                <c:pt idx="4403">
                  <c:v>0</c:v>
                </c:pt>
                <c:pt idx="4404">
                  <c:v>0</c:v>
                </c:pt>
                <c:pt idx="4405">
                  <c:v>0</c:v>
                </c:pt>
                <c:pt idx="4406">
                  <c:v>0</c:v>
                </c:pt>
                <c:pt idx="4407">
                  <c:v>0</c:v>
                </c:pt>
                <c:pt idx="4408">
                  <c:v>0</c:v>
                </c:pt>
                <c:pt idx="4409">
                  <c:v>0</c:v>
                </c:pt>
                <c:pt idx="4410">
                  <c:v>0</c:v>
                </c:pt>
                <c:pt idx="4411">
                  <c:v>0</c:v>
                </c:pt>
                <c:pt idx="4412">
                  <c:v>0</c:v>
                </c:pt>
                <c:pt idx="4413">
                  <c:v>0</c:v>
                </c:pt>
                <c:pt idx="4414">
                  <c:v>0</c:v>
                </c:pt>
                <c:pt idx="4415">
                  <c:v>0</c:v>
                </c:pt>
                <c:pt idx="4416">
                  <c:v>0</c:v>
                </c:pt>
                <c:pt idx="4417">
                  <c:v>0</c:v>
                </c:pt>
                <c:pt idx="4418">
                  <c:v>0</c:v>
                </c:pt>
                <c:pt idx="4419">
                  <c:v>0</c:v>
                </c:pt>
                <c:pt idx="4420">
                  <c:v>0</c:v>
                </c:pt>
                <c:pt idx="4421">
                  <c:v>0</c:v>
                </c:pt>
                <c:pt idx="4422">
                  <c:v>0</c:v>
                </c:pt>
                <c:pt idx="4423">
                  <c:v>0</c:v>
                </c:pt>
                <c:pt idx="4424">
                  <c:v>0</c:v>
                </c:pt>
                <c:pt idx="4425">
                  <c:v>0</c:v>
                </c:pt>
                <c:pt idx="4426">
                  <c:v>0</c:v>
                </c:pt>
                <c:pt idx="4427">
                  <c:v>0</c:v>
                </c:pt>
                <c:pt idx="4428">
                  <c:v>0</c:v>
                </c:pt>
                <c:pt idx="4429">
                  <c:v>0</c:v>
                </c:pt>
                <c:pt idx="4430">
                  <c:v>0</c:v>
                </c:pt>
                <c:pt idx="4431">
                  <c:v>0</c:v>
                </c:pt>
                <c:pt idx="4432">
                  <c:v>0</c:v>
                </c:pt>
                <c:pt idx="4433">
                  <c:v>0</c:v>
                </c:pt>
                <c:pt idx="4434">
                  <c:v>0</c:v>
                </c:pt>
                <c:pt idx="4435">
                  <c:v>0</c:v>
                </c:pt>
                <c:pt idx="4436">
                  <c:v>0</c:v>
                </c:pt>
                <c:pt idx="4437">
                  <c:v>0</c:v>
                </c:pt>
                <c:pt idx="4438">
                  <c:v>0</c:v>
                </c:pt>
                <c:pt idx="4439">
                  <c:v>0</c:v>
                </c:pt>
                <c:pt idx="4440">
                  <c:v>0</c:v>
                </c:pt>
                <c:pt idx="4441">
                  <c:v>0</c:v>
                </c:pt>
                <c:pt idx="4442">
                  <c:v>0</c:v>
                </c:pt>
                <c:pt idx="4443">
                  <c:v>0</c:v>
                </c:pt>
                <c:pt idx="4444">
                  <c:v>0</c:v>
                </c:pt>
                <c:pt idx="4445">
                  <c:v>0</c:v>
                </c:pt>
                <c:pt idx="4446">
                  <c:v>0</c:v>
                </c:pt>
                <c:pt idx="4447">
                  <c:v>0</c:v>
                </c:pt>
                <c:pt idx="4448">
                  <c:v>0</c:v>
                </c:pt>
                <c:pt idx="4449">
                  <c:v>0</c:v>
                </c:pt>
                <c:pt idx="4450">
                  <c:v>0</c:v>
                </c:pt>
                <c:pt idx="4451">
                  <c:v>0</c:v>
                </c:pt>
                <c:pt idx="4452">
                  <c:v>0</c:v>
                </c:pt>
                <c:pt idx="4453">
                  <c:v>0</c:v>
                </c:pt>
                <c:pt idx="4454">
                  <c:v>0</c:v>
                </c:pt>
                <c:pt idx="4455">
                  <c:v>0</c:v>
                </c:pt>
                <c:pt idx="4456">
                  <c:v>0</c:v>
                </c:pt>
                <c:pt idx="4457">
                  <c:v>0</c:v>
                </c:pt>
                <c:pt idx="4458">
                  <c:v>0</c:v>
                </c:pt>
                <c:pt idx="4459">
                  <c:v>0</c:v>
                </c:pt>
                <c:pt idx="4460">
                  <c:v>0</c:v>
                </c:pt>
                <c:pt idx="4461">
                  <c:v>0</c:v>
                </c:pt>
                <c:pt idx="4462">
                  <c:v>0</c:v>
                </c:pt>
                <c:pt idx="4463">
                  <c:v>0</c:v>
                </c:pt>
                <c:pt idx="4464">
                  <c:v>0</c:v>
                </c:pt>
                <c:pt idx="4465">
                  <c:v>0</c:v>
                </c:pt>
                <c:pt idx="4466">
                  <c:v>0</c:v>
                </c:pt>
                <c:pt idx="4467">
                  <c:v>0</c:v>
                </c:pt>
                <c:pt idx="4468">
                  <c:v>0</c:v>
                </c:pt>
                <c:pt idx="4469">
                  <c:v>0</c:v>
                </c:pt>
                <c:pt idx="4470">
                  <c:v>0</c:v>
                </c:pt>
                <c:pt idx="4471">
                  <c:v>0</c:v>
                </c:pt>
                <c:pt idx="4472">
                  <c:v>0</c:v>
                </c:pt>
                <c:pt idx="4473">
                  <c:v>0</c:v>
                </c:pt>
                <c:pt idx="4474">
                  <c:v>0</c:v>
                </c:pt>
                <c:pt idx="4475">
                  <c:v>0</c:v>
                </c:pt>
                <c:pt idx="4476">
                  <c:v>0</c:v>
                </c:pt>
                <c:pt idx="4477">
                  <c:v>0</c:v>
                </c:pt>
                <c:pt idx="4478">
                  <c:v>0</c:v>
                </c:pt>
                <c:pt idx="4479">
                  <c:v>0</c:v>
                </c:pt>
                <c:pt idx="4480">
                  <c:v>0</c:v>
                </c:pt>
                <c:pt idx="4481">
                  <c:v>0</c:v>
                </c:pt>
                <c:pt idx="4482">
                  <c:v>0</c:v>
                </c:pt>
                <c:pt idx="4483">
                  <c:v>0</c:v>
                </c:pt>
                <c:pt idx="4484">
                  <c:v>0</c:v>
                </c:pt>
                <c:pt idx="4485">
                  <c:v>0</c:v>
                </c:pt>
                <c:pt idx="4486">
                  <c:v>0</c:v>
                </c:pt>
                <c:pt idx="4487">
                  <c:v>0</c:v>
                </c:pt>
                <c:pt idx="4488">
                  <c:v>0</c:v>
                </c:pt>
                <c:pt idx="4489">
                  <c:v>0</c:v>
                </c:pt>
                <c:pt idx="4490">
                  <c:v>0</c:v>
                </c:pt>
                <c:pt idx="4491">
                  <c:v>0</c:v>
                </c:pt>
                <c:pt idx="4492">
                  <c:v>0</c:v>
                </c:pt>
                <c:pt idx="4493">
                  <c:v>0</c:v>
                </c:pt>
                <c:pt idx="4494">
                  <c:v>0</c:v>
                </c:pt>
                <c:pt idx="4495">
                  <c:v>0</c:v>
                </c:pt>
                <c:pt idx="4496">
                  <c:v>0</c:v>
                </c:pt>
                <c:pt idx="4497">
                  <c:v>0</c:v>
                </c:pt>
                <c:pt idx="4498">
                  <c:v>0</c:v>
                </c:pt>
                <c:pt idx="4499">
                  <c:v>0</c:v>
                </c:pt>
                <c:pt idx="4500">
                  <c:v>0</c:v>
                </c:pt>
                <c:pt idx="4501">
                  <c:v>0</c:v>
                </c:pt>
                <c:pt idx="4502">
                  <c:v>0</c:v>
                </c:pt>
                <c:pt idx="4503">
                  <c:v>0</c:v>
                </c:pt>
                <c:pt idx="4504">
                  <c:v>0</c:v>
                </c:pt>
                <c:pt idx="4505">
                  <c:v>0</c:v>
                </c:pt>
                <c:pt idx="4506">
                  <c:v>0</c:v>
                </c:pt>
                <c:pt idx="4507">
                  <c:v>0</c:v>
                </c:pt>
                <c:pt idx="4508">
                  <c:v>0</c:v>
                </c:pt>
                <c:pt idx="4509">
                  <c:v>0</c:v>
                </c:pt>
                <c:pt idx="4510">
                  <c:v>0</c:v>
                </c:pt>
                <c:pt idx="4511">
                  <c:v>0</c:v>
                </c:pt>
                <c:pt idx="4512">
                  <c:v>0</c:v>
                </c:pt>
                <c:pt idx="4513">
                  <c:v>0</c:v>
                </c:pt>
                <c:pt idx="4514">
                  <c:v>0</c:v>
                </c:pt>
                <c:pt idx="4515">
                  <c:v>0</c:v>
                </c:pt>
                <c:pt idx="4516">
                  <c:v>0</c:v>
                </c:pt>
                <c:pt idx="4517">
                  <c:v>0</c:v>
                </c:pt>
                <c:pt idx="4518">
                  <c:v>0</c:v>
                </c:pt>
                <c:pt idx="4519">
                  <c:v>0</c:v>
                </c:pt>
                <c:pt idx="4520">
                  <c:v>0</c:v>
                </c:pt>
                <c:pt idx="4521">
                  <c:v>0</c:v>
                </c:pt>
                <c:pt idx="4522">
                  <c:v>0</c:v>
                </c:pt>
                <c:pt idx="4523">
                  <c:v>0</c:v>
                </c:pt>
                <c:pt idx="4524">
                  <c:v>0</c:v>
                </c:pt>
                <c:pt idx="4525">
                  <c:v>0</c:v>
                </c:pt>
                <c:pt idx="4526">
                  <c:v>0</c:v>
                </c:pt>
                <c:pt idx="4527">
                  <c:v>0</c:v>
                </c:pt>
                <c:pt idx="4528">
                  <c:v>0</c:v>
                </c:pt>
                <c:pt idx="4529">
                  <c:v>0</c:v>
                </c:pt>
                <c:pt idx="4530">
                  <c:v>0</c:v>
                </c:pt>
                <c:pt idx="4531">
                  <c:v>0</c:v>
                </c:pt>
                <c:pt idx="4532">
                  <c:v>0</c:v>
                </c:pt>
                <c:pt idx="4533">
                  <c:v>0</c:v>
                </c:pt>
                <c:pt idx="4534">
                  <c:v>0</c:v>
                </c:pt>
                <c:pt idx="4535">
                  <c:v>0</c:v>
                </c:pt>
                <c:pt idx="4536">
                  <c:v>0</c:v>
                </c:pt>
                <c:pt idx="4537">
                  <c:v>0</c:v>
                </c:pt>
                <c:pt idx="4538">
                  <c:v>0</c:v>
                </c:pt>
                <c:pt idx="4539">
                  <c:v>0</c:v>
                </c:pt>
                <c:pt idx="4540">
                  <c:v>0</c:v>
                </c:pt>
                <c:pt idx="4541">
                  <c:v>0</c:v>
                </c:pt>
                <c:pt idx="4542">
                  <c:v>0</c:v>
                </c:pt>
                <c:pt idx="4543">
                  <c:v>0</c:v>
                </c:pt>
                <c:pt idx="4544">
                  <c:v>0</c:v>
                </c:pt>
                <c:pt idx="4545">
                  <c:v>0</c:v>
                </c:pt>
                <c:pt idx="4546">
                  <c:v>0</c:v>
                </c:pt>
                <c:pt idx="4547">
                  <c:v>0</c:v>
                </c:pt>
                <c:pt idx="4548">
                  <c:v>0</c:v>
                </c:pt>
                <c:pt idx="4549">
                  <c:v>0</c:v>
                </c:pt>
                <c:pt idx="4550">
                  <c:v>0</c:v>
                </c:pt>
                <c:pt idx="4551">
                  <c:v>0</c:v>
                </c:pt>
                <c:pt idx="4552">
                  <c:v>0</c:v>
                </c:pt>
                <c:pt idx="4553">
                  <c:v>0</c:v>
                </c:pt>
                <c:pt idx="4554">
                  <c:v>0</c:v>
                </c:pt>
                <c:pt idx="4555">
                  <c:v>0</c:v>
                </c:pt>
                <c:pt idx="4556">
                  <c:v>0</c:v>
                </c:pt>
                <c:pt idx="4557">
                  <c:v>0</c:v>
                </c:pt>
                <c:pt idx="4558">
                  <c:v>0</c:v>
                </c:pt>
                <c:pt idx="4559">
                  <c:v>0</c:v>
                </c:pt>
                <c:pt idx="4560">
                  <c:v>0</c:v>
                </c:pt>
                <c:pt idx="4561">
                  <c:v>0</c:v>
                </c:pt>
                <c:pt idx="4562">
                  <c:v>0</c:v>
                </c:pt>
                <c:pt idx="4563">
                  <c:v>0</c:v>
                </c:pt>
                <c:pt idx="4564">
                  <c:v>0</c:v>
                </c:pt>
                <c:pt idx="4565">
                  <c:v>0</c:v>
                </c:pt>
                <c:pt idx="4566">
                  <c:v>0</c:v>
                </c:pt>
                <c:pt idx="4567">
                  <c:v>0</c:v>
                </c:pt>
                <c:pt idx="4568">
                  <c:v>0</c:v>
                </c:pt>
                <c:pt idx="4569">
                  <c:v>0</c:v>
                </c:pt>
                <c:pt idx="4570">
                  <c:v>0</c:v>
                </c:pt>
                <c:pt idx="4571">
                  <c:v>0</c:v>
                </c:pt>
                <c:pt idx="4572">
                  <c:v>0</c:v>
                </c:pt>
                <c:pt idx="4573">
                  <c:v>0</c:v>
                </c:pt>
                <c:pt idx="4574">
                  <c:v>0</c:v>
                </c:pt>
                <c:pt idx="4575">
                  <c:v>0</c:v>
                </c:pt>
                <c:pt idx="4576">
                  <c:v>0</c:v>
                </c:pt>
                <c:pt idx="4577">
                  <c:v>0</c:v>
                </c:pt>
                <c:pt idx="4578">
                  <c:v>0</c:v>
                </c:pt>
                <c:pt idx="4579">
                  <c:v>0</c:v>
                </c:pt>
                <c:pt idx="4580">
                  <c:v>0</c:v>
                </c:pt>
                <c:pt idx="4581">
                  <c:v>0</c:v>
                </c:pt>
                <c:pt idx="4582">
                  <c:v>0</c:v>
                </c:pt>
                <c:pt idx="4583">
                  <c:v>0</c:v>
                </c:pt>
                <c:pt idx="4584">
                  <c:v>0</c:v>
                </c:pt>
                <c:pt idx="4585">
                  <c:v>0</c:v>
                </c:pt>
                <c:pt idx="4586">
                  <c:v>0</c:v>
                </c:pt>
                <c:pt idx="4587">
                  <c:v>0</c:v>
                </c:pt>
                <c:pt idx="4588">
                  <c:v>0</c:v>
                </c:pt>
                <c:pt idx="4589">
                  <c:v>0</c:v>
                </c:pt>
                <c:pt idx="4590">
                  <c:v>0</c:v>
                </c:pt>
                <c:pt idx="4591">
                  <c:v>0</c:v>
                </c:pt>
                <c:pt idx="4592">
                  <c:v>0</c:v>
                </c:pt>
                <c:pt idx="4593">
                  <c:v>0</c:v>
                </c:pt>
                <c:pt idx="4594">
                  <c:v>0</c:v>
                </c:pt>
                <c:pt idx="4595">
                  <c:v>0</c:v>
                </c:pt>
                <c:pt idx="4596">
                  <c:v>0</c:v>
                </c:pt>
                <c:pt idx="4597">
                  <c:v>0</c:v>
                </c:pt>
                <c:pt idx="4598">
                  <c:v>0</c:v>
                </c:pt>
                <c:pt idx="4599">
                  <c:v>0</c:v>
                </c:pt>
                <c:pt idx="4600">
                  <c:v>0</c:v>
                </c:pt>
                <c:pt idx="4601">
                  <c:v>0</c:v>
                </c:pt>
                <c:pt idx="4602">
                  <c:v>0</c:v>
                </c:pt>
                <c:pt idx="4603">
                  <c:v>0</c:v>
                </c:pt>
                <c:pt idx="4604">
                  <c:v>0</c:v>
                </c:pt>
                <c:pt idx="4605">
                  <c:v>0</c:v>
                </c:pt>
                <c:pt idx="4606">
                  <c:v>0</c:v>
                </c:pt>
                <c:pt idx="4607">
                  <c:v>0</c:v>
                </c:pt>
                <c:pt idx="4608">
                  <c:v>0</c:v>
                </c:pt>
                <c:pt idx="4609">
                  <c:v>0</c:v>
                </c:pt>
                <c:pt idx="4610">
                  <c:v>0</c:v>
                </c:pt>
                <c:pt idx="4611">
                  <c:v>0</c:v>
                </c:pt>
                <c:pt idx="4612">
                  <c:v>0</c:v>
                </c:pt>
                <c:pt idx="4613">
                  <c:v>0</c:v>
                </c:pt>
                <c:pt idx="4614">
                  <c:v>0</c:v>
                </c:pt>
                <c:pt idx="4615">
                  <c:v>0</c:v>
                </c:pt>
                <c:pt idx="4616">
                  <c:v>0</c:v>
                </c:pt>
                <c:pt idx="4617">
                  <c:v>0</c:v>
                </c:pt>
                <c:pt idx="4618">
                  <c:v>0</c:v>
                </c:pt>
                <c:pt idx="4619">
                  <c:v>0</c:v>
                </c:pt>
                <c:pt idx="4620">
                  <c:v>0</c:v>
                </c:pt>
                <c:pt idx="4621">
                  <c:v>0</c:v>
                </c:pt>
                <c:pt idx="4622">
                  <c:v>0</c:v>
                </c:pt>
                <c:pt idx="4623">
                  <c:v>0</c:v>
                </c:pt>
                <c:pt idx="4624">
                  <c:v>0</c:v>
                </c:pt>
                <c:pt idx="4625">
                  <c:v>0</c:v>
                </c:pt>
                <c:pt idx="4626">
                  <c:v>0</c:v>
                </c:pt>
                <c:pt idx="4627">
                  <c:v>0</c:v>
                </c:pt>
                <c:pt idx="4628">
                  <c:v>0</c:v>
                </c:pt>
                <c:pt idx="4629">
                  <c:v>0</c:v>
                </c:pt>
                <c:pt idx="4630">
                  <c:v>0</c:v>
                </c:pt>
                <c:pt idx="4631">
                  <c:v>0</c:v>
                </c:pt>
                <c:pt idx="4632">
                  <c:v>0</c:v>
                </c:pt>
                <c:pt idx="4633">
                  <c:v>0</c:v>
                </c:pt>
                <c:pt idx="4634">
                  <c:v>0</c:v>
                </c:pt>
                <c:pt idx="4635">
                  <c:v>0</c:v>
                </c:pt>
                <c:pt idx="4636">
                  <c:v>0</c:v>
                </c:pt>
                <c:pt idx="4637">
                  <c:v>0</c:v>
                </c:pt>
                <c:pt idx="4638">
                  <c:v>0</c:v>
                </c:pt>
                <c:pt idx="4639">
                  <c:v>0</c:v>
                </c:pt>
                <c:pt idx="4640">
                  <c:v>0</c:v>
                </c:pt>
                <c:pt idx="4641">
                  <c:v>0</c:v>
                </c:pt>
                <c:pt idx="4642">
                  <c:v>0</c:v>
                </c:pt>
                <c:pt idx="4643">
                  <c:v>0</c:v>
                </c:pt>
                <c:pt idx="4644">
                  <c:v>0</c:v>
                </c:pt>
                <c:pt idx="4645">
                  <c:v>0</c:v>
                </c:pt>
                <c:pt idx="4646">
                  <c:v>0</c:v>
                </c:pt>
                <c:pt idx="4647">
                  <c:v>0</c:v>
                </c:pt>
                <c:pt idx="4648">
                  <c:v>0</c:v>
                </c:pt>
                <c:pt idx="4649">
                  <c:v>0</c:v>
                </c:pt>
                <c:pt idx="4650">
                  <c:v>0</c:v>
                </c:pt>
                <c:pt idx="4651">
                  <c:v>0</c:v>
                </c:pt>
                <c:pt idx="4652">
                  <c:v>0</c:v>
                </c:pt>
                <c:pt idx="4653">
                  <c:v>0</c:v>
                </c:pt>
                <c:pt idx="4654">
                  <c:v>0</c:v>
                </c:pt>
                <c:pt idx="4655">
                  <c:v>0</c:v>
                </c:pt>
                <c:pt idx="4656">
                  <c:v>0</c:v>
                </c:pt>
                <c:pt idx="4657">
                  <c:v>0</c:v>
                </c:pt>
                <c:pt idx="4658">
                  <c:v>0</c:v>
                </c:pt>
                <c:pt idx="4659">
                  <c:v>0</c:v>
                </c:pt>
                <c:pt idx="4660">
                  <c:v>0</c:v>
                </c:pt>
                <c:pt idx="4661">
                  <c:v>0</c:v>
                </c:pt>
                <c:pt idx="4662">
                  <c:v>0</c:v>
                </c:pt>
                <c:pt idx="4663">
                  <c:v>0</c:v>
                </c:pt>
                <c:pt idx="4664">
                  <c:v>0</c:v>
                </c:pt>
                <c:pt idx="4665">
                  <c:v>0</c:v>
                </c:pt>
                <c:pt idx="4666">
                  <c:v>0</c:v>
                </c:pt>
                <c:pt idx="4667">
                  <c:v>0</c:v>
                </c:pt>
                <c:pt idx="4668">
                  <c:v>0</c:v>
                </c:pt>
                <c:pt idx="4669">
                  <c:v>0</c:v>
                </c:pt>
                <c:pt idx="4670">
                  <c:v>0</c:v>
                </c:pt>
                <c:pt idx="4671">
                  <c:v>0</c:v>
                </c:pt>
                <c:pt idx="4672">
                  <c:v>0</c:v>
                </c:pt>
                <c:pt idx="4673">
                  <c:v>0</c:v>
                </c:pt>
                <c:pt idx="4674">
                  <c:v>0</c:v>
                </c:pt>
                <c:pt idx="4675">
                  <c:v>0</c:v>
                </c:pt>
                <c:pt idx="4676">
                  <c:v>0</c:v>
                </c:pt>
                <c:pt idx="4677">
                  <c:v>0</c:v>
                </c:pt>
                <c:pt idx="4678">
                  <c:v>0</c:v>
                </c:pt>
                <c:pt idx="4679">
                  <c:v>0</c:v>
                </c:pt>
                <c:pt idx="4680">
                  <c:v>0</c:v>
                </c:pt>
                <c:pt idx="4681">
                  <c:v>0</c:v>
                </c:pt>
                <c:pt idx="4682">
                  <c:v>0</c:v>
                </c:pt>
                <c:pt idx="4683">
                  <c:v>0</c:v>
                </c:pt>
                <c:pt idx="4684">
                  <c:v>0</c:v>
                </c:pt>
                <c:pt idx="4685">
                  <c:v>0</c:v>
                </c:pt>
                <c:pt idx="4686">
                  <c:v>0</c:v>
                </c:pt>
                <c:pt idx="4687">
                  <c:v>0</c:v>
                </c:pt>
                <c:pt idx="4688">
                  <c:v>0</c:v>
                </c:pt>
                <c:pt idx="4689">
                  <c:v>0</c:v>
                </c:pt>
                <c:pt idx="4690">
                  <c:v>0</c:v>
                </c:pt>
                <c:pt idx="4691">
                  <c:v>0</c:v>
                </c:pt>
                <c:pt idx="4692">
                  <c:v>0</c:v>
                </c:pt>
                <c:pt idx="4693">
                  <c:v>0</c:v>
                </c:pt>
                <c:pt idx="4694">
                  <c:v>0</c:v>
                </c:pt>
                <c:pt idx="4695">
                  <c:v>0</c:v>
                </c:pt>
                <c:pt idx="4696">
                  <c:v>0</c:v>
                </c:pt>
                <c:pt idx="4697">
                  <c:v>0</c:v>
                </c:pt>
                <c:pt idx="4698">
                  <c:v>0</c:v>
                </c:pt>
                <c:pt idx="4699">
                  <c:v>0</c:v>
                </c:pt>
                <c:pt idx="4700">
                  <c:v>0</c:v>
                </c:pt>
                <c:pt idx="4701">
                  <c:v>0</c:v>
                </c:pt>
                <c:pt idx="4702">
                  <c:v>0</c:v>
                </c:pt>
                <c:pt idx="4703">
                  <c:v>0</c:v>
                </c:pt>
                <c:pt idx="4704">
                  <c:v>0</c:v>
                </c:pt>
                <c:pt idx="4705">
                  <c:v>0</c:v>
                </c:pt>
                <c:pt idx="4706">
                  <c:v>0</c:v>
                </c:pt>
                <c:pt idx="4707">
                  <c:v>0</c:v>
                </c:pt>
                <c:pt idx="4708">
                  <c:v>0</c:v>
                </c:pt>
                <c:pt idx="4709">
                  <c:v>0</c:v>
                </c:pt>
                <c:pt idx="4710">
                  <c:v>0</c:v>
                </c:pt>
                <c:pt idx="4711">
                  <c:v>0</c:v>
                </c:pt>
                <c:pt idx="4712">
                  <c:v>0</c:v>
                </c:pt>
                <c:pt idx="4713">
                  <c:v>0</c:v>
                </c:pt>
                <c:pt idx="4714">
                  <c:v>0</c:v>
                </c:pt>
                <c:pt idx="4715">
                  <c:v>0</c:v>
                </c:pt>
                <c:pt idx="4716">
                  <c:v>0</c:v>
                </c:pt>
                <c:pt idx="4717">
                  <c:v>0</c:v>
                </c:pt>
                <c:pt idx="4718">
                  <c:v>0</c:v>
                </c:pt>
                <c:pt idx="4719">
                  <c:v>0</c:v>
                </c:pt>
                <c:pt idx="4720">
                  <c:v>0</c:v>
                </c:pt>
                <c:pt idx="4721">
                  <c:v>0</c:v>
                </c:pt>
                <c:pt idx="4722">
                  <c:v>0</c:v>
                </c:pt>
                <c:pt idx="4723">
                  <c:v>0</c:v>
                </c:pt>
                <c:pt idx="4724">
                  <c:v>0</c:v>
                </c:pt>
                <c:pt idx="4725">
                  <c:v>0</c:v>
                </c:pt>
                <c:pt idx="4726">
                  <c:v>0</c:v>
                </c:pt>
                <c:pt idx="4727">
                  <c:v>0</c:v>
                </c:pt>
                <c:pt idx="4728">
                  <c:v>0</c:v>
                </c:pt>
                <c:pt idx="4729">
                  <c:v>0</c:v>
                </c:pt>
                <c:pt idx="4730">
                  <c:v>0</c:v>
                </c:pt>
                <c:pt idx="4731">
                  <c:v>0</c:v>
                </c:pt>
                <c:pt idx="4732">
                  <c:v>0</c:v>
                </c:pt>
                <c:pt idx="4733">
                  <c:v>0</c:v>
                </c:pt>
                <c:pt idx="4734">
                  <c:v>0</c:v>
                </c:pt>
                <c:pt idx="4735">
                  <c:v>0</c:v>
                </c:pt>
                <c:pt idx="4736">
                  <c:v>0</c:v>
                </c:pt>
                <c:pt idx="4737">
                  <c:v>0</c:v>
                </c:pt>
                <c:pt idx="4738">
                  <c:v>0</c:v>
                </c:pt>
                <c:pt idx="4739">
                  <c:v>0</c:v>
                </c:pt>
                <c:pt idx="4740">
                  <c:v>0</c:v>
                </c:pt>
                <c:pt idx="4741">
                  <c:v>0</c:v>
                </c:pt>
                <c:pt idx="4742">
                  <c:v>0</c:v>
                </c:pt>
                <c:pt idx="4743">
                  <c:v>0</c:v>
                </c:pt>
                <c:pt idx="4744">
                  <c:v>0</c:v>
                </c:pt>
                <c:pt idx="4745">
                  <c:v>0</c:v>
                </c:pt>
                <c:pt idx="4746">
                  <c:v>0</c:v>
                </c:pt>
                <c:pt idx="4747">
                  <c:v>0</c:v>
                </c:pt>
                <c:pt idx="4748">
                  <c:v>0</c:v>
                </c:pt>
                <c:pt idx="4749">
                  <c:v>0</c:v>
                </c:pt>
                <c:pt idx="4750">
                  <c:v>0</c:v>
                </c:pt>
                <c:pt idx="4751">
                  <c:v>0</c:v>
                </c:pt>
                <c:pt idx="4752">
                  <c:v>0</c:v>
                </c:pt>
                <c:pt idx="4753">
                  <c:v>0</c:v>
                </c:pt>
                <c:pt idx="4754">
                  <c:v>0</c:v>
                </c:pt>
                <c:pt idx="4755">
                  <c:v>0</c:v>
                </c:pt>
                <c:pt idx="4756">
                  <c:v>0</c:v>
                </c:pt>
                <c:pt idx="4757">
                  <c:v>0</c:v>
                </c:pt>
                <c:pt idx="4758">
                  <c:v>0</c:v>
                </c:pt>
                <c:pt idx="4759">
                  <c:v>0</c:v>
                </c:pt>
                <c:pt idx="4760">
                  <c:v>0</c:v>
                </c:pt>
                <c:pt idx="4761">
                  <c:v>0</c:v>
                </c:pt>
                <c:pt idx="4762">
                  <c:v>0</c:v>
                </c:pt>
                <c:pt idx="4763">
                  <c:v>0</c:v>
                </c:pt>
                <c:pt idx="4764">
                  <c:v>0</c:v>
                </c:pt>
                <c:pt idx="4765">
                  <c:v>0</c:v>
                </c:pt>
                <c:pt idx="4766">
                  <c:v>0</c:v>
                </c:pt>
                <c:pt idx="4767">
                  <c:v>0</c:v>
                </c:pt>
                <c:pt idx="4768">
                  <c:v>0</c:v>
                </c:pt>
                <c:pt idx="4769">
                  <c:v>0</c:v>
                </c:pt>
                <c:pt idx="4770">
                  <c:v>0</c:v>
                </c:pt>
                <c:pt idx="4771">
                  <c:v>0</c:v>
                </c:pt>
                <c:pt idx="4772">
                  <c:v>0</c:v>
                </c:pt>
                <c:pt idx="4773">
                  <c:v>0</c:v>
                </c:pt>
                <c:pt idx="4774">
                  <c:v>0</c:v>
                </c:pt>
                <c:pt idx="4775">
                  <c:v>0</c:v>
                </c:pt>
                <c:pt idx="4776">
                  <c:v>0</c:v>
                </c:pt>
                <c:pt idx="4777">
                  <c:v>0</c:v>
                </c:pt>
                <c:pt idx="4778">
                  <c:v>0</c:v>
                </c:pt>
                <c:pt idx="4779">
                  <c:v>0</c:v>
                </c:pt>
                <c:pt idx="4780">
                  <c:v>0</c:v>
                </c:pt>
                <c:pt idx="4781">
                  <c:v>0</c:v>
                </c:pt>
                <c:pt idx="4782">
                  <c:v>0</c:v>
                </c:pt>
                <c:pt idx="4783">
                  <c:v>0</c:v>
                </c:pt>
                <c:pt idx="4784">
                  <c:v>0</c:v>
                </c:pt>
                <c:pt idx="4785">
                  <c:v>0</c:v>
                </c:pt>
                <c:pt idx="4786">
                  <c:v>0</c:v>
                </c:pt>
                <c:pt idx="4787">
                  <c:v>0</c:v>
                </c:pt>
                <c:pt idx="4788">
                  <c:v>0</c:v>
                </c:pt>
                <c:pt idx="4789">
                  <c:v>0</c:v>
                </c:pt>
                <c:pt idx="4790">
                  <c:v>0</c:v>
                </c:pt>
                <c:pt idx="4791">
                  <c:v>0</c:v>
                </c:pt>
                <c:pt idx="4792">
                  <c:v>0</c:v>
                </c:pt>
                <c:pt idx="4793">
                  <c:v>0</c:v>
                </c:pt>
                <c:pt idx="4794">
                  <c:v>0</c:v>
                </c:pt>
                <c:pt idx="4795">
                  <c:v>0</c:v>
                </c:pt>
                <c:pt idx="4796">
                  <c:v>0</c:v>
                </c:pt>
                <c:pt idx="4797">
                  <c:v>0</c:v>
                </c:pt>
                <c:pt idx="4798">
                  <c:v>0</c:v>
                </c:pt>
                <c:pt idx="4799">
                  <c:v>0</c:v>
                </c:pt>
                <c:pt idx="4800">
                  <c:v>0</c:v>
                </c:pt>
                <c:pt idx="4801">
                  <c:v>0</c:v>
                </c:pt>
                <c:pt idx="4802">
                  <c:v>0</c:v>
                </c:pt>
                <c:pt idx="4803">
                  <c:v>0</c:v>
                </c:pt>
                <c:pt idx="4804">
                  <c:v>0</c:v>
                </c:pt>
                <c:pt idx="4805">
                  <c:v>0</c:v>
                </c:pt>
                <c:pt idx="4806">
                  <c:v>0</c:v>
                </c:pt>
                <c:pt idx="4807">
                  <c:v>0</c:v>
                </c:pt>
                <c:pt idx="4808">
                  <c:v>0</c:v>
                </c:pt>
                <c:pt idx="4809">
                  <c:v>0</c:v>
                </c:pt>
                <c:pt idx="4810">
                  <c:v>0</c:v>
                </c:pt>
                <c:pt idx="4811">
                  <c:v>0</c:v>
                </c:pt>
                <c:pt idx="4812">
                  <c:v>0</c:v>
                </c:pt>
                <c:pt idx="4813">
                  <c:v>0</c:v>
                </c:pt>
                <c:pt idx="4814">
                  <c:v>0</c:v>
                </c:pt>
                <c:pt idx="4815">
                  <c:v>0</c:v>
                </c:pt>
                <c:pt idx="4816">
                  <c:v>0</c:v>
                </c:pt>
                <c:pt idx="4817">
                  <c:v>0</c:v>
                </c:pt>
                <c:pt idx="4818">
                  <c:v>0</c:v>
                </c:pt>
                <c:pt idx="4819">
                  <c:v>0</c:v>
                </c:pt>
                <c:pt idx="4820">
                  <c:v>0</c:v>
                </c:pt>
                <c:pt idx="4821">
                  <c:v>0</c:v>
                </c:pt>
                <c:pt idx="4822">
                  <c:v>0</c:v>
                </c:pt>
                <c:pt idx="4823">
                  <c:v>0</c:v>
                </c:pt>
                <c:pt idx="4824">
                  <c:v>0</c:v>
                </c:pt>
                <c:pt idx="4825">
                  <c:v>0</c:v>
                </c:pt>
                <c:pt idx="4826">
                  <c:v>0</c:v>
                </c:pt>
                <c:pt idx="4827">
                  <c:v>0</c:v>
                </c:pt>
                <c:pt idx="4828">
                  <c:v>0</c:v>
                </c:pt>
                <c:pt idx="4829">
                  <c:v>0</c:v>
                </c:pt>
                <c:pt idx="4830">
                  <c:v>0</c:v>
                </c:pt>
                <c:pt idx="4831">
                  <c:v>0</c:v>
                </c:pt>
                <c:pt idx="4832">
                  <c:v>0</c:v>
                </c:pt>
                <c:pt idx="4833">
                  <c:v>0</c:v>
                </c:pt>
                <c:pt idx="4834">
                  <c:v>0</c:v>
                </c:pt>
                <c:pt idx="4835">
                  <c:v>0</c:v>
                </c:pt>
                <c:pt idx="4836">
                  <c:v>0</c:v>
                </c:pt>
                <c:pt idx="4837">
                  <c:v>0</c:v>
                </c:pt>
                <c:pt idx="4838">
                  <c:v>0</c:v>
                </c:pt>
                <c:pt idx="4839">
                  <c:v>0</c:v>
                </c:pt>
                <c:pt idx="4840">
                  <c:v>0</c:v>
                </c:pt>
                <c:pt idx="4841">
                  <c:v>0</c:v>
                </c:pt>
                <c:pt idx="4842">
                  <c:v>0</c:v>
                </c:pt>
                <c:pt idx="4843">
                  <c:v>0</c:v>
                </c:pt>
                <c:pt idx="4844">
                  <c:v>0</c:v>
                </c:pt>
                <c:pt idx="4845">
                  <c:v>0</c:v>
                </c:pt>
                <c:pt idx="4846">
                  <c:v>0</c:v>
                </c:pt>
                <c:pt idx="4847">
                  <c:v>0</c:v>
                </c:pt>
                <c:pt idx="4848">
                  <c:v>0</c:v>
                </c:pt>
                <c:pt idx="4849">
                  <c:v>0</c:v>
                </c:pt>
                <c:pt idx="4850">
                  <c:v>0</c:v>
                </c:pt>
                <c:pt idx="4851">
                  <c:v>0</c:v>
                </c:pt>
                <c:pt idx="4852">
                  <c:v>0</c:v>
                </c:pt>
                <c:pt idx="4853">
                  <c:v>0</c:v>
                </c:pt>
                <c:pt idx="4854">
                  <c:v>0</c:v>
                </c:pt>
                <c:pt idx="4855">
                  <c:v>0</c:v>
                </c:pt>
                <c:pt idx="4856">
                  <c:v>0</c:v>
                </c:pt>
                <c:pt idx="4857">
                  <c:v>0</c:v>
                </c:pt>
                <c:pt idx="4858">
                  <c:v>0</c:v>
                </c:pt>
                <c:pt idx="4859">
                  <c:v>0</c:v>
                </c:pt>
                <c:pt idx="4860">
                  <c:v>0</c:v>
                </c:pt>
                <c:pt idx="4861">
                  <c:v>0</c:v>
                </c:pt>
                <c:pt idx="4862">
                  <c:v>0</c:v>
                </c:pt>
                <c:pt idx="4863">
                  <c:v>0</c:v>
                </c:pt>
                <c:pt idx="4864">
                  <c:v>0</c:v>
                </c:pt>
                <c:pt idx="4865">
                  <c:v>0</c:v>
                </c:pt>
                <c:pt idx="4866">
                  <c:v>0</c:v>
                </c:pt>
                <c:pt idx="4867">
                  <c:v>0</c:v>
                </c:pt>
                <c:pt idx="4868">
                  <c:v>0</c:v>
                </c:pt>
                <c:pt idx="4869">
                  <c:v>0</c:v>
                </c:pt>
                <c:pt idx="4870">
                  <c:v>0</c:v>
                </c:pt>
                <c:pt idx="4871">
                  <c:v>0</c:v>
                </c:pt>
                <c:pt idx="4872">
                  <c:v>0</c:v>
                </c:pt>
                <c:pt idx="4873">
                  <c:v>0</c:v>
                </c:pt>
                <c:pt idx="4874">
                  <c:v>0</c:v>
                </c:pt>
                <c:pt idx="4875">
                  <c:v>0</c:v>
                </c:pt>
                <c:pt idx="4876">
                  <c:v>0</c:v>
                </c:pt>
                <c:pt idx="4877">
                  <c:v>0</c:v>
                </c:pt>
                <c:pt idx="4878">
                  <c:v>0</c:v>
                </c:pt>
                <c:pt idx="4879">
                  <c:v>0</c:v>
                </c:pt>
                <c:pt idx="4880">
                  <c:v>0</c:v>
                </c:pt>
                <c:pt idx="4881">
                  <c:v>0</c:v>
                </c:pt>
                <c:pt idx="4882">
                  <c:v>0</c:v>
                </c:pt>
                <c:pt idx="4883">
                  <c:v>0</c:v>
                </c:pt>
                <c:pt idx="4884">
                  <c:v>0</c:v>
                </c:pt>
                <c:pt idx="4885">
                  <c:v>0</c:v>
                </c:pt>
                <c:pt idx="4886">
                  <c:v>0</c:v>
                </c:pt>
                <c:pt idx="4887">
                  <c:v>0</c:v>
                </c:pt>
                <c:pt idx="4888">
                  <c:v>0</c:v>
                </c:pt>
                <c:pt idx="4889">
                  <c:v>0</c:v>
                </c:pt>
                <c:pt idx="4890">
                  <c:v>0</c:v>
                </c:pt>
                <c:pt idx="4891">
                  <c:v>0</c:v>
                </c:pt>
                <c:pt idx="4892">
                  <c:v>0</c:v>
                </c:pt>
                <c:pt idx="4893">
                  <c:v>0</c:v>
                </c:pt>
                <c:pt idx="4894">
                  <c:v>0</c:v>
                </c:pt>
                <c:pt idx="4895">
                  <c:v>0</c:v>
                </c:pt>
                <c:pt idx="4896">
                  <c:v>0</c:v>
                </c:pt>
                <c:pt idx="4897">
                  <c:v>0</c:v>
                </c:pt>
                <c:pt idx="4898">
                  <c:v>0</c:v>
                </c:pt>
                <c:pt idx="4899">
                  <c:v>0</c:v>
                </c:pt>
                <c:pt idx="4900">
                  <c:v>0</c:v>
                </c:pt>
                <c:pt idx="4901">
                  <c:v>0</c:v>
                </c:pt>
                <c:pt idx="4902">
                  <c:v>0</c:v>
                </c:pt>
                <c:pt idx="4903">
                  <c:v>0</c:v>
                </c:pt>
                <c:pt idx="4904">
                  <c:v>0</c:v>
                </c:pt>
                <c:pt idx="4905">
                  <c:v>0</c:v>
                </c:pt>
                <c:pt idx="4906">
                  <c:v>0</c:v>
                </c:pt>
                <c:pt idx="4907">
                  <c:v>0</c:v>
                </c:pt>
                <c:pt idx="4908">
                  <c:v>0</c:v>
                </c:pt>
                <c:pt idx="4909">
                  <c:v>0</c:v>
                </c:pt>
                <c:pt idx="4910">
                  <c:v>0</c:v>
                </c:pt>
                <c:pt idx="4911">
                  <c:v>0</c:v>
                </c:pt>
                <c:pt idx="4912">
                  <c:v>0</c:v>
                </c:pt>
                <c:pt idx="4913">
                  <c:v>0</c:v>
                </c:pt>
                <c:pt idx="4914">
                  <c:v>0</c:v>
                </c:pt>
                <c:pt idx="4915">
                  <c:v>0</c:v>
                </c:pt>
                <c:pt idx="4916">
                  <c:v>0</c:v>
                </c:pt>
                <c:pt idx="4917">
                  <c:v>0</c:v>
                </c:pt>
                <c:pt idx="4918">
                  <c:v>0</c:v>
                </c:pt>
                <c:pt idx="4919">
                  <c:v>0</c:v>
                </c:pt>
                <c:pt idx="4920">
                  <c:v>0</c:v>
                </c:pt>
                <c:pt idx="4921">
                  <c:v>0</c:v>
                </c:pt>
                <c:pt idx="4922">
                  <c:v>0</c:v>
                </c:pt>
                <c:pt idx="4923">
                  <c:v>0</c:v>
                </c:pt>
                <c:pt idx="4924">
                  <c:v>0</c:v>
                </c:pt>
                <c:pt idx="4925">
                  <c:v>0</c:v>
                </c:pt>
                <c:pt idx="4926">
                  <c:v>0</c:v>
                </c:pt>
                <c:pt idx="4927">
                  <c:v>0</c:v>
                </c:pt>
                <c:pt idx="4928">
                  <c:v>0</c:v>
                </c:pt>
                <c:pt idx="4929">
                  <c:v>0</c:v>
                </c:pt>
                <c:pt idx="4930">
                  <c:v>0</c:v>
                </c:pt>
                <c:pt idx="4931">
                  <c:v>0</c:v>
                </c:pt>
                <c:pt idx="4932">
                  <c:v>0</c:v>
                </c:pt>
                <c:pt idx="4933">
                  <c:v>0</c:v>
                </c:pt>
                <c:pt idx="4934">
                  <c:v>0</c:v>
                </c:pt>
                <c:pt idx="4935">
                  <c:v>0</c:v>
                </c:pt>
                <c:pt idx="4936">
                  <c:v>0</c:v>
                </c:pt>
                <c:pt idx="4937">
                  <c:v>0</c:v>
                </c:pt>
                <c:pt idx="4938">
                  <c:v>0</c:v>
                </c:pt>
                <c:pt idx="4939">
                  <c:v>0</c:v>
                </c:pt>
                <c:pt idx="4940">
                  <c:v>0</c:v>
                </c:pt>
                <c:pt idx="4941">
                  <c:v>0</c:v>
                </c:pt>
                <c:pt idx="4942">
                  <c:v>0</c:v>
                </c:pt>
                <c:pt idx="4943">
                  <c:v>0</c:v>
                </c:pt>
                <c:pt idx="4944">
                  <c:v>0</c:v>
                </c:pt>
                <c:pt idx="4945">
                  <c:v>0</c:v>
                </c:pt>
                <c:pt idx="4946">
                  <c:v>0</c:v>
                </c:pt>
                <c:pt idx="4947">
                  <c:v>0</c:v>
                </c:pt>
                <c:pt idx="4948">
                  <c:v>0</c:v>
                </c:pt>
                <c:pt idx="4949">
                  <c:v>0</c:v>
                </c:pt>
                <c:pt idx="4950">
                  <c:v>0</c:v>
                </c:pt>
                <c:pt idx="4951">
                  <c:v>0</c:v>
                </c:pt>
                <c:pt idx="4952">
                  <c:v>0</c:v>
                </c:pt>
                <c:pt idx="4953">
                  <c:v>0</c:v>
                </c:pt>
                <c:pt idx="4954">
                  <c:v>0</c:v>
                </c:pt>
                <c:pt idx="4955">
                  <c:v>0</c:v>
                </c:pt>
                <c:pt idx="4956">
                  <c:v>0</c:v>
                </c:pt>
                <c:pt idx="4957">
                  <c:v>0</c:v>
                </c:pt>
                <c:pt idx="4958">
                  <c:v>0</c:v>
                </c:pt>
                <c:pt idx="4959">
                  <c:v>0</c:v>
                </c:pt>
                <c:pt idx="4960">
                  <c:v>0</c:v>
                </c:pt>
                <c:pt idx="4961">
                  <c:v>0</c:v>
                </c:pt>
                <c:pt idx="4962">
                  <c:v>0</c:v>
                </c:pt>
                <c:pt idx="4963">
                  <c:v>0</c:v>
                </c:pt>
                <c:pt idx="4964">
                  <c:v>0</c:v>
                </c:pt>
                <c:pt idx="4965">
                  <c:v>0</c:v>
                </c:pt>
                <c:pt idx="4966">
                  <c:v>0</c:v>
                </c:pt>
                <c:pt idx="4967">
                  <c:v>0</c:v>
                </c:pt>
                <c:pt idx="4968">
                  <c:v>0</c:v>
                </c:pt>
                <c:pt idx="4969">
                  <c:v>0</c:v>
                </c:pt>
                <c:pt idx="4970">
                  <c:v>0</c:v>
                </c:pt>
                <c:pt idx="4971">
                  <c:v>0</c:v>
                </c:pt>
                <c:pt idx="4972">
                  <c:v>0</c:v>
                </c:pt>
                <c:pt idx="4973">
                  <c:v>0</c:v>
                </c:pt>
                <c:pt idx="4974">
                  <c:v>0</c:v>
                </c:pt>
                <c:pt idx="4975">
                  <c:v>0</c:v>
                </c:pt>
                <c:pt idx="4976">
                  <c:v>0</c:v>
                </c:pt>
                <c:pt idx="4977">
                  <c:v>0</c:v>
                </c:pt>
                <c:pt idx="4978">
                  <c:v>0</c:v>
                </c:pt>
                <c:pt idx="4979">
                  <c:v>0</c:v>
                </c:pt>
                <c:pt idx="4980">
                  <c:v>0</c:v>
                </c:pt>
                <c:pt idx="4981">
                  <c:v>0</c:v>
                </c:pt>
                <c:pt idx="4982">
                  <c:v>0</c:v>
                </c:pt>
                <c:pt idx="4983">
                  <c:v>0</c:v>
                </c:pt>
                <c:pt idx="4984">
                  <c:v>0</c:v>
                </c:pt>
                <c:pt idx="4985">
                  <c:v>0</c:v>
                </c:pt>
                <c:pt idx="4986">
                  <c:v>0</c:v>
                </c:pt>
                <c:pt idx="4987">
                  <c:v>0</c:v>
                </c:pt>
                <c:pt idx="4988">
                  <c:v>0</c:v>
                </c:pt>
                <c:pt idx="4989">
                  <c:v>0</c:v>
                </c:pt>
                <c:pt idx="4990">
                  <c:v>0</c:v>
                </c:pt>
                <c:pt idx="4991">
                  <c:v>0</c:v>
                </c:pt>
                <c:pt idx="4992">
                  <c:v>0</c:v>
                </c:pt>
                <c:pt idx="4993">
                  <c:v>0</c:v>
                </c:pt>
                <c:pt idx="4994">
                  <c:v>0</c:v>
                </c:pt>
                <c:pt idx="4995">
                  <c:v>0</c:v>
                </c:pt>
                <c:pt idx="4996">
                  <c:v>0</c:v>
                </c:pt>
                <c:pt idx="4997">
                  <c:v>0</c:v>
                </c:pt>
                <c:pt idx="4998">
                  <c:v>0</c:v>
                </c:pt>
                <c:pt idx="4999">
                  <c:v>0</c:v>
                </c:pt>
                <c:pt idx="5000">
                  <c:v>0</c:v>
                </c:pt>
                <c:pt idx="5001">
                  <c:v>0</c:v>
                </c:pt>
                <c:pt idx="5002">
                  <c:v>0</c:v>
                </c:pt>
                <c:pt idx="5003">
                  <c:v>0</c:v>
                </c:pt>
                <c:pt idx="5004">
                  <c:v>0</c:v>
                </c:pt>
                <c:pt idx="5005">
                  <c:v>0</c:v>
                </c:pt>
                <c:pt idx="5006">
                  <c:v>0</c:v>
                </c:pt>
                <c:pt idx="5007">
                  <c:v>0</c:v>
                </c:pt>
                <c:pt idx="5008">
                  <c:v>0</c:v>
                </c:pt>
                <c:pt idx="5009">
                  <c:v>0</c:v>
                </c:pt>
                <c:pt idx="5010">
                  <c:v>0</c:v>
                </c:pt>
                <c:pt idx="5011">
                  <c:v>0</c:v>
                </c:pt>
                <c:pt idx="5012">
                  <c:v>0</c:v>
                </c:pt>
                <c:pt idx="5013">
                  <c:v>0</c:v>
                </c:pt>
                <c:pt idx="5014">
                  <c:v>0</c:v>
                </c:pt>
                <c:pt idx="5015">
                  <c:v>0</c:v>
                </c:pt>
                <c:pt idx="5016">
                  <c:v>0</c:v>
                </c:pt>
                <c:pt idx="5017">
                  <c:v>0</c:v>
                </c:pt>
                <c:pt idx="5018">
                  <c:v>0</c:v>
                </c:pt>
                <c:pt idx="5019">
                  <c:v>0</c:v>
                </c:pt>
                <c:pt idx="5020">
                  <c:v>0</c:v>
                </c:pt>
                <c:pt idx="5021">
                  <c:v>0</c:v>
                </c:pt>
                <c:pt idx="5022">
                  <c:v>0</c:v>
                </c:pt>
                <c:pt idx="5023">
                  <c:v>0</c:v>
                </c:pt>
                <c:pt idx="5024">
                  <c:v>0</c:v>
                </c:pt>
                <c:pt idx="5025">
                  <c:v>0</c:v>
                </c:pt>
                <c:pt idx="5026">
                  <c:v>0</c:v>
                </c:pt>
                <c:pt idx="5027">
                  <c:v>0</c:v>
                </c:pt>
                <c:pt idx="5028">
                  <c:v>0</c:v>
                </c:pt>
                <c:pt idx="5029">
                  <c:v>0</c:v>
                </c:pt>
                <c:pt idx="5030">
                  <c:v>0</c:v>
                </c:pt>
                <c:pt idx="5031">
                  <c:v>0</c:v>
                </c:pt>
                <c:pt idx="5032">
                  <c:v>0</c:v>
                </c:pt>
                <c:pt idx="5033">
                  <c:v>0</c:v>
                </c:pt>
                <c:pt idx="5034">
                  <c:v>0</c:v>
                </c:pt>
                <c:pt idx="5035">
                  <c:v>0</c:v>
                </c:pt>
                <c:pt idx="5036">
                  <c:v>0</c:v>
                </c:pt>
                <c:pt idx="5037">
                  <c:v>0</c:v>
                </c:pt>
                <c:pt idx="5038">
                  <c:v>0</c:v>
                </c:pt>
                <c:pt idx="5039">
                  <c:v>0</c:v>
                </c:pt>
                <c:pt idx="5040">
                  <c:v>0</c:v>
                </c:pt>
                <c:pt idx="5041">
                  <c:v>0</c:v>
                </c:pt>
                <c:pt idx="5042">
                  <c:v>0</c:v>
                </c:pt>
                <c:pt idx="5043">
                  <c:v>0</c:v>
                </c:pt>
                <c:pt idx="5044">
                  <c:v>0</c:v>
                </c:pt>
                <c:pt idx="5045">
                  <c:v>0</c:v>
                </c:pt>
                <c:pt idx="5046">
                  <c:v>0</c:v>
                </c:pt>
                <c:pt idx="5047">
                  <c:v>0</c:v>
                </c:pt>
                <c:pt idx="5048">
                  <c:v>0</c:v>
                </c:pt>
                <c:pt idx="5049">
                  <c:v>0</c:v>
                </c:pt>
                <c:pt idx="5050">
                  <c:v>0</c:v>
                </c:pt>
                <c:pt idx="5051">
                  <c:v>0</c:v>
                </c:pt>
                <c:pt idx="5052">
                  <c:v>0</c:v>
                </c:pt>
                <c:pt idx="5053">
                  <c:v>0</c:v>
                </c:pt>
                <c:pt idx="5054">
                  <c:v>0</c:v>
                </c:pt>
                <c:pt idx="5055">
                  <c:v>0</c:v>
                </c:pt>
                <c:pt idx="5056">
                  <c:v>0</c:v>
                </c:pt>
                <c:pt idx="5057">
                  <c:v>0</c:v>
                </c:pt>
                <c:pt idx="5058">
                  <c:v>0</c:v>
                </c:pt>
                <c:pt idx="5059">
                  <c:v>0</c:v>
                </c:pt>
                <c:pt idx="5060">
                  <c:v>0</c:v>
                </c:pt>
                <c:pt idx="5061">
                  <c:v>0</c:v>
                </c:pt>
                <c:pt idx="5062">
                  <c:v>0</c:v>
                </c:pt>
                <c:pt idx="5063">
                  <c:v>0</c:v>
                </c:pt>
                <c:pt idx="5064">
                  <c:v>0</c:v>
                </c:pt>
                <c:pt idx="5065">
                  <c:v>0</c:v>
                </c:pt>
                <c:pt idx="5066">
                  <c:v>0</c:v>
                </c:pt>
                <c:pt idx="5067">
                  <c:v>0</c:v>
                </c:pt>
                <c:pt idx="5068">
                  <c:v>0</c:v>
                </c:pt>
                <c:pt idx="5069">
                  <c:v>0</c:v>
                </c:pt>
                <c:pt idx="5070">
                  <c:v>0</c:v>
                </c:pt>
                <c:pt idx="5071">
                  <c:v>0</c:v>
                </c:pt>
                <c:pt idx="5072">
                  <c:v>0</c:v>
                </c:pt>
                <c:pt idx="5073">
                  <c:v>0</c:v>
                </c:pt>
                <c:pt idx="5074">
                  <c:v>0</c:v>
                </c:pt>
                <c:pt idx="5075">
                  <c:v>0</c:v>
                </c:pt>
                <c:pt idx="5076">
                  <c:v>0</c:v>
                </c:pt>
                <c:pt idx="5077">
                  <c:v>0</c:v>
                </c:pt>
                <c:pt idx="5078">
                  <c:v>0</c:v>
                </c:pt>
                <c:pt idx="5079">
                  <c:v>0</c:v>
                </c:pt>
                <c:pt idx="5080">
                  <c:v>0</c:v>
                </c:pt>
                <c:pt idx="5081">
                  <c:v>0</c:v>
                </c:pt>
                <c:pt idx="5082">
                  <c:v>0</c:v>
                </c:pt>
                <c:pt idx="5083">
                  <c:v>0</c:v>
                </c:pt>
                <c:pt idx="5084">
                  <c:v>0</c:v>
                </c:pt>
                <c:pt idx="5085">
                  <c:v>0</c:v>
                </c:pt>
                <c:pt idx="5086">
                  <c:v>0</c:v>
                </c:pt>
                <c:pt idx="5087">
                  <c:v>0</c:v>
                </c:pt>
                <c:pt idx="5088">
                  <c:v>0</c:v>
                </c:pt>
                <c:pt idx="5089">
                  <c:v>0</c:v>
                </c:pt>
                <c:pt idx="5090">
                  <c:v>0</c:v>
                </c:pt>
                <c:pt idx="5091">
                  <c:v>0</c:v>
                </c:pt>
                <c:pt idx="5092">
                  <c:v>0</c:v>
                </c:pt>
                <c:pt idx="5093">
                  <c:v>0</c:v>
                </c:pt>
                <c:pt idx="5094">
                  <c:v>0</c:v>
                </c:pt>
                <c:pt idx="5095">
                  <c:v>0</c:v>
                </c:pt>
                <c:pt idx="5096">
                  <c:v>0</c:v>
                </c:pt>
                <c:pt idx="5097">
                  <c:v>0</c:v>
                </c:pt>
                <c:pt idx="5098">
                  <c:v>0</c:v>
                </c:pt>
                <c:pt idx="5099">
                  <c:v>0</c:v>
                </c:pt>
                <c:pt idx="5100">
                  <c:v>0</c:v>
                </c:pt>
                <c:pt idx="5101">
                  <c:v>0</c:v>
                </c:pt>
                <c:pt idx="5102">
                  <c:v>0</c:v>
                </c:pt>
                <c:pt idx="5103">
                  <c:v>0</c:v>
                </c:pt>
                <c:pt idx="5104">
                  <c:v>0</c:v>
                </c:pt>
                <c:pt idx="5105">
                  <c:v>0</c:v>
                </c:pt>
                <c:pt idx="5106">
                  <c:v>0</c:v>
                </c:pt>
                <c:pt idx="5107">
                  <c:v>0</c:v>
                </c:pt>
                <c:pt idx="5108">
                  <c:v>0</c:v>
                </c:pt>
                <c:pt idx="5109">
                  <c:v>0</c:v>
                </c:pt>
                <c:pt idx="5110">
                  <c:v>0</c:v>
                </c:pt>
                <c:pt idx="5111">
                  <c:v>0</c:v>
                </c:pt>
                <c:pt idx="5112">
                  <c:v>0</c:v>
                </c:pt>
                <c:pt idx="5113">
                  <c:v>0</c:v>
                </c:pt>
                <c:pt idx="5114">
                  <c:v>0</c:v>
                </c:pt>
                <c:pt idx="5115">
                  <c:v>0</c:v>
                </c:pt>
                <c:pt idx="5116">
                  <c:v>0</c:v>
                </c:pt>
                <c:pt idx="5117">
                  <c:v>0</c:v>
                </c:pt>
                <c:pt idx="5118">
                  <c:v>0</c:v>
                </c:pt>
                <c:pt idx="5119">
                  <c:v>0</c:v>
                </c:pt>
                <c:pt idx="5120">
                  <c:v>0</c:v>
                </c:pt>
                <c:pt idx="5121">
                  <c:v>0</c:v>
                </c:pt>
                <c:pt idx="5122">
                  <c:v>0</c:v>
                </c:pt>
                <c:pt idx="5123">
                  <c:v>0</c:v>
                </c:pt>
                <c:pt idx="5124">
                  <c:v>0</c:v>
                </c:pt>
                <c:pt idx="5125">
                  <c:v>0</c:v>
                </c:pt>
                <c:pt idx="5126">
                  <c:v>0</c:v>
                </c:pt>
                <c:pt idx="5127">
                  <c:v>0</c:v>
                </c:pt>
                <c:pt idx="5128">
                  <c:v>0</c:v>
                </c:pt>
                <c:pt idx="5129">
                  <c:v>0</c:v>
                </c:pt>
                <c:pt idx="5130">
                  <c:v>0</c:v>
                </c:pt>
                <c:pt idx="5131">
                  <c:v>0</c:v>
                </c:pt>
                <c:pt idx="5132">
                  <c:v>0</c:v>
                </c:pt>
                <c:pt idx="5133">
                  <c:v>0</c:v>
                </c:pt>
                <c:pt idx="5134">
                  <c:v>0</c:v>
                </c:pt>
                <c:pt idx="5135">
                  <c:v>0</c:v>
                </c:pt>
                <c:pt idx="5136">
                  <c:v>0</c:v>
                </c:pt>
                <c:pt idx="5137">
                  <c:v>0</c:v>
                </c:pt>
                <c:pt idx="5138">
                  <c:v>0</c:v>
                </c:pt>
                <c:pt idx="5139">
                  <c:v>0</c:v>
                </c:pt>
                <c:pt idx="5140">
                  <c:v>0</c:v>
                </c:pt>
                <c:pt idx="5141">
                  <c:v>0</c:v>
                </c:pt>
                <c:pt idx="5142">
                  <c:v>0</c:v>
                </c:pt>
                <c:pt idx="5143">
                  <c:v>0</c:v>
                </c:pt>
                <c:pt idx="5144">
                  <c:v>0</c:v>
                </c:pt>
                <c:pt idx="5145">
                  <c:v>0</c:v>
                </c:pt>
                <c:pt idx="5146">
                  <c:v>0</c:v>
                </c:pt>
                <c:pt idx="5147">
                  <c:v>0</c:v>
                </c:pt>
                <c:pt idx="5148">
                  <c:v>0</c:v>
                </c:pt>
                <c:pt idx="5149">
                  <c:v>0</c:v>
                </c:pt>
                <c:pt idx="5150">
                  <c:v>0</c:v>
                </c:pt>
                <c:pt idx="5151">
                  <c:v>0</c:v>
                </c:pt>
                <c:pt idx="5152">
                  <c:v>0</c:v>
                </c:pt>
                <c:pt idx="5153">
                  <c:v>0</c:v>
                </c:pt>
                <c:pt idx="5154">
                  <c:v>0</c:v>
                </c:pt>
                <c:pt idx="5155">
                  <c:v>0</c:v>
                </c:pt>
                <c:pt idx="5156">
                  <c:v>0</c:v>
                </c:pt>
                <c:pt idx="5157">
                  <c:v>0</c:v>
                </c:pt>
                <c:pt idx="5158">
                  <c:v>0</c:v>
                </c:pt>
                <c:pt idx="5159">
                  <c:v>0</c:v>
                </c:pt>
                <c:pt idx="5160">
                  <c:v>0</c:v>
                </c:pt>
                <c:pt idx="5161">
                  <c:v>0</c:v>
                </c:pt>
                <c:pt idx="5162">
                  <c:v>0</c:v>
                </c:pt>
                <c:pt idx="5163">
                  <c:v>0</c:v>
                </c:pt>
                <c:pt idx="5164">
                  <c:v>0</c:v>
                </c:pt>
                <c:pt idx="5165">
                  <c:v>0</c:v>
                </c:pt>
                <c:pt idx="5166">
                  <c:v>0</c:v>
                </c:pt>
                <c:pt idx="5167">
                  <c:v>0</c:v>
                </c:pt>
                <c:pt idx="5168">
                  <c:v>0</c:v>
                </c:pt>
                <c:pt idx="5169">
                  <c:v>0</c:v>
                </c:pt>
                <c:pt idx="5170">
                  <c:v>0</c:v>
                </c:pt>
                <c:pt idx="5171">
                  <c:v>0</c:v>
                </c:pt>
                <c:pt idx="5172">
                  <c:v>0</c:v>
                </c:pt>
                <c:pt idx="5173">
                  <c:v>0</c:v>
                </c:pt>
                <c:pt idx="5174">
                  <c:v>0</c:v>
                </c:pt>
                <c:pt idx="5175">
                  <c:v>0</c:v>
                </c:pt>
                <c:pt idx="5176">
                  <c:v>0</c:v>
                </c:pt>
                <c:pt idx="5177">
                  <c:v>0</c:v>
                </c:pt>
                <c:pt idx="5178">
                  <c:v>0</c:v>
                </c:pt>
                <c:pt idx="5179">
                  <c:v>0</c:v>
                </c:pt>
                <c:pt idx="5180">
                  <c:v>0</c:v>
                </c:pt>
                <c:pt idx="5181">
                  <c:v>0</c:v>
                </c:pt>
                <c:pt idx="5182">
                  <c:v>0</c:v>
                </c:pt>
                <c:pt idx="5183">
                  <c:v>0</c:v>
                </c:pt>
                <c:pt idx="5184">
                  <c:v>0</c:v>
                </c:pt>
                <c:pt idx="5185">
                  <c:v>0</c:v>
                </c:pt>
                <c:pt idx="5186">
                  <c:v>0</c:v>
                </c:pt>
                <c:pt idx="5187">
                  <c:v>0</c:v>
                </c:pt>
                <c:pt idx="5188">
                  <c:v>0</c:v>
                </c:pt>
                <c:pt idx="5189">
                  <c:v>0</c:v>
                </c:pt>
                <c:pt idx="5190">
                  <c:v>0</c:v>
                </c:pt>
                <c:pt idx="5191">
                  <c:v>0</c:v>
                </c:pt>
                <c:pt idx="5192">
                  <c:v>0</c:v>
                </c:pt>
                <c:pt idx="5193">
                  <c:v>0</c:v>
                </c:pt>
                <c:pt idx="5194">
                  <c:v>0</c:v>
                </c:pt>
                <c:pt idx="5195">
                  <c:v>0</c:v>
                </c:pt>
                <c:pt idx="5196">
                  <c:v>0</c:v>
                </c:pt>
                <c:pt idx="5197">
                  <c:v>0</c:v>
                </c:pt>
                <c:pt idx="5198">
                  <c:v>0</c:v>
                </c:pt>
                <c:pt idx="5199">
                  <c:v>0</c:v>
                </c:pt>
                <c:pt idx="5200">
                  <c:v>0</c:v>
                </c:pt>
                <c:pt idx="5201">
                  <c:v>0</c:v>
                </c:pt>
                <c:pt idx="5202">
                  <c:v>0</c:v>
                </c:pt>
                <c:pt idx="5203">
                  <c:v>0</c:v>
                </c:pt>
                <c:pt idx="5204">
                  <c:v>0</c:v>
                </c:pt>
                <c:pt idx="5205">
                  <c:v>0</c:v>
                </c:pt>
                <c:pt idx="5206">
                  <c:v>0</c:v>
                </c:pt>
                <c:pt idx="5207">
                  <c:v>0</c:v>
                </c:pt>
                <c:pt idx="5208">
                  <c:v>0</c:v>
                </c:pt>
                <c:pt idx="5209">
                  <c:v>0</c:v>
                </c:pt>
                <c:pt idx="5210">
                  <c:v>0</c:v>
                </c:pt>
                <c:pt idx="5211">
                  <c:v>0</c:v>
                </c:pt>
                <c:pt idx="5212">
                  <c:v>0</c:v>
                </c:pt>
                <c:pt idx="5213">
                  <c:v>0</c:v>
                </c:pt>
                <c:pt idx="5214">
                  <c:v>0</c:v>
                </c:pt>
                <c:pt idx="5215">
                  <c:v>0</c:v>
                </c:pt>
                <c:pt idx="5216">
                  <c:v>0</c:v>
                </c:pt>
                <c:pt idx="5217">
                  <c:v>0</c:v>
                </c:pt>
                <c:pt idx="5218">
                  <c:v>0</c:v>
                </c:pt>
                <c:pt idx="5219">
                  <c:v>0</c:v>
                </c:pt>
                <c:pt idx="5220">
                  <c:v>0</c:v>
                </c:pt>
                <c:pt idx="5221">
                  <c:v>0</c:v>
                </c:pt>
                <c:pt idx="5222">
                  <c:v>0</c:v>
                </c:pt>
                <c:pt idx="5223">
                  <c:v>0</c:v>
                </c:pt>
                <c:pt idx="5224">
                  <c:v>0</c:v>
                </c:pt>
                <c:pt idx="5225">
                  <c:v>0</c:v>
                </c:pt>
                <c:pt idx="5226">
                  <c:v>0</c:v>
                </c:pt>
                <c:pt idx="5227">
                  <c:v>0</c:v>
                </c:pt>
                <c:pt idx="5228">
                  <c:v>0</c:v>
                </c:pt>
                <c:pt idx="5229">
                  <c:v>0</c:v>
                </c:pt>
                <c:pt idx="5230">
                  <c:v>0</c:v>
                </c:pt>
                <c:pt idx="5231">
                  <c:v>0</c:v>
                </c:pt>
                <c:pt idx="5232">
                  <c:v>0</c:v>
                </c:pt>
                <c:pt idx="5233">
                  <c:v>0</c:v>
                </c:pt>
                <c:pt idx="5234">
                  <c:v>0</c:v>
                </c:pt>
                <c:pt idx="5235">
                  <c:v>0</c:v>
                </c:pt>
                <c:pt idx="5236">
                  <c:v>0</c:v>
                </c:pt>
                <c:pt idx="5237">
                  <c:v>0</c:v>
                </c:pt>
                <c:pt idx="5238">
                  <c:v>0</c:v>
                </c:pt>
                <c:pt idx="5239">
                  <c:v>0</c:v>
                </c:pt>
                <c:pt idx="5240">
                  <c:v>0</c:v>
                </c:pt>
                <c:pt idx="5241">
                  <c:v>0</c:v>
                </c:pt>
                <c:pt idx="5242">
                  <c:v>0</c:v>
                </c:pt>
                <c:pt idx="5243">
                  <c:v>0</c:v>
                </c:pt>
                <c:pt idx="5244">
                  <c:v>0</c:v>
                </c:pt>
                <c:pt idx="5245">
                  <c:v>0</c:v>
                </c:pt>
                <c:pt idx="5246">
                  <c:v>0</c:v>
                </c:pt>
                <c:pt idx="5247">
                  <c:v>0</c:v>
                </c:pt>
                <c:pt idx="5248">
                  <c:v>0</c:v>
                </c:pt>
                <c:pt idx="5249">
                  <c:v>0</c:v>
                </c:pt>
                <c:pt idx="5250">
                  <c:v>0</c:v>
                </c:pt>
                <c:pt idx="5251">
                  <c:v>0</c:v>
                </c:pt>
                <c:pt idx="5252">
                  <c:v>0</c:v>
                </c:pt>
                <c:pt idx="5253">
                  <c:v>0</c:v>
                </c:pt>
                <c:pt idx="5254">
                  <c:v>0</c:v>
                </c:pt>
                <c:pt idx="5255">
                  <c:v>0</c:v>
                </c:pt>
                <c:pt idx="5256">
                  <c:v>0</c:v>
                </c:pt>
                <c:pt idx="5257">
                  <c:v>0</c:v>
                </c:pt>
                <c:pt idx="5258">
                  <c:v>0</c:v>
                </c:pt>
                <c:pt idx="5259">
                  <c:v>0</c:v>
                </c:pt>
                <c:pt idx="5260">
                  <c:v>0</c:v>
                </c:pt>
                <c:pt idx="5261">
                  <c:v>0</c:v>
                </c:pt>
                <c:pt idx="5262">
                  <c:v>0</c:v>
                </c:pt>
                <c:pt idx="5263">
                  <c:v>0</c:v>
                </c:pt>
                <c:pt idx="5264">
                  <c:v>0</c:v>
                </c:pt>
                <c:pt idx="5265">
                  <c:v>0</c:v>
                </c:pt>
                <c:pt idx="5266">
                  <c:v>0</c:v>
                </c:pt>
                <c:pt idx="5267">
                  <c:v>0</c:v>
                </c:pt>
                <c:pt idx="5268">
                  <c:v>0</c:v>
                </c:pt>
                <c:pt idx="5269">
                  <c:v>0</c:v>
                </c:pt>
                <c:pt idx="5270">
                  <c:v>0</c:v>
                </c:pt>
                <c:pt idx="5271">
                  <c:v>0</c:v>
                </c:pt>
                <c:pt idx="5272">
                  <c:v>0</c:v>
                </c:pt>
                <c:pt idx="5273">
                  <c:v>0</c:v>
                </c:pt>
                <c:pt idx="5274">
                  <c:v>0</c:v>
                </c:pt>
                <c:pt idx="5275">
                  <c:v>0</c:v>
                </c:pt>
                <c:pt idx="5276">
                  <c:v>0</c:v>
                </c:pt>
                <c:pt idx="5277">
                  <c:v>0</c:v>
                </c:pt>
                <c:pt idx="5278">
                  <c:v>0</c:v>
                </c:pt>
                <c:pt idx="5279">
                  <c:v>0</c:v>
                </c:pt>
                <c:pt idx="5280">
                  <c:v>0</c:v>
                </c:pt>
                <c:pt idx="5281">
                  <c:v>0</c:v>
                </c:pt>
                <c:pt idx="5282">
                  <c:v>0</c:v>
                </c:pt>
                <c:pt idx="5283">
                  <c:v>0</c:v>
                </c:pt>
                <c:pt idx="5284">
                  <c:v>0</c:v>
                </c:pt>
                <c:pt idx="5285">
                  <c:v>0</c:v>
                </c:pt>
                <c:pt idx="5286">
                  <c:v>0</c:v>
                </c:pt>
                <c:pt idx="5287">
                  <c:v>0</c:v>
                </c:pt>
                <c:pt idx="5288">
                  <c:v>0</c:v>
                </c:pt>
                <c:pt idx="5289">
                  <c:v>0</c:v>
                </c:pt>
                <c:pt idx="5290">
                  <c:v>0</c:v>
                </c:pt>
                <c:pt idx="5291">
                  <c:v>0</c:v>
                </c:pt>
                <c:pt idx="5292">
                  <c:v>0</c:v>
                </c:pt>
                <c:pt idx="5293">
                  <c:v>0</c:v>
                </c:pt>
                <c:pt idx="5294">
                  <c:v>0</c:v>
                </c:pt>
                <c:pt idx="5295">
                  <c:v>0</c:v>
                </c:pt>
                <c:pt idx="5296">
                  <c:v>0</c:v>
                </c:pt>
                <c:pt idx="5297">
                  <c:v>0</c:v>
                </c:pt>
                <c:pt idx="5298">
                  <c:v>0</c:v>
                </c:pt>
                <c:pt idx="5299">
                  <c:v>0</c:v>
                </c:pt>
                <c:pt idx="5300">
                  <c:v>0</c:v>
                </c:pt>
                <c:pt idx="5301">
                  <c:v>0</c:v>
                </c:pt>
                <c:pt idx="5302">
                  <c:v>0</c:v>
                </c:pt>
                <c:pt idx="5303">
                  <c:v>0</c:v>
                </c:pt>
                <c:pt idx="5304">
                  <c:v>0</c:v>
                </c:pt>
                <c:pt idx="5305">
                  <c:v>0</c:v>
                </c:pt>
                <c:pt idx="5306">
                  <c:v>0</c:v>
                </c:pt>
                <c:pt idx="5307">
                  <c:v>0</c:v>
                </c:pt>
                <c:pt idx="5308">
                  <c:v>0</c:v>
                </c:pt>
                <c:pt idx="5309">
                  <c:v>0</c:v>
                </c:pt>
                <c:pt idx="5310">
                  <c:v>0</c:v>
                </c:pt>
                <c:pt idx="5311">
                  <c:v>0</c:v>
                </c:pt>
                <c:pt idx="5312">
                  <c:v>0</c:v>
                </c:pt>
                <c:pt idx="5313">
                  <c:v>0</c:v>
                </c:pt>
                <c:pt idx="5314">
                  <c:v>0</c:v>
                </c:pt>
                <c:pt idx="5315">
                  <c:v>0</c:v>
                </c:pt>
                <c:pt idx="5316">
                  <c:v>0</c:v>
                </c:pt>
                <c:pt idx="5317">
                  <c:v>0</c:v>
                </c:pt>
                <c:pt idx="5318">
                  <c:v>0</c:v>
                </c:pt>
                <c:pt idx="5319">
                  <c:v>0</c:v>
                </c:pt>
                <c:pt idx="5320">
                  <c:v>0</c:v>
                </c:pt>
                <c:pt idx="5321">
                  <c:v>0</c:v>
                </c:pt>
                <c:pt idx="5322">
                  <c:v>0</c:v>
                </c:pt>
                <c:pt idx="5323">
                  <c:v>0</c:v>
                </c:pt>
                <c:pt idx="5324">
                  <c:v>0</c:v>
                </c:pt>
                <c:pt idx="5325">
                  <c:v>0</c:v>
                </c:pt>
                <c:pt idx="5326">
                  <c:v>0</c:v>
                </c:pt>
                <c:pt idx="5327">
                  <c:v>0</c:v>
                </c:pt>
                <c:pt idx="5328">
                  <c:v>0</c:v>
                </c:pt>
                <c:pt idx="5329">
                  <c:v>0</c:v>
                </c:pt>
                <c:pt idx="5330">
                  <c:v>0</c:v>
                </c:pt>
                <c:pt idx="5331">
                  <c:v>0</c:v>
                </c:pt>
                <c:pt idx="5332">
                  <c:v>0</c:v>
                </c:pt>
                <c:pt idx="5333">
                  <c:v>0</c:v>
                </c:pt>
                <c:pt idx="5334">
                  <c:v>0</c:v>
                </c:pt>
                <c:pt idx="5335">
                  <c:v>0</c:v>
                </c:pt>
                <c:pt idx="5336">
                  <c:v>0</c:v>
                </c:pt>
                <c:pt idx="5337">
                  <c:v>0</c:v>
                </c:pt>
                <c:pt idx="5338">
                  <c:v>0</c:v>
                </c:pt>
                <c:pt idx="5339">
                  <c:v>0</c:v>
                </c:pt>
                <c:pt idx="5340">
                  <c:v>0</c:v>
                </c:pt>
                <c:pt idx="5341">
                  <c:v>0</c:v>
                </c:pt>
                <c:pt idx="5342">
                  <c:v>0</c:v>
                </c:pt>
                <c:pt idx="5343">
                  <c:v>0</c:v>
                </c:pt>
                <c:pt idx="5344">
                  <c:v>0</c:v>
                </c:pt>
                <c:pt idx="5345">
                  <c:v>0</c:v>
                </c:pt>
                <c:pt idx="5346">
                  <c:v>0</c:v>
                </c:pt>
                <c:pt idx="5347">
                  <c:v>0</c:v>
                </c:pt>
                <c:pt idx="5348">
                  <c:v>0</c:v>
                </c:pt>
                <c:pt idx="5349">
                  <c:v>0</c:v>
                </c:pt>
                <c:pt idx="5350">
                  <c:v>0</c:v>
                </c:pt>
                <c:pt idx="5351">
                  <c:v>0</c:v>
                </c:pt>
                <c:pt idx="5352">
                  <c:v>0</c:v>
                </c:pt>
                <c:pt idx="5353">
                  <c:v>0</c:v>
                </c:pt>
                <c:pt idx="5354">
                  <c:v>0</c:v>
                </c:pt>
                <c:pt idx="5355">
                  <c:v>0</c:v>
                </c:pt>
                <c:pt idx="5356">
                  <c:v>0</c:v>
                </c:pt>
                <c:pt idx="5357">
                  <c:v>0</c:v>
                </c:pt>
                <c:pt idx="5358">
                  <c:v>0</c:v>
                </c:pt>
                <c:pt idx="5359">
                  <c:v>0</c:v>
                </c:pt>
                <c:pt idx="5360">
                  <c:v>0</c:v>
                </c:pt>
                <c:pt idx="5361">
                  <c:v>0</c:v>
                </c:pt>
                <c:pt idx="5362">
                  <c:v>0</c:v>
                </c:pt>
                <c:pt idx="5363">
                  <c:v>0</c:v>
                </c:pt>
                <c:pt idx="5364">
                  <c:v>0</c:v>
                </c:pt>
                <c:pt idx="5365">
                  <c:v>0</c:v>
                </c:pt>
                <c:pt idx="5366">
                  <c:v>0</c:v>
                </c:pt>
                <c:pt idx="5367">
                  <c:v>0</c:v>
                </c:pt>
                <c:pt idx="5368">
                  <c:v>0</c:v>
                </c:pt>
                <c:pt idx="5369">
                  <c:v>0</c:v>
                </c:pt>
                <c:pt idx="5370">
                  <c:v>0</c:v>
                </c:pt>
                <c:pt idx="5371">
                  <c:v>0</c:v>
                </c:pt>
                <c:pt idx="5372">
                  <c:v>0</c:v>
                </c:pt>
                <c:pt idx="5373">
                  <c:v>0</c:v>
                </c:pt>
                <c:pt idx="5374">
                  <c:v>0</c:v>
                </c:pt>
                <c:pt idx="5375">
                  <c:v>0</c:v>
                </c:pt>
                <c:pt idx="5376">
                  <c:v>0</c:v>
                </c:pt>
                <c:pt idx="5377">
                  <c:v>0</c:v>
                </c:pt>
                <c:pt idx="5378">
                  <c:v>0</c:v>
                </c:pt>
                <c:pt idx="5379">
                  <c:v>0</c:v>
                </c:pt>
                <c:pt idx="5380">
                  <c:v>0</c:v>
                </c:pt>
                <c:pt idx="5381">
                  <c:v>0</c:v>
                </c:pt>
                <c:pt idx="5382">
                  <c:v>0</c:v>
                </c:pt>
                <c:pt idx="5383">
                  <c:v>0</c:v>
                </c:pt>
                <c:pt idx="5384">
                  <c:v>0</c:v>
                </c:pt>
                <c:pt idx="5385">
                  <c:v>0</c:v>
                </c:pt>
                <c:pt idx="5386">
                  <c:v>0</c:v>
                </c:pt>
                <c:pt idx="5387">
                  <c:v>0</c:v>
                </c:pt>
                <c:pt idx="5388">
                  <c:v>0</c:v>
                </c:pt>
                <c:pt idx="5389">
                  <c:v>0</c:v>
                </c:pt>
                <c:pt idx="5390">
                  <c:v>0</c:v>
                </c:pt>
                <c:pt idx="5391">
                  <c:v>0</c:v>
                </c:pt>
                <c:pt idx="5392">
                  <c:v>0</c:v>
                </c:pt>
                <c:pt idx="5393">
                  <c:v>0</c:v>
                </c:pt>
                <c:pt idx="5394">
                  <c:v>0</c:v>
                </c:pt>
                <c:pt idx="5395">
                  <c:v>0</c:v>
                </c:pt>
                <c:pt idx="5396">
                  <c:v>0</c:v>
                </c:pt>
                <c:pt idx="5397">
                  <c:v>0</c:v>
                </c:pt>
                <c:pt idx="5398">
                  <c:v>0</c:v>
                </c:pt>
                <c:pt idx="5399">
                  <c:v>0</c:v>
                </c:pt>
                <c:pt idx="5400">
                  <c:v>0</c:v>
                </c:pt>
                <c:pt idx="5401">
                  <c:v>0</c:v>
                </c:pt>
                <c:pt idx="5402">
                  <c:v>0</c:v>
                </c:pt>
                <c:pt idx="5403">
                  <c:v>0</c:v>
                </c:pt>
                <c:pt idx="5404">
                  <c:v>0</c:v>
                </c:pt>
                <c:pt idx="5405">
                  <c:v>0</c:v>
                </c:pt>
                <c:pt idx="5406">
                  <c:v>0</c:v>
                </c:pt>
                <c:pt idx="5407">
                  <c:v>0</c:v>
                </c:pt>
                <c:pt idx="5408">
                  <c:v>0</c:v>
                </c:pt>
                <c:pt idx="5409">
                  <c:v>0</c:v>
                </c:pt>
                <c:pt idx="5410">
                  <c:v>0</c:v>
                </c:pt>
                <c:pt idx="5411">
                  <c:v>0</c:v>
                </c:pt>
                <c:pt idx="5412">
                  <c:v>0</c:v>
                </c:pt>
                <c:pt idx="5413">
                  <c:v>0</c:v>
                </c:pt>
                <c:pt idx="5414">
                  <c:v>0</c:v>
                </c:pt>
                <c:pt idx="5415">
                  <c:v>0</c:v>
                </c:pt>
                <c:pt idx="5416">
                  <c:v>0</c:v>
                </c:pt>
                <c:pt idx="5417">
                  <c:v>0</c:v>
                </c:pt>
                <c:pt idx="5418">
                  <c:v>0</c:v>
                </c:pt>
                <c:pt idx="5419">
                  <c:v>0</c:v>
                </c:pt>
                <c:pt idx="5420">
                  <c:v>0</c:v>
                </c:pt>
                <c:pt idx="5421">
                  <c:v>0</c:v>
                </c:pt>
                <c:pt idx="5422">
                  <c:v>0</c:v>
                </c:pt>
                <c:pt idx="5423">
                  <c:v>0</c:v>
                </c:pt>
                <c:pt idx="5424">
                  <c:v>0</c:v>
                </c:pt>
                <c:pt idx="5425">
                  <c:v>0</c:v>
                </c:pt>
                <c:pt idx="5426">
                  <c:v>0</c:v>
                </c:pt>
                <c:pt idx="5427">
                  <c:v>0</c:v>
                </c:pt>
                <c:pt idx="5428">
                  <c:v>0</c:v>
                </c:pt>
                <c:pt idx="5429">
                  <c:v>0</c:v>
                </c:pt>
                <c:pt idx="5430">
                  <c:v>0</c:v>
                </c:pt>
                <c:pt idx="5431">
                  <c:v>0</c:v>
                </c:pt>
                <c:pt idx="5432">
                  <c:v>0</c:v>
                </c:pt>
                <c:pt idx="5433">
                  <c:v>0</c:v>
                </c:pt>
                <c:pt idx="5434">
                  <c:v>0</c:v>
                </c:pt>
                <c:pt idx="5435">
                  <c:v>0</c:v>
                </c:pt>
                <c:pt idx="5436">
                  <c:v>0</c:v>
                </c:pt>
                <c:pt idx="5437">
                  <c:v>0</c:v>
                </c:pt>
                <c:pt idx="5438">
                  <c:v>0</c:v>
                </c:pt>
                <c:pt idx="5439">
                  <c:v>0</c:v>
                </c:pt>
                <c:pt idx="5440">
                  <c:v>0</c:v>
                </c:pt>
                <c:pt idx="5441">
                  <c:v>0</c:v>
                </c:pt>
                <c:pt idx="5442">
                  <c:v>0</c:v>
                </c:pt>
                <c:pt idx="5443">
                  <c:v>0</c:v>
                </c:pt>
                <c:pt idx="5444">
                  <c:v>0</c:v>
                </c:pt>
                <c:pt idx="5445">
                  <c:v>0</c:v>
                </c:pt>
                <c:pt idx="5446">
                  <c:v>0</c:v>
                </c:pt>
                <c:pt idx="5447">
                  <c:v>0</c:v>
                </c:pt>
                <c:pt idx="5448">
                  <c:v>0</c:v>
                </c:pt>
                <c:pt idx="5449">
                  <c:v>0</c:v>
                </c:pt>
                <c:pt idx="5450">
                  <c:v>0</c:v>
                </c:pt>
                <c:pt idx="5451">
                  <c:v>0</c:v>
                </c:pt>
                <c:pt idx="5452">
                  <c:v>0</c:v>
                </c:pt>
                <c:pt idx="5453">
                  <c:v>0</c:v>
                </c:pt>
                <c:pt idx="5454">
                  <c:v>0</c:v>
                </c:pt>
                <c:pt idx="5455">
                  <c:v>0</c:v>
                </c:pt>
                <c:pt idx="5456">
                  <c:v>0</c:v>
                </c:pt>
                <c:pt idx="5457">
                  <c:v>0</c:v>
                </c:pt>
                <c:pt idx="5458">
                  <c:v>0</c:v>
                </c:pt>
                <c:pt idx="5459">
                  <c:v>0</c:v>
                </c:pt>
                <c:pt idx="5460">
                  <c:v>0</c:v>
                </c:pt>
                <c:pt idx="5461">
                  <c:v>0</c:v>
                </c:pt>
                <c:pt idx="5462">
                  <c:v>0</c:v>
                </c:pt>
                <c:pt idx="5463">
                  <c:v>0</c:v>
                </c:pt>
                <c:pt idx="5464">
                  <c:v>0</c:v>
                </c:pt>
                <c:pt idx="5465">
                  <c:v>0</c:v>
                </c:pt>
                <c:pt idx="5466">
                  <c:v>0</c:v>
                </c:pt>
                <c:pt idx="5467">
                  <c:v>0</c:v>
                </c:pt>
                <c:pt idx="5468">
                  <c:v>0</c:v>
                </c:pt>
                <c:pt idx="5469">
                  <c:v>0</c:v>
                </c:pt>
                <c:pt idx="5470">
                  <c:v>0</c:v>
                </c:pt>
                <c:pt idx="5471">
                  <c:v>0</c:v>
                </c:pt>
                <c:pt idx="5472">
                  <c:v>0</c:v>
                </c:pt>
                <c:pt idx="5473">
                  <c:v>0</c:v>
                </c:pt>
                <c:pt idx="5474">
                  <c:v>0</c:v>
                </c:pt>
                <c:pt idx="5475">
                  <c:v>0</c:v>
                </c:pt>
                <c:pt idx="5476">
                  <c:v>0</c:v>
                </c:pt>
                <c:pt idx="5477">
                  <c:v>0</c:v>
                </c:pt>
                <c:pt idx="5478">
                  <c:v>0</c:v>
                </c:pt>
                <c:pt idx="5479">
                  <c:v>0</c:v>
                </c:pt>
                <c:pt idx="5480">
                  <c:v>0</c:v>
                </c:pt>
                <c:pt idx="5481">
                  <c:v>0</c:v>
                </c:pt>
                <c:pt idx="5482">
                  <c:v>0</c:v>
                </c:pt>
                <c:pt idx="5483">
                  <c:v>0</c:v>
                </c:pt>
                <c:pt idx="5484">
                  <c:v>0</c:v>
                </c:pt>
                <c:pt idx="5485">
                  <c:v>0</c:v>
                </c:pt>
                <c:pt idx="5486">
                  <c:v>0</c:v>
                </c:pt>
                <c:pt idx="5487">
                  <c:v>0</c:v>
                </c:pt>
                <c:pt idx="5488">
                  <c:v>0</c:v>
                </c:pt>
                <c:pt idx="5489">
                  <c:v>0</c:v>
                </c:pt>
                <c:pt idx="5490">
                  <c:v>0</c:v>
                </c:pt>
                <c:pt idx="5491">
                  <c:v>0</c:v>
                </c:pt>
                <c:pt idx="5492">
                  <c:v>0</c:v>
                </c:pt>
                <c:pt idx="5493">
                  <c:v>0</c:v>
                </c:pt>
                <c:pt idx="5494">
                  <c:v>0</c:v>
                </c:pt>
                <c:pt idx="5495">
                  <c:v>0</c:v>
                </c:pt>
                <c:pt idx="5496">
                  <c:v>0</c:v>
                </c:pt>
                <c:pt idx="5497">
                  <c:v>0</c:v>
                </c:pt>
                <c:pt idx="5498">
                  <c:v>0</c:v>
                </c:pt>
                <c:pt idx="5499">
                  <c:v>0</c:v>
                </c:pt>
                <c:pt idx="5500">
                  <c:v>0</c:v>
                </c:pt>
                <c:pt idx="5501">
                  <c:v>0</c:v>
                </c:pt>
                <c:pt idx="5502">
                  <c:v>0</c:v>
                </c:pt>
                <c:pt idx="5503">
                  <c:v>0</c:v>
                </c:pt>
                <c:pt idx="5504">
                  <c:v>0</c:v>
                </c:pt>
                <c:pt idx="5505">
                  <c:v>0</c:v>
                </c:pt>
                <c:pt idx="5506">
                  <c:v>0</c:v>
                </c:pt>
                <c:pt idx="5507">
                  <c:v>0</c:v>
                </c:pt>
                <c:pt idx="5508">
                  <c:v>0</c:v>
                </c:pt>
                <c:pt idx="5509">
                  <c:v>0</c:v>
                </c:pt>
                <c:pt idx="5510">
                  <c:v>0</c:v>
                </c:pt>
                <c:pt idx="5511">
                  <c:v>0</c:v>
                </c:pt>
                <c:pt idx="5512">
                  <c:v>0</c:v>
                </c:pt>
                <c:pt idx="5513">
                  <c:v>0</c:v>
                </c:pt>
                <c:pt idx="5514">
                  <c:v>0</c:v>
                </c:pt>
                <c:pt idx="5515">
                  <c:v>0</c:v>
                </c:pt>
                <c:pt idx="5516">
                  <c:v>0</c:v>
                </c:pt>
                <c:pt idx="5517">
                  <c:v>0</c:v>
                </c:pt>
                <c:pt idx="5518">
                  <c:v>0</c:v>
                </c:pt>
                <c:pt idx="5519">
                  <c:v>0</c:v>
                </c:pt>
                <c:pt idx="5520">
                  <c:v>0</c:v>
                </c:pt>
                <c:pt idx="5521">
                  <c:v>0</c:v>
                </c:pt>
                <c:pt idx="5522">
                  <c:v>0</c:v>
                </c:pt>
                <c:pt idx="5523">
                  <c:v>0</c:v>
                </c:pt>
                <c:pt idx="5524">
                  <c:v>0</c:v>
                </c:pt>
                <c:pt idx="5525">
                  <c:v>0</c:v>
                </c:pt>
                <c:pt idx="5526">
                  <c:v>0</c:v>
                </c:pt>
                <c:pt idx="5527">
                  <c:v>0</c:v>
                </c:pt>
                <c:pt idx="5528">
                  <c:v>0</c:v>
                </c:pt>
                <c:pt idx="5529">
                  <c:v>0</c:v>
                </c:pt>
                <c:pt idx="5530">
                  <c:v>0</c:v>
                </c:pt>
                <c:pt idx="5531">
                  <c:v>0</c:v>
                </c:pt>
                <c:pt idx="5532">
                  <c:v>0</c:v>
                </c:pt>
                <c:pt idx="5533">
                  <c:v>0</c:v>
                </c:pt>
                <c:pt idx="5534">
                  <c:v>0</c:v>
                </c:pt>
                <c:pt idx="5535">
                  <c:v>0</c:v>
                </c:pt>
                <c:pt idx="5536">
                  <c:v>0</c:v>
                </c:pt>
                <c:pt idx="5537">
                  <c:v>0</c:v>
                </c:pt>
                <c:pt idx="5538">
                  <c:v>0</c:v>
                </c:pt>
                <c:pt idx="5539">
                  <c:v>0</c:v>
                </c:pt>
                <c:pt idx="5540">
                  <c:v>0</c:v>
                </c:pt>
                <c:pt idx="5541">
                  <c:v>0</c:v>
                </c:pt>
                <c:pt idx="5542">
                  <c:v>0</c:v>
                </c:pt>
                <c:pt idx="5543">
                  <c:v>0</c:v>
                </c:pt>
                <c:pt idx="5544">
                  <c:v>0</c:v>
                </c:pt>
                <c:pt idx="5545">
                  <c:v>0</c:v>
                </c:pt>
                <c:pt idx="5546">
                  <c:v>0</c:v>
                </c:pt>
                <c:pt idx="5547">
                  <c:v>0</c:v>
                </c:pt>
                <c:pt idx="5548">
                  <c:v>0</c:v>
                </c:pt>
                <c:pt idx="5549">
                  <c:v>0</c:v>
                </c:pt>
                <c:pt idx="5550">
                  <c:v>0</c:v>
                </c:pt>
                <c:pt idx="5551">
                  <c:v>0</c:v>
                </c:pt>
                <c:pt idx="5552">
                  <c:v>0</c:v>
                </c:pt>
                <c:pt idx="5553">
                  <c:v>0</c:v>
                </c:pt>
                <c:pt idx="5554">
                  <c:v>0</c:v>
                </c:pt>
                <c:pt idx="5555">
                  <c:v>0</c:v>
                </c:pt>
                <c:pt idx="5556">
                  <c:v>0</c:v>
                </c:pt>
                <c:pt idx="5557">
                  <c:v>0</c:v>
                </c:pt>
                <c:pt idx="5558">
                  <c:v>0</c:v>
                </c:pt>
                <c:pt idx="5559">
                  <c:v>0</c:v>
                </c:pt>
                <c:pt idx="5560">
                  <c:v>0</c:v>
                </c:pt>
                <c:pt idx="5561">
                  <c:v>0</c:v>
                </c:pt>
                <c:pt idx="5562">
                  <c:v>0</c:v>
                </c:pt>
                <c:pt idx="5563">
                  <c:v>0</c:v>
                </c:pt>
                <c:pt idx="5564">
                  <c:v>0</c:v>
                </c:pt>
                <c:pt idx="5565">
                  <c:v>0</c:v>
                </c:pt>
                <c:pt idx="5566">
                  <c:v>0</c:v>
                </c:pt>
                <c:pt idx="5567">
                  <c:v>0</c:v>
                </c:pt>
                <c:pt idx="5568">
                  <c:v>0</c:v>
                </c:pt>
                <c:pt idx="5569">
                  <c:v>0</c:v>
                </c:pt>
                <c:pt idx="5570">
                  <c:v>0</c:v>
                </c:pt>
                <c:pt idx="5571">
                  <c:v>0</c:v>
                </c:pt>
                <c:pt idx="5572">
                  <c:v>0</c:v>
                </c:pt>
                <c:pt idx="5573">
                  <c:v>0</c:v>
                </c:pt>
                <c:pt idx="5574">
                  <c:v>0</c:v>
                </c:pt>
                <c:pt idx="5575">
                  <c:v>0</c:v>
                </c:pt>
                <c:pt idx="5576">
                  <c:v>0</c:v>
                </c:pt>
                <c:pt idx="5577">
                  <c:v>0</c:v>
                </c:pt>
                <c:pt idx="5578">
                  <c:v>0</c:v>
                </c:pt>
                <c:pt idx="5579">
                  <c:v>0</c:v>
                </c:pt>
                <c:pt idx="5580">
                  <c:v>0</c:v>
                </c:pt>
                <c:pt idx="5581">
                  <c:v>0</c:v>
                </c:pt>
                <c:pt idx="5582">
                  <c:v>0</c:v>
                </c:pt>
                <c:pt idx="5583">
                  <c:v>0</c:v>
                </c:pt>
                <c:pt idx="5584">
                  <c:v>0</c:v>
                </c:pt>
                <c:pt idx="5585">
                  <c:v>0</c:v>
                </c:pt>
                <c:pt idx="5586">
                  <c:v>0</c:v>
                </c:pt>
                <c:pt idx="5587">
                  <c:v>0</c:v>
                </c:pt>
                <c:pt idx="5588">
                  <c:v>0</c:v>
                </c:pt>
                <c:pt idx="5589">
                  <c:v>0</c:v>
                </c:pt>
                <c:pt idx="5590">
                  <c:v>0</c:v>
                </c:pt>
                <c:pt idx="5591">
                  <c:v>0</c:v>
                </c:pt>
                <c:pt idx="5592">
                  <c:v>0</c:v>
                </c:pt>
                <c:pt idx="5593">
                  <c:v>0</c:v>
                </c:pt>
                <c:pt idx="5594">
                  <c:v>0</c:v>
                </c:pt>
                <c:pt idx="5595">
                  <c:v>0</c:v>
                </c:pt>
                <c:pt idx="5596">
                  <c:v>0</c:v>
                </c:pt>
                <c:pt idx="5597">
                  <c:v>0</c:v>
                </c:pt>
                <c:pt idx="5598">
                  <c:v>0</c:v>
                </c:pt>
                <c:pt idx="5599">
                  <c:v>0</c:v>
                </c:pt>
                <c:pt idx="5600">
                  <c:v>0</c:v>
                </c:pt>
                <c:pt idx="5601">
                  <c:v>0</c:v>
                </c:pt>
                <c:pt idx="5602">
                  <c:v>0</c:v>
                </c:pt>
                <c:pt idx="5603">
                  <c:v>0</c:v>
                </c:pt>
                <c:pt idx="5604">
                  <c:v>0</c:v>
                </c:pt>
                <c:pt idx="5605">
                  <c:v>0</c:v>
                </c:pt>
                <c:pt idx="5606">
                  <c:v>0</c:v>
                </c:pt>
                <c:pt idx="5607">
                  <c:v>0</c:v>
                </c:pt>
                <c:pt idx="5608">
                  <c:v>0</c:v>
                </c:pt>
                <c:pt idx="5609">
                  <c:v>0</c:v>
                </c:pt>
                <c:pt idx="5610">
                  <c:v>0</c:v>
                </c:pt>
                <c:pt idx="5611">
                  <c:v>0</c:v>
                </c:pt>
                <c:pt idx="5612">
                  <c:v>0</c:v>
                </c:pt>
                <c:pt idx="5613">
                  <c:v>0</c:v>
                </c:pt>
                <c:pt idx="5614">
                  <c:v>0</c:v>
                </c:pt>
                <c:pt idx="5615">
                  <c:v>0</c:v>
                </c:pt>
                <c:pt idx="5616">
                  <c:v>0</c:v>
                </c:pt>
                <c:pt idx="5617">
                  <c:v>0</c:v>
                </c:pt>
                <c:pt idx="5618">
                  <c:v>0</c:v>
                </c:pt>
                <c:pt idx="5619">
                  <c:v>0</c:v>
                </c:pt>
                <c:pt idx="5620">
                  <c:v>0</c:v>
                </c:pt>
                <c:pt idx="5621">
                  <c:v>0</c:v>
                </c:pt>
                <c:pt idx="5622">
                  <c:v>0</c:v>
                </c:pt>
                <c:pt idx="5623">
                  <c:v>0</c:v>
                </c:pt>
                <c:pt idx="5624">
                  <c:v>0</c:v>
                </c:pt>
                <c:pt idx="5625">
                  <c:v>0</c:v>
                </c:pt>
                <c:pt idx="5626">
                  <c:v>0</c:v>
                </c:pt>
                <c:pt idx="5627">
                  <c:v>0</c:v>
                </c:pt>
                <c:pt idx="5628">
                  <c:v>0</c:v>
                </c:pt>
                <c:pt idx="5629">
                  <c:v>0</c:v>
                </c:pt>
                <c:pt idx="5630">
                  <c:v>0</c:v>
                </c:pt>
                <c:pt idx="5631">
                  <c:v>0</c:v>
                </c:pt>
                <c:pt idx="5632">
                  <c:v>0</c:v>
                </c:pt>
                <c:pt idx="5633">
                  <c:v>0</c:v>
                </c:pt>
                <c:pt idx="5634">
                  <c:v>0</c:v>
                </c:pt>
                <c:pt idx="5635">
                  <c:v>0</c:v>
                </c:pt>
                <c:pt idx="5636">
                  <c:v>0</c:v>
                </c:pt>
                <c:pt idx="5637">
                  <c:v>0</c:v>
                </c:pt>
                <c:pt idx="5638">
                  <c:v>0</c:v>
                </c:pt>
                <c:pt idx="5639">
                  <c:v>0</c:v>
                </c:pt>
                <c:pt idx="5640">
                  <c:v>0</c:v>
                </c:pt>
                <c:pt idx="5641">
                  <c:v>0</c:v>
                </c:pt>
                <c:pt idx="5642">
                  <c:v>0</c:v>
                </c:pt>
                <c:pt idx="5643">
                  <c:v>0</c:v>
                </c:pt>
                <c:pt idx="5644">
                  <c:v>0</c:v>
                </c:pt>
                <c:pt idx="5645">
                  <c:v>0</c:v>
                </c:pt>
                <c:pt idx="5646">
                  <c:v>0</c:v>
                </c:pt>
                <c:pt idx="5647">
                  <c:v>0</c:v>
                </c:pt>
                <c:pt idx="5648">
                  <c:v>0</c:v>
                </c:pt>
                <c:pt idx="5649">
                  <c:v>0</c:v>
                </c:pt>
                <c:pt idx="5650">
                  <c:v>0</c:v>
                </c:pt>
                <c:pt idx="5651">
                  <c:v>0</c:v>
                </c:pt>
                <c:pt idx="5652">
                  <c:v>0</c:v>
                </c:pt>
                <c:pt idx="5653">
                  <c:v>0</c:v>
                </c:pt>
                <c:pt idx="5654">
                  <c:v>0</c:v>
                </c:pt>
                <c:pt idx="5655">
                  <c:v>0</c:v>
                </c:pt>
                <c:pt idx="5656">
                  <c:v>0</c:v>
                </c:pt>
                <c:pt idx="5657">
                  <c:v>0</c:v>
                </c:pt>
                <c:pt idx="5658">
                  <c:v>0</c:v>
                </c:pt>
                <c:pt idx="5659">
                  <c:v>0</c:v>
                </c:pt>
                <c:pt idx="5660">
                  <c:v>0</c:v>
                </c:pt>
                <c:pt idx="5661">
                  <c:v>0</c:v>
                </c:pt>
                <c:pt idx="5662">
                  <c:v>0</c:v>
                </c:pt>
                <c:pt idx="5663">
                  <c:v>0</c:v>
                </c:pt>
                <c:pt idx="5664">
                  <c:v>0</c:v>
                </c:pt>
                <c:pt idx="5665">
                  <c:v>0</c:v>
                </c:pt>
                <c:pt idx="5666">
                  <c:v>0</c:v>
                </c:pt>
                <c:pt idx="5667">
                  <c:v>0</c:v>
                </c:pt>
                <c:pt idx="5668">
                  <c:v>0</c:v>
                </c:pt>
                <c:pt idx="5669">
                  <c:v>0</c:v>
                </c:pt>
                <c:pt idx="5670">
                  <c:v>0</c:v>
                </c:pt>
                <c:pt idx="5671">
                  <c:v>0</c:v>
                </c:pt>
                <c:pt idx="5672">
                  <c:v>0</c:v>
                </c:pt>
                <c:pt idx="5673">
                  <c:v>0</c:v>
                </c:pt>
                <c:pt idx="5674">
                  <c:v>0</c:v>
                </c:pt>
                <c:pt idx="5675">
                  <c:v>0</c:v>
                </c:pt>
                <c:pt idx="5676">
                  <c:v>0</c:v>
                </c:pt>
                <c:pt idx="5677">
                  <c:v>0</c:v>
                </c:pt>
                <c:pt idx="5678">
                  <c:v>0</c:v>
                </c:pt>
                <c:pt idx="5679">
                  <c:v>0</c:v>
                </c:pt>
                <c:pt idx="5680">
                  <c:v>0</c:v>
                </c:pt>
                <c:pt idx="5681">
                  <c:v>0</c:v>
                </c:pt>
                <c:pt idx="5682">
                  <c:v>0</c:v>
                </c:pt>
                <c:pt idx="5683">
                  <c:v>0</c:v>
                </c:pt>
                <c:pt idx="5684">
                  <c:v>0</c:v>
                </c:pt>
                <c:pt idx="5685">
                  <c:v>0</c:v>
                </c:pt>
                <c:pt idx="5686">
                  <c:v>0</c:v>
                </c:pt>
                <c:pt idx="5687">
                  <c:v>0</c:v>
                </c:pt>
                <c:pt idx="5688">
                  <c:v>0</c:v>
                </c:pt>
                <c:pt idx="5689">
                  <c:v>0</c:v>
                </c:pt>
                <c:pt idx="5690">
                  <c:v>0</c:v>
                </c:pt>
                <c:pt idx="5691">
                  <c:v>0</c:v>
                </c:pt>
                <c:pt idx="5692">
                  <c:v>0</c:v>
                </c:pt>
                <c:pt idx="5693">
                  <c:v>0</c:v>
                </c:pt>
                <c:pt idx="5694">
                  <c:v>0</c:v>
                </c:pt>
                <c:pt idx="5695">
                  <c:v>0</c:v>
                </c:pt>
                <c:pt idx="5696">
                  <c:v>0</c:v>
                </c:pt>
                <c:pt idx="5697">
                  <c:v>0</c:v>
                </c:pt>
                <c:pt idx="5698">
                  <c:v>0</c:v>
                </c:pt>
                <c:pt idx="5699">
                  <c:v>0</c:v>
                </c:pt>
                <c:pt idx="5700">
                  <c:v>0</c:v>
                </c:pt>
                <c:pt idx="5701">
                  <c:v>0</c:v>
                </c:pt>
                <c:pt idx="5702">
                  <c:v>0</c:v>
                </c:pt>
                <c:pt idx="5703">
                  <c:v>0</c:v>
                </c:pt>
                <c:pt idx="5704">
                  <c:v>0</c:v>
                </c:pt>
                <c:pt idx="5705">
                  <c:v>0</c:v>
                </c:pt>
                <c:pt idx="5706">
                  <c:v>0</c:v>
                </c:pt>
                <c:pt idx="5707">
                  <c:v>0</c:v>
                </c:pt>
                <c:pt idx="5708">
                  <c:v>0</c:v>
                </c:pt>
                <c:pt idx="5709">
                  <c:v>0</c:v>
                </c:pt>
                <c:pt idx="5710">
                  <c:v>0</c:v>
                </c:pt>
                <c:pt idx="5711">
                  <c:v>0</c:v>
                </c:pt>
                <c:pt idx="5712">
                  <c:v>0</c:v>
                </c:pt>
                <c:pt idx="5713">
                  <c:v>0</c:v>
                </c:pt>
                <c:pt idx="5714">
                  <c:v>0</c:v>
                </c:pt>
                <c:pt idx="5715">
                  <c:v>0</c:v>
                </c:pt>
                <c:pt idx="5716">
                  <c:v>0</c:v>
                </c:pt>
                <c:pt idx="5717">
                  <c:v>0</c:v>
                </c:pt>
                <c:pt idx="5718">
                  <c:v>0</c:v>
                </c:pt>
                <c:pt idx="5719">
                  <c:v>0</c:v>
                </c:pt>
                <c:pt idx="5720">
                  <c:v>0</c:v>
                </c:pt>
                <c:pt idx="5721">
                  <c:v>0</c:v>
                </c:pt>
                <c:pt idx="5722">
                  <c:v>0</c:v>
                </c:pt>
                <c:pt idx="5723">
                  <c:v>0</c:v>
                </c:pt>
                <c:pt idx="5724">
                  <c:v>0</c:v>
                </c:pt>
                <c:pt idx="5725">
                  <c:v>0</c:v>
                </c:pt>
                <c:pt idx="5726">
                  <c:v>0</c:v>
                </c:pt>
                <c:pt idx="5727">
                  <c:v>0</c:v>
                </c:pt>
                <c:pt idx="5728">
                  <c:v>0</c:v>
                </c:pt>
                <c:pt idx="5729">
                  <c:v>0</c:v>
                </c:pt>
                <c:pt idx="5730">
                  <c:v>0</c:v>
                </c:pt>
                <c:pt idx="5731">
                  <c:v>0</c:v>
                </c:pt>
                <c:pt idx="5732">
                  <c:v>0</c:v>
                </c:pt>
                <c:pt idx="5733">
                  <c:v>0</c:v>
                </c:pt>
                <c:pt idx="5734">
                  <c:v>0</c:v>
                </c:pt>
                <c:pt idx="5735">
                  <c:v>0</c:v>
                </c:pt>
                <c:pt idx="5736">
                  <c:v>0</c:v>
                </c:pt>
                <c:pt idx="5737">
                  <c:v>0</c:v>
                </c:pt>
                <c:pt idx="5738">
                  <c:v>0</c:v>
                </c:pt>
                <c:pt idx="5739">
                  <c:v>0</c:v>
                </c:pt>
                <c:pt idx="5740">
                  <c:v>0</c:v>
                </c:pt>
                <c:pt idx="5741">
                  <c:v>0</c:v>
                </c:pt>
                <c:pt idx="5742">
                  <c:v>0</c:v>
                </c:pt>
                <c:pt idx="5743">
                  <c:v>0</c:v>
                </c:pt>
                <c:pt idx="5744">
                  <c:v>0</c:v>
                </c:pt>
                <c:pt idx="5745">
                  <c:v>0</c:v>
                </c:pt>
                <c:pt idx="5746">
                  <c:v>0</c:v>
                </c:pt>
                <c:pt idx="5747">
                  <c:v>0</c:v>
                </c:pt>
                <c:pt idx="5748">
                  <c:v>0</c:v>
                </c:pt>
                <c:pt idx="5749">
                  <c:v>0</c:v>
                </c:pt>
                <c:pt idx="5750">
                  <c:v>0</c:v>
                </c:pt>
                <c:pt idx="5751">
                  <c:v>0</c:v>
                </c:pt>
                <c:pt idx="5752">
                  <c:v>0</c:v>
                </c:pt>
                <c:pt idx="5753">
                  <c:v>0</c:v>
                </c:pt>
                <c:pt idx="5754">
                  <c:v>0</c:v>
                </c:pt>
                <c:pt idx="5755">
                  <c:v>0</c:v>
                </c:pt>
                <c:pt idx="5756">
                  <c:v>0</c:v>
                </c:pt>
                <c:pt idx="5757">
                  <c:v>0</c:v>
                </c:pt>
                <c:pt idx="5758">
                  <c:v>0</c:v>
                </c:pt>
                <c:pt idx="5759">
                  <c:v>0</c:v>
                </c:pt>
                <c:pt idx="5760">
                  <c:v>0</c:v>
                </c:pt>
                <c:pt idx="5761">
                  <c:v>0</c:v>
                </c:pt>
                <c:pt idx="5762">
                  <c:v>0</c:v>
                </c:pt>
                <c:pt idx="5763">
                  <c:v>0</c:v>
                </c:pt>
                <c:pt idx="5764">
                  <c:v>0</c:v>
                </c:pt>
                <c:pt idx="5765">
                  <c:v>0</c:v>
                </c:pt>
                <c:pt idx="5766">
                  <c:v>0</c:v>
                </c:pt>
                <c:pt idx="5767">
                  <c:v>0</c:v>
                </c:pt>
                <c:pt idx="5768">
                  <c:v>0</c:v>
                </c:pt>
                <c:pt idx="5769">
                  <c:v>0</c:v>
                </c:pt>
                <c:pt idx="5770">
                  <c:v>0</c:v>
                </c:pt>
                <c:pt idx="5771">
                  <c:v>0</c:v>
                </c:pt>
                <c:pt idx="5772">
                  <c:v>0</c:v>
                </c:pt>
                <c:pt idx="5773">
                  <c:v>0</c:v>
                </c:pt>
                <c:pt idx="5774">
                  <c:v>0</c:v>
                </c:pt>
                <c:pt idx="5775">
                  <c:v>0</c:v>
                </c:pt>
                <c:pt idx="5776">
                  <c:v>0</c:v>
                </c:pt>
                <c:pt idx="5777">
                  <c:v>0</c:v>
                </c:pt>
                <c:pt idx="5778">
                  <c:v>0</c:v>
                </c:pt>
                <c:pt idx="5779">
                  <c:v>0</c:v>
                </c:pt>
                <c:pt idx="5780">
                  <c:v>0</c:v>
                </c:pt>
                <c:pt idx="5781">
                  <c:v>0</c:v>
                </c:pt>
                <c:pt idx="5782">
                  <c:v>0</c:v>
                </c:pt>
                <c:pt idx="5783">
                  <c:v>0</c:v>
                </c:pt>
                <c:pt idx="5784">
                  <c:v>0</c:v>
                </c:pt>
                <c:pt idx="5785">
                  <c:v>0</c:v>
                </c:pt>
                <c:pt idx="5786">
                  <c:v>0</c:v>
                </c:pt>
                <c:pt idx="5787">
                  <c:v>0</c:v>
                </c:pt>
                <c:pt idx="5788">
                  <c:v>0</c:v>
                </c:pt>
                <c:pt idx="5789">
                  <c:v>0</c:v>
                </c:pt>
                <c:pt idx="5790">
                  <c:v>0</c:v>
                </c:pt>
                <c:pt idx="5791">
                  <c:v>0</c:v>
                </c:pt>
                <c:pt idx="5792">
                  <c:v>0</c:v>
                </c:pt>
                <c:pt idx="5793">
                  <c:v>0</c:v>
                </c:pt>
                <c:pt idx="5794">
                  <c:v>0</c:v>
                </c:pt>
                <c:pt idx="5795">
                  <c:v>0</c:v>
                </c:pt>
                <c:pt idx="5796">
                  <c:v>0</c:v>
                </c:pt>
                <c:pt idx="5797">
                  <c:v>0</c:v>
                </c:pt>
                <c:pt idx="5798">
                  <c:v>0</c:v>
                </c:pt>
                <c:pt idx="5799">
                  <c:v>0</c:v>
                </c:pt>
                <c:pt idx="5800">
                  <c:v>0</c:v>
                </c:pt>
                <c:pt idx="5801">
                  <c:v>0</c:v>
                </c:pt>
                <c:pt idx="5802">
                  <c:v>0</c:v>
                </c:pt>
                <c:pt idx="5803">
                  <c:v>0</c:v>
                </c:pt>
                <c:pt idx="5804">
                  <c:v>0</c:v>
                </c:pt>
                <c:pt idx="5805">
                  <c:v>0</c:v>
                </c:pt>
                <c:pt idx="5806">
                  <c:v>0</c:v>
                </c:pt>
                <c:pt idx="5807">
                  <c:v>0</c:v>
                </c:pt>
                <c:pt idx="5808">
                  <c:v>0</c:v>
                </c:pt>
                <c:pt idx="5809">
                  <c:v>0</c:v>
                </c:pt>
                <c:pt idx="5810">
                  <c:v>0</c:v>
                </c:pt>
                <c:pt idx="5811">
                  <c:v>0</c:v>
                </c:pt>
                <c:pt idx="5812">
                  <c:v>0</c:v>
                </c:pt>
                <c:pt idx="5813">
                  <c:v>0</c:v>
                </c:pt>
                <c:pt idx="5814">
                  <c:v>0</c:v>
                </c:pt>
                <c:pt idx="5815">
                  <c:v>0</c:v>
                </c:pt>
                <c:pt idx="5816">
                  <c:v>0</c:v>
                </c:pt>
                <c:pt idx="5817">
                  <c:v>0</c:v>
                </c:pt>
                <c:pt idx="5818">
                  <c:v>0</c:v>
                </c:pt>
                <c:pt idx="5819">
                  <c:v>0</c:v>
                </c:pt>
                <c:pt idx="5820">
                  <c:v>0</c:v>
                </c:pt>
                <c:pt idx="5821">
                  <c:v>0</c:v>
                </c:pt>
                <c:pt idx="5822">
                  <c:v>0</c:v>
                </c:pt>
                <c:pt idx="5823">
                  <c:v>0</c:v>
                </c:pt>
                <c:pt idx="5824">
                  <c:v>0</c:v>
                </c:pt>
                <c:pt idx="5825">
                  <c:v>0</c:v>
                </c:pt>
                <c:pt idx="5826">
                  <c:v>0</c:v>
                </c:pt>
                <c:pt idx="5827">
                  <c:v>0</c:v>
                </c:pt>
                <c:pt idx="5828">
                  <c:v>0</c:v>
                </c:pt>
                <c:pt idx="5829">
                  <c:v>0</c:v>
                </c:pt>
                <c:pt idx="5830">
                  <c:v>0</c:v>
                </c:pt>
                <c:pt idx="5831">
                  <c:v>0</c:v>
                </c:pt>
                <c:pt idx="5832">
                  <c:v>0</c:v>
                </c:pt>
                <c:pt idx="5833">
                  <c:v>0</c:v>
                </c:pt>
                <c:pt idx="5834">
                  <c:v>0</c:v>
                </c:pt>
                <c:pt idx="5835">
                  <c:v>0</c:v>
                </c:pt>
                <c:pt idx="5836">
                  <c:v>0</c:v>
                </c:pt>
                <c:pt idx="5837">
                  <c:v>0</c:v>
                </c:pt>
                <c:pt idx="5838">
                  <c:v>0</c:v>
                </c:pt>
                <c:pt idx="5839">
                  <c:v>0</c:v>
                </c:pt>
                <c:pt idx="5840">
                  <c:v>0</c:v>
                </c:pt>
                <c:pt idx="5841">
                  <c:v>0</c:v>
                </c:pt>
                <c:pt idx="5842">
                  <c:v>0</c:v>
                </c:pt>
                <c:pt idx="5843">
                  <c:v>0</c:v>
                </c:pt>
                <c:pt idx="5844">
                  <c:v>0</c:v>
                </c:pt>
                <c:pt idx="5845">
                  <c:v>0</c:v>
                </c:pt>
                <c:pt idx="5846">
                  <c:v>0</c:v>
                </c:pt>
                <c:pt idx="5847">
                  <c:v>0</c:v>
                </c:pt>
                <c:pt idx="5848">
                  <c:v>0</c:v>
                </c:pt>
                <c:pt idx="5849">
                  <c:v>0</c:v>
                </c:pt>
                <c:pt idx="5850">
                  <c:v>0</c:v>
                </c:pt>
                <c:pt idx="5851">
                  <c:v>0</c:v>
                </c:pt>
                <c:pt idx="5852">
                  <c:v>0</c:v>
                </c:pt>
                <c:pt idx="5853">
                  <c:v>0</c:v>
                </c:pt>
                <c:pt idx="5854">
                  <c:v>0</c:v>
                </c:pt>
                <c:pt idx="5855">
                  <c:v>0</c:v>
                </c:pt>
                <c:pt idx="5856">
                  <c:v>0</c:v>
                </c:pt>
                <c:pt idx="5857">
                  <c:v>0</c:v>
                </c:pt>
                <c:pt idx="5858">
                  <c:v>0</c:v>
                </c:pt>
                <c:pt idx="5859">
                  <c:v>0</c:v>
                </c:pt>
                <c:pt idx="5860">
                  <c:v>0</c:v>
                </c:pt>
                <c:pt idx="5861">
                  <c:v>0</c:v>
                </c:pt>
                <c:pt idx="5862">
                  <c:v>0</c:v>
                </c:pt>
                <c:pt idx="5863">
                  <c:v>0</c:v>
                </c:pt>
                <c:pt idx="5864">
                  <c:v>0</c:v>
                </c:pt>
                <c:pt idx="5865">
                  <c:v>0</c:v>
                </c:pt>
                <c:pt idx="5866">
                  <c:v>0</c:v>
                </c:pt>
                <c:pt idx="5867">
                  <c:v>0</c:v>
                </c:pt>
                <c:pt idx="5868">
                  <c:v>0</c:v>
                </c:pt>
                <c:pt idx="5869">
                  <c:v>0</c:v>
                </c:pt>
                <c:pt idx="5870">
                  <c:v>0</c:v>
                </c:pt>
                <c:pt idx="5871">
                  <c:v>0</c:v>
                </c:pt>
                <c:pt idx="5872">
                  <c:v>0</c:v>
                </c:pt>
                <c:pt idx="5873">
                  <c:v>0</c:v>
                </c:pt>
                <c:pt idx="5874">
                  <c:v>0</c:v>
                </c:pt>
                <c:pt idx="5875">
                  <c:v>0</c:v>
                </c:pt>
                <c:pt idx="5876">
                  <c:v>0</c:v>
                </c:pt>
                <c:pt idx="5877">
                  <c:v>0</c:v>
                </c:pt>
                <c:pt idx="5878">
                  <c:v>0</c:v>
                </c:pt>
                <c:pt idx="5879">
                  <c:v>0</c:v>
                </c:pt>
                <c:pt idx="5880">
                  <c:v>0</c:v>
                </c:pt>
                <c:pt idx="5881">
                  <c:v>0</c:v>
                </c:pt>
                <c:pt idx="5882">
                  <c:v>0</c:v>
                </c:pt>
                <c:pt idx="5883">
                  <c:v>0</c:v>
                </c:pt>
                <c:pt idx="5884">
                  <c:v>0</c:v>
                </c:pt>
                <c:pt idx="5885">
                  <c:v>0</c:v>
                </c:pt>
                <c:pt idx="5886">
                  <c:v>0</c:v>
                </c:pt>
                <c:pt idx="5887">
                  <c:v>0</c:v>
                </c:pt>
                <c:pt idx="5888">
                  <c:v>0</c:v>
                </c:pt>
                <c:pt idx="5889">
                  <c:v>0</c:v>
                </c:pt>
                <c:pt idx="5890">
                  <c:v>0</c:v>
                </c:pt>
                <c:pt idx="5891">
                  <c:v>0</c:v>
                </c:pt>
                <c:pt idx="5892">
                  <c:v>0</c:v>
                </c:pt>
                <c:pt idx="5893">
                  <c:v>0</c:v>
                </c:pt>
                <c:pt idx="5894">
                  <c:v>0</c:v>
                </c:pt>
                <c:pt idx="5895">
                  <c:v>0</c:v>
                </c:pt>
                <c:pt idx="5896">
                  <c:v>0</c:v>
                </c:pt>
                <c:pt idx="5897">
                  <c:v>0</c:v>
                </c:pt>
                <c:pt idx="5898">
                  <c:v>0</c:v>
                </c:pt>
                <c:pt idx="5899">
                  <c:v>0</c:v>
                </c:pt>
                <c:pt idx="5900">
                  <c:v>0</c:v>
                </c:pt>
                <c:pt idx="5901">
                  <c:v>0</c:v>
                </c:pt>
                <c:pt idx="5902">
                  <c:v>0</c:v>
                </c:pt>
                <c:pt idx="5903">
                  <c:v>0</c:v>
                </c:pt>
                <c:pt idx="5904">
                  <c:v>0</c:v>
                </c:pt>
                <c:pt idx="5905">
                  <c:v>0</c:v>
                </c:pt>
                <c:pt idx="5906">
                  <c:v>0</c:v>
                </c:pt>
                <c:pt idx="5907">
                  <c:v>0</c:v>
                </c:pt>
                <c:pt idx="5908">
                  <c:v>0</c:v>
                </c:pt>
                <c:pt idx="5909">
                  <c:v>0</c:v>
                </c:pt>
                <c:pt idx="5910">
                  <c:v>0</c:v>
                </c:pt>
                <c:pt idx="5911">
                  <c:v>0</c:v>
                </c:pt>
                <c:pt idx="5912">
                  <c:v>0</c:v>
                </c:pt>
                <c:pt idx="5913">
                  <c:v>0</c:v>
                </c:pt>
                <c:pt idx="5914">
                  <c:v>0</c:v>
                </c:pt>
                <c:pt idx="5915">
                  <c:v>0</c:v>
                </c:pt>
                <c:pt idx="5916">
                  <c:v>0</c:v>
                </c:pt>
                <c:pt idx="5917">
                  <c:v>0</c:v>
                </c:pt>
                <c:pt idx="5918">
                  <c:v>0</c:v>
                </c:pt>
                <c:pt idx="5919">
                  <c:v>0</c:v>
                </c:pt>
                <c:pt idx="5920">
                  <c:v>0</c:v>
                </c:pt>
                <c:pt idx="5921">
                  <c:v>0</c:v>
                </c:pt>
                <c:pt idx="5922">
                  <c:v>0</c:v>
                </c:pt>
                <c:pt idx="5923">
                  <c:v>0</c:v>
                </c:pt>
                <c:pt idx="5924">
                  <c:v>0</c:v>
                </c:pt>
                <c:pt idx="5925">
                  <c:v>0</c:v>
                </c:pt>
                <c:pt idx="5926">
                  <c:v>0</c:v>
                </c:pt>
                <c:pt idx="5927">
                  <c:v>0</c:v>
                </c:pt>
                <c:pt idx="5928">
                  <c:v>0</c:v>
                </c:pt>
                <c:pt idx="5929">
                  <c:v>0</c:v>
                </c:pt>
                <c:pt idx="5930">
                  <c:v>0</c:v>
                </c:pt>
                <c:pt idx="5931">
                  <c:v>0</c:v>
                </c:pt>
                <c:pt idx="5932">
                  <c:v>0</c:v>
                </c:pt>
                <c:pt idx="5933">
                  <c:v>0</c:v>
                </c:pt>
                <c:pt idx="5934">
                  <c:v>0</c:v>
                </c:pt>
                <c:pt idx="5935">
                  <c:v>0</c:v>
                </c:pt>
                <c:pt idx="5936">
                  <c:v>0</c:v>
                </c:pt>
                <c:pt idx="5937">
                  <c:v>0</c:v>
                </c:pt>
                <c:pt idx="5938">
                  <c:v>0</c:v>
                </c:pt>
                <c:pt idx="5939">
                  <c:v>0</c:v>
                </c:pt>
                <c:pt idx="5940">
                  <c:v>0</c:v>
                </c:pt>
                <c:pt idx="5941">
                  <c:v>0</c:v>
                </c:pt>
                <c:pt idx="5942">
                  <c:v>0</c:v>
                </c:pt>
                <c:pt idx="5943">
                  <c:v>0</c:v>
                </c:pt>
                <c:pt idx="5944">
                  <c:v>0</c:v>
                </c:pt>
                <c:pt idx="5945">
                  <c:v>0</c:v>
                </c:pt>
                <c:pt idx="5946">
                  <c:v>0</c:v>
                </c:pt>
                <c:pt idx="5947">
                  <c:v>0</c:v>
                </c:pt>
                <c:pt idx="5948">
                  <c:v>0</c:v>
                </c:pt>
                <c:pt idx="5949">
                  <c:v>0</c:v>
                </c:pt>
                <c:pt idx="5950">
                  <c:v>0</c:v>
                </c:pt>
                <c:pt idx="5951">
                  <c:v>0</c:v>
                </c:pt>
                <c:pt idx="5952">
                  <c:v>0</c:v>
                </c:pt>
                <c:pt idx="5953">
                  <c:v>0</c:v>
                </c:pt>
                <c:pt idx="5954">
                  <c:v>0</c:v>
                </c:pt>
                <c:pt idx="5955">
                  <c:v>0</c:v>
                </c:pt>
                <c:pt idx="5956">
                  <c:v>0</c:v>
                </c:pt>
                <c:pt idx="5957">
                  <c:v>0</c:v>
                </c:pt>
                <c:pt idx="5958">
                  <c:v>0</c:v>
                </c:pt>
                <c:pt idx="5959">
                  <c:v>0</c:v>
                </c:pt>
                <c:pt idx="5960">
                  <c:v>0</c:v>
                </c:pt>
                <c:pt idx="5961">
                  <c:v>0</c:v>
                </c:pt>
                <c:pt idx="5962">
                  <c:v>0</c:v>
                </c:pt>
                <c:pt idx="5963">
                  <c:v>0</c:v>
                </c:pt>
                <c:pt idx="5964">
                  <c:v>0</c:v>
                </c:pt>
                <c:pt idx="5965">
                  <c:v>0</c:v>
                </c:pt>
                <c:pt idx="5966">
                  <c:v>0</c:v>
                </c:pt>
                <c:pt idx="5967">
                  <c:v>0</c:v>
                </c:pt>
                <c:pt idx="5968">
                  <c:v>0</c:v>
                </c:pt>
                <c:pt idx="5969">
                  <c:v>0</c:v>
                </c:pt>
                <c:pt idx="5970">
                  <c:v>0</c:v>
                </c:pt>
                <c:pt idx="5971">
                  <c:v>0</c:v>
                </c:pt>
                <c:pt idx="5972">
                  <c:v>0</c:v>
                </c:pt>
                <c:pt idx="5973">
                  <c:v>0</c:v>
                </c:pt>
                <c:pt idx="5974">
                  <c:v>0</c:v>
                </c:pt>
                <c:pt idx="5975">
                  <c:v>0</c:v>
                </c:pt>
                <c:pt idx="5976">
                  <c:v>0</c:v>
                </c:pt>
                <c:pt idx="5977">
                  <c:v>0</c:v>
                </c:pt>
                <c:pt idx="5978">
                  <c:v>0</c:v>
                </c:pt>
                <c:pt idx="5979">
                  <c:v>0</c:v>
                </c:pt>
                <c:pt idx="5980">
                  <c:v>0</c:v>
                </c:pt>
                <c:pt idx="5981">
                  <c:v>0</c:v>
                </c:pt>
                <c:pt idx="5982">
                  <c:v>0</c:v>
                </c:pt>
                <c:pt idx="5983">
                  <c:v>0</c:v>
                </c:pt>
                <c:pt idx="5984">
                  <c:v>0</c:v>
                </c:pt>
                <c:pt idx="5985">
                  <c:v>0</c:v>
                </c:pt>
                <c:pt idx="5986">
                  <c:v>0</c:v>
                </c:pt>
                <c:pt idx="5987">
                  <c:v>0</c:v>
                </c:pt>
                <c:pt idx="5988">
                  <c:v>0</c:v>
                </c:pt>
                <c:pt idx="5989">
                  <c:v>0</c:v>
                </c:pt>
                <c:pt idx="5990">
                  <c:v>0</c:v>
                </c:pt>
                <c:pt idx="5991">
                  <c:v>0</c:v>
                </c:pt>
                <c:pt idx="5992">
                  <c:v>0</c:v>
                </c:pt>
                <c:pt idx="5993">
                  <c:v>0</c:v>
                </c:pt>
                <c:pt idx="5994">
                  <c:v>0</c:v>
                </c:pt>
                <c:pt idx="5995">
                  <c:v>0</c:v>
                </c:pt>
                <c:pt idx="5996">
                  <c:v>0</c:v>
                </c:pt>
                <c:pt idx="5997">
                  <c:v>0</c:v>
                </c:pt>
                <c:pt idx="5998">
                  <c:v>0</c:v>
                </c:pt>
                <c:pt idx="5999">
                  <c:v>0</c:v>
                </c:pt>
                <c:pt idx="6000">
                  <c:v>0</c:v>
                </c:pt>
                <c:pt idx="6001">
                  <c:v>0</c:v>
                </c:pt>
                <c:pt idx="6002">
                  <c:v>0</c:v>
                </c:pt>
                <c:pt idx="6003">
                  <c:v>0</c:v>
                </c:pt>
                <c:pt idx="6004">
                  <c:v>0</c:v>
                </c:pt>
                <c:pt idx="6005">
                  <c:v>0</c:v>
                </c:pt>
                <c:pt idx="6006">
                  <c:v>0</c:v>
                </c:pt>
                <c:pt idx="6007">
                  <c:v>0</c:v>
                </c:pt>
                <c:pt idx="6008">
                  <c:v>0</c:v>
                </c:pt>
                <c:pt idx="6009">
                  <c:v>0</c:v>
                </c:pt>
                <c:pt idx="6010">
                  <c:v>0</c:v>
                </c:pt>
                <c:pt idx="6011">
                  <c:v>0</c:v>
                </c:pt>
                <c:pt idx="6012">
                  <c:v>0</c:v>
                </c:pt>
              </c:numCache>
            </c:numRef>
          </c:cat>
          <c:val>
            <c:numRef>
              <c:f>Platts!$I$24:$I$6036</c:f>
              <c:numCache>
                <c:formatCode>#,##0_);\(#,##0\);"-  ";" "@" "</c:formatCode>
                <c:ptCount val="6013"/>
                <c:pt idx="0">
                  <c:v>64.069999999999993</c:v>
                </c:pt>
                <c:pt idx="1">
                  <c:v>63.95</c:v>
                </c:pt>
                <c:pt idx="2">
                  <c:v>63.83</c:v>
                </c:pt>
                <c:pt idx="3">
                  <c:v>63.72</c:v>
                </c:pt>
                <c:pt idx="4">
                  <c:v>63.63</c:v>
                </c:pt>
                <c:pt idx="5">
                  <c:v>63.55</c:v>
                </c:pt>
                <c:pt idx="6">
                  <c:v>63.49</c:v>
                </c:pt>
                <c:pt idx="7">
                  <c:v>63.4</c:v>
                </c:pt>
                <c:pt idx="8">
                  <c:v>63.3</c:v>
                </c:pt>
                <c:pt idx="9">
                  <c:v>63.2</c:v>
                </c:pt>
                <c:pt idx="10">
                  <c:v>63.1</c:v>
                </c:pt>
                <c:pt idx="11">
                  <c:v>63.01</c:v>
                </c:pt>
                <c:pt idx="12">
                  <c:v>62.94</c:v>
                </c:pt>
                <c:pt idx="13">
                  <c:v>62.94</c:v>
                </c:pt>
                <c:pt idx="14">
                  <c:v>63.08</c:v>
                </c:pt>
                <c:pt idx="15">
                  <c:v>63.43</c:v>
                </c:pt>
                <c:pt idx="16">
                  <c:v>63.92</c:v>
                </c:pt>
                <c:pt idx="17">
                  <c:v>64.44</c:v>
                </c:pt>
                <c:pt idx="2943">
                  <c:v>65.094999999999999</c:v>
                </c:pt>
                <c:pt idx="2944">
                  <c:v>0</c:v>
                </c:pt>
                <c:pt idx="2945">
                  <c:v>0</c:v>
                </c:pt>
                <c:pt idx="2946">
                  <c:v>0</c:v>
                </c:pt>
                <c:pt idx="2947">
                  <c:v>0</c:v>
                </c:pt>
                <c:pt idx="2948">
                  <c:v>0</c:v>
                </c:pt>
                <c:pt idx="2949">
                  <c:v>0</c:v>
                </c:pt>
                <c:pt idx="2950">
                  <c:v>0</c:v>
                </c:pt>
                <c:pt idx="2951">
                  <c:v>0</c:v>
                </c:pt>
                <c:pt idx="2952">
                  <c:v>0</c:v>
                </c:pt>
                <c:pt idx="2953">
                  <c:v>0</c:v>
                </c:pt>
                <c:pt idx="2954">
                  <c:v>0</c:v>
                </c:pt>
                <c:pt idx="2955">
                  <c:v>0</c:v>
                </c:pt>
                <c:pt idx="2956">
                  <c:v>0</c:v>
                </c:pt>
                <c:pt idx="2957">
                  <c:v>0</c:v>
                </c:pt>
                <c:pt idx="2958">
                  <c:v>0</c:v>
                </c:pt>
                <c:pt idx="2959">
                  <c:v>0</c:v>
                </c:pt>
                <c:pt idx="2960">
                  <c:v>0</c:v>
                </c:pt>
                <c:pt idx="2961">
                  <c:v>0</c:v>
                </c:pt>
                <c:pt idx="2962">
                  <c:v>0</c:v>
                </c:pt>
                <c:pt idx="2963">
                  <c:v>0</c:v>
                </c:pt>
                <c:pt idx="2964">
                  <c:v>0</c:v>
                </c:pt>
                <c:pt idx="2965">
                  <c:v>0</c:v>
                </c:pt>
                <c:pt idx="2966">
                  <c:v>0</c:v>
                </c:pt>
                <c:pt idx="2967">
                  <c:v>0</c:v>
                </c:pt>
                <c:pt idx="2968">
                  <c:v>0</c:v>
                </c:pt>
                <c:pt idx="2969">
                  <c:v>0</c:v>
                </c:pt>
                <c:pt idx="2970">
                  <c:v>0</c:v>
                </c:pt>
                <c:pt idx="2971">
                  <c:v>0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0</c:v>
                </c:pt>
                <c:pt idx="2977">
                  <c:v>0</c:v>
                </c:pt>
                <c:pt idx="2978">
                  <c:v>0</c:v>
                </c:pt>
                <c:pt idx="2979">
                  <c:v>0</c:v>
                </c:pt>
                <c:pt idx="2980">
                  <c:v>0</c:v>
                </c:pt>
                <c:pt idx="2981">
                  <c:v>0</c:v>
                </c:pt>
                <c:pt idx="2982">
                  <c:v>0</c:v>
                </c:pt>
                <c:pt idx="2983">
                  <c:v>0</c:v>
                </c:pt>
                <c:pt idx="2984">
                  <c:v>0</c:v>
                </c:pt>
                <c:pt idx="2985">
                  <c:v>0</c:v>
                </c:pt>
                <c:pt idx="2986">
                  <c:v>0</c:v>
                </c:pt>
                <c:pt idx="2987">
                  <c:v>0</c:v>
                </c:pt>
                <c:pt idx="2988">
                  <c:v>0</c:v>
                </c:pt>
                <c:pt idx="2989">
                  <c:v>0</c:v>
                </c:pt>
                <c:pt idx="2990">
                  <c:v>0</c:v>
                </c:pt>
                <c:pt idx="2991">
                  <c:v>0</c:v>
                </c:pt>
                <c:pt idx="2992">
                  <c:v>0</c:v>
                </c:pt>
                <c:pt idx="2993">
                  <c:v>0</c:v>
                </c:pt>
                <c:pt idx="2994">
                  <c:v>0</c:v>
                </c:pt>
                <c:pt idx="2995">
                  <c:v>0</c:v>
                </c:pt>
                <c:pt idx="2996">
                  <c:v>0</c:v>
                </c:pt>
                <c:pt idx="2997">
                  <c:v>0</c:v>
                </c:pt>
                <c:pt idx="2998">
                  <c:v>0</c:v>
                </c:pt>
                <c:pt idx="2999">
                  <c:v>0</c:v>
                </c:pt>
                <c:pt idx="3000">
                  <c:v>0</c:v>
                </c:pt>
                <c:pt idx="3001">
                  <c:v>0</c:v>
                </c:pt>
                <c:pt idx="3002">
                  <c:v>0</c:v>
                </c:pt>
                <c:pt idx="3003">
                  <c:v>0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0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0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0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0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0</c:v>
                </c:pt>
                <c:pt idx="3049">
                  <c:v>0</c:v>
                </c:pt>
                <c:pt idx="3050">
                  <c:v>0</c:v>
                </c:pt>
                <c:pt idx="3051">
                  <c:v>0</c:v>
                </c:pt>
                <c:pt idx="3052">
                  <c:v>0</c:v>
                </c:pt>
                <c:pt idx="3053">
                  <c:v>0</c:v>
                </c:pt>
                <c:pt idx="3054">
                  <c:v>0</c:v>
                </c:pt>
                <c:pt idx="3055">
                  <c:v>0</c:v>
                </c:pt>
                <c:pt idx="3056">
                  <c:v>0</c:v>
                </c:pt>
                <c:pt idx="3057">
                  <c:v>0</c:v>
                </c:pt>
                <c:pt idx="3058">
                  <c:v>0</c:v>
                </c:pt>
                <c:pt idx="3059">
                  <c:v>0</c:v>
                </c:pt>
                <c:pt idx="3060">
                  <c:v>0</c:v>
                </c:pt>
                <c:pt idx="3061">
                  <c:v>0</c:v>
                </c:pt>
                <c:pt idx="3062">
                  <c:v>0</c:v>
                </c:pt>
                <c:pt idx="3063">
                  <c:v>0</c:v>
                </c:pt>
                <c:pt idx="3064">
                  <c:v>0</c:v>
                </c:pt>
                <c:pt idx="3065">
                  <c:v>0</c:v>
                </c:pt>
                <c:pt idx="3066">
                  <c:v>0</c:v>
                </c:pt>
                <c:pt idx="3067">
                  <c:v>0</c:v>
                </c:pt>
                <c:pt idx="3068">
                  <c:v>0</c:v>
                </c:pt>
                <c:pt idx="3069">
                  <c:v>0</c:v>
                </c:pt>
                <c:pt idx="3070">
                  <c:v>0</c:v>
                </c:pt>
                <c:pt idx="3071">
                  <c:v>0</c:v>
                </c:pt>
                <c:pt idx="3072">
                  <c:v>0</c:v>
                </c:pt>
                <c:pt idx="3073">
                  <c:v>0</c:v>
                </c:pt>
                <c:pt idx="3074">
                  <c:v>0</c:v>
                </c:pt>
                <c:pt idx="3075">
                  <c:v>0</c:v>
                </c:pt>
                <c:pt idx="3076">
                  <c:v>0</c:v>
                </c:pt>
                <c:pt idx="3077">
                  <c:v>0</c:v>
                </c:pt>
                <c:pt idx="3078">
                  <c:v>0</c:v>
                </c:pt>
                <c:pt idx="3079">
                  <c:v>0</c:v>
                </c:pt>
                <c:pt idx="3080">
                  <c:v>0</c:v>
                </c:pt>
                <c:pt idx="3081">
                  <c:v>0</c:v>
                </c:pt>
                <c:pt idx="3082">
                  <c:v>0</c:v>
                </c:pt>
                <c:pt idx="3083">
                  <c:v>0</c:v>
                </c:pt>
                <c:pt idx="3084">
                  <c:v>0</c:v>
                </c:pt>
                <c:pt idx="3085">
                  <c:v>0</c:v>
                </c:pt>
                <c:pt idx="3086">
                  <c:v>0</c:v>
                </c:pt>
                <c:pt idx="3087">
                  <c:v>0</c:v>
                </c:pt>
                <c:pt idx="3088">
                  <c:v>0</c:v>
                </c:pt>
                <c:pt idx="3089">
                  <c:v>0</c:v>
                </c:pt>
                <c:pt idx="3090">
                  <c:v>0</c:v>
                </c:pt>
                <c:pt idx="3091">
                  <c:v>0</c:v>
                </c:pt>
                <c:pt idx="3092">
                  <c:v>0</c:v>
                </c:pt>
                <c:pt idx="3093">
                  <c:v>0</c:v>
                </c:pt>
                <c:pt idx="3094">
                  <c:v>0</c:v>
                </c:pt>
                <c:pt idx="3095">
                  <c:v>0</c:v>
                </c:pt>
                <c:pt idx="3096">
                  <c:v>0</c:v>
                </c:pt>
                <c:pt idx="3097">
                  <c:v>0</c:v>
                </c:pt>
                <c:pt idx="3098">
                  <c:v>0</c:v>
                </c:pt>
                <c:pt idx="3099">
                  <c:v>0</c:v>
                </c:pt>
                <c:pt idx="3100">
                  <c:v>0</c:v>
                </c:pt>
                <c:pt idx="3101">
                  <c:v>0</c:v>
                </c:pt>
                <c:pt idx="3102">
                  <c:v>0</c:v>
                </c:pt>
                <c:pt idx="3103">
                  <c:v>0</c:v>
                </c:pt>
                <c:pt idx="3104">
                  <c:v>0</c:v>
                </c:pt>
                <c:pt idx="3105">
                  <c:v>0</c:v>
                </c:pt>
                <c:pt idx="3106">
                  <c:v>0</c:v>
                </c:pt>
                <c:pt idx="3107">
                  <c:v>0</c:v>
                </c:pt>
                <c:pt idx="3108">
                  <c:v>0</c:v>
                </c:pt>
                <c:pt idx="3109">
                  <c:v>0</c:v>
                </c:pt>
                <c:pt idx="3110">
                  <c:v>0</c:v>
                </c:pt>
                <c:pt idx="3111">
                  <c:v>0</c:v>
                </c:pt>
                <c:pt idx="3112">
                  <c:v>0</c:v>
                </c:pt>
                <c:pt idx="3113">
                  <c:v>0</c:v>
                </c:pt>
                <c:pt idx="3114">
                  <c:v>0</c:v>
                </c:pt>
                <c:pt idx="3115">
                  <c:v>0</c:v>
                </c:pt>
                <c:pt idx="3116">
                  <c:v>0</c:v>
                </c:pt>
                <c:pt idx="3117">
                  <c:v>0</c:v>
                </c:pt>
                <c:pt idx="3118">
                  <c:v>0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0</c:v>
                </c:pt>
                <c:pt idx="3123">
                  <c:v>0</c:v>
                </c:pt>
                <c:pt idx="3124">
                  <c:v>0</c:v>
                </c:pt>
                <c:pt idx="3125">
                  <c:v>0</c:v>
                </c:pt>
                <c:pt idx="3126">
                  <c:v>0</c:v>
                </c:pt>
                <c:pt idx="3127">
                  <c:v>0</c:v>
                </c:pt>
                <c:pt idx="3128">
                  <c:v>0</c:v>
                </c:pt>
                <c:pt idx="3129">
                  <c:v>0</c:v>
                </c:pt>
                <c:pt idx="3130">
                  <c:v>0</c:v>
                </c:pt>
                <c:pt idx="3131">
                  <c:v>0</c:v>
                </c:pt>
                <c:pt idx="3132">
                  <c:v>0</c:v>
                </c:pt>
                <c:pt idx="3133">
                  <c:v>0</c:v>
                </c:pt>
                <c:pt idx="3134">
                  <c:v>0</c:v>
                </c:pt>
                <c:pt idx="3135">
                  <c:v>0</c:v>
                </c:pt>
                <c:pt idx="3136">
                  <c:v>0</c:v>
                </c:pt>
                <c:pt idx="3137">
                  <c:v>0</c:v>
                </c:pt>
                <c:pt idx="3138">
                  <c:v>0</c:v>
                </c:pt>
                <c:pt idx="3139">
                  <c:v>0</c:v>
                </c:pt>
                <c:pt idx="3140">
                  <c:v>0</c:v>
                </c:pt>
                <c:pt idx="3141">
                  <c:v>0</c:v>
                </c:pt>
                <c:pt idx="3142">
                  <c:v>0</c:v>
                </c:pt>
                <c:pt idx="3143">
                  <c:v>0</c:v>
                </c:pt>
                <c:pt idx="3144">
                  <c:v>0</c:v>
                </c:pt>
                <c:pt idx="3145">
                  <c:v>0</c:v>
                </c:pt>
                <c:pt idx="3146">
                  <c:v>0</c:v>
                </c:pt>
                <c:pt idx="3147">
                  <c:v>0</c:v>
                </c:pt>
                <c:pt idx="3148">
                  <c:v>0</c:v>
                </c:pt>
                <c:pt idx="3149">
                  <c:v>0</c:v>
                </c:pt>
                <c:pt idx="3150">
                  <c:v>0</c:v>
                </c:pt>
                <c:pt idx="3151">
                  <c:v>0</c:v>
                </c:pt>
                <c:pt idx="3152">
                  <c:v>0</c:v>
                </c:pt>
                <c:pt idx="3153">
                  <c:v>0</c:v>
                </c:pt>
                <c:pt idx="3154">
                  <c:v>0</c:v>
                </c:pt>
                <c:pt idx="3155">
                  <c:v>0</c:v>
                </c:pt>
                <c:pt idx="3156">
                  <c:v>0</c:v>
                </c:pt>
                <c:pt idx="3157">
                  <c:v>0</c:v>
                </c:pt>
                <c:pt idx="3158">
                  <c:v>0</c:v>
                </c:pt>
                <c:pt idx="3159">
                  <c:v>0</c:v>
                </c:pt>
                <c:pt idx="3160">
                  <c:v>0</c:v>
                </c:pt>
                <c:pt idx="3161">
                  <c:v>0</c:v>
                </c:pt>
                <c:pt idx="3162">
                  <c:v>0</c:v>
                </c:pt>
                <c:pt idx="3163">
                  <c:v>0</c:v>
                </c:pt>
                <c:pt idx="3164">
                  <c:v>0</c:v>
                </c:pt>
                <c:pt idx="3165">
                  <c:v>0</c:v>
                </c:pt>
                <c:pt idx="3166">
                  <c:v>0</c:v>
                </c:pt>
                <c:pt idx="3167">
                  <c:v>0</c:v>
                </c:pt>
                <c:pt idx="3168">
                  <c:v>0</c:v>
                </c:pt>
                <c:pt idx="3169">
                  <c:v>0</c:v>
                </c:pt>
                <c:pt idx="3170">
                  <c:v>0</c:v>
                </c:pt>
                <c:pt idx="3171">
                  <c:v>0</c:v>
                </c:pt>
                <c:pt idx="3172">
                  <c:v>0</c:v>
                </c:pt>
                <c:pt idx="3173">
                  <c:v>0</c:v>
                </c:pt>
                <c:pt idx="3174">
                  <c:v>0</c:v>
                </c:pt>
                <c:pt idx="3175">
                  <c:v>0</c:v>
                </c:pt>
                <c:pt idx="3176">
                  <c:v>0</c:v>
                </c:pt>
                <c:pt idx="3177">
                  <c:v>0</c:v>
                </c:pt>
                <c:pt idx="3178">
                  <c:v>0</c:v>
                </c:pt>
                <c:pt idx="3179">
                  <c:v>0</c:v>
                </c:pt>
                <c:pt idx="3180">
                  <c:v>0</c:v>
                </c:pt>
                <c:pt idx="3181">
                  <c:v>0</c:v>
                </c:pt>
                <c:pt idx="3182">
                  <c:v>0</c:v>
                </c:pt>
                <c:pt idx="3183">
                  <c:v>0</c:v>
                </c:pt>
                <c:pt idx="3184">
                  <c:v>0</c:v>
                </c:pt>
                <c:pt idx="3185">
                  <c:v>0</c:v>
                </c:pt>
                <c:pt idx="3186">
                  <c:v>0</c:v>
                </c:pt>
                <c:pt idx="3187">
                  <c:v>0</c:v>
                </c:pt>
                <c:pt idx="3188">
                  <c:v>0</c:v>
                </c:pt>
                <c:pt idx="3189">
                  <c:v>0</c:v>
                </c:pt>
                <c:pt idx="3190">
                  <c:v>0</c:v>
                </c:pt>
                <c:pt idx="3191">
                  <c:v>0</c:v>
                </c:pt>
                <c:pt idx="3192">
                  <c:v>0</c:v>
                </c:pt>
                <c:pt idx="3193">
                  <c:v>0</c:v>
                </c:pt>
                <c:pt idx="3194">
                  <c:v>0</c:v>
                </c:pt>
                <c:pt idx="3195">
                  <c:v>0</c:v>
                </c:pt>
                <c:pt idx="3196">
                  <c:v>0</c:v>
                </c:pt>
                <c:pt idx="3197">
                  <c:v>0</c:v>
                </c:pt>
                <c:pt idx="3198">
                  <c:v>0</c:v>
                </c:pt>
                <c:pt idx="3199">
                  <c:v>0</c:v>
                </c:pt>
                <c:pt idx="3200">
                  <c:v>0</c:v>
                </c:pt>
                <c:pt idx="3201">
                  <c:v>0</c:v>
                </c:pt>
                <c:pt idx="3202">
                  <c:v>0</c:v>
                </c:pt>
                <c:pt idx="3203">
                  <c:v>0</c:v>
                </c:pt>
                <c:pt idx="3204">
                  <c:v>0</c:v>
                </c:pt>
                <c:pt idx="3205">
                  <c:v>0</c:v>
                </c:pt>
                <c:pt idx="3206">
                  <c:v>0</c:v>
                </c:pt>
                <c:pt idx="3207">
                  <c:v>0</c:v>
                </c:pt>
                <c:pt idx="3208">
                  <c:v>0</c:v>
                </c:pt>
                <c:pt idx="3209">
                  <c:v>0</c:v>
                </c:pt>
                <c:pt idx="3210">
                  <c:v>0</c:v>
                </c:pt>
                <c:pt idx="3211">
                  <c:v>0</c:v>
                </c:pt>
                <c:pt idx="3212">
                  <c:v>0</c:v>
                </c:pt>
                <c:pt idx="3213">
                  <c:v>0</c:v>
                </c:pt>
                <c:pt idx="3214">
                  <c:v>0</c:v>
                </c:pt>
                <c:pt idx="3215">
                  <c:v>0</c:v>
                </c:pt>
                <c:pt idx="3216">
                  <c:v>0</c:v>
                </c:pt>
                <c:pt idx="3217">
                  <c:v>0</c:v>
                </c:pt>
                <c:pt idx="3218">
                  <c:v>0</c:v>
                </c:pt>
                <c:pt idx="3219">
                  <c:v>0</c:v>
                </c:pt>
                <c:pt idx="3220">
                  <c:v>0</c:v>
                </c:pt>
                <c:pt idx="3221">
                  <c:v>0</c:v>
                </c:pt>
                <c:pt idx="3222">
                  <c:v>0</c:v>
                </c:pt>
                <c:pt idx="3223">
                  <c:v>0</c:v>
                </c:pt>
                <c:pt idx="3224">
                  <c:v>0</c:v>
                </c:pt>
                <c:pt idx="3225">
                  <c:v>0</c:v>
                </c:pt>
                <c:pt idx="3226">
                  <c:v>0</c:v>
                </c:pt>
                <c:pt idx="3227">
                  <c:v>0</c:v>
                </c:pt>
                <c:pt idx="3228">
                  <c:v>0</c:v>
                </c:pt>
                <c:pt idx="3229">
                  <c:v>0</c:v>
                </c:pt>
                <c:pt idx="3230">
                  <c:v>0</c:v>
                </c:pt>
                <c:pt idx="3231">
                  <c:v>0</c:v>
                </c:pt>
                <c:pt idx="3232">
                  <c:v>0</c:v>
                </c:pt>
                <c:pt idx="3233">
                  <c:v>0</c:v>
                </c:pt>
                <c:pt idx="3234">
                  <c:v>0</c:v>
                </c:pt>
                <c:pt idx="3235">
                  <c:v>0</c:v>
                </c:pt>
                <c:pt idx="3236">
                  <c:v>0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0</c:v>
                </c:pt>
                <c:pt idx="3246">
                  <c:v>0</c:v>
                </c:pt>
                <c:pt idx="3247">
                  <c:v>0</c:v>
                </c:pt>
                <c:pt idx="3248">
                  <c:v>0</c:v>
                </c:pt>
                <c:pt idx="3249">
                  <c:v>0</c:v>
                </c:pt>
                <c:pt idx="3250">
                  <c:v>0</c:v>
                </c:pt>
                <c:pt idx="3251">
                  <c:v>0</c:v>
                </c:pt>
                <c:pt idx="3252">
                  <c:v>0</c:v>
                </c:pt>
                <c:pt idx="3253">
                  <c:v>0</c:v>
                </c:pt>
                <c:pt idx="3254">
                  <c:v>0</c:v>
                </c:pt>
                <c:pt idx="3255">
                  <c:v>0</c:v>
                </c:pt>
                <c:pt idx="3256">
                  <c:v>0</c:v>
                </c:pt>
                <c:pt idx="3257">
                  <c:v>0</c:v>
                </c:pt>
                <c:pt idx="3258">
                  <c:v>0</c:v>
                </c:pt>
                <c:pt idx="3259">
                  <c:v>0</c:v>
                </c:pt>
                <c:pt idx="3260">
                  <c:v>0</c:v>
                </c:pt>
                <c:pt idx="3261">
                  <c:v>0</c:v>
                </c:pt>
                <c:pt idx="3262">
                  <c:v>0</c:v>
                </c:pt>
                <c:pt idx="3263">
                  <c:v>0</c:v>
                </c:pt>
                <c:pt idx="3264">
                  <c:v>0</c:v>
                </c:pt>
                <c:pt idx="3265">
                  <c:v>0</c:v>
                </c:pt>
                <c:pt idx="3266">
                  <c:v>0</c:v>
                </c:pt>
                <c:pt idx="3267">
                  <c:v>0</c:v>
                </c:pt>
                <c:pt idx="3268">
                  <c:v>0</c:v>
                </c:pt>
                <c:pt idx="3269">
                  <c:v>0</c:v>
                </c:pt>
                <c:pt idx="3270">
                  <c:v>0</c:v>
                </c:pt>
                <c:pt idx="3271">
                  <c:v>0</c:v>
                </c:pt>
                <c:pt idx="3272">
                  <c:v>0</c:v>
                </c:pt>
                <c:pt idx="3273">
                  <c:v>0</c:v>
                </c:pt>
                <c:pt idx="3274">
                  <c:v>0</c:v>
                </c:pt>
                <c:pt idx="3275">
                  <c:v>0</c:v>
                </c:pt>
                <c:pt idx="3276">
                  <c:v>0</c:v>
                </c:pt>
                <c:pt idx="3277">
                  <c:v>0</c:v>
                </c:pt>
                <c:pt idx="3278">
                  <c:v>0</c:v>
                </c:pt>
                <c:pt idx="3279">
                  <c:v>0</c:v>
                </c:pt>
                <c:pt idx="3280">
                  <c:v>0</c:v>
                </c:pt>
                <c:pt idx="3281">
                  <c:v>0</c:v>
                </c:pt>
                <c:pt idx="3282">
                  <c:v>0</c:v>
                </c:pt>
                <c:pt idx="3283">
                  <c:v>0</c:v>
                </c:pt>
                <c:pt idx="3284">
                  <c:v>0</c:v>
                </c:pt>
                <c:pt idx="3285">
                  <c:v>0</c:v>
                </c:pt>
                <c:pt idx="3286">
                  <c:v>0</c:v>
                </c:pt>
                <c:pt idx="3287">
                  <c:v>0</c:v>
                </c:pt>
                <c:pt idx="3288">
                  <c:v>0</c:v>
                </c:pt>
                <c:pt idx="3289">
                  <c:v>0</c:v>
                </c:pt>
                <c:pt idx="3290">
                  <c:v>0</c:v>
                </c:pt>
                <c:pt idx="3291">
                  <c:v>0</c:v>
                </c:pt>
                <c:pt idx="3292">
                  <c:v>0</c:v>
                </c:pt>
                <c:pt idx="3293">
                  <c:v>0</c:v>
                </c:pt>
                <c:pt idx="3294">
                  <c:v>0</c:v>
                </c:pt>
                <c:pt idx="3295">
                  <c:v>0</c:v>
                </c:pt>
                <c:pt idx="3296">
                  <c:v>0</c:v>
                </c:pt>
                <c:pt idx="3297">
                  <c:v>0</c:v>
                </c:pt>
                <c:pt idx="3298">
                  <c:v>0</c:v>
                </c:pt>
                <c:pt idx="3299">
                  <c:v>0</c:v>
                </c:pt>
                <c:pt idx="3300">
                  <c:v>0</c:v>
                </c:pt>
                <c:pt idx="3301">
                  <c:v>0</c:v>
                </c:pt>
                <c:pt idx="3302">
                  <c:v>0</c:v>
                </c:pt>
                <c:pt idx="3303">
                  <c:v>0</c:v>
                </c:pt>
                <c:pt idx="3304">
                  <c:v>0</c:v>
                </c:pt>
                <c:pt idx="3305">
                  <c:v>0</c:v>
                </c:pt>
                <c:pt idx="3306">
                  <c:v>0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0</c:v>
                </c:pt>
                <c:pt idx="3311">
                  <c:v>0</c:v>
                </c:pt>
                <c:pt idx="3312">
                  <c:v>0</c:v>
                </c:pt>
                <c:pt idx="3313">
                  <c:v>0</c:v>
                </c:pt>
                <c:pt idx="3314">
                  <c:v>0</c:v>
                </c:pt>
                <c:pt idx="3315">
                  <c:v>0</c:v>
                </c:pt>
                <c:pt idx="3316">
                  <c:v>0</c:v>
                </c:pt>
                <c:pt idx="3317">
                  <c:v>0</c:v>
                </c:pt>
                <c:pt idx="3318">
                  <c:v>0</c:v>
                </c:pt>
                <c:pt idx="3319">
                  <c:v>0</c:v>
                </c:pt>
                <c:pt idx="3320">
                  <c:v>0</c:v>
                </c:pt>
                <c:pt idx="3321">
                  <c:v>0</c:v>
                </c:pt>
                <c:pt idx="3322">
                  <c:v>0</c:v>
                </c:pt>
                <c:pt idx="3323">
                  <c:v>0</c:v>
                </c:pt>
                <c:pt idx="3324">
                  <c:v>0</c:v>
                </c:pt>
                <c:pt idx="3325">
                  <c:v>0</c:v>
                </c:pt>
                <c:pt idx="3326">
                  <c:v>0</c:v>
                </c:pt>
                <c:pt idx="3327">
                  <c:v>0</c:v>
                </c:pt>
                <c:pt idx="3328">
                  <c:v>0</c:v>
                </c:pt>
                <c:pt idx="3329">
                  <c:v>0</c:v>
                </c:pt>
                <c:pt idx="3330">
                  <c:v>0</c:v>
                </c:pt>
                <c:pt idx="3331">
                  <c:v>0</c:v>
                </c:pt>
                <c:pt idx="3332">
                  <c:v>0</c:v>
                </c:pt>
                <c:pt idx="3333">
                  <c:v>0</c:v>
                </c:pt>
                <c:pt idx="3334">
                  <c:v>0</c:v>
                </c:pt>
                <c:pt idx="3335">
                  <c:v>0</c:v>
                </c:pt>
                <c:pt idx="3336">
                  <c:v>0</c:v>
                </c:pt>
                <c:pt idx="3337">
                  <c:v>0</c:v>
                </c:pt>
                <c:pt idx="3338">
                  <c:v>0</c:v>
                </c:pt>
                <c:pt idx="3339">
                  <c:v>0</c:v>
                </c:pt>
                <c:pt idx="3340">
                  <c:v>0</c:v>
                </c:pt>
                <c:pt idx="3341">
                  <c:v>0</c:v>
                </c:pt>
                <c:pt idx="3342">
                  <c:v>0</c:v>
                </c:pt>
                <c:pt idx="3343">
                  <c:v>0</c:v>
                </c:pt>
                <c:pt idx="3344">
                  <c:v>0</c:v>
                </c:pt>
                <c:pt idx="3345">
                  <c:v>0</c:v>
                </c:pt>
                <c:pt idx="3346">
                  <c:v>0</c:v>
                </c:pt>
                <c:pt idx="3347">
                  <c:v>0</c:v>
                </c:pt>
                <c:pt idx="3348">
                  <c:v>0</c:v>
                </c:pt>
                <c:pt idx="3349">
                  <c:v>0</c:v>
                </c:pt>
                <c:pt idx="3350">
                  <c:v>0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0</c:v>
                </c:pt>
                <c:pt idx="3356">
                  <c:v>0</c:v>
                </c:pt>
                <c:pt idx="3357">
                  <c:v>0</c:v>
                </c:pt>
                <c:pt idx="3358">
                  <c:v>0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0</c:v>
                </c:pt>
                <c:pt idx="3363">
                  <c:v>0</c:v>
                </c:pt>
                <c:pt idx="3364">
                  <c:v>0</c:v>
                </c:pt>
                <c:pt idx="3365">
                  <c:v>0</c:v>
                </c:pt>
                <c:pt idx="3366">
                  <c:v>0</c:v>
                </c:pt>
                <c:pt idx="3367">
                  <c:v>0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0</c:v>
                </c:pt>
                <c:pt idx="3373">
                  <c:v>0</c:v>
                </c:pt>
                <c:pt idx="3374">
                  <c:v>0</c:v>
                </c:pt>
                <c:pt idx="3375">
                  <c:v>0</c:v>
                </c:pt>
                <c:pt idx="3376">
                  <c:v>0</c:v>
                </c:pt>
                <c:pt idx="3377">
                  <c:v>0</c:v>
                </c:pt>
                <c:pt idx="3378">
                  <c:v>0</c:v>
                </c:pt>
                <c:pt idx="3379">
                  <c:v>0</c:v>
                </c:pt>
                <c:pt idx="3380">
                  <c:v>0</c:v>
                </c:pt>
                <c:pt idx="3381">
                  <c:v>0</c:v>
                </c:pt>
                <c:pt idx="3382">
                  <c:v>0</c:v>
                </c:pt>
                <c:pt idx="3383">
                  <c:v>0</c:v>
                </c:pt>
                <c:pt idx="3384">
                  <c:v>0</c:v>
                </c:pt>
                <c:pt idx="3385">
                  <c:v>0</c:v>
                </c:pt>
                <c:pt idx="3386">
                  <c:v>0</c:v>
                </c:pt>
                <c:pt idx="3387">
                  <c:v>0</c:v>
                </c:pt>
                <c:pt idx="3388">
                  <c:v>0</c:v>
                </c:pt>
                <c:pt idx="3389">
                  <c:v>0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0</c:v>
                </c:pt>
                <c:pt idx="3397">
                  <c:v>0</c:v>
                </c:pt>
                <c:pt idx="3398">
                  <c:v>0</c:v>
                </c:pt>
                <c:pt idx="3399">
                  <c:v>0</c:v>
                </c:pt>
                <c:pt idx="3400">
                  <c:v>0</c:v>
                </c:pt>
                <c:pt idx="3401">
                  <c:v>0</c:v>
                </c:pt>
                <c:pt idx="3402">
                  <c:v>0</c:v>
                </c:pt>
                <c:pt idx="3403">
                  <c:v>0</c:v>
                </c:pt>
                <c:pt idx="3404">
                  <c:v>0</c:v>
                </c:pt>
                <c:pt idx="3405">
                  <c:v>0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0</c:v>
                </c:pt>
                <c:pt idx="3411">
                  <c:v>0</c:v>
                </c:pt>
                <c:pt idx="3412">
                  <c:v>0</c:v>
                </c:pt>
                <c:pt idx="3413">
                  <c:v>0</c:v>
                </c:pt>
                <c:pt idx="3414">
                  <c:v>0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0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0</c:v>
                </c:pt>
                <c:pt idx="3427">
                  <c:v>0</c:v>
                </c:pt>
                <c:pt idx="3428">
                  <c:v>0</c:v>
                </c:pt>
                <c:pt idx="3429">
                  <c:v>0</c:v>
                </c:pt>
                <c:pt idx="3430">
                  <c:v>0</c:v>
                </c:pt>
                <c:pt idx="3431">
                  <c:v>0</c:v>
                </c:pt>
                <c:pt idx="3432">
                  <c:v>0</c:v>
                </c:pt>
                <c:pt idx="3433">
                  <c:v>0</c:v>
                </c:pt>
                <c:pt idx="3434">
                  <c:v>0</c:v>
                </c:pt>
                <c:pt idx="3435">
                  <c:v>0</c:v>
                </c:pt>
                <c:pt idx="3436">
                  <c:v>0</c:v>
                </c:pt>
                <c:pt idx="3437">
                  <c:v>0</c:v>
                </c:pt>
                <c:pt idx="3438">
                  <c:v>0</c:v>
                </c:pt>
                <c:pt idx="3439">
                  <c:v>0</c:v>
                </c:pt>
                <c:pt idx="3440">
                  <c:v>0</c:v>
                </c:pt>
                <c:pt idx="3441">
                  <c:v>0</c:v>
                </c:pt>
                <c:pt idx="3442">
                  <c:v>0</c:v>
                </c:pt>
                <c:pt idx="3443">
                  <c:v>0</c:v>
                </c:pt>
                <c:pt idx="3444">
                  <c:v>0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0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0</c:v>
                </c:pt>
                <c:pt idx="3460">
                  <c:v>0</c:v>
                </c:pt>
                <c:pt idx="3461">
                  <c:v>0</c:v>
                </c:pt>
                <c:pt idx="3462">
                  <c:v>0</c:v>
                </c:pt>
                <c:pt idx="3463">
                  <c:v>0</c:v>
                </c:pt>
                <c:pt idx="3464">
                  <c:v>0</c:v>
                </c:pt>
                <c:pt idx="3465">
                  <c:v>0</c:v>
                </c:pt>
                <c:pt idx="3466">
                  <c:v>0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0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0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0</c:v>
                </c:pt>
                <c:pt idx="3753">
                  <c:v>0</c:v>
                </c:pt>
                <c:pt idx="3754">
                  <c:v>0</c:v>
                </c:pt>
                <c:pt idx="3755">
                  <c:v>0</c:v>
                </c:pt>
                <c:pt idx="3756">
                  <c:v>0</c:v>
                </c:pt>
                <c:pt idx="3757">
                  <c:v>0</c:v>
                </c:pt>
                <c:pt idx="3758">
                  <c:v>0</c:v>
                </c:pt>
                <c:pt idx="3759">
                  <c:v>0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0</c:v>
                </c:pt>
                <c:pt idx="3781">
                  <c:v>0</c:v>
                </c:pt>
                <c:pt idx="3782">
                  <c:v>0</c:v>
                </c:pt>
                <c:pt idx="3783">
                  <c:v>0</c:v>
                </c:pt>
                <c:pt idx="3784">
                  <c:v>0</c:v>
                </c:pt>
                <c:pt idx="3785">
                  <c:v>0</c:v>
                </c:pt>
                <c:pt idx="3786">
                  <c:v>0</c:v>
                </c:pt>
                <c:pt idx="3787">
                  <c:v>0</c:v>
                </c:pt>
                <c:pt idx="3788">
                  <c:v>0</c:v>
                </c:pt>
                <c:pt idx="3789">
                  <c:v>0</c:v>
                </c:pt>
                <c:pt idx="3790">
                  <c:v>0</c:v>
                </c:pt>
                <c:pt idx="3791">
                  <c:v>0</c:v>
                </c:pt>
                <c:pt idx="3792">
                  <c:v>0</c:v>
                </c:pt>
                <c:pt idx="3793">
                  <c:v>0</c:v>
                </c:pt>
                <c:pt idx="3794">
                  <c:v>0</c:v>
                </c:pt>
                <c:pt idx="3795">
                  <c:v>0</c:v>
                </c:pt>
                <c:pt idx="3796">
                  <c:v>0</c:v>
                </c:pt>
                <c:pt idx="3797">
                  <c:v>0</c:v>
                </c:pt>
                <c:pt idx="3798">
                  <c:v>0</c:v>
                </c:pt>
                <c:pt idx="3799">
                  <c:v>0</c:v>
                </c:pt>
                <c:pt idx="3800">
                  <c:v>0</c:v>
                </c:pt>
                <c:pt idx="3801">
                  <c:v>0</c:v>
                </c:pt>
                <c:pt idx="3802">
                  <c:v>0</c:v>
                </c:pt>
                <c:pt idx="3803">
                  <c:v>0</c:v>
                </c:pt>
                <c:pt idx="3804">
                  <c:v>0</c:v>
                </c:pt>
                <c:pt idx="3805">
                  <c:v>0</c:v>
                </c:pt>
                <c:pt idx="3806">
                  <c:v>0</c:v>
                </c:pt>
                <c:pt idx="3807">
                  <c:v>0</c:v>
                </c:pt>
                <c:pt idx="3808">
                  <c:v>0</c:v>
                </c:pt>
                <c:pt idx="3809">
                  <c:v>0</c:v>
                </c:pt>
                <c:pt idx="3810">
                  <c:v>0</c:v>
                </c:pt>
                <c:pt idx="3811">
                  <c:v>0</c:v>
                </c:pt>
                <c:pt idx="3812">
                  <c:v>0</c:v>
                </c:pt>
                <c:pt idx="3813">
                  <c:v>0</c:v>
                </c:pt>
                <c:pt idx="3814">
                  <c:v>0</c:v>
                </c:pt>
                <c:pt idx="3815">
                  <c:v>0</c:v>
                </c:pt>
                <c:pt idx="3816">
                  <c:v>0</c:v>
                </c:pt>
                <c:pt idx="3817">
                  <c:v>0</c:v>
                </c:pt>
                <c:pt idx="3818">
                  <c:v>0</c:v>
                </c:pt>
                <c:pt idx="3819">
                  <c:v>0</c:v>
                </c:pt>
                <c:pt idx="3820">
                  <c:v>0</c:v>
                </c:pt>
                <c:pt idx="3821">
                  <c:v>0</c:v>
                </c:pt>
                <c:pt idx="3822">
                  <c:v>0</c:v>
                </c:pt>
                <c:pt idx="3823">
                  <c:v>0</c:v>
                </c:pt>
                <c:pt idx="3824">
                  <c:v>0</c:v>
                </c:pt>
                <c:pt idx="3825">
                  <c:v>0</c:v>
                </c:pt>
                <c:pt idx="3826">
                  <c:v>0</c:v>
                </c:pt>
                <c:pt idx="3827">
                  <c:v>0</c:v>
                </c:pt>
                <c:pt idx="3828">
                  <c:v>0</c:v>
                </c:pt>
                <c:pt idx="3829">
                  <c:v>0</c:v>
                </c:pt>
                <c:pt idx="3830">
                  <c:v>0</c:v>
                </c:pt>
                <c:pt idx="3831">
                  <c:v>0</c:v>
                </c:pt>
                <c:pt idx="3832">
                  <c:v>0</c:v>
                </c:pt>
                <c:pt idx="3833">
                  <c:v>0</c:v>
                </c:pt>
                <c:pt idx="3834">
                  <c:v>0</c:v>
                </c:pt>
                <c:pt idx="3835">
                  <c:v>0</c:v>
                </c:pt>
                <c:pt idx="3836">
                  <c:v>0</c:v>
                </c:pt>
                <c:pt idx="3837">
                  <c:v>0</c:v>
                </c:pt>
                <c:pt idx="3838">
                  <c:v>0</c:v>
                </c:pt>
                <c:pt idx="3839">
                  <c:v>0</c:v>
                </c:pt>
                <c:pt idx="3840">
                  <c:v>0</c:v>
                </c:pt>
                <c:pt idx="3841">
                  <c:v>0</c:v>
                </c:pt>
                <c:pt idx="3842">
                  <c:v>0</c:v>
                </c:pt>
                <c:pt idx="3843">
                  <c:v>0</c:v>
                </c:pt>
                <c:pt idx="3844">
                  <c:v>0</c:v>
                </c:pt>
                <c:pt idx="3845">
                  <c:v>0</c:v>
                </c:pt>
                <c:pt idx="3846">
                  <c:v>0</c:v>
                </c:pt>
                <c:pt idx="3847">
                  <c:v>0</c:v>
                </c:pt>
                <c:pt idx="3848">
                  <c:v>0</c:v>
                </c:pt>
                <c:pt idx="3849">
                  <c:v>0</c:v>
                </c:pt>
                <c:pt idx="3850">
                  <c:v>0</c:v>
                </c:pt>
                <c:pt idx="3851">
                  <c:v>0</c:v>
                </c:pt>
                <c:pt idx="3852">
                  <c:v>0</c:v>
                </c:pt>
                <c:pt idx="3853">
                  <c:v>0</c:v>
                </c:pt>
                <c:pt idx="3854">
                  <c:v>0</c:v>
                </c:pt>
                <c:pt idx="3855">
                  <c:v>0</c:v>
                </c:pt>
                <c:pt idx="3856">
                  <c:v>0</c:v>
                </c:pt>
                <c:pt idx="3857">
                  <c:v>0</c:v>
                </c:pt>
                <c:pt idx="3858">
                  <c:v>0</c:v>
                </c:pt>
                <c:pt idx="3859">
                  <c:v>0</c:v>
                </c:pt>
                <c:pt idx="3860">
                  <c:v>0</c:v>
                </c:pt>
                <c:pt idx="3861">
                  <c:v>0</c:v>
                </c:pt>
                <c:pt idx="3862">
                  <c:v>0</c:v>
                </c:pt>
                <c:pt idx="3863">
                  <c:v>0</c:v>
                </c:pt>
                <c:pt idx="3864">
                  <c:v>0</c:v>
                </c:pt>
                <c:pt idx="3865">
                  <c:v>0</c:v>
                </c:pt>
                <c:pt idx="3866">
                  <c:v>0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0</c:v>
                </c:pt>
                <c:pt idx="3871">
                  <c:v>0</c:v>
                </c:pt>
                <c:pt idx="3872">
                  <c:v>0</c:v>
                </c:pt>
                <c:pt idx="3873">
                  <c:v>0</c:v>
                </c:pt>
                <c:pt idx="3874">
                  <c:v>0</c:v>
                </c:pt>
                <c:pt idx="3875">
                  <c:v>0</c:v>
                </c:pt>
                <c:pt idx="3876">
                  <c:v>0</c:v>
                </c:pt>
                <c:pt idx="3877">
                  <c:v>0</c:v>
                </c:pt>
                <c:pt idx="3878">
                  <c:v>0</c:v>
                </c:pt>
                <c:pt idx="3879">
                  <c:v>0</c:v>
                </c:pt>
                <c:pt idx="3880">
                  <c:v>0</c:v>
                </c:pt>
                <c:pt idx="3881">
                  <c:v>0</c:v>
                </c:pt>
                <c:pt idx="3882">
                  <c:v>0</c:v>
                </c:pt>
                <c:pt idx="3883">
                  <c:v>0</c:v>
                </c:pt>
                <c:pt idx="3884">
                  <c:v>0</c:v>
                </c:pt>
                <c:pt idx="3885">
                  <c:v>0</c:v>
                </c:pt>
                <c:pt idx="3886">
                  <c:v>0</c:v>
                </c:pt>
                <c:pt idx="3887">
                  <c:v>0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0</c:v>
                </c:pt>
                <c:pt idx="3892">
                  <c:v>0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0</c:v>
                </c:pt>
                <c:pt idx="3903">
                  <c:v>0</c:v>
                </c:pt>
                <c:pt idx="3904">
                  <c:v>0</c:v>
                </c:pt>
                <c:pt idx="3905">
                  <c:v>0</c:v>
                </c:pt>
                <c:pt idx="3906">
                  <c:v>0</c:v>
                </c:pt>
                <c:pt idx="3907">
                  <c:v>0</c:v>
                </c:pt>
                <c:pt idx="3908">
                  <c:v>0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0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0</c:v>
                </c:pt>
                <c:pt idx="3918">
                  <c:v>0</c:v>
                </c:pt>
                <c:pt idx="3919">
                  <c:v>0</c:v>
                </c:pt>
                <c:pt idx="3920">
                  <c:v>0</c:v>
                </c:pt>
                <c:pt idx="3921">
                  <c:v>0</c:v>
                </c:pt>
                <c:pt idx="3922">
                  <c:v>0</c:v>
                </c:pt>
                <c:pt idx="3923">
                  <c:v>0</c:v>
                </c:pt>
                <c:pt idx="3924">
                  <c:v>0</c:v>
                </c:pt>
                <c:pt idx="3925">
                  <c:v>0</c:v>
                </c:pt>
                <c:pt idx="3926">
                  <c:v>0</c:v>
                </c:pt>
                <c:pt idx="3927">
                  <c:v>0</c:v>
                </c:pt>
                <c:pt idx="3928">
                  <c:v>0</c:v>
                </c:pt>
                <c:pt idx="3929">
                  <c:v>0</c:v>
                </c:pt>
                <c:pt idx="3930">
                  <c:v>0</c:v>
                </c:pt>
                <c:pt idx="3931">
                  <c:v>0</c:v>
                </c:pt>
                <c:pt idx="3932">
                  <c:v>0</c:v>
                </c:pt>
                <c:pt idx="3933">
                  <c:v>0</c:v>
                </c:pt>
                <c:pt idx="3934">
                  <c:v>0</c:v>
                </c:pt>
                <c:pt idx="3935">
                  <c:v>0</c:v>
                </c:pt>
                <c:pt idx="3936">
                  <c:v>0</c:v>
                </c:pt>
                <c:pt idx="3937">
                  <c:v>0</c:v>
                </c:pt>
                <c:pt idx="3938">
                  <c:v>0</c:v>
                </c:pt>
                <c:pt idx="3939">
                  <c:v>0</c:v>
                </c:pt>
                <c:pt idx="3940">
                  <c:v>0</c:v>
                </c:pt>
                <c:pt idx="3941">
                  <c:v>0</c:v>
                </c:pt>
                <c:pt idx="3942">
                  <c:v>0</c:v>
                </c:pt>
                <c:pt idx="3943">
                  <c:v>0</c:v>
                </c:pt>
                <c:pt idx="3944">
                  <c:v>0</c:v>
                </c:pt>
                <c:pt idx="3945">
                  <c:v>0</c:v>
                </c:pt>
                <c:pt idx="3946">
                  <c:v>0</c:v>
                </c:pt>
                <c:pt idx="3947">
                  <c:v>0</c:v>
                </c:pt>
                <c:pt idx="3948">
                  <c:v>0</c:v>
                </c:pt>
                <c:pt idx="3949">
                  <c:v>0</c:v>
                </c:pt>
                <c:pt idx="3950">
                  <c:v>0</c:v>
                </c:pt>
                <c:pt idx="3951">
                  <c:v>0</c:v>
                </c:pt>
                <c:pt idx="3952">
                  <c:v>0</c:v>
                </c:pt>
                <c:pt idx="3953">
                  <c:v>0</c:v>
                </c:pt>
                <c:pt idx="3954">
                  <c:v>0</c:v>
                </c:pt>
                <c:pt idx="3955">
                  <c:v>0</c:v>
                </c:pt>
                <c:pt idx="3956">
                  <c:v>0</c:v>
                </c:pt>
                <c:pt idx="3957">
                  <c:v>0</c:v>
                </c:pt>
                <c:pt idx="3958">
                  <c:v>0</c:v>
                </c:pt>
                <c:pt idx="3959">
                  <c:v>0</c:v>
                </c:pt>
                <c:pt idx="3960">
                  <c:v>0</c:v>
                </c:pt>
                <c:pt idx="3961">
                  <c:v>0</c:v>
                </c:pt>
                <c:pt idx="3962">
                  <c:v>0</c:v>
                </c:pt>
                <c:pt idx="3963">
                  <c:v>0</c:v>
                </c:pt>
                <c:pt idx="3964">
                  <c:v>0</c:v>
                </c:pt>
                <c:pt idx="3965">
                  <c:v>0</c:v>
                </c:pt>
                <c:pt idx="3966">
                  <c:v>0</c:v>
                </c:pt>
                <c:pt idx="3967">
                  <c:v>0</c:v>
                </c:pt>
                <c:pt idx="3968">
                  <c:v>0</c:v>
                </c:pt>
                <c:pt idx="3969">
                  <c:v>0</c:v>
                </c:pt>
                <c:pt idx="3970">
                  <c:v>0</c:v>
                </c:pt>
                <c:pt idx="3971">
                  <c:v>0</c:v>
                </c:pt>
                <c:pt idx="3972">
                  <c:v>0</c:v>
                </c:pt>
                <c:pt idx="3973">
                  <c:v>0</c:v>
                </c:pt>
                <c:pt idx="3974">
                  <c:v>0</c:v>
                </c:pt>
                <c:pt idx="3975">
                  <c:v>0</c:v>
                </c:pt>
                <c:pt idx="3976">
                  <c:v>0</c:v>
                </c:pt>
                <c:pt idx="3977">
                  <c:v>0</c:v>
                </c:pt>
                <c:pt idx="3978">
                  <c:v>0</c:v>
                </c:pt>
                <c:pt idx="3979">
                  <c:v>0</c:v>
                </c:pt>
                <c:pt idx="3980">
                  <c:v>0</c:v>
                </c:pt>
                <c:pt idx="3981">
                  <c:v>0</c:v>
                </c:pt>
                <c:pt idx="3982">
                  <c:v>0</c:v>
                </c:pt>
                <c:pt idx="3983">
                  <c:v>0</c:v>
                </c:pt>
                <c:pt idx="3984">
                  <c:v>0</c:v>
                </c:pt>
                <c:pt idx="3985">
                  <c:v>0</c:v>
                </c:pt>
                <c:pt idx="3986">
                  <c:v>0</c:v>
                </c:pt>
                <c:pt idx="3987">
                  <c:v>0</c:v>
                </c:pt>
                <c:pt idx="3988">
                  <c:v>0</c:v>
                </c:pt>
                <c:pt idx="3989">
                  <c:v>0</c:v>
                </c:pt>
                <c:pt idx="3990">
                  <c:v>0</c:v>
                </c:pt>
                <c:pt idx="3991">
                  <c:v>0</c:v>
                </c:pt>
                <c:pt idx="3992">
                  <c:v>0</c:v>
                </c:pt>
                <c:pt idx="3993">
                  <c:v>0</c:v>
                </c:pt>
                <c:pt idx="3994">
                  <c:v>0</c:v>
                </c:pt>
                <c:pt idx="3995">
                  <c:v>0</c:v>
                </c:pt>
                <c:pt idx="3996">
                  <c:v>0</c:v>
                </c:pt>
                <c:pt idx="3997">
                  <c:v>0</c:v>
                </c:pt>
                <c:pt idx="3998">
                  <c:v>0</c:v>
                </c:pt>
                <c:pt idx="3999">
                  <c:v>0</c:v>
                </c:pt>
                <c:pt idx="4000">
                  <c:v>0</c:v>
                </c:pt>
                <c:pt idx="4001">
                  <c:v>0</c:v>
                </c:pt>
                <c:pt idx="4002">
                  <c:v>0</c:v>
                </c:pt>
                <c:pt idx="4003">
                  <c:v>0</c:v>
                </c:pt>
                <c:pt idx="4004">
                  <c:v>0</c:v>
                </c:pt>
                <c:pt idx="4005">
                  <c:v>0</c:v>
                </c:pt>
                <c:pt idx="4006">
                  <c:v>0</c:v>
                </c:pt>
                <c:pt idx="4007">
                  <c:v>0</c:v>
                </c:pt>
                <c:pt idx="4008">
                  <c:v>0</c:v>
                </c:pt>
                <c:pt idx="4009">
                  <c:v>0</c:v>
                </c:pt>
                <c:pt idx="4010">
                  <c:v>0</c:v>
                </c:pt>
                <c:pt idx="4011">
                  <c:v>0</c:v>
                </c:pt>
                <c:pt idx="4012">
                  <c:v>0</c:v>
                </c:pt>
                <c:pt idx="4013">
                  <c:v>0</c:v>
                </c:pt>
                <c:pt idx="4014">
                  <c:v>0</c:v>
                </c:pt>
                <c:pt idx="4015">
                  <c:v>0</c:v>
                </c:pt>
                <c:pt idx="4016">
                  <c:v>0</c:v>
                </c:pt>
                <c:pt idx="4017">
                  <c:v>0</c:v>
                </c:pt>
                <c:pt idx="4018">
                  <c:v>0</c:v>
                </c:pt>
                <c:pt idx="4019">
                  <c:v>0</c:v>
                </c:pt>
                <c:pt idx="4020">
                  <c:v>0</c:v>
                </c:pt>
                <c:pt idx="4021">
                  <c:v>0</c:v>
                </c:pt>
                <c:pt idx="4022">
                  <c:v>0</c:v>
                </c:pt>
                <c:pt idx="4023">
                  <c:v>0</c:v>
                </c:pt>
                <c:pt idx="4024">
                  <c:v>0</c:v>
                </c:pt>
                <c:pt idx="4025">
                  <c:v>0</c:v>
                </c:pt>
                <c:pt idx="4026">
                  <c:v>0</c:v>
                </c:pt>
                <c:pt idx="4027">
                  <c:v>0</c:v>
                </c:pt>
                <c:pt idx="4028">
                  <c:v>0</c:v>
                </c:pt>
                <c:pt idx="4029">
                  <c:v>0</c:v>
                </c:pt>
                <c:pt idx="4030">
                  <c:v>0</c:v>
                </c:pt>
                <c:pt idx="4031">
                  <c:v>0</c:v>
                </c:pt>
                <c:pt idx="4032">
                  <c:v>0</c:v>
                </c:pt>
                <c:pt idx="4033">
                  <c:v>0</c:v>
                </c:pt>
                <c:pt idx="4034">
                  <c:v>0</c:v>
                </c:pt>
                <c:pt idx="4035">
                  <c:v>0</c:v>
                </c:pt>
                <c:pt idx="4036">
                  <c:v>0</c:v>
                </c:pt>
                <c:pt idx="4037">
                  <c:v>0</c:v>
                </c:pt>
                <c:pt idx="4038">
                  <c:v>0</c:v>
                </c:pt>
                <c:pt idx="4039">
                  <c:v>0</c:v>
                </c:pt>
                <c:pt idx="4040">
                  <c:v>0</c:v>
                </c:pt>
                <c:pt idx="4041">
                  <c:v>0</c:v>
                </c:pt>
                <c:pt idx="4042">
                  <c:v>0</c:v>
                </c:pt>
                <c:pt idx="4043">
                  <c:v>0</c:v>
                </c:pt>
                <c:pt idx="4044">
                  <c:v>0</c:v>
                </c:pt>
                <c:pt idx="4045">
                  <c:v>0</c:v>
                </c:pt>
                <c:pt idx="4046">
                  <c:v>0</c:v>
                </c:pt>
                <c:pt idx="4047">
                  <c:v>0</c:v>
                </c:pt>
                <c:pt idx="4048">
                  <c:v>0</c:v>
                </c:pt>
                <c:pt idx="4049">
                  <c:v>0</c:v>
                </c:pt>
                <c:pt idx="4050">
                  <c:v>0</c:v>
                </c:pt>
                <c:pt idx="4051">
                  <c:v>0</c:v>
                </c:pt>
                <c:pt idx="4052">
                  <c:v>0</c:v>
                </c:pt>
                <c:pt idx="4053">
                  <c:v>0</c:v>
                </c:pt>
                <c:pt idx="4054">
                  <c:v>0</c:v>
                </c:pt>
                <c:pt idx="4055">
                  <c:v>0</c:v>
                </c:pt>
                <c:pt idx="4056">
                  <c:v>0</c:v>
                </c:pt>
                <c:pt idx="4057">
                  <c:v>0</c:v>
                </c:pt>
                <c:pt idx="4058">
                  <c:v>0</c:v>
                </c:pt>
                <c:pt idx="4059">
                  <c:v>0</c:v>
                </c:pt>
                <c:pt idx="4060">
                  <c:v>0</c:v>
                </c:pt>
                <c:pt idx="4061">
                  <c:v>0</c:v>
                </c:pt>
                <c:pt idx="4062">
                  <c:v>0</c:v>
                </c:pt>
                <c:pt idx="4063">
                  <c:v>0</c:v>
                </c:pt>
                <c:pt idx="4064">
                  <c:v>0</c:v>
                </c:pt>
                <c:pt idx="4065">
                  <c:v>0</c:v>
                </c:pt>
                <c:pt idx="4066">
                  <c:v>0</c:v>
                </c:pt>
                <c:pt idx="4067">
                  <c:v>0</c:v>
                </c:pt>
                <c:pt idx="4068">
                  <c:v>0</c:v>
                </c:pt>
                <c:pt idx="4069">
                  <c:v>0</c:v>
                </c:pt>
                <c:pt idx="4070">
                  <c:v>0</c:v>
                </c:pt>
                <c:pt idx="4071">
                  <c:v>0</c:v>
                </c:pt>
                <c:pt idx="4072">
                  <c:v>0</c:v>
                </c:pt>
                <c:pt idx="4073">
                  <c:v>0</c:v>
                </c:pt>
                <c:pt idx="4074">
                  <c:v>0</c:v>
                </c:pt>
                <c:pt idx="4075">
                  <c:v>0</c:v>
                </c:pt>
                <c:pt idx="4076">
                  <c:v>0</c:v>
                </c:pt>
                <c:pt idx="4077">
                  <c:v>0</c:v>
                </c:pt>
                <c:pt idx="4078">
                  <c:v>0</c:v>
                </c:pt>
                <c:pt idx="4079">
                  <c:v>0</c:v>
                </c:pt>
                <c:pt idx="4080">
                  <c:v>0</c:v>
                </c:pt>
                <c:pt idx="4081">
                  <c:v>0</c:v>
                </c:pt>
                <c:pt idx="4082">
                  <c:v>0</c:v>
                </c:pt>
                <c:pt idx="4083">
                  <c:v>0</c:v>
                </c:pt>
                <c:pt idx="4084">
                  <c:v>0</c:v>
                </c:pt>
                <c:pt idx="4085">
                  <c:v>0</c:v>
                </c:pt>
                <c:pt idx="4086">
                  <c:v>0</c:v>
                </c:pt>
                <c:pt idx="4087">
                  <c:v>0</c:v>
                </c:pt>
                <c:pt idx="4088">
                  <c:v>0</c:v>
                </c:pt>
                <c:pt idx="4089">
                  <c:v>0</c:v>
                </c:pt>
                <c:pt idx="4090">
                  <c:v>0</c:v>
                </c:pt>
                <c:pt idx="4091">
                  <c:v>0</c:v>
                </c:pt>
                <c:pt idx="4092">
                  <c:v>0</c:v>
                </c:pt>
                <c:pt idx="4093">
                  <c:v>0</c:v>
                </c:pt>
                <c:pt idx="4094">
                  <c:v>0</c:v>
                </c:pt>
                <c:pt idx="4095">
                  <c:v>0</c:v>
                </c:pt>
                <c:pt idx="4096">
                  <c:v>0</c:v>
                </c:pt>
                <c:pt idx="4097">
                  <c:v>0</c:v>
                </c:pt>
                <c:pt idx="4098">
                  <c:v>0</c:v>
                </c:pt>
                <c:pt idx="4099">
                  <c:v>0</c:v>
                </c:pt>
                <c:pt idx="4100">
                  <c:v>0</c:v>
                </c:pt>
                <c:pt idx="4101">
                  <c:v>0</c:v>
                </c:pt>
                <c:pt idx="4102">
                  <c:v>0</c:v>
                </c:pt>
                <c:pt idx="4103">
                  <c:v>0</c:v>
                </c:pt>
                <c:pt idx="4104">
                  <c:v>0</c:v>
                </c:pt>
                <c:pt idx="4105">
                  <c:v>0</c:v>
                </c:pt>
                <c:pt idx="4106">
                  <c:v>0</c:v>
                </c:pt>
                <c:pt idx="4107">
                  <c:v>0</c:v>
                </c:pt>
                <c:pt idx="4108">
                  <c:v>0</c:v>
                </c:pt>
                <c:pt idx="4109">
                  <c:v>0</c:v>
                </c:pt>
                <c:pt idx="4110">
                  <c:v>0</c:v>
                </c:pt>
                <c:pt idx="4111">
                  <c:v>0</c:v>
                </c:pt>
                <c:pt idx="4112">
                  <c:v>0</c:v>
                </c:pt>
                <c:pt idx="4113">
                  <c:v>0</c:v>
                </c:pt>
                <c:pt idx="4114">
                  <c:v>0</c:v>
                </c:pt>
                <c:pt idx="4115">
                  <c:v>0</c:v>
                </c:pt>
                <c:pt idx="4116">
                  <c:v>0</c:v>
                </c:pt>
                <c:pt idx="4117">
                  <c:v>0</c:v>
                </c:pt>
                <c:pt idx="4118">
                  <c:v>0</c:v>
                </c:pt>
                <c:pt idx="4119">
                  <c:v>0</c:v>
                </c:pt>
                <c:pt idx="4120">
                  <c:v>0</c:v>
                </c:pt>
                <c:pt idx="4121">
                  <c:v>0</c:v>
                </c:pt>
                <c:pt idx="4122">
                  <c:v>0</c:v>
                </c:pt>
                <c:pt idx="4123">
                  <c:v>0</c:v>
                </c:pt>
                <c:pt idx="4124">
                  <c:v>0</c:v>
                </c:pt>
                <c:pt idx="4125">
                  <c:v>0</c:v>
                </c:pt>
                <c:pt idx="4126">
                  <c:v>0</c:v>
                </c:pt>
                <c:pt idx="4127">
                  <c:v>0</c:v>
                </c:pt>
                <c:pt idx="4128">
                  <c:v>0</c:v>
                </c:pt>
                <c:pt idx="4129">
                  <c:v>0</c:v>
                </c:pt>
                <c:pt idx="4130">
                  <c:v>0</c:v>
                </c:pt>
                <c:pt idx="4131">
                  <c:v>0</c:v>
                </c:pt>
                <c:pt idx="4132">
                  <c:v>0</c:v>
                </c:pt>
                <c:pt idx="4133">
                  <c:v>0</c:v>
                </c:pt>
                <c:pt idx="4134">
                  <c:v>0</c:v>
                </c:pt>
                <c:pt idx="4135">
                  <c:v>0</c:v>
                </c:pt>
                <c:pt idx="4136">
                  <c:v>0</c:v>
                </c:pt>
                <c:pt idx="4137">
                  <c:v>0</c:v>
                </c:pt>
                <c:pt idx="4138">
                  <c:v>0</c:v>
                </c:pt>
                <c:pt idx="4139">
                  <c:v>0</c:v>
                </c:pt>
                <c:pt idx="4140">
                  <c:v>0</c:v>
                </c:pt>
                <c:pt idx="4141">
                  <c:v>0</c:v>
                </c:pt>
                <c:pt idx="4142">
                  <c:v>0</c:v>
                </c:pt>
                <c:pt idx="4143">
                  <c:v>0</c:v>
                </c:pt>
                <c:pt idx="4144">
                  <c:v>0</c:v>
                </c:pt>
                <c:pt idx="4145">
                  <c:v>0</c:v>
                </c:pt>
                <c:pt idx="4146">
                  <c:v>0</c:v>
                </c:pt>
                <c:pt idx="4147">
                  <c:v>0</c:v>
                </c:pt>
                <c:pt idx="4148">
                  <c:v>0</c:v>
                </c:pt>
                <c:pt idx="4149">
                  <c:v>0</c:v>
                </c:pt>
                <c:pt idx="4150">
                  <c:v>0</c:v>
                </c:pt>
                <c:pt idx="4151">
                  <c:v>0</c:v>
                </c:pt>
                <c:pt idx="4152">
                  <c:v>0</c:v>
                </c:pt>
                <c:pt idx="4153">
                  <c:v>0</c:v>
                </c:pt>
                <c:pt idx="4154">
                  <c:v>0</c:v>
                </c:pt>
                <c:pt idx="4155">
                  <c:v>0</c:v>
                </c:pt>
                <c:pt idx="4156">
                  <c:v>0</c:v>
                </c:pt>
                <c:pt idx="4157">
                  <c:v>0</c:v>
                </c:pt>
                <c:pt idx="4158">
                  <c:v>0</c:v>
                </c:pt>
                <c:pt idx="4159">
                  <c:v>0</c:v>
                </c:pt>
                <c:pt idx="4160">
                  <c:v>0</c:v>
                </c:pt>
                <c:pt idx="4161">
                  <c:v>0</c:v>
                </c:pt>
                <c:pt idx="4162">
                  <c:v>0</c:v>
                </c:pt>
                <c:pt idx="4163">
                  <c:v>0</c:v>
                </c:pt>
                <c:pt idx="4164">
                  <c:v>0</c:v>
                </c:pt>
                <c:pt idx="4165">
                  <c:v>0</c:v>
                </c:pt>
                <c:pt idx="4166">
                  <c:v>0</c:v>
                </c:pt>
                <c:pt idx="4167">
                  <c:v>0</c:v>
                </c:pt>
                <c:pt idx="4168">
                  <c:v>0</c:v>
                </c:pt>
                <c:pt idx="4169">
                  <c:v>0</c:v>
                </c:pt>
                <c:pt idx="4170">
                  <c:v>0</c:v>
                </c:pt>
                <c:pt idx="4171">
                  <c:v>0</c:v>
                </c:pt>
                <c:pt idx="4172">
                  <c:v>0</c:v>
                </c:pt>
                <c:pt idx="4173">
                  <c:v>0</c:v>
                </c:pt>
                <c:pt idx="4174">
                  <c:v>0</c:v>
                </c:pt>
                <c:pt idx="4175">
                  <c:v>0</c:v>
                </c:pt>
                <c:pt idx="4176">
                  <c:v>0</c:v>
                </c:pt>
                <c:pt idx="4177">
                  <c:v>0</c:v>
                </c:pt>
                <c:pt idx="4178">
                  <c:v>0</c:v>
                </c:pt>
                <c:pt idx="4179">
                  <c:v>0</c:v>
                </c:pt>
                <c:pt idx="4180">
                  <c:v>0</c:v>
                </c:pt>
                <c:pt idx="4181">
                  <c:v>0</c:v>
                </c:pt>
                <c:pt idx="4182">
                  <c:v>0</c:v>
                </c:pt>
                <c:pt idx="4183">
                  <c:v>0</c:v>
                </c:pt>
                <c:pt idx="4184">
                  <c:v>0</c:v>
                </c:pt>
                <c:pt idx="4185">
                  <c:v>0</c:v>
                </c:pt>
                <c:pt idx="4186">
                  <c:v>0</c:v>
                </c:pt>
                <c:pt idx="4187">
                  <c:v>0</c:v>
                </c:pt>
                <c:pt idx="4188">
                  <c:v>0</c:v>
                </c:pt>
                <c:pt idx="4189">
                  <c:v>0</c:v>
                </c:pt>
                <c:pt idx="4190">
                  <c:v>0</c:v>
                </c:pt>
                <c:pt idx="4191">
                  <c:v>0</c:v>
                </c:pt>
                <c:pt idx="4192">
                  <c:v>0</c:v>
                </c:pt>
                <c:pt idx="4193">
                  <c:v>0</c:v>
                </c:pt>
                <c:pt idx="4194">
                  <c:v>0</c:v>
                </c:pt>
                <c:pt idx="4195">
                  <c:v>0</c:v>
                </c:pt>
                <c:pt idx="4196">
                  <c:v>0</c:v>
                </c:pt>
                <c:pt idx="4197">
                  <c:v>0</c:v>
                </c:pt>
                <c:pt idx="4198">
                  <c:v>0</c:v>
                </c:pt>
                <c:pt idx="4199">
                  <c:v>0</c:v>
                </c:pt>
                <c:pt idx="4200">
                  <c:v>0</c:v>
                </c:pt>
                <c:pt idx="4201">
                  <c:v>0</c:v>
                </c:pt>
                <c:pt idx="4202">
                  <c:v>0</c:v>
                </c:pt>
                <c:pt idx="4203">
                  <c:v>0</c:v>
                </c:pt>
                <c:pt idx="4204">
                  <c:v>0</c:v>
                </c:pt>
                <c:pt idx="4205">
                  <c:v>0</c:v>
                </c:pt>
                <c:pt idx="4206">
                  <c:v>0</c:v>
                </c:pt>
                <c:pt idx="4207">
                  <c:v>0</c:v>
                </c:pt>
                <c:pt idx="4208">
                  <c:v>0</c:v>
                </c:pt>
                <c:pt idx="4209">
                  <c:v>0</c:v>
                </c:pt>
                <c:pt idx="4210">
                  <c:v>0</c:v>
                </c:pt>
                <c:pt idx="4211">
                  <c:v>0</c:v>
                </c:pt>
                <c:pt idx="4212">
                  <c:v>0</c:v>
                </c:pt>
                <c:pt idx="4213">
                  <c:v>0</c:v>
                </c:pt>
                <c:pt idx="4214">
                  <c:v>0</c:v>
                </c:pt>
                <c:pt idx="4215">
                  <c:v>0</c:v>
                </c:pt>
                <c:pt idx="4216">
                  <c:v>0</c:v>
                </c:pt>
                <c:pt idx="4217">
                  <c:v>0</c:v>
                </c:pt>
                <c:pt idx="4218">
                  <c:v>0</c:v>
                </c:pt>
                <c:pt idx="4219">
                  <c:v>0</c:v>
                </c:pt>
                <c:pt idx="4220">
                  <c:v>0</c:v>
                </c:pt>
                <c:pt idx="4221">
                  <c:v>0</c:v>
                </c:pt>
                <c:pt idx="4222">
                  <c:v>0</c:v>
                </c:pt>
                <c:pt idx="4223">
                  <c:v>0</c:v>
                </c:pt>
                <c:pt idx="4224">
                  <c:v>0</c:v>
                </c:pt>
                <c:pt idx="4225">
                  <c:v>0</c:v>
                </c:pt>
                <c:pt idx="4226">
                  <c:v>0</c:v>
                </c:pt>
                <c:pt idx="4227">
                  <c:v>0</c:v>
                </c:pt>
                <c:pt idx="4228">
                  <c:v>0</c:v>
                </c:pt>
                <c:pt idx="4229">
                  <c:v>0</c:v>
                </c:pt>
                <c:pt idx="4230">
                  <c:v>0</c:v>
                </c:pt>
                <c:pt idx="4231">
                  <c:v>0</c:v>
                </c:pt>
                <c:pt idx="4232">
                  <c:v>0</c:v>
                </c:pt>
                <c:pt idx="4233">
                  <c:v>0</c:v>
                </c:pt>
                <c:pt idx="4234">
                  <c:v>0</c:v>
                </c:pt>
                <c:pt idx="4235">
                  <c:v>0</c:v>
                </c:pt>
                <c:pt idx="4236">
                  <c:v>0</c:v>
                </c:pt>
                <c:pt idx="4237">
                  <c:v>0</c:v>
                </c:pt>
                <c:pt idx="4238">
                  <c:v>0</c:v>
                </c:pt>
                <c:pt idx="4239">
                  <c:v>0</c:v>
                </c:pt>
                <c:pt idx="4240">
                  <c:v>0</c:v>
                </c:pt>
                <c:pt idx="4241">
                  <c:v>0</c:v>
                </c:pt>
                <c:pt idx="4242">
                  <c:v>0</c:v>
                </c:pt>
                <c:pt idx="4243">
                  <c:v>0</c:v>
                </c:pt>
                <c:pt idx="4244">
                  <c:v>0</c:v>
                </c:pt>
                <c:pt idx="4245">
                  <c:v>0</c:v>
                </c:pt>
                <c:pt idx="4246">
                  <c:v>0</c:v>
                </c:pt>
                <c:pt idx="4247">
                  <c:v>0</c:v>
                </c:pt>
                <c:pt idx="4248">
                  <c:v>0</c:v>
                </c:pt>
                <c:pt idx="4249">
                  <c:v>0</c:v>
                </c:pt>
                <c:pt idx="4250">
                  <c:v>0</c:v>
                </c:pt>
                <c:pt idx="4251">
                  <c:v>0</c:v>
                </c:pt>
                <c:pt idx="4252">
                  <c:v>0</c:v>
                </c:pt>
                <c:pt idx="4253">
                  <c:v>0</c:v>
                </c:pt>
                <c:pt idx="4254">
                  <c:v>0</c:v>
                </c:pt>
                <c:pt idx="4255">
                  <c:v>0</c:v>
                </c:pt>
                <c:pt idx="4256">
                  <c:v>0</c:v>
                </c:pt>
                <c:pt idx="4257">
                  <c:v>0</c:v>
                </c:pt>
                <c:pt idx="4258">
                  <c:v>0</c:v>
                </c:pt>
                <c:pt idx="4259">
                  <c:v>0</c:v>
                </c:pt>
                <c:pt idx="4260">
                  <c:v>0</c:v>
                </c:pt>
                <c:pt idx="4261">
                  <c:v>0</c:v>
                </c:pt>
                <c:pt idx="4262">
                  <c:v>0</c:v>
                </c:pt>
                <c:pt idx="4263">
                  <c:v>0</c:v>
                </c:pt>
                <c:pt idx="4264">
                  <c:v>0</c:v>
                </c:pt>
                <c:pt idx="4265">
                  <c:v>0</c:v>
                </c:pt>
                <c:pt idx="4266">
                  <c:v>0</c:v>
                </c:pt>
                <c:pt idx="4267">
                  <c:v>0</c:v>
                </c:pt>
                <c:pt idx="4268">
                  <c:v>0</c:v>
                </c:pt>
                <c:pt idx="4269">
                  <c:v>0</c:v>
                </c:pt>
                <c:pt idx="4270">
                  <c:v>0</c:v>
                </c:pt>
                <c:pt idx="4271">
                  <c:v>0</c:v>
                </c:pt>
                <c:pt idx="4272">
                  <c:v>0</c:v>
                </c:pt>
                <c:pt idx="4273">
                  <c:v>0</c:v>
                </c:pt>
                <c:pt idx="4274">
                  <c:v>0</c:v>
                </c:pt>
                <c:pt idx="4275">
                  <c:v>0</c:v>
                </c:pt>
                <c:pt idx="4276">
                  <c:v>0</c:v>
                </c:pt>
                <c:pt idx="4277">
                  <c:v>0</c:v>
                </c:pt>
                <c:pt idx="4278">
                  <c:v>0</c:v>
                </c:pt>
                <c:pt idx="4279">
                  <c:v>0</c:v>
                </c:pt>
                <c:pt idx="4280">
                  <c:v>0</c:v>
                </c:pt>
                <c:pt idx="4281">
                  <c:v>0</c:v>
                </c:pt>
                <c:pt idx="4282">
                  <c:v>0</c:v>
                </c:pt>
                <c:pt idx="4283">
                  <c:v>0</c:v>
                </c:pt>
                <c:pt idx="4284">
                  <c:v>0</c:v>
                </c:pt>
                <c:pt idx="4285">
                  <c:v>0</c:v>
                </c:pt>
                <c:pt idx="4286">
                  <c:v>0</c:v>
                </c:pt>
                <c:pt idx="4287">
                  <c:v>0</c:v>
                </c:pt>
                <c:pt idx="4288">
                  <c:v>0</c:v>
                </c:pt>
                <c:pt idx="4289">
                  <c:v>0</c:v>
                </c:pt>
                <c:pt idx="4290">
                  <c:v>0</c:v>
                </c:pt>
                <c:pt idx="4291">
                  <c:v>0</c:v>
                </c:pt>
                <c:pt idx="4292">
                  <c:v>0</c:v>
                </c:pt>
                <c:pt idx="4293">
                  <c:v>0</c:v>
                </c:pt>
                <c:pt idx="4294">
                  <c:v>0</c:v>
                </c:pt>
                <c:pt idx="4295">
                  <c:v>0</c:v>
                </c:pt>
                <c:pt idx="4296">
                  <c:v>0</c:v>
                </c:pt>
                <c:pt idx="4297">
                  <c:v>0</c:v>
                </c:pt>
                <c:pt idx="4298">
                  <c:v>0</c:v>
                </c:pt>
                <c:pt idx="4299">
                  <c:v>0</c:v>
                </c:pt>
                <c:pt idx="4300">
                  <c:v>0</c:v>
                </c:pt>
                <c:pt idx="4301">
                  <c:v>0</c:v>
                </c:pt>
                <c:pt idx="4302">
                  <c:v>0</c:v>
                </c:pt>
                <c:pt idx="4303">
                  <c:v>0</c:v>
                </c:pt>
                <c:pt idx="4304">
                  <c:v>0</c:v>
                </c:pt>
                <c:pt idx="4305">
                  <c:v>0</c:v>
                </c:pt>
                <c:pt idx="4306">
                  <c:v>0</c:v>
                </c:pt>
                <c:pt idx="4307">
                  <c:v>0</c:v>
                </c:pt>
                <c:pt idx="4308">
                  <c:v>0</c:v>
                </c:pt>
                <c:pt idx="4309">
                  <c:v>0</c:v>
                </c:pt>
                <c:pt idx="4310">
                  <c:v>0</c:v>
                </c:pt>
                <c:pt idx="4311">
                  <c:v>0</c:v>
                </c:pt>
                <c:pt idx="4312">
                  <c:v>0</c:v>
                </c:pt>
                <c:pt idx="4313">
                  <c:v>0</c:v>
                </c:pt>
                <c:pt idx="4314">
                  <c:v>0</c:v>
                </c:pt>
                <c:pt idx="4315">
                  <c:v>0</c:v>
                </c:pt>
                <c:pt idx="4316">
                  <c:v>0</c:v>
                </c:pt>
                <c:pt idx="4317">
                  <c:v>0</c:v>
                </c:pt>
                <c:pt idx="4318">
                  <c:v>0</c:v>
                </c:pt>
                <c:pt idx="4319">
                  <c:v>0</c:v>
                </c:pt>
                <c:pt idx="4320">
                  <c:v>0</c:v>
                </c:pt>
                <c:pt idx="4321">
                  <c:v>0</c:v>
                </c:pt>
                <c:pt idx="4322">
                  <c:v>0</c:v>
                </c:pt>
                <c:pt idx="4323">
                  <c:v>0</c:v>
                </c:pt>
                <c:pt idx="4324">
                  <c:v>0</c:v>
                </c:pt>
                <c:pt idx="4325">
                  <c:v>0</c:v>
                </c:pt>
                <c:pt idx="4326">
                  <c:v>0</c:v>
                </c:pt>
                <c:pt idx="4327">
                  <c:v>0</c:v>
                </c:pt>
                <c:pt idx="4328">
                  <c:v>0</c:v>
                </c:pt>
                <c:pt idx="4329">
                  <c:v>0</c:v>
                </c:pt>
                <c:pt idx="4330">
                  <c:v>0</c:v>
                </c:pt>
                <c:pt idx="4331">
                  <c:v>0</c:v>
                </c:pt>
                <c:pt idx="4332">
                  <c:v>0</c:v>
                </c:pt>
                <c:pt idx="4333">
                  <c:v>0</c:v>
                </c:pt>
                <c:pt idx="4334">
                  <c:v>0</c:v>
                </c:pt>
                <c:pt idx="4335">
                  <c:v>0</c:v>
                </c:pt>
                <c:pt idx="4336">
                  <c:v>0</c:v>
                </c:pt>
                <c:pt idx="4337">
                  <c:v>0</c:v>
                </c:pt>
                <c:pt idx="4338">
                  <c:v>0</c:v>
                </c:pt>
                <c:pt idx="4339">
                  <c:v>0</c:v>
                </c:pt>
                <c:pt idx="4340">
                  <c:v>0</c:v>
                </c:pt>
                <c:pt idx="4341">
                  <c:v>0</c:v>
                </c:pt>
                <c:pt idx="4342">
                  <c:v>0</c:v>
                </c:pt>
                <c:pt idx="4343">
                  <c:v>0</c:v>
                </c:pt>
                <c:pt idx="4344">
                  <c:v>0</c:v>
                </c:pt>
                <c:pt idx="4345">
                  <c:v>0</c:v>
                </c:pt>
                <c:pt idx="4346">
                  <c:v>0</c:v>
                </c:pt>
                <c:pt idx="4347">
                  <c:v>0</c:v>
                </c:pt>
                <c:pt idx="4348">
                  <c:v>0</c:v>
                </c:pt>
                <c:pt idx="4349">
                  <c:v>0</c:v>
                </c:pt>
                <c:pt idx="4350">
                  <c:v>0</c:v>
                </c:pt>
                <c:pt idx="4351">
                  <c:v>0</c:v>
                </c:pt>
                <c:pt idx="4352">
                  <c:v>0</c:v>
                </c:pt>
                <c:pt idx="4353">
                  <c:v>0</c:v>
                </c:pt>
                <c:pt idx="4354">
                  <c:v>0</c:v>
                </c:pt>
                <c:pt idx="4355">
                  <c:v>0</c:v>
                </c:pt>
                <c:pt idx="4356">
                  <c:v>0</c:v>
                </c:pt>
                <c:pt idx="4357">
                  <c:v>0</c:v>
                </c:pt>
                <c:pt idx="4358">
                  <c:v>0</c:v>
                </c:pt>
                <c:pt idx="4359">
                  <c:v>0</c:v>
                </c:pt>
                <c:pt idx="4360">
                  <c:v>0</c:v>
                </c:pt>
                <c:pt idx="4361">
                  <c:v>0</c:v>
                </c:pt>
                <c:pt idx="4362">
                  <c:v>0</c:v>
                </c:pt>
                <c:pt idx="4363">
                  <c:v>0</c:v>
                </c:pt>
                <c:pt idx="4364">
                  <c:v>0</c:v>
                </c:pt>
                <c:pt idx="4365">
                  <c:v>0</c:v>
                </c:pt>
                <c:pt idx="4366">
                  <c:v>0</c:v>
                </c:pt>
                <c:pt idx="4367">
                  <c:v>0</c:v>
                </c:pt>
                <c:pt idx="4368">
                  <c:v>0</c:v>
                </c:pt>
                <c:pt idx="4369">
                  <c:v>0</c:v>
                </c:pt>
                <c:pt idx="4370">
                  <c:v>0</c:v>
                </c:pt>
                <c:pt idx="4371">
                  <c:v>0</c:v>
                </c:pt>
                <c:pt idx="4372">
                  <c:v>0</c:v>
                </c:pt>
                <c:pt idx="4373">
                  <c:v>0</c:v>
                </c:pt>
                <c:pt idx="4374">
                  <c:v>0</c:v>
                </c:pt>
                <c:pt idx="4375">
                  <c:v>0</c:v>
                </c:pt>
                <c:pt idx="4376">
                  <c:v>0</c:v>
                </c:pt>
                <c:pt idx="4377">
                  <c:v>0</c:v>
                </c:pt>
                <c:pt idx="4378">
                  <c:v>0</c:v>
                </c:pt>
                <c:pt idx="4379">
                  <c:v>0</c:v>
                </c:pt>
                <c:pt idx="4380">
                  <c:v>0</c:v>
                </c:pt>
                <c:pt idx="4381">
                  <c:v>0</c:v>
                </c:pt>
                <c:pt idx="4382">
                  <c:v>0</c:v>
                </c:pt>
                <c:pt idx="4383">
                  <c:v>0</c:v>
                </c:pt>
                <c:pt idx="4384">
                  <c:v>0</c:v>
                </c:pt>
                <c:pt idx="4385">
                  <c:v>0</c:v>
                </c:pt>
                <c:pt idx="4386">
                  <c:v>0</c:v>
                </c:pt>
                <c:pt idx="4387">
                  <c:v>0</c:v>
                </c:pt>
                <c:pt idx="4388">
                  <c:v>0</c:v>
                </c:pt>
                <c:pt idx="4389">
                  <c:v>0</c:v>
                </c:pt>
                <c:pt idx="4390">
                  <c:v>0</c:v>
                </c:pt>
                <c:pt idx="4391">
                  <c:v>0</c:v>
                </c:pt>
                <c:pt idx="4392">
                  <c:v>0</c:v>
                </c:pt>
                <c:pt idx="4393">
                  <c:v>0</c:v>
                </c:pt>
                <c:pt idx="4394">
                  <c:v>0</c:v>
                </c:pt>
                <c:pt idx="4395">
                  <c:v>0</c:v>
                </c:pt>
                <c:pt idx="4396">
                  <c:v>0</c:v>
                </c:pt>
                <c:pt idx="4397">
                  <c:v>0</c:v>
                </c:pt>
                <c:pt idx="4398">
                  <c:v>0</c:v>
                </c:pt>
                <c:pt idx="4399">
                  <c:v>0</c:v>
                </c:pt>
                <c:pt idx="4400">
                  <c:v>0</c:v>
                </c:pt>
                <c:pt idx="4401">
                  <c:v>0</c:v>
                </c:pt>
                <c:pt idx="4402">
                  <c:v>0</c:v>
                </c:pt>
                <c:pt idx="4403">
                  <c:v>0</c:v>
                </c:pt>
                <c:pt idx="4404">
                  <c:v>0</c:v>
                </c:pt>
                <c:pt idx="4405">
                  <c:v>0</c:v>
                </c:pt>
                <c:pt idx="4406">
                  <c:v>0</c:v>
                </c:pt>
                <c:pt idx="4407">
                  <c:v>0</c:v>
                </c:pt>
                <c:pt idx="4408">
                  <c:v>0</c:v>
                </c:pt>
                <c:pt idx="4409">
                  <c:v>0</c:v>
                </c:pt>
                <c:pt idx="4410">
                  <c:v>0</c:v>
                </c:pt>
                <c:pt idx="4411">
                  <c:v>0</c:v>
                </c:pt>
                <c:pt idx="4412">
                  <c:v>0</c:v>
                </c:pt>
                <c:pt idx="4413">
                  <c:v>0</c:v>
                </c:pt>
                <c:pt idx="4414">
                  <c:v>0</c:v>
                </c:pt>
                <c:pt idx="4415">
                  <c:v>0</c:v>
                </c:pt>
                <c:pt idx="4416">
                  <c:v>0</c:v>
                </c:pt>
                <c:pt idx="4417">
                  <c:v>0</c:v>
                </c:pt>
                <c:pt idx="4418">
                  <c:v>0</c:v>
                </c:pt>
                <c:pt idx="4419">
                  <c:v>0</c:v>
                </c:pt>
                <c:pt idx="4420">
                  <c:v>0</c:v>
                </c:pt>
                <c:pt idx="4421">
                  <c:v>0</c:v>
                </c:pt>
                <c:pt idx="4422">
                  <c:v>0</c:v>
                </c:pt>
                <c:pt idx="4423">
                  <c:v>0</c:v>
                </c:pt>
                <c:pt idx="4424">
                  <c:v>0</c:v>
                </c:pt>
                <c:pt idx="4425">
                  <c:v>0</c:v>
                </c:pt>
                <c:pt idx="4426">
                  <c:v>0</c:v>
                </c:pt>
                <c:pt idx="4427">
                  <c:v>0</c:v>
                </c:pt>
                <c:pt idx="4428">
                  <c:v>0</c:v>
                </c:pt>
                <c:pt idx="4429">
                  <c:v>0</c:v>
                </c:pt>
                <c:pt idx="4430">
                  <c:v>0</c:v>
                </c:pt>
                <c:pt idx="4431">
                  <c:v>0</c:v>
                </c:pt>
                <c:pt idx="4432">
                  <c:v>0</c:v>
                </c:pt>
                <c:pt idx="4433">
                  <c:v>0</c:v>
                </c:pt>
                <c:pt idx="4434">
                  <c:v>0</c:v>
                </c:pt>
                <c:pt idx="4435">
                  <c:v>0</c:v>
                </c:pt>
                <c:pt idx="4436">
                  <c:v>0</c:v>
                </c:pt>
                <c:pt idx="4437">
                  <c:v>0</c:v>
                </c:pt>
                <c:pt idx="4438">
                  <c:v>0</c:v>
                </c:pt>
                <c:pt idx="4439">
                  <c:v>0</c:v>
                </c:pt>
                <c:pt idx="4440">
                  <c:v>0</c:v>
                </c:pt>
                <c:pt idx="4441">
                  <c:v>0</c:v>
                </c:pt>
                <c:pt idx="4442">
                  <c:v>0</c:v>
                </c:pt>
                <c:pt idx="4443">
                  <c:v>0</c:v>
                </c:pt>
                <c:pt idx="4444">
                  <c:v>0</c:v>
                </c:pt>
                <c:pt idx="4445">
                  <c:v>0</c:v>
                </c:pt>
                <c:pt idx="4446">
                  <c:v>0</c:v>
                </c:pt>
                <c:pt idx="4447">
                  <c:v>0</c:v>
                </c:pt>
                <c:pt idx="4448">
                  <c:v>0</c:v>
                </c:pt>
                <c:pt idx="4449">
                  <c:v>0</c:v>
                </c:pt>
                <c:pt idx="4450">
                  <c:v>0</c:v>
                </c:pt>
                <c:pt idx="4451">
                  <c:v>0</c:v>
                </c:pt>
                <c:pt idx="4452">
                  <c:v>0</c:v>
                </c:pt>
                <c:pt idx="4453">
                  <c:v>0</c:v>
                </c:pt>
                <c:pt idx="4454">
                  <c:v>0</c:v>
                </c:pt>
                <c:pt idx="4455">
                  <c:v>0</c:v>
                </c:pt>
                <c:pt idx="4456">
                  <c:v>0</c:v>
                </c:pt>
                <c:pt idx="4457">
                  <c:v>0</c:v>
                </c:pt>
                <c:pt idx="4458">
                  <c:v>0</c:v>
                </c:pt>
                <c:pt idx="4459">
                  <c:v>0</c:v>
                </c:pt>
                <c:pt idx="4460">
                  <c:v>0</c:v>
                </c:pt>
                <c:pt idx="4461">
                  <c:v>0</c:v>
                </c:pt>
                <c:pt idx="4462">
                  <c:v>0</c:v>
                </c:pt>
                <c:pt idx="4463">
                  <c:v>0</c:v>
                </c:pt>
                <c:pt idx="4464">
                  <c:v>0</c:v>
                </c:pt>
                <c:pt idx="4465">
                  <c:v>0</c:v>
                </c:pt>
                <c:pt idx="4466">
                  <c:v>0</c:v>
                </c:pt>
                <c:pt idx="4467">
                  <c:v>0</c:v>
                </c:pt>
                <c:pt idx="4468">
                  <c:v>0</c:v>
                </c:pt>
                <c:pt idx="4469">
                  <c:v>0</c:v>
                </c:pt>
                <c:pt idx="4470">
                  <c:v>0</c:v>
                </c:pt>
                <c:pt idx="4471">
                  <c:v>0</c:v>
                </c:pt>
                <c:pt idx="4472">
                  <c:v>0</c:v>
                </c:pt>
                <c:pt idx="4473">
                  <c:v>0</c:v>
                </c:pt>
                <c:pt idx="4474">
                  <c:v>0</c:v>
                </c:pt>
                <c:pt idx="4475">
                  <c:v>0</c:v>
                </c:pt>
                <c:pt idx="4476">
                  <c:v>0</c:v>
                </c:pt>
                <c:pt idx="4477">
                  <c:v>0</c:v>
                </c:pt>
                <c:pt idx="4478">
                  <c:v>0</c:v>
                </c:pt>
                <c:pt idx="4479">
                  <c:v>0</c:v>
                </c:pt>
                <c:pt idx="4480">
                  <c:v>0</c:v>
                </c:pt>
                <c:pt idx="4481">
                  <c:v>0</c:v>
                </c:pt>
                <c:pt idx="4482">
                  <c:v>0</c:v>
                </c:pt>
                <c:pt idx="4483">
                  <c:v>0</c:v>
                </c:pt>
                <c:pt idx="4484">
                  <c:v>0</c:v>
                </c:pt>
                <c:pt idx="4485">
                  <c:v>0</c:v>
                </c:pt>
                <c:pt idx="4486">
                  <c:v>0</c:v>
                </c:pt>
                <c:pt idx="4487">
                  <c:v>0</c:v>
                </c:pt>
                <c:pt idx="4488">
                  <c:v>0</c:v>
                </c:pt>
                <c:pt idx="4489">
                  <c:v>0</c:v>
                </c:pt>
                <c:pt idx="4490">
                  <c:v>0</c:v>
                </c:pt>
                <c:pt idx="4491">
                  <c:v>0</c:v>
                </c:pt>
                <c:pt idx="4492">
                  <c:v>0</c:v>
                </c:pt>
                <c:pt idx="4493">
                  <c:v>0</c:v>
                </c:pt>
                <c:pt idx="4494">
                  <c:v>0</c:v>
                </c:pt>
                <c:pt idx="4495">
                  <c:v>0</c:v>
                </c:pt>
                <c:pt idx="4496">
                  <c:v>0</c:v>
                </c:pt>
                <c:pt idx="4497">
                  <c:v>0</c:v>
                </c:pt>
                <c:pt idx="4498">
                  <c:v>0</c:v>
                </c:pt>
                <c:pt idx="4499">
                  <c:v>0</c:v>
                </c:pt>
                <c:pt idx="4500">
                  <c:v>0</c:v>
                </c:pt>
                <c:pt idx="4501">
                  <c:v>0</c:v>
                </c:pt>
                <c:pt idx="4502">
                  <c:v>0</c:v>
                </c:pt>
                <c:pt idx="4503">
                  <c:v>0</c:v>
                </c:pt>
                <c:pt idx="4504">
                  <c:v>0</c:v>
                </c:pt>
                <c:pt idx="4505">
                  <c:v>0</c:v>
                </c:pt>
                <c:pt idx="4506">
                  <c:v>0</c:v>
                </c:pt>
                <c:pt idx="4507">
                  <c:v>0</c:v>
                </c:pt>
                <c:pt idx="4508">
                  <c:v>0</c:v>
                </c:pt>
                <c:pt idx="4509">
                  <c:v>0</c:v>
                </c:pt>
                <c:pt idx="4510">
                  <c:v>0</c:v>
                </c:pt>
                <c:pt idx="4511">
                  <c:v>0</c:v>
                </c:pt>
                <c:pt idx="4512">
                  <c:v>0</c:v>
                </c:pt>
                <c:pt idx="4513">
                  <c:v>0</c:v>
                </c:pt>
                <c:pt idx="4514">
                  <c:v>0</c:v>
                </c:pt>
                <c:pt idx="4515">
                  <c:v>0</c:v>
                </c:pt>
                <c:pt idx="4516">
                  <c:v>0</c:v>
                </c:pt>
                <c:pt idx="4517">
                  <c:v>0</c:v>
                </c:pt>
                <c:pt idx="4518">
                  <c:v>0</c:v>
                </c:pt>
                <c:pt idx="4519">
                  <c:v>0</c:v>
                </c:pt>
                <c:pt idx="4520">
                  <c:v>0</c:v>
                </c:pt>
                <c:pt idx="4521">
                  <c:v>0</c:v>
                </c:pt>
                <c:pt idx="4522">
                  <c:v>0</c:v>
                </c:pt>
                <c:pt idx="4523">
                  <c:v>0</c:v>
                </c:pt>
                <c:pt idx="4524">
                  <c:v>0</c:v>
                </c:pt>
                <c:pt idx="4525">
                  <c:v>0</c:v>
                </c:pt>
                <c:pt idx="4526">
                  <c:v>0</c:v>
                </c:pt>
                <c:pt idx="4527">
                  <c:v>0</c:v>
                </c:pt>
                <c:pt idx="4528">
                  <c:v>0</c:v>
                </c:pt>
                <c:pt idx="4529">
                  <c:v>0</c:v>
                </c:pt>
                <c:pt idx="4530">
                  <c:v>0</c:v>
                </c:pt>
                <c:pt idx="4531">
                  <c:v>0</c:v>
                </c:pt>
                <c:pt idx="4532">
                  <c:v>0</c:v>
                </c:pt>
                <c:pt idx="4533">
                  <c:v>0</c:v>
                </c:pt>
                <c:pt idx="4534">
                  <c:v>0</c:v>
                </c:pt>
                <c:pt idx="4535">
                  <c:v>0</c:v>
                </c:pt>
                <c:pt idx="4536">
                  <c:v>0</c:v>
                </c:pt>
                <c:pt idx="4537">
                  <c:v>0</c:v>
                </c:pt>
                <c:pt idx="4538">
                  <c:v>0</c:v>
                </c:pt>
                <c:pt idx="4539">
                  <c:v>0</c:v>
                </c:pt>
                <c:pt idx="4540">
                  <c:v>0</c:v>
                </c:pt>
                <c:pt idx="4541">
                  <c:v>0</c:v>
                </c:pt>
                <c:pt idx="4542">
                  <c:v>0</c:v>
                </c:pt>
                <c:pt idx="4543">
                  <c:v>0</c:v>
                </c:pt>
                <c:pt idx="4544">
                  <c:v>0</c:v>
                </c:pt>
                <c:pt idx="4545">
                  <c:v>0</c:v>
                </c:pt>
                <c:pt idx="4546">
                  <c:v>0</c:v>
                </c:pt>
                <c:pt idx="4547">
                  <c:v>0</c:v>
                </c:pt>
                <c:pt idx="4548">
                  <c:v>0</c:v>
                </c:pt>
                <c:pt idx="4549">
                  <c:v>0</c:v>
                </c:pt>
                <c:pt idx="4550">
                  <c:v>0</c:v>
                </c:pt>
                <c:pt idx="4551">
                  <c:v>0</c:v>
                </c:pt>
                <c:pt idx="4552">
                  <c:v>0</c:v>
                </c:pt>
                <c:pt idx="4553">
                  <c:v>0</c:v>
                </c:pt>
                <c:pt idx="4554">
                  <c:v>0</c:v>
                </c:pt>
                <c:pt idx="4555">
                  <c:v>0</c:v>
                </c:pt>
                <c:pt idx="4556">
                  <c:v>0</c:v>
                </c:pt>
                <c:pt idx="4557">
                  <c:v>0</c:v>
                </c:pt>
                <c:pt idx="4558">
                  <c:v>0</c:v>
                </c:pt>
                <c:pt idx="4559">
                  <c:v>0</c:v>
                </c:pt>
                <c:pt idx="4560">
                  <c:v>0</c:v>
                </c:pt>
                <c:pt idx="4561">
                  <c:v>0</c:v>
                </c:pt>
                <c:pt idx="4562">
                  <c:v>0</c:v>
                </c:pt>
                <c:pt idx="4563">
                  <c:v>0</c:v>
                </c:pt>
                <c:pt idx="4564">
                  <c:v>0</c:v>
                </c:pt>
                <c:pt idx="4565">
                  <c:v>0</c:v>
                </c:pt>
                <c:pt idx="4566">
                  <c:v>0</c:v>
                </c:pt>
                <c:pt idx="4567">
                  <c:v>0</c:v>
                </c:pt>
                <c:pt idx="4568">
                  <c:v>0</c:v>
                </c:pt>
                <c:pt idx="4569">
                  <c:v>0</c:v>
                </c:pt>
                <c:pt idx="4570">
                  <c:v>0</c:v>
                </c:pt>
                <c:pt idx="4571">
                  <c:v>0</c:v>
                </c:pt>
                <c:pt idx="4572">
                  <c:v>0</c:v>
                </c:pt>
                <c:pt idx="4573">
                  <c:v>0</c:v>
                </c:pt>
                <c:pt idx="4574">
                  <c:v>0</c:v>
                </c:pt>
                <c:pt idx="4575">
                  <c:v>0</c:v>
                </c:pt>
                <c:pt idx="4576">
                  <c:v>0</c:v>
                </c:pt>
                <c:pt idx="4577">
                  <c:v>0</c:v>
                </c:pt>
                <c:pt idx="4578">
                  <c:v>0</c:v>
                </c:pt>
                <c:pt idx="4579">
                  <c:v>0</c:v>
                </c:pt>
                <c:pt idx="4580">
                  <c:v>0</c:v>
                </c:pt>
                <c:pt idx="4581">
                  <c:v>0</c:v>
                </c:pt>
                <c:pt idx="4582">
                  <c:v>0</c:v>
                </c:pt>
                <c:pt idx="4583">
                  <c:v>0</c:v>
                </c:pt>
                <c:pt idx="4584">
                  <c:v>0</c:v>
                </c:pt>
                <c:pt idx="4585">
                  <c:v>0</c:v>
                </c:pt>
                <c:pt idx="4586">
                  <c:v>0</c:v>
                </c:pt>
                <c:pt idx="4587">
                  <c:v>0</c:v>
                </c:pt>
                <c:pt idx="4588">
                  <c:v>0</c:v>
                </c:pt>
                <c:pt idx="4589">
                  <c:v>0</c:v>
                </c:pt>
                <c:pt idx="4590">
                  <c:v>0</c:v>
                </c:pt>
                <c:pt idx="4591">
                  <c:v>0</c:v>
                </c:pt>
                <c:pt idx="4592">
                  <c:v>0</c:v>
                </c:pt>
                <c:pt idx="4593">
                  <c:v>0</c:v>
                </c:pt>
                <c:pt idx="4594">
                  <c:v>0</c:v>
                </c:pt>
                <c:pt idx="4595">
                  <c:v>0</c:v>
                </c:pt>
                <c:pt idx="4596">
                  <c:v>0</c:v>
                </c:pt>
                <c:pt idx="4597">
                  <c:v>0</c:v>
                </c:pt>
                <c:pt idx="4598">
                  <c:v>0</c:v>
                </c:pt>
                <c:pt idx="4599">
                  <c:v>0</c:v>
                </c:pt>
                <c:pt idx="4600">
                  <c:v>0</c:v>
                </c:pt>
                <c:pt idx="4601">
                  <c:v>0</c:v>
                </c:pt>
                <c:pt idx="4602">
                  <c:v>0</c:v>
                </c:pt>
                <c:pt idx="4603">
                  <c:v>0</c:v>
                </c:pt>
                <c:pt idx="4604">
                  <c:v>0</c:v>
                </c:pt>
                <c:pt idx="4605">
                  <c:v>0</c:v>
                </c:pt>
                <c:pt idx="4606">
                  <c:v>0</c:v>
                </c:pt>
                <c:pt idx="4607">
                  <c:v>0</c:v>
                </c:pt>
                <c:pt idx="4608">
                  <c:v>0</c:v>
                </c:pt>
                <c:pt idx="4609">
                  <c:v>0</c:v>
                </c:pt>
                <c:pt idx="4610">
                  <c:v>0</c:v>
                </c:pt>
                <c:pt idx="4611">
                  <c:v>0</c:v>
                </c:pt>
                <c:pt idx="4612">
                  <c:v>0</c:v>
                </c:pt>
                <c:pt idx="4613">
                  <c:v>0</c:v>
                </c:pt>
                <c:pt idx="4614">
                  <c:v>0</c:v>
                </c:pt>
                <c:pt idx="4615">
                  <c:v>0</c:v>
                </c:pt>
                <c:pt idx="4616">
                  <c:v>0</c:v>
                </c:pt>
                <c:pt idx="4617">
                  <c:v>0</c:v>
                </c:pt>
                <c:pt idx="4618">
                  <c:v>0</c:v>
                </c:pt>
                <c:pt idx="4619">
                  <c:v>0</c:v>
                </c:pt>
                <c:pt idx="4620">
                  <c:v>0</c:v>
                </c:pt>
                <c:pt idx="4621">
                  <c:v>0</c:v>
                </c:pt>
                <c:pt idx="4622">
                  <c:v>0</c:v>
                </c:pt>
                <c:pt idx="4623">
                  <c:v>0</c:v>
                </c:pt>
                <c:pt idx="4624">
                  <c:v>0</c:v>
                </c:pt>
                <c:pt idx="4625">
                  <c:v>0</c:v>
                </c:pt>
                <c:pt idx="4626">
                  <c:v>0</c:v>
                </c:pt>
                <c:pt idx="4627">
                  <c:v>0</c:v>
                </c:pt>
                <c:pt idx="4628">
                  <c:v>0</c:v>
                </c:pt>
                <c:pt idx="4629">
                  <c:v>0</c:v>
                </c:pt>
                <c:pt idx="4630">
                  <c:v>0</c:v>
                </c:pt>
                <c:pt idx="4631">
                  <c:v>0</c:v>
                </c:pt>
                <c:pt idx="4632">
                  <c:v>0</c:v>
                </c:pt>
                <c:pt idx="4633">
                  <c:v>0</c:v>
                </c:pt>
                <c:pt idx="4634">
                  <c:v>0</c:v>
                </c:pt>
                <c:pt idx="4635">
                  <c:v>0</c:v>
                </c:pt>
                <c:pt idx="4636">
                  <c:v>0</c:v>
                </c:pt>
                <c:pt idx="4637">
                  <c:v>0</c:v>
                </c:pt>
                <c:pt idx="4638">
                  <c:v>0</c:v>
                </c:pt>
                <c:pt idx="4639">
                  <c:v>0</c:v>
                </c:pt>
                <c:pt idx="4640">
                  <c:v>0</c:v>
                </c:pt>
                <c:pt idx="4641">
                  <c:v>0</c:v>
                </c:pt>
                <c:pt idx="4642">
                  <c:v>0</c:v>
                </c:pt>
                <c:pt idx="4643">
                  <c:v>0</c:v>
                </c:pt>
                <c:pt idx="4644">
                  <c:v>0</c:v>
                </c:pt>
                <c:pt idx="4645">
                  <c:v>0</c:v>
                </c:pt>
                <c:pt idx="4646">
                  <c:v>0</c:v>
                </c:pt>
                <c:pt idx="4647">
                  <c:v>0</c:v>
                </c:pt>
                <c:pt idx="4648">
                  <c:v>0</c:v>
                </c:pt>
                <c:pt idx="4649">
                  <c:v>0</c:v>
                </c:pt>
                <c:pt idx="4650">
                  <c:v>0</c:v>
                </c:pt>
                <c:pt idx="4651">
                  <c:v>0</c:v>
                </c:pt>
                <c:pt idx="4652">
                  <c:v>0</c:v>
                </c:pt>
                <c:pt idx="4653">
                  <c:v>0</c:v>
                </c:pt>
                <c:pt idx="4654">
                  <c:v>0</c:v>
                </c:pt>
                <c:pt idx="4655">
                  <c:v>0</c:v>
                </c:pt>
                <c:pt idx="4656">
                  <c:v>0</c:v>
                </c:pt>
                <c:pt idx="4657">
                  <c:v>0</c:v>
                </c:pt>
                <c:pt idx="4658">
                  <c:v>0</c:v>
                </c:pt>
                <c:pt idx="4659">
                  <c:v>0</c:v>
                </c:pt>
                <c:pt idx="4660">
                  <c:v>0</c:v>
                </c:pt>
                <c:pt idx="4661">
                  <c:v>0</c:v>
                </c:pt>
                <c:pt idx="4662">
                  <c:v>0</c:v>
                </c:pt>
                <c:pt idx="4663">
                  <c:v>0</c:v>
                </c:pt>
                <c:pt idx="4664">
                  <c:v>0</c:v>
                </c:pt>
                <c:pt idx="4665">
                  <c:v>0</c:v>
                </c:pt>
                <c:pt idx="4666">
                  <c:v>0</c:v>
                </c:pt>
                <c:pt idx="4667">
                  <c:v>0</c:v>
                </c:pt>
                <c:pt idx="4668">
                  <c:v>0</c:v>
                </c:pt>
                <c:pt idx="4669">
                  <c:v>0</c:v>
                </c:pt>
                <c:pt idx="4670">
                  <c:v>0</c:v>
                </c:pt>
                <c:pt idx="4671">
                  <c:v>0</c:v>
                </c:pt>
                <c:pt idx="4672">
                  <c:v>0</c:v>
                </c:pt>
                <c:pt idx="4673">
                  <c:v>0</c:v>
                </c:pt>
                <c:pt idx="4674">
                  <c:v>0</c:v>
                </c:pt>
                <c:pt idx="4675">
                  <c:v>0</c:v>
                </c:pt>
                <c:pt idx="4676">
                  <c:v>0</c:v>
                </c:pt>
                <c:pt idx="4677">
                  <c:v>0</c:v>
                </c:pt>
                <c:pt idx="4678">
                  <c:v>0</c:v>
                </c:pt>
                <c:pt idx="4679">
                  <c:v>0</c:v>
                </c:pt>
                <c:pt idx="4680">
                  <c:v>0</c:v>
                </c:pt>
                <c:pt idx="4681">
                  <c:v>0</c:v>
                </c:pt>
                <c:pt idx="4682">
                  <c:v>0</c:v>
                </c:pt>
                <c:pt idx="4683">
                  <c:v>0</c:v>
                </c:pt>
                <c:pt idx="4684">
                  <c:v>0</c:v>
                </c:pt>
                <c:pt idx="4685">
                  <c:v>0</c:v>
                </c:pt>
                <c:pt idx="4686">
                  <c:v>0</c:v>
                </c:pt>
                <c:pt idx="4687">
                  <c:v>0</c:v>
                </c:pt>
                <c:pt idx="4688">
                  <c:v>0</c:v>
                </c:pt>
                <c:pt idx="4689">
                  <c:v>0</c:v>
                </c:pt>
                <c:pt idx="4690">
                  <c:v>0</c:v>
                </c:pt>
                <c:pt idx="4691">
                  <c:v>0</c:v>
                </c:pt>
                <c:pt idx="4692">
                  <c:v>0</c:v>
                </c:pt>
                <c:pt idx="4693">
                  <c:v>0</c:v>
                </c:pt>
                <c:pt idx="4694">
                  <c:v>0</c:v>
                </c:pt>
                <c:pt idx="4695">
                  <c:v>0</c:v>
                </c:pt>
                <c:pt idx="4696">
                  <c:v>0</c:v>
                </c:pt>
                <c:pt idx="4697">
                  <c:v>0</c:v>
                </c:pt>
                <c:pt idx="4698">
                  <c:v>0</c:v>
                </c:pt>
                <c:pt idx="4699">
                  <c:v>0</c:v>
                </c:pt>
                <c:pt idx="4700">
                  <c:v>0</c:v>
                </c:pt>
                <c:pt idx="4701">
                  <c:v>0</c:v>
                </c:pt>
                <c:pt idx="4702">
                  <c:v>0</c:v>
                </c:pt>
                <c:pt idx="4703">
                  <c:v>0</c:v>
                </c:pt>
                <c:pt idx="4704">
                  <c:v>0</c:v>
                </c:pt>
                <c:pt idx="4705">
                  <c:v>0</c:v>
                </c:pt>
                <c:pt idx="4706">
                  <c:v>0</c:v>
                </c:pt>
                <c:pt idx="4707">
                  <c:v>0</c:v>
                </c:pt>
                <c:pt idx="4708">
                  <c:v>0</c:v>
                </c:pt>
                <c:pt idx="4709">
                  <c:v>0</c:v>
                </c:pt>
                <c:pt idx="4710">
                  <c:v>0</c:v>
                </c:pt>
                <c:pt idx="4711">
                  <c:v>0</c:v>
                </c:pt>
                <c:pt idx="4712">
                  <c:v>0</c:v>
                </c:pt>
                <c:pt idx="4713">
                  <c:v>0</c:v>
                </c:pt>
                <c:pt idx="4714">
                  <c:v>0</c:v>
                </c:pt>
                <c:pt idx="4715">
                  <c:v>0</c:v>
                </c:pt>
                <c:pt idx="4716">
                  <c:v>0</c:v>
                </c:pt>
                <c:pt idx="4717">
                  <c:v>0</c:v>
                </c:pt>
                <c:pt idx="4718">
                  <c:v>0</c:v>
                </c:pt>
                <c:pt idx="4719">
                  <c:v>0</c:v>
                </c:pt>
                <c:pt idx="4720">
                  <c:v>0</c:v>
                </c:pt>
                <c:pt idx="4721">
                  <c:v>0</c:v>
                </c:pt>
                <c:pt idx="4722">
                  <c:v>0</c:v>
                </c:pt>
                <c:pt idx="4723">
                  <c:v>0</c:v>
                </c:pt>
                <c:pt idx="4724">
                  <c:v>0</c:v>
                </c:pt>
                <c:pt idx="4725">
                  <c:v>0</c:v>
                </c:pt>
                <c:pt idx="4726">
                  <c:v>0</c:v>
                </c:pt>
                <c:pt idx="4727">
                  <c:v>0</c:v>
                </c:pt>
                <c:pt idx="4728">
                  <c:v>0</c:v>
                </c:pt>
                <c:pt idx="4729">
                  <c:v>0</c:v>
                </c:pt>
                <c:pt idx="4730">
                  <c:v>0</c:v>
                </c:pt>
                <c:pt idx="4731">
                  <c:v>0</c:v>
                </c:pt>
                <c:pt idx="4732">
                  <c:v>0</c:v>
                </c:pt>
                <c:pt idx="4733">
                  <c:v>0</c:v>
                </c:pt>
                <c:pt idx="4734">
                  <c:v>0</c:v>
                </c:pt>
                <c:pt idx="4735">
                  <c:v>0</c:v>
                </c:pt>
                <c:pt idx="4736">
                  <c:v>0</c:v>
                </c:pt>
                <c:pt idx="4737">
                  <c:v>0</c:v>
                </c:pt>
                <c:pt idx="4738">
                  <c:v>0</c:v>
                </c:pt>
                <c:pt idx="4739">
                  <c:v>0</c:v>
                </c:pt>
                <c:pt idx="4740">
                  <c:v>0</c:v>
                </c:pt>
                <c:pt idx="4741">
                  <c:v>0</c:v>
                </c:pt>
                <c:pt idx="4742">
                  <c:v>0</c:v>
                </c:pt>
                <c:pt idx="4743">
                  <c:v>0</c:v>
                </c:pt>
                <c:pt idx="4744">
                  <c:v>0</c:v>
                </c:pt>
                <c:pt idx="4745">
                  <c:v>0</c:v>
                </c:pt>
                <c:pt idx="4746">
                  <c:v>0</c:v>
                </c:pt>
                <c:pt idx="4747">
                  <c:v>0</c:v>
                </c:pt>
                <c:pt idx="4748">
                  <c:v>0</c:v>
                </c:pt>
                <c:pt idx="4749">
                  <c:v>0</c:v>
                </c:pt>
                <c:pt idx="4750">
                  <c:v>0</c:v>
                </c:pt>
                <c:pt idx="4751">
                  <c:v>0</c:v>
                </c:pt>
                <c:pt idx="4752">
                  <c:v>0</c:v>
                </c:pt>
                <c:pt idx="4753">
                  <c:v>0</c:v>
                </c:pt>
                <c:pt idx="4754">
                  <c:v>0</c:v>
                </c:pt>
                <c:pt idx="4755">
                  <c:v>0</c:v>
                </c:pt>
                <c:pt idx="4756">
                  <c:v>0</c:v>
                </c:pt>
                <c:pt idx="4757">
                  <c:v>0</c:v>
                </c:pt>
                <c:pt idx="4758">
                  <c:v>0</c:v>
                </c:pt>
                <c:pt idx="4759">
                  <c:v>0</c:v>
                </c:pt>
                <c:pt idx="4760">
                  <c:v>0</c:v>
                </c:pt>
                <c:pt idx="4761">
                  <c:v>0</c:v>
                </c:pt>
                <c:pt idx="4762">
                  <c:v>0</c:v>
                </c:pt>
                <c:pt idx="4763">
                  <c:v>0</c:v>
                </c:pt>
                <c:pt idx="4764">
                  <c:v>0</c:v>
                </c:pt>
                <c:pt idx="4765">
                  <c:v>0</c:v>
                </c:pt>
                <c:pt idx="4766">
                  <c:v>0</c:v>
                </c:pt>
                <c:pt idx="4767">
                  <c:v>0</c:v>
                </c:pt>
                <c:pt idx="4768">
                  <c:v>0</c:v>
                </c:pt>
                <c:pt idx="4769">
                  <c:v>0</c:v>
                </c:pt>
                <c:pt idx="4770">
                  <c:v>0</c:v>
                </c:pt>
                <c:pt idx="4771">
                  <c:v>0</c:v>
                </c:pt>
                <c:pt idx="4772">
                  <c:v>0</c:v>
                </c:pt>
                <c:pt idx="4773">
                  <c:v>0</c:v>
                </c:pt>
                <c:pt idx="4774">
                  <c:v>0</c:v>
                </c:pt>
                <c:pt idx="4775">
                  <c:v>0</c:v>
                </c:pt>
                <c:pt idx="4776">
                  <c:v>0</c:v>
                </c:pt>
                <c:pt idx="4777">
                  <c:v>0</c:v>
                </c:pt>
                <c:pt idx="4778">
                  <c:v>0</c:v>
                </c:pt>
                <c:pt idx="4779">
                  <c:v>0</c:v>
                </c:pt>
                <c:pt idx="4780">
                  <c:v>0</c:v>
                </c:pt>
                <c:pt idx="4781">
                  <c:v>0</c:v>
                </c:pt>
                <c:pt idx="4782">
                  <c:v>0</c:v>
                </c:pt>
                <c:pt idx="4783">
                  <c:v>0</c:v>
                </c:pt>
                <c:pt idx="4784">
                  <c:v>0</c:v>
                </c:pt>
                <c:pt idx="4785">
                  <c:v>0</c:v>
                </c:pt>
                <c:pt idx="4786">
                  <c:v>0</c:v>
                </c:pt>
                <c:pt idx="4787">
                  <c:v>0</c:v>
                </c:pt>
                <c:pt idx="4788">
                  <c:v>0</c:v>
                </c:pt>
                <c:pt idx="4789">
                  <c:v>0</c:v>
                </c:pt>
                <c:pt idx="4790">
                  <c:v>0</c:v>
                </c:pt>
                <c:pt idx="4791">
                  <c:v>0</c:v>
                </c:pt>
                <c:pt idx="4792">
                  <c:v>0</c:v>
                </c:pt>
                <c:pt idx="4793">
                  <c:v>0</c:v>
                </c:pt>
                <c:pt idx="4794">
                  <c:v>0</c:v>
                </c:pt>
                <c:pt idx="4795">
                  <c:v>0</c:v>
                </c:pt>
                <c:pt idx="4796">
                  <c:v>0</c:v>
                </c:pt>
                <c:pt idx="4797">
                  <c:v>0</c:v>
                </c:pt>
                <c:pt idx="4798">
                  <c:v>0</c:v>
                </c:pt>
                <c:pt idx="4799">
                  <c:v>0</c:v>
                </c:pt>
                <c:pt idx="4800">
                  <c:v>0</c:v>
                </c:pt>
                <c:pt idx="4801">
                  <c:v>0</c:v>
                </c:pt>
                <c:pt idx="4802">
                  <c:v>0</c:v>
                </c:pt>
                <c:pt idx="4803">
                  <c:v>0</c:v>
                </c:pt>
                <c:pt idx="4804">
                  <c:v>0</c:v>
                </c:pt>
                <c:pt idx="4805">
                  <c:v>0</c:v>
                </c:pt>
                <c:pt idx="4806">
                  <c:v>0</c:v>
                </c:pt>
                <c:pt idx="4807">
                  <c:v>0</c:v>
                </c:pt>
                <c:pt idx="4808">
                  <c:v>0</c:v>
                </c:pt>
                <c:pt idx="4809">
                  <c:v>0</c:v>
                </c:pt>
                <c:pt idx="4810">
                  <c:v>0</c:v>
                </c:pt>
                <c:pt idx="4811">
                  <c:v>0</c:v>
                </c:pt>
                <c:pt idx="4812">
                  <c:v>0</c:v>
                </c:pt>
                <c:pt idx="4813">
                  <c:v>0</c:v>
                </c:pt>
                <c:pt idx="4814">
                  <c:v>0</c:v>
                </c:pt>
                <c:pt idx="4815">
                  <c:v>0</c:v>
                </c:pt>
                <c:pt idx="4816">
                  <c:v>0</c:v>
                </c:pt>
                <c:pt idx="4817">
                  <c:v>0</c:v>
                </c:pt>
                <c:pt idx="4818">
                  <c:v>0</c:v>
                </c:pt>
                <c:pt idx="4819">
                  <c:v>0</c:v>
                </c:pt>
                <c:pt idx="4820">
                  <c:v>0</c:v>
                </c:pt>
                <c:pt idx="4821">
                  <c:v>0</c:v>
                </c:pt>
                <c:pt idx="4822">
                  <c:v>0</c:v>
                </c:pt>
                <c:pt idx="4823">
                  <c:v>0</c:v>
                </c:pt>
                <c:pt idx="4824">
                  <c:v>0</c:v>
                </c:pt>
                <c:pt idx="4825">
                  <c:v>0</c:v>
                </c:pt>
                <c:pt idx="4826">
                  <c:v>0</c:v>
                </c:pt>
                <c:pt idx="4827">
                  <c:v>0</c:v>
                </c:pt>
                <c:pt idx="4828">
                  <c:v>0</c:v>
                </c:pt>
                <c:pt idx="4829">
                  <c:v>0</c:v>
                </c:pt>
                <c:pt idx="4830">
                  <c:v>0</c:v>
                </c:pt>
                <c:pt idx="4831">
                  <c:v>0</c:v>
                </c:pt>
                <c:pt idx="4832">
                  <c:v>0</c:v>
                </c:pt>
                <c:pt idx="4833">
                  <c:v>0</c:v>
                </c:pt>
                <c:pt idx="4834">
                  <c:v>0</c:v>
                </c:pt>
                <c:pt idx="4835">
                  <c:v>0</c:v>
                </c:pt>
                <c:pt idx="4836">
                  <c:v>0</c:v>
                </c:pt>
                <c:pt idx="4837">
                  <c:v>0</c:v>
                </c:pt>
                <c:pt idx="4838">
                  <c:v>0</c:v>
                </c:pt>
                <c:pt idx="4839">
                  <c:v>0</c:v>
                </c:pt>
                <c:pt idx="4840">
                  <c:v>0</c:v>
                </c:pt>
                <c:pt idx="4841">
                  <c:v>0</c:v>
                </c:pt>
                <c:pt idx="4842">
                  <c:v>0</c:v>
                </c:pt>
                <c:pt idx="4843">
                  <c:v>0</c:v>
                </c:pt>
                <c:pt idx="4844">
                  <c:v>0</c:v>
                </c:pt>
                <c:pt idx="4845">
                  <c:v>0</c:v>
                </c:pt>
                <c:pt idx="4846">
                  <c:v>0</c:v>
                </c:pt>
                <c:pt idx="4847">
                  <c:v>0</c:v>
                </c:pt>
                <c:pt idx="4848">
                  <c:v>0</c:v>
                </c:pt>
                <c:pt idx="4849">
                  <c:v>0</c:v>
                </c:pt>
                <c:pt idx="4850">
                  <c:v>0</c:v>
                </c:pt>
                <c:pt idx="4851">
                  <c:v>0</c:v>
                </c:pt>
                <c:pt idx="4852">
                  <c:v>0</c:v>
                </c:pt>
                <c:pt idx="4853">
                  <c:v>0</c:v>
                </c:pt>
                <c:pt idx="4854">
                  <c:v>0</c:v>
                </c:pt>
                <c:pt idx="4855">
                  <c:v>0</c:v>
                </c:pt>
                <c:pt idx="4856">
                  <c:v>0</c:v>
                </c:pt>
                <c:pt idx="4857">
                  <c:v>0</c:v>
                </c:pt>
                <c:pt idx="4858">
                  <c:v>0</c:v>
                </c:pt>
                <c:pt idx="4859">
                  <c:v>0</c:v>
                </c:pt>
                <c:pt idx="4860">
                  <c:v>0</c:v>
                </c:pt>
                <c:pt idx="4861">
                  <c:v>0</c:v>
                </c:pt>
                <c:pt idx="4862">
                  <c:v>0</c:v>
                </c:pt>
                <c:pt idx="4863">
                  <c:v>0</c:v>
                </c:pt>
                <c:pt idx="4864">
                  <c:v>0</c:v>
                </c:pt>
                <c:pt idx="4865">
                  <c:v>0</c:v>
                </c:pt>
                <c:pt idx="4866">
                  <c:v>0</c:v>
                </c:pt>
                <c:pt idx="4867">
                  <c:v>0</c:v>
                </c:pt>
                <c:pt idx="4868">
                  <c:v>0</c:v>
                </c:pt>
                <c:pt idx="4869">
                  <c:v>0</c:v>
                </c:pt>
                <c:pt idx="4870">
                  <c:v>0</c:v>
                </c:pt>
                <c:pt idx="4871">
                  <c:v>0</c:v>
                </c:pt>
                <c:pt idx="4872">
                  <c:v>0</c:v>
                </c:pt>
                <c:pt idx="4873">
                  <c:v>0</c:v>
                </c:pt>
                <c:pt idx="4874">
                  <c:v>0</c:v>
                </c:pt>
                <c:pt idx="4875">
                  <c:v>0</c:v>
                </c:pt>
                <c:pt idx="4876">
                  <c:v>0</c:v>
                </c:pt>
                <c:pt idx="4877">
                  <c:v>0</c:v>
                </c:pt>
                <c:pt idx="4878">
                  <c:v>0</c:v>
                </c:pt>
                <c:pt idx="4879">
                  <c:v>0</c:v>
                </c:pt>
                <c:pt idx="4880">
                  <c:v>0</c:v>
                </c:pt>
                <c:pt idx="4881">
                  <c:v>0</c:v>
                </c:pt>
                <c:pt idx="4882">
                  <c:v>0</c:v>
                </c:pt>
                <c:pt idx="4883">
                  <c:v>0</c:v>
                </c:pt>
                <c:pt idx="4884">
                  <c:v>0</c:v>
                </c:pt>
                <c:pt idx="4885">
                  <c:v>0</c:v>
                </c:pt>
                <c:pt idx="4886">
                  <c:v>0</c:v>
                </c:pt>
                <c:pt idx="4887">
                  <c:v>0</c:v>
                </c:pt>
                <c:pt idx="4888">
                  <c:v>0</c:v>
                </c:pt>
                <c:pt idx="4889">
                  <c:v>0</c:v>
                </c:pt>
                <c:pt idx="4890">
                  <c:v>0</c:v>
                </c:pt>
                <c:pt idx="4891">
                  <c:v>0</c:v>
                </c:pt>
                <c:pt idx="4892">
                  <c:v>0</c:v>
                </c:pt>
                <c:pt idx="4893">
                  <c:v>0</c:v>
                </c:pt>
                <c:pt idx="4894">
                  <c:v>0</c:v>
                </c:pt>
                <c:pt idx="4895">
                  <c:v>0</c:v>
                </c:pt>
                <c:pt idx="4896">
                  <c:v>0</c:v>
                </c:pt>
                <c:pt idx="4897">
                  <c:v>0</c:v>
                </c:pt>
                <c:pt idx="4898">
                  <c:v>0</c:v>
                </c:pt>
                <c:pt idx="4899">
                  <c:v>0</c:v>
                </c:pt>
                <c:pt idx="4900">
                  <c:v>0</c:v>
                </c:pt>
                <c:pt idx="4901">
                  <c:v>0</c:v>
                </c:pt>
                <c:pt idx="4902">
                  <c:v>0</c:v>
                </c:pt>
                <c:pt idx="4903">
                  <c:v>0</c:v>
                </c:pt>
                <c:pt idx="4904">
                  <c:v>0</c:v>
                </c:pt>
                <c:pt idx="4905">
                  <c:v>0</c:v>
                </c:pt>
                <c:pt idx="4906">
                  <c:v>0</c:v>
                </c:pt>
                <c:pt idx="4907">
                  <c:v>0</c:v>
                </c:pt>
                <c:pt idx="4908">
                  <c:v>0</c:v>
                </c:pt>
                <c:pt idx="4909">
                  <c:v>0</c:v>
                </c:pt>
                <c:pt idx="4910">
                  <c:v>0</c:v>
                </c:pt>
                <c:pt idx="4911">
                  <c:v>0</c:v>
                </c:pt>
                <c:pt idx="4912">
                  <c:v>0</c:v>
                </c:pt>
                <c:pt idx="4913">
                  <c:v>0</c:v>
                </c:pt>
                <c:pt idx="4914">
                  <c:v>0</c:v>
                </c:pt>
                <c:pt idx="4915">
                  <c:v>0</c:v>
                </c:pt>
                <c:pt idx="4916">
                  <c:v>0</c:v>
                </c:pt>
                <c:pt idx="4917">
                  <c:v>0</c:v>
                </c:pt>
                <c:pt idx="4918">
                  <c:v>0</c:v>
                </c:pt>
                <c:pt idx="4919">
                  <c:v>0</c:v>
                </c:pt>
                <c:pt idx="4920">
                  <c:v>0</c:v>
                </c:pt>
                <c:pt idx="4921">
                  <c:v>0</c:v>
                </c:pt>
                <c:pt idx="4922">
                  <c:v>0</c:v>
                </c:pt>
                <c:pt idx="4923">
                  <c:v>0</c:v>
                </c:pt>
                <c:pt idx="4924">
                  <c:v>0</c:v>
                </c:pt>
                <c:pt idx="4925">
                  <c:v>0</c:v>
                </c:pt>
                <c:pt idx="4926">
                  <c:v>0</c:v>
                </c:pt>
                <c:pt idx="4927">
                  <c:v>0</c:v>
                </c:pt>
                <c:pt idx="4928">
                  <c:v>0</c:v>
                </c:pt>
                <c:pt idx="4929">
                  <c:v>0</c:v>
                </c:pt>
                <c:pt idx="4930">
                  <c:v>0</c:v>
                </c:pt>
                <c:pt idx="4931">
                  <c:v>0</c:v>
                </c:pt>
                <c:pt idx="4932">
                  <c:v>0</c:v>
                </c:pt>
                <c:pt idx="4933">
                  <c:v>0</c:v>
                </c:pt>
                <c:pt idx="4934">
                  <c:v>0</c:v>
                </c:pt>
                <c:pt idx="4935">
                  <c:v>0</c:v>
                </c:pt>
                <c:pt idx="4936">
                  <c:v>0</c:v>
                </c:pt>
                <c:pt idx="4937">
                  <c:v>0</c:v>
                </c:pt>
                <c:pt idx="4938">
                  <c:v>0</c:v>
                </c:pt>
                <c:pt idx="4939">
                  <c:v>0</c:v>
                </c:pt>
                <c:pt idx="4940">
                  <c:v>0</c:v>
                </c:pt>
                <c:pt idx="4941">
                  <c:v>0</c:v>
                </c:pt>
                <c:pt idx="4942">
                  <c:v>0</c:v>
                </c:pt>
                <c:pt idx="4943">
                  <c:v>0</c:v>
                </c:pt>
                <c:pt idx="4944">
                  <c:v>0</c:v>
                </c:pt>
                <c:pt idx="4945">
                  <c:v>0</c:v>
                </c:pt>
                <c:pt idx="4946">
                  <c:v>0</c:v>
                </c:pt>
                <c:pt idx="4947">
                  <c:v>0</c:v>
                </c:pt>
                <c:pt idx="4948">
                  <c:v>0</c:v>
                </c:pt>
                <c:pt idx="4949">
                  <c:v>0</c:v>
                </c:pt>
                <c:pt idx="4950">
                  <c:v>0</c:v>
                </c:pt>
                <c:pt idx="4951">
                  <c:v>0</c:v>
                </c:pt>
                <c:pt idx="4952">
                  <c:v>0</c:v>
                </c:pt>
                <c:pt idx="4953">
                  <c:v>0</c:v>
                </c:pt>
                <c:pt idx="4954">
                  <c:v>0</c:v>
                </c:pt>
                <c:pt idx="4955">
                  <c:v>0</c:v>
                </c:pt>
                <c:pt idx="4956">
                  <c:v>0</c:v>
                </c:pt>
                <c:pt idx="4957">
                  <c:v>0</c:v>
                </c:pt>
                <c:pt idx="4958">
                  <c:v>0</c:v>
                </c:pt>
                <c:pt idx="4959">
                  <c:v>0</c:v>
                </c:pt>
                <c:pt idx="4960">
                  <c:v>0</c:v>
                </c:pt>
                <c:pt idx="4961">
                  <c:v>0</c:v>
                </c:pt>
                <c:pt idx="4962">
                  <c:v>0</c:v>
                </c:pt>
                <c:pt idx="4963">
                  <c:v>0</c:v>
                </c:pt>
                <c:pt idx="4964">
                  <c:v>0</c:v>
                </c:pt>
                <c:pt idx="4965">
                  <c:v>0</c:v>
                </c:pt>
                <c:pt idx="4966">
                  <c:v>0</c:v>
                </c:pt>
                <c:pt idx="4967">
                  <c:v>0</c:v>
                </c:pt>
                <c:pt idx="4968">
                  <c:v>0</c:v>
                </c:pt>
                <c:pt idx="4969">
                  <c:v>0</c:v>
                </c:pt>
                <c:pt idx="4970">
                  <c:v>0</c:v>
                </c:pt>
                <c:pt idx="4971">
                  <c:v>0</c:v>
                </c:pt>
                <c:pt idx="4972">
                  <c:v>0</c:v>
                </c:pt>
                <c:pt idx="4973">
                  <c:v>0</c:v>
                </c:pt>
                <c:pt idx="4974">
                  <c:v>0</c:v>
                </c:pt>
                <c:pt idx="4975">
                  <c:v>0</c:v>
                </c:pt>
                <c:pt idx="4976">
                  <c:v>0</c:v>
                </c:pt>
                <c:pt idx="4977">
                  <c:v>0</c:v>
                </c:pt>
                <c:pt idx="4978">
                  <c:v>0</c:v>
                </c:pt>
                <c:pt idx="4979">
                  <c:v>0</c:v>
                </c:pt>
                <c:pt idx="4980">
                  <c:v>0</c:v>
                </c:pt>
                <c:pt idx="4981">
                  <c:v>0</c:v>
                </c:pt>
                <c:pt idx="4982">
                  <c:v>0</c:v>
                </c:pt>
                <c:pt idx="4983">
                  <c:v>0</c:v>
                </c:pt>
                <c:pt idx="4984">
                  <c:v>0</c:v>
                </c:pt>
                <c:pt idx="4985">
                  <c:v>0</c:v>
                </c:pt>
                <c:pt idx="4986">
                  <c:v>0</c:v>
                </c:pt>
                <c:pt idx="4987">
                  <c:v>0</c:v>
                </c:pt>
                <c:pt idx="4988">
                  <c:v>0</c:v>
                </c:pt>
                <c:pt idx="4989">
                  <c:v>0</c:v>
                </c:pt>
                <c:pt idx="4990">
                  <c:v>0</c:v>
                </c:pt>
                <c:pt idx="4991">
                  <c:v>0</c:v>
                </c:pt>
                <c:pt idx="4992">
                  <c:v>0</c:v>
                </c:pt>
                <c:pt idx="4993">
                  <c:v>0</c:v>
                </c:pt>
                <c:pt idx="4994">
                  <c:v>0</c:v>
                </c:pt>
                <c:pt idx="4995">
                  <c:v>0</c:v>
                </c:pt>
                <c:pt idx="4996">
                  <c:v>0</c:v>
                </c:pt>
                <c:pt idx="4997">
                  <c:v>0</c:v>
                </c:pt>
                <c:pt idx="4998">
                  <c:v>0</c:v>
                </c:pt>
                <c:pt idx="4999">
                  <c:v>0</c:v>
                </c:pt>
                <c:pt idx="5000">
                  <c:v>0</c:v>
                </c:pt>
                <c:pt idx="5001">
                  <c:v>0</c:v>
                </c:pt>
                <c:pt idx="5002">
                  <c:v>0</c:v>
                </c:pt>
                <c:pt idx="5003">
                  <c:v>0</c:v>
                </c:pt>
                <c:pt idx="5004">
                  <c:v>0</c:v>
                </c:pt>
                <c:pt idx="5005">
                  <c:v>0</c:v>
                </c:pt>
                <c:pt idx="5006">
                  <c:v>0</c:v>
                </c:pt>
                <c:pt idx="5007">
                  <c:v>0</c:v>
                </c:pt>
                <c:pt idx="5008">
                  <c:v>0</c:v>
                </c:pt>
                <c:pt idx="5009">
                  <c:v>0</c:v>
                </c:pt>
                <c:pt idx="5010">
                  <c:v>0</c:v>
                </c:pt>
                <c:pt idx="5011">
                  <c:v>0</c:v>
                </c:pt>
                <c:pt idx="5012">
                  <c:v>0</c:v>
                </c:pt>
                <c:pt idx="5013">
                  <c:v>0</c:v>
                </c:pt>
                <c:pt idx="5014">
                  <c:v>0</c:v>
                </c:pt>
                <c:pt idx="5015">
                  <c:v>0</c:v>
                </c:pt>
                <c:pt idx="5016">
                  <c:v>0</c:v>
                </c:pt>
                <c:pt idx="5017">
                  <c:v>0</c:v>
                </c:pt>
                <c:pt idx="5018">
                  <c:v>0</c:v>
                </c:pt>
                <c:pt idx="5019">
                  <c:v>0</c:v>
                </c:pt>
                <c:pt idx="5020">
                  <c:v>0</c:v>
                </c:pt>
                <c:pt idx="5021">
                  <c:v>0</c:v>
                </c:pt>
                <c:pt idx="5022">
                  <c:v>0</c:v>
                </c:pt>
                <c:pt idx="5023">
                  <c:v>0</c:v>
                </c:pt>
                <c:pt idx="5024">
                  <c:v>0</c:v>
                </c:pt>
                <c:pt idx="5025">
                  <c:v>0</c:v>
                </c:pt>
                <c:pt idx="5026">
                  <c:v>0</c:v>
                </c:pt>
                <c:pt idx="5027">
                  <c:v>0</c:v>
                </c:pt>
                <c:pt idx="5028">
                  <c:v>0</c:v>
                </c:pt>
                <c:pt idx="5029">
                  <c:v>0</c:v>
                </c:pt>
                <c:pt idx="5030">
                  <c:v>0</c:v>
                </c:pt>
                <c:pt idx="5031">
                  <c:v>0</c:v>
                </c:pt>
                <c:pt idx="5032">
                  <c:v>0</c:v>
                </c:pt>
                <c:pt idx="5033">
                  <c:v>0</c:v>
                </c:pt>
                <c:pt idx="5034">
                  <c:v>0</c:v>
                </c:pt>
                <c:pt idx="5035">
                  <c:v>0</c:v>
                </c:pt>
                <c:pt idx="5036">
                  <c:v>0</c:v>
                </c:pt>
                <c:pt idx="5037">
                  <c:v>0</c:v>
                </c:pt>
                <c:pt idx="5038">
                  <c:v>0</c:v>
                </c:pt>
                <c:pt idx="5039">
                  <c:v>0</c:v>
                </c:pt>
                <c:pt idx="5040">
                  <c:v>0</c:v>
                </c:pt>
                <c:pt idx="5041">
                  <c:v>0</c:v>
                </c:pt>
                <c:pt idx="5042">
                  <c:v>0</c:v>
                </c:pt>
                <c:pt idx="5043">
                  <c:v>0</c:v>
                </c:pt>
                <c:pt idx="5044">
                  <c:v>0</c:v>
                </c:pt>
                <c:pt idx="5045">
                  <c:v>0</c:v>
                </c:pt>
                <c:pt idx="5046">
                  <c:v>0</c:v>
                </c:pt>
                <c:pt idx="5047">
                  <c:v>0</c:v>
                </c:pt>
                <c:pt idx="5048">
                  <c:v>0</c:v>
                </c:pt>
                <c:pt idx="5049">
                  <c:v>0</c:v>
                </c:pt>
                <c:pt idx="5050">
                  <c:v>0</c:v>
                </c:pt>
                <c:pt idx="5051">
                  <c:v>0</c:v>
                </c:pt>
                <c:pt idx="5052">
                  <c:v>0</c:v>
                </c:pt>
                <c:pt idx="5053">
                  <c:v>0</c:v>
                </c:pt>
                <c:pt idx="5054">
                  <c:v>0</c:v>
                </c:pt>
                <c:pt idx="5055">
                  <c:v>0</c:v>
                </c:pt>
                <c:pt idx="5056">
                  <c:v>0</c:v>
                </c:pt>
                <c:pt idx="5057">
                  <c:v>0</c:v>
                </c:pt>
                <c:pt idx="5058">
                  <c:v>0</c:v>
                </c:pt>
                <c:pt idx="5059">
                  <c:v>0</c:v>
                </c:pt>
                <c:pt idx="5060">
                  <c:v>0</c:v>
                </c:pt>
                <c:pt idx="5061">
                  <c:v>0</c:v>
                </c:pt>
                <c:pt idx="5062">
                  <c:v>0</c:v>
                </c:pt>
                <c:pt idx="5063">
                  <c:v>0</c:v>
                </c:pt>
                <c:pt idx="5064">
                  <c:v>0</c:v>
                </c:pt>
                <c:pt idx="5065">
                  <c:v>0</c:v>
                </c:pt>
                <c:pt idx="5066">
                  <c:v>0</c:v>
                </c:pt>
                <c:pt idx="5067">
                  <c:v>0</c:v>
                </c:pt>
                <c:pt idx="5068">
                  <c:v>0</c:v>
                </c:pt>
                <c:pt idx="5069">
                  <c:v>0</c:v>
                </c:pt>
                <c:pt idx="5070">
                  <c:v>0</c:v>
                </c:pt>
                <c:pt idx="5071">
                  <c:v>0</c:v>
                </c:pt>
                <c:pt idx="5072">
                  <c:v>0</c:v>
                </c:pt>
                <c:pt idx="5073">
                  <c:v>0</c:v>
                </c:pt>
                <c:pt idx="5074">
                  <c:v>0</c:v>
                </c:pt>
                <c:pt idx="5075">
                  <c:v>0</c:v>
                </c:pt>
                <c:pt idx="5076">
                  <c:v>0</c:v>
                </c:pt>
                <c:pt idx="5077">
                  <c:v>0</c:v>
                </c:pt>
                <c:pt idx="5078">
                  <c:v>0</c:v>
                </c:pt>
                <c:pt idx="5079">
                  <c:v>0</c:v>
                </c:pt>
                <c:pt idx="5080">
                  <c:v>0</c:v>
                </c:pt>
                <c:pt idx="5081">
                  <c:v>0</c:v>
                </c:pt>
                <c:pt idx="5082">
                  <c:v>0</c:v>
                </c:pt>
                <c:pt idx="5083">
                  <c:v>0</c:v>
                </c:pt>
                <c:pt idx="5084">
                  <c:v>0</c:v>
                </c:pt>
                <c:pt idx="5085">
                  <c:v>0</c:v>
                </c:pt>
                <c:pt idx="5086">
                  <c:v>0</c:v>
                </c:pt>
                <c:pt idx="5087">
                  <c:v>0</c:v>
                </c:pt>
                <c:pt idx="5088">
                  <c:v>0</c:v>
                </c:pt>
                <c:pt idx="5089">
                  <c:v>0</c:v>
                </c:pt>
                <c:pt idx="5090">
                  <c:v>0</c:v>
                </c:pt>
                <c:pt idx="5091">
                  <c:v>0</c:v>
                </c:pt>
                <c:pt idx="5092">
                  <c:v>0</c:v>
                </c:pt>
                <c:pt idx="5093">
                  <c:v>0</c:v>
                </c:pt>
                <c:pt idx="5094">
                  <c:v>0</c:v>
                </c:pt>
                <c:pt idx="5095">
                  <c:v>0</c:v>
                </c:pt>
                <c:pt idx="5096">
                  <c:v>0</c:v>
                </c:pt>
                <c:pt idx="5097">
                  <c:v>0</c:v>
                </c:pt>
                <c:pt idx="5098">
                  <c:v>0</c:v>
                </c:pt>
                <c:pt idx="5099">
                  <c:v>0</c:v>
                </c:pt>
                <c:pt idx="5100">
                  <c:v>0</c:v>
                </c:pt>
                <c:pt idx="5101">
                  <c:v>0</c:v>
                </c:pt>
                <c:pt idx="5102">
                  <c:v>0</c:v>
                </c:pt>
                <c:pt idx="5103">
                  <c:v>0</c:v>
                </c:pt>
                <c:pt idx="5104">
                  <c:v>0</c:v>
                </c:pt>
                <c:pt idx="5105">
                  <c:v>0</c:v>
                </c:pt>
                <c:pt idx="5106">
                  <c:v>0</c:v>
                </c:pt>
                <c:pt idx="5107">
                  <c:v>0</c:v>
                </c:pt>
                <c:pt idx="5108">
                  <c:v>0</c:v>
                </c:pt>
                <c:pt idx="5109">
                  <c:v>0</c:v>
                </c:pt>
                <c:pt idx="5110">
                  <c:v>0</c:v>
                </c:pt>
                <c:pt idx="5111">
                  <c:v>0</c:v>
                </c:pt>
                <c:pt idx="5112">
                  <c:v>0</c:v>
                </c:pt>
                <c:pt idx="5113">
                  <c:v>0</c:v>
                </c:pt>
                <c:pt idx="5114">
                  <c:v>0</c:v>
                </c:pt>
                <c:pt idx="5115">
                  <c:v>0</c:v>
                </c:pt>
                <c:pt idx="5116">
                  <c:v>0</c:v>
                </c:pt>
                <c:pt idx="5117">
                  <c:v>0</c:v>
                </c:pt>
                <c:pt idx="5118">
                  <c:v>0</c:v>
                </c:pt>
                <c:pt idx="5119">
                  <c:v>0</c:v>
                </c:pt>
                <c:pt idx="5120">
                  <c:v>0</c:v>
                </c:pt>
                <c:pt idx="5121">
                  <c:v>0</c:v>
                </c:pt>
                <c:pt idx="5122">
                  <c:v>0</c:v>
                </c:pt>
                <c:pt idx="5123">
                  <c:v>0</c:v>
                </c:pt>
                <c:pt idx="5124">
                  <c:v>0</c:v>
                </c:pt>
                <c:pt idx="5125">
                  <c:v>0</c:v>
                </c:pt>
                <c:pt idx="5126">
                  <c:v>0</c:v>
                </c:pt>
                <c:pt idx="5127">
                  <c:v>0</c:v>
                </c:pt>
                <c:pt idx="5128">
                  <c:v>0</c:v>
                </c:pt>
                <c:pt idx="5129">
                  <c:v>0</c:v>
                </c:pt>
                <c:pt idx="5130">
                  <c:v>0</c:v>
                </c:pt>
                <c:pt idx="5131">
                  <c:v>0</c:v>
                </c:pt>
                <c:pt idx="5132">
                  <c:v>0</c:v>
                </c:pt>
                <c:pt idx="5133">
                  <c:v>0</c:v>
                </c:pt>
                <c:pt idx="5134">
                  <c:v>0</c:v>
                </c:pt>
                <c:pt idx="5135">
                  <c:v>0</c:v>
                </c:pt>
                <c:pt idx="5136">
                  <c:v>0</c:v>
                </c:pt>
                <c:pt idx="5137">
                  <c:v>0</c:v>
                </c:pt>
                <c:pt idx="5138">
                  <c:v>0</c:v>
                </c:pt>
                <c:pt idx="5139">
                  <c:v>0</c:v>
                </c:pt>
                <c:pt idx="5140">
                  <c:v>0</c:v>
                </c:pt>
                <c:pt idx="5141">
                  <c:v>0</c:v>
                </c:pt>
                <c:pt idx="5142">
                  <c:v>0</c:v>
                </c:pt>
                <c:pt idx="5143">
                  <c:v>0</c:v>
                </c:pt>
                <c:pt idx="5144">
                  <c:v>0</c:v>
                </c:pt>
                <c:pt idx="5145">
                  <c:v>0</c:v>
                </c:pt>
                <c:pt idx="5146">
                  <c:v>0</c:v>
                </c:pt>
                <c:pt idx="5147">
                  <c:v>0</c:v>
                </c:pt>
                <c:pt idx="5148">
                  <c:v>0</c:v>
                </c:pt>
                <c:pt idx="5149">
                  <c:v>0</c:v>
                </c:pt>
                <c:pt idx="5150">
                  <c:v>0</c:v>
                </c:pt>
                <c:pt idx="5151">
                  <c:v>0</c:v>
                </c:pt>
                <c:pt idx="5152">
                  <c:v>0</c:v>
                </c:pt>
                <c:pt idx="5153">
                  <c:v>0</c:v>
                </c:pt>
                <c:pt idx="5154">
                  <c:v>0</c:v>
                </c:pt>
                <c:pt idx="5155">
                  <c:v>0</c:v>
                </c:pt>
                <c:pt idx="5156">
                  <c:v>0</c:v>
                </c:pt>
                <c:pt idx="5157">
                  <c:v>0</c:v>
                </c:pt>
                <c:pt idx="5158">
                  <c:v>0</c:v>
                </c:pt>
                <c:pt idx="5159">
                  <c:v>0</c:v>
                </c:pt>
                <c:pt idx="5160">
                  <c:v>0</c:v>
                </c:pt>
                <c:pt idx="5161">
                  <c:v>0</c:v>
                </c:pt>
                <c:pt idx="5162">
                  <c:v>0</c:v>
                </c:pt>
                <c:pt idx="5163">
                  <c:v>0</c:v>
                </c:pt>
                <c:pt idx="5164">
                  <c:v>0</c:v>
                </c:pt>
                <c:pt idx="5165">
                  <c:v>0</c:v>
                </c:pt>
                <c:pt idx="5166">
                  <c:v>0</c:v>
                </c:pt>
                <c:pt idx="5167">
                  <c:v>0</c:v>
                </c:pt>
                <c:pt idx="5168">
                  <c:v>0</c:v>
                </c:pt>
                <c:pt idx="5169">
                  <c:v>0</c:v>
                </c:pt>
                <c:pt idx="5170">
                  <c:v>0</c:v>
                </c:pt>
                <c:pt idx="5171">
                  <c:v>0</c:v>
                </c:pt>
                <c:pt idx="5172">
                  <c:v>0</c:v>
                </c:pt>
                <c:pt idx="5173">
                  <c:v>0</c:v>
                </c:pt>
                <c:pt idx="5174">
                  <c:v>0</c:v>
                </c:pt>
                <c:pt idx="5175">
                  <c:v>0</c:v>
                </c:pt>
                <c:pt idx="5176">
                  <c:v>0</c:v>
                </c:pt>
                <c:pt idx="5177">
                  <c:v>0</c:v>
                </c:pt>
                <c:pt idx="5178">
                  <c:v>0</c:v>
                </c:pt>
                <c:pt idx="5179">
                  <c:v>0</c:v>
                </c:pt>
                <c:pt idx="5180">
                  <c:v>0</c:v>
                </c:pt>
                <c:pt idx="5181">
                  <c:v>0</c:v>
                </c:pt>
                <c:pt idx="5182">
                  <c:v>0</c:v>
                </c:pt>
                <c:pt idx="5183">
                  <c:v>0</c:v>
                </c:pt>
                <c:pt idx="5184">
                  <c:v>0</c:v>
                </c:pt>
                <c:pt idx="5185">
                  <c:v>0</c:v>
                </c:pt>
                <c:pt idx="5186">
                  <c:v>0</c:v>
                </c:pt>
                <c:pt idx="5187">
                  <c:v>0</c:v>
                </c:pt>
                <c:pt idx="5188">
                  <c:v>0</c:v>
                </c:pt>
                <c:pt idx="5189">
                  <c:v>0</c:v>
                </c:pt>
                <c:pt idx="5190">
                  <c:v>0</c:v>
                </c:pt>
                <c:pt idx="5191">
                  <c:v>0</c:v>
                </c:pt>
                <c:pt idx="5192">
                  <c:v>0</c:v>
                </c:pt>
                <c:pt idx="5193">
                  <c:v>0</c:v>
                </c:pt>
                <c:pt idx="5194">
                  <c:v>0</c:v>
                </c:pt>
                <c:pt idx="5195">
                  <c:v>0</c:v>
                </c:pt>
                <c:pt idx="5196">
                  <c:v>0</c:v>
                </c:pt>
                <c:pt idx="5197">
                  <c:v>0</c:v>
                </c:pt>
                <c:pt idx="5198">
                  <c:v>0</c:v>
                </c:pt>
                <c:pt idx="5199">
                  <c:v>0</c:v>
                </c:pt>
                <c:pt idx="5200">
                  <c:v>0</c:v>
                </c:pt>
                <c:pt idx="5201">
                  <c:v>0</c:v>
                </c:pt>
                <c:pt idx="5202">
                  <c:v>0</c:v>
                </c:pt>
                <c:pt idx="5203">
                  <c:v>0</c:v>
                </c:pt>
                <c:pt idx="5204">
                  <c:v>0</c:v>
                </c:pt>
                <c:pt idx="5205">
                  <c:v>0</c:v>
                </c:pt>
                <c:pt idx="5206">
                  <c:v>0</c:v>
                </c:pt>
                <c:pt idx="5207">
                  <c:v>0</c:v>
                </c:pt>
                <c:pt idx="5208">
                  <c:v>0</c:v>
                </c:pt>
                <c:pt idx="5209">
                  <c:v>0</c:v>
                </c:pt>
                <c:pt idx="5210">
                  <c:v>0</c:v>
                </c:pt>
                <c:pt idx="5211">
                  <c:v>0</c:v>
                </c:pt>
                <c:pt idx="5212">
                  <c:v>0</c:v>
                </c:pt>
                <c:pt idx="5213">
                  <c:v>0</c:v>
                </c:pt>
                <c:pt idx="5214">
                  <c:v>0</c:v>
                </c:pt>
                <c:pt idx="5215">
                  <c:v>0</c:v>
                </c:pt>
                <c:pt idx="5216">
                  <c:v>0</c:v>
                </c:pt>
                <c:pt idx="5217">
                  <c:v>0</c:v>
                </c:pt>
                <c:pt idx="5218">
                  <c:v>0</c:v>
                </c:pt>
                <c:pt idx="5219">
                  <c:v>0</c:v>
                </c:pt>
                <c:pt idx="5220">
                  <c:v>0</c:v>
                </c:pt>
                <c:pt idx="5221">
                  <c:v>0</c:v>
                </c:pt>
                <c:pt idx="5222">
                  <c:v>0</c:v>
                </c:pt>
                <c:pt idx="5223">
                  <c:v>0</c:v>
                </c:pt>
                <c:pt idx="5224">
                  <c:v>0</c:v>
                </c:pt>
                <c:pt idx="5225">
                  <c:v>0</c:v>
                </c:pt>
                <c:pt idx="5226">
                  <c:v>0</c:v>
                </c:pt>
                <c:pt idx="5227">
                  <c:v>0</c:v>
                </c:pt>
                <c:pt idx="5228">
                  <c:v>0</c:v>
                </c:pt>
                <c:pt idx="5229">
                  <c:v>0</c:v>
                </c:pt>
                <c:pt idx="5230">
                  <c:v>0</c:v>
                </c:pt>
                <c:pt idx="5231">
                  <c:v>0</c:v>
                </c:pt>
                <c:pt idx="5232">
                  <c:v>0</c:v>
                </c:pt>
                <c:pt idx="5233">
                  <c:v>0</c:v>
                </c:pt>
                <c:pt idx="5234">
                  <c:v>0</c:v>
                </c:pt>
                <c:pt idx="5235">
                  <c:v>0</c:v>
                </c:pt>
                <c:pt idx="5236">
                  <c:v>0</c:v>
                </c:pt>
                <c:pt idx="5237">
                  <c:v>0</c:v>
                </c:pt>
                <c:pt idx="5238">
                  <c:v>0</c:v>
                </c:pt>
                <c:pt idx="5239">
                  <c:v>0</c:v>
                </c:pt>
                <c:pt idx="5240">
                  <c:v>0</c:v>
                </c:pt>
                <c:pt idx="5241">
                  <c:v>0</c:v>
                </c:pt>
                <c:pt idx="5242">
                  <c:v>0</c:v>
                </c:pt>
                <c:pt idx="5243">
                  <c:v>0</c:v>
                </c:pt>
                <c:pt idx="5244">
                  <c:v>0</c:v>
                </c:pt>
                <c:pt idx="5245">
                  <c:v>0</c:v>
                </c:pt>
                <c:pt idx="5246">
                  <c:v>0</c:v>
                </c:pt>
                <c:pt idx="5247">
                  <c:v>0</c:v>
                </c:pt>
                <c:pt idx="5248">
                  <c:v>0</c:v>
                </c:pt>
                <c:pt idx="5249">
                  <c:v>0</c:v>
                </c:pt>
                <c:pt idx="5250">
                  <c:v>0</c:v>
                </c:pt>
                <c:pt idx="5251">
                  <c:v>0</c:v>
                </c:pt>
                <c:pt idx="5252">
                  <c:v>0</c:v>
                </c:pt>
                <c:pt idx="5253">
                  <c:v>0</c:v>
                </c:pt>
                <c:pt idx="5254">
                  <c:v>0</c:v>
                </c:pt>
                <c:pt idx="5255">
                  <c:v>0</c:v>
                </c:pt>
                <c:pt idx="5256">
                  <c:v>0</c:v>
                </c:pt>
                <c:pt idx="5257">
                  <c:v>0</c:v>
                </c:pt>
                <c:pt idx="5258">
                  <c:v>0</c:v>
                </c:pt>
                <c:pt idx="5259">
                  <c:v>0</c:v>
                </c:pt>
                <c:pt idx="5260">
                  <c:v>0</c:v>
                </c:pt>
                <c:pt idx="5261">
                  <c:v>0</c:v>
                </c:pt>
                <c:pt idx="5262">
                  <c:v>0</c:v>
                </c:pt>
                <c:pt idx="5263">
                  <c:v>0</c:v>
                </c:pt>
                <c:pt idx="5264">
                  <c:v>0</c:v>
                </c:pt>
                <c:pt idx="5265">
                  <c:v>0</c:v>
                </c:pt>
                <c:pt idx="5266">
                  <c:v>0</c:v>
                </c:pt>
                <c:pt idx="5267">
                  <c:v>0</c:v>
                </c:pt>
                <c:pt idx="5268">
                  <c:v>0</c:v>
                </c:pt>
                <c:pt idx="5269">
                  <c:v>0</c:v>
                </c:pt>
                <c:pt idx="5270">
                  <c:v>0</c:v>
                </c:pt>
                <c:pt idx="5271">
                  <c:v>0</c:v>
                </c:pt>
                <c:pt idx="5272">
                  <c:v>0</c:v>
                </c:pt>
                <c:pt idx="5273">
                  <c:v>0</c:v>
                </c:pt>
                <c:pt idx="5274">
                  <c:v>0</c:v>
                </c:pt>
                <c:pt idx="5275">
                  <c:v>0</c:v>
                </c:pt>
                <c:pt idx="5276">
                  <c:v>0</c:v>
                </c:pt>
                <c:pt idx="5277">
                  <c:v>0</c:v>
                </c:pt>
                <c:pt idx="5278">
                  <c:v>0</c:v>
                </c:pt>
                <c:pt idx="5279">
                  <c:v>0</c:v>
                </c:pt>
                <c:pt idx="5280">
                  <c:v>0</c:v>
                </c:pt>
                <c:pt idx="5281">
                  <c:v>0</c:v>
                </c:pt>
                <c:pt idx="5282">
                  <c:v>0</c:v>
                </c:pt>
                <c:pt idx="5283">
                  <c:v>0</c:v>
                </c:pt>
                <c:pt idx="5284">
                  <c:v>0</c:v>
                </c:pt>
                <c:pt idx="5285">
                  <c:v>0</c:v>
                </c:pt>
                <c:pt idx="5286">
                  <c:v>0</c:v>
                </c:pt>
                <c:pt idx="5287">
                  <c:v>0</c:v>
                </c:pt>
                <c:pt idx="5288">
                  <c:v>0</c:v>
                </c:pt>
                <c:pt idx="5289">
                  <c:v>0</c:v>
                </c:pt>
                <c:pt idx="5290">
                  <c:v>0</c:v>
                </c:pt>
                <c:pt idx="5291">
                  <c:v>0</c:v>
                </c:pt>
                <c:pt idx="5292">
                  <c:v>0</c:v>
                </c:pt>
                <c:pt idx="5293">
                  <c:v>0</c:v>
                </c:pt>
                <c:pt idx="5294">
                  <c:v>0</c:v>
                </c:pt>
                <c:pt idx="5295">
                  <c:v>0</c:v>
                </c:pt>
                <c:pt idx="5296">
                  <c:v>0</c:v>
                </c:pt>
                <c:pt idx="5297">
                  <c:v>0</c:v>
                </c:pt>
                <c:pt idx="5298">
                  <c:v>0</c:v>
                </c:pt>
                <c:pt idx="5299">
                  <c:v>0</c:v>
                </c:pt>
                <c:pt idx="5300">
                  <c:v>0</c:v>
                </c:pt>
                <c:pt idx="5301">
                  <c:v>0</c:v>
                </c:pt>
                <c:pt idx="5302">
                  <c:v>0</c:v>
                </c:pt>
                <c:pt idx="5303">
                  <c:v>0</c:v>
                </c:pt>
                <c:pt idx="5304">
                  <c:v>0</c:v>
                </c:pt>
                <c:pt idx="5305">
                  <c:v>0</c:v>
                </c:pt>
                <c:pt idx="5306">
                  <c:v>0</c:v>
                </c:pt>
                <c:pt idx="5307">
                  <c:v>0</c:v>
                </c:pt>
                <c:pt idx="5308">
                  <c:v>0</c:v>
                </c:pt>
                <c:pt idx="5309">
                  <c:v>0</c:v>
                </c:pt>
                <c:pt idx="5310">
                  <c:v>0</c:v>
                </c:pt>
                <c:pt idx="5311">
                  <c:v>0</c:v>
                </c:pt>
                <c:pt idx="5312">
                  <c:v>0</c:v>
                </c:pt>
                <c:pt idx="5313">
                  <c:v>0</c:v>
                </c:pt>
                <c:pt idx="5314">
                  <c:v>0</c:v>
                </c:pt>
                <c:pt idx="5315">
                  <c:v>0</c:v>
                </c:pt>
                <c:pt idx="5316">
                  <c:v>0</c:v>
                </c:pt>
                <c:pt idx="5317">
                  <c:v>0</c:v>
                </c:pt>
                <c:pt idx="5318">
                  <c:v>0</c:v>
                </c:pt>
                <c:pt idx="5319">
                  <c:v>0</c:v>
                </c:pt>
                <c:pt idx="5320">
                  <c:v>0</c:v>
                </c:pt>
                <c:pt idx="5321">
                  <c:v>0</c:v>
                </c:pt>
                <c:pt idx="5322">
                  <c:v>0</c:v>
                </c:pt>
                <c:pt idx="5323">
                  <c:v>0</c:v>
                </c:pt>
                <c:pt idx="5324">
                  <c:v>0</c:v>
                </c:pt>
                <c:pt idx="5325">
                  <c:v>0</c:v>
                </c:pt>
                <c:pt idx="5326">
                  <c:v>0</c:v>
                </c:pt>
                <c:pt idx="5327">
                  <c:v>0</c:v>
                </c:pt>
                <c:pt idx="5328">
                  <c:v>0</c:v>
                </c:pt>
                <c:pt idx="5329">
                  <c:v>0</c:v>
                </c:pt>
                <c:pt idx="5330">
                  <c:v>0</c:v>
                </c:pt>
                <c:pt idx="5331">
                  <c:v>0</c:v>
                </c:pt>
                <c:pt idx="5332">
                  <c:v>0</c:v>
                </c:pt>
                <c:pt idx="5333">
                  <c:v>0</c:v>
                </c:pt>
                <c:pt idx="5334">
                  <c:v>0</c:v>
                </c:pt>
                <c:pt idx="5335">
                  <c:v>0</c:v>
                </c:pt>
                <c:pt idx="5336">
                  <c:v>0</c:v>
                </c:pt>
                <c:pt idx="5337">
                  <c:v>0</c:v>
                </c:pt>
                <c:pt idx="5338">
                  <c:v>0</c:v>
                </c:pt>
                <c:pt idx="5339">
                  <c:v>0</c:v>
                </c:pt>
                <c:pt idx="5340">
                  <c:v>0</c:v>
                </c:pt>
                <c:pt idx="5341">
                  <c:v>0</c:v>
                </c:pt>
                <c:pt idx="5342">
                  <c:v>0</c:v>
                </c:pt>
                <c:pt idx="5343">
                  <c:v>0</c:v>
                </c:pt>
                <c:pt idx="5344">
                  <c:v>0</c:v>
                </c:pt>
                <c:pt idx="5345">
                  <c:v>0</c:v>
                </c:pt>
                <c:pt idx="5346">
                  <c:v>0</c:v>
                </c:pt>
                <c:pt idx="5347">
                  <c:v>0</c:v>
                </c:pt>
                <c:pt idx="5348">
                  <c:v>0</c:v>
                </c:pt>
                <c:pt idx="5349">
                  <c:v>0</c:v>
                </c:pt>
                <c:pt idx="5350">
                  <c:v>0</c:v>
                </c:pt>
                <c:pt idx="5351">
                  <c:v>0</c:v>
                </c:pt>
                <c:pt idx="5352">
                  <c:v>0</c:v>
                </c:pt>
                <c:pt idx="5353">
                  <c:v>0</c:v>
                </c:pt>
                <c:pt idx="5354">
                  <c:v>0</c:v>
                </c:pt>
                <c:pt idx="5355">
                  <c:v>0</c:v>
                </c:pt>
                <c:pt idx="5356">
                  <c:v>0</c:v>
                </c:pt>
                <c:pt idx="5357">
                  <c:v>0</c:v>
                </c:pt>
                <c:pt idx="5358">
                  <c:v>0</c:v>
                </c:pt>
                <c:pt idx="5359">
                  <c:v>0</c:v>
                </c:pt>
                <c:pt idx="5360">
                  <c:v>0</c:v>
                </c:pt>
                <c:pt idx="5361">
                  <c:v>0</c:v>
                </c:pt>
                <c:pt idx="5362">
                  <c:v>0</c:v>
                </c:pt>
                <c:pt idx="5363">
                  <c:v>0</c:v>
                </c:pt>
                <c:pt idx="5364">
                  <c:v>0</c:v>
                </c:pt>
                <c:pt idx="5365">
                  <c:v>0</c:v>
                </c:pt>
                <c:pt idx="5366">
                  <c:v>0</c:v>
                </c:pt>
                <c:pt idx="5367">
                  <c:v>0</c:v>
                </c:pt>
                <c:pt idx="5368">
                  <c:v>0</c:v>
                </c:pt>
                <c:pt idx="5369">
                  <c:v>0</c:v>
                </c:pt>
                <c:pt idx="5370">
                  <c:v>0</c:v>
                </c:pt>
                <c:pt idx="5371">
                  <c:v>0</c:v>
                </c:pt>
                <c:pt idx="5372">
                  <c:v>0</c:v>
                </c:pt>
                <c:pt idx="5373">
                  <c:v>0</c:v>
                </c:pt>
                <c:pt idx="5374">
                  <c:v>0</c:v>
                </c:pt>
                <c:pt idx="5375">
                  <c:v>0</c:v>
                </c:pt>
                <c:pt idx="5376">
                  <c:v>0</c:v>
                </c:pt>
                <c:pt idx="5377">
                  <c:v>0</c:v>
                </c:pt>
                <c:pt idx="5378">
                  <c:v>0</c:v>
                </c:pt>
                <c:pt idx="5379">
                  <c:v>0</c:v>
                </c:pt>
                <c:pt idx="5380">
                  <c:v>0</c:v>
                </c:pt>
                <c:pt idx="5381">
                  <c:v>0</c:v>
                </c:pt>
                <c:pt idx="5382">
                  <c:v>0</c:v>
                </c:pt>
                <c:pt idx="5383">
                  <c:v>0</c:v>
                </c:pt>
                <c:pt idx="5384">
                  <c:v>0</c:v>
                </c:pt>
                <c:pt idx="5385">
                  <c:v>0</c:v>
                </c:pt>
                <c:pt idx="5386">
                  <c:v>0</c:v>
                </c:pt>
                <c:pt idx="5387">
                  <c:v>0</c:v>
                </c:pt>
                <c:pt idx="5388">
                  <c:v>0</c:v>
                </c:pt>
                <c:pt idx="5389">
                  <c:v>0</c:v>
                </c:pt>
                <c:pt idx="5390">
                  <c:v>0</c:v>
                </c:pt>
                <c:pt idx="5391">
                  <c:v>0</c:v>
                </c:pt>
                <c:pt idx="5392">
                  <c:v>0</c:v>
                </c:pt>
                <c:pt idx="5393">
                  <c:v>0</c:v>
                </c:pt>
                <c:pt idx="5394">
                  <c:v>0</c:v>
                </c:pt>
                <c:pt idx="5395">
                  <c:v>0</c:v>
                </c:pt>
                <c:pt idx="5396">
                  <c:v>0</c:v>
                </c:pt>
                <c:pt idx="5397">
                  <c:v>0</c:v>
                </c:pt>
                <c:pt idx="5398">
                  <c:v>0</c:v>
                </c:pt>
                <c:pt idx="5399">
                  <c:v>0</c:v>
                </c:pt>
                <c:pt idx="5400">
                  <c:v>0</c:v>
                </c:pt>
                <c:pt idx="5401">
                  <c:v>0</c:v>
                </c:pt>
                <c:pt idx="5402">
                  <c:v>0</c:v>
                </c:pt>
                <c:pt idx="5403">
                  <c:v>0</c:v>
                </c:pt>
                <c:pt idx="5404">
                  <c:v>0</c:v>
                </c:pt>
                <c:pt idx="5405">
                  <c:v>0</c:v>
                </c:pt>
                <c:pt idx="5406">
                  <c:v>0</c:v>
                </c:pt>
                <c:pt idx="5407">
                  <c:v>0</c:v>
                </c:pt>
                <c:pt idx="5408">
                  <c:v>0</c:v>
                </c:pt>
                <c:pt idx="5409">
                  <c:v>0</c:v>
                </c:pt>
                <c:pt idx="5410">
                  <c:v>0</c:v>
                </c:pt>
                <c:pt idx="5411">
                  <c:v>0</c:v>
                </c:pt>
                <c:pt idx="5412">
                  <c:v>0</c:v>
                </c:pt>
                <c:pt idx="5413">
                  <c:v>0</c:v>
                </c:pt>
                <c:pt idx="5414">
                  <c:v>0</c:v>
                </c:pt>
                <c:pt idx="5415">
                  <c:v>0</c:v>
                </c:pt>
                <c:pt idx="5416">
                  <c:v>0</c:v>
                </c:pt>
                <c:pt idx="5417">
                  <c:v>0</c:v>
                </c:pt>
                <c:pt idx="5418">
                  <c:v>0</c:v>
                </c:pt>
                <c:pt idx="5419">
                  <c:v>0</c:v>
                </c:pt>
                <c:pt idx="5420">
                  <c:v>0</c:v>
                </c:pt>
                <c:pt idx="5421">
                  <c:v>0</c:v>
                </c:pt>
                <c:pt idx="5422">
                  <c:v>0</c:v>
                </c:pt>
                <c:pt idx="5423">
                  <c:v>0</c:v>
                </c:pt>
                <c:pt idx="5424">
                  <c:v>0</c:v>
                </c:pt>
                <c:pt idx="5425">
                  <c:v>0</c:v>
                </c:pt>
                <c:pt idx="5426">
                  <c:v>0</c:v>
                </c:pt>
                <c:pt idx="5427">
                  <c:v>0</c:v>
                </c:pt>
                <c:pt idx="5428">
                  <c:v>0</c:v>
                </c:pt>
                <c:pt idx="5429">
                  <c:v>0</c:v>
                </c:pt>
                <c:pt idx="5430">
                  <c:v>0</c:v>
                </c:pt>
                <c:pt idx="5431">
                  <c:v>0</c:v>
                </c:pt>
                <c:pt idx="5432">
                  <c:v>0</c:v>
                </c:pt>
                <c:pt idx="5433">
                  <c:v>0</c:v>
                </c:pt>
                <c:pt idx="5434">
                  <c:v>0</c:v>
                </c:pt>
                <c:pt idx="5435">
                  <c:v>0</c:v>
                </c:pt>
                <c:pt idx="5436">
                  <c:v>0</c:v>
                </c:pt>
                <c:pt idx="5437">
                  <c:v>0</c:v>
                </c:pt>
                <c:pt idx="5438">
                  <c:v>0</c:v>
                </c:pt>
                <c:pt idx="5439">
                  <c:v>0</c:v>
                </c:pt>
                <c:pt idx="5440">
                  <c:v>0</c:v>
                </c:pt>
                <c:pt idx="5441">
                  <c:v>0</c:v>
                </c:pt>
                <c:pt idx="5442">
                  <c:v>0</c:v>
                </c:pt>
                <c:pt idx="5443">
                  <c:v>0</c:v>
                </c:pt>
                <c:pt idx="5444">
                  <c:v>0</c:v>
                </c:pt>
                <c:pt idx="5445">
                  <c:v>0</c:v>
                </c:pt>
                <c:pt idx="5446">
                  <c:v>0</c:v>
                </c:pt>
                <c:pt idx="5447">
                  <c:v>0</c:v>
                </c:pt>
                <c:pt idx="5448">
                  <c:v>0</c:v>
                </c:pt>
                <c:pt idx="5449">
                  <c:v>0</c:v>
                </c:pt>
                <c:pt idx="5450">
                  <c:v>0</c:v>
                </c:pt>
                <c:pt idx="5451">
                  <c:v>0</c:v>
                </c:pt>
                <c:pt idx="5452">
                  <c:v>0</c:v>
                </c:pt>
                <c:pt idx="5453">
                  <c:v>0</c:v>
                </c:pt>
                <c:pt idx="5454">
                  <c:v>0</c:v>
                </c:pt>
                <c:pt idx="5455">
                  <c:v>0</c:v>
                </c:pt>
                <c:pt idx="5456">
                  <c:v>0</c:v>
                </c:pt>
                <c:pt idx="5457">
                  <c:v>0</c:v>
                </c:pt>
                <c:pt idx="5458">
                  <c:v>0</c:v>
                </c:pt>
                <c:pt idx="5459">
                  <c:v>0</c:v>
                </c:pt>
                <c:pt idx="5460">
                  <c:v>0</c:v>
                </c:pt>
                <c:pt idx="5461">
                  <c:v>0</c:v>
                </c:pt>
                <c:pt idx="5462">
                  <c:v>0</c:v>
                </c:pt>
                <c:pt idx="5463">
                  <c:v>0</c:v>
                </c:pt>
                <c:pt idx="5464">
                  <c:v>0</c:v>
                </c:pt>
                <c:pt idx="5465">
                  <c:v>0</c:v>
                </c:pt>
                <c:pt idx="5466">
                  <c:v>0</c:v>
                </c:pt>
                <c:pt idx="5467">
                  <c:v>0</c:v>
                </c:pt>
                <c:pt idx="5468">
                  <c:v>0</c:v>
                </c:pt>
                <c:pt idx="5469">
                  <c:v>0</c:v>
                </c:pt>
                <c:pt idx="5470">
                  <c:v>0</c:v>
                </c:pt>
                <c:pt idx="5471">
                  <c:v>0</c:v>
                </c:pt>
                <c:pt idx="5472">
                  <c:v>0</c:v>
                </c:pt>
                <c:pt idx="5473">
                  <c:v>0</c:v>
                </c:pt>
                <c:pt idx="5474">
                  <c:v>0</c:v>
                </c:pt>
                <c:pt idx="5475">
                  <c:v>0</c:v>
                </c:pt>
                <c:pt idx="5476">
                  <c:v>0</c:v>
                </c:pt>
                <c:pt idx="5477">
                  <c:v>0</c:v>
                </c:pt>
                <c:pt idx="5478">
                  <c:v>0</c:v>
                </c:pt>
                <c:pt idx="5479">
                  <c:v>0</c:v>
                </c:pt>
                <c:pt idx="5480">
                  <c:v>0</c:v>
                </c:pt>
                <c:pt idx="5481">
                  <c:v>0</c:v>
                </c:pt>
                <c:pt idx="5482">
                  <c:v>0</c:v>
                </c:pt>
                <c:pt idx="5483">
                  <c:v>0</c:v>
                </c:pt>
                <c:pt idx="5484">
                  <c:v>0</c:v>
                </c:pt>
                <c:pt idx="5485">
                  <c:v>0</c:v>
                </c:pt>
                <c:pt idx="5486">
                  <c:v>0</c:v>
                </c:pt>
                <c:pt idx="5487">
                  <c:v>0</c:v>
                </c:pt>
                <c:pt idx="5488">
                  <c:v>0</c:v>
                </c:pt>
                <c:pt idx="5489">
                  <c:v>0</c:v>
                </c:pt>
                <c:pt idx="5490">
                  <c:v>0</c:v>
                </c:pt>
                <c:pt idx="5491">
                  <c:v>0</c:v>
                </c:pt>
                <c:pt idx="5492">
                  <c:v>0</c:v>
                </c:pt>
                <c:pt idx="5493">
                  <c:v>0</c:v>
                </c:pt>
                <c:pt idx="5494">
                  <c:v>0</c:v>
                </c:pt>
                <c:pt idx="5495">
                  <c:v>0</c:v>
                </c:pt>
                <c:pt idx="5496">
                  <c:v>0</c:v>
                </c:pt>
                <c:pt idx="5497">
                  <c:v>0</c:v>
                </c:pt>
                <c:pt idx="5498">
                  <c:v>0</c:v>
                </c:pt>
                <c:pt idx="5499">
                  <c:v>0</c:v>
                </c:pt>
                <c:pt idx="5500">
                  <c:v>0</c:v>
                </c:pt>
                <c:pt idx="5501">
                  <c:v>0</c:v>
                </c:pt>
                <c:pt idx="5502">
                  <c:v>0</c:v>
                </c:pt>
                <c:pt idx="5503">
                  <c:v>0</c:v>
                </c:pt>
                <c:pt idx="5504">
                  <c:v>0</c:v>
                </c:pt>
                <c:pt idx="5505">
                  <c:v>0</c:v>
                </c:pt>
                <c:pt idx="5506">
                  <c:v>0</c:v>
                </c:pt>
                <c:pt idx="5507">
                  <c:v>0</c:v>
                </c:pt>
                <c:pt idx="5508">
                  <c:v>0</c:v>
                </c:pt>
                <c:pt idx="5509">
                  <c:v>0</c:v>
                </c:pt>
                <c:pt idx="5510">
                  <c:v>0</c:v>
                </c:pt>
                <c:pt idx="5511">
                  <c:v>0</c:v>
                </c:pt>
                <c:pt idx="5512">
                  <c:v>0</c:v>
                </c:pt>
                <c:pt idx="5513">
                  <c:v>0</c:v>
                </c:pt>
                <c:pt idx="5514">
                  <c:v>0</c:v>
                </c:pt>
                <c:pt idx="5515">
                  <c:v>0</c:v>
                </c:pt>
                <c:pt idx="5516">
                  <c:v>0</c:v>
                </c:pt>
                <c:pt idx="5517">
                  <c:v>0</c:v>
                </c:pt>
                <c:pt idx="5518">
                  <c:v>0</c:v>
                </c:pt>
                <c:pt idx="5519">
                  <c:v>0</c:v>
                </c:pt>
                <c:pt idx="5520">
                  <c:v>0</c:v>
                </c:pt>
                <c:pt idx="5521">
                  <c:v>0</c:v>
                </c:pt>
                <c:pt idx="5522">
                  <c:v>0</c:v>
                </c:pt>
                <c:pt idx="5523">
                  <c:v>0</c:v>
                </c:pt>
                <c:pt idx="5524">
                  <c:v>0</c:v>
                </c:pt>
                <c:pt idx="5525">
                  <c:v>0</c:v>
                </c:pt>
                <c:pt idx="5526">
                  <c:v>0</c:v>
                </c:pt>
                <c:pt idx="5527">
                  <c:v>0</c:v>
                </c:pt>
                <c:pt idx="5528">
                  <c:v>0</c:v>
                </c:pt>
                <c:pt idx="5529">
                  <c:v>0</c:v>
                </c:pt>
                <c:pt idx="5530">
                  <c:v>0</c:v>
                </c:pt>
                <c:pt idx="5531">
                  <c:v>0</c:v>
                </c:pt>
                <c:pt idx="5532">
                  <c:v>0</c:v>
                </c:pt>
                <c:pt idx="5533">
                  <c:v>0</c:v>
                </c:pt>
                <c:pt idx="5534">
                  <c:v>0</c:v>
                </c:pt>
                <c:pt idx="5535">
                  <c:v>0</c:v>
                </c:pt>
                <c:pt idx="5536">
                  <c:v>0</c:v>
                </c:pt>
                <c:pt idx="5537">
                  <c:v>0</c:v>
                </c:pt>
                <c:pt idx="5538">
                  <c:v>0</c:v>
                </c:pt>
                <c:pt idx="5539">
                  <c:v>0</c:v>
                </c:pt>
                <c:pt idx="5540">
                  <c:v>0</c:v>
                </c:pt>
                <c:pt idx="5541">
                  <c:v>0</c:v>
                </c:pt>
                <c:pt idx="5542">
                  <c:v>0</c:v>
                </c:pt>
                <c:pt idx="5543">
                  <c:v>0</c:v>
                </c:pt>
                <c:pt idx="5544">
                  <c:v>0</c:v>
                </c:pt>
                <c:pt idx="5545">
                  <c:v>0</c:v>
                </c:pt>
                <c:pt idx="5546">
                  <c:v>0</c:v>
                </c:pt>
                <c:pt idx="5547">
                  <c:v>0</c:v>
                </c:pt>
                <c:pt idx="5548">
                  <c:v>0</c:v>
                </c:pt>
                <c:pt idx="5549">
                  <c:v>0</c:v>
                </c:pt>
                <c:pt idx="5550">
                  <c:v>0</c:v>
                </c:pt>
                <c:pt idx="5551">
                  <c:v>0</c:v>
                </c:pt>
                <c:pt idx="5552">
                  <c:v>0</c:v>
                </c:pt>
                <c:pt idx="5553">
                  <c:v>0</c:v>
                </c:pt>
                <c:pt idx="5554">
                  <c:v>0</c:v>
                </c:pt>
                <c:pt idx="5555">
                  <c:v>0</c:v>
                </c:pt>
                <c:pt idx="5556">
                  <c:v>0</c:v>
                </c:pt>
                <c:pt idx="5557">
                  <c:v>0</c:v>
                </c:pt>
                <c:pt idx="5558">
                  <c:v>0</c:v>
                </c:pt>
                <c:pt idx="5559">
                  <c:v>0</c:v>
                </c:pt>
                <c:pt idx="5560">
                  <c:v>0</c:v>
                </c:pt>
                <c:pt idx="5561">
                  <c:v>0</c:v>
                </c:pt>
                <c:pt idx="5562">
                  <c:v>0</c:v>
                </c:pt>
                <c:pt idx="5563">
                  <c:v>0</c:v>
                </c:pt>
                <c:pt idx="5564">
                  <c:v>0</c:v>
                </c:pt>
                <c:pt idx="5565">
                  <c:v>0</c:v>
                </c:pt>
                <c:pt idx="5566">
                  <c:v>0</c:v>
                </c:pt>
                <c:pt idx="5567">
                  <c:v>0</c:v>
                </c:pt>
                <c:pt idx="5568">
                  <c:v>0</c:v>
                </c:pt>
                <c:pt idx="5569">
                  <c:v>0</c:v>
                </c:pt>
                <c:pt idx="5570">
                  <c:v>0</c:v>
                </c:pt>
                <c:pt idx="5571">
                  <c:v>0</c:v>
                </c:pt>
                <c:pt idx="5572">
                  <c:v>0</c:v>
                </c:pt>
                <c:pt idx="5573">
                  <c:v>0</c:v>
                </c:pt>
                <c:pt idx="5574">
                  <c:v>0</c:v>
                </c:pt>
                <c:pt idx="5575">
                  <c:v>0</c:v>
                </c:pt>
                <c:pt idx="5576">
                  <c:v>0</c:v>
                </c:pt>
                <c:pt idx="5577">
                  <c:v>0</c:v>
                </c:pt>
                <c:pt idx="5578">
                  <c:v>0</c:v>
                </c:pt>
                <c:pt idx="5579">
                  <c:v>0</c:v>
                </c:pt>
                <c:pt idx="5580">
                  <c:v>0</c:v>
                </c:pt>
                <c:pt idx="5581">
                  <c:v>0</c:v>
                </c:pt>
                <c:pt idx="5582">
                  <c:v>0</c:v>
                </c:pt>
                <c:pt idx="5583">
                  <c:v>0</c:v>
                </c:pt>
                <c:pt idx="5584">
                  <c:v>0</c:v>
                </c:pt>
                <c:pt idx="5585">
                  <c:v>0</c:v>
                </c:pt>
                <c:pt idx="5586">
                  <c:v>0</c:v>
                </c:pt>
                <c:pt idx="5587">
                  <c:v>0</c:v>
                </c:pt>
                <c:pt idx="5588">
                  <c:v>0</c:v>
                </c:pt>
                <c:pt idx="5589">
                  <c:v>0</c:v>
                </c:pt>
                <c:pt idx="5590">
                  <c:v>0</c:v>
                </c:pt>
                <c:pt idx="5591">
                  <c:v>0</c:v>
                </c:pt>
                <c:pt idx="5592">
                  <c:v>0</c:v>
                </c:pt>
                <c:pt idx="5593">
                  <c:v>0</c:v>
                </c:pt>
                <c:pt idx="5594">
                  <c:v>0</c:v>
                </c:pt>
                <c:pt idx="5595">
                  <c:v>0</c:v>
                </c:pt>
                <c:pt idx="5596">
                  <c:v>0</c:v>
                </c:pt>
                <c:pt idx="5597">
                  <c:v>0</c:v>
                </c:pt>
                <c:pt idx="5598">
                  <c:v>0</c:v>
                </c:pt>
                <c:pt idx="5599">
                  <c:v>0</c:v>
                </c:pt>
                <c:pt idx="5600">
                  <c:v>0</c:v>
                </c:pt>
                <c:pt idx="5601">
                  <c:v>0</c:v>
                </c:pt>
                <c:pt idx="5602">
                  <c:v>0</c:v>
                </c:pt>
                <c:pt idx="5603">
                  <c:v>0</c:v>
                </c:pt>
                <c:pt idx="5604">
                  <c:v>0</c:v>
                </c:pt>
                <c:pt idx="5605">
                  <c:v>0</c:v>
                </c:pt>
                <c:pt idx="5606">
                  <c:v>0</c:v>
                </c:pt>
                <c:pt idx="5607">
                  <c:v>0</c:v>
                </c:pt>
                <c:pt idx="5608">
                  <c:v>0</c:v>
                </c:pt>
                <c:pt idx="5609">
                  <c:v>0</c:v>
                </c:pt>
                <c:pt idx="5610">
                  <c:v>0</c:v>
                </c:pt>
                <c:pt idx="5611">
                  <c:v>0</c:v>
                </c:pt>
                <c:pt idx="5612">
                  <c:v>0</c:v>
                </c:pt>
                <c:pt idx="5613">
                  <c:v>0</c:v>
                </c:pt>
                <c:pt idx="5614">
                  <c:v>0</c:v>
                </c:pt>
                <c:pt idx="5615">
                  <c:v>0</c:v>
                </c:pt>
                <c:pt idx="5616">
                  <c:v>0</c:v>
                </c:pt>
                <c:pt idx="5617">
                  <c:v>0</c:v>
                </c:pt>
                <c:pt idx="5618">
                  <c:v>0</c:v>
                </c:pt>
                <c:pt idx="5619">
                  <c:v>0</c:v>
                </c:pt>
                <c:pt idx="5620">
                  <c:v>0</c:v>
                </c:pt>
                <c:pt idx="5621">
                  <c:v>0</c:v>
                </c:pt>
                <c:pt idx="5622">
                  <c:v>0</c:v>
                </c:pt>
                <c:pt idx="5623">
                  <c:v>0</c:v>
                </c:pt>
                <c:pt idx="5624">
                  <c:v>0</c:v>
                </c:pt>
                <c:pt idx="5625">
                  <c:v>0</c:v>
                </c:pt>
                <c:pt idx="5626">
                  <c:v>0</c:v>
                </c:pt>
                <c:pt idx="5627">
                  <c:v>0</c:v>
                </c:pt>
                <c:pt idx="5628">
                  <c:v>0</c:v>
                </c:pt>
                <c:pt idx="5629">
                  <c:v>0</c:v>
                </c:pt>
                <c:pt idx="5630">
                  <c:v>0</c:v>
                </c:pt>
                <c:pt idx="5631">
                  <c:v>0</c:v>
                </c:pt>
                <c:pt idx="5632">
                  <c:v>0</c:v>
                </c:pt>
                <c:pt idx="5633">
                  <c:v>0</c:v>
                </c:pt>
                <c:pt idx="5634">
                  <c:v>0</c:v>
                </c:pt>
                <c:pt idx="5635">
                  <c:v>0</c:v>
                </c:pt>
                <c:pt idx="5636">
                  <c:v>0</c:v>
                </c:pt>
                <c:pt idx="5637">
                  <c:v>0</c:v>
                </c:pt>
                <c:pt idx="5638">
                  <c:v>0</c:v>
                </c:pt>
                <c:pt idx="5639">
                  <c:v>0</c:v>
                </c:pt>
                <c:pt idx="5640">
                  <c:v>0</c:v>
                </c:pt>
                <c:pt idx="5641">
                  <c:v>0</c:v>
                </c:pt>
                <c:pt idx="5642">
                  <c:v>0</c:v>
                </c:pt>
                <c:pt idx="5643">
                  <c:v>0</c:v>
                </c:pt>
                <c:pt idx="5644">
                  <c:v>0</c:v>
                </c:pt>
                <c:pt idx="5645">
                  <c:v>0</c:v>
                </c:pt>
                <c:pt idx="5646">
                  <c:v>0</c:v>
                </c:pt>
                <c:pt idx="5647">
                  <c:v>0</c:v>
                </c:pt>
                <c:pt idx="5648">
                  <c:v>0</c:v>
                </c:pt>
                <c:pt idx="5649">
                  <c:v>0</c:v>
                </c:pt>
                <c:pt idx="5650">
                  <c:v>0</c:v>
                </c:pt>
                <c:pt idx="5651">
                  <c:v>0</c:v>
                </c:pt>
                <c:pt idx="5652">
                  <c:v>0</c:v>
                </c:pt>
                <c:pt idx="5653">
                  <c:v>0</c:v>
                </c:pt>
                <c:pt idx="5654">
                  <c:v>0</c:v>
                </c:pt>
                <c:pt idx="5655">
                  <c:v>0</c:v>
                </c:pt>
                <c:pt idx="5656">
                  <c:v>0</c:v>
                </c:pt>
                <c:pt idx="5657">
                  <c:v>0</c:v>
                </c:pt>
                <c:pt idx="5658">
                  <c:v>0</c:v>
                </c:pt>
                <c:pt idx="5659">
                  <c:v>0</c:v>
                </c:pt>
                <c:pt idx="5660">
                  <c:v>0</c:v>
                </c:pt>
                <c:pt idx="5661">
                  <c:v>0</c:v>
                </c:pt>
                <c:pt idx="5662">
                  <c:v>0</c:v>
                </c:pt>
                <c:pt idx="5663">
                  <c:v>0</c:v>
                </c:pt>
                <c:pt idx="5664">
                  <c:v>0</c:v>
                </c:pt>
                <c:pt idx="5665">
                  <c:v>0</c:v>
                </c:pt>
                <c:pt idx="5666">
                  <c:v>0</c:v>
                </c:pt>
                <c:pt idx="5667">
                  <c:v>0</c:v>
                </c:pt>
                <c:pt idx="5668">
                  <c:v>0</c:v>
                </c:pt>
                <c:pt idx="5669">
                  <c:v>0</c:v>
                </c:pt>
                <c:pt idx="5670">
                  <c:v>0</c:v>
                </c:pt>
                <c:pt idx="5671">
                  <c:v>0</c:v>
                </c:pt>
                <c:pt idx="5672">
                  <c:v>0</c:v>
                </c:pt>
                <c:pt idx="5673">
                  <c:v>0</c:v>
                </c:pt>
                <c:pt idx="5674">
                  <c:v>0</c:v>
                </c:pt>
                <c:pt idx="5675">
                  <c:v>0</c:v>
                </c:pt>
                <c:pt idx="5676">
                  <c:v>0</c:v>
                </c:pt>
                <c:pt idx="5677">
                  <c:v>0</c:v>
                </c:pt>
                <c:pt idx="5678">
                  <c:v>0</c:v>
                </c:pt>
                <c:pt idx="5679">
                  <c:v>0</c:v>
                </c:pt>
                <c:pt idx="5680">
                  <c:v>0</c:v>
                </c:pt>
                <c:pt idx="5681">
                  <c:v>0</c:v>
                </c:pt>
                <c:pt idx="5682">
                  <c:v>0</c:v>
                </c:pt>
                <c:pt idx="5683">
                  <c:v>0</c:v>
                </c:pt>
                <c:pt idx="5684">
                  <c:v>0</c:v>
                </c:pt>
                <c:pt idx="5685">
                  <c:v>0</c:v>
                </c:pt>
                <c:pt idx="5686">
                  <c:v>0</c:v>
                </c:pt>
                <c:pt idx="5687">
                  <c:v>0</c:v>
                </c:pt>
                <c:pt idx="5688">
                  <c:v>0</c:v>
                </c:pt>
                <c:pt idx="5689">
                  <c:v>0</c:v>
                </c:pt>
                <c:pt idx="5690">
                  <c:v>0</c:v>
                </c:pt>
                <c:pt idx="5691">
                  <c:v>0</c:v>
                </c:pt>
                <c:pt idx="5692">
                  <c:v>0</c:v>
                </c:pt>
                <c:pt idx="5693">
                  <c:v>0</c:v>
                </c:pt>
                <c:pt idx="5694">
                  <c:v>0</c:v>
                </c:pt>
                <c:pt idx="5695">
                  <c:v>0</c:v>
                </c:pt>
                <c:pt idx="5696">
                  <c:v>0</c:v>
                </c:pt>
                <c:pt idx="5697">
                  <c:v>0</c:v>
                </c:pt>
                <c:pt idx="5698">
                  <c:v>0</c:v>
                </c:pt>
                <c:pt idx="5699">
                  <c:v>0</c:v>
                </c:pt>
                <c:pt idx="5700">
                  <c:v>0</c:v>
                </c:pt>
                <c:pt idx="5701">
                  <c:v>0</c:v>
                </c:pt>
                <c:pt idx="5702">
                  <c:v>0</c:v>
                </c:pt>
                <c:pt idx="5703">
                  <c:v>0</c:v>
                </c:pt>
                <c:pt idx="5704">
                  <c:v>0</c:v>
                </c:pt>
                <c:pt idx="5705">
                  <c:v>0</c:v>
                </c:pt>
                <c:pt idx="5706">
                  <c:v>0</c:v>
                </c:pt>
                <c:pt idx="5707">
                  <c:v>0</c:v>
                </c:pt>
                <c:pt idx="5708">
                  <c:v>0</c:v>
                </c:pt>
                <c:pt idx="5709">
                  <c:v>0</c:v>
                </c:pt>
                <c:pt idx="5710">
                  <c:v>0</c:v>
                </c:pt>
                <c:pt idx="5711">
                  <c:v>0</c:v>
                </c:pt>
                <c:pt idx="5712">
                  <c:v>0</c:v>
                </c:pt>
                <c:pt idx="5713">
                  <c:v>0</c:v>
                </c:pt>
                <c:pt idx="5714">
                  <c:v>0</c:v>
                </c:pt>
                <c:pt idx="5715">
                  <c:v>0</c:v>
                </c:pt>
                <c:pt idx="5716">
                  <c:v>0</c:v>
                </c:pt>
                <c:pt idx="5717">
                  <c:v>0</c:v>
                </c:pt>
                <c:pt idx="5718">
                  <c:v>0</c:v>
                </c:pt>
                <c:pt idx="5719">
                  <c:v>0</c:v>
                </c:pt>
                <c:pt idx="5720">
                  <c:v>0</c:v>
                </c:pt>
                <c:pt idx="5721">
                  <c:v>0</c:v>
                </c:pt>
                <c:pt idx="5722">
                  <c:v>0</c:v>
                </c:pt>
                <c:pt idx="5723">
                  <c:v>0</c:v>
                </c:pt>
                <c:pt idx="5724">
                  <c:v>0</c:v>
                </c:pt>
                <c:pt idx="5725">
                  <c:v>0</c:v>
                </c:pt>
                <c:pt idx="5726">
                  <c:v>0</c:v>
                </c:pt>
                <c:pt idx="5727">
                  <c:v>0</c:v>
                </c:pt>
                <c:pt idx="5728">
                  <c:v>0</c:v>
                </c:pt>
                <c:pt idx="5729">
                  <c:v>0</c:v>
                </c:pt>
                <c:pt idx="5730">
                  <c:v>0</c:v>
                </c:pt>
                <c:pt idx="5731">
                  <c:v>0</c:v>
                </c:pt>
                <c:pt idx="5732">
                  <c:v>0</c:v>
                </c:pt>
                <c:pt idx="5733">
                  <c:v>0</c:v>
                </c:pt>
                <c:pt idx="5734">
                  <c:v>0</c:v>
                </c:pt>
                <c:pt idx="5735">
                  <c:v>0</c:v>
                </c:pt>
                <c:pt idx="5736">
                  <c:v>0</c:v>
                </c:pt>
                <c:pt idx="5737">
                  <c:v>0</c:v>
                </c:pt>
                <c:pt idx="5738">
                  <c:v>0</c:v>
                </c:pt>
                <c:pt idx="5739">
                  <c:v>0</c:v>
                </c:pt>
                <c:pt idx="5740">
                  <c:v>0</c:v>
                </c:pt>
                <c:pt idx="5741">
                  <c:v>0</c:v>
                </c:pt>
                <c:pt idx="5742">
                  <c:v>0</c:v>
                </c:pt>
                <c:pt idx="5743">
                  <c:v>0</c:v>
                </c:pt>
                <c:pt idx="5744">
                  <c:v>0</c:v>
                </c:pt>
                <c:pt idx="5745">
                  <c:v>0</c:v>
                </c:pt>
                <c:pt idx="5746">
                  <c:v>0</c:v>
                </c:pt>
                <c:pt idx="5747">
                  <c:v>0</c:v>
                </c:pt>
                <c:pt idx="5748">
                  <c:v>0</c:v>
                </c:pt>
                <c:pt idx="5749">
                  <c:v>0</c:v>
                </c:pt>
                <c:pt idx="5750">
                  <c:v>0</c:v>
                </c:pt>
                <c:pt idx="5751">
                  <c:v>0</c:v>
                </c:pt>
                <c:pt idx="5752">
                  <c:v>0</c:v>
                </c:pt>
                <c:pt idx="5753">
                  <c:v>0</c:v>
                </c:pt>
                <c:pt idx="5754">
                  <c:v>0</c:v>
                </c:pt>
                <c:pt idx="5755">
                  <c:v>0</c:v>
                </c:pt>
                <c:pt idx="5756">
                  <c:v>0</c:v>
                </c:pt>
                <c:pt idx="5757">
                  <c:v>0</c:v>
                </c:pt>
                <c:pt idx="5758">
                  <c:v>0</c:v>
                </c:pt>
                <c:pt idx="5759">
                  <c:v>0</c:v>
                </c:pt>
                <c:pt idx="5760">
                  <c:v>0</c:v>
                </c:pt>
                <c:pt idx="5761">
                  <c:v>0</c:v>
                </c:pt>
                <c:pt idx="5762">
                  <c:v>0</c:v>
                </c:pt>
                <c:pt idx="5763">
                  <c:v>0</c:v>
                </c:pt>
                <c:pt idx="5764">
                  <c:v>0</c:v>
                </c:pt>
                <c:pt idx="5765">
                  <c:v>0</c:v>
                </c:pt>
                <c:pt idx="5766">
                  <c:v>0</c:v>
                </c:pt>
                <c:pt idx="5767">
                  <c:v>0</c:v>
                </c:pt>
                <c:pt idx="5768">
                  <c:v>0</c:v>
                </c:pt>
                <c:pt idx="5769">
                  <c:v>0</c:v>
                </c:pt>
                <c:pt idx="5770">
                  <c:v>0</c:v>
                </c:pt>
                <c:pt idx="5771">
                  <c:v>0</c:v>
                </c:pt>
                <c:pt idx="5772">
                  <c:v>0</c:v>
                </c:pt>
                <c:pt idx="5773">
                  <c:v>0</c:v>
                </c:pt>
                <c:pt idx="5774">
                  <c:v>0</c:v>
                </c:pt>
                <c:pt idx="5775">
                  <c:v>0</c:v>
                </c:pt>
                <c:pt idx="5776">
                  <c:v>0</c:v>
                </c:pt>
                <c:pt idx="5777">
                  <c:v>0</c:v>
                </c:pt>
                <c:pt idx="5778">
                  <c:v>0</c:v>
                </c:pt>
                <c:pt idx="5779">
                  <c:v>0</c:v>
                </c:pt>
                <c:pt idx="5780">
                  <c:v>0</c:v>
                </c:pt>
                <c:pt idx="5781">
                  <c:v>0</c:v>
                </c:pt>
                <c:pt idx="5782">
                  <c:v>0</c:v>
                </c:pt>
                <c:pt idx="5783">
                  <c:v>0</c:v>
                </c:pt>
                <c:pt idx="5784">
                  <c:v>0</c:v>
                </c:pt>
                <c:pt idx="5785">
                  <c:v>0</c:v>
                </c:pt>
                <c:pt idx="5786">
                  <c:v>0</c:v>
                </c:pt>
                <c:pt idx="5787">
                  <c:v>0</c:v>
                </c:pt>
                <c:pt idx="5788">
                  <c:v>0</c:v>
                </c:pt>
                <c:pt idx="5789">
                  <c:v>0</c:v>
                </c:pt>
                <c:pt idx="5790">
                  <c:v>0</c:v>
                </c:pt>
                <c:pt idx="5791">
                  <c:v>0</c:v>
                </c:pt>
                <c:pt idx="5792">
                  <c:v>0</c:v>
                </c:pt>
                <c:pt idx="5793">
                  <c:v>0</c:v>
                </c:pt>
                <c:pt idx="5794">
                  <c:v>0</c:v>
                </c:pt>
                <c:pt idx="5795">
                  <c:v>0</c:v>
                </c:pt>
                <c:pt idx="5796">
                  <c:v>0</c:v>
                </c:pt>
                <c:pt idx="5797">
                  <c:v>0</c:v>
                </c:pt>
                <c:pt idx="5798">
                  <c:v>0</c:v>
                </c:pt>
                <c:pt idx="5799">
                  <c:v>0</c:v>
                </c:pt>
                <c:pt idx="5800">
                  <c:v>0</c:v>
                </c:pt>
                <c:pt idx="5801">
                  <c:v>0</c:v>
                </c:pt>
                <c:pt idx="5802">
                  <c:v>0</c:v>
                </c:pt>
                <c:pt idx="5803">
                  <c:v>0</c:v>
                </c:pt>
                <c:pt idx="5804">
                  <c:v>0</c:v>
                </c:pt>
                <c:pt idx="5805">
                  <c:v>0</c:v>
                </c:pt>
                <c:pt idx="5806">
                  <c:v>0</c:v>
                </c:pt>
                <c:pt idx="5807">
                  <c:v>0</c:v>
                </c:pt>
                <c:pt idx="5808">
                  <c:v>0</c:v>
                </c:pt>
                <c:pt idx="5809">
                  <c:v>0</c:v>
                </c:pt>
                <c:pt idx="5810">
                  <c:v>0</c:v>
                </c:pt>
                <c:pt idx="5811">
                  <c:v>0</c:v>
                </c:pt>
                <c:pt idx="5812">
                  <c:v>0</c:v>
                </c:pt>
                <c:pt idx="5813">
                  <c:v>0</c:v>
                </c:pt>
                <c:pt idx="5814">
                  <c:v>0</c:v>
                </c:pt>
                <c:pt idx="5815">
                  <c:v>0</c:v>
                </c:pt>
                <c:pt idx="5816">
                  <c:v>0</c:v>
                </c:pt>
                <c:pt idx="5817">
                  <c:v>0</c:v>
                </c:pt>
                <c:pt idx="5818">
                  <c:v>0</c:v>
                </c:pt>
                <c:pt idx="5819">
                  <c:v>0</c:v>
                </c:pt>
                <c:pt idx="5820">
                  <c:v>0</c:v>
                </c:pt>
                <c:pt idx="5821">
                  <c:v>0</c:v>
                </c:pt>
                <c:pt idx="5822">
                  <c:v>0</c:v>
                </c:pt>
                <c:pt idx="5823">
                  <c:v>0</c:v>
                </c:pt>
                <c:pt idx="5824">
                  <c:v>0</c:v>
                </c:pt>
                <c:pt idx="5825">
                  <c:v>0</c:v>
                </c:pt>
                <c:pt idx="5826">
                  <c:v>0</c:v>
                </c:pt>
                <c:pt idx="5827">
                  <c:v>0</c:v>
                </c:pt>
                <c:pt idx="5828">
                  <c:v>0</c:v>
                </c:pt>
                <c:pt idx="5829">
                  <c:v>0</c:v>
                </c:pt>
                <c:pt idx="5830">
                  <c:v>0</c:v>
                </c:pt>
                <c:pt idx="5831">
                  <c:v>0</c:v>
                </c:pt>
                <c:pt idx="5832">
                  <c:v>0</c:v>
                </c:pt>
                <c:pt idx="5833">
                  <c:v>0</c:v>
                </c:pt>
                <c:pt idx="5834">
                  <c:v>0</c:v>
                </c:pt>
                <c:pt idx="5835">
                  <c:v>0</c:v>
                </c:pt>
                <c:pt idx="5836">
                  <c:v>0</c:v>
                </c:pt>
                <c:pt idx="5837">
                  <c:v>0</c:v>
                </c:pt>
                <c:pt idx="5838">
                  <c:v>0</c:v>
                </c:pt>
                <c:pt idx="5839">
                  <c:v>0</c:v>
                </c:pt>
                <c:pt idx="5840">
                  <c:v>0</c:v>
                </c:pt>
                <c:pt idx="5841">
                  <c:v>0</c:v>
                </c:pt>
                <c:pt idx="5842">
                  <c:v>0</c:v>
                </c:pt>
                <c:pt idx="5843">
                  <c:v>0</c:v>
                </c:pt>
                <c:pt idx="5844">
                  <c:v>0</c:v>
                </c:pt>
                <c:pt idx="5845">
                  <c:v>0</c:v>
                </c:pt>
                <c:pt idx="5846">
                  <c:v>0</c:v>
                </c:pt>
                <c:pt idx="5847">
                  <c:v>0</c:v>
                </c:pt>
                <c:pt idx="5848">
                  <c:v>0</c:v>
                </c:pt>
                <c:pt idx="5849">
                  <c:v>0</c:v>
                </c:pt>
                <c:pt idx="5850">
                  <c:v>0</c:v>
                </c:pt>
                <c:pt idx="5851">
                  <c:v>0</c:v>
                </c:pt>
                <c:pt idx="5852">
                  <c:v>0</c:v>
                </c:pt>
                <c:pt idx="5853">
                  <c:v>0</c:v>
                </c:pt>
                <c:pt idx="5854">
                  <c:v>0</c:v>
                </c:pt>
                <c:pt idx="5855">
                  <c:v>0</c:v>
                </c:pt>
                <c:pt idx="5856">
                  <c:v>0</c:v>
                </c:pt>
                <c:pt idx="5857">
                  <c:v>0</c:v>
                </c:pt>
                <c:pt idx="5858">
                  <c:v>0</c:v>
                </c:pt>
                <c:pt idx="5859">
                  <c:v>0</c:v>
                </c:pt>
                <c:pt idx="5860">
                  <c:v>0</c:v>
                </c:pt>
                <c:pt idx="5861">
                  <c:v>0</c:v>
                </c:pt>
                <c:pt idx="5862">
                  <c:v>0</c:v>
                </c:pt>
                <c:pt idx="5863">
                  <c:v>0</c:v>
                </c:pt>
                <c:pt idx="5864">
                  <c:v>0</c:v>
                </c:pt>
                <c:pt idx="5865">
                  <c:v>0</c:v>
                </c:pt>
                <c:pt idx="5866">
                  <c:v>0</c:v>
                </c:pt>
                <c:pt idx="5867">
                  <c:v>0</c:v>
                </c:pt>
                <c:pt idx="5868">
                  <c:v>0</c:v>
                </c:pt>
                <c:pt idx="5869">
                  <c:v>0</c:v>
                </c:pt>
                <c:pt idx="5870">
                  <c:v>0</c:v>
                </c:pt>
                <c:pt idx="5871">
                  <c:v>0</c:v>
                </c:pt>
                <c:pt idx="5872">
                  <c:v>0</c:v>
                </c:pt>
                <c:pt idx="5873">
                  <c:v>0</c:v>
                </c:pt>
                <c:pt idx="5874">
                  <c:v>0</c:v>
                </c:pt>
                <c:pt idx="5875">
                  <c:v>0</c:v>
                </c:pt>
                <c:pt idx="5876">
                  <c:v>0</c:v>
                </c:pt>
                <c:pt idx="5877">
                  <c:v>0</c:v>
                </c:pt>
                <c:pt idx="5878">
                  <c:v>0</c:v>
                </c:pt>
                <c:pt idx="5879">
                  <c:v>0</c:v>
                </c:pt>
                <c:pt idx="5880">
                  <c:v>0</c:v>
                </c:pt>
                <c:pt idx="5881">
                  <c:v>0</c:v>
                </c:pt>
                <c:pt idx="5882">
                  <c:v>0</c:v>
                </c:pt>
                <c:pt idx="5883">
                  <c:v>0</c:v>
                </c:pt>
                <c:pt idx="5884">
                  <c:v>0</c:v>
                </c:pt>
                <c:pt idx="5885">
                  <c:v>0</c:v>
                </c:pt>
                <c:pt idx="5886">
                  <c:v>0</c:v>
                </c:pt>
                <c:pt idx="5887">
                  <c:v>0</c:v>
                </c:pt>
                <c:pt idx="5888">
                  <c:v>0</c:v>
                </c:pt>
                <c:pt idx="5889">
                  <c:v>0</c:v>
                </c:pt>
                <c:pt idx="5890">
                  <c:v>0</c:v>
                </c:pt>
                <c:pt idx="5891">
                  <c:v>0</c:v>
                </c:pt>
                <c:pt idx="5892">
                  <c:v>0</c:v>
                </c:pt>
                <c:pt idx="5893">
                  <c:v>0</c:v>
                </c:pt>
                <c:pt idx="5894">
                  <c:v>0</c:v>
                </c:pt>
                <c:pt idx="5895">
                  <c:v>0</c:v>
                </c:pt>
                <c:pt idx="5896">
                  <c:v>0</c:v>
                </c:pt>
                <c:pt idx="5897">
                  <c:v>0</c:v>
                </c:pt>
                <c:pt idx="5898">
                  <c:v>0</c:v>
                </c:pt>
                <c:pt idx="5899">
                  <c:v>0</c:v>
                </c:pt>
                <c:pt idx="5900">
                  <c:v>0</c:v>
                </c:pt>
                <c:pt idx="5901">
                  <c:v>0</c:v>
                </c:pt>
                <c:pt idx="5902">
                  <c:v>0</c:v>
                </c:pt>
                <c:pt idx="5903">
                  <c:v>0</c:v>
                </c:pt>
                <c:pt idx="5904">
                  <c:v>0</c:v>
                </c:pt>
                <c:pt idx="5905">
                  <c:v>0</c:v>
                </c:pt>
                <c:pt idx="5906">
                  <c:v>0</c:v>
                </c:pt>
                <c:pt idx="5907">
                  <c:v>0</c:v>
                </c:pt>
                <c:pt idx="5908">
                  <c:v>0</c:v>
                </c:pt>
                <c:pt idx="5909">
                  <c:v>0</c:v>
                </c:pt>
                <c:pt idx="5910">
                  <c:v>0</c:v>
                </c:pt>
                <c:pt idx="5911">
                  <c:v>0</c:v>
                </c:pt>
                <c:pt idx="5912">
                  <c:v>0</c:v>
                </c:pt>
                <c:pt idx="5913">
                  <c:v>0</c:v>
                </c:pt>
                <c:pt idx="5914">
                  <c:v>0</c:v>
                </c:pt>
                <c:pt idx="5915">
                  <c:v>0</c:v>
                </c:pt>
                <c:pt idx="5916">
                  <c:v>0</c:v>
                </c:pt>
                <c:pt idx="5917">
                  <c:v>0</c:v>
                </c:pt>
                <c:pt idx="5918">
                  <c:v>0</c:v>
                </c:pt>
                <c:pt idx="5919">
                  <c:v>0</c:v>
                </c:pt>
                <c:pt idx="5920">
                  <c:v>0</c:v>
                </c:pt>
                <c:pt idx="5921">
                  <c:v>0</c:v>
                </c:pt>
                <c:pt idx="5922">
                  <c:v>0</c:v>
                </c:pt>
                <c:pt idx="5923">
                  <c:v>0</c:v>
                </c:pt>
                <c:pt idx="5924">
                  <c:v>0</c:v>
                </c:pt>
                <c:pt idx="5925">
                  <c:v>0</c:v>
                </c:pt>
                <c:pt idx="5926">
                  <c:v>0</c:v>
                </c:pt>
                <c:pt idx="5927">
                  <c:v>0</c:v>
                </c:pt>
                <c:pt idx="5928">
                  <c:v>0</c:v>
                </c:pt>
                <c:pt idx="5929">
                  <c:v>0</c:v>
                </c:pt>
                <c:pt idx="5930">
                  <c:v>0</c:v>
                </c:pt>
                <c:pt idx="5931">
                  <c:v>0</c:v>
                </c:pt>
                <c:pt idx="5932">
                  <c:v>0</c:v>
                </c:pt>
                <c:pt idx="5933">
                  <c:v>0</c:v>
                </c:pt>
                <c:pt idx="5934">
                  <c:v>0</c:v>
                </c:pt>
                <c:pt idx="5935">
                  <c:v>0</c:v>
                </c:pt>
                <c:pt idx="5936">
                  <c:v>0</c:v>
                </c:pt>
                <c:pt idx="5937">
                  <c:v>0</c:v>
                </c:pt>
                <c:pt idx="5938">
                  <c:v>0</c:v>
                </c:pt>
                <c:pt idx="5939">
                  <c:v>0</c:v>
                </c:pt>
                <c:pt idx="5940">
                  <c:v>0</c:v>
                </c:pt>
                <c:pt idx="5941">
                  <c:v>0</c:v>
                </c:pt>
                <c:pt idx="5942">
                  <c:v>0</c:v>
                </c:pt>
                <c:pt idx="5943">
                  <c:v>0</c:v>
                </c:pt>
                <c:pt idx="5944">
                  <c:v>0</c:v>
                </c:pt>
                <c:pt idx="5945">
                  <c:v>0</c:v>
                </c:pt>
                <c:pt idx="5946">
                  <c:v>0</c:v>
                </c:pt>
                <c:pt idx="5947">
                  <c:v>0</c:v>
                </c:pt>
                <c:pt idx="5948">
                  <c:v>0</c:v>
                </c:pt>
                <c:pt idx="5949">
                  <c:v>0</c:v>
                </c:pt>
                <c:pt idx="5950">
                  <c:v>0</c:v>
                </c:pt>
                <c:pt idx="5951">
                  <c:v>0</c:v>
                </c:pt>
                <c:pt idx="5952">
                  <c:v>0</c:v>
                </c:pt>
                <c:pt idx="5953">
                  <c:v>0</c:v>
                </c:pt>
                <c:pt idx="5954">
                  <c:v>0</c:v>
                </c:pt>
                <c:pt idx="5955">
                  <c:v>0</c:v>
                </c:pt>
                <c:pt idx="5956">
                  <c:v>0</c:v>
                </c:pt>
                <c:pt idx="5957">
                  <c:v>0</c:v>
                </c:pt>
                <c:pt idx="5958">
                  <c:v>0</c:v>
                </c:pt>
                <c:pt idx="5959">
                  <c:v>0</c:v>
                </c:pt>
                <c:pt idx="5960">
                  <c:v>0</c:v>
                </c:pt>
                <c:pt idx="5961">
                  <c:v>0</c:v>
                </c:pt>
                <c:pt idx="5962">
                  <c:v>0</c:v>
                </c:pt>
                <c:pt idx="5963">
                  <c:v>0</c:v>
                </c:pt>
                <c:pt idx="5964">
                  <c:v>0</c:v>
                </c:pt>
                <c:pt idx="5965">
                  <c:v>0</c:v>
                </c:pt>
                <c:pt idx="5966">
                  <c:v>0</c:v>
                </c:pt>
                <c:pt idx="5967">
                  <c:v>0</c:v>
                </c:pt>
                <c:pt idx="5968">
                  <c:v>0</c:v>
                </c:pt>
                <c:pt idx="5969">
                  <c:v>0</c:v>
                </c:pt>
                <c:pt idx="5970">
                  <c:v>0</c:v>
                </c:pt>
                <c:pt idx="5971">
                  <c:v>0</c:v>
                </c:pt>
                <c:pt idx="5972">
                  <c:v>0</c:v>
                </c:pt>
                <c:pt idx="5973">
                  <c:v>0</c:v>
                </c:pt>
                <c:pt idx="5974">
                  <c:v>0</c:v>
                </c:pt>
                <c:pt idx="5975">
                  <c:v>0</c:v>
                </c:pt>
                <c:pt idx="5976">
                  <c:v>0</c:v>
                </c:pt>
                <c:pt idx="5977">
                  <c:v>0</c:v>
                </c:pt>
                <c:pt idx="5978">
                  <c:v>0</c:v>
                </c:pt>
                <c:pt idx="5979">
                  <c:v>0</c:v>
                </c:pt>
                <c:pt idx="5980">
                  <c:v>0</c:v>
                </c:pt>
                <c:pt idx="5981">
                  <c:v>0</c:v>
                </c:pt>
                <c:pt idx="5982">
                  <c:v>0</c:v>
                </c:pt>
                <c:pt idx="5983">
                  <c:v>0</c:v>
                </c:pt>
                <c:pt idx="5984">
                  <c:v>0</c:v>
                </c:pt>
                <c:pt idx="5985">
                  <c:v>0</c:v>
                </c:pt>
                <c:pt idx="5986">
                  <c:v>0</c:v>
                </c:pt>
                <c:pt idx="5987">
                  <c:v>0</c:v>
                </c:pt>
                <c:pt idx="5988">
                  <c:v>0</c:v>
                </c:pt>
                <c:pt idx="5989">
                  <c:v>0</c:v>
                </c:pt>
                <c:pt idx="5990">
                  <c:v>0</c:v>
                </c:pt>
                <c:pt idx="5991">
                  <c:v>0</c:v>
                </c:pt>
                <c:pt idx="5992">
                  <c:v>0</c:v>
                </c:pt>
                <c:pt idx="5993">
                  <c:v>0</c:v>
                </c:pt>
                <c:pt idx="5994">
                  <c:v>0</c:v>
                </c:pt>
                <c:pt idx="5995">
                  <c:v>0</c:v>
                </c:pt>
                <c:pt idx="5996">
                  <c:v>0</c:v>
                </c:pt>
                <c:pt idx="5997">
                  <c:v>0</c:v>
                </c:pt>
                <c:pt idx="5998">
                  <c:v>0</c:v>
                </c:pt>
                <c:pt idx="5999">
                  <c:v>0</c:v>
                </c:pt>
                <c:pt idx="6000">
                  <c:v>0</c:v>
                </c:pt>
                <c:pt idx="6001">
                  <c:v>0</c:v>
                </c:pt>
                <c:pt idx="6002">
                  <c:v>0</c:v>
                </c:pt>
                <c:pt idx="6003">
                  <c:v>0</c:v>
                </c:pt>
                <c:pt idx="6004">
                  <c:v>0</c:v>
                </c:pt>
                <c:pt idx="6005">
                  <c:v>0</c:v>
                </c:pt>
                <c:pt idx="6006">
                  <c:v>0</c:v>
                </c:pt>
                <c:pt idx="6007">
                  <c:v>0</c:v>
                </c:pt>
                <c:pt idx="6008">
                  <c:v>0</c:v>
                </c:pt>
                <c:pt idx="6009">
                  <c:v>0</c:v>
                </c:pt>
                <c:pt idx="6010">
                  <c:v>0</c:v>
                </c:pt>
                <c:pt idx="6011">
                  <c:v>0</c:v>
                </c:pt>
                <c:pt idx="601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83F-40E7-97EE-865B99DAA159}"/>
            </c:ext>
          </c:extLst>
        </c:ser>
        <c:ser>
          <c:idx val="2"/>
          <c:order val="2"/>
          <c:tx>
            <c:strRef>
              <c:f>Platts!$F$23</c:f>
              <c:strCache>
                <c:ptCount val="1"/>
                <c:pt idx="0">
                  <c:v> Brent </c:v>
                </c:pt>
              </c:strCache>
            </c:strRef>
          </c:tx>
          <c:spPr>
            <a:ln w="19050">
              <a:solidFill>
                <a:srgbClr val="1E32FA"/>
              </a:solidFill>
            </a:ln>
          </c:spPr>
          <c:marker>
            <c:symbol val="none"/>
          </c:marker>
          <c:cat>
            <c:numRef>
              <c:f>Platts!$B$24:$B$6036</c:f>
              <c:numCache>
                <c:formatCode>dd\ mmm\ yyyy_);\(###0\);"-  ";" "@" "</c:formatCode>
                <c:ptCount val="6013"/>
                <c:pt idx="0">
                  <c:v>46357</c:v>
                </c:pt>
                <c:pt idx="1">
                  <c:v>46327</c:v>
                </c:pt>
                <c:pt idx="2">
                  <c:v>46296</c:v>
                </c:pt>
                <c:pt idx="3">
                  <c:v>46266</c:v>
                </c:pt>
                <c:pt idx="4">
                  <c:v>46235</c:v>
                </c:pt>
                <c:pt idx="5">
                  <c:v>46204</c:v>
                </c:pt>
                <c:pt idx="6">
                  <c:v>46174</c:v>
                </c:pt>
                <c:pt idx="7">
                  <c:v>46143</c:v>
                </c:pt>
                <c:pt idx="8">
                  <c:v>46113</c:v>
                </c:pt>
                <c:pt idx="9">
                  <c:v>46082</c:v>
                </c:pt>
                <c:pt idx="10">
                  <c:v>46054</c:v>
                </c:pt>
                <c:pt idx="11">
                  <c:v>46023</c:v>
                </c:pt>
                <c:pt idx="12">
                  <c:v>45992</c:v>
                </c:pt>
                <c:pt idx="13">
                  <c:v>45962</c:v>
                </c:pt>
                <c:pt idx="14">
                  <c:v>45931</c:v>
                </c:pt>
                <c:pt idx="15">
                  <c:v>45901</c:v>
                </c:pt>
                <c:pt idx="16">
                  <c:v>45870</c:v>
                </c:pt>
                <c:pt idx="17">
                  <c:v>45839</c:v>
                </c:pt>
                <c:pt idx="18">
                  <c:v>41639</c:v>
                </c:pt>
                <c:pt idx="19">
                  <c:v>41640</c:v>
                </c:pt>
                <c:pt idx="20">
                  <c:v>41641</c:v>
                </c:pt>
                <c:pt idx="21">
                  <c:v>41642</c:v>
                </c:pt>
                <c:pt idx="22">
                  <c:v>41645</c:v>
                </c:pt>
                <c:pt idx="23">
                  <c:v>41646</c:v>
                </c:pt>
                <c:pt idx="24">
                  <c:v>41647</c:v>
                </c:pt>
                <c:pt idx="25">
                  <c:v>41648</c:v>
                </c:pt>
                <c:pt idx="26">
                  <c:v>41649</c:v>
                </c:pt>
                <c:pt idx="27">
                  <c:v>41652</c:v>
                </c:pt>
                <c:pt idx="28">
                  <c:v>41653</c:v>
                </c:pt>
                <c:pt idx="29">
                  <c:v>41654</c:v>
                </c:pt>
                <c:pt idx="30">
                  <c:v>41655</c:v>
                </c:pt>
                <c:pt idx="31">
                  <c:v>41656</c:v>
                </c:pt>
                <c:pt idx="32">
                  <c:v>41659</c:v>
                </c:pt>
                <c:pt idx="33">
                  <c:v>41660</c:v>
                </c:pt>
                <c:pt idx="34">
                  <c:v>41661</c:v>
                </c:pt>
                <c:pt idx="35">
                  <c:v>41662</c:v>
                </c:pt>
                <c:pt idx="36">
                  <c:v>41663</c:v>
                </c:pt>
                <c:pt idx="37">
                  <c:v>41666</c:v>
                </c:pt>
                <c:pt idx="38">
                  <c:v>41667</c:v>
                </c:pt>
                <c:pt idx="39">
                  <c:v>41668</c:v>
                </c:pt>
                <c:pt idx="40">
                  <c:v>41669</c:v>
                </c:pt>
                <c:pt idx="41">
                  <c:v>41670</c:v>
                </c:pt>
                <c:pt idx="42">
                  <c:v>41673</c:v>
                </c:pt>
                <c:pt idx="43">
                  <c:v>41674</c:v>
                </c:pt>
                <c:pt idx="44">
                  <c:v>41675</c:v>
                </c:pt>
                <c:pt idx="45">
                  <c:v>41676</c:v>
                </c:pt>
                <c:pt idx="46">
                  <c:v>41677</c:v>
                </c:pt>
                <c:pt idx="47">
                  <c:v>41680</c:v>
                </c:pt>
                <c:pt idx="48">
                  <c:v>41681</c:v>
                </c:pt>
                <c:pt idx="49">
                  <c:v>41682</c:v>
                </c:pt>
                <c:pt idx="50">
                  <c:v>41683</c:v>
                </c:pt>
                <c:pt idx="51">
                  <c:v>41684</c:v>
                </c:pt>
                <c:pt idx="52">
                  <c:v>41687</c:v>
                </c:pt>
                <c:pt idx="53">
                  <c:v>41688</c:v>
                </c:pt>
                <c:pt idx="54">
                  <c:v>41689</c:v>
                </c:pt>
                <c:pt idx="55">
                  <c:v>41690</c:v>
                </c:pt>
                <c:pt idx="56">
                  <c:v>41691</c:v>
                </c:pt>
                <c:pt idx="57">
                  <c:v>41694</c:v>
                </c:pt>
                <c:pt idx="58">
                  <c:v>41695</c:v>
                </c:pt>
                <c:pt idx="59">
                  <c:v>41696</c:v>
                </c:pt>
                <c:pt idx="60">
                  <c:v>41697</c:v>
                </c:pt>
                <c:pt idx="61">
                  <c:v>41698</c:v>
                </c:pt>
                <c:pt idx="62">
                  <c:v>41701</c:v>
                </c:pt>
                <c:pt idx="63">
                  <c:v>41702</c:v>
                </c:pt>
                <c:pt idx="64">
                  <c:v>41703</c:v>
                </c:pt>
                <c:pt idx="65">
                  <c:v>41704</c:v>
                </c:pt>
                <c:pt idx="66">
                  <c:v>41705</c:v>
                </c:pt>
                <c:pt idx="67">
                  <c:v>41708</c:v>
                </c:pt>
                <c:pt idx="68">
                  <c:v>41709</c:v>
                </c:pt>
                <c:pt idx="69">
                  <c:v>41710</c:v>
                </c:pt>
                <c:pt idx="70">
                  <c:v>41711</c:v>
                </c:pt>
                <c:pt idx="71">
                  <c:v>41712</c:v>
                </c:pt>
                <c:pt idx="72">
                  <c:v>41715</c:v>
                </c:pt>
                <c:pt idx="73">
                  <c:v>41716</c:v>
                </c:pt>
                <c:pt idx="74">
                  <c:v>41717</c:v>
                </c:pt>
                <c:pt idx="75">
                  <c:v>41718</c:v>
                </c:pt>
                <c:pt idx="76">
                  <c:v>41719</c:v>
                </c:pt>
                <c:pt idx="77">
                  <c:v>41722</c:v>
                </c:pt>
                <c:pt idx="78">
                  <c:v>41723</c:v>
                </c:pt>
                <c:pt idx="79">
                  <c:v>41724</c:v>
                </c:pt>
                <c:pt idx="80">
                  <c:v>41725</c:v>
                </c:pt>
                <c:pt idx="81">
                  <c:v>41726</c:v>
                </c:pt>
                <c:pt idx="82">
                  <c:v>41729</c:v>
                </c:pt>
                <c:pt idx="83">
                  <c:v>41730</c:v>
                </c:pt>
                <c:pt idx="84">
                  <c:v>41731</c:v>
                </c:pt>
                <c:pt idx="85">
                  <c:v>41732</c:v>
                </c:pt>
                <c:pt idx="86">
                  <c:v>41733</c:v>
                </c:pt>
                <c:pt idx="87">
                  <c:v>41736</c:v>
                </c:pt>
                <c:pt idx="88">
                  <c:v>41737</c:v>
                </c:pt>
                <c:pt idx="89">
                  <c:v>41738</c:v>
                </c:pt>
                <c:pt idx="90">
                  <c:v>41739</c:v>
                </c:pt>
                <c:pt idx="91">
                  <c:v>41740</c:v>
                </c:pt>
                <c:pt idx="92">
                  <c:v>41743</c:v>
                </c:pt>
                <c:pt idx="93">
                  <c:v>41744</c:v>
                </c:pt>
                <c:pt idx="94">
                  <c:v>41745</c:v>
                </c:pt>
                <c:pt idx="95">
                  <c:v>41746</c:v>
                </c:pt>
                <c:pt idx="96">
                  <c:v>41747</c:v>
                </c:pt>
                <c:pt idx="97">
                  <c:v>41750</c:v>
                </c:pt>
                <c:pt idx="98">
                  <c:v>41751</c:v>
                </c:pt>
                <c:pt idx="99">
                  <c:v>41752</c:v>
                </c:pt>
                <c:pt idx="100">
                  <c:v>41753</c:v>
                </c:pt>
                <c:pt idx="101">
                  <c:v>41754</c:v>
                </c:pt>
                <c:pt idx="102">
                  <c:v>41757</c:v>
                </c:pt>
                <c:pt idx="103">
                  <c:v>41758</c:v>
                </c:pt>
                <c:pt idx="104">
                  <c:v>41759</c:v>
                </c:pt>
                <c:pt idx="105">
                  <c:v>41760</c:v>
                </c:pt>
                <c:pt idx="106">
                  <c:v>41761</c:v>
                </c:pt>
                <c:pt idx="107">
                  <c:v>41764</c:v>
                </c:pt>
                <c:pt idx="108">
                  <c:v>41765</c:v>
                </c:pt>
                <c:pt idx="109">
                  <c:v>41766</c:v>
                </c:pt>
                <c:pt idx="110">
                  <c:v>41767</c:v>
                </c:pt>
                <c:pt idx="111">
                  <c:v>41768</c:v>
                </c:pt>
                <c:pt idx="112">
                  <c:v>41771</c:v>
                </c:pt>
                <c:pt idx="113">
                  <c:v>41772</c:v>
                </c:pt>
                <c:pt idx="114">
                  <c:v>41773</c:v>
                </c:pt>
                <c:pt idx="115">
                  <c:v>41774</c:v>
                </c:pt>
                <c:pt idx="116">
                  <c:v>41775</c:v>
                </c:pt>
                <c:pt idx="117">
                  <c:v>41778</c:v>
                </c:pt>
                <c:pt idx="118">
                  <c:v>41779</c:v>
                </c:pt>
                <c:pt idx="119">
                  <c:v>41780</c:v>
                </c:pt>
                <c:pt idx="120">
                  <c:v>41781</c:v>
                </c:pt>
                <c:pt idx="121">
                  <c:v>41782</c:v>
                </c:pt>
                <c:pt idx="122">
                  <c:v>41785</c:v>
                </c:pt>
                <c:pt idx="123">
                  <c:v>41786</c:v>
                </c:pt>
                <c:pt idx="124">
                  <c:v>41787</c:v>
                </c:pt>
                <c:pt idx="125">
                  <c:v>41788</c:v>
                </c:pt>
                <c:pt idx="126">
                  <c:v>41789</c:v>
                </c:pt>
                <c:pt idx="127">
                  <c:v>41792</c:v>
                </c:pt>
                <c:pt idx="128">
                  <c:v>41793</c:v>
                </c:pt>
                <c:pt idx="129">
                  <c:v>41794</c:v>
                </c:pt>
                <c:pt idx="130">
                  <c:v>41795</c:v>
                </c:pt>
                <c:pt idx="131">
                  <c:v>41796</c:v>
                </c:pt>
                <c:pt idx="132">
                  <c:v>41799</c:v>
                </c:pt>
                <c:pt idx="133">
                  <c:v>41800</c:v>
                </c:pt>
                <c:pt idx="134">
                  <c:v>41801</c:v>
                </c:pt>
                <c:pt idx="135">
                  <c:v>41802</c:v>
                </c:pt>
                <c:pt idx="136">
                  <c:v>41803</c:v>
                </c:pt>
                <c:pt idx="137">
                  <c:v>41806</c:v>
                </c:pt>
                <c:pt idx="138">
                  <c:v>41807</c:v>
                </c:pt>
                <c:pt idx="139">
                  <c:v>41808</c:v>
                </c:pt>
                <c:pt idx="140">
                  <c:v>41809</c:v>
                </c:pt>
                <c:pt idx="141">
                  <c:v>41810</c:v>
                </c:pt>
                <c:pt idx="142">
                  <c:v>41813</c:v>
                </c:pt>
                <c:pt idx="143">
                  <c:v>41814</c:v>
                </c:pt>
                <c:pt idx="144">
                  <c:v>41815</c:v>
                </c:pt>
                <c:pt idx="145">
                  <c:v>41816</c:v>
                </c:pt>
                <c:pt idx="146">
                  <c:v>41817</c:v>
                </c:pt>
                <c:pt idx="147">
                  <c:v>41820</c:v>
                </c:pt>
                <c:pt idx="148">
                  <c:v>41821</c:v>
                </c:pt>
                <c:pt idx="149">
                  <c:v>41822</c:v>
                </c:pt>
                <c:pt idx="150">
                  <c:v>41823</c:v>
                </c:pt>
                <c:pt idx="151">
                  <c:v>41824</c:v>
                </c:pt>
                <c:pt idx="152">
                  <c:v>41827</c:v>
                </c:pt>
                <c:pt idx="153">
                  <c:v>41828</c:v>
                </c:pt>
                <c:pt idx="154">
                  <c:v>41829</c:v>
                </c:pt>
                <c:pt idx="155">
                  <c:v>41830</c:v>
                </c:pt>
                <c:pt idx="156">
                  <c:v>41831</c:v>
                </c:pt>
                <c:pt idx="157">
                  <c:v>41834</c:v>
                </c:pt>
                <c:pt idx="158">
                  <c:v>41835</c:v>
                </c:pt>
                <c:pt idx="159">
                  <c:v>41836</c:v>
                </c:pt>
                <c:pt idx="160">
                  <c:v>41837</c:v>
                </c:pt>
                <c:pt idx="161">
                  <c:v>41838</c:v>
                </c:pt>
                <c:pt idx="162">
                  <c:v>41841</c:v>
                </c:pt>
                <c:pt idx="163">
                  <c:v>41842</c:v>
                </c:pt>
                <c:pt idx="164">
                  <c:v>41843</c:v>
                </c:pt>
                <c:pt idx="165">
                  <c:v>41844</c:v>
                </c:pt>
                <c:pt idx="166">
                  <c:v>41845</c:v>
                </c:pt>
                <c:pt idx="167">
                  <c:v>41848</c:v>
                </c:pt>
                <c:pt idx="168">
                  <c:v>41849</c:v>
                </c:pt>
                <c:pt idx="169">
                  <c:v>41850</c:v>
                </c:pt>
                <c:pt idx="170">
                  <c:v>41851</c:v>
                </c:pt>
                <c:pt idx="171">
                  <c:v>41852</c:v>
                </c:pt>
                <c:pt idx="172">
                  <c:v>41855</c:v>
                </c:pt>
                <c:pt idx="173">
                  <c:v>41856</c:v>
                </c:pt>
                <c:pt idx="174">
                  <c:v>41857</c:v>
                </c:pt>
                <c:pt idx="175">
                  <c:v>41858</c:v>
                </c:pt>
                <c:pt idx="176">
                  <c:v>41859</c:v>
                </c:pt>
                <c:pt idx="177">
                  <c:v>41862</c:v>
                </c:pt>
                <c:pt idx="178">
                  <c:v>41863</c:v>
                </c:pt>
                <c:pt idx="179">
                  <c:v>41864</c:v>
                </c:pt>
                <c:pt idx="180">
                  <c:v>41865</c:v>
                </c:pt>
                <c:pt idx="181">
                  <c:v>41866</c:v>
                </c:pt>
                <c:pt idx="182">
                  <c:v>41869</c:v>
                </c:pt>
                <c:pt idx="183">
                  <c:v>41870</c:v>
                </c:pt>
                <c:pt idx="184">
                  <c:v>41871</c:v>
                </c:pt>
                <c:pt idx="185">
                  <c:v>41872</c:v>
                </c:pt>
                <c:pt idx="186">
                  <c:v>41873</c:v>
                </c:pt>
                <c:pt idx="187">
                  <c:v>41876</c:v>
                </c:pt>
                <c:pt idx="188">
                  <c:v>41877</c:v>
                </c:pt>
                <c:pt idx="189">
                  <c:v>41878</c:v>
                </c:pt>
                <c:pt idx="190">
                  <c:v>41879</c:v>
                </c:pt>
                <c:pt idx="191">
                  <c:v>41880</c:v>
                </c:pt>
                <c:pt idx="192">
                  <c:v>41883</c:v>
                </c:pt>
                <c:pt idx="193">
                  <c:v>41884</c:v>
                </c:pt>
                <c:pt idx="194">
                  <c:v>41885</c:v>
                </c:pt>
                <c:pt idx="195">
                  <c:v>41886</c:v>
                </c:pt>
                <c:pt idx="196">
                  <c:v>41887</c:v>
                </c:pt>
                <c:pt idx="197">
                  <c:v>41890</c:v>
                </c:pt>
                <c:pt idx="198">
                  <c:v>41891</c:v>
                </c:pt>
                <c:pt idx="199">
                  <c:v>41892</c:v>
                </c:pt>
                <c:pt idx="200">
                  <c:v>41893</c:v>
                </c:pt>
                <c:pt idx="201">
                  <c:v>41894</c:v>
                </c:pt>
                <c:pt idx="202">
                  <c:v>41897</c:v>
                </c:pt>
                <c:pt idx="203">
                  <c:v>41898</c:v>
                </c:pt>
                <c:pt idx="204">
                  <c:v>41899</c:v>
                </c:pt>
                <c:pt idx="205">
                  <c:v>41900</c:v>
                </c:pt>
                <c:pt idx="206">
                  <c:v>41901</c:v>
                </c:pt>
                <c:pt idx="207">
                  <c:v>41904</c:v>
                </c:pt>
                <c:pt idx="208">
                  <c:v>41905</c:v>
                </c:pt>
                <c:pt idx="209">
                  <c:v>41906</c:v>
                </c:pt>
                <c:pt idx="210">
                  <c:v>41907</c:v>
                </c:pt>
                <c:pt idx="211">
                  <c:v>41908</c:v>
                </c:pt>
                <c:pt idx="212">
                  <c:v>41911</c:v>
                </c:pt>
                <c:pt idx="213">
                  <c:v>41912</c:v>
                </c:pt>
                <c:pt idx="214">
                  <c:v>41913</c:v>
                </c:pt>
                <c:pt idx="215">
                  <c:v>41914</c:v>
                </c:pt>
                <c:pt idx="216">
                  <c:v>41915</c:v>
                </c:pt>
                <c:pt idx="217">
                  <c:v>41918</c:v>
                </c:pt>
                <c:pt idx="218">
                  <c:v>41919</c:v>
                </c:pt>
                <c:pt idx="219">
                  <c:v>41920</c:v>
                </c:pt>
                <c:pt idx="220">
                  <c:v>41921</c:v>
                </c:pt>
                <c:pt idx="221">
                  <c:v>41922</c:v>
                </c:pt>
                <c:pt idx="222">
                  <c:v>41925</c:v>
                </c:pt>
                <c:pt idx="223">
                  <c:v>41926</c:v>
                </c:pt>
                <c:pt idx="224">
                  <c:v>41927</c:v>
                </c:pt>
                <c:pt idx="225">
                  <c:v>41928</c:v>
                </c:pt>
                <c:pt idx="226">
                  <c:v>41929</c:v>
                </c:pt>
                <c:pt idx="227">
                  <c:v>41932</c:v>
                </c:pt>
                <c:pt idx="228">
                  <c:v>41933</c:v>
                </c:pt>
                <c:pt idx="229">
                  <c:v>41934</c:v>
                </c:pt>
                <c:pt idx="230">
                  <c:v>41935</c:v>
                </c:pt>
                <c:pt idx="231">
                  <c:v>41936</c:v>
                </c:pt>
                <c:pt idx="232">
                  <c:v>41939</c:v>
                </c:pt>
                <c:pt idx="233">
                  <c:v>41940</c:v>
                </c:pt>
                <c:pt idx="234">
                  <c:v>41941</c:v>
                </c:pt>
                <c:pt idx="235">
                  <c:v>41942</c:v>
                </c:pt>
                <c:pt idx="236">
                  <c:v>41943</c:v>
                </c:pt>
                <c:pt idx="237">
                  <c:v>41946</c:v>
                </c:pt>
                <c:pt idx="238">
                  <c:v>41947</c:v>
                </c:pt>
                <c:pt idx="239">
                  <c:v>41948</c:v>
                </c:pt>
                <c:pt idx="240">
                  <c:v>41949</c:v>
                </c:pt>
                <c:pt idx="241">
                  <c:v>41950</c:v>
                </c:pt>
                <c:pt idx="242">
                  <c:v>41953</c:v>
                </c:pt>
                <c:pt idx="243">
                  <c:v>41954</c:v>
                </c:pt>
                <c:pt idx="244">
                  <c:v>41955</c:v>
                </c:pt>
                <c:pt idx="245">
                  <c:v>41956</c:v>
                </c:pt>
                <c:pt idx="246">
                  <c:v>41957</c:v>
                </c:pt>
                <c:pt idx="247">
                  <c:v>41960</c:v>
                </c:pt>
                <c:pt idx="248">
                  <c:v>41961</c:v>
                </c:pt>
                <c:pt idx="249">
                  <c:v>41962</c:v>
                </c:pt>
                <c:pt idx="250">
                  <c:v>41963</c:v>
                </c:pt>
                <c:pt idx="251">
                  <c:v>41964</c:v>
                </c:pt>
                <c:pt idx="252">
                  <c:v>41967</c:v>
                </c:pt>
                <c:pt idx="253">
                  <c:v>41968</c:v>
                </c:pt>
                <c:pt idx="254">
                  <c:v>41969</c:v>
                </c:pt>
                <c:pt idx="255">
                  <c:v>41970</c:v>
                </c:pt>
                <c:pt idx="256">
                  <c:v>41971</c:v>
                </c:pt>
                <c:pt idx="257">
                  <c:v>41974</c:v>
                </c:pt>
                <c:pt idx="258">
                  <c:v>41975</c:v>
                </c:pt>
                <c:pt idx="259">
                  <c:v>41976</c:v>
                </c:pt>
                <c:pt idx="260">
                  <c:v>41977</c:v>
                </c:pt>
                <c:pt idx="261">
                  <c:v>41978</c:v>
                </c:pt>
                <c:pt idx="262">
                  <c:v>41981</c:v>
                </c:pt>
                <c:pt idx="263">
                  <c:v>41982</c:v>
                </c:pt>
                <c:pt idx="264">
                  <c:v>41983</c:v>
                </c:pt>
                <c:pt idx="265">
                  <c:v>41984</c:v>
                </c:pt>
                <c:pt idx="266">
                  <c:v>41985</c:v>
                </c:pt>
                <c:pt idx="267">
                  <c:v>41988</c:v>
                </c:pt>
                <c:pt idx="268">
                  <c:v>41989</c:v>
                </c:pt>
                <c:pt idx="269">
                  <c:v>41990</c:v>
                </c:pt>
                <c:pt idx="270">
                  <c:v>41991</c:v>
                </c:pt>
                <c:pt idx="271">
                  <c:v>41992</c:v>
                </c:pt>
                <c:pt idx="272">
                  <c:v>41995</c:v>
                </c:pt>
                <c:pt idx="273">
                  <c:v>41996</c:v>
                </c:pt>
                <c:pt idx="274">
                  <c:v>41997</c:v>
                </c:pt>
                <c:pt idx="275">
                  <c:v>42002</c:v>
                </c:pt>
                <c:pt idx="276">
                  <c:v>42003</c:v>
                </c:pt>
                <c:pt idx="277">
                  <c:v>42004</c:v>
                </c:pt>
                <c:pt idx="278">
                  <c:v>42006</c:v>
                </c:pt>
                <c:pt idx="279">
                  <c:v>42009</c:v>
                </c:pt>
                <c:pt idx="280">
                  <c:v>42010</c:v>
                </c:pt>
                <c:pt idx="281">
                  <c:v>42011</c:v>
                </c:pt>
                <c:pt idx="282">
                  <c:v>42012</c:v>
                </c:pt>
                <c:pt idx="283">
                  <c:v>42013</c:v>
                </c:pt>
                <c:pt idx="284">
                  <c:v>42016</c:v>
                </c:pt>
                <c:pt idx="285">
                  <c:v>42017</c:v>
                </c:pt>
                <c:pt idx="286">
                  <c:v>42018</c:v>
                </c:pt>
                <c:pt idx="287">
                  <c:v>42019</c:v>
                </c:pt>
                <c:pt idx="288">
                  <c:v>42020</c:v>
                </c:pt>
                <c:pt idx="289">
                  <c:v>42023</c:v>
                </c:pt>
                <c:pt idx="290">
                  <c:v>42024</c:v>
                </c:pt>
                <c:pt idx="291">
                  <c:v>42025</c:v>
                </c:pt>
                <c:pt idx="292">
                  <c:v>42026</c:v>
                </c:pt>
                <c:pt idx="293">
                  <c:v>42027</c:v>
                </c:pt>
                <c:pt idx="294">
                  <c:v>42030</c:v>
                </c:pt>
                <c:pt idx="295">
                  <c:v>42031</c:v>
                </c:pt>
                <c:pt idx="296">
                  <c:v>42032</c:v>
                </c:pt>
                <c:pt idx="297">
                  <c:v>42033</c:v>
                </c:pt>
                <c:pt idx="298">
                  <c:v>42034</c:v>
                </c:pt>
                <c:pt idx="299">
                  <c:v>42037</c:v>
                </c:pt>
                <c:pt idx="300">
                  <c:v>42038</c:v>
                </c:pt>
                <c:pt idx="301">
                  <c:v>42039</c:v>
                </c:pt>
                <c:pt idx="302">
                  <c:v>42040</c:v>
                </c:pt>
                <c:pt idx="303">
                  <c:v>42041</c:v>
                </c:pt>
                <c:pt idx="304">
                  <c:v>42044</c:v>
                </c:pt>
                <c:pt idx="305">
                  <c:v>42045</c:v>
                </c:pt>
                <c:pt idx="306">
                  <c:v>42046</c:v>
                </c:pt>
                <c:pt idx="307">
                  <c:v>42047</c:v>
                </c:pt>
                <c:pt idx="308">
                  <c:v>42048</c:v>
                </c:pt>
                <c:pt idx="309">
                  <c:v>42051</c:v>
                </c:pt>
                <c:pt idx="310">
                  <c:v>42052</c:v>
                </c:pt>
                <c:pt idx="311">
                  <c:v>42053</c:v>
                </c:pt>
                <c:pt idx="312">
                  <c:v>42054</c:v>
                </c:pt>
                <c:pt idx="313">
                  <c:v>42055</c:v>
                </c:pt>
                <c:pt idx="314">
                  <c:v>42058</c:v>
                </c:pt>
                <c:pt idx="315">
                  <c:v>42059</c:v>
                </c:pt>
                <c:pt idx="316">
                  <c:v>42060</c:v>
                </c:pt>
                <c:pt idx="317">
                  <c:v>42061</c:v>
                </c:pt>
                <c:pt idx="318">
                  <c:v>42062</c:v>
                </c:pt>
                <c:pt idx="319">
                  <c:v>42065</c:v>
                </c:pt>
                <c:pt idx="320">
                  <c:v>42066</c:v>
                </c:pt>
                <c:pt idx="321">
                  <c:v>42067</c:v>
                </c:pt>
                <c:pt idx="322">
                  <c:v>42068</c:v>
                </c:pt>
                <c:pt idx="323">
                  <c:v>42069</c:v>
                </c:pt>
                <c:pt idx="324">
                  <c:v>42072</c:v>
                </c:pt>
                <c:pt idx="325">
                  <c:v>42073</c:v>
                </c:pt>
                <c:pt idx="326">
                  <c:v>42074</c:v>
                </c:pt>
                <c:pt idx="327">
                  <c:v>42075</c:v>
                </c:pt>
                <c:pt idx="328">
                  <c:v>42076</c:v>
                </c:pt>
                <c:pt idx="329">
                  <c:v>42079</c:v>
                </c:pt>
                <c:pt idx="330">
                  <c:v>42080</c:v>
                </c:pt>
                <c:pt idx="331">
                  <c:v>42081</c:v>
                </c:pt>
                <c:pt idx="332">
                  <c:v>42082</c:v>
                </c:pt>
                <c:pt idx="333">
                  <c:v>42083</c:v>
                </c:pt>
                <c:pt idx="334">
                  <c:v>42086</c:v>
                </c:pt>
                <c:pt idx="335">
                  <c:v>42087</c:v>
                </c:pt>
                <c:pt idx="336">
                  <c:v>42088</c:v>
                </c:pt>
                <c:pt idx="337">
                  <c:v>42089</c:v>
                </c:pt>
                <c:pt idx="338">
                  <c:v>42090</c:v>
                </c:pt>
                <c:pt idx="339">
                  <c:v>42093</c:v>
                </c:pt>
                <c:pt idx="340">
                  <c:v>42094</c:v>
                </c:pt>
                <c:pt idx="341">
                  <c:v>42095</c:v>
                </c:pt>
                <c:pt idx="342">
                  <c:v>42096</c:v>
                </c:pt>
                <c:pt idx="343">
                  <c:v>42100</c:v>
                </c:pt>
                <c:pt idx="344">
                  <c:v>42101</c:v>
                </c:pt>
                <c:pt idx="345">
                  <c:v>42102</c:v>
                </c:pt>
                <c:pt idx="346">
                  <c:v>42103</c:v>
                </c:pt>
                <c:pt idx="347">
                  <c:v>42104</c:v>
                </c:pt>
                <c:pt idx="348">
                  <c:v>42107</c:v>
                </c:pt>
                <c:pt idx="349">
                  <c:v>42108</c:v>
                </c:pt>
                <c:pt idx="350">
                  <c:v>42109</c:v>
                </c:pt>
                <c:pt idx="351">
                  <c:v>42110</c:v>
                </c:pt>
                <c:pt idx="352">
                  <c:v>42111</c:v>
                </c:pt>
                <c:pt idx="353">
                  <c:v>42114</c:v>
                </c:pt>
                <c:pt idx="354">
                  <c:v>42115</c:v>
                </c:pt>
                <c:pt idx="355">
                  <c:v>42116</c:v>
                </c:pt>
                <c:pt idx="356">
                  <c:v>42117</c:v>
                </c:pt>
                <c:pt idx="357">
                  <c:v>42118</c:v>
                </c:pt>
                <c:pt idx="358">
                  <c:v>42121</c:v>
                </c:pt>
                <c:pt idx="359">
                  <c:v>42122</c:v>
                </c:pt>
                <c:pt idx="360">
                  <c:v>42123</c:v>
                </c:pt>
                <c:pt idx="361">
                  <c:v>42124</c:v>
                </c:pt>
                <c:pt idx="362">
                  <c:v>42125</c:v>
                </c:pt>
                <c:pt idx="363">
                  <c:v>42128</c:v>
                </c:pt>
                <c:pt idx="364">
                  <c:v>42129</c:v>
                </c:pt>
                <c:pt idx="365">
                  <c:v>42130</c:v>
                </c:pt>
                <c:pt idx="366">
                  <c:v>42131</c:v>
                </c:pt>
                <c:pt idx="367">
                  <c:v>42132</c:v>
                </c:pt>
                <c:pt idx="368">
                  <c:v>42135</c:v>
                </c:pt>
                <c:pt idx="369">
                  <c:v>42136</c:v>
                </c:pt>
                <c:pt idx="370">
                  <c:v>42137</c:v>
                </c:pt>
                <c:pt idx="371">
                  <c:v>42138</c:v>
                </c:pt>
                <c:pt idx="372">
                  <c:v>42139</c:v>
                </c:pt>
                <c:pt idx="373">
                  <c:v>42142</c:v>
                </c:pt>
                <c:pt idx="374">
                  <c:v>42143</c:v>
                </c:pt>
                <c:pt idx="375">
                  <c:v>42144</c:v>
                </c:pt>
                <c:pt idx="376">
                  <c:v>42145</c:v>
                </c:pt>
                <c:pt idx="377">
                  <c:v>42146</c:v>
                </c:pt>
                <c:pt idx="378">
                  <c:v>42150</c:v>
                </c:pt>
                <c:pt idx="379">
                  <c:v>42151</c:v>
                </c:pt>
                <c:pt idx="380">
                  <c:v>42152</c:v>
                </c:pt>
                <c:pt idx="381">
                  <c:v>42153</c:v>
                </c:pt>
                <c:pt idx="382">
                  <c:v>42156</c:v>
                </c:pt>
                <c:pt idx="383">
                  <c:v>42157</c:v>
                </c:pt>
                <c:pt idx="384">
                  <c:v>42158</c:v>
                </c:pt>
                <c:pt idx="385">
                  <c:v>42159</c:v>
                </c:pt>
                <c:pt idx="386">
                  <c:v>42160</c:v>
                </c:pt>
                <c:pt idx="387">
                  <c:v>42163</c:v>
                </c:pt>
                <c:pt idx="388">
                  <c:v>42164</c:v>
                </c:pt>
                <c:pt idx="389">
                  <c:v>42165</c:v>
                </c:pt>
                <c:pt idx="390">
                  <c:v>42166</c:v>
                </c:pt>
                <c:pt idx="391">
                  <c:v>42167</c:v>
                </c:pt>
                <c:pt idx="392">
                  <c:v>42170</c:v>
                </c:pt>
                <c:pt idx="393">
                  <c:v>42171</c:v>
                </c:pt>
                <c:pt idx="394">
                  <c:v>42172</c:v>
                </c:pt>
                <c:pt idx="395">
                  <c:v>42173</c:v>
                </c:pt>
                <c:pt idx="396">
                  <c:v>42174</c:v>
                </c:pt>
                <c:pt idx="397">
                  <c:v>42177</c:v>
                </c:pt>
                <c:pt idx="398">
                  <c:v>42178</c:v>
                </c:pt>
                <c:pt idx="399">
                  <c:v>42179</c:v>
                </c:pt>
                <c:pt idx="400">
                  <c:v>42180</c:v>
                </c:pt>
                <c:pt idx="401">
                  <c:v>42181</c:v>
                </c:pt>
                <c:pt idx="402">
                  <c:v>42184</c:v>
                </c:pt>
                <c:pt idx="403">
                  <c:v>42185</c:v>
                </c:pt>
                <c:pt idx="404">
                  <c:v>42186</c:v>
                </c:pt>
                <c:pt idx="405">
                  <c:v>42187</c:v>
                </c:pt>
                <c:pt idx="406">
                  <c:v>42188</c:v>
                </c:pt>
                <c:pt idx="407">
                  <c:v>42191</c:v>
                </c:pt>
                <c:pt idx="408">
                  <c:v>42192</c:v>
                </c:pt>
                <c:pt idx="409">
                  <c:v>42193</c:v>
                </c:pt>
                <c:pt idx="410">
                  <c:v>42194</c:v>
                </c:pt>
                <c:pt idx="411">
                  <c:v>42195</c:v>
                </c:pt>
                <c:pt idx="412">
                  <c:v>42198</c:v>
                </c:pt>
                <c:pt idx="413">
                  <c:v>42199</c:v>
                </c:pt>
                <c:pt idx="414">
                  <c:v>42200</c:v>
                </c:pt>
                <c:pt idx="415">
                  <c:v>42201</c:v>
                </c:pt>
                <c:pt idx="416">
                  <c:v>42202</c:v>
                </c:pt>
                <c:pt idx="417">
                  <c:v>42205</c:v>
                </c:pt>
                <c:pt idx="418">
                  <c:v>42206</c:v>
                </c:pt>
                <c:pt idx="419">
                  <c:v>42207</c:v>
                </c:pt>
                <c:pt idx="420">
                  <c:v>42208</c:v>
                </c:pt>
                <c:pt idx="421">
                  <c:v>42209</c:v>
                </c:pt>
                <c:pt idx="422">
                  <c:v>42212</c:v>
                </c:pt>
                <c:pt idx="423">
                  <c:v>42213</c:v>
                </c:pt>
                <c:pt idx="424">
                  <c:v>42214</c:v>
                </c:pt>
                <c:pt idx="425">
                  <c:v>42215</c:v>
                </c:pt>
                <c:pt idx="426">
                  <c:v>42216</c:v>
                </c:pt>
                <c:pt idx="427">
                  <c:v>42219</c:v>
                </c:pt>
                <c:pt idx="428">
                  <c:v>42220</c:v>
                </c:pt>
                <c:pt idx="429">
                  <c:v>42221</c:v>
                </c:pt>
                <c:pt idx="430">
                  <c:v>42222</c:v>
                </c:pt>
                <c:pt idx="431">
                  <c:v>42223</c:v>
                </c:pt>
                <c:pt idx="432">
                  <c:v>42226</c:v>
                </c:pt>
                <c:pt idx="433">
                  <c:v>42227</c:v>
                </c:pt>
                <c:pt idx="434">
                  <c:v>42228</c:v>
                </c:pt>
                <c:pt idx="435">
                  <c:v>42229</c:v>
                </c:pt>
                <c:pt idx="436">
                  <c:v>42230</c:v>
                </c:pt>
                <c:pt idx="437">
                  <c:v>42233</c:v>
                </c:pt>
                <c:pt idx="438">
                  <c:v>42234</c:v>
                </c:pt>
                <c:pt idx="439">
                  <c:v>42235</c:v>
                </c:pt>
                <c:pt idx="440">
                  <c:v>42236</c:v>
                </c:pt>
                <c:pt idx="441">
                  <c:v>42237</c:v>
                </c:pt>
                <c:pt idx="442">
                  <c:v>42240</c:v>
                </c:pt>
                <c:pt idx="443">
                  <c:v>42241</c:v>
                </c:pt>
                <c:pt idx="444">
                  <c:v>42242</c:v>
                </c:pt>
                <c:pt idx="445">
                  <c:v>42243</c:v>
                </c:pt>
                <c:pt idx="446">
                  <c:v>42244</c:v>
                </c:pt>
                <c:pt idx="447">
                  <c:v>42247</c:v>
                </c:pt>
                <c:pt idx="448">
                  <c:v>42248</c:v>
                </c:pt>
                <c:pt idx="449">
                  <c:v>42249</c:v>
                </c:pt>
                <c:pt idx="450">
                  <c:v>42250</c:v>
                </c:pt>
                <c:pt idx="451">
                  <c:v>42251</c:v>
                </c:pt>
                <c:pt idx="452">
                  <c:v>42254</c:v>
                </c:pt>
                <c:pt idx="453">
                  <c:v>42255</c:v>
                </c:pt>
                <c:pt idx="454">
                  <c:v>42256</c:v>
                </c:pt>
                <c:pt idx="455">
                  <c:v>42257</c:v>
                </c:pt>
                <c:pt idx="456">
                  <c:v>42258</c:v>
                </c:pt>
                <c:pt idx="457">
                  <c:v>42261</c:v>
                </c:pt>
                <c:pt idx="458">
                  <c:v>42262</c:v>
                </c:pt>
                <c:pt idx="459">
                  <c:v>42263</c:v>
                </c:pt>
                <c:pt idx="460">
                  <c:v>42264</c:v>
                </c:pt>
                <c:pt idx="461">
                  <c:v>42265</c:v>
                </c:pt>
                <c:pt idx="462">
                  <c:v>42268</c:v>
                </c:pt>
                <c:pt idx="463">
                  <c:v>42269</c:v>
                </c:pt>
                <c:pt idx="464">
                  <c:v>42270</c:v>
                </c:pt>
                <c:pt idx="465">
                  <c:v>42271</c:v>
                </c:pt>
                <c:pt idx="466">
                  <c:v>42272</c:v>
                </c:pt>
                <c:pt idx="467">
                  <c:v>42275</c:v>
                </c:pt>
                <c:pt idx="468">
                  <c:v>42276</c:v>
                </c:pt>
                <c:pt idx="469">
                  <c:v>42277</c:v>
                </c:pt>
                <c:pt idx="470">
                  <c:v>42278</c:v>
                </c:pt>
                <c:pt idx="471">
                  <c:v>42279</c:v>
                </c:pt>
                <c:pt idx="472">
                  <c:v>42282</c:v>
                </c:pt>
                <c:pt idx="473">
                  <c:v>42283</c:v>
                </c:pt>
                <c:pt idx="474">
                  <c:v>42284</c:v>
                </c:pt>
                <c:pt idx="475">
                  <c:v>42285</c:v>
                </c:pt>
                <c:pt idx="476">
                  <c:v>42286</c:v>
                </c:pt>
                <c:pt idx="477">
                  <c:v>42289</c:v>
                </c:pt>
                <c:pt idx="478">
                  <c:v>42290</c:v>
                </c:pt>
                <c:pt idx="479">
                  <c:v>42291</c:v>
                </c:pt>
                <c:pt idx="480">
                  <c:v>42292</c:v>
                </c:pt>
                <c:pt idx="481">
                  <c:v>42293</c:v>
                </c:pt>
                <c:pt idx="482">
                  <c:v>42296</c:v>
                </c:pt>
                <c:pt idx="483">
                  <c:v>42297</c:v>
                </c:pt>
                <c:pt idx="484">
                  <c:v>42298</c:v>
                </c:pt>
                <c:pt idx="485">
                  <c:v>42299</c:v>
                </c:pt>
                <c:pt idx="486">
                  <c:v>42300</c:v>
                </c:pt>
                <c:pt idx="487">
                  <c:v>42303</c:v>
                </c:pt>
                <c:pt idx="488">
                  <c:v>42304</c:v>
                </c:pt>
                <c:pt idx="489">
                  <c:v>42305</c:v>
                </c:pt>
                <c:pt idx="490">
                  <c:v>42306</c:v>
                </c:pt>
                <c:pt idx="491">
                  <c:v>42307</c:v>
                </c:pt>
                <c:pt idx="492">
                  <c:v>42310</c:v>
                </c:pt>
                <c:pt idx="493">
                  <c:v>42311</c:v>
                </c:pt>
                <c:pt idx="494">
                  <c:v>42312</c:v>
                </c:pt>
                <c:pt idx="495">
                  <c:v>42313</c:v>
                </c:pt>
                <c:pt idx="496">
                  <c:v>42314</c:v>
                </c:pt>
                <c:pt idx="497">
                  <c:v>42317</c:v>
                </c:pt>
                <c:pt idx="498">
                  <c:v>42318</c:v>
                </c:pt>
                <c:pt idx="499">
                  <c:v>42319</c:v>
                </c:pt>
                <c:pt idx="500">
                  <c:v>42320</c:v>
                </c:pt>
                <c:pt idx="501">
                  <c:v>42321</c:v>
                </c:pt>
                <c:pt idx="502">
                  <c:v>42324</c:v>
                </c:pt>
                <c:pt idx="503">
                  <c:v>42325</c:v>
                </c:pt>
                <c:pt idx="504">
                  <c:v>42326</c:v>
                </c:pt>
                <c:pt idx="505">
                  <c:v>42327</c:v>
                </c:pt>
                <c:pt idx="506">
                  <c:v>42328</c:v>
                </c:pt>
                <c:pt idx="507">
                  <c:v>42331</c:v>
                </c:pt>
                <c:pt idx="508">
                  <c:v>42332</c:v>
                </c:pt>
                <c:pt idx="509">
                  <c:v>42333</c:v>
                </c:pt>
                <c:pt idx="510">
                  <c:v>42334</c:v>
                </c:pt>
                <c:pt idx="511">
                  <c:v>42335</c:v>
                </c:pt>
                <c:pt idx="512">
                  <c:v>42338</c:v>
                </c:pt>
                <c:pt idx="513">
                  <c:v>42339</c:v>
                </c:pt>
                <c:pt idx="514">
                  <c:v>42340</c:v>
                </c:pt>
                <c:pt idx="515">
                  <c:v>42341</c:v>
                </c:pt>
                <c:pt idx="516">
                  <c:v>42342</c:v>
                </c:pt>
                <c:pt idx="517">
                  <c:v>42345</c:v>
                </c:pt>
                <c:pt idx="518">
                  <c:v>42346</c:v>
                </c:pt>
                <c:pt idx="519">
                  <c:v>42347</c:v>
                </c:pt>
                <c:pt idx="520">
                  <c:v>42348</c:v>
                </c:pt>
                <c:pt idx="521">
                  <c:v>42349</c:v>
                </c:pt>
                <c:pt idx="522">
                  <c:v>42352</c:v>
                </c:pt>
                <c:pt idx="523">
                  <c:v>42353</c:v>
                </c:pt>
                <c:pt idx="524">
                  <c:v>42354</c:v>
                </c:pt>
                <c:pt idx="525">
                  <c:v>42355</c:v>
                </c:pt>
                <c:pt idx="526">
                  <c:v>42356</c:v>
                </c:pt>
                <c:pt idx="527">
                  <c:v>42359</c:v>
                </c:pt>
                <c:pt idx="528">
                  <c:v>42360</c:v>
                </c:pt>
                <c:pt idx="529">
                  <c:v>42361</c:v>
                </c:pt>
                <c:pt idx="530">
                  <c:v>42362</c:v>
                </c:pt>
                <c:pt idx="531">
                  <c:v>42366</c:v>
                </c:pt>
                <c:pt idx="532">
                  <c:v>42367</c:v>
                </c:pt>
                <c:pt idx="533">
                  <c:v>42368</c:v>
                </c:pt>
                <c:pt idx="534">
                  <c:v>42369</c:v>
                </c:pt>
                <c:pt idx="535">
                  <c:v>42373</c:v>
                </c:pt>
                <c:pt idx="536">
                  <c:v>42374</c:v>
                </c:pt>
                <c:pt idx="537">
                  <c:v>42375</c:v>
                </c:pt>
                <c:pt idx="538">
                  <c:v>42376</c:v>
                </c:pt>
                <c:pt idx="539">
                  <c:v>42377</c:v>
                </c:pt>
                <c:pt idx="540">
                  <c:v>42380</c:v>
                </c:pt>
                <c:pt idx="541">
                  <c:v>42381</c:v>
                </c:pt>
                <c:pt idx="542">
                  <c:v>42382</c:v>
                </c:pt>
                <c:pt idx="543">
                  <c:v>42383</c:v>
                </c:pt>
                <c:pt idx="544">
                  <c:v>42384</c:v>
                </c:pt>
                <c:pt idx="545">
                  <c:v>42387</c:v>
                </c:pt>
                <c:pt idx="546">
                  <c:v>42388</c:v>
                </c:pt>
                <c:pt idx="547">
                  <c:v>42389</c:v>
                </c:pt>
                <c:pt idx="548">
                  <c:v>42390</c:v>
                </c:pt>
                <c:pt idx="549">
                  <c:v>42391</c:v>
                </c:pt>
                <c:pt idx="550">
                  <c:v>42394</c:v>
                </c:pt>
                <c:pt idx="551">
                  <c:v>42395</c:v>
                </c:pt>
                <c:pt idx="552">
                  <c:v>42396</c:v>
                </c:pt>
                <c:pt idx="553">
                  <c:v>42397</c:v>
                </c:pt>
                <c:pt idx="554">
                  <c:v>42398</c:v>
                </c:pt>
                <c:pt idx="555">
                  <c:v>42401</c:v>
                </c:pt>
                <c:pt idx="556">
                  <c:v>42402</c:v>
                </c:pt>
                <c:pt idx="557">
                  <c:v>42403</c:v>
                </c:pt>
                <c:pt idx="558">
                  <c:v>42404</c:v>
                </c:pt>
                <c:pt idx="559">
                  <c:v>42405</c:v>
                </c:pt>
                <c:pt idx="560">
                  <c:v>42408</c:v>
                </c:pt>
                <c:pt idx="561">
                  <c:v>42409</c:v>
                </c:pt>
                <c:pt idx="562">
                  <c:v>42410</c:v>
                </c:pt>
                <c:pt idx="563">
                  <c:v>42411</c:v>
                </c:pt>
                <c:pt idx="564">
                  <c:v>42412</c:v>
                </c:pt>
                <c:pt idx="565">
                  <c:v>42415</c:v>
                </c:pt>
                <c:pt idx="566">
                  <c:v>42416</c:v>
                </c:pt>
                <c:pt idx="567">
                  <c:v>42417</c:v>
                </c:pt>
                <c:pt idx="568">
                  <c:v>42418</c:v>
                </c:pt>
                <c:pt idx="569">
                  <c:v>42419</c:v>
                </c:pt>
                <c:pt idx="570">
                  <c:v>42422</c:v>
                </c:pt>
                <c:pt idx="571">
                  <c:v>42423</c:v>
                </c:pt>
                <c:pt idx="572">
                  <c:v>42424</c:v>
                </c:pt>
                <c:pt idx="573">
                  <c:v>42425</c:v>
                </c:pt>
                <c:pt idx="574">
                  <c:v>42426</c:v>
                </c:pt>
                <c:pt idx="575">
                  <c:v>42429</c:v>
                </c:pt>
                <c:pt idx="576">
                  <c:v>42430</c:v>
                </c:pt>
                <c:pt idx="577">
                  <c:v>42431</c:v>
                </c:pt>
                <c:pt idx="578">
                  <c:v>42432</c:v>
                </c:pt>
                <c:pt idx="579">
                  <c:v>42433</c:v>
                </c:pt>
                <c:pt idx="580">
                  <c:v>42436</c:v>
                </c:pt>
                <c:pt idx="581">
                  <c:v>42437</c:v>
                </c:pt>
                <c:pt idx="582">
                  <c:v>42438</c:v>
                </c:pt>
                <c:pt idx="583">
                  <c:v>42439</c:v>
                </c:pt>
                <c:pt idx="584">
                  <c:v>42440</c:v>
                </c:pt>
                <c:pt idx="585">
                  <c:v>42443</c:v>
                </c:pt>
                <c:pt idx="586">
                  <c:v>42444</c:v>
                </c:pt>
                <c:pt idx="587">
                  <c:v>42445</c:v>
                </c:pt>
                <c:pt idx="588">
                  <c:v>42446</c:v>
                </c:pt>
                <c:pt idx="589">
                  <c:v>42447</c:v>
                </c:pt>
                <c:pt idx="590">
                  <c:v>42450</c:v>
                </c:pt>
                <c:pt idx="591">
                  <c:v>42451</c:v>
                </c:pt>
                <c:pt idx="592">
                  <c:v>42452</c:v>
                </c:pt>
                <c:pt idx="593">
                  <c:v>42453</c:v>
                </c:pt>
                <c:pt idx="594">
                  <c:v>42457</c:v>
                </c:pt>
                <c:pt idx="595">
                  <c:v>42458</c:v>
                </c:pt>
                <c:pt idx="596">
                  <c:v>42459</c:v>
                </c:pt>
                <c:pt idx="597">
                  <c:v>42460</c:v>
                </c:pt>
                <c:pt idx="598">
                  <c:v>42461</c:v>
                </c:pt>
                <c:pt idx="599">
                  <c:v>42464</c:v>
                </c:pt>
                <c:pt idx="600">
                  <c:v>42465</c:v>
                </c:pt>
                <c:pt idx="601">
                  <c:v>42466</c:v>
                </c:pt>
                <c:pt idx="602">
                  <c:v>42467</c:v>
                </c:pt>
                <c:pt idx="603">
                  <c:v>42468</c:v>
                </c:pt>
                <c:pt idx="604">
                  <c:v>42471</c:v>
                </c:pt>
                <c:pt idx="605">
                  <c:v>42472</c:v>
                </c:pt>
                <c:pt idx="606">
                  <c:v>42473</c:v>
                </c:pt>
                <c:pt idx="607">
                  <c:v>42474</c:v>
                </c:pt>
                <c:pt idx="608">
                  <c:v>42475</c:v>
                </c:pt>
                <c:pt idx="609">
                  <c:v>42478</c:v>
                </c:pt>
                <c:pt idx="610">
                  <c:v>42479</c:v>
                </c:pt>
                <c:pt idx="611">
                  <c:v>42480</c:v>
                </c:pt>
                <c:pt idx="612">
                  <c:v>42481</c:v>
                </c:pt>
                <c:pt idx="613">
                  <c:v>42482</c:v>
                </c:pt>
                <c:pt idx="614">
                  <c:v>42485</c:v>
                </c:pt>
                <c:pt idx="615">
                  <c:v>42486</c:v>
                </c:pt>
                <c:pt idx="616">
                  <c:v>42487</c:v>
                </c:pt>
                <c:pt idx="617">
                  <c:v>42488</c:v>
                </c:pt>
                <c:pt idx="618">
                  <c:v>42489</c:v>
                </c:pt>
                <c:pt idx="619">
                  <c:v>42492</c:v>
                </c:pt>
                <c:pt idx="620">
                  <c:v>42493</c:v>
                </c:pt>
                <c:pt idx="621">
                  <c:v>42494</c:v>
                </c:pt>
                <c:pt idx="622">
                  <c:v>42495</c:v>
                </c:pt>
                <c:pt idx="623">
                  <c:v>42496</c:v>
                </c:pt>
                <c:pt idx="624">
                  <c:v>42499</c:v>
                </c:pt>
                <c:pt idx="625">
                  <c:v>42500</c:v>
                </c:pt>
                <c:pt idx="626">
                  <c:v>42501</c:v>
                </c:pt>
                <c:pt idx="627">
                  <c:v>42502</c:v>
                </c:pt>
                <c:pt idx="628">
                  <c:v>42503</c:v>
                </c:pt>
                <c:pt idx="629">
                  <c:v>42506</c:v>
                </c:pt>
                <c:pt idx="630">
                  <c:v>42507</c:v>
                </c:pt>
                <c:pt idx="631">
                  <c:v>42508</c:v>
                </c:pt>
                <c:pt idx="632">
                  <c:v>42509</c:v>
                </c:pt>
                <c:pt idx="633">
                  <c:v>42510</c:v>
                </c:pt>
                <c:pt idx="634">
                  <c:v>42513</c:v>
                </c:pt>
                <c:pt idx="635">
                  <c:v>42514</c:v>
                </c:pt>
                <c:pt idx="636">
                  <c:v>42515</c:v>
                </c:pt>
                <c:pt idx="637">
                  <c:v>42516</c:v>
                </c:pt>
                <c:pt idx="638">
                  <c:v>42517</c:v>
                </c:pt>
                <c:pt idx="639">
                  <c:v>42521</c:v>
                </c:pt>
                <c:pt idx="640">
                  <c:v>42522</c:v>
                </c:pt>
                <c:pt idx="641">
                  <c:v>42523</c:v>
                </c:pt>
                <c:pt idx="642">
                  <c:v>42524</c:v>
                </c:pt>
                <c:pt idx="643">
                  <c:v>42527</c:v>
                </c:pt>
                <c:pt idx="644">
                  <c:v>42528</c:v>
                </c:pt>
                <c:pt idx="645">
                  <c:v>42529</c:v>
                </c:pt>
                <c:pt idx="646">
                  <c:v>42530</c:v>
                </c:pt>
                <c:pt idx="647">
                  <c:v>42531</c:v>
                </c:pt>
                <c:pt idx="648">
                  <c:v>42534</c:v>
                </c:pt>
                <c:pt idx="649">
                  <c:v>42535</c:v>
                </c:pt>
                <c:pt idx="650">
                  <c:v>42536</c:v>
                </c:pt>
                <c:pt idx="651">
                  <c:v>42537</c:v>
                </c:pt>
                <c:pt idx="652">
                  <c:v>42538</c:v>
                </c:pt>
                <c:pt idx="653">
                  <c:v>42541</c:v>
                </c:pt>
                <c:pt idx="654">
                  <c:v>42542</c:v>
                </c:pt>
                <c:pt idx="655">
                  <c:v>42543</c:v>
                </c:pt>
                <c:pt idx="656">
                  <c:v>42544</c:v>
                </c:pt>
                <c:pt idx="657">
                  <c:v>42545</c:v>
                </c:pt>
                <c:pt idx="658">
                  <c:v>42548</c:v>
                </c:pt>
                <c:pt idx="659">
                  <c:v>42549</c:v>
                </c:pt>
                <c:pt idx="660">
                  <c:v>42550</c:v>
                </c:pt>
                <c:pt idx="661">
                  <c:v>42551</c:v>
                </c:pt>
                <c:pt idx="662">
                  <c:v>42552</c:v>
                </c:pt>
                <c:pt idx="663">
                  <c:v>42555</c:v>
                </c:pt>
                <c:pt idx="664">
                  <c:v>42556</c:v>
                </c:pt>
                <c:pt idx="665">
                  <c:v>42557</c:v>
                </c:pt>
                <c:pt idx="666">
                  <c:v>42558</c:v>
                </c:pt>
                <c:pt idx="667">
                  <c:v>42559</c:v>
                </c:pt>
                <c:pt idx="668">
                  <c:v>42562</c:v>
                </c:pt>
                <c:pt idx="669">
                  <c:v>42563</c:v>
                </c:pt>
                <c:pt idx="670">
                  <c:v>42564</c:v>
                </c:pt>
                <c:pt idx="671">
                  <c:v>42565</c:v>
                </c:pt>
                <c:pt idx="672">
                  <c:v>42566</c:v>
                </c:pt>
                <c:pt idx="673">
                  <c:v>42569</c:v>
                </c:pt>
                <c:pt idx="674">
                  <c:v>42570</c:v>
                </c:pt>
                <c:pt idx="675">
                  <c:v>42571</c:v>
                </c:pt>
                <c:pt idx="676">
                  <c:v>42572</c:v>
                </c:pt>
                <c:pt idx="677">
                  <c:v>42573</c:v>
                </c:pt>
                <c:pt idx="678">
                  <c:v>42576</c:v>
                </c:pt>
                <c:pt idx="679">
                  <c:v>42577</c:v>
                </c:pt>
                <c:pt idx="680">
                  <c:v>42578</c:v>
                </c:pt>
                <c:pt idx="681">
                  <c:v>42579</c:v>
                </c:pt>
                <c:pt idx="682">
                  <c:v>42580</c:v>
                </c:pt>
                <c:pt idx="683">
                  <c:v>42583</c:v>
                </c:pt>
                <c:pt idx="684">
                  <c:v>42584</c:v>
                </c:pt>
                <c:pt idx="685">
                  <c:v>42585</c:v>
                </c:pt>
                <c:pt idx="686">
                  <c:v>42586</c:v>
                </c:pt>
                <c:pt idx="687">
                  <c:v>42587</c:v>
                </c:pt>
                <c:pt idx="688">
                  <c:v>42590</c:v>
                </c:pt>
                <c:pt idx="689">
                  <c:v>42591</c:v>
                </c:pt>
                <c:pt idx="690">
                  <c:v>42592</c:v>
                </c:pt>
                <c:pt idx="691">
                  <c:v>42593</c:v>
                </c:pt>
                <c:pt idx="692">
                  <c:v>42594</c:v>
                </c:pt>
                <c:pt idx="693">
                  <c:v>42597</c:v>
                </c:pt>
                <c:pt idx="694">
                  <c:v>42598</c:v>
                </c:pt>
                <c:pt idx="695">
                  <c:v>42599</c:v>
                </c:pt>
                <c:pt idx="696">
                  <c:v>42600</c:v>
                </c:pt>
                <c:pt idx="697">
                  <c:v>42601</c:v>
                </c:pt>
                <c:pt idx="698">
                  <c:v>42604</c:v>
                </c:pt>
                <c:pt idx="699">
                  <c:v>42605</c:v>
                </c:pt>
                <c:pt idx="700">
                  <c:v>42606</c:v>
                </c:pt>
                <c:pt idx="701">
                  <c:v>42607</c:v>
                </c:pt>
                <c:pt idx="702">
                  <c:v>42608</c:v>
                </c:pt>
                <c:pt idx="703">
                  <c:v>42611</c:v>
                </c:pt>
                <c:pt idx="704">
                  <c:v>42612</c:v>
                </c:pt>
                <c:pt idx="705">
                  <c:v>42613</c:v>
                </c:pt>
                <c:pt idx="706">
                  <c:v>42614</c:v>
                </c:pt>
                <c:pt idx="707">
                  <c:v>42615</c:v>
                </c:pt>
                <c:pt idx="708">
                  <c:v>42618</c:v>
                </c:pt>
                <c:pt idx="709">
                  <c:v>42619</c:v>
                </c:pt>
                <c:pt idx="710">
                  <c:v>42620</c:v>
                </c:pt>
                <c:pt idx="711">
                  <c:v>42621</c:v>
                </c:pt>
                <c:pt idx="712">
                  <c:v>42622</c:v>
                </c:pt>
                <c:pt idx="713">
                  <c:v>42625</c:v>
                </c:pt>
                <c:pt idx="714">
                  <c:v>42626</c:v>
                </c:pt>
                <c:pt idx="715">
                  <c:v>42627</c:v>
                </c:pt>
                <c:pt idx="716">
                  <c:v>42628</c:v>
                </c:pt>
                <c:pt idx="717">
                  <c:v>42629</c:v>
                </c:pt>
                <c:pt idx="718">
                  <c:v>42632</c:v>
                </c:pt>
                <c:pt idx="719">
                  <c:v>42633</c:v>
                </c:pt>
                <c:pt idx="720">
                  <c:v>42634</c:v>
                </c:pt>
                <c:pt idx="721">
                  <c:v>42635</c:v>
                </c:pt>
                <c:pt idx="722">
                  <c:v>42636</c:v>
                </c:pt>
                <c:pt idx="723">
                  <c:v>42639</c:v>
                </c:pt>
                <c:pt idx="724">
                  <c:v>42640</c:v>
                </c:pt>
                <c:pt idx="725">
                  <c:v>42641</c:v>
                </c:pt>
                <c:pt idx="726">
                  <c:v>42642</c:v>
                </c:pt>
                <c:pt idx="727">
                  <c:v>42643</c:v>
                </c:pt>
                <c:pt idx="728">
                  <c:v>42646</c:v>
                </c:pt>
                <c:pt idx="729">
                  <c:v>42647</c:v>
                </c:pt>
                <c:pt idx="730">
                  <c:v>42648</c:v>
                </c:pt>
                <c:pt idx="731">
                  <c:v>42649</c:v>
                </c:pt>
                <c:pt idx="732">
                  <c:v>42650</c:v>
                </c:pt>
                <c:pt idx="733">
                  <c:v>42653</c:v>
                </c:pt>
                <c:pt idx="734">
                  <c:v>42654</c:v>
                </c:pt>
                <c:pt idx="735">
                  <c:v>42655</c:v>
                </c:pt>
                <c:pt idx="736">
                  <c:v>42656</c:v>
                </c:pt>
                <c:pt idx="737">
                  <c:v>42657</c:v>
                </c:pt>
                <c:pt idx="738">
                  <c:v>42660</c:v>
                </c:pt>
                <c:pt idx="739">
                  <c:v>42661</c:v>
                </c:pt>
                <c:pt idx="740">
                  <c:v>42662</c:v>
                </c:pt>
                <c:pt idx="741">
                  <c:v>42663</c:v>
                </c:pt>
                <c:pt idx="742">
                  <c:v>42664</c:v>
                </c:pt>
                <c:pt idx="743">
                  <c:v>42667</c:v>
                </c:pt>
                <c:pt idx="744">
                  <c:v>42668</c:v>
                </c:pt>
                <c:pt idx="745">
                  <c:v>42669</c:v>
                </c:pt>
                <c:pt idx="746">
                  <c:v>42670</c:v>
                </c:pt>
                <c:pt idx="747">
                  <c:v>42671</c:v>
                </c:pt>
                <c:pt idx="748">
                  <c:v>42674</c:v>
                </c:pt>
                <c:pt idx="749">
                  <c:v>42675</c:v>
                </c:pt>
                <c:pt idx="750">
                  <c:v>42676</c:v>
                </c:pt>
                <c:pt idx="751">
                  <c:v>42677</c:v>
                </c:pt>
                <c:pt idx="752">
                  <c:v>42678</c:v>
                </c:pt>
                <c:pt idx="753">
                  <c:v>42681</c:v>
                </c:pt>
                <c:pt idx="754">
                  <c:v>42682</c:v>
                </c:pt>
                <c:pt idx="755">
                  <c:v>42683</c:v>
                </c:pt>
                <c:pt idx="756">
                  <c:v>42684</c:v>
                </c:pt>
                <c:pt idx="757">
                  <c:v>42685</c:v>
                </c:pt>
                <c:pt idx="758">
                  <c:v>42688</c:v>
                </c:pt>
                <c:pt idx="759">
                  <c:v>42689</c:v>
                </c:pt>
                <c:pt idx="760">
                  <c:v>42690</c:v>
                </c:pt>
                <c:pt idx="761">
                  <c:v>42691</c:v>
                </c:pt>
                <c:pt idx="762">
                  <c:v>42692</c:v>
                </c:pt>
                <c:pt idx="763">
                  <c:v>42695</c:v>
                </c:pt>
                <c:pt idx="764">
                  <c:v>42696</c:v>
                </c:pt>
                <c:pt idx="765">
                  <c:v>42697</c:v>
                </c:pt>
                <c:pt idx="766">
                  <c:v>42698</c:v>
                </c:pt>
                <c:pt idx="767">
                  <c:v>42699</c:v>
                </c:pt>
                <c:pt idx="768">
                  <c:v>42702</c:v>
                </c:pt>
                <c:pt idx="769">
                  <c:v>42703</c:v>
                </c:pt>
                <c:pt idx="770">
                  <c:v>42704</c:v>
                </c:pt>
                <c:pt idx="771">
                  <c:v>42705</c:v>
                </c:pt>
                <c:pt idx="772">
                  <c:v>42706</c:v>
                </c:pt>
                <c:pt idx="773">
                  <c:v>42709</c:v>
                </c:pt>
                <c:pt idx="774">
                  <c:v>42710</c:v>
                </c:pt>
                <c:pt idx="775">
                  <c:v>42711</c:v>
                </c:pt>
                <c:pt idx="776">
                  <c:v>42712</c:v>
                </c:pt>
                <c:pt idx="777">
                  <c:v>42713</c:v>
                </c:pt>
                <c:pt idx="778">
                  <c:v>42716</c:v>
                </c:pt>
                <c:pt idx="779">
                  <c:v>42717</c:v>
                </c:pt>
                <c:pt idx="780">
                  <c:v>42718</c:v>
                </c:pt>
                <c:pt idx="781">
                  <c:v>42719</c:v>
                </c:pt>
                <c:pt idx="782">
                  <c:v>42720</c:v>
                </c:pt>
                <c:pt idx="783">
                  <c:v>42723</c:v>
                </c:pt>
                <c:pt idx="784">
                  <c:v>42724</c:v>
                </c:pt>
                <c:pt idx="785">
                  <c:v>42725</c:v>
                </c:pt>
                <c:pt idx="786">
                  <c:v>42726</c:v>
                </c:pt>
                <c:pt idx="787">
                  <c:v>42727</c:v>
                </c:pt>
                <c:pt idx="788">
                  <c:v>42731</c:v>
                </c:pt>
                <c:pt idx="789">
                  <c:v>42732</c:v>
                </c:pt>
                <c:pt idx="790">
                  <c:v>42733</c:v>
                </c:pt>
                <c:pt idx="791">
                  <c:v>42734</c:v>
                </c:pt>
                <c:pt idx="792">
                  <c:v>42738</c:v>
                </c:pt>
                <c:pt idx="793">
                  <c:v>42739</c:v>
                </c:pt>
                <c:pt idx="794">
                  <c:v>42740</c:v>
                </c:pt>
                <c:pt idx="795">
                  <c:v>42741</c:v>
                </c:pt>
                <c:pt idx="796">
                  <c:v>42744</c:v>
                </c:pt>
                <c:pt idx="797">
                  <c:v>42745</c:v>
                </c:pt>
                <c:pt idx="798">
                  <c:v>42746</c:v>
                </c:pt>
                <c:pt idx="799">
                  <c:v>42747</c:v>
                </c:pt>
                <c:pt idx="800">
                  <c:v>42748</c:v>
                </c:pt>
                <c:pt idx="801">
                  <c:v>42751</c:v>
                </c:pt>
                <c:pt idx="802">
                  <c:v>42752</c:v>
                </c:pt>
                <c:pt idx="803">
                  <c:v>42753</c:v>
                </c:pt>
                <c:pt idx="804">
                  <c:v>42754</c:v>
                </c:pt>
                <c:pt idx="805">
                  <c:v>42755</c:v>
                </c:pt>
                <c:pt idx="806">
                  <c:v>42758</c:v>
                </c:pt>
                <c:pt idx="807">
                  <c:v>42759</c:v>
                </c:pt>
                <c:pt idx="808">
                  <c:v>42760</c:v>
                </c:pt>
                <c:pt idx="809">
                  <c:v>42761</c:v>
                </c:pt>
                <c:pt idx="810">
                  <c:v>42762</c:v>
                </c:pt>
                <c:pt idx="811">
                  <c:v>42765</c:v>
                </c:pt>
                <c:pt idx="812">
                  <c:v>42766</c:v>
                </c:pt>
                <c:pt idx="813">
                  <c:v>42767</c:v>
                </c:pt>
                <c:pt idx="814">
                  <c:v>42768</c:v>
                </c:pt>
                <c:pt idx="815">
                  <c:v>42769</c:v>
                </c:pt>
                <c:pt idx="816">
                  <c:v>42772</c:v>
                </c:pt>
                <c:pt idx="817">
                  <c:v>42773</c:v>
                </c:pt>
                <c:pt idx="818">
                  <c:v>42774</c:v>
                </c:pt>
                <c:pt idx="819">
                  <c:v>42775</c:v>
                </c:pt>
                <c:pt idx="820">
                  <c:v>42776</c:v>
                </c:pt>
                <c:pt idx="821">
                  <c:v>42779</c:v>
                </c:pt>
                <c:pt idx="822">
                  <c:v>42780</c:v>
                </c:pt>
                <c:pt idx="823">
                  <c:v>42781</c:v>
                </c:pt>
                <c:pt idx="824">
                  <c:v>42782</c:v>
                </c:pt>
                <c:pt idx="825">
                  <c:v>42783</c:v>
                </c:pt>
                <c:pt idx="826">
                  <c:v>42786</c:v>
                </c:pt>
                <c:pt idx="827">
                  <c:v>42787</c:v>
                </c:pt>
                <c:pt idx="828">
                  <c:v>42788</c:v>
                </c:pt>
                <c:pt idx="829">
                  <c:v>42789</c:v>
                </c:pt>
                <c:pt idx="830">
                  <c:v>42790</c:v>
                </c:pt>
                <c:pt idx="831">
                  <c:v>42793</c:v>
                </c:pt>
                <c:pt idx="832">
                  <c:v>42794</c:v>
                </c:pt>
                <c:pt idx="833">
                  <c:v>42795</c:v>
                </c:pt>
                <c:pt idx="834">
                  <c:v>42796</c:v>
                </c:pt>
                <c:pt idx="835">
                  <c:v>42797</c:v>
                </c:pt>
                <c:pt idx="836">
                  <c:v>42800</c:v>
                </c:pt>
                <c:pt idx="837">
                  <c:v>42801</c:v>
                </c:pt>
                <c:pt idx="838">
                  <c:v>42802</c:v>
                </c:pt>
                <c:pt idx="839">
                  <c:v>42803</c:v>
                </c:pt>
                <c:pt idx="840">
                  <c:v>42804</c:v>
                </c:pt>
                <c:pt idx="841">
                  <c:v>42807</c:v>
                </c:pt>
                <c:pt idx="842">
                  <c:v>42808</c:v>
                </c:pt>
                <c:pt idx="843">
                  <c:v>42809</c:v>
                </c:pt>
                <c:pt idx="844">
                  <c:v>42810</c:v>
                </c:pt>
                <c:pt idx="845">
                  <c:v>42811</c:v>
                </c:pt>
                <c:pt idx="846">
                  <c:v>42814</c:v>
                </c:pt>
                <c:pt idx="847">
                  <c:v>42815</c:v>
                </c:pt>
                <c:pt idx="848">
                  <c:v>42816</c:v>
                </c:pt>
                <c:pt idx="849">
                  <c:v>42817</c:v>
                </c:pt>
                <c:pt idx="850">
                  <c:v>42818</c:v>
                </c:pt>
                <c:pt idx="851">
                  <c:v>42821</c:v>
                </c:pt>
                <c:pt idx="852">
                  <c:v>42822</c:v>
                </c:pt>
                <c:pt idx="853">
                  <c:v>42823</c:v>
                </c:pt>
                <c:pt idx="854">
                  <c:v>42824</c:v>
                </c:pt>
                <c:pt idx="855">
                  <c:v>42825</c:v>
                </c:pt>
                <c:pt idx="856">
                  <c:v>42828</c:v>
                </c:pt>
                <c:pt idx="857">
                  <c:v>42829</c:v>
                </c:pt>
                <c:pt idx="858">
                  <c:v>42830</c:v>
                </c:pt>
                <c:pt idx="859">
                  <c:v>42831</c:v>
                </c:pt>
                <c:pt idx="860">
                  <c:v>42832</c:v>
                </c:pt>
                <c:pt idx="861">
                  <c:v>42835</c:v>
                </c:pt>
                <c:pt idx="862">
                  <c:v>42836</c:v>
                </c:pt>
                <c:pt idx="863">
                  <c:v>42837</c:v>
                </c:pt>
                <c:pt idx="864">
                  <c:v>42838</c:v>
                </c:pt>
                <c:pt idx="865">
                  <c:v>42842</c:v>
                </c:pt>
                <c:pt idx="866">
                  <c:v>42843</c:v>
                </c:pt>
                <c:pt idx="867">
                  <c:v>42844</c:v>
                </c:pt>
                <c:pt idx="868">
                  <c:v>42845</c:v>
                </c:pt>
                <c:pt idx="869">
                  <c:v>42846</c:v>
                </c:pt>
                <c:pt idx="870">
                  <c:v>42849</c:v>
                </c:pt>
                <c:pt idx="871">
                  <c:v>42850</c:v>
                </c:pt>
                <c:pt idx="872">
                  <c:v>42851</c:v>
                </c:pt>
                <c:pt idx="873">
                  <c:v>42852</c:v>
                </c:pt>
                <c:pt idx="874">
                  <c:v>42853</c:v>
                </c:pt>
                <c:pt idx="875">
                  <c:v>42856</c:v>
                </c:pt>
                <c:pt idx="876">
                  <c:v>42857</c:v>
                </c:pt>
                <c:pt idx="877">
                  <c:v>42858</c:v>
                </c:pt>
                <c:pt idx="878">
                  <c:v>42859</c:v>
                </c:pt>
                <c:pt idx="879">
                  <c:v>42860</c:v>
                </c:pt>
                <c:pt idx="880">
                  <c:v>42863</c:v>
                </c:pt>
                <c:pt idx="881">
                  <c:v>42864</c:v>
                </c:pt>
                <c:pt idx="882">
                  <c:v>42865</c:v>
                </c:pt>
                <c:pt idx="883">
                  <c:v>42866</c:v>
                </c:pt>
                <c:pt idx="884">
                  <c:v>42867</c:v>
                </c:pt>
                <c:pt idx="885">
                  <c:v>42870</c:v>
                </c:pt>
                <c:pt idx="886">
                  <c:v>42871</c:v>
                </c:pt>
                <c:pt idx="887">
                  <c:v>42872</c:v>
                </c:pt>
                <c:pt idx="888">
                  <c:v>42873</c:v>
                </c:pt>
                <c:pt idx="889">
                  <c:v>42874</c:v>
                </c:pt>
                <c:pt idx="890">
                  <c:v>42877</c:v>
                </c:pt>
                <c:pt idx="891">
                  <c:v>42878</c:v>
                </c:pt>
                <c:pt idx="892">
                  <c:v>42879</c:v>
                </c:pt>
                <c:pt idx="893">
                  <c:v>42880</c:v>
                </c:pt>
                <c:pt idx="894">
                  <c:v>42881</c:v>
                </c:pt>
                <c:pt idx="895">
                  <c:v>42885</c:v>
                </c:pt>
                <c:pt idx="896">
                  <c:v>42886</c:v>
                </c:pt>
                <c:pt idx="897">
                  <c:v>42887</c:v>
                </c:pt>
                <c:pt idx="898">
                  <c:v>42888</c:v>
                </c:pt>
                <c:pt idx="899">
                  <c:v>42891</c:v>
                </c:pt>
                <c:pt idx="900">
                  <c:v>42892</c:v>
                </c:pt>
                <c:pt idx="901">
                  <c:v>42893</c:v>
                </c:pt>
                <c:pt idx="902">
                  <c:v>42894</c:v>
                </c:pt>
                <c:pt idx="903">
                  <c:v>42895</c:v>
                </c:pt>
                <c:pt idx="904">
                  <c:v>42898</c:v>
                </c:pt>
                <c:pt idx="905">
                  <c:v>42899</c:v>
                </c:pt>
                <c:pt idx="906">
                  <c:v>42900</c:v>
                </c:pt>
                <c:pt idx="907">
                  <c:v>42901</c:v>
                </c:pt>
                <c:pt idx="908">
                  <c:v>42902</c:v>
                </c:pt>
                <c:pt idx="909">
                  <c:v>42905</c:v>
                </c:pt>
                <c:pt idx="910">
                  <c:v>42906</c:v>
                </c:pt>
                <c:pt idx="911">
                  <c:v>42907</c:v>
                </c:pt>
                <c:pt idx="912">
                  <c:v>42908</c:v>
                </c:pt>
                <c:pt idx="913">
                  <c:v>42909</c:v>
                </c:pt>
                <c:pt idx="914">
                  <c:v>42912</c:v>
                </c:pt>
                <c:pt idx="915">
                  <c:v>42913</c:v>
                </c:pt>
                <c:pt idx="916">
                  <c:v>42914</c:v>
                </c:pt>
                <c:pt idx="917">
                  <c:v>42915</c:v>
                </c:pt>
                <c:pt idx="918">
                  <c:v>42916</c:v>
                </c:pt>
                <c:pt idx="919">
                  <c:v>42919</c:v>
                </c:pt>
                <c:pt idx="920">
                  <c:v>42920</c:v>
                </c:pt>
                <c:pt idx="921">
                  <c:v>42921</c:v>
                </c:pt>
                <c:pt idx="922">
                  <c:v>42922</c:v>
                </c:pt>
                <c:pt idx="923">
                  <c:v>42923</c:v>
                </c:pt>
                <c:pt idx="924">
                  <c:v>42926</c:v>
                </c:pt>
                <c:pt idx="925">
                  <c:v>42927</c:v>
                </c:pt>
                <c:pt idx="926">
                  <c:v>42928</c:v>
                </c:pt>
                <c:pt idx="927">
                  <c:v>42929</c:v>
                </c:pt>
                <c:pt idx="928">
                  <c:v>42930</c:v>
                </c:pt>
                <c:pt idx="929">
                  <c:v>42933</c:v>
                </c:pt>
                <c:pt idx="930">
                  <c:v>42934</c:v>
                </c:pt>
                <c:pt idx="931">
                  <c:v>42935</c:v>
                </c:pt>
                <c:pt idx="932">
                  <c:v>42936</c:v>
                </c:pt>
                <c:pt idx="933">
                  <c:v>42937</c:v>
                </c:pt>
                <c:pt idx="934">
                  <c:v>42940</c:v>
                </c:pt>
                <c:pt idx="935">
                  <c:v>42941</c:v>
                </c:pt>
                <c:pt idx="936">
                  <c:v>42942</c:v>
                </c:pt>
                <c:pt idx="937">
                  <c:v>42943</c:v>
                </c:pt>
                <c:pt idx="938">
                  <c:v>42944</c:v>
                </c:pt>
                <c:pt idx="939">
                  <c:v>42947</c:v>
                </c:pt>
                <c:pt idx="940">
                  <c:v>42948</c:v>
                </c:pt>
                <c:pt idx="941">
                  <c:v>42949</c:v>
                </c:pt>
                <c:pt idx="942">
                  <c:v>42950</c:v>
                </c:pt>
                <c:pt idx="943">
                  <c:v>42951</c:v>
                </c:pt>
                <c:pt idx="944">
                  <c:v>42954</c:v>
                </c:pt>
                <c:pt idx="945">
                  <c:v>42955</c:v>
                </c:pt>
                <c:pt idx="946">
                  <c:v>42956</c:v>
                </c:pt>
                <c:pt idx="947">
                  <c:v>42957</c:v>
                </c:pt>
                <c:pt idx="948">
                  <c:v>42958</c:v>
                </c:pt>
                <c:pt idx="949">
                  <c:v>42961</c:v>
                </c:pt>
                <c:pt idx="950">
                  <c:v>42962</c:v>
                </c:pt>
                <c:pt idx="951">
                  <c:v>42963</c:v>
                </c:pt>
                <c:pt idx="952">
                  <c:v>42964</c:v>
                </c:pt>
                <c:pt idx="953">
                  <c:v>42965</c:v>
                </c:pt>
                <c:pt idx="954">
                  <c:v>42968</c:v>
                </c:pt>
                <c:pt idx="955">
                  <c:v>42969</c:v>
                </c:pt>
                <c:pt idx="956">
                  <c:v>42970</c:v>
                </c:pt>
                <c:pt idx="957">
                  <c:v>42971</c:v>
                </c:pt>
                <c:pt idx="958">
                  <c:v>42972</c:v>
                </c:pt>
                <c:pt idx="959">
                  <c:v>42975</c:v>
                </c:pt>
                <c:pt idx="960">
                  <c:v>42976</c:v>
                </c:pt>
                <c:pt idx="961">
                  <c:v>42977</c:v>
                </c:pt>
                <c:pt idx="962">
                  <c:v>42978</c:v>
                </c:pt>
                <c:pt idx="963">
                  <c:v>42979</c:v>
                </c:pt>
                <c:pt idx="964">
                  <c:v>42982</c:v>
                </c:pt>
                <c:pt idx="965">
                  <c:v>42983</c:v>
                </c:pt>
                <c:pt idx="966">
                  <c:v>42984</c:v>
                </c:pt>
                <c:pt idx="967">
                  <c:v>42985</c:v>
                </c:pt>
                <c:pt idx="968">
                  <c:v>42986</c:v>
                </c:pt>
                <c:pt idx="969">
                  <c:v>42989</c:v>
                </c:pt>
                <c:pt idx="970">
                  <c:v>42990</c:v>
                </c:pt>
                <c:pt idx="971">
                  <c:v>42991</c:v>
                </c:pt>
                <c:pt idx="972">
                  <c:v>42992</c:v>
                </c:pt>
                <c:pt idx="973">
                  <c:v>42993</c:v>
                </c:pt>
                <c:pt idx="974">
                  <c:v>42996</c:v>
                </c:pt>
                <c:pt idx="975">
                  <c:v>42997</c:v>
                </c:pt>
                <c:pt idx="976">
                  <c:v>42998</c:v>
                </c:pt>
                <c:pt idx="977">
                  <c:v>42999</c:v>
                </c:pt>
                <c:pt idx="978">
                  <c:v>43000</c:v>
                </c:pt>
                <c:pt idx="979">
                  <c:v>43003</c:v>
                </c:pt>
                <c:pt idx="980">
                  <c:v>43004</c:v>
                </c:pt>
                <c:pt idx="981">
                  <c:v>43005</c:v>
                </c:pt>
                <c:pt idx="982">
                  <c:v>43006</c:v>
                </c:pt>
                <c:pt idx="983">
                  <c:v>43007</c:v>
                </c:pt>
                <c:pt idx="984">
                  <c:v>43010</c:v>
                </c:pt>
                <c:pt idx="985">
                  <c:v>43011</c:v>
                </c:pt>
                <c:pt idx="986">
                  <c:v>43012</c:v>
                </c:pt>
                <c:pt idx="987">
                  <c:v>43013</c:v>
                </c:pt>
                <c:pt idx="988">
                  <c:v>43014</c:v>
                </c:pt>
                <c:pt idx="989">
                  <c:v>43017</c:v>
                </c:pt>
                <c:pt idx="990">
                  <c:v>43018</c:v>
                </c:pt>
                <c:pt idx="991">
                  <c:v>43019</c:v>
                </c:pt>
                <c:pt idx="992">
                  <c:v>43020</c:v>
                </c:pt>
                <c:pt idx="993">
                  <c:v>43021</c:v>
                </c:pt>
                <c:pt idx="994">
                  <c:v>43024</c:v>
                </c:pt>
                <c:pt idx="995">
                  <c:v>43025</c:v>
                </c:pt>
                <c:pt idx="996">
                  <c:v>43026</c:v>
                </c:pt>
                <c:pt idx="997">
                  <c:v>43027</c:v>
                </c:pt>
                <c:pt idx="998">
                  <c:v>43028</c:v>
                </c:pt>
                <c:pt idx="999">
                  <c:v>43031</c:v>
                </c:pt>
                <c:pt idx="1000">
                  <c:v>43032</c:v>
                </c:pt>
                <c:pt idx="1001">
                  <c:v>43033</c:v>
                </c:pt>
                <c:pt idx="1002">
                  <c:v>43034</c:v>
                </c:pt>
                <c:pt idx="1003">
                  <c:v>43035</c:v>
                </c:pt>
                <c:pt idx="1004">
                  <c:v>43038</c:v>
                </c:pt>
                <c:pt idx="1005">
                  <c:v>43039</c:v>
                </c:pt>
                <c:pt idx="1006">
                  <c:v>43040</c:v>
                </c:pt>
                <c:pt idx="1007">
                  <c:v>43041</c:v>
                </c:pt>
                <c:pt idx="1008">
                  <c:v>43042</c:v>
                </c:pt>
                <c:pt idx="1009">
                  <c:v>43045</c:v>
                </c:pt>
                <c:pt idx="1010">
                  <c:v>43046</c:v>
                </c:pt>
                <c:pt idx="1011">
                  <c:v>43047</c:v>
                </c:pt>
                <c:pt idx="1012">
                  <c:v>43048</c:v>
                </c:pt>
                <c:pt idx="1013">
                  <c:v>43049</c:v>
                </c:pt>
                <c:pt idx="1014">
                  <c:v>43052</c:v>
                </c:pt>
                <c:pt idx="1015">
                  <c:v>43053</c:v>
                </c:pt>
                <c:pt idx="1016">
                  <c:v>43054</c:v>
                </c:pt>
                <c:pt idx="1017">
                  <c:v>43055</c:v>
                </c:pt>
                <c:pt idx="1018">
                  <c:v>43056</c:v>
                </c:pt>
                <c:pt idx="1019">
                  <c:v>43059</c:v>
                </c:pt>
                <c:pt idx="1020">
                  <c:v>43060</c:v>
                </c:pt>
                <c:pt idx="1021">
                  <c:v>43061</c:v>
                </c:pt>
                <c:pt idx="1022">
                  <c:v>43062</c:v>
                </c:pt>
                <c:pt idx="1023">
                  <c:v>43063</c:v>
                </c:pt>
                <c:pt idx="1024">
                  <c:v>43066</c:v>
                </c:pt>
                <c:pt idx="1025">
                  <c:v>43067</c:v>
                </c:pt>
                <c:pt idx="1026">
                  <c:v>43068</c:v>
                </c:pt>
                <c:pt idx="1027">
                  <c:v>43069</c:v>
                </c:pt>
                <c:pt idx="1028">
                  <c:v>43070</c:v>
                </c:pt>
                <c:pt idx="1029">
                  <c:v>43073</c:v>
                </c:pt>
                <c:pt idx="1030">
                  <c:v>43074</c:v>
                </c:pt>
                <c:pt idx="1031">
                  <c:v>43075</c:v>
                </c:pt>
                <c:pt idx="1032">
                  <c:v>43076</c:v>
                </c:pt>
                <c:pt idx="1033">
                  <c:v>43077</c:v>
                </c:pt>
                <c:pt idx="1034">
                  <c:v>43080</c:v>
                </c:pt>
                <c:pt idx="1035">
                  <c:v>43081</c:v>
                </c:pt>
                <c:pt idx="1036">
                  <c:v>43082</c:v>
                </c:pt>
                <c:pt idx="1037">
                  <c:v>43083</c:v>
                </c:pt>
                <c:pt idx="1038">
                  <c:v>43084</c:v>
                </c:pt>
                <c:pt idx="1039">
                  <c:v>43087</c:v>
                </c:pt>
                <c:pt idx="1040">
                  <c:v>43088</c:v>
                </c:pt>
                <c:pt idx="1041">
                  <c:v>43089</c:v>
                </c:pt>
                <c:pt idx="1042">
                  <c:v>43090</c:v>
                </c:pt>
                <c:pt idx="1043">
                  <c:v>43091</c:v>
                </c:pt>
                <c:pt idx="1044">
                  <c:v>43095</c:v>
                </c:pt>
                <c:pt idx="1045">
                  <c:v>43096</c:v>
                </c:pt>
                <c:pt idx="1046">
                  <c:v>43097</c:v>
                </c:pt>
                <c:pt idx="1047">
                  <c:v>43098</c:v>
                </c:pt>
                <c:pt idx="1048">
                  <c:v>43102</c:v>
                </c:pt>
                <c:pt idx="1049">
                  <c:v>43103</c:v>
                </c:pt>
                <c:pt idx="1050">
                  <c:v>43104</c:v>
                </c:pt>
                <c:pt idx="1051">
                  <c:v>43105</c:v>
                </c:pt>
                <c:pt idx="1052">
                  <c:v>43108</c:v>
                </c:pt>
                <c:pt idx="1053">
                  <c:v>43109</c:v>
                </c:pt>
                <c:pt idx="1054">
                  <c:v>43110</c:v>
                </c:pt>
                <c:pt idx="1055">
                  <c:v>43111</c:v>
                </c:pt>
                <c:pt idx="1056">
                  <c:v>43112</c:v>
                </c:pt>
                <c:pt idx="1057">
                  <c:v>43115</c:v>
                </c:pt>
                <c:pt idx="1058">
                  <c:v>43116</c:v>
                </c:pt>
                <c:pt idx="1059">
                  <c:v>43117</c:v>
                </c:pt>
                <c:pt idx="1060">
                  <c:v>43118</c:v>
                </c:pt>
                <c:pt idx="1061">
                  <c:v>43119</c:v>
                </c:pt>
                <c:pt idx="1062">
                  <c:v>43122</c:v>
                </c:pt>
                <c:pt idx="1063">
                  <c:v>43123</c:v>
                </c:pt>
                <c:pt idx="1064">
                  <c:v>43124</c:v>
                </c:pt>
                <c:pt idx="1065">
                  <c:v>43125</c:v>
                </c:pt>
                <c:pt idx="1066">
                  <c:v>43126</c:v>
                </c:pt>
                <c:pt idx="1067">
                  <c:v>43129</c:v>
                </c:pt>
                <c:pt idx="1068">
                  <c:v>43130</c:v>
                </c:pt>
                <c:pt idx="1069">
                  <c:v>43131</c:v>
                </c:pt>
                <c:pt idx="1070">
                  <c:v>43132</c:v>
                </c:pt>
                <c:pt idx="1071">
                  <c:v>43133</c:v>
                </c:pt>
                <c:pt idx="1072">
                  <c:v>43136</c:v>
                </c:pt>
                <c:pt idx="1073">
                  <c:v>43137</c:v>
                </c:pt>
                <c:pt idx="1074">
                  <c:v>43138</c:v>
                </c:pt>
                <c:pt idx="1075">
                  <c:v>43139</c:v>
                </c:pt>
                <c:pt idx="1076">
                  <c:v>43140</c:v>
                </c:pt>
                <c:pt idx="1077">
                  <c:v>43143</c:v>
                </c:pt>
                <c:pt idx="1078">
                  <c:v>43144</c:v>
                </c:pt>
                <c:pt idx="1079">
                  <c:v>43145</c:v>
                </c:pt>
                <c:pt idx="1080">
                  <c:v>43146</c:v>
                </c:pt>
                <c:pt idx="1081">
                  <c:v>43147</c:v>
                </c:pt>
                <c:pt idx="1082">
                  <c:v>43150</c:v>
                </c:pt>
                <c:pt idx="1083">
                  <c:v>43151</c:v>
                </c:pt>
                <c:pt idx="1084">
                  <c:v>43152</c:v>
                </c:pt>
                <c:pt idx="1085">
                  <c:v>43153</c:v>
                </c:pt>
                <c:pt idx="1086">
                  <c:v>43154</c:v>
                </c:pt>
                <c:pt idx="1087">
                  <c:v>43157</c:v>
                </c:pt>
                <c:pt idx="1088">
                  <c:v>43158</c:v>
                </c:pt>
                <c:pt idx="1089">
                  <c:v>43159</c:v>
                </c:pt>
                <c:pt idx="1090">
                  <c:v>43160</c:v>
                </c:pt>
                <c:pt idx="1091">
                  <c:v>43161</c:v>
                </c:pt>
                <c:pt idx="1092">
                  <c:v>43164</c:v>
                </c:pt>
                <c:pt idx="1093">
                  <c:v>43165</c:v>
                </c:pt>
                <c:pt idx="1094">
                  <c:v>43166</c:v>
                </c:pt>
                <c:pt idx="1095">
                  <c:v>43167</c:v>
                </c:pt>
                <c:pt idx="1096">
                  <c:v>43168</c:v>
                </c:pt>
                <c:pt idx="1097">
                  <c:v>43171</c:v>
                </c:pt>
                <c:pt idx="1098">
                  <c:v>43172</c:v>
                </c:pt>
                <c:pt idx="1099">
                  <c:v>43173</c:v>
                </c:pt>
                <c:pt idx="1100">
                  <c:v>43174</c:v>
                </c:pt>
                <c:pt idx="1101">
                  <c:v>43175</c:v>
                </c:pt>
                <c:pt idx="1102">
                  <c:v>43178</c:v>
                </c:pt>
                <c:pt idx="1103">
                  <c:v>43179</c:v>
                </c:pt>
                <c:pt idx="1104">
                  <c:v>43180</c:v>
                </c:pt>
                <c:pt idx="1105">
                  <c:v>43181</c:v>
                </c:pt>
                <c:pt idx="1106">
                  <c:v>43182</c:v>
                </c:pt>
                <c:pt idx="1107">
                  <c:v>43185</c:v>
                </c:pt>
                <c:pt idx="1108">
                  <c:v>43186</c:v>
                </c:pt>
                <c:pt idx="1109">
                  <c:v>43187</c:v>
                </c:pt>
                <c:pt idx="1110">
                  <c:v>43188</c:v>
                </c:pt>
                <c:pt idx="1111">
                  <c:v>43192</c:v>
                </c:pt>
                <c:pt idx="1112">
                  <c:v>43193</c:v>
                </c:pt>
                <c:pt idx="1113">
                  <c:v>43194</c:v>
                </c:pt>
                <c:pt idx="1114">
                  <c:v>43195</c:v>
                </c:pt>
                <c:pt idx="1115">
                  <c:v>43196</c:v>
                </c:pt>
                <c:pt idx="1116">
                  <c:v>43199</c:v>
                </c:pt>
                <c:pt idx="1117">
                  <c:v>43200</c:v>
                </c:pt>
                <c:pt idx="1118">
                  <c:v>43201</c:v>
                </c:pt>
                <c:pt idx="1119">
                  <c:v>43202</c:v>
                </c:pt>
                <c:pt idx="1120">
                  <c:v>43203</c:v>
                </c:pt>
                <c:pt idx="1121">
                  <c:v>43206</c:v>
                </c:pt>
                <c:pt idx="1122">
                  <c:v>43207</c:v>
                </c:pt>
                <c:pt idx="1123">
                  <c:v>43208</c:v>
                </c:pt>
                <c:pt idx="1124">
                  <c:v>43209</c:v>
                </c:pt>
                <c:pt idx="1125">
                  <c:v>43210</c:v>
                </c:pt>
                <c:pt idx="1126">
                  <c:v>43213</c:v>
                </c:pt>
                <c:pt idx="1127">
                  <c:v>43214</c:v>
                </c:pt>
                <c:pt idx="1128">
                  <c:v>43215</c:v>
                </c:pt>
                <c:pt idx="1129">
                  <c:v>43216</c:v>
                </c:pt>
                <c:pt idx="1130">
                  <c:v>43217</c:v>
                </c:pt>
                <c:pt idx="1131">
                  <c:v>43220</c:v>
                </c:pt>
                <c:pt idx="1132">
                  <c:v>43221</c:v>
                </c:pt>
                <c:pt idx="1133">
                  <c:v>43222</c:v>
                </c:pt>
                <c:pt idx="1134">
                  <c:v>43223</c:v>
                </c:pt>
                <c:pt idx="1135">
                  <c:v>43224</c:v>
                </c:pt>
                <c:pt idx="1136">
                  <c:v>43227</c:v>
                </c:pt>
                <c:pt idx="1137">
                  <c:v>43228</c:v>
                </c:pt>
                <c:pt idx="1138">
                  <c:v>43229</c:v>
                </c:pt>
                <c:pt idx="1139">
                  <c:v>43230</c:v>
                </c:pt>
                <c:pt idx="1140">
                  <c:v>43231</c:v>
                </c:pt>
                <c:pt idx="1141">
                  <c:v>43234</c:v>
                </c:pt>
                <c:pt idx="1142">
                  <c:v>43235</c:v>
                </c:pt>
                <c:pt idx="1143">
                  <c:v>43236</c:v>
                </c:pt>
                <c:pt idx="1144">
                  <c:v>43237</c:v>
                </c:pt>
                <c:pt idx="1145">
                  <c:v>43238</c:v>
                </c:pt>
                <c:pt idx="1146">
                  <c:v>43241</c:v>
                </c:pt>
                <c:pt idx="1147">
                  <c:v>43242</c:v>
                </c:pt>
                <c:pt idx="1148">
                  <c:v>43243</c:v>
                </c:pt>
                <c:pt idx="1149">
                  <c:v>43244</c:v>
                </c:pt>
                <c:pt idx="1150">
                  <c:v>43245</c:v>
                </c:pt>
                <c:pt idx="1151">
                  <c:v>43249</c:v>
                </c:pt>
                <c:pt idx="1152">
                  <c:v>43250</c:v>
                </c:pt>
                <c:pt idx="1153">
                  <c:v>43251</c:v>
                </c:pt>
                <c:pt idx="1154">
                  <c:v>43252</c:v>
                </c:pt>
                <c:pt idx="1155">
                  <c:v>43255</c:v>
                </c:pt>
                <c:pt idx="1156">
                  <c:v>43256</c:v>
                </c:pt>
                <c:pt idx="1157">
                  <c:v>43257</c:v>
                </c:pt>
                <c:pt idx="1158">
                  <c:v>43258</c:v>
                </c:pt>
                <c:pt idx="1159">
                  <c:v>43259</c:v>
                </c:pt>
                <c:pt idx="1160">
                  <c:v>43262</c:v>
                </c:pt>
                <c:pt idx="1161">
                  <c:v>43263</c:v>
                </c:pt>
                <c:pt idx="1162">
                  <c:v>43264</c:v>
                </c:pt>
                <c:pt idx="1163">
                  <c:v>43265</c:v>
                </c:pt>
                <c:pt idx="1164">
                  <c:v>43266</c:v>
                </c:pt>
                <c:pt idx="1165">
                  <c:v>43269</c:v>
                </c:pt>
                <c:pt idx="1166">
                  <c:v>43270</c:v>
                </c:pt>
                <c:pt idx="1167">
                  <c:v>43271</c:v>
                </c:pt>
                <c:pt idx="1168">
                  <c:v>43272</c:v>
                </c:pt>
                <c:pt idx="1169">
                  <c:v>43273</c:v>
                </c:pt>
                <c:pt idx="1170">
                  <c:v>43276</c:v>
                </c:pt>
                <c:pt idx="1171">
                  <c:v>43277</c:v>
                </c:pt>
                <c:pt idx="1172">
                  <c:v>43278</c:v>
                </c:pt>
                <c:pt idx="1173">
                  <c:v>43279</c:v>
                </c:pt>
                <c:pt idx="1174">
                  <c:v>43280</c:v>
                </c:pt>
                <c:pt idx="1175">
                  <c:v>43283</c:v>
                </c:pt>
                <c:pt idx="1176">
                  <c:v>43284</c:v>
                </c:pt>
                <c:pt idx="1177">
                  <c:v>43285</c:v>
                </c:pt>
                <c:pt idx="1178">
                  <c:v>43286</c:v>
                </c:pt>
                <c:pt idx="1179">
                  <c:v>43287</c:v>
                </c:pt>
                <c:pt idx="1180">
                  <c:v>43290</c:v>
                </c:pt>
                <c:pt idx="1181">
                  <c:v>43291</c:v>
                </c:pt>
                <c:pt idx="1182">
                  <c:v>43292</c:v>
                </c:pt>
                <c:pt idx="1183">
                  <c:v>43293</c:v>
                </c:pt>
                <c:pt idx="1184">
                  <c:v>43294</c:v>
                </c:pt>
                <c:pt idx="1185">
                  <c:v>43297</c:v>
                </c:pt>
                <c:pt idx="1186">
                  <c:v>43298</c:v>
                </c:pt>
                <c:pt idx="1187">
                  <c:v>43299</c:v>
                </c:pt>
                <c:pt idx="1188">
                  <c:v>43300</c:v>
                </c:pt>
                <c:pt idx="1189">
                  <c:v>43301</c:v>
                </c:pt>
                <c:pt idx="1190">
                  <c:v>43304</c:v>
                </c:pt>
                <c:pt idx="1191">
                  <c:v>43305</c:v>
                </c:pt>
                <c:pt idx="1192">
                  <c:v>43306</c:v>
                </c:pt>
                <c:pt idx="1193">
                  <c:v>43307</c:v>
                </c:pt>
                <c:pt idx="1194">
                  <c:v>43308</c:v>
                </c:pt>
                <c:pt idx="1195">
                  <c:v>43311</c:v>
                </c:pt>
                <c:pt idx="1196">
                  <c:v>43312</c:v>
                </c:pt>
                <c:pt idx="1197">
                  <c:v>43313</c:v>
                </c:pt>
                <c:pt idx="1198">
                  <c:v>43314</c:v>
                </c:pt>
                <c:pt idx="1199">
                  <c:v>43315</c:v>
                </c:pt>
                <c:pt idx="1200">
                  <c:v>43318</c:v>
                </c:pt>
                <c:pt idx="1201">
                  <c:v>43319</c:v>
                </c:pt>
                <c:pt idx="1202">
                  <c:v>43320</c:v>
                </c:pt>
                <c:pt idx="1203">
                  <c:v>43321</c:v>
                </c:pt>
                <c:pt idx="1204">
                  <c:v>43322</c:v>
                </c:pt>
                <c:pt idx="1205">
                  <c:v>43325</c:v>
                </c:pt>
                <c:pt idx="1206">
                  <c:v>43326</c:v>
                </c:pt>
                <c:pt idx="1207">
                  <c:v>43327</c:v>
                </c:pt>
                <c:pt idx="1208">
                  <c:v>43328</c:v>
                </c:pt>
                <c:pt idx="1209">
                  <c:v>43329</c:v>
                </c:pt>
                <c:pt idx="1210">
                  <c:v>43332</c:v>
                </c:pt>
                <c:pt idx="1211">
                  <c:v>43333</c:v>
                </c:pt>
                <c:pt idx="1212">
                  <c:v>43334</c:v>
                </c:pt>
                <c:pt idx="1213">
                  <c:v>43335</c:v>
                </c:pt>
                <c:pt idx="1214">
                  <c:v>43336</c:v>
                </c:pt>
                <c:pt idx="1215">
                  <c:v>43339</c:v>
                </c:pt>
                <c:pt idx="1216">
                  <c:v>43340</c:v>
                </c:pt>
                <c:pt idx="1217">
                  <c:v>43341</c:v>
                </c:pt>
                <c:pt idx="1218">
                  <c:v>43342</c:v>
                </c:pt>
                <c:pt idx="1219">
                  <c:v>43343</c:v>
                </c:pt>
                <c:pt idx="1220">
                  <c:v>43346</c:v>
                </c:pt>
                <c:pt idx="1221">
                  <c:v>43347</c:v>
                </c:pt>
                <c:pt idx="1222">
                  <c:v>43348</c:v>
                </c:pt>
                <c:pt idx="1223">
                  <c:v>43349</c:v>
                </c:pt>
                <c:pt idx="1224">
                  <c:v>43350</c:v>
                </c:pt>
                <c:pt idx="1225">
                  <c:v>43353</c:v>
                </c:pt>
                <c:pt idx="1226">
                  <c:v>43354</c:v>
                </c:pt>
                <c:pt idx="1227">
                  <c:v>43355</c:v>
                </c:pt>
                <c:pt idx="1228">
                  <c:v>43356</c:v>
                </c:pt>
                <c:pt idx="1229">
                  <c:v>43357</c:v>
                </c:pt>
                <c:pt idx="1230">
                  <c:v>43360</c:v>
                </c:pt>
                <c:pt idx="1231">
                  <c:v>43361</c:v>
                </c:pt>
                <c:pt idx="1232">
                  <c:v>43362</c:v>
                </c:pt>
                <c:pt idx="1233">
                  <c:v>43363</c:v>
                </c:pt>
                <c:pt idx="1234">
                  <c:v>43364</c:v>
                </c:pt>
                <c:pt idx="1235">
                  <c:v>43367</c:v>
                </c:pt>
                <c:pt idx="1236">
                  <c:v>43368</c:v>
                </c:pt>
                <c:pt idx="1237">
                  <c:v>43369</c:v>
                </c:pt>
                <c:pt idx="1238">
                  <c:v>43370</c:v>
                </c:pt>
                <c:pt idx="1239">
                  <c:v>43371</c:v>
                </c:pt>
                <c:pt idx="1240">
                  <c:v>43374</c:v>
                </c:pt>
                <c:pt idx="1241">
                  <c:v>43375</c:v>
                </c:pt>
                <c:pt idx="1242">
                  <c:v>43376</c:v>
                </c:pt>
                <c:pt idx="1243">
                  <c:v>43377</c:v>
                </c:pt>
                <c:pt idx="1244">
                  <c:v>43378</c:v>
                </c:pt>
                <c:pt idx="1245">
                  <c:v>43381</c:v>
                </c:pt>
                <c:pt idx="1246">
                  <c:v>43382</c:v>
                </c:pt>
                <c:pt idx="1247">
                  <c:v>43383</c:v>
                </c:pt>
                <c:pt idx="1248">
                  <c:v>43384</c:v>
                </c:pt>
                <c:pt idx="1249">
                  <c:v>43385</c:v>
                </c:pt>
                <c:pt idx="1250">
                  <c:v>43388</c:v>
                </c:pt>
                <c:pt idx="1251">
                  <c:v>43389</c:v>
                </c:pt>
                <c:pt idx="1252">
                  <c:v>43390</c:v>
                </c:pt>
                <c:pt idx="1253">
                  <c:v>43391</c:v>
                </c:pt>
                <c:pt idx="1254">
                  <c:v>43392</c:v>
                </c:pt>
                <c:pt idx="1255">
                  <c:v>43395</c:v>
                </c:pt>
                <c:pt idx="1256">
                  <c:v>43396</c:v>
                </c:pt>
                <c:pt idx="1257">
                  <c:v>43397</c:v>
                </c:pt>
                <c:pt idx="1258">
                  <c:v>43398</c:v>
                </c:pt>
                <c:pt idx="1259">
                  <c:v>43399</c:v>
                </c:pt>
                <c:pt idx="1260">
                  <c:v>43402</c:v>
                </c:pt>
                <c:pt idx="1261">
                  <c:v>43403</c:v>
                </c:pt>
                <c:pt idx="1262">
                  <c:v>43404</c:v>
                </c:pt>
                <c:pt idx="1263">
                  <c:v>43405</c:v>
                </c:pt>
                <c:pt idx="1264">
                  <c:v>43406</c:v>
                </c:pt>
                <c:pt idx="1265">
                  <c:v>43409</c:v>
                </c:pt>
                <c:pt idx="1266">
                  <c:v>43410</c:v>
                </c:pt>
                <c:pt idx="1267">
                  <c:v>43411</c:v>
                </c:pt>
                <c:pt idx="1268">
                  <c:v>43412</c:v>
                </c:pt>
                <c:pt idx="1269">
                  <c:v>43413</c:v>
                </c:pt>
                <c:pt idx="1270">
                  <c:v>43416</c:v>
                </c:pt>
                <c:pt idx="1271">
                  <c:v>43417</c:v>
                </c:pt>
                <c:pt idx="1272">
                  <c:v>43418</c:v>
                </c:pt>
                <c:pt idx="1273">
                  <c:v>43419</c:v>
                </c:pt>
                <c:pt idx="1274">
                  <c:v>43420</c:v>
                </c:pt>
                <c:pt idx="1275">
                  <c:v>43423</c:v>
                </c:pt>
                <c:pt idx="1276">
                  <c:v>43424</c:v>
                </c:pt>
                <c:pt idx="1277">
                  <c:v>43425</c:v>
                </c:pt>
                <c:pt idx="1278">
                  <c:v>43426</c:v>
                </c:pt>
                <c:pt idx="1279">
                  <c:v>43427</c:v>
                </c:pt>
                <c:pt idx="1280">
                  <c:v>43430</c:v>
                </c:pt>
                <c:pt idx="1281">
                  <c:v>43431</c:v>
                </c:pt>
                <c:pt idx="1282">
                  <c:v>43432</c:v>
                </c:pt>
                <c:pt idx="1283">
                  <c:v>43433</c:v>
                </c:pt>
                <c:pt idx="1284">
                  <c:v>43434</c:v>
                </c:pt>
                <c:pt idx="1285">
                  <c:v>43437</c:v>
                </c:pt>
                <c:pt idx="1286">
                  <c:v>43438</c:v>
                </c:pt>
                <c:pt idx="1287">
                  <c:v>43439</c:v>
                </c:pt>
                <c:pt idx="1288">
                  <c:v>43440</c:v>
                </c:pt>
                <c:pt idx="1289">
                  <c:v>43441</c:v>
                </c:pt>
                <c:pt idx="1290">
                  <c:v>43444</c:v>
                </c:pt>
                <c:pt idx="1291">
                  <c:v>43445</c:v>
                </c:pt>
                <c:pt idx="1292">
                  <c:v>43446</c:v>
                </c:pt>
                <c:pt idx="1293">
                  <c:v>43447</c:v>
                </c:pt>
                <c:pt idx="1294">
                  <c:v>43448</c:v>
                </c:pt>
                <c:pt idx="1295">
                  <c:v>43451</c:v>
                </c:pt>
                <c:pt idx="1296">
                  <c:v>43452</c:v>
                </c:pt>
                <c:pt idx="1297">
                  <c:v>43453</c:v>
                </c:pt>
                <c:pt idx="1298">
                  <c:v>43454</c:v>
                </c:pt>
                <c:pt idx="1299">
                  <c:v>43455</c:v>
                </c:pt>
                <c:pt idx="1300">
                  <c:v>43460</c:v>
                </c:pt>
                <c:pt idx="1301">
                  <c:v>43461</c:v>
                </c:pt>
                <c:pt idx="1302">
                  <c:v>43462</c:v>
                </c:pt>
                <c:pt idx="1303">
                  <c:v>43467</c:v>
                </c:pt>
                <c:pt idx="1304">
                  <c:v>43468</c:v>
                </c:pt>
                <c:pt idx="1305">
                  <c:v>43469</c:v>
                </c:pt>
                <c:pt idx="1306">
                  <c:v>43472</c:v>
                </c:pt>
                <c:pt idx="1307">
                  <c:v>43473</c:v>
                </c:pt>
                <c:pt idx="1308">
                  <c:v>43474</c:v>
                </c:pt>
                <c:pt idx="1309">
                  <c:v>43475</c:v>
                </c:pt>
                <c:pt idx="1310">
                  <c:v>43476</c:v>
                </c:pt>
                <c:pt idx="1311">
                  <c:v>43479</c:v>
                </c:pt>
                <c:pt idx="1312">
                  <c:v>43480</c:v>
                </c:pt>
                <c:pt idx="1313">
                  <c:v>43481</c:v>
                </c:pt>
                <c:pt idx="1314">
                  <c:v>43482</c:v>
                </c:pt>
                <c:pt idx="1315">
                  <c:v>43483</c:v>
                </c:pt>
                <c:pt idx="1316">
                  <c:v>43486</c:v>
                </c:pt>
                <c:pt idx="1317">
                  <c:v>43487</c:v>
                </c:pt>
                <c:pt idx="1318">
                  <c:v>43488</c:v>
                </c:pt>
                <c:pt idx="1319">
                  <c:v>43489</c:v>
                </c:pt>
                <c:pt idx="1320">
                  <c:v>43490</c:v>
                </c:pt>
                <c:pt idx="1321">
                  <c:v>43493</c:v>
                </c:pt>
                <c:pt idx="1322">
                  <c:v>43494</c:v>
                </c:pt>
                <c:pt idx="1323">
                  <c:v>43495</c:v>
                </c:pt>
                <c:pt idx="1324">
                  <c:v>43496</c:v>
                </c:pt>
                <c:pt idx="1325">
                  <c:v>43497</c:v>
                </c:pt>
                <c:pt idx="1326">
                  <c:v>43500</c:v>
                </c:pt>
                <c:pt idx="1327">
                  <c:v>43501</c:v>
                </c:pt>
                <c:pt idx="1328">
                  <c:v>43502</c:v>
                </c:pt>
                <c:pt idx="1329">
                  <c:v>43503</c:v>
                </c:pt>
                <c:pt idx="1330">
                  <c:v>43504</c:v>
                </c:pt>
                <c:pt idx="1331">
                  <c:v>43507</c:v>
                </c:pt>
                <c:pt idx="1332">
                  <c:v>43508</c:v>
                </c:pt>
                <c:pt idx="1333">
                  <c:v>43509</c:v>
                </c:pt>
                <c:pt idx="1334">
                  <c:v>43510</c:v>
                </c:pt>
                <c:pt idx="1335">
                  <c:v>43511</c:v>
                </c:pt>
                <c:pt idx="1336">
                  <c:v>43514</c:v>
                </c:pt>
                <c:pt idx="1337">
                  <c:v>43515</c:v>
                </c:pt>
                <c:pt idx="1338">
                  <c:v>43516</c:v>
                </c:pt>
                <c:pt idx="1339">
                  <c:v>43517</c:v>
                </c:pt>
                <c:pt idx="1340">
                  <c:v>43518</c:v>
                </c:pt>
                <c:pt idx="1341">
                  <c:v>43521</c:v>
                </c:pt>
                <c:pt idx="1342">
                  <c:v>43522</c:v>
                </c:pt>
                <c:pt idx="1343">
                  <c:v>43523</c:v>
                </c:pt>
                <c:pt idx="1344">
                  <c:v>43524</c:v>
                </c:pt>
                <c:pt idx="1345">
                  <c:v>43525</c:v>
                </c:pt>
                <c:pt idx="1346">
                  <c:v>43528</c:v>
                </c:pt>
                <c:pt idx="1347">
                  <c:v>43529</c:v>
                </c:pt>
                <c:pt idx="1348">
                  <c:v>43530</c:v>
                </c:pt>
                <c:pt idx="1349">
                  <c:v>43531</c:v>
                </c:pt>
                <c:pt idx="1350">
                  <c:v>43532</c:v>
                </c:pt>
                <c:pt idx="1351">
                  <c:v>43535</c:v>
                </c:pt>
                <c:pt idx="1352">
                  <c:v>43536</c:v>
                </c:pt>
                <c:pt idx="1353">
                  <c:v>43537</c:v>
                </c:pt>
                <c:pt idx="1354">
                  <c:v>43538</c:v>
                </c:pt>
                <c:pt idx="1355">
                  <c:v>43539</c:v>
                </c:pt>
                <c:pt idx="1356">
                  <c:v>43542</c:v>
                </c:pt>
                <c:pt idx="1357">
                  <c:v>43543</c:v>
                </c:pt>
                <c:pt idx="1358">
                  <c:v>43544</c:v>
                </c:pt>
                <c:pt idx="1359">
                  <c:v>43545</c:v>
                </c:pt>
                <c:pt idx="1360">
                  <c:v>43546</c:v>
                </c:pt>
                <c:pt idx="1361">
                  <c:v>43549</c:v>
                </c:pt>
                <c:pt idx="1362">
                  <c:v>43550</c:v>
                </c:pt>
                <c:pt idx="1363">
                  <c:v>43551</c:v>
                </c:pt>
                <c:pt idx="1364">
                  <c:v>43552</c:v>
                </c:pt>
                <c:pt idx="1365">
                  <c:v>43553</c:v>
                </c:pt>
                <c:pt idx="1366">
                  <c:v>43556</c:v>
                </c:pt>
                <c:pt idx="1367">
                  <c:v>43557</c:v>
                </c:pt>
                <c:pt idx="1368">
                  <c:v>43558</c:v>
                </c:pt>
                <c:pt idx="1369">
                  <c:v>43559</c:v>
                </c:pt>
                <c:pt idx="1370">
                  <c:v>43560</c:v>
                </c:pt>
                <c:pt idx="1371">
                  <c:v>43563</c:v>
                </c:pt>
                <c:pt idx="1372">
                  <c:v>43564</c:v>
                </c:pt>
                <c:pt idx="1373">
                  <c:v>43565</c:v>
                </c:pt>
                <c:pt idx="1374">
                  <c:v>43566</c:v>
                </c:pt>
                <c:pt idx="1375">
                  <c:v>43567</c:v>
                </c:pt>
                <c:pt idx="1376">
                  <c:v>43570</c:v>
                </c:pt>
                <c:pt idx="1377">
                  <c:v>43571</c:v>
                </c:pt>
                <c:pt idx="1378">
                  <c:v>43572</c:v>
                </c:pt>
                <c:pt idx="1379">
                  <c:v>43573</c:v>
                </c:pt>
                <c:pt idx="1380">
                  <c:v>43577</c:v>
                </c:pt>
                <c:pt idx="1381">
                  <c:v>43578</c:v>
                </c:pt>
                <c:pt idx="1382">
                  <c:v>43579</c:v>
                </c:pt>
                <c:pt idx="1383">
                  <c:v>43580</c:v>
                </c:pt>
                <c:pt idx="1384">
                  <c:v>43581</c:v>
                </c:pt>
                <c:pt idx="1385">
                  <c:v>43584</c:v>
                </c:pt>
                <c:pt idx="1386">
                  <c:v>43585</c:v>
                </c:pt>
                <c:pt idx="1387">
                  <c:v>43586</c:v>
                </c:pt>
                <c:pt idx="1388">
                  <c:v>43587</c:v>
                </c:pt>
                <c:pt idx="1389">
                  <c:v>43588</c:v>
                </c:pt>
                <c:pt idx="1390">
                  <c:v>43591</c:v>
                </c:pt>
                <c:pt idx="1391">
                  <c:v>43592</c:v>
                </c:pt>
                <c:pt idx="1392">
                  <c:v>43593</c:v>
                </c:pt>
                <c:pt idx="1393">
                  <c:v>43594</c:v>
                </c:pt>
                <c:pt idx="1394">
                  <c:v>43595</c:v>
                </c:pt>
                <c:pt idx="1395">
                  <c:v>43598</c:v>
                </c:pt>
                <c:pt idx="1396">
                  <c:v>43599</c:v>
                </c:pt>
                <c:pt idx="1397">
                  <c:v>43600</c:v>
                </c:pt>
                <c:pt idx="1398">
                  <c:v>43601</c:v>
                </c:pt>
                <c:pt idx="1399">
                  <c:v>43602</c:v>
                </c:pt>
                <c:pt idx="1400">
                  <c:v>43605</c:v>
                </c:pt>
                <c:pt idx="1401">
                  <c:v>43606</c:v>
                </c:pt>
                <c:pt idx="1402">
                  <c:v>43607</c:v>
                </c:pt>
                <c:pt idx="1403">
                  <c:v>43608</c:v>
                </c:pt>
                <c:pt idx="1404">
                  <c:v>43609</c:v>
                </c:pt>
                <c:pt idx="1405">
                  <c:v>43613</c:v>
                </c:pt>
                <c:pt idx="1406">
                  <c:v>43614</c:v>
                </c:pt>
                <c:pt idx="1407">
                  <c:v>43615</c:v>
                </c:pt>
                <c:pt idx="1408">
                  <c:v>43616</c:v>
                </c:pt>
                <c:pt idx="1409">
                  <c:v>43619</c:v>
                </c:pt>
                <c:pt idx="1410">
                  <c:v>43620</c:v>
                </c:pt>
                <c:pt idx="1411">
                  <c:v>43621</c:v>
                </c:pt>
                <c:pt idx="1412">
                  <c:v>43622</c:v>
                </c:pt>
                <c:pt idx="1413">
                  <c:v>43623</c:v>
                </c:pt>
                <c:pt idx="1414">
                  <c:v>43626</c:v>
                </c:pt>
                <c:pt idx="1415">
                  <c:v>43627</c:v>
                </c:pt>
                <c:pt idx="1416">
                  <c:v>43628</c:v>
                </c:pt>
                <c:pt idx="1417">
                  <c:v>43629</c:v>
                </c:pt>
                <c:pt idx="1418">
                  <c:v>43630</c:v>
                </c:pt>
                <c:pt idx="1419">
                  <c:v>43633</c:v>
                </c:pt>
                <c:pt idx="1420">
                  <c:v>43634</c:v>
                </c:pt>
                <c:pt idx="1421">
                  <c:v>43635</c:v>
                </c:pt>
                <c:pt idx="1422">
                  <c:v>43636</c:v>
                </c:pt>
                <c:pt idx="1423">
                  <c:v>43637</c:v>
                </c:pt>
                <c:pt idx="1424">
                  <c:v>43640</c:v>
                </c:pt>
                <c:pt idx="1425">
                  <c:v>43641</c:v>
                </c:pt>
                <c:pt idx="1426">
                  <c:v>43642</c:v>
                </c:pt>
                <c:pt idx="1427">
                  <c:v>43643</c:v>
                </c:pt>
                <c:pt idx="1428">
                  <c:v>43644</c:v>
                </c:pt>
                <c:pt idx="1429">
                  <c:v>43647</c:v>
                </c:pt>
                <c:pt idx="1430">
                  <c:v>43648</c:v>
                </c:pt>
                <c:pt idx="1431">
                  <c:v>43649</c:v>
                </c:pt>
                <c:pt idx="1432">
                  <c:v>43650</c:v>
                </c:pt>
                <c:pt idx="1433">
                  <c:v>43651</c:v>
                </c:pt>
                <c:pt idx="1434">
                  <c:v>43654</c:v>
                </c:pt>
                <c:pt idx="1435">
                  <c:v>43655</c:v>
                </c:pt>
                <c:pt idx="1436">
                  <c:v>43656</c:v>
                </c:pt>
                <c:pt idx="1437">
                  <c:v>43657</c:v>
                </c:pt>
                <c:pt idx="1438">
                  <c:v>43658</c:v>
                </c:pt>
                <c:pt idx="1439">
                  <c:v>43661</c:v>
                </c:pt>
                <c:pt idx="1440">
                  <c:v>43662</c:v>
                </c:pt>
                <c:pt idx="1441">
                  <c:v>43663</c:v>
                </c:pt>
                <c:pt idx="1442">
                  <c:v>43664</c:v>
                </c:pt>
                <c:pt idx="1443">
                  <c:v>43665</c:v>
                </c:pt>
                <c:pt idx="1444">
                  <c:v>43668</c:v>
                </c:pt>
                <c:pt idx="1445">
                  <c:v>43669</c:v>
                </c:pt>
                <c:pt idx="1446">
                  <c:v>43670</c:v>
                </c:pt>
                <c:pt idx="1447">
                  <c:v>43671</c:v>
                </c:pt>
                <c:pt idx="1448">
                  <c:v>43672</c:v>
                </c:pt>
                <c:pt idx="1449">
                  <c:v>43675</c:v>
                </c:pt>
                <c:pt idx="1450">
                  <c:v>43676</c:v>
                </c:pt>
                <c:pt idx="1451">
                  <c:v>43677</c:v>
                </c:pt>
                <c:pt idx="1452">
                  <c:v>43678</c:v>
                </c:pt>
                <c:pt idx="1453">
                  <c:v>43679</c:v>
                </c:pt>
                <c:pt idx="1454">
                  <c:v>43682</c:v>
                </c:pt>
                <c:pt idx="1455">
                  <c:v>43683</c:v>
                </c:pt>
                <c:pt idx="1456">
                  <c:v>43684</c:v>
                </c:pt>
                <c:pt idx="1457">
                  <c:v>43685</c:v>
                </c:pt>
                <c:pt idx="1458">
                  <c:v>43686</c:v>
                </c:pt>
                <c:pt idx="1459">
                  <c:v>43689</c:v>
                </c:pt>
                <c:pt idx="1460">
                  <c:v>43690</c:v>
                </c:pt>
                <c:pt idx="1461">
                  <c:v>43691</c:v>
                </c:pt>
                <c:pt idx="1462">
                  <c:v>43692</c:v>
                </c:pt>
                <c:pt idx="1463">
                  <c:v>43693</c:v>
                </c:pt>
                <c:pt idx="1464">
                  <c:v>43696</c:v>
                </c:pt>
                <c:pt idx="1465">
                  <c:v>43697</c:v>
                </c:pt>
                <c:pt idx="1466">
                  <c:v>43698</c:v>
                </c:pt>
                <c:pt idx="1467">
                  <c:v>43699</c:v>
                </c:pt>
                <c:pt idx="1468">
                  <c:v>43700</c:v>
                </c:pt>
                <c:pt idx="1469">
                  <c:v>43703</c:v>
                </c:pt>
                <c:pt idx="1470">
                  <c:v>43704</c:v>
                </c:pt>
                <c:pt idx="1471">
                  <c:v>43705</c:v>
                </c:pt>
                <c:pt idx="1472">
                  <c:v>43706</c:v>
                </c:pt>
                <c:pt idx="1473">
                  <c:v>43707</c:v>
                </c:pt>
                <c:pt idx="1474">
                  <c:v>43710</c:v>
                </c:pt>
                <c:pt idx="1475">
                  <c:v>43711</c:v>
                </c:pt>
                <c:pt idx="1476">
                  <c:v>43712</c:v>
                </c:pt>
                <c:pt idx="1477">
                  <c:v>43713</c:v>
                </c:pt>
                <c:pt idx="1478">
                  <c:v>43714</c:v>
                </c:pt>
                <c:pt idx="1479">
                  <c:v>43717</c:v>
                </c:pt>
                <c:pt idx="1480">
                  <c:v>43718</c:v>
                </c:pt>
                <c:pt idx="1481">
                  <c:v>43719</c:v>
                </c:pt>
                <c:pt idx="1482">
                  <c:v>43720</c:v>
                </c:pt>
                <c:pt idx="1483">
                  <c:v>43721</c:v>
                </c:pt>
                <c:pt idx="1484">
                  <c:v>43724</c:v>
                </c:pt>
                <c:pt idx="1485">
                  <c:v>43725</c:v>
                </c:pt>
                <c:pt idx="1486">
                  <c:v>43726</c:v>
                </c:pt>
                <c:pt idx="1487">
                  <c:v>43727</c:v>
                </c:pt>
                <c:pt idx="1488">
                  <c:v>43728</c:v>
                </c:pt>
                <c:pt idx="1489">
                  <c:v>43731</c:v>
                </c:pt>
                <c:pt idx="1490">
                  <c:v>43732</c:v>
                </c:pt>
                <c:pt idx="1491">
                  <c:v>43733</c:v>
                </c:pt>
                <c:pt idx="1492">
                  <c:v>43734</c:v>
                </c:pt>
                <c:pt idx="1493">
                  <c:v>43735</c:v>
                </c:pt>
                <c:pt idx="1494">
                  <c:v>43738</c:v>
                </c:pt>
                <c:pt idx="1495">
                  <c:v>43739</c:v>
                </c:pt>
                <c:pt idx="1496">
                  <c:v>43740</c:v>
                </c:pt>
                <c:pt idx="1497">
                  <c:v>43741</c:v>
                </c:pt>
                <c:pt idx="1498">
                  <c:v>43742</c:v>
                </c:pt>
                <c:pt idx="1499">
                  <c:v>43745</c:v>
                </c:pt>
                <c:pt idx="1500">
                  <c:v>43746</c:v>
                </c:pt>
                <c:pt idx="1501">
                  <c:v>43747</c:v>
                </c:pt>
                <c:pt idx="1502">
                  <c:v>43748</c:v>
                </c:pt>
                <c:pt idx="1503">
                  <c:v>43749</c:v>
                </c:pt>
                <c:pt idx="1504">
                  <c:v>43752</c:v>
                </c:pt>
                <c:pt idx="1505">
                  <c:v>43753</c:v>
                </c:pt>
                <c:pt idx="1506">
                  <c:v>43754</c:v>
                </c:pt>
                <c:pt idx="1507">
                  <c:v>43755</c:v>
                </c:pt>
                <c:pt idx="1508">
                  <c:v>43756</c:v>
                </c:pt>
                <c:pt idx="1509">
                  <c:v>43759</c:v>
                </c:pt>
                <c:pt idx="1510">
                  <c:v>43760</c:v>
                </c:pt>
                <c:pt idx="1511">
                  <c:v>43761</c:v>
                </c:pt>
                <c:pt idx="1512">
                  <c:v>43762</c:v>
                </c:pt>
                <c:pt idx="1513">
                  <c:v>43763</c:v>
                </c:pt>
                <c:pt idx="1514">
                  <c:v>43766</c:v>
                </c:pt>
                <c:pt idx="1515">
                  <c:v>43767</c:v>
                </c:pt>
                <c:pt idx="1516">
                  <c:v>43768</c:v>
                </c:pt>
                <c:pt idx="1517">
                  <c:v>43769</c:v>
                </c:pt>
                <c:pt idx="1518">
                  <c:v>43770</c:v>
                </c:pt>
                <c:pt idx="1519">
                  <c:v>43773</c:v>
                </c:pt>
                <c:pt idx="1520">
                  <c:v>43774</c:v>
                </c:pt>
                <c:pt idx="1521">
                  <c:v>43775</c:v>
                </c:pt>
                <c:pt idx="1522">
                  <c:v>43776</c:v>
                </c:pt>
                <c:pt idx="1523">
                  <c:v>43777</c:v>
                </c:pt>
                <c:pt idx="1524">
                  <c:v>43780</c:v>
                </c:pt>
                <c:pt idx="1525">
                  <c:v>43781</c:v>
                </c:pt>
                <c:pt idx="1526">
                  <c:v>43782</c:v>
                </c:pt>
                <c:pt idx="1527">
                  <c:v>43783</c:v>
                </c:pt>
                <c:pt idx="1528">
                  <c:v>43784</c:v>
                </c:pt>
                <c:pt idx="1529">
                  <c:v>43787</c:v>
                </c:pt>
                <c:pt idx="1530">
                  <c:v>43788</c:v>
                </c:pt>
                <c:pt idx="1531">
                  <c:v>43789</c:v>
                </c:pt>
                <c:pt idx="1532">
                  <c:v>43790</c:v>
                </c:pt>
                <c:pt idx="1533">
                  <c:v>43791</c:v>
                </c:pt>
                <c:pt idx="1534">
                  <c:v>43794</c:v>
                </c:pt>
                <c:pt idx="1535">
                  <c:v>43795</c:v>
                </c:pt>
                <c:pt idx="1536">
                  <c:v>43796</c:v>
                </c:pt>
                <c:pt idx="1537">
                  <c:v>43797</c:v>
                </c:pt>
                <c:pt idx="1538">
                  <c:v>43798</c:v>
                </c:pt>
                <c:pt idx="1539">
                  <c:v>43801</c:v>
                </c:pt>
                <c:pt idx="1540">
                  <c:v>43802</c:v>
                </c:pt>
                <c:pt idx="1541">
                  <c:v>43803</c:v>
                </c:pt>
                <c:pt idx="1542">
                  <c:v>43804</c:v>
                </c:pt>
                <c:pt idx="1543">
                  <c:v>43805</c:v>
                </c:pt>
                <c:pt idx="1544">
                  <c:v>43808</c:v>
                </c:pt>
                <c:pt idx="1545">
                  <c:v>43809</c:v>
                </c:pt>
                <c:pt idx="1546">
                  <c:v>43810</c:v>
                </c:pt>
                <c:pt idx="1547">
                  <c:v>43811</c:v>
                </c:pt>
                <c:pt idx="1548">
                  <c:v>43812</c:v>
                </c:pt>
                <c:pt idx="1549">
                  <c:v>43815</c:v>
                </c:pt>
                <c:pt idx="1550">
                  <c:v>43816</c:v>
                </c:pt>
                <c:pt idx="1551">
                  <c:v>43817</c:v>
                </c:pt>
                <c:pt idx="1552">
                  <c:v>43818</c:v>
                </c:pt>
                <c:pt idx="1553">
                  <c:v>43819</c:v>
                </c:pt>
                <c:pt idx="1554">
                  <c:v>43822</c:v>
                </c:pt>
                <c:pt idx="1555">
                  <c:v>43823</c:v>
                </c:pt>
                <c:pt idx="1556">
                  <c:v>43825</c:v>
                </c:pt>
                <c:pt idx="1557">
                  <c:v>43826</c:v>
                </c:pt>
                <c:pt idx="1558">
                  <c:v>43829</c:v>
                </c:pt>
                <c:pt idx="1559">
                  <c:v>43830</c:v>
                </c:pt>
                <c:pt idx="1560">
                  <c:v>43832</c:v>
                </c:pt>
                <c:pt idx="1561">
                  <c:v>43833</c:v>
                </c:pt>
                <c:pt idx="1562">
                  <c:v>43836</c:v>
                </c:pt>
                <c:pt idx="1563">
                  <c:v>43837</c:v>
                </c:pt>
                <c:pt idx="1564">
                  <c:v>43838</c:v>
                </c:pt>
                <c:pt idx="1565">
                  <c:v>43839</c:v>
                </c:pt>
                <c:pt idx="1566">
                  <c:v>43840</c:v>
                </c:pt>
                <c:pt idx="1567">
                  <c:v>43843</c:v>
                </c:pt>
                <c:pt idx="1568">
                  <c:v>43844</c:v>
                </c:pt>
                <c:pt idx="1569">
                  <c:v>43845</c:v>
                </c:pt>
                <c:pt idx="1570">
                  <c:v>43846</c:v>
                </c:pt>
                <c:pt idx="1571">
                  <c:v>43847</c:v>
                </c:pt>
                <c:pt idx="1572">
                  <c:v>43850</c:v>
                </c:pt>
                <c:pt idx="1573">
                  <c:v>43851</c:v>
                </c:pt>
                <c:pt idx="1574">
                  <c:v>43852</c:v>
                </c:pt>
                <c:pt idx="1575">
                  <c:v>43853</c:v>
                </c:pt>
                <c:pt idx="1576">
                  <c:v>43854</c:v>
                </c:pt>
                <c:pt idx="1577">
                  <c:v>43857</c:v>
                </c:pt>
                <c:pt idx="1578">
                  <c:v>43858</c:v>
                </c:pt>
                <c:pt idx="1579">
                  <c:v>43859</c:v>
                </c:pt>
                <c:pt idx="1580">
                  <c:v>43860</c:v>
                </c:pt>
                <c:pt idx="1581">
                  <c:v>43861</c:v>
                </c:pt>
                <c:pt idx="1582">
                  <c:v>43864</c:v>
                </c:pt>
                <c:pt idx="1583">
                  <c:v>43865</c:v>
                </c:pt>
                <c:pt idx="1584">
                  <c:v>43866</c:v>
                </c:pt>
                <c:pt idx="1585">
                  <c:v>43867</c:v>
                </c:pt>
                <c:pt idx="1586">
                  <c:v>43868</c:v>
                </c:pt>
                <c:pt idx="1587">
                  <c:v>43871</c:v>
                </c:pt>
                <c:pt idx="1588">
                  <c:v>43872</c:v>
                </c:pt>
                <c:pt idx="1589">
                  <c:v>43873</c:v>
                </c:pt>
                <c:pt idx="1590">
                  <c:v>43874</c:v>
                </c:pt>
                <c:pt idx="1591">
                  <c:v>43875</c:v>
                </c:pt>
                <c:pt idx="1592">
                  <c:v>43878</c:v>
                </c:pt>
                <c:pt idx="1593">
                  <c:v>43879</c:v>
                </c:pt>
                <c:pt idx="1594">
                  <c:v>43880</c:v>
                </c:pt>
                <c:pt idx="1595">
                  <c:v>43881</c:v>
                </c:pt>
                <c:pt idx="1596">
                  <c:v>43882</c:v>
                </c:pt>
                <c:pt idx="1597">
                  <c:v>43885</c:v>
                </c:pt>
                <c:pt idx="1598">
                  <c:v>43886</c:v>
                </c:pt>
                <c:pt idx="1599">
                  <c:v>43887</c:v>
                </c:pt>
                <c:pt idx="1600">
                  <c:v>43888</c:v>
                </c:pt>
                <c:pt idx="1601">
                  <c:v>43889</c:v>
                </c:pt>
                <c:pt idx="1602">
                  <c:v>43892</c:v>
                </c:pt>
                <c:pt idx="1603">
                  <c:v>43893</c:v>
                </c:pt>
                <c:pt idx="1604">
                  <c:v>43894</c:v>
                </c:pt>
                <c:pt idx="1605">
                  <c:v>43895</c:v>
                </c:pt>
                <c:pt idx="1606">
                  <c:v>43896</c:v>
                </c:pt>
                <c:pt idx="1607">
                  <c:v>43899</c:v>
                </c:pt>
                <c:pt idx="1608">
                  <c:v>43900</c:v>
                </c:pt>
                <c:pt idx="1609">
                  <c:v>43901</c:v>
                </c:pt>
                <c:pt idx="1610">
                  <c:v>43902</c:v>
                </c:pt>
                <c:pt idx="1611">
                  <c:v>43903</c:v>
                </c:pt>
                <c:pt idx="1612">
                  <c:v>43906</c:v>
                </c:pt>
                <c:pt idx="1613">
                  <c:v>43907</c:v>
                </c:pt>
                <c:pt idx="1614">
                  <c:v>43908</c:v>
                </c:pt>
                <c:pt idx="1615">
                  <c:v>43909</c:v>
                </c:pt>
                <c:pt idx="1616">
                  <c:v>43910</c:v>
                </c:pt>
                <c:pt idx="1617">
                  <c:v>43913</c:v>
                </c:pt>
                <c:pt idx="1618">
                  <c:v>43914</c:v>
                </c:pt>
                <c:pt idx="1619">
                  <c:v>43915</c:v>
                </c:pt>
                <c:pt idx="1620">
                  <c:v>43916</c:v>
                </c:pt>
                <c:pt idx="1621">
                  <c:v>43917</c:v>
                </c:pt>
                <c:pt idx="1622">
                  <c:v>43920</c:v>
                </c:pt>
                <c:pt idx="1623">
                  <c:v>43921</c:v>
                </c:pt>
                <c:pt idx="1624">
                  <c:v>43922</c:v>
                </c:pt>
                <c:pt idx="1625">
                  <c:v>43923</c:v>
                </c:pt>
                <c:pt idx="1626">
                  <c:v>43924</c:v>
                </c:pt>
                <c:pt idx="1627">
                  <c:v>43927</c:v>
                </c:pt>
                <c:pt idx="1628">
                  <c:v>43928</c:v>
                </c:pt>
                <c:pt idx="1629">
                  <c:v>43929</c:v>
                </c:pt>
                <c:pt idx="1630">
                  <c:v>43930</c:v>
                </c:pt>
                <c:pt idx="1631">
                  <c:v>43934</c:v>
                </c:pt>
                <c:pt idx="1632">
                  <c:v>43935</c:v>
                </c:pt>
                <c:pt idx="1633">
                  <c:v>43936</c:v>
                </c:pt>
                <c:pt idx="1634">
                  <c:v>43937</c:v>
                </c:pt>
                <c:pt idx="1635">
                  <c:v>43938</c:v>
                </c:pt>
                <c:pt idx="1636">
                  <c:v>43941</c:v>
                </c:pt>
                <c:pt idx="1637">
                  <c:v>43942</c:v>
                </c:pt>
                <c:pt idx="1638">
                  <c:v>43943</c:v>
                </c:pt>
                <c:pt idx="1639">
                  <c:v>43944</c:v>
                </c:pt>
                <c:pt idx="1640">
                  <c:v>43945</c:v>
                </c:pt>
                <c:pt idx="1641">
                  <c:v>43948</c:v>
                </c:pt>
                <c:pt idx="1642">
                  <c:v>43949</c:v>
                </c:pt>
                <c:pt idx="1643">
                  <c:v>43950</c:v>
                </c:pt>
                <c:pt idx="1644">
                  <c:v>43951</c:v>
                </c:pt>
                <c:pt idx="1645">
                  <c:v>43952</c:v>
                </c:pt>
                <c:pt idx="1646">
                  <c:v>43955</c:v>
                </c:pt>
                <c:pt idx="1647">
                  <c:v>43956</c:v>
                </c:pt>
                <c:pt idx="1648">
                  <c:v>43957</c:v>
                </c:pt>
                <c:pt idx="1649">
                  <c:v>43958</c:v>
                </c:pt>
                <c:pt idx="1650">
                  <c:v>43959</c:v>
                </c:pt>
                <c:pt idx="1651">
                  <c:v>43962</c:v>
                </c:pt>
                <c:pt idx="1652">
                  <c:v>43963</c:v>
                </c:pt>
                <c:pt idx="1653">
                  <c:v>43964</c:v>
                </c:pt>
                <c:pt idx="1654">
                  <c:v>43965</c:v>
                </c:pt>
                <c:pt idx="1655">
                  <c:v>43966</c:v>
                </c:pt>
                <c:pt idx="1656">
                  <c:v>43969</c:v>
                </c:pt>
                <c:pt idx="1657">
                  <c:v>43970</c:v>
                </c:pt>
                <c:pt idx="1658">
                  <c:v>43971</c:v>
                </c:pt>
                <c:pt idx="1659">
                  <c:v>43972</c:v>
                </c:pt>
                <c:pt idx="1660">
                  <c:v>43973</c:v>
                </c:pt>
                <c:pt idx="1661">
                  <c:v>43977</c:v>
                </c:pt>
                <c:pt idx="1662">
                  <c:v>43978</c:v>
                </c:pt>
                <c:pt idx="1663">
                  <c:v>43979</c:v>
                </c:pt>
                <c:pt idx="1664">
                  <c:v>43980</c:v>
                </c:pt>
                <c:pt idx="1665">
                  <c:v>43983</c:v>
                </c:pt>
                <c:pt idx="1666">
                  <c:v>43984</c:v>
                </c:pt>
                <c:pt idx="1667">
                  <c:v>43985</c:v>
                </c:pt>
                <c:pt idx="1668">
                  <c:v>43986</c:v>
                </c:pt>
                <c:pt idx="1669">
                  <c:v>43987</c:v>
                </c:pt>
                <c:pt idx="1670">
                  <c:v>43990</c:v>
                </c:pt>
                <c:pt idx="1671">
                  <c:v>43991</c:v>
                </c:pt>
                <c:pt idx="1672">
                  <c:v>43992</c:v>
                </c:pt>
                <c:pt idx="1673">
                  <c:v>43993</c:v>
                </c:pt>
                <c:pt idx="1674">
                  <c:v>43994</c:v>
                </c:pt>
                <c:pt idx="1675">
                  <c:v>43997</c:v>
                </c:pt>
                <c:pt idx="1676">
                  <c:v>43998</c:v>
                </c:pt>
                <c:pt idx="1677">
                  <c:v>43999</c:v>
                </c:pt>
                <c:pt idx="1678">
                  <c:v>44000</c:v>
                </c:pt>
                <c:pt idx="1679">
                  <c:v>44001</c:v>
                </c:pt>
                <c:pt idx="1680">
                  <c:v>44004</c:v>
                </c:pt>
                <c:pt idx="1681">
                  <c:v>44005</c:v>
                </c:pt>
                <c:pt idx="1682">
                  <c:v>44006</c:v>
                </c:pt>
                <c:pt idx="1683">
                  <c:v>44007</c:v>
                </c:pt>
                <c:pt idx="1684">
                  <c:v>44008</c:v>
                </c:pt>
                <c:pt idx="1685">
                  <c:v>44011</c:v>
                </c:pt>
                <c:pt idx="1686">
                  <c:v>44012</c:v>
                </c:pt>
                <c:pt idx="1687">
                  <c:v>44013</c:v>
                </c:pt>
                <c:pt idx="1688">
                  <c:v>44014</c:v>
                </c:pt>
                <c:pt idx="1689">
                  <c:v>44015</c:v>
                </c:pt>
                <c:pt idx="1690">
                  <c:v>44018</c:v>
                </c:pt>
                <c:pt idx="1691">
                  <c:v>44019</c:v>
                </c:pt>
                <c:pt idx="1692">
                  <c:v>44020</c:v>
                </c:pt>
                <c:pt idx="1693">
                  <c:v>44021</c:v>
                </c:pt>
                <c:pt idx="1694">
                  <c:v>44022</c:v>
                </c:pt>
                <c:pt idx="1695">
                  <c:v>44025</c:v>
                </c:pt>
                <c:pt idx="1696">
                  <c:v>44026</c:v>
                </c:pt>
                <c:pt idx="1697">
                  <c:v>44027</c:v>
                </c:pt>
                <c:pt idx="1698">
                  <c:v>44028</c:v>
                </c:pt>
                <c:pt idx="1699">
                  <c:v>44029</c:v>
                </c:pt>
                <c:pt idx="1700">
                  <c:v>44032</c:v>
                </c:pt>
                <c:pt idx="1701">
                  <c:v>44033</c:v>
                </c:pt>
                <c:pt idx="1702">
                  <c:v>44034</c:v>
                </c:pt>
                <c:pt idx="1703">
                  <c:v>44035</c:v>
                </c:pt>
                <c:pt idx="1704">
                  <c:v>44036</c:v>
                </c:pt>
                <c:pt idx="1705">
                  <c:v>44039</c:v>
                </c:pt>
                <c:pt idx="1706">
                  <c:v>44040</c:v>
                </c:pt>
                <c:pt idx="1707">
                  <c:v>44041</c:v>
                </c:pt>
                <c:pt idx="1708">
                  <c:v>44042</c:v>
                </c:pt>
                <c:pt idx="1709">
                  <c:v>44043</c:v>
                </c:pt>
                <c:pt idx="1710">
                  <c:v>44046</c:v>
                </c:pt>
                <c:pt idx="1711">
                  <c:v>44047</c:v>
                </c:pt>
                <c:pt idx="1712">
                  <c:v>44048</c:v>
                </c:pt>
                <c:pt idx="1713">
                  <c:v>44049</c:v>
                </c:pt>
                <c:pt idx="1714">
                  <c:v>44050</c:v>
                </c:pt>
                <c:pt idx="1715">
                  <c:v>44053</c:v>
                </c:pt>
                <c:pt idx="1716">
                  <c:v>44054</c:v>
                </c:pt>
                <c:pt idx="1717">
                  <c:v>44055</c:v>
                </c:pt>
                <c:pt idx="1718">
                  <c:v>44056</c:v>
                </c:pt>
                <c:pt idx="1719">
                  <c:v>44057</c:v>
                </c:pt>
                <c:pt idx="1720">
                  <c:v>44060</c:v>
                </c:pt>
                <c:pt idx="1721">
                  <c:v>44061</c:v>
                </c:pt>
                <c:pt idx="1722">
                  <c:v>44062</c:v>
                </c:pt>
                <c:pt idx="1723">
                  <c:v>44063</c:v>
                </c:pt>
                <c:pt idx="1724">
                  <c:v>44064</c:v>
                </c:pt>
                <c:pt idx="1725">
                  <c:v>44067</c:v>
                </c:pt>
                <c:pt idx="1726">
                  <c:v>44068</c:v>
                </c:pt>
                <c:pt idx="1727">
                  <c:v>44069</c:v>
                </c:pt>
                <c:pt idx="1728">
                  <c:v>44070</c:v>
                </c:pt>
                <c:pt idx="1729">
                  <c:v>44071</c:v>
                </c:pt>
                <c:pt idx="1730">
                  <c:v>44074</c:v>
                </c:pt>
                <c:pt idx="1731">
                  <c:v>44075</c:v>
                </c:pt>
                <c:pt idx="1732">
                  <c:v>44076</c:v>
                </c:pt>
                <c:pt idx="1733">
                  <c:v>44077</c:v>
                </c:pt>
                <c:pt idx="1734">
                  <c:v>44078</c:v>
                </c:pt>
                <c:pt idx="1735">
                  <c:v>44081</c:v>
                </c:pt>
                <c:pt idx="1736">
                  <c:v>44082</c:v>
                </c:pt>
                <c:pt idx="1737">
                  <c:v>44083</c:v>
                </c:pt>
                <c:pt idx="1738">
                  <c:v>44084</c:v>
                </c:pt>
                <c:pt idx="1739">
                  <c:v>44085</c:v>
                </c:pt>
                <c:pt idx="1740">
                  <c:v>44088</c:v>
                </c:pt>
                <c:pt idx="1741">
                  <c:v>44089</c:v>
                </c:pt>
                <c:pt idx="1742">
                  <c:v>44090</c:v>
                </c:pt>
                <c:pt idx="1743">
                  <c:v>44091</c:v>
                </c:pt>
                <c:pt idx="1744">
                  <c:v>44092</c:v>
                </c:pt>
                <c:pt idx="1745">
                  <c:v>44095</c:v>
                </c:pt>
                <c:pt idx="1746">
                  <c:v>44096</c:v>
                </c:pt>
                <c:pt idx="1747">
                  <c:v>44097</c:v>
                </c:pt>
                <c:pt idx="1748">
                  <c:v>44098</c:v>
                </c:pt>
                <c:pt idx="1749">
                  <c:v>44099</c:v>
                </c:pt>
                <c:pt idx="1750">
                  <c:v>44102</c:v>
                </c:pt>
                <c:pt idx="1751">
                  <c:v>44103</c:v>
                </c:pt>
                <c:pt idx="1752">
                  <c:v>44104</c:v>
                </c:pt>
                <c:pt idx="1753">
                  <c:v>44105</c:v>
                </c:pt>
                <c:pt idx="1754">
                  <c:v>44106</c:v>
                </c:pt>
                <c:pt idx="1755">
                  <c:v>44109</c:v>
                </c:pt>
                <c:pt idx="1756">
                  <c:v>44110</c:v>
                </c:pt>
                <c:pt idx="1757">
                  <c:v>44111</c:v>
                </c:pt>
                <c:pt idx="1758">
                  <c:v>44112</c:v>
                </c:pt>
                <c:pt idx="1759">
                  <c:v>44113</c:v>
                </c:pt>
                <c:pt idx="1760">
                  <c:v>44116</c:v>
                </c:pt>
                <c:pt idx="1761">
                  <c:v>44117</c:v>
                </c:pt>
                <c:pt idx="1762">
                  <c:v>44118</c:v>
                </c:pt>
                <c:pt idx="1763">
                  <c:v>44119</c:v>
                </c:pt>
                <c:pt idx="1764">
                  <c:v>44120</c:v>
                </c:pt>
                <c:pt idx="1765">
                  <c:v>44123</c:v>
                </c:pt>
                <c:pt idx="1766">
                  <c:v>44124</c:v>
                </c:pt>
                <c:pt idx="1767">
                  <c:v>44125</c:v>
                </c:pt>
                <c:pt idx="1768">
                  <c:v>44126</c:v>
                </c:pt>
                <c:pt idx="1769">
                  <c:v>44127</c:v>
                </c:pt>
                <c:pt idx="1770">
                  <c:v>44130</c:v>
                </c:pt>
                <c:pt idx="1771">
                  <c:v>44131</c:v>
                </c:pt>
                <c:pt idx="1772">
                  <c:v>44132</c:v>
                </c:pt>
                <c:pt idx="1773">
                  <c:v>44133</c:v>
                </c:pt>
                <c:pt idx="1774">
                  <c:v>44134</c:v>
                </c:pt>
                <c:pt idx="1775">
                  <c:v>44137</c:v>
                </c:pt>
                <c:pt idx="1776">
                  <c:v>44138</c:v>
                </c:pt>
                <c:pt idx="1777">
                  <c:v>44139</c:v>
                </c:pt>
                <c:pt idx="1778">
                  <c:v>44140</c:v>
                </c:pt>
                <c:pt idx="1779">
                  <c:v>44141</c:v>
                </c:pt>
                <c:pt idx="1780">
                  <c:v>44144</c:v>
                </c:pt>
                <c:pt idx="1781">
                  <c:v>44145</c:v>
                </c:pt>
                <c:pt idx="1782">
                  <c:v>44146</c:v>
                </c:pt>
                <c:pt idx="1783">
                  <c:v>44147</c:v>
                </c:pt>
                <c:pt idx="1784">
                  <c:v>44148</c:v>
                </c:pt>
                <c:pt idx="1785">
                  <c:v>44151</c:v>
                </c:pt>
                <c:pt idx="1786">
                  <c:v>44152</c:v>
                </c:pt>
                <c:pt idx="1787">
                  <c:v>44153</c:v>
                </c:pt>
                <c:pt idx="1788">
                  <c:v>44154</c:v>
                </c:pt>
                <c:pt idx="1789">
                  <c:v>44155</c:v>
                </c:pt>
                <c:pt idx="1790">
                  <c:v>44158</c:v>
                </c:pt>
                <c:pt idx="1791">
                  <c:v>44159</c:v>
                </c:pt>
                <c:pt idx="1792">
                  <c:v>44160</c:v>
                </c:pt>
                <c:pt idx="1793">
                  <c:v>44161</c:v>
                </c:pt>
                <c:pt idx="1794">
                  <c:v>44162</c:v>
                </c:pt>
                <c:pt idx="1795">
                  <c:v>44165</c:v>
                </c:pt>
                <c:pt idx="1796">
                  <c:v>44166</c:v>
                </c:pt>
                <c:pt idx="1797">
                  <c:v>44167</c:v>
                </c:pt>
                <c:pt idx="1798">
                  <c:v>44168</c:v>
                </c:pt>
                <c:pt idx="1799">
                  <c:v>44169</c:v>
                </c:pt>
                <c:pt idx="1800">
                  <c:v>44172</c:v>
                </c:pt>
                <c:pt idx="1801">
                  <c:v>44173</c:v>
                </c:pt>
                <c:pt idx="1802">
                  <c:v>44174</c:v>
                </c:pt>
                <c:pt idx="1803">
                  <c:v>44175</c:v>
                </c:pt>
                <c:pt idx="1804">
                  <c:v>44176</c:v>
                </c:pt>
                <c:pt idx="1805">
                  <c:v>44179</c:v>
                </c:pt>
                <c:pt idx="1806">
                  <c:v>44180</c:v>
                </c:pt>
                <c:pt idx="1807">
                  <c:v>44181</c:v>
                </c:pt>
                <c:pt idx="1808">
                  <c:v>44182</c:v>
                </c:pt>
                <c:pt idx="1809">
                  <c:v>44183</c:v>
                </c:pt>
                <c:pt idx="1810">
                  <c:v>44186</c:v>
                </c:pt>
                <c:pt idx="1811">
                  <c:v>44187</c:v>
                </c:pt>
                <c:pt idx="1812">
                  <c:v>44188</c:v>
                </c:pt>
                <c:pt idx="1813">
                  <c:v>44189</c:v>
                </c:pt>
                <c:pt idx="1814">
                  <c:v>44193</c:v>
                </c:pt>
                <c:pt idx="1815">
                  <c:v>44194</c:v>
                </c:pt>
                <c:pt idx="1816">
                  <c:v>44195</c:v>
                </c:pt>
                <c:pt idx="1817">
                  <c:v>44196</c:v>
                </c:pt>
                <c:pt idx="1818">
                  <c:v>44200</c:v>
                </c:pt>
                <c:pt idx="1819">
                  <c:v>44201</c:v>
                </c:pt>
                <c:pt idx="1820">
                  <c:v>44202</c:v>
                </c:pt>
                <c:pt idx="1821">
                  <c:v>44203</c:v>
                </c:pt>
                <c:pt idx="1822">
                  <c:v>44204</c:v>
                </c:pt>
                <c:pt idx="1823">
                  <c:v>44207</c:v>
                </c:pt>
                <c:pt idx="1824">
                  <c:v>44208</c:v>
                </c:pt>
                <c:pt idx="1825">
                  <c:v>44209</c:v>
                </c:pt>
                <c:pt idx="1826">
                  <c:v>44210</c:v>
                </c:pt>
                <c:pt idx="1827">
                  <c:v>44211</c:v>
                </c:pt>
                <c:pt idx="1828">
                  <c:v>44214</c:v>
                </c:pt>
                <c:pt idx="1829">
                  <c:v>44215</c:v>
                </c:pt>
                <c:pt idx="1830">
                  <c:v>44216</c:v>
                </c:pt>
                <c:pt idx="1831">
                  <c:v>44217</c:v>
                </c:pt>
                <c:pt idx="1832">
                  <c:v>44218</c:v>
                </c:pt>
                <c:pt idx="1833">
                  <c:v>44221</c:v>
                </c:pt>
                <c:pt idx="1834">
                  <c:v>44222</c:v>
                </c:pt>
                <c:pt idx="1835">
                  <c:v>44223</c:v>
                </c:pt>
                <c:pt idx="1836">
                  <c:v>44224</c:v>
                </c:pt>
                <c:pt idx="1837">
                  <c:v>44225</c:v>
                </c:pt>
                <c:pt idx="1838">
                  <c:v>44228</c:v>
                </c:pt>
                <c:pt idx="1839">
                  <c:v>44229</c:v>
                </c:pt>
                <c:pt idx="1840">
                  <c:v>44230</c:v>
                </c:pt>
                <c:pt idx="1841">
                  <c:v>44231</c:v>
                </c:pt>
                <c:pt idx="1842">
                  <c:v>44232</c:v>
                </c:pt>
                <c:pt idx="1843">
                  <c:v>44235</c:v>
                </c:pt>
                <c:pt idx="1844">
                  <c:v>44236</c:v>
                </c:pt>
                <c:pt idx="1845">
                  <c:v>44237</c:v>
                </c:pt>
                <c:pt idx="1846">
                  <c:v>44238</c:v>
                </c:pt>
                <c:pt idx="1847">
                  <c:v>44239</c:v>
                </c:pt>
                <c:pt idx="1848">
                  <c:v>44242</c:v>
                </c:pt>
                <c:pt idx="1849">
                  <c:v>44243</c:v>
                </c:pt>
                <c:pt idx="1850">
                  <c:v>44244</c:v>
                </c:pt>
                <c:pt idx="1851">
                  <c:v>44245</c:v>
                </c:pt>
                <c:pt idx="1852">
                  <c:v>44246</c:v>
                </c:pt>
                <c:pt idx="1853">
                  <c:v>44249</c:v>
                </c:pt>
                <c:pt idx="1854">
                  <c:v>44250</c:v>
                </c:pt>
                <c:pt idx="1855">
                  <c:v>44251</c:v>
                </c:pt>
                <c:pt idx="1856">
                  <c:v>44252</c:v>
                </c:pt>
                <c:pt idx="1857">
                  <c:v>44253</c:v>
                </c:pt>
                <c:pt idx="1858">
                  <c:v>44256</c:v>
                </c:pt>
                <c:pt idx="1859">
                  <c:v>44257</c:v>
                </c:pt>
                <c:pt idx="1860">
                  <c:v>44258</c:v>
                </c:pt>
                <c:pt idx="1861">
                  <c:v>44259</c:v>
                </c:pt>
                <c:pt idx="1862">
                  <c:v>44260</c:v>
                </c:pt>
                <c:pt idx="1863">
                  <c:v>44263</c:v>
                </c:pt>
                <c:pt idx="1864">
                  <c:v>44264</c:v>
                </c:pt>
                <c:pt idx="1865">
                  <c:v>44265</c:v>
                </c:pt>
                <c:pt idx="1866">
                  <c:v>44266</c:v>
                </c:pt>
                <c:pt idx="1867">
                  <c:v>44267</c:v>
                </c:pt>
                <c:pt idx="1868">
                  <c:v>44270</c:v>
                </c:pt>
                <c:pt idx="1869">
                  <c:v>44271</c:v>
                </c:pt>
                <c:pt idx="1870">
                  <c:v>44272</c:v>
                </c:pt>
                <c:pt idx="1871">
                  <c:v>44273</c:v>
                </c:pt>
                <c:pt idx="1872">
                  <c:v>44274</c:v>
                </c:pt>
                <c:pt idx="1873">
                  <c:v>44277</c:v>
                </c:pt>
                <c:pt idx="1874">
                  <c:v>44278</c:v>
                </c:pt>
                <c:pt idx="1875">
                  <c:v>44279</c:v>
                </c:pt>
                <c:pt idx="1876">
                  <c:v>44280</c:v>
                </c:pt>
                <c:pt idx="1877">
                  <c:v>44281</c:v>
                </c:pt>
                <c:pt idx="1878">
                  <c:v>44284</c:v>
                </c:pt>
                <c:pt idx="1879">
                  <c:v>44285</c:v>
                </c:pt>
                <c:pt idx="1880">
                  <c:v>44286</c:v>
                </c:pt>
                <c:pt idx="1881">
                  <c:v>44287</c:v>
                </c:pt>
                <c:pt idx="1882">
                  <c:v>44291</c:v>
                </c:pt>
                <c:pt idx="1883">
                  <c:v>44292</c:v>
                </c:pt>
                <c:pt idx="1884">
                  <c:v>44293</c:v>
                </c:pt>
                <c:pt idx="1885">
                  <c:v>44294</c:v>
                </c:pt>
                <c:pt idx="1886">
                  <c:v>44295</c:v>
                </c:pt>
                <c:pt idx="1887">
                  <c:v>44298</c:v>
                </c:pt>
                <c:pt idx="1888">
                  <c:v>44299</c:v>
                </c:pt>
                <c:pt idx="1889">
                  <c:v>44300</c:v>
                </c:pt>
                <c:pt idx="1890">
                  <c:v>44301</c:v>
                </c:pt>
                <c:pt idx="1891">
                  <c:v>44302</c:v>
                </c:pt>
                <c:pt idx="1892">
                  <c:v>44305</c:v>
                </c:pt>
                <c:pt idx="1893">
                  <c:v>44306</c:v>
                </c:pt>
                <c:pt idx="1894">
                  <c:v>44307</c:v>
                </c:pt>
                <c:pt idx="1895">
                  <c:v>44308</c:v>
                </c:pt>
                <c:pt idx="1896">
                  <c:v>44309</c:v>
                </c:pt>
                <c:pt idx="1897">
                  <c:v>44312</c:v>
                </c:pt>
                <c:pt idx="1898">
                  <c:v>44313</c:v>
                </c:pt>
                <c:pt idx="1899">
                  <c:v>44314</c:v>
                </c:pt>
                <c:pt idx="1900">
                  <c:v>44315</c:v>
                </c:pt>
                <c:pt idx="1901">
                  <c:v>44316</c:v>
                </c:pt>
                <c:pt idx="1902">
                  <c:v>44319</c:v>
                </c:pt>
                <c:pt idx="1903">
                  <c:v>44320</c:v>
                </c:pt>
                <c:pt idx="1904">
                  <c:v>44321</c:v>
                </c:pt>
                <c:pt idx="1905">
                  <c:v>44322</c:v>
                </c:pt>
                <c:pt idx="1906">
                  <c:v>44323</c:v>
                </c:pt>
                <c:pt idx="1907">
                  <c:v>44326</c:v>
                </c:pt>
                <c:pt idx="1908">
                  <c:v>44327</c:v>
                </c:pt>
                <c:pt idx="1909">
                  <c:v>44328</c:v>
                </c:pt>
                <c:pt idx="1910">
                  <c:v>44329</c:v>
                </c:pt>
                <c:pt idx="1911">
                  <c:v>44330</c:v>
                </c:pt>
                <c:pt idx="1912">
                  <c:v>44333</c:v>
                </c:pt>
                <c:pt idx="1913">
                  <c:v>44334</c:v>
                </c:pt>
                <c:pt idx="1914">
                  <c:v>44335</c:v>
                </c:pt>
                <c:pt idx="1915">
                  <c:v>44336</c:v>
                </c:pt>
                <c:pt idx="1916">
                  <c:v>44337</c:v>
                </c:pt>
                <c:pt idx="1917">
                  <c:v>44340</c:v>
                </c:pt>
                <c:pt idx="1918">
                  <c:v>44341</c:v>
                </c:pt>
                <c:pt idx="1919">
                  <c:v>44342</c:v>
                </c:pt>
                <c:pt idx="1920">
                  <c:v>44343</c:v>
                </c:pt>
                <c:pt idx="1921">
                  <c:v>44344</c:v>
                </c:pt>
                <c:pt idx="1922">
                  <c:v>44348</c:v>
                </c:pt>
                <c:pt idx="1923">
                  <c:v>44349</c:v>
                </c:pt>
                <c:pt idx="1924">
                  <c:v>44350</c:v>
                </c:pt>
                <c:pt idx="1925">
                  <c:v>44351</c:v>
                </c:pt>
                <c:pt idx="1926">
                  <c:v>44354</c:v>
                </c:pt>
                <c:pt idx="1927">
                  <c:v>44355</c:v>
                </c:pt>
                <c:pt idx="1928">
                  <c:v>44356</c:v>
                </c:pt>
                <c:pt idx="1929">
                  <c:v>44357</c:v>
                </c:pt>
                <c:pt idx="1930">
                  <c:v>44358</c:v>
                </c:pt>
                <c:pt idx="1931">
                  <c:v>44361</c:v>
                </c:pt>
                <c:pt idx="1932">
                  <c:v>44362</c:v>
                </c:pt>
                <c:pt idx="1933">
                  <c:v>44363</c:v>
                </c:pt>
                <c:pt idx="1934">
                  <c:v>44364</c:v>
                </c:pt>
                <c:pt idx="1935">
                  <c:v>44365</c:v>
                </c:pt>
                <c:pt idx="1936">
                  <c:v>44368</c:v>
                </c:pt>
                <c:pt idx="1937">
                  <c:v>44369</c:v>
                </c:pt>
                <c:pt idx="1938">
                  <c:v>44370</c:v>
                </c:pt>
                <c:pt idx="1939">
                  <c:v>44371</c:v>
                </c:pt>
                <c:pt idx="1940">
                  <c:v>44372</c:v>
                </c:pt>
                <c:pt idx="1941">
                  <c:v>44375</c:v>
                </c:pt>
                <c:pt idx="1942">
                  <c:v>44376</c:v>
                </c:pt>
                <c:pt idx="1943">
                  <c:v>44377</c:v>
                </c:pt>
                <c:pt idx="1944">
                  <c:v>44378</c:v>
                </c:pt>
                <c:pt idx="1945">
                  <c:v>44379</c:v>
                </c:pt>
                <c:pt idx="1946">
                  <c:v>44382</c:v>
                </c:pt>
                <c:pt idx="1947">
                  <c:v>44383</c:v>
                </c:pt>
                <c:pt idx="1948">
                  <c:v>44384</c:v>
                </c:pt>
                <c:pt idx="1949">
                  <c:v>44385</c:v>
                </c:pt>
                <c:pt idx="1950">
                  <c:v>44386</c:v>
                </c:pt>
                <c:pt idx="1951">
                  <c:v>44389</c:v>
                </c:pt>
                <c:pt idx="1952">
                  <c:v>44390</c:v>
                </c:pt>
                <c:pt idx="1953">
                  <c:v>44391</c:v>
                </c:pt>
                <c:pt idx="1954">
                  <c:v>44392</c:v>
                </c:pt>
                <c:pt idx="1955">
                  <c:v>44393</c:v>
                </c:pt>
                <c:pt idx="1956">
                  <c:v>44396</c:v>
                </c:pt>
                <c:pt idx="1957">
                  <c:v>44397</c:v>
                </c:pt>
                <c:pt idx="1958">
                  <c:v>44398</c:v>
                </c:pt>
                <c:pt idx="1959">
                  <c:v>44399</c:v>
                </c:pt>
                <c:pt idx="1960">
                  <c:v>44400</c:v>
                </c:pt>
                <c:pt idx="1961">
                  <c:v>44403</c:v>
                </c:pt>
                <c:pt idx="1962">
                  <c:v>44404</c:v>
                </c:pt>
                <c:pt idx="1963">
                  <c:v>44405</c:v>
                </c:pt>
                <c:pt idx="1964">
                  <c:v>44406</c:v>
                </c:pt>
                <c:pt idx="1965">
                  <c:v>44407</c:v>
                </c:pt>
                <c:pt idx="1966">
                  <c:v>44410</c:v>
                </c:pt>
                <c:pt idx="1967">
                  <c:v>44411</c:v>
                </c:pt>
                <c:pt idx="1968">
                  <c:v>44412</c:v>
                </c:pt>
                <c:pt idx="1969">
                  <c:v>44413</c:v>
                </c:pt>
                <c:pt idx="1970">
                  <c:v>44414</c:v>
                </c:pt>
                <c:pt idx="1971">
                  <c:v>44417</c:v>
                </c:pt>
                <c:pt idx="1972">
                  <c:v>44418</c:v>
                </c:pt>
                <c:pt idx="1973">
                  <c:v>44419</c:v>
                </c:pt>
                <c:pt idx="1974">
                  <c:v>44420</c:v>
                </c:pt>
                <c:pt idx="1975">
                  <c:v>44421</c:v>
                </c:pt>
                <c:pt idx="1976">
                  <c:v>44424</c:v>
                </c:pt>
                <c:pt idx="1977">
                  <c:v>44425</c:v>
                </c:pt>
                <c:pt idx="1978">
                  <c:v>44426</c:v>
                </c:pt>
                <c:pt idx="1979">
                  <c:v>44427</c:v>
                </c:pt>
                <c:pt idx="1980">
                  <c:v>44428</c:v>
                </c:pt>
                <c:pt idx="1981">
                  <c:v>44431</c:v>
                </c:pt>
                <c:pt idx="1982">
                  <c:v>44432</c:v>
                </c:pt>
                <c:pt idx="1983">
                  <c:v>44433</c:v>
                </c:pt>
                <c:pt idx="1984">
                  <c:v>44434</c:v>
                </c:pt>
                <c:pt idx="1985">
                  <c:v>44435</c:v>
                </c:pt>
                <c:pt idx="1986">
                  <c:v>44438</c:v>
                </c:pt>
                <c:pt idx="1987">
                  <c:v>44439</c:v>
                </c:pt>
                <c:pt idx="1988">
                  <c:v>44440</c:v>
                </c:pt>
                <c:pt idx="1989">
                  <c:v>44441</c:v>
                </c:pt>
                <c:pt idx="1990">
                  <c:v>44442</c:v>
                </c:pt>
                <c:pt idx="1991">
                  <c:v>44445</c:v>
                </c:pt>
                <c:pt idx="1992">
                  <c:v>44446</c:v>
                </c:pt>
                <c:pt idx="1993">
                  <c:v>44447</c:v>
                </c:pt>
                <c:pt idx="1994">
                  <c:v>44448</c:v>
                </c:pt>
                <c:pt idx="1995">
                  <c:v>44449</c:v>
                </c:pt>
                <c:pt idx="1996">
                  <c:v>44452</c:v>
                </c:pt>
                <c:pt idx="1997">
                  <c:v>44453</c:v>
                </c:pt>
                <c:pt idx="1998">
                  <c:v>44454</c:v>
                </c:pt>
                <c:pt idx="1999">
                  <c:v>44455</c:v>
                </c:pt>
                <c:pt idx="2000">
                  <c:v>44456</c:v>
                </c:pt>
                <c:pt idx="2001">
                  <c:v>44459</c:v>
                </c:pt>
                <c:pt idx="2002">
                  <c:v>44460</c:v>
                </c:pt>
                <c:pt idx="2003">
                  <c:v>44461</c:v>
                </c:pt>
                <c:pt idx="2004">
                  <c:v>44462</c:v>
                </c:pt>
                <c:pt idx="2005">
                  <c:v>44463</c:v>
                </c:pt>
                <c:pt idx="2006">
                  <c:v>44466</c:v>
                </c:pt>
                <c:pt idx="2007">
                  <c:v>44467</c:v>
                </c:pt>
                <c:pt idx="2008">
                  <c:v>44468</c:v>
                </c:pt>
                <c:pt idx="2009">
                  <c:v>44469</c:v>
                </c:pt>
                <c:pt idx="2010">
                  <c:v>44470</c:v>
                </c:pt>
                <c:pt idx="2011">
                  <c:v>44473</c:v>
                </c:pt>
                <c:pt idx="2012">
                  <c:v>44474</c:v>
                </c:pt>
                <c:pt idx="2013">
                  <c:v>44475</c:v>
                </c:pt>
                <c:pt idx="2014">
                  <c:v>44476</c:v>
                </c:pt>
                <c:pt idx="2015">
                  <c:v>44477</c:v>
                </c:pt>
                <c:pt idx="2016">
                  <c:v>44480</c:v>
                </c:pt>
                <c:pt idx="2017">
                  <c:v>44481</c:v>
                </c:pt>
                <c:pt idx="2018">
                  <c:v>44482</c:v>
                </c:pt>
                <c:pt idx="2019">
                  <c:v>44483</c:v>
                </c:pt>
                <c:pt idx="2020">
                  <c:v>44484</c:v>
                </c:pt>
                <c:pt idx="2021">
                  <c:v>44487</c:v>
                </c:pt>
                <c:pt idx="2022">
                  <c:v>44488</c:v>
                </c:pt>
                <c:pt idx="2023">
                  <c:v>44489</c:v>
                </c:pt>
                <c:pt idx="2024">
                  <c:v>44490</c:v>
                </c:pt>
                <c:pt idx="2025">
                  <c:v>44491</c:v>
                </c:pt>
                <c:pt idx="2026">
                  <c:v>44494</c:v>
                </c:pt>
                <c:pt idx="2027">
                  <c:v>44495</c:v>
                </c:pt>
                <c:pt idx="2028">
                  <c:v>44496</c:v>
                </c:pt>
                <c:pt idx="2029">
                  <c:v>44497</c:v>
                </c:pt>
                <c:pt idx="2030">
                  <c:v>44498</c:v>
                </c:pt>
                <c:pt idx="2031">
                  <c:v>44501</c:v>
                </c:pt>
                <c:pt idx="2032">
                  <c:v>44502</c:v>
                </c:pt>
                <c:pt idx="2033">
                  <c:v>44503</c:v>
                </c:pt>
                <c:pt idx="2034">
                  <c:v>44504</c:v>
                </c:pt>
                <c:pt idx="2035">
                  <c:v>44505</c:v>
                </c:pt>
                <c:pt idx="2036">
                  <c:v>44508</c:v>
                </c:pt>
                <c:pt idx="2037">
                  <c:v>44509</c:v>
                </c:pt>
                <c:pt idx="2038">
                  <c:v>44510</c:v>
                </c:pt>
                <c:pt idx="2039">
                  <c:v>44511</c:v>
                </c:pt>
                <c:pt idx="2040">
                  <c:v>44512</c:v>
                </c:pt>
                <c:pt idx="2041">
                  <c:v>44515</c:v>
                </c:pt>
                <c:pt idx="2042">
                  <c:v>44516</c:v>
                </c:pt>
                <c:pt idx="2043">
                  <c:v>44517</c:v>
                </c:pt>
                <c:pt idx="2044">
                  <c:v>44518</c:v>
                </c:pt>
                <c:pt idx="2045">
                  <c:v>44519</c:v>
                </c:pt>
                <c:pt idx="2046">
                  <c:v>44522</c:v>
                </c:pt>
                <c:pt idx="2047">
                  <c:v>44523</c:v>
                </c:pt>
                <c:pt idx="2048">
                  <c:v>44524</c:v>
                </c:pt>
                <c:pt idx="2049">
                  <c:v>44525</c:v>
                </c:pt>
                <c:pt idx="2050">
                  <c:v>44526</c:v>
                </c:pt>
                <c:pt idx="2051">
                  <c:v>44529</c:v>
                </c:pt>
                <c:pt idx="2052">
                  <c:v>44530</c:v>
                </c:pt>
                <c:pt idx="2053">
                  <c:v>44531</c:v>
                </c:pt>
                <c:pt idx="2054">
                  <c:v>44532</c:v>
                </c:pt>
                <c:pt idx="2055">
                  <c:v>44533</c:v>
                </c:pt>
                <c:pt idx="2056">
                  <c:v>44536</c:v>
                </c:pt>
                <c:pt idx="2057">
                  <c:v>44537</c:v>
                </c:pt>
                <c:pt idx="2058">
                  <c:v>44538</c:v>
                </c:pt>
                <c:pt idx="2059">
                  <c:v>44539</c:v>
                </c:pt>
                <c:pt idx="2060">
                  <c:v>44540</c:v>
                </c:pt>
                <c:pt idx="2061">
                  <c:v>44543</c:v>
                </c:pt>
                <c:pt idx="2062">
                  <c:v>44544</c:v>
                </c:pt>
                <c:pt idx="2063">
                  <c:v>44545</c:v>
                </c:pt>
                <c:pt idx="2064">
                  <c:v>44546</c:v>
                </c:pt>
                <c:pt idx="2065">
                  <c:v>44547</c:v>
                </c:pt>
                <c:pt idx="2066">
                  <c:v>44550</c:v>
                </c:pt>
                <c:pt idx="2067">
                  <c:v>44551</c:v>
                </c:pt>
                <c:pt idx="2068">
                  <c:v>44552</c:v>
                </c:pt>
                <c:pt idx="2069">
                  <c:v>44553</c:v>
                </c:pt>
                <c:pt idx="2070">
                  <c:v>44554</c:v>
                </c:pt>
                <c:pt idx="2071">
                  <c:v>44557</c:v>
                </c:pt>
                <c:pt idx="2072">
                  <c:v>44558</c:v>
                </c:pt>
                <c:pt idx="2073">
                  <c:v>44559</c:v>
                </c:pt>
                <c:pt idx="2074">
                  <c:v>44560</c:v>
                </c:pt>
                <c:pt idx="2075">
                  <c:v>44561</c:v>
                </c:pt>
                <c:pt idx="2076">
                  <c:v>44564</c:v>
                </c:pt>
                <c:pt idx="2077">
                  <c:v>44565</c:v>
                </c:pt>
                <c:pt idx="2078">
                  <c:v>44566</c:v>
                </c:pt>
                <c:pt idx="2079">
                  <c:v>44567</c:v>
                </c:pt>
                <c:pt idx="2080">
                  <c:v>44568</c:v>
                </c:pt>
                <c:pt idx="2081">
                  <c:v>44571</c:v>
                </c:pt>
                <c:pt idx="2082">
                  <c:v>44572</c:v>
                </c:pt>
                <c:pt idx="2083">
                  <c:v>44573</c:v>
                </c:pt>
                <c:pt idx="2084">
                  <c:v>44574</c:v>
                </c:pt>
                <c:pt idx="2085">
                  <c:v>44575</c:v>
                </c:pt>
                <c:pt idx="2086">
                  <c:v>44578</c:v>
                </c:pt>
                <c:pt idx="2087">
                  <c:v>44579</c:v>
                </c:pt>
                <c:pt idx="2088">
                  <c:v>44580</c:v>
                </c:pt>
                <c:pt idx="2089">
                  <c:v>44581</c:v>
                </c:pt>
                <c:pt idx="2090">
                  <c:v>44582</c:v>
                </c:pt>
                <c:pt idx="2091">
                  <c:v>44585</c:v>
                </c:pt>
                <c:pt idx="2092">
                  <c:v>44586</c:v>
                </c:pt>
                <c:pt idx="2093">
                  <c:v>44587</c:v>
                </c:pt>
                <c:pt idx="2094">
                  <c:v>44588</c:v>
                </c:pt>
                <c:pt idx="2095">
                  <c:v>44589</c:v>
                </c:pt>
                <c:pt idx="2096">
                  <c:v>44592</c:v>
                </c:pt>
                <c:pt idx="2097">
                  <c:v>44593</c:v>
                </c:pt>
                <c:pt idx="2098">
                  <c:v>44594</c:v>
                </c:pt>
                <c:pt idx="2099">
                  <c:v>44595</c:v>
                </c:pt>
                <c:pt idx="2100">
                  <c:v>44596</c:v>
                </c:pt>
                <c:pt idx="2101">
                  <c:v>44599</c:v>
                </c:pt>
                <c:pt idx="2102">
                  <c:v>44600</c:v>
                </c:pt>
                <c:pt idx="2103">
                  <c:v>44601</c:v>
                </c:pt>
                <c:pt idx="2104">
                  <c:v>44602</c:v>
                </c:pt>
                <c:pt idx="2105">
                  <c:v>44603</c:v>
                </c:pt>
                <c:pt idx="2106">
                  <c:v>44606</c:v>
                </c:pt>
                <c:pt idx="2107">
                  <c:v>44607</c:v>
                </c:pt>
                <c:pt idx="2108">
                  <c:v>44608</c:v>
                </c:pt>
                <c:pt idx="2109">
                  <c:v>44609</c:v>
                </c:pt>
                <c:pt idx="2110">
                  <c:v>44610</c:v>
                </c:pt>
                <c:pt idx="2111">
                  <c:v>44613</c:v>
                </c:pt>
                <c:pt idx="2112">
                  <c:v>44614</c:v>
                </c:pt>
                <c:pt idx="2113">
                  <c:v>44615</c:v>
                </c:pt>
                <c:pt idx="2114">
                  <c:v>44616</c:v>
                </c:pt>
                <c:pt idx="2115">
                  <c:v>44617</c:v>
                </c:pt>
                <c:pt idx="2116">
                  <c:v>44620</c:v>
                </c:pt>
                <c:pt idx="2117">
                  <c:v>44621</c:v>
                </c:pt>
                <c:pt idx="2118">
                  <c:v>44622</c:v>
                </c:pt>
                <c:pt idx="2119">
                  <c:v>44623</c:v>
                </c:pt>
                <c:pt idx="2120">
                  <c:v>44624</c:v>
                </c:pt>
                <c:pt idx="2121">
                  <c:v>44627</c:v>
                </c:pt>
                <c:pt idx="2122">
                  <c:v>44628</c:v>
                </c:pt>
                <c:pt idx="2123">
                  <c:v>44629</c:v>
                </c:pt>
                <c:pt idx="2124">
                  <c:v>44630</c:v>
                </c:pt>
                <c:pt idx="2125">
                  <c:v>44631</c:v>
                </c:pt>
                <c:pt idx="2126">
                  <c:v>44634</c:v>
                </c:pt>
                <c:pt idx="2127">
                  <c:v>44635</c:v>
                </c:pt>
                <c:pt idx="2128">
                  <c:v>44636</c:v>
                </c:pt>
                <c:pt idx="2129">
                  <c:v>44637</c:v>
                </c:pt>
                <c:pt idx="2130">
                  <c:v>44638</c:v>
                </c:pt>
                <c:pt idx="2131">
                  <c:v>44641</c:v>
                </c:pt>
                <c:pt idx="2132">
                  <c:v>44642</c:v>
                </c:pt>
                <c:pt idx="2133">
                  <c:v>44643</c:v>
                </c:pt>
                <c:pt idx="2134">
                  <c:v>44644</c:v>
                </c:pt>
                <c:pt idx="2135">
                  <c:v>44645</c:v>
                </c:pt>
                <c:pt idx="2136">
                  <c:v>44648</c:v>
                </c:pt>
                <c:pt idx="2137">
                  <c:v>44649</c:v>
                </c:pt>
                <c:pt idx="2138">
                  <c:v>44650</c:v>
                </c:pt>
                <c:pt idx="2139">
                  <c:v>44651</c:v>
                </c:pt>
                <c:pt idx="2140">
                  <c:v>44652</c:v>
                </c:pt>
                <c:pt idx="2141">
                  <c:v>44655</c:v>
                </c:pt>
                <c:pt idx="2142">
                  <c:v>44656</c:v>
                </c:pt>
                <c:pt idx="2143">
                  <c:v>44657</c:v>
                </c:pt>
                <c:pt idx="2144">
                  <c:v>44658</c:v>
                </c:pt>
                <c:pt idx="2145">
                  <c:v>44659</c:v>
                </c:pt>
                <c:pt idx="2146">
                  <c:v>44662</c:v>
                </c:pt>
                <c:pt idx="2147">
                  <c:v>44663</c:v>
                </c:pt>
                <c:pt idx="2148">
                  <c:v>44664</c:v>
                </c:pt>
                <c:pt idx="2149">
                  <c:v>44665</c:v>
                </c:pt>
                <c:pt idx="2150">
                  <c:v>44669</c:v>
                </c:pt>
                <c:pt idx="2151">
                  <c:v>44670</c:v>
                </c:pt>
                <c:pt idx="2152">
                  <c:v>44671</c:v>
                </c:pt>
                <c:pt idx="2153">
                  <c:v>44672</c:v>
                </c:pt>
                <c:pt idx="2154">
                  <c:v>44673</c:v>
                </c:pt>
                <c:pt idx="2155">
                  <c:v>44676</c:v>
                </c:pt>
                <c:pt idx="2156">
                  <c:v>44677</c:v>
                </c:pt>
                <c:pt idx="2157">
                  <c:v>44678</c:v>
                </c:pt>
                <c:pt idx="2158">
                  <c:v>44679</c:v>
                </c:pt>
                <c:pt idx="2159">
                  <c:v>44680</c:v>
                </c:pt>
                <c:pt idx="2160">
                  <c:v>44683</c:v>
                </c:pt>
                <c:pt idx="2161">
                  <c:v>44684</c:v>
                </c:pt>
                <c:pt idx="2162">
                  <c:v>44685</c:v>
                </c:pt>
                <c:pt idx="2163">
                  <c:v>44686</c:v>
                </c:pt>
                <c:pt idx="2164">
                  <c:v>44687</c:v>
                </c:pt>
                <c:pt idx="2165">
                  <c:v>44690</c:v>
                </c:pt>
                <c:pt idx="2166">
                  <c:v>44691</c:v>
                </c:pt>
                <c:pt idx="2167">
                  <c:v>44692</c:v>
                </c:pt>
                <c:pt idx="2168">
                  <c:v>44693</c:v>
                </c:pt>
                <c:pt idx="2169">
                  <c:v>44694</c:v>
                </c:pt>
                <c:pt idx="2170">
                  <c:v>44697</c:v>
                </c:pt>
                <c:pt idx="2171">
                  <c:v>44698</c:v>
                </c:pt>
                <c:pt idx="2172">
                  <c:v>44699</c:v>
                </c:pt>
                <c:pt idx="2173">
                  <c:v>44700</c:v>
                </c:pt>
                <c:pt idx="2174">
                  <c:v>44701</c:v>
                </c:pt>
                <c:pt idx="2175">
                  <c:v>44704</c:v>
                </c:pt>
                <c:pt idx="2176">
                  <c:v>44705</c:v>
                </c:pt>
                <c:pt idx="2177">
                  <c:v>44706</c:v>
                </c:pt>
                <c:pt idx="2178">
                  <c:v>44707</c:v>
                </c:pt>
                <c:pt idx="2179">
                  <c:v>44708</c:v>
                </c:pt>
                <c:pt idx="2180">
                  <c:v>44711</c:v>
                </c:pt>
                <c:pt idx="2181">
                  <c:v>44712</c:v>
                </c:pt>
                <c:pt idx="2182">
                  <c:v>44713</c:v>
                </c:pt>
                <c:pt idx="2183">
                  <c:v>44714</c:v>
                </c:pt>
                <c:pt idx="2184">
                  <c:v>44715</c:v>
                </c:pt>
                <c:pt idx="2185">
                  <c:v>44718</c:v>
                </c:pt>
                <c:pt idx="2186">
                  <c:v>44719</c:v>
                </c:pt>
                <c:pt idx="2187">
                  <c:v>44720</c:v>
                </c:pt>
                <c:pt idx="2188">
                  <c:v>44721</c:v>
                </c:pt>
                <c:pt idx="2189">
                  <c:v>44722</c:v>
                </c:pt>
                <c:pt idx="2190">
                  <c:v>44725</c:v>
                </c:pt>
                <c:pt idx="2191">
                  <c:v>44726</c:v>
                </c:pt>
                <c:pt idx="2192">
                  <c:v>44727</c:v>
                </c:pt>
                <c:pt idx="2193">
                  <c:v>44728</c:v>
                </c:pt>
                <c:pt idx="2194">
                  <c:v>44729</c:v>
                </c:pt>
                <c:pt idx="2195">
                  <c:v>44732</c:v>
                </c:pt>
                <c:pt idx="2196">
                  <c:v>44733</c:v>
                </c:pt>
                <c:pt idx="2197">
                  <c:v>44734</c:v>
                </c:pt>
                <c:pt idx="2198">
                  <c:v>44735</c:v>
                </c:pt>
                <c:pt idx="2199">
                  <c:v>44736</c:v>
                </c:pt>
                <c:pt idx="2200">
                  <c:v>44739</c:v>
                </c:pt>
                <c:pt idx="2201">
                  <c:v>44740</c:v>
                </c:pt>
                <c:pt idx="2202">
                  <c:v>44741</c:v>
                </c:pt>
                <c:pt idx="2203">
                  <c:v>44742</c:v>
                </c:pt>
                <c:pt idx="2204">
                  <c:v>44743</c:v>
                </c:pt>
                <c:pt idx="2205">
                  <c:v>44746</c:v>
                </c:pt>
                <c:pt idx="2206">
                  <c:v>44747</c:v>
                </c:pt>
                <c:pt idx="2207">
                  <c:v>44748</c:v>
                </c:pt>
                <c:pt idx="2208">
                  <c:v>44749</c:v>
                </c:pt>
                <c:pt idx="2209">
                  <c:v>44750</c:v>
                </c:pt>
                <c:pt idx="2210">
                  <c:v>44753</c:v>
                </c:pt>
                <c:pt idx="2211">
                  <c:v>44754</c:v>
                </c:pt>
                <c:pt idx="2212">
                  <c:v>44755</c:v>
                </c:pt>
                <c:pt idx="2213">
                  <c:v>44756</c:v>
                </c:pt>
                <c:pt idx="2214">
                  <c:v>44757</c:v>
                </c:pt>
                <c:pt idx="2215">
                  <c:v>44760</c:v>
                </c:pt>
                <c:pt idx="2216">
                  <c:v>44761</c:v>
                </c:pt>
                <c:pt idx="2217">
                  <c:v>44762</c:v>
                </c:pt>
                <c:pt idx="2218">
                  <c:v>44763</c:v>
                </c:pt>
                <c:pt idx="2219">
                  <c:v>44764</c:v>
                </c:pt>
                <c:pt idx="2220">
                  <c:v>44767</c:v>
                </c:pt>
                <c:pt idx="2221">
                  <c:v>44768</c:v>
                </c:pt>
                <c:pt idx="2222">
                  <c:v>44769</c:v>
                </c:pt>
                <c:pt idx="2223">
                  <c:v>44770</c:v>
                </c:pt>
                <c:pt idx="2224">
                  <c:v>44771</c:v>
                </c:pt>
                <c:pt idx="2225">
                  <c:v>44774</c:v>
                </c:pt>
                <c:pt idx="2226">
                  <c:v>44775</c:v>
                </c:pt>
                <c:pt idx="2227">
                  <c:v>44776</c:v>
                </c:pt>
                <c:pt idx="2228">
                  <c:v>44777</c:v>
                </c:pt>
                <c:pt idx="2229">
                  <c:v>44778</c:v>
                </c:pt>
                <c:pt idx="2230">
                  <c:v>44781</c:v>
                </c:pt>
                <c:pt idx="2231">
                  <c:v>44782</c:v>
                </c:pt>
                <c:pt idx="2232">
                  <c:v>44783</c:v>
                </c:pt>
                <c:pt idx="2233">
                  <c:v>44784</c:v>
                </c:pt>
                <c:pt idx="2234">
                  <c:v>44785</c:v>
                </c:pt>
                <c:pt idx="2235">
                  <c:v>44788</c:v>
                </c:pt>
                <c:pt idx="2236">
                  <c:v>44789</c:v>
                </c:pt>
                <c:pt idx="2237">
                  <c:v>44790</c:v>
                </c:pt>
                <c:pt idx="2238">
                  <c:v>44791</c:v>
                </c:pt>
                <c:pt idx="2239">
                  <c:v>44792</c:v>
                </c:pt>
                <c:pt idx="2240">
                  <c:v>44795</c:v>
                </c:pt>
                <c:pt idx="2241">
                  <c:v>44796</c:v>
                </c:pt>
                <c:pt idx="2242">
                  <c:v>44797</c:v>
                </c:pt>
                <c:pt idx="2243">
                  <c:v>44798</c:v>
                </c:pt>
                <c:pt idx="2244">
                  <c:v>44799</c:v>
                </c:pt>
                <c:pt idx="2245">
                  <c:v>44802</c:v>
                </c:pt>
                <c:pt idx="2246">
                  <c:v>44803</c:v>
                </c:pt>
                <c:pt idx="2247">
                  <c:v>44804</c:v>
                </c:pt>
                <c:pt idx="2248">
                  <c:v>44805</c:v>
                </c:pt>
                <c:pt idx="2249">
                  <c:v>44806</c:v>
                </c:pt>
                <c:pt idx="2250">
                  <c:v>44809</c:v>
                </c:pt>
                <c:pt idx="2251">
                  <c:v>44810</c:v>
                </c:pt>
                <c:pt idx="2252">
                  <c:v>44811</c:v>
                </c:pt>
                <c:pt idx="2253">
                  <c:v>44812</c:v>
                </c:pt>
                <c:pt idx="2254">
                  <c:v>44813</c:v>
                </c:pt>
                <c:pt idx="2255">
                  <c:v>44816</c:v>
                </c:pt>
                <c:pt idx="2256">
                  <c:v>44817</c:v>
                </c:pt>
                <c:pt idx="2257">
                  <c:v>44818</c:v>
                </c:pt>
                <c:pt idx="2258">
                  <c:v>44819</c:v>
                </c:pt>
                <c:pt idx="2259">
                  <c:v>44820</c:v>
                </c:pt>
                <c:pt idx="2260">
                  <c:v>44823</c:v>
                </c:pt>
                <c:pt idx="2261">
                  <c:v>44824</c:v>
                </c:pt>
                <c:pt idx="2262">
                  <c:v>44825</c:v>
                </c:pt>
                <c:pt idx="2263">
                  <c:v>44826</c:v>
                </c:pt>
                <c:pt idx="2264">
                  <c:v>44827</c:v>
                </c:pt>
                <c:pt idx="2265">
                  <c:v>44830</c:v>
                </c:pt>
                <c:pt idx="2266">
                  <c:v>44831</c:v>
                </c:pt>
                <c:pt idx="2267">
                  <c:v>44832</c:v>
                </c:pt>
                <c:pt idx="2268">
                  <c:v>44833</c:v>
                </c:pt>
                <c:pt idx="2269">
                  <c:v>44834</c:v>
                </c:pt>
                <c:pt idx="2270">
                  <c:v>44837</c:v>
                </c:pt>
                <c:pt idx="2271">
                  <c:v>44838</c:v>
                </c:pt>
                <c:pt idx="2272">
                  <c:v>44839</c:v>
                </c:pt>
                <c:pt idx="2273">
                  <c:v>44840</c:v>
                </c:pt>
                <c:pt idx="2274">
                  <c:v>44841</c:v>
                </c:pt>
                <c:pt idx="2275">
                  <c:v>44844</c:v>
                </c:pt>
                <c:pt idx="2276">
                  <c:v>44845</c:v>
                </c:pt>
                <c:pt idx="2277">
                  <c:v>44846</c:v>
                </c:pt>
                <c:pt idx="2278">
                  <c:v>44847</c:v>
                </c:pt>
                <c:pt idx="2279">
                  <c:v>44848</c:v>
                </c:pt>
                <c:pt idx="2280">
                  <c:v>44851</c:v>
                </c:pt>
                <c:pt idx="2281">
                  <c:v>44852</c:v>
                </c:pt>
                <c:pt idx="2282">
                  <c:v>44853</c:v>
                </c:pt>
                <c:pt idx="2283">
                  <c:v>44854</c:v>
                </c:pt>
                <c:pt idx="2284">
                  <c:v>44855</c:v>
                </c:pt>
                <c:pt idx="2285">
                  <c:v>44858</c:v>
                </c:pt>
                <c:pt idx="2286">
                  <c:v>44859</c:v>
                </c:pt>
                <c:pt idx="2287">
                  <c:v>44860</c:v>
                </c:pt>
                <c:pt idx="2288">
                  <c:v>44861</c:v>
                </c:pt>
                <c:pt idx="2289">
                  <c:v>44862</c:v>
                </c:pt>
                <c:pt idx="2290">
                  <c:v>44865</c:v>
                </c:pt>
                <c:pt idx="2291">
                  <c:v>44866</c:v>
                </c:pt>
                <c:pt idx="2292">
                  <c:v>44867</c:v>
                </c:pt>
                <c:pt idx="2293">
                  <c:v>44868</c:v>
                </c:pt>
                <c:pt idx="2294">
                  <c:v>44869</c:v>
                </c:pt>
                <c:pt idx="2295">
                  <c:v>44872</c:v>
                </c:pt>
                <c:pt idx="2296">
                  <c:v>44873</c:v>
                </c:pt>
                <c:pt idx="2297">
                  <c:v>44874</c:v>
                </c:pt>
                <c:pt idx="2298">
                  <c:v>44875</c:v>
                </c:pt>
                <c:pt idx="2299">
                  <c:v>44876</c:v>
                </c:pt>
                <c:pt idx="2300">
                  <c:v>44879</c:v>
                </c:pt>
                <c:pt idx="2301">
                  <c:v>44880</c:v>
                </c:pt>
                <c:pt idx="2302">
                  <c:v>44881</c:v>
                </c:pt>
                <c:pt idx="2303">
                  <c:v>44882</c:v>
                </c:pt>
                <c:pt idx="2304">
                  <c:v>44883</c:v>
                </c:pt>
                <c:pt idx="2305">
                  <c:v>44886</c:v>
                </c:pt>
                <c:pt idx="2306">
                  <c:v>44887</c:v>
                </c:pt>
                <c:pt idx="2307">
                  <c:v>44888</c:v>
                </c:pt>
                <c:pt idx="2308">
                  <c:v>44889</c:v>
                </c:pt>
                <c:pt idx="2309">
                  <c:v>44890</c:v>
                </c:pt>
                <c:pt idx="2310">
                  <c:v>44893</c:v>
                </c:pt>
                <c:pt idx="2311">
                  <c:v>44894</c:v>
                </c:pt>
                <c:pt idx="2312">
                  <c:v>44895</c:v>
                </c:pt>
                <c:pt idx="2313">
                  <c:v>44896</c:v>
                </c:pt>
                <c:pt idx="2314">
                  <c:v>44897</c:v>
                </c:pt>
                <c:pt idx="2315">
                  <c:v>44900</c:v>
                </c:pt>
                <c:pt idx="2316">
                  <c:v>44901</c:v>
                </c:pt>
                <c:pt idx="2317">
                  <c:v>44902</c:v>
                </c:pt>
                <c:pt idx="2318">
                  <c:v>44903</c:v>
                </c:pt>
                <c:pt idx="2319">
                  <c:v>44904</c:v>
                </c:pt>
                <c:pt idx="2320">
                  <c:v>44907</c:v>
                </c:pt>
                <c:pt idx="2321">
                  <c:v>44908</c:v>
                </c:pt>
                <c:pt idx="2322">
                  <c:v>44909</c:v>
                </c:pt>
                <c:pt idx="2323">
                  <c:v>44910</c:v>
                </c:pt>
                <c:pt idx="2324">
                  <c:v>44911</c:v>
                </c:pt>
                <c:pt idx="2325">
                  <c:v>44914</c:v>
                </c:pt>
                <c:pt idx="2326">
                  <c:v>44915</c:v>
                </c:pt>
                <c:pt idx="2327">
                  <c:v>44916</c:v>
                </c:pt>
                <c:pt idx="2328">
                  <c:v>44917</c:v>
                </c:pt>
                <c:pt idx="2329">
                  <c:v>44918</c:v>
                </c:pt>
                <c:pt idx="2330">
                  <c:v>44922</c:v>
                </c:pt>
                <c:pt idx="2331">
                  <c:v>44923</c:v>
                </c:pt>
                <c:pt idx="2332">
                  <c:v>44924</c:v>
                </c:pt>
                <c:pt idx="2333">
                  <c:v>44925</c:v>
                </c:pt>
                <c:pt idx="2334">
                  <c:v>44929</c:v>
                </c:pt>
                <c:pt idx="2335">
                  <c:v>44930</c:v>
                </c:pt>
                <c:pt idx="2336">
                  <c:v>44931</c:v>
                </c:pt>
                <c:pt idx="2337">
                  <c:v>44932</c:v>
                </c:pt>
                <c:pt idx="2338">
                  <c:v>44935</c:v>
                </c:pt>
                <c:pt idx="2339">
                  <c:v>44936</c:v>
                </c:pt>
                <c:pt idx="2340">
                  <c:v>44937</c:v>
                </c:pt>
                <c:pt idx="2341">
                  <c:v>44938</c:v>
                </c:pt>
                <c:pt idx="2342">
                  <c:v>44939</c:v>
                </c:pt>
                <c:pt idx="2343">
                  <c:v>44942</c:v>
                </c:pt>
                <c:pt idx="2344">
                  <c:v>44943</c:v>
                </c:pt>
                <c:pt idx="2345">
                  <c:v>44944</c:v>
                </c:pt>
                <c:pt idx="2346">
                  <c:v>44945</c:v>
                </c:pt>
                <c:pt idx="2347">
                  <c:v>44946</c:v>
                </c:pt>
                <c:pt idx="2348">
                  <c:v>44949</c:v>
                </c:pt>
                <c:pt idx="2349">
                  <c:v>44950</c:v>
                </c:pt>
                <c:pt idx="2350">
                  <c:v>44951</c:v>
                </c:pt>
                <c:pt idx="2351">
                  <c:v>44952</c:v>
                </c:pt>
                <c:pt idx="2352">
                  <c:v>44953</c:v>
                </c:pt>
                <c:pt idx="2353">
                  <c:v>44956</c:v>
                </c:pt>
                <c:pt idx="2354">
                  <c:v>44957</c:v>
                </c:pt>
                <c:pt idx="2355">
                  <c:v>44958</c:v>
                </c:pt>
                <c:pt idx="2356">
                  <c:v>44959</c:v>
                </c:pt>
                <c:pt idx="2357">
                  <c:v>44960</c:v>
                </c:pt>
                <c:pt idx="2358">
                  <c:v>44963</c:v>
                </c:pt>
                <c:pt idx="2359">
                  <c:v>44964</c:v>
                </c:pt>
                <c:pt idx="2360">
                  <c:v>44965</c:v>
                </c:pt>
                <c:pt idx="2361">
                  <c:v>44966</c:v>
                </c:pt>
                <c:pt idx="2362">
                  <c:v>44967</c:v>
                </c:pt>
                <c:pt idx="2363">
                  <c:v>44970</c:v>
                </c:pt>
                <c:pt idx="2364">
                  <c:v>44971</c:v>
                </c:pt>
                <c:pt idx="2365">
                  <c:v>44972</c:v>
                </c:pt>
                <c:pt idx="2366">
                  <c:v>44973</c:v>
                </c:pt>
                <c:pt idx="2367">
                  <c:v>44974</c:v>
                </c:pt>
                <c:pt idx="2368">
                  <c:v>44977</c:v>
                </c:pt>
                <c:pt idx="2369">
                  <c:v>44978</c:v>
                </c:pt>
                <c:pt idx="2370">
                  <c:v>44979</c:v>
                </c:pt>
                <c:pt idx="2371">
                  <c:v>44980</c:v>
                </c:pt>
                <c:pt idx="2372">
                  <c:v>44981</c:v>
                </c:pt>
                <c:pt idx="2373">
                  <c:v>44984</c:v>
                </c:pt>
                <c:pt idx="2374">
                  <c:v>44985</c:v>
                </c:pt>
                <c:pt idx="2375">
                  <c:v>44986</c:v>
                </c:pt>
                <c:pt idx="2376">
                  <c:v>44987</c:v>
                </c:pt>
                <c:pt idx="2377">
                  <c:v>44988</c:v>
                </c:pt>
                <c:pt idx="2378">
                  <c:v>44991</c:v>
                </c:pt>
                <c:pt idx="2379">
                  <c:v>44992</c:v>
                </c:pt>
                <c:pt idx="2380">
                  <c:v>44993</c:v>
                </c:pt>
                <c:pt idx="2381">
                  <c:v>44994</c:v>
                </c:pt>
                <c:pt idx="2382">
                  <c:v>44995</c:v>
                </c:pt>
                <c:pt idx="2383">
                  <c:v>44998</c:v>
                </c:pt>
                <c:pt idx="2384">
                  <c:v>44999</c:v>
                </c:pt>
                <c:pt idx="2385">
                  <c:v>45000</c:v>
                </c:pt>
                <c:pt idx="2386">
                  <c:v>45001</c:v>
                </c:pt>
                <c:pt idx="2387">
                  <c:v>45002</c:v>
                </c:pt>
                <c:pt idx="2388">
                  <c:v>45005</c:v>
                </c:pt>
                <c:pt idx="2389">
                  <c:v>45006</c:v>
                </c:pt>
                <c:pt idx="2390">
                  <c:v>45007</c:v>
                </c:pt>
                <c:pt idx="2391">
                  <c:v>45008</c:v>
                </c:pt>
                <c:pt idx="2392">
                  <c:v>45009</c:v>
                </c:pt>
                <c:pt idx="2393">
                  <c:v>45012</c:v>
                </c:pt>
                <c:pt idx="2394">
                  <c:v>45013</c:v>
                </c:pt>
                <c:pt idx="2395">
                  <c:v>45014</c:v>
                </c:pt>
                <c:pt idx="2396">
                  <c:v>45015</c:v>
                </c:pt>
                <c:pt idx="2397">
                  <c:v>45016</c:v>
                </c:pt>
                <c:pt idx="2398">
                  <c:v>45019</c:v>
                </c:pt>
                <c:pt idx="2399">
                  <c:v>45020</c:v>
                </c:pt>
                <c:pt idx="2400">
                  <c:v>45021</c:v>
                </c:pt>
                <c:pt idx="2401">
                  <c:v>45022</c:v>
                </c:pt>
                <c:pt idx="2402">
                  <c:v>45026</c:v>
                </c:pt>
                <c:pt idx="2403">
                  <c:v>45027</c:v>
                </c:pt>
                <c:pt idx="2404">
                  <c:v>45028</c:v>
                </c:pt>
                <c:pt idx="2405">
                  <c:v>45029</c:v>
                </c:pt>
                <c:pt idx="2406">
                  <c:v>45030</c:v>
                </c:pt>
                <c:pt idx="2407">
                  <c:v>45033</c:v>
                </c:pt>
                <c:pt idx="2408">
                  <c:v>45034</c:v>
                </c:pt>
                <c:pt idx="2409">
                  <c:v>45035</c:v>
                </c:pt>
                <c:pt idx="2410">
                  <c:v>45036</c:v>
                </c:pt>
                <c:pt idx="2411">
                  <c:v>45037</c:v>
                </c:pt>
                <c:pt idx="2412">
                  <c:v>45040</c:v>
                </c:pt>
                <c:pt idx="2413">
                  <c:v>45041</c:v>
                </c:pt>
                <c:pt idx="2414">
                  <c:v>45042</c:v>
                </c:pt>
                <c:pt idx="2415">
                  <c:v>45043</c:v>
                </c:pt>
                <c:pt idx="2416">
                  <c:v>45044</c:v>
                </c:pt>
                <c:pt idx="2417">
                  <c:v>45047</c:v>
                </c:pt>
                <c:pt idx="2418">
                  <c:v>45048</c:v>
                </c:pt>
                <c:pt idx="2419">
                  <c:v>45049</c:v>
                </c:pt>
                <c:pt idx="2420">
                  <c:v>45050</c:v>
                </c:pt>
                <c:pt idx="2421">
                  <c:v>45051</c:v>
                </c:pt>
                <c:pt idx="2422">
                  <c:v>45054</c:v>
                </c:pt>
                <c:pt idx="2423">
                  <c:v>45055</c:v>
                </c:pt>
                <c:pt idx="2424">
                  <c:v>45056</c:v>
                </c:pt>
                <c:pt idx="2425">
                  <c:v>45057</c:v>
                </c:pt>
                <c:pt idx="2426">
                  <c:v>45058</c:v>
                </c:pt>
                <c:pt idx="2427">
                  <c:v>45061</c:v>
                </c:pt>
                <c:pt idx="2428">
                  <c:v>45062</c:v>
                </c:pt>
                <c:pt idx="2429">
                  <c:v>45063</c:v>
                </c:pt>
                <c:pt idx="2430">
                  <c:v>45064</c:v>
                </c:pt>
                <c:pt idx="2431">
                  <c:v>45065</c:v>
                </c:pt>
                <c:pt idx="2432">
                  <c:v>45068</c:v>
                </c:pt>
                <c:pt idx="2433">
                  <c:v>45069</c:v>
                </c:pt>
                <c:pt idx="2434">
                  <c:v>45070</c:v>
                </c:pt>
                <c:pt idx="2435">
                  <c:v>45071</c:v>
                </c:pt>
                <c:pt idx="2436">
                  <c:v>45072</c:v>
                </c:pt>
                <c:pt idx="2437">
                  <c:v>45075</c:v>
                </c:pt>
                <c:pt idx="2438">
                  <c:v>45076</c:v>
                </c:pt>
                <c:pt idx="2439">
                  <c:v>45077</c:v>
                </c:pt>
                <c:pt idx="2440">
                  <c:v>45078</c:v>
                </c:pt>
                <c:pt idx="2441">
                  <c:v>45079</c:v>
                </c:pt>
                <c:pt idx="2442">
                  <c:v>45082</c:v>
                </c:pt>
                <c:pt idx="2443">
                  <c:v>45083</c:v>
                </c:pt>
                <c:pt idx="2444">
                  <c:v>45084</c:v>
                </c:pt>
                <c:pt idx="2445">
                  <c:v>45085</c:v>
                </c:pt>
                <c:pt idx="2446">
                  <c:v>45086</c:v>
                </c:pt>
                <c:pt idx="2447">
                  <c:v>45089</c:v>
                </c:pt>
                <c:pt idx="2448">
                  <c:v>45090</c:v>
                </c:pt>
                <c:pt idx="2449">
                  <c:v>45091</c:v>
                </c:pt>
                <c:pt idx="2450">
                  <c:v>45092</c:v>
                </c:pt>
                <c:pt idx="2451">
                  <c:v>45093</c:v>
                </c:pt>
                <c:pt idx="2452">
                  <c:v>45096</c:v>
                </c:pt>
                <c:pt idx="2453">
                  <c:v>45097</c:v>
                </c:pt>
                <c:pt idx="2454">
                  <c:v>45098</c:v>
                </c:pt>
                <c:pt idx="2455">
                  <c:v>45099</c:v>
                </c:pt>
                <c:pt idx="2456">
                  <c:v>45100</c:v>
                </c:pt>
                <c:pt idx="2457">
                  <c:v>45103</c:v>
                </c:pt>
                <c:pt idx="2458">
                  <c:v>45104</c:v>
                </c:pt>
                <c:pt idx="2459">
                  <c:v>45105</c:v>
                </c:pt>
                <c:pt idx="2460">
                  <c:v>45106</c:v>
                </c:pt>
                <c:pt idx="2461">
                  <c:v>45107</c:v>
                </c:pt>
                <c:pt idx="2462">
                  <c:v>45110</c:v>
                </c:pt>
                <c:pt idx="2463">
                  <c:v>45111</c:v>
                </c:pt>
                <c:pt idx="2464">
                  <c:v>45112</c:v>
                </c:pt>
                <c:pt idx="2465">
                  <c:v>45113</c:v>
                </c:pt>
                <c:pt idx="2466">
                  <c:v>45114</c:v>
                </c:pt>
                <c:pt idx="2467">
                  <c:v>45117</c:v>
                </c:pt>
                <c:pt idx="2468">
                  <c:v>45118</c:v>
                </c:pt>
                <c:pt idx="2469">
                  <c:v>45119</c:v>
                </c:pt>
                <c:pt idx="2470">
                  <c:v>45120</c:v>
                </c:pt>
                <c:pt idx="2471">
                  <c:v>45121</c:v>
                </c:pt>
                <c:pt idx="2472">
                  <c:v>45124</c:v>
                </c:pt>
                <c:pt idx="2473">
                  <c:v>45125</c:v>
                </c:pt>
                <c:pt idx="2474">
                  <c:v>45126</c:v>
                </c:pt>
                <c:pt idx="2475">
                  <c:v>45127</c:v>
                </c:pt>
                <c:pt idx="2476">
                  <c:v>45128</c:v>
                </c:pt>
                <c:pt idx="2477">
                  <c:v>45131</c:v>
                </c:pt>
                <c:pt idx="2478">
                  <c:v>45132</c:v>
                </c:pt>
                <c:pt idx="2479">
                  <c:v>45133</c:v>
                </c:pt>
                <c:pt idx="2480">
                  <c:v>45134</c:v>
                </c:pt>
                <c:pt idx="2481">
                  <c:v>45135</c:v>
                </c:pt>
                <c:pt idx="2482">
                  <c:v>45138</c:v>
                </c:pt>
                <c:pt idx="2483">
                  <c:v>45139</c:v>
                </c:pt>
                <c:pt idx="2484">
                  <c:v>45140</c:v>
                </c:pt>
                <c:pt idx="2485">
                  <c:v>45141</c:v>
                </c:pt>
                <c:pt idx="2486">
                  <c:v>45142</c:v>
                </c:pt>
                <c:pt idx="2487">
                  <c:v>45145</c:v>
                </c:pt>
                <c:pt idx="2488">
                  <c:v>45146</c:v>
                </c:pt>
                <c:pt idx="2489">
                  <c:v>45147</c:v>
                </c:pt>
                <c:pt idx="2490">
                  <c:v>45148</c:v>
                </c:pt>
                <c:pt idx="2491">
                  <c:v>45149</c:v>
                </c:pt>
                <c:pt idx="2492">
                  <c:v>45152</c:v>
                </c:pt>
                <c:pt idx="2493">
                  <c:v>45153</c:v>
                </c:pt>
                <c:pt idx="2494">
                  <c:v>45154</c:v>
                </c:pt>
                <c:pt idx="2495">
                  <c:v>45155</c:v>
                </c:pt>
                <c:pt idx="2496">
                  <c:v>45156</c:v>
                </c:pt>
                <c:pt idx="2497">
                  <c:v>45159</c:v>
                </c:pt>
                <c:pt idx="2498">
                  <c:v>45160</c:v>
                </c:pt>
                <c:pt idx="2499">
                  <c:v>45161</c:v>
                </c:pt>
                <c:pt idx="2500">
                  <c:v>45162</c:v>
                </c:pt>
                <c:pt idx="2501">
                  <c:v>45163</c:v>
                </c:pt>
                <c:pt idx="2502">
                  <c:v>45166</c:v>
                </c:pt>
                <c:pt idx="2503">
                  <c:v>45167</c:v>
                </c:pt>
                <c:pt idx="2504">
                  <c:v>45168</c:v>
                </c:pt>
                <c:pt idx="2505">
                  <c:v>45169</c:v>
                </c:pt>
                <c:pt idx="2506">
                  <c:v>45170</c:v>
                </c:pt>
                <c:pt idx="2507">
                  <c:v>45173</c:v>
                </c:pt>
                <c:pt idx="2508">
                  <c:v>45174</c:v>
                </c:pt>
                <c:pt idx="2509">
                  <c:v>45175</c:v>
                </c:pt>
                <c:pt idx="2510">
                  <c:v>45176</c:v>
                </c:pt>
                <c:pt idx="2511">
                  <c:v>45177</c:v>
                </c:pt>
                <c:pt idx="2512">
                  <c:v>45180</c:v>
                </c:pt>
                <c:pt idx="2513">
                  <c:v>45181</c:v>
                </c:pt>
                <c:pt idx="2514">
                  <c:v>45182</c:v>
                </c:pt>
                <c:pt idx="2515">
                  <c:v>45183</c:v>
                </c:pt>
                <c:pt idx="2516">
                  <c:v>45184</c:v>
                </c:pt>
                <c:pt idx="2517">
                  <c:v>45187</c:v>
                </c:pt>
                <c:pt idx="2518">
                  <c:v>45188</c:v>
                </c:pt>
                <c:pt idx="2519">
                  <c:v>45189</c:v>
                </c:pt>
                <c:pt idx="2520">
                  <c:v>45190</c:v>
                </c:pt>
                <c:pt idx="2521">
                  <c:v>45191</c:v>
                </c:pt>
                <c:pt idx="2522">
                  <c:v>45194</c:v>
                </c:pt>
                <c:pt idx="2523">
                  <c:v>45195</c:v>
                </c:pt>
                <c:pt idx="2524">
                  <c:v>45196</c:v>
                </c:pt>
                <c:pt idx="2525">
                  <c:v>45197</c:v>
                </c:pt>
                <c:pt idx="2526">
                  <c:v>45198</c:v>
                </c:pt>
                <c:pt idx="2527">
                  <c:v>45201</c:v>
                </c:pt>
                <c:pt idx="2528">
                  <c:v>45202</c:v>
                </c:pt>
                <c:pt idx="2529">
                  <c:v>45203</c:v>
                </c:pt>
                <c:pt idx="2530">
                  <c:v>45204</c:v>
                </c:pt>
                <c:pt idx="2531">
                  <c:v>45205</c:v>
                </c:pt>
                <c:pt idx="2532">
                  <c:v>45208</c:v>
                </c:pt>
                <c:pt idx="2533">
                  <c:v>45209</c:v>
                </c:pt>
                <c:pt idx="2534">
                  <c:v>45210</c:v>
                </c:pt>
                <c:pt idx="2535">
                  <c:v>45211</c:v>
                </c:pt>
                <c:pt idx="2536">
                  <c:v>45212</c:v>
                </c:pt>
                <c:pt idx="2537">
                  <c:v>45215</c:v>
                </c:pt>
                <c:pt idx="2538">
                  <c:v>45216</c:v>
                </c:pt>
                <c:pt idx="2539">
                  <c:v>45217</c:v>
                </c:pt>
                <c:pt idx="2540">
                  <c:v>45218</c:v>
                </c:pt>
                <c:pt idx="2541">
                  <c:v>45219</c:v>
                </c:pt>
                <c:pt idx="2542">
                  <c:v>45222</c:v>
                </c:pt>
                <c:pt idx="2543">
                  <c:v>45223</c:v>
                </c:pt>
                <c:pt idx="2544">
                  <c:v>45224</c:v>
                </c:pt>
                <c:pt idx="2545">
                  <c:v>45225</c:v>
                </c:pt>
                <c:pt idx="2546">
                  <c:v>45226</c:v>
                </c:pt>
                <c:pt idx="2547">
                  <c:v>45229</c:v>
                </c:pt>
                <c:pt idx="2548">
                  <c:v>45230</c:v>
                </c:pt>
                <c:pt idx="2549">
                  <c:v>45231</c:v>
                </c:pt>
                <c:pt idx="2550">
                  <c:v>45232</c:v>
                </c:pt>
                <c:pt idx="2551">
                  <c:v>45233</c:v>
                </c:pt>
                <c:pt idx="2552">
                  <c:v>45236</c:v>
                </c:pt>
                <c:pt idx="2553">
                  <c:v>45237</c:v>
                </c:pt>
                <c:pt idx="2554">
                  <c:v>45238</c:v>
                </c:pt>
                <c:pt idx="2555">
                  <c:v>45239</c:v>
                </c:pt>
                <c:pt idx="2556">
                  <c:v>45240</c:v>
                </c:pt>
                <c:pt idx="2557">
                  <c:v>45243</c:v>
                </c:pt>
                <c:pt idx="2558">
                  <c:v>45244</c:v>
                </c:pt>
                <c:pt idx="2559">
                  <c:v>45245</c:v>
                </c:pt>
                <c:pt idx="2560">
                  <c:v>45246</c:v>
                </c:pt>
                <c:pt idx="2561">
                  <c:v>45247</c:v>
                </c:pt>
                <c:pt idx="2562">
                  <c:v>45250</c:v>
                </c:pt>
                <c:pt idx="2563">
                  <c:v>45251</c:v>
                </c:pt>
                <c:pt idx="2564">
                  <c:v>45252</c:v>
                </c:pt>
                <c:pt idx="2565">
                  <c:v>45253</c:v>
                </c:pt>
                <c:pt idx="2566">
                  <c:v>45254</c:v>
                </c:pt>
                <c:pt idx="2567">
                  <c:v>45257</c:v>
                </c:pt>
                <c:pt idx="2568">
                  <c:v>45258</c:v>
                </c:pt>
                <c:pt idx="2569">
                  <c:v>45259</c:v>
                </c:pt>
                <c:pt idx="2570">
                  <c:v>45260</c:v>
                </c:pt>
                <c:pt idx="2571">
                  <c:v>45261</c:v>
                </c:pt>
                <c:pt idx="2572">
                  <c:v>45264</c:v>
                </c:pt>
                <c:pt idx="2573">
                  <c:v>45265</c:v>
                </c:pt>
                <c:pt idx="2574">
                  <c:v>45266</c:v>
                </c:pt>
                <c:pt idx="2575">
                  <c:v>45267</c:v>
                </c:pt>
                <c:pt idx="2576">
                  <c:v>45268</c:v>
                </c:pt>
                <c:pt idx="2577">
                  <c:v>45271</c:v>
                </c:pt>
                <c:pt idx="2578">
                  <c:v>45272</c:v>
                </c:pt>
                <c:pt idx="2579">
                  <c:v>45273</c:v>
                </c:pt>
                <c:pt idx="2580">
                  <c:v>45274</c:v>
                </c:pt>
                <c:pt idx="2581">
                  <c:v>45275</c:v>
                </c:pt>
                <c:pt idx="2582">
                  <c:v>45278</c:v>
                </c:pt>
                <c:pt idx="2583">
                  <c:v>45279</c:v>
                </c:pt>
                <c:pt idx="2584">
                  <c:v>45280</c:v>
                </c:pt>
                <c:pt idx="2585">
                  <c:v>45281</c:v>
                </c:pt>
                <c:pt idx="2586">
                  <c:v>45282</c:v>
                </c:pt>
                <c:pt idx="2587">
                  <c:v>45287</c:v>
                </c:pt>
                <c:pt idx="2588">
                  <c:v>45288</c:v>
                </c:pt>
                <c:pt idx="2589">
                  <c:v>45289</c:v>
                </c:pt>
                <c:pt idx="2590">
                  <c:v>45293</c:v>
                </c:pt>
                <c:pt idx="2591">
                  <c:v>45294</c:v>
                </c:pt>
                <c:pt idx="2592">
                  <c:v>45295</c:v>
                </c:pt>
                <c:pt idx="2593">
                  <c:v>45296</c:v>
                </c:pt>
                <c:pt idx="2594">
                  <c:v>45299</c:v>
                </c:pt>
                <c:pt idx="2595">
                  <c:v>45300</c:v>
                </c:pt>
                <c:pt idx="2596">
                  <c:v>45301</c:v>
                </c:pt>
                <c:pt idx="2597">
                  <c:v>45302</c:v>
                </c:pt>
                <c:pt idx="2598">
                  <c:v>45303</c:v>
                </c:pt>
                <c:pt idx="2599">
                  <c:v>45306</c:v>
                </c:pt>
                <c:pt idx="2600">
                  <c:v>45307</c:v>
                </c:pt>
                <c:pt idx="2601">
                  <c:v>45308</c:v>
                </c:pt>
                <c:pt idx="2602">
                  <c:v>45309</c:v>
                </c:pt>
                <c:pt idx="2603">
                  <c:v>45310</c:v>
                </c:pt>
                <c:pt idx="2604">
                  <c:v>45313</c:v>
                </c:pt>
                <c:pt idx="2605">
                  <c:v>45314</c:v>
                </c:pt>
                <c:pt idx="2606">
                  <c:v>45315</c:v>
                </c:pt>
                <c:pt idx="2607">
                  <c:v>45316</c:v>
                </c:pt>
                <c:pt idx="2608">
                  <c:v>45317</c:v>
                </c:pt>
                <c:pt idx="2609">
                  <c:v>45320</c:v>
                </c:pt>
                <c:pt idx="2610">
                  <c:v>45321</c:v>
                </c:pt>
                <c:pt idx="2611">
                  <c:v>45322</c:v>
                </c:pt>
                <c:pt idx="2612">
                  <c:v>45323</c:v>
                </c:pt>
                <c:pt idx="2613">
                  <c:v>45324</c:v>
                </c:pt>
                <c:pt idx="2614">
                  <c:v>45327</c:v>
                </c:pt>
                <c:pt idx="2615">
                  <c:v>45328</c:v>
                </c:pt>
                <c:pt idx="2616">
                  <c:v>45329</c:v>
                </c:pt>
                <c:pt idx="2617">
                  <c:v>45330</c:v>
                </c:pt>
                <c:pt idx="2618">
                  <c:v>45331</c:v>
                </c:pt>
                <c:pt idx="2619">
                  <c:v>45334</c:v>
                </c:pt>
                <c:pt idx="2620">
                  <c:v>45335</c:v>
                </c:pt>
                <c:pt idx="2621">
                  <c:v>45336</c:v>
                </c:pt>
                <c:pt idx="2622">
                  <c:v>45337</c:v>
                </c:pt>
                <c:pt idx="2623">
                  <c:v>45338</c:v>
                </c:pt>
                <c:pt idx="2624">
                  <c:v>45341</c:v>
                </c:pt>
                <c:pt idx="2625">
                  <c:v>45342</c:v>
                </c:pt>
                <c:pt idx="2626">
                  <c:v>45343</c:v>
                </c:pt>
                <c:pt idx="2627">
                  <c:v>45344</c:v>
                </c:pt>
                <c:pt idx="2628">
                  <c:v>45345</c:v>
                </c:pt>
                <c:pt idx="2629">
                  <c:v>45348</c:v>
                </c:pt>
                <c:pt idx="2630">
                  <c:v>45349</c:v>
                </c:pt>
                <c:pt idx="2631">
                  <c:v>45350</c:v>
                </c:pt>
                <c:pt idx="2632">
                  <c:v>45351</c:v>
                </c:pt>
                <c:pt idx="2633">
                  <c:v>45352</c:v>
                </c:pt>
                <c:pt idx="2634">
                  <c:v>45355</c:v>
                </c:pt>
                <c:pt idx="2635">
                  <c:v>45356</c:v>
                </c:pt>
                <c:pt idx="2636">
                  <c:v>45357</c:v>
                </c:pt>
                <c:pt idx="2637">
                  <c:v>45358</c:v>
                </c:pt>
                <c:pt idx="2638">
                  <c:v>45359</c:v>
                </c:pt>
                <c:pt idx="2639">
                  <c:v>45362</c:v>
                </c:pt>
                <c:pt idx="2640">
                  <c:v>45363</c:v>
                </c:pt>
                <c:pt idx="2641">
                  <c:v>45364</c:v>
                </c:pt>
                <c:pt idx="2642">
                  <c:v>45365</c:v>
                </c:pt>
                <c:pt idx="2643">
                  <c:v>45366</c:v>
                </c:pt>
                <c:pt idx="2644">
                  <c:v>45369</c:v>
                </c:pt>
                <c:pt idx="2645">
                  <c:v>45370</c:v>
                </c:pt>
                <c:pt idx="2646">
                  <c:v>45371</c:v>
                </c:pt>
                <c:pt idx="2647">
                  <c:v>45372</c:v>
                </c:pt>
                <c:pt idx="2648">
                  <c:v>45373</c:v>
                </c:pt>
                <c:pt idx="2649">
                  <c:v>45376</c:v>
                </c:pt>
                <c:pt idx="2650">
                  <c:v>45377</c:v>
                </c:pt>
                <c:pt idx="2651">
                  <c:v>45378</c:v>
                </c:pt>
                <c:pt idx="2652">
                  <c:v>45379</c:v>
                </c:pt>
                <c:pt idx="2653">
                  <c:v>45383</c:v>
                </c:pt>
                <c:pt idx="2654">
                  <c:v>45384</c:v>
                </c:pt>
                <c:pt idx="2655">
                  <c:v>45385</c:v>
                </c:pt>
                <c:pt idx="2656">
                  <c:v>45386</c:v>
                </c:pt>
                <c:pt idx="2657">
                  <c:v>45387</c:v>
                </c:pt>
                <c:pt idx="2658">
                  <c:v>45390</c:v>
                </c:pt>
                <c:pt idx="2659">
                  <c:v>45391</c:v>
                </c:pt>
                <c:pt idx="2660">
                  <c:v>45392</c:v>
                </c:pt>
                <c:pt idx="2661">
                  <c:v>45393</c:v>
                </c:pt>
                <c:pt idx="2662">
                  <c:v>45394</c:v>
                </c:pt>
                <c:pt idx="2663">
                  <c:v>45397</c:v>
                </c:pt>
                <c:pt idx="2664">
                  <c:v>45398</c:v>
                </c:pt>
                <c:pt idx="2665">
                  <c:v>45399</c:v>
                </c:pt>
                <c:pt idx="2666">
                  <c:v>45400</c:v>
                </c:pt>
                <c:pt idx="2667">
                  <c:v>45401</c:v>
                </c:pt>
                <c:pt idx="2668">
                  <c:v>45404</c:v>
                </c:pt>
                <c:pt idx="2669">
                  <c:v>45405</c:v>
                </c:pt>
                <c:pt idx="2670">
                  <c:v>45406</c:v>
                </c:pt>
                <c:pt idx="2671">
                  <c:v>45407</c:v>
                </c:pt>
                <c:pt idx="2672">
                  <c:v>45408</c:v>
                </c:pt>
                <c:pt idx="2673">
                  <c:v>45411</c:v>
                </c:pt>
                <c:pt idx="2674">
                  <c:v>45412</c:v>
                </c:pt>
                <c:pt idx="2675">
                  <c:v>45413</c:v>
                </c:pt>
                <c:pt idx="2676">
                  <c:v>45414</c:v>
                </c:pt>
                <c:pt idx="2677">
                  <c:v>45415</c:v>
                </c:pt>
                <c:pt idx="2678">
                  <c:v>45418</c:v>
                </c:pt>
                <c:pt idx="2679">
                  <c:v>45419</c:v>
                </c:pt>
                <c:pt idx="2680">
                  <c:v>45420</c:v>
                </c:pt>
                <c:pt idx="2681">
                  <c:v>45421</c:v>
                </c:pt>
                <c:pt idx="2682">
                  <c:v>45422</c:v>
                </c:pt>
                <c:pt idx="2683">
                  <c:v>45425</c:v>
                </c:pt>
                <c:pt idx="2684">
                  <c:v>45426</c:v>
                </c:pt>
                <c:pt idx="2685">
                  <c:v>45427</c:v>
                </c:pt>
                <c:pt idx="2686">
                  <c:v>45428</c:v>
                </c:pt>
                <c:pt idx="2687">
                  <c:v>45429</c:v>
                </c:pt>
                <c:pt idx="2688">
                  <c:v>45432</c:v>
                </c:pt>
                <c:pt idx="2689">
                  <c:v>45433</c:v>
                </c:pt>
                <c:pt idx="2690">
                  <c:v>45434</c:v>
                </c:pt>
                <c:pt idx="2691">
                  <c:v>45435</c:v>
                </c:pt>
                <c:pt idx="2692">
                  <c:v>45436</c:v>
                </c:pt>
                <c:pt idx="2693">
                  <c:v>45440</c:v>
                </c:pt>
                <c:pt idx="2694">
                  <c:v>45441</c:v>
                </c:pt>
                <c:pt idx="2695">
                  <c:v>45442</c:v>
                </c:pt>
                <c:pt idx="2696">
                  <c:v>45443</c:v>
                </c:pt>
                <c:pt idx="2697">
                  <c:v>45446</c:v>
                </c:pt>
                <c:pt idx="2698">
                  <c:v>45447</c:v>
                </c:pt>
                <c:pt idx="2699">
                  <c:v>45448</c:v>
                </c:pt>
                <c:pt idx="2700">
                  <c:v>45449</c:v>
                </c:pt>
                <c:pt idx="2701">
                  <c:v>45450</c:v>
                </c:pt>
                <c:pt idx="2702">
                  <c:v>45453</c:v>
                </c:pt>
                <c:pt idx="2703">
                  <c:v>45454</c:v>
                </c:pt>
                <c:pt idx="2704">
                  <c:v>45455</c:v>
                </c:pt>
                <c:pt idx="2705">
                  <c:v>45456</c:v>
                </c:pt>
                <c:pt idx="2706">
                  <c:v>45457</c:v>
                </c:pt>
                <c:pt idx="2707">
                  <c:v>45460</c:v>
                </c:pt>
                <c:pt idx="2708">
                  <c:v>45461</c:v>
                </c:pt>
                <c:pt idx="2709">
                  <c:v>45462</c:v>
                </c:pt>
                <c:pt idx="2710">
                  <c:v>45463</c:v>
                </c:pt>
                <c:pt idx="2711">
                  <c:v>45464</c:v>
                </c:pt>
                <c:pt idx="2712">
                  <c:v>45467</c:v>
                </c:pt>
                <c:pt idx="2713">
                  <c:v>45468</c:v>
                </c:pt>
                <c:pt idx="2714">
                  <c:v>45469</c:v>
                </c:pt>
                <c:pt idx="2715">
                  <c:v>45470</c:v>
                </c:pt>
                <c:pt idx="2716">
                  <c:v>45471</c:v>
                </c:pt>
                <c:pt idx="2717">
                  <c:v>45474</c:v>
                </c:pt>
                <c:pt idx="2718">
                  <c:v>45475</c:v>
                </c:pt>
                <c:pt idx="2719">
                  <c:v>45476</c:v>
                </c:pt>
                <c:pt idx="2720">
                  <c:v>45477</c:v>
                </c:pt>
                <c:pt idx="2721">
                  <c:v>45478</c:v>
                </c:pt>
                <c:pt idx="2722">
                  <c:v>45481</c:v>
                </c:pt>
                <c:pt idx="2723">
                  <c:v>45482</c:v>
                </c:pt>
                <c:pt idx="2724">
                  <c:v>45483</c:v>
                </c:pt>
                <c:pt idx="2725">
                  <c:v>45484</c:v>
                </c:pt>
                <c:pt idx="2726">
                  <c:v>45485</c:v>
                </c:pt>
                <c:pt idx="2727">
                  <c:v>45488</c:v>
                </c:pt>
                <c:pt idx="2728">
                  <c:v>45489</c:v>
                </c:pt>
                <c:pt idx="2729">
                  <c:v>45490</c:v>
                </c:pt>
                <c:pt idx="2730">
                  <c:v>45491</c:v>
                </c:pt>
                <c:pt idx="2731">
                  <c:v>45492</c:v>
                </c:pt>
                <c:pt idx="2732">
                  <c:v>45495</c:v>
                </c:pt>
                <c:pt idx="2733">
                  <c:v>45496</c:v>
                </c:pt>
                <c:pt idx="2734">
                  <c:v>45497</c:v>
                </c:pt>
                <c:pt idx="2735">
                  <c:v>45498</c:v>
                </c:pt>
                <c:pt idx="2736">
                  <c:v>45499</c:v>
                </c:pt>
                <c:pt idx="2737">
                  <c:v>45502</c:v>
                </c:pt>
                <c:pt idx="2738">
                  <c:v>45503</c:v>
                </c:pt>
                <c:pt idx="2739">
                  <c:v>45504</c:v>
                </c:pt>
                <c:pt idx="2740">
                  <c:v>45505</c:v>
                </c:pt>
                <c:pt idx="2741">
                  <c:v>45506</c:v>
                </c:pt>
                <c:pt idx="2742">
                  <c:v>45509</c:v>
                </c:pt>
                <c:pt idx="2743">
                  <c:v>45510</c:v>
                </c:pt>
                <c:pt idx="2744">
                  <c:v>45511</c:v>
                </c:pt>
                <c:pt idx="2745">
                  <c:v>45512</c:v>
                </c:pt>
                <c:pt idx="2746">
                  <c:v>45513</c:v>
                </c:pt>
                <c:pt idx="2747">
                  <c:v>45516</c:v>
                </c:pt>
                <c:pt idx="2748">
                  <c:v>45517</c:v>
                </c:pt>
                <c:pt idx="2749">
                  <c:v>45518</c:v>
                </c:pt>
                <c:pt idx="2750">
                  <c:v>45519</c:v>
                </c:pt>
                <c:pt idx="2751">
                  <c:v>45520</c:v>
                </c:pt>
                <c:pt idx="2752">
                  <c:v>45523</c:v>
                </c:pt>
                <c:pt idx="2753">
                  <c:v>45524</c:v>
                </c:pt>
                <c:pt idx="2754">
                  <c:v>45525</c:v>
                </c:pt>
                <c:pt idx="2755">
                  <c:v>45526</c:v>
                </c:pt>
                <c:pt idx="2756">
                  <c:v>45527</c:v>
                </c:pt>
                <c:pt idx="2757">
                  <c:v>45530</c:v>
                </c:pt>
                <c:pt idx="2758">
                  <c:v>45531</c:v>
                </c:pt>
                <c:pt idx="2759">
                  <c:v>45532</c:v>
                </c:pt>
                <c:pt idx="2760">
                  <c:v>45533</c:v>
                </c:pt>
                <c:pt idx="2761">
                  <c:v>45534</c:v>
                </c:pt>
                <c:pt idx="2762">
                  <c:v>45537</c:v>
                </c:pt>
                <c:pt idx="2763">
                  <c:v>45538</c:v>
                </c:pt>
                <c:pt idx="2764">
                  <c:v>45539</c:v>
                </c:pt>
                <c:pt idx="2765">
                  <c:v>45540</c:v>
                </c:pt>
                <c:pt idx="2766">
                  <c:v>45541</c:v>
                </c:pt>
                <c:pt idx="2767">
                  <c:v>45544</c:v>
                </c:pt>
                <c:pt idx="2768">
                  <c:v>45545</c:v>
                </c:pt>
                <c:pt idx="2769">
                  <c:v>45546</c:v>
                </c:pt>
                <c:pt idx="2770">
                  <c:v>45547</c:v>
                </c:pt>
                <c:pt idx="2771">
                  <c:v>45548</c:v>
                </c:pt>
                <c:pt idx="2772">
                  <c:v>45551</c:v>
                </c:pt>
                <c:pt idx="2773">
                  <c:v>45552</c:v>
                </c:pt>
                <c:pt idx="2774">
                  <c:v>45553</c:v>
                </c:pt>
                <c:pt idx="2775">
                  <c:v>45554</c:v>
                </c:pt>
                <c:pt idx="2776">
                  <c:v>45555</c:v>
                </c:pt>
                <c:pt idx="2777">
                  <c:v>45558</c:v>
                </c:pt>
                <c:pt idx="2778">
                  <c:v>45559</c:v>
                </c:pt>
                <c:pt idx="2779">
                  <c:v>45560</c:v>
                </c:pt>
                <c:pt idx="2780">
                  <c:v>45561</c:v>
                </c:pt>
                <c:pt idx="2781">
                  <c:v>45562</c:v>
                </c:pt>
                <c:pt idx="2782">
                  <c:v>45565</c:v>
                </c:pt>
                <c:pt idx="2783">
                  <c:v>45566</c:v>
                </c:pt>
                <c:pt idx="2784">
                  <c:v>45567</c:v>
                </c:pt>
                <c:pt idx="2785">
                  <c:v>45568</c:v>
                </c:pt>
                <c:pt idx="2786">
                  <c:v>45569</c:v>
                </c:pt>
                <c:pt idx="2787">
                  <c:v>45572</c:v>
                </c:pt>
                <c:pt idx="2788">
                  <c:v>45573</c:v>
                </c:pt>
                <c:pt idx="2789">
                  <c:v>45574</c:v>
                </c:pt>
                <c:pt idx="2790">
                  <c:v>45575</c:v>
                </c:pt>
                <c:pt idx="2791">
                  <c:v>45576</c:v>
                </c:pt>
                <c:pt idx="2792">
                  <c:v>45579</c:v>
                </c:pt>
                <c:pt idx="2793">
                  <c:v>45580</c:v>
                </c:pt>
                <c:pt idx="2794">
                  <c:v>45581</c:v>
                </c:pt>
                <c:pt idx="2795">
                  <c:v>45582</c:v>
                </c:pt>
                <c:pt idx="2796">
                  <c:v>45583</c:v>
                </c:pt>
                <c:pt idx="2797">
                  <c:v>45586</c:v>
                </c:pt>
                <c:pt idx="2798">
                  <c:v>45587</c:v>
                </c:pt>
                <c:pt idx="2799">
                  <c:v>45588</c:v>
                </c:pt>
                <c:pt idx="2800">
                  <c:v>45589</c:v>
                </c:pt>
                <c:pt idx="2801">
                  <c:v>45590</c:v>
                </c:pt>
                <c:pt idx="2802">
                  <c:v>45593</c:v>
                </c:pt>
                <c:pt idx="2803">
                  <c:v>45594</c:v>
                </c:pt>
                <c:pt idx="2804">
                  <c:v>45595</c:v>
                </c:pt>
                <c:pt idx="2805">
                  <c:v>45596</c:v>
                </c:pt>
                <c:pt idx="2806">
                  <c:v>45597</c:v>
                </c:pt>
                <c:pt idx="2807">
                  <c:v>45600</c:v>
                </c:pt>
                <c:pt idx="2808">
                  <c:v>45601</c:v>
                </c:pt>
                <c:pt idx="2809">
                  <c:v>45602</c:v>
                </c:pt>
                <c:pt idx="2810">
                  <c:v>45603</c:v>
                </c:pt>
                <c:pt idx="2811">
                  <c:v>45604</c:v>
                </c:pt>
                <c:pt idx="2812">
                  <c:v>45607</c:v>
                </c:pt>
                <c:pt idx="2813">
                  <c:v>45608</c:v>
                </c:pt>
                <c:pt idx="2814">
                  <c:v>45609</c:v>
                </c:pt>
                <c:pt idx="2815">
                  <c:v>45610</c:v>
                </c:pt>
                <c:pt idx="2816">
                  <c:v>45611</c:v>
                </c:pt>
                <c:pt idx="2817">
                  <c:v>45614</c:v>
                </c:pt>
                <c:pt idx="2818">
                  <c:v>45615</c:v>
                </c:pt>
                <c:pt idx="2819">
                  <c:v>45616</c:v>
                </c:pt>
                <c:pt idx="2820">
                  <c:v>45617</c:v>
                </c:pt>
                <c:pt idx="2821">
                  <c:v>45618</c:v>
                </c:pt>
                <c:pt idx="2822">
                  <c:v>45621</c:v>
                </c:pt>
                <c:pt idx="2823">
                  <c:v>45622</c:v>
                </c:pt>
                <c:pt idx="2824">
                  <c:v>45623</c:v>
                </c:pt>
                <c:pt idx="2825">
                  <c:v>45624</c:v>
                </c:pt>
                <c:pt idx="2826">
                  <c:v>45625</c:v>
                </c:pt>
                <c:pt idx="2827">
                  <c:v>45628</c:v>
                </c:pt>
                <c:pt idx="2828">
                  <c:v>45629</c:v>
                </c:pt>
                <c:pt idx="2829">
                  <c:v>45630</c:v>
                </c:pt>
                <c:pt idx="2830">
                  <c:v>45631</c:v>
                </c:pt>
                <c:pt idx="2831">
                  <c:v>45632</c:v>
                </c:pt>
                <c:pt idx="2832">
                  <c:v>45635</c:v>
                </c:pt>
                <c:pt idx="2833">
                  <c:v>45636</c:v>
                </c:pt>
                <c:pt idx="2834">
                  <c:v>45637</c:v>
                </c:pt>
                <c:pt idx="2835">
                  <c:v>45638</c:v>
                </c:pt>
                <c:pt idx="2836">
                  <c:v>45639</c:v>
                </c:pt>
                <c:pt idx="2837">
                  <c:v>45642</c:v>
                </c:pt>
                <c:pt idx="2838">
                  <c:v>45643</c:v>
                </c:pt>
                <c:pt idx="2839">
                  <c:v>45644</c:v>
                </c:pt>
                <c:pt idx="2840">
                  <c:v>45645</c:v>
                </c:pt>
                <c:pt idx="2841">
                  <c:v>45646</c:v>
                </c:pt>
                <c:pt idx="2842">
                  <c:v>45649</c:v>
                </c:pt>
                <c:pt idx="2843">
                  <c:v>45650</c:v>
                </c:pt>
                <c:pt idx="2844">
                  <c:v>45652</c:v>
                </c:pt>
                <c:pt idx="2845">
                  <c:v>45653</c:v>
                </c:pt>
                <c:pt idx="2846">
                  <c:v>45656</c:v>
                </c:pt>
                <c:pt idx="2847">
                  <c:v>45657</c:v>
                </c:pt>
                <c:pt idx="2848">
                  <c:v>45659</c:v>
                </c:pt>
                <c:pt idx="2849">
                  <c:v>45660</c:v>
                </c:pt>
                <c:pt idx="2850">
                  <c:v>45663</c:v>
                </c:pt>
                <c:pt idx="2851">
                  <c:v>45664</c:v>
                </c:pt>
                <c:pt idx="2852">
                  <c:v>45665</c:v>
                </c:pt>
                <c:pt idx="2853">
                  <c:v>45666</c:v>
                </c:pt>
                <c:pt idx="2854">
                  <c:v>45667</c:v>
                </c:pt>
                <c:pt idx="2855">
                  <c:v>45670</c:v>
                </c:pt>
                <c:pt idx="2856">
                  <c:v>45671</c:v>
                </c:pt>
                <c:pt idx="2857">
                  <c:v>45672</c:v>
                </c:pt>
                <c:pt idx="2858">
                  <c:v>45673</c:v>
                </c:pt>
                <c:pt idx="2859">
                  <c:v>45674</c:v>
                </c:pt>
                <c:pt idx="2860">
                  <c:v>45677</c:v>
                </c:pt>
                <c:pt idx="2861">
                  <c:v>45678</c:v>
                </c:pt>
                <c:pt idx="2862">
                  <c:v>45679</c:v>
                </c:pt>
                <c:pt idx="2863">
                  <c:v>45680</c:v>
                </c:pt>
                <c:pt idx="2864">
                  <c:v>45681</c:v>
                </c:pt>
                <c:pt idx="2865">
                  <c:v>45684</c:v>
                </c:pt>
                <c:pt idx="2866">
                  <c:v>45685</c:v>
                </c:pt>
                <c:pt idx="2867">
                  <c:v>45686</c:v>
                </c:pt>
                <c:pt idx="2868">
                  <c:v>45687</c:v>
                </c:pt>
                <c:pt idx="2869">
                  <c:v>45688</c:v>
                </c:pt>
                <c:pt idx="2870">
                  <c:v>45691</c:v>
                </c:pt>
                <c:pt idx="2871">
                  <c:v>45692</c:v>
                </c:pt>
                <c:pt idx="2872">
                  <c:v>45693</c:v>
                </c:pt>
                <c:pt idx="2873">
                  <c:v>45694</c:v>
                </c:pt>
                <c:pt idx="2874">
                  <c:v>45695</c:v>
                </c:pt>
                <c:pt idx="2875">
                  <c:v>45698</c:v>
                </c:pt>
                <c:pt idx="2876">
                  <c:v>45699</c:v>
                </c:pt>
                <c:pt idx="2877">
                  <c:v>45700</c:v>
                </c:pt>
                <c:pt idx="2878">
                  <c:v>45701</c:v>
                </c:pt>
                <c:pt idx="2879">
                  <c:v>45702</c:v>
                </c:pt>
                <c:pt idx="2880">
                  <c:v>45705</c:v>
                </c:pt>
                <c:pt idx="2881">
                  <c:v>45706</c:v>
                </c:pt>
                <c:pt idx="2882">
                  <c:v>45707</c:v>
                </c:pt>
                <c:pt idx="2883">
                  <c:v>45708</c:v>
                </c:pt>
                <c:pt idx="2884">
                  <c:v>45709</c:v>
                </c:pt>
                <c:pt idx="2885">
                  <c:v>45712</c:v>
                </c:pt>
                <c:pt idx="2886">
                  <c:v>45713</c:v>
                </c:pt>
                <c:pt idx="2887">
                  <c:v>45714</c:v>
                </c:pt>
                <c:pt idx="2888">
                  <c:v>45715</c:v>
                </c:pt>
                <c:pt idx="2889">
                  <c:v>45716</c:v>
                </c:pt>
                <c:pt idx="2890">
                  <c:v>45719</c:v>
                </c:pt>
                <c:pt idx="2891">
                  <c:v>45720</c:v>
                </c:pt>
                <c:pt idx="2892">
                  <c:v>45721</c:v>
                </c:pt>
                <c:pt idx="2893">
                  <c:v>45722</c:v>
                </c:pt>
                <c:pt idx="2894">
                  <c:v>45723</c:v>
                </c:pt>
                <c:pt idx="2895">
                  <c:v>45726</c:v>
                </c:pt>
                <c:pt idx="2896">
                  <c:v>45727</c:v>
                </c:pt>
                <c:pt idx="2897">
                  <c:v>45728</c:v>
                </c:pt>
                <c:pt idx="2898">
                  <c:v>45729</c:v>
                </c:pt>
                <c:pt idx="2899">
                  <c:v>45730</c:v>
                </c:pt>
                <c:pt idx="2900">
                  <c:v>45733</c:v>
                </c:pt>
                <c:pt idx="2901">
                  <c:v>45734</c:v>
                </c:pt>
                <c:pt idx="2902">
                  <c:v>45735</c:v>
                </c:pt>
                <c:pt idx="2903">
                  <c:v>45736</c:v>
                </c:pt>
                <c:pt idx="2904">
                  <c:v>45737</c:v>
                </c:pt>
                <c:pt idx="2905">
                  <c:v>45740</c:v>
                </c:pt>
                <c:pt idx="2906">
                  <c:v>45741</c:v>
                </c:pt>
                <c:pt idx="2907">
                  <c:v>45742</c:v>
                </c:pt>
                <c:pt idx="2908">
                  <c:v>45743</c:v>
                </c:pt>
                <c:pt idx="2909">
                  <c:v>45744</c:v>
                </c:pt>
                <c:pt idx="2910">
                  <c:v>45747</c:v>
                </c:pt>
                <c:pt idx="2911">
                  <c:v>45748</c:v>
                </c:pt>
                <c:pt idx="2912">
                  <c:v>45749</c:v>
                </c:pt>
                <c:pt idx="2913">
                  <c:v>45750</c:v>
                </c:pt>
                <c:pt idx="2914">
                  <c:v>45751</c:v>
                </c:pt>
                <c:pt idx="2915">
                  <c:v>45754</c:v>
                </c:pt>
                <c:pt idx="2916">
                  <c:v>45755</c:v>
                </c:pt>
                <c:pt idx="2917">
                  <c:v>45756</c:v>
                </c:pt>
                <c:pt idx="2918">
                  <c:v>45757</c:v>
                </c:pt>
                <c:pt idx="2919">
                  <c:v>45758</c:v>
                </c:pt>
                <c:pt idx="2920">
                  <c:v>45761</c:v>
                </c:pt>
                <c:pt idx="2921">
                  <c:v>45762</c:v>
                </c:pt>
                <c:pt idx="2922">
                  <c:v>45763</c:v>
                </c:pt>
                <c:pt idx="2923">
                  <c:v>45764</c:v>
                </c:pt>
                <c:pt idx="2924">
                  <c:v>45768</c:v>
                </c:pt>
                <c:pt idx="2925">
                  <c:v>45769</c:v>
                </c:pt>
                <c:pt idx="2926">
                  <c:v>45770</c:v>
                </c:pt>
                <c:pt idx="2927">
                  <c:v>45771</c:v>
                </c:pt>
                <c:pt idx="2928">
                  <c:v>45772</c:v>
                </c:pt>
                <c:pt idx="2929">
                  <c:v>45775</c:v>
                </c:pt>
                <c:pt idx="2930">
                  <c:v>45776</c:v>
                </c:pt>
                <c:pt idx="2931">
                  <c:v>45777</c:v>
                </c:pt>
                <c:pt idx="2932">
                  <c:v>45778</c:v>
                </c:pt>
                <c:pt idx="2933">
                  <c:v>45779</c:v>
                </c:pt>
                <c:pt idx="2934">
                  <c:v>45782</c:v>
                </c:pt>
                <c:pt idx="2935">
                  <c:v>45783</c:v>
                </c:pt>
                <c:pt idx="2936">
                  <c:v>45784</c:v>
                </c:pt>
                <c:pt idx="2937">
                  <c:v>45785</c:v>
                </c:pt>
                <c:pt idx="2938">
                  <c:v>45786</c:v>
                </c:pt>
                <c:pt idx="2939">
                  <c:v>45789</c:v>
                </c:pt>
                <c:pt idx="2940">
                  <c:v>45790</c:v>
                </c:pt>
                <c:pt idx="2941">
                  <c:v>45791</c:v>
                </c:pt>
                <c:pt idx="2942">
                  <c:v>45792</c:v>
                </c:pt>
                <c:pt idx="2943">
                  <c:v>45793</c:v>
                </c:pt>
                <c:pt idx="2944">
                  <c:v>0</c:v>
                </c:pt>
                <c:pt idx="2945">
                  <c:v>0</c:v>
                </c:pt>
                <c:pt idx="2946">
                  <c:v>0</c:v>
                </c:pt>
                <c:pt idx="2947">
                  <c:v>0</c:v>
                </c:pt>
                <c:pt idx="2948">
                  <c:v>0</c:v>
                </c:pt>
                <c:pt idx="2949">
                  <c:v>0</c:v>
                </c:pt>
                <c:pt idx="2950">
                  <c:v>0</c:v>
                </c:pt>
                <c:pt idx="2951">
                  <c:v>0</c:v>
                </c:pt>
                <c:pt idx="2952">
                  <c:v>0</c:v>
                </c:pt>
                <c:pt idx="2953">
                  <c:v>0</c:v>
                </c:pt>
                <c:pt idx="2954">
                  <c:v>0</c:v>
                </c:pt>
                <c:pt idx="2955">
                  <c:v>0</c:v>
                </c:pt>
                <c:pt idx="2956">
                  <c:v>0</c:v>
                </c:pt>
                <c:pt idx="2957">
                  <c:v>0</c:v>
                </c:pt>
                <c:pt idx="2958">
                  <c:v>0</c:v>
                </c:pt>
                <c:pt idx="2959">
                  <c:v>0</c:v>
                </c:pt>
                <c:pt idx="2960">
                  <c:v>0</c:v>
                </c:pt>
                <c:pt idx="2961">
                  <c:v>0</c:v>
                </c:pt>
                <c:pt idx="2962">
                  <c:v>0</c:v>
                </c:pt>
                <c:pt idx="2963">
                  <c:v>0</c:v>
                </c:pt>
                <c:pt idx="2964">
                  <c:v>0</c:v>
                </c:pt>
                <c:pt idx="2965">
                  <c:v>0</c:v>
                </c:pt>
                <c:pt idx="2966">
                  <c:v>0</c:v>
                </c:pt>
                <c:pt idx="2967">
                  <c:v>0</c:v>
                </c:pt>
                <c:pt idx="2968">
                  <c:v>0</c:v>
                </c:pt>
                <c:pt idx="2969">
                  <c:v>0</c:v>
                </c:pt>
                <c:pt idx="2970">
                  <c:v>0</c:v>
                </c:pt>
                <c:pt idx="2971">
                  <c:v>0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0</c:v>
                </c:pt>
                <c:pt idx="2977">
                  <c:v>0</c:v>
                </c:pt>
                <c:pt idx="2978">
                  <c:v>0</c:v>
                </c:pt>
                <c:pt idx="2979">
                  <c:v>0</c:v>
                </c:pt>
                <c:pt idx="2980">
                  <c:v>0</c:v>
                </c:pt>
                <c:pt idx="2981">
                  <c:v>0</c:v>
                </c:pt>
                <c:pt idx="2982">
                  <c:v>0</c:v>
                </c:pt>
                <c:pt idx="2983">
                  <c:v>0</c:v>
                </c:pt>
                <c:pt idx="2984">
                  <c:v>0</c:v>
                </c:pt>
                <c:pt idx="2985">
                  <c:v>0</c:v>
                </c:pt>
                <c:pt idx="2986">
                  <c:v>0</c:v>
                </c:pt>
                <c:pt idx="2987">
                  <c:v>0</c:v>
                </c:pt>
                <c:pt idx="2988">
                  <c:v>0</c:v>
                </c:pt>
                <c:pt idx="2989">
                  <c:v>0</c:v>
                </c:pt>
                <c:pt idx="2990">
                  <c:v>0</c:v>
                </c:pt>
                <c:pt idx="2991">
                  <c:v>0</c:v>
                </c:pt>
                <c:pt idx="2992">
                  <c:v>0</c:v>
                </c:pt>
                <c:pt idx="2993">
                  <c:v>0</c:v>
                </c:pt>
                <c:pt idx="2994">
                  <c:v>0</c:v>
                </c:pt>
                <c:pt idx="2995">
                  <c:v>0</c:v>
                </c:pt>
                <c:pt idx="2996">
                  <c:v>0</c:v>
                </c:pt>
                <c:pt idx="2997">
                  <c:v>0</c:v>
                </c:pt>
                <c:pt idx="2998">
                  <c:v>0</c:v>
                </c:pt>
                <c:pt idx="2999">
                  <c:v>0</c:v>
                </c:pt>
                <c:pt idx="3000">
                  <c:v>0</c:v>
                </c:pt>
                <c:pt idx="3001">
                  <c:v>0</c:v>
                </c:pt>
                <c:pt idx="3002">
                  <c:v>0</c:v>
                </c:pt>
                <c:pt idx="3003">
                  <c:v>0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0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0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0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0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0</c:v>
                </c:pt>
                <c:pt idx="3049">
                  <c:v>0</c:v>
                </c:pt>
                <c:pt idx="3050">
                  <c:v>0</c:v>
                </c:pt>
                <c:pt idx="3051">
                  <c:v>0</c:v>
                </c:pt>
                <c:pt idx="3052">
                  <c:v>0</c:v>
                </c:pt>
                <c:pt idx="3053">
                  <c:v>0</c:v>
                </c:pt>
                <c:pt idx="3054">
                  <c:v>0</c:v>
                </c:pt>
                <c:pt idx="3055">
                  <c:v>0</c:v>
                </c:pt>
                <c:pt idx="3056">
                  <c:v>0</c:v>
                </c:pt>
                <c:pt idx="3057">
                  <c:v>0</c:v>
                </c:pt>
                <c:pt idx="3058">
                  <c:v>0</c:v>
                </c:pt>
                <c:pt idx="3059">
                  <c:v>0</c:v>
                </c:pt>
                <c:pt idx="3060">
                  <c:v>0</c:v>
                </c:pt>
                <c:pt idx="3061">
                  <c:v>0</c:v>
                </c:pt>
                <c:pt idx="3062">
                  <c:v>0</c:v>
                </c:pt>
                <c:pt idx="3063">
                  <c:v>0</c:v>
                </c:pt>
                <c:pt idx="3064">
                  <c:v>0</c:v>
                </c:pt>
                <c:pt idx="3065">
                  <c:v>0</c:v>
                </c:pt>
                <c:pt idx="3066">
                  <c:v>0</c:v>
                </c:pt>
                <c:pt idx="3067">
                  <c:v>0</c:v>
                </c:pt>
                <c:pt idx="3068">
                  <c:v>0</c:v>
                </c:pt>
                <c:pt idx="3069">
                  <c:v>0</c:v>
                </c:pt>
                <c:pt idx="3070">
                  <c:v>0</c:v>
                </c:pt>
                <c:pt idx="3071">
                  <c:v>0</c:v>
                </c:pt>
                <c:pt idx="3072">
                  <c:v>0</c:v>
                </c:pt>
                <c:pt idx="3073">
                  <c:v>0</c:v>
                </c:pt>
                <c:pt idx="3074">
                  <c:v>0</c:v>
                </c:pt>
                <c:pt idx="3075">
                  <c:v>0</c:v>
                </c:pt>
                <c:pt idx="3076">
                  <c:v>0</c:v>
                </c:pt>
                <c:pt idx="3077">
                  <c:v>0</c:v>
                </c:pt>
                <c:pt idx="3078">
                  <c:v>0</c:v>
                </c:pt>
                <c:pt idx="3079">
                  <c:v>0</c:v>
                </c:pt>
                <c:pt idx="3080">
                  <c:v>0</c:v>
                </c:pt>
                <c:pt idx="3081">
                  <c:v>0</c:v>
                </c:pt>
                <c:pt idx="3082">
                  <c:v>0</c:v>
                </c:pt>
                <c:pt idx="3083">
                  <c:v>0</c:v>
                </c:pt>
                <c:pt idx="3084">
                  <c:v>0</c:v>
                </c:pt>
                <c:pt idx="3085">
                  <c:v>0</c:v>
                </c:pt>
                <c:pt idx="3086">
                  <c:v>0</c:v>
                </c:pt>
                <c:pt idx="3087">
                  <c:v>0</c:v>
                </c:pt>
                <c:pt idx="3088">
                  <c:v>0</c:v>
                </c:pt>
                <c:pt idx="3089">
                  <c:v>0</c:v>
                </c:pt>
                <c:pt idx="3090">
                  <c:v>0</c:v>
                </c:pt>
                <c:pt idx="3091">
                  <c:v>0</c:v>
                </c:pt>
                <c:pt idx="3092">
                  <c:v>0</c:v>
                </c:pt>
                <c:pt idx="3093">
                  <c:v>0</c:v>
                </c:pt>
                <c:pt idx="3094">
                  <c:v>0</c:v>
                </c:pt>
                <c:pt idx="3095">
                  <c:v>0</c:v>
                </c:pt>
                <c:pt idx="3096">
                  <c:v>0</c:v>
                </c:pt>
                <c:pt idx="3097">
                  <c:v>0</c:v>
                </c:pt>
                <c:pt idx="3098">
                  <c:v>0</c:v>
                </c:pt>
                <c:pt idx="3099">
                  <c:v>0</c:v>
                </c:pt>
                <c:pt idx="3100">
                  <c:v>0</c:v>
                </c:pt>
                <c:pt idx="3101">
                  <c:v>0</c:v>
                </c:pt>
                <c:pt idx="3102">
                  <c:v>0</c:v>
                </c:pt>
                <c:pt idx="3103">
                  <c:v>0</c:v>
                </c:pt>
                <c:pt idx="3104">
                  <c:v>0</c:v>
                </c:pt>
                <c:pt idx="3105">
                  <c:v>0</c:v>
                </c:pt>
                <c:pt idx="3106">
                  <c:v>0</c:v>
                </c:pt>
                <c:pt idx="3107">
                  <c:v>0</c:v>
                </c:pt>
                <c:pt idx="3108">
                  <c:v>0</c:v>
                </c:pt>
                <c:pt idx="3109">
                  <c:v>0</c:v>
                </c:pt>
                <c:pt idx="3110">
                  <c:v>0</c:v>
                </c:pt>
                <c:pt idx="3111">
                  <c:v>0</c:v>
                </c:pt>
                <c:pt idx="3112">
                  <c:v>0</c:v>
                </c:pt>
                <c:pt idx="3113">
                  <c:v>0</c:v>
                </c:pt>
                <c:pt idx="3114">
                  <c:v>0</c:v>
                </c:pt>
                <c:pt idx="3115">
                  <c:v>0</c:v>
                </c:pt>
                <c:pt idx="3116">
                  <c:v>0</c:v>
                </c:pt>
                <c:pt idx="3117">
                  <c:v>0</c:v>
                </c:pt>
                <c:pt idx="3118">
                  <c:v>0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0</c:v>
                </c:pt>
                <c:pt idx="3123">
                  <c:v>0</c:v>
                </c:pt>
                <c:pt idx="3124">
                  <c:v>0</c:v>
                </c:pt>
                <c:pt idx="3125">
                  <c:v>0</c:v>
                </c:pt>
                <c:pt idx="3126">
                  <c:v>0</c:v>
                </c:pt>
                <c:pt idx="3127">
                  <c:v>0</c:v>
                </c:pt>
                <c:pt idx="3128">
                  <c:v>0</c:v>
                </c:pt>
                <c:pt idx="3129">
                  <c:v>0</c:v>
                </c:pt>
                <c:pt idx="3130">
                  <c:v>0</c:v>
                </c:pt>
                <c:pt idx="3131">
                  <c:v>0</c:v>
                </c:pt>
                <c:pt idx="3132">
                  <c:v>0</c:v>
                </c:pt>
                <c:pt idx="3133">
                  <c:v>0</c:v>
                </c:pt>
                <c:pt idx="3134">
                  <c:v>0</c:v>
                </c:pt>
                <c:pt idx="3135">
                  <c:v>0</c:v>
                </c:pt>
                <c:pt idx="3136">
                  <c:v>0</c:v>
                </c:pt>
                <c:pt idx="3137">
                  <c:v>0</c:v>
                </c:pt>
                <c:pt idx="3138">
                  <c:v>0</c:v>
                </c:pt>
                <c:pt idx="3139">
                  <c:v>0</c:v>
                </c:pt>
                <c:pt idx="3140">
                  <c:v>0</c:v>
                </c:pt>
                <c:pt idx="3141">
                  <c:v>0</c:v>
                </c:pt>
                <c:pt idx="3142">
                  <c:v>0</c:v>
                </c:pt>
                <c:pt idx="3143">
                  <c:v>0</c:v>
                </c:pt>
                <c:pt idx="3144">
                  <c:v>0</c:v>
                </c:pt>
                <c:pt idx="3145">
                  <c:v>0</c:v>
                </c:pt>
                <c:pt idx="3146">
                  <c:v>0</c:v>
                </c:pt>
                <c:pt idx="3147">
                  <c:v>0</c:v>
                </c:pt>
                <c:pt idx="3148">
                  <c:v>0</c:v>
                </c:pt>
                <c:pt idx="3149">
                  <c:v>0</c:v>
                </c:pt>
                <c:pt idx="3150">
                  <c:v>0</c:v>
                </c:pt>
                <c:pt idx="3151">
                  <c:v>0</c:v>
                </c:pt>
                <c:pt idx="3152">
                  <c:v>0</c:v>
                </c:pt>
                <c:pt idx="3153">
                  <c:v>0</c:v>
                </c:pt>
                <c:pt idx="3154">
                  <c:v>0</c:v>
                </c:pt>
                <c:pt idx="3155">
                  <c:v>0</c:v>
                </c:pt>
                <c:pt idx="3156">
                  <c:v>0</c:v>
                </c:pt>
                <c:pt idx="3157">
                  <c:v>0</c:v>
                </c:pt>
                <c:pt idx="3158">
                  <c:v>0</c:v>
                </c:pt>
                <c:pt idx="3159">
                  <c:v>0</c:v>
                </c:pt>
                <c:pt idx="3160">
                  <c:v>0</c:v>
                </c:pt>
                <c:pt idx="3161">
                  <c:v>0</c:v>
                </c:pt>
                <c:pt idx="3162">
                  <c:v>0</c:v>
                </c:pt>
                <c:pt idx="3163">
                  <c:v>0</c:v>
                </c:pt>
                <c:pt idx="3164">
                  <c:v>0</c:v>
                </c:pt>
                <c:pt idx="3165">
                  <c:v>0</c:v>
                </c:pt>
                <c:pt idx="3166">
                  <c:v>0</c:v>
                </c:pt>
                <c:pt idx="3167">
                  <c:v>0</c:v>
                </c:pt>
                <c:pt idx="3168">
                  <c:v>0</c:v>
                </c:pt>
                <c:pt idx="3169">
                  <c:v>0</c:v>
                </c:pt>
                <c:pt idx="3170">
                  <c:v>0</c:v>
                </c:pt>
                <c:pt idx="3171">
                  <c:v>0</c:v>
                </c:pt>
                <c:pt idx="3172">
                  <c:v>0</c:v>
                </c:pt>
                <c:pt idx="3173">
                  <c:v>0</c:v>
                </c:pt>
                <c:pt idx="3174">
                  <c:v>0</c:v>
                </c:pt>
                <c:pt idx="3175">
                  <c:v>0</c:v>
                </c:pt>
                <c:pt idx="3176">
                  <c:v>0</c:v>
                </c:pt>
                <c:pt idx="3177">
                  <c:v>0</c:v>
                </c:pt>
                <c:pt idx="3178">
                  <c:v>0</c:v>
                </c:pt>
                <c:pt idx="3179">
                  <c:v>0</c:v>
                </c:pt>
                <c:pt idx="3180">
                  <c:v>0</c:v>
                </c:pt>
                <c:pt idx="3181">
                  <c:v>0</c:v>
                </c:pt>
                <c:pt idx="3182">
                  <c:v>0</c:v>
                </c:pt>
                <c:pt idx="3183">
                  <c:v>0</c:v>
                </c:pt>
                <c:pt idx="3184">
                  <c:v>0</c:v>
                </c:pt>
                <c:pt idx="3185">
                  <c:v>0</c:v>
                </c:pt>
                <c:pt idx="3186">
                  <c:v>0</c:v>
                </c:pt>
                <c:pt idx="3187">
                  <c:v>0</c:v>
                </c:pt>
                <c:pt idx="3188">
                  <c:v>0</c:v>
                </c:pt>
                <c:pt idx="3189">
                  <c:v>0</c:v>
                </c:pt>
                <c:pt idx="3190">
                  <c:v>0</c:v>
                </c:pt>
                <c:pt idx="3191">
                  <c:v>0</c:v>
                </c:pt>
                <c:pt idx="3192">
                  <c:v>0</c:v>
                </c:pt>
                <c:pt idx="3193">
                  <c:v>0</c:v>
                </c:pt>
                <c:pt idx="3194">
                  <c:v>0</c:v>
                </c:pt>
                <c:pt idx="3195">
                  <c:v>0</c:v>
                </c:pt>
                <c:pt idx="3196">
                  <c:v>0</c:v>
                </c:pt>
                <c:pt idx="3197">
                  <c:v>0</c:v>
                </c:pt>
                <c:pt idx="3198">
                  <c:v>0</c:v>
                </c:pt>
                <c:pt idx="3199">
                  <c:v>0</c:v>
                </c:pt>
                <c:pt idx="3200">
                  <c:v>0</c:v>
                </c:pt>
                <c:pt idx="3201">
                  <c:v>0</c:v>
                </c:pt>
                <c:pt idx="3202">
                  <c:v>0</c:v>
                </c:pt>
                <c:pt idx="3203">
                  <c:v>0</c:v>
                </c:pt>
                <c:pt idx="3204">
                  <c:v>0</c:v>
                </c:pt>
                <c:pt idx="3205">
                  <c:v>0</c:v>
                </c:pt>
                <c:pt idx="3206">
                  <c:v>0</c:v>
                </c:pt>
                <c:pt idx="3207">
                  <c:v>0</c:v>
                </c:pt>
                <c:pt idx="3208">
                  <c:v>0</c:v>
                </c:pt>
                <c:pt idx="3209">
                  <c:v>0</c:v>
                </c:pt>
                <c:pt idx="3210">
                  <c:v>0</c:v>
                </c:pt>
                <c:pt idx="3211">
                  <c:v>0</c:v>
                </c:pt>
                <c:pt idx="3212">
                  <c:v>0</c:v>
                </c:pt>
                <c:pt idx="3213">
                  <c:v>0</c:v>
                </c:pt>
                <c:pt idx="3214">
                  <c:v>0</c:v>
                </c:pt>
                <c:pt idx="3215">
                  <c:v>0</c:v>
                </c:pt>
                <c:pt idx="3216">
                  <c:v>0</c:v>
                </c:pt>
                <c:pt idx="3217">
                  <c:v>0</c:v>
                </c:pt>
                <c:pt idx="3218">
                  <c:v>0</c:v>
                </c:pt>
                <c:pt idx="3219">
                  <c:v>0</c:v>
                </c:pt>
                <c:pt idx="3220">
                  <c:v>0</c:v>
                </c:pt>
                <c:pt idx="3221">
                  <c:v>0</c:v>
                </c:pt>
                <c:pt idx="3222">
                  <c:v>0</c:v>
                </c:pt>
                <c:pt idx="3223">
                  <c:v>0</c:v>
                </c:pt>
                <c:pt idx="3224">
                  <c:v>0</c:v>
                </c:pt>
                <c:pt idx="3225">
                  <c:v>0</c:v>
                </c:pt>
                <c:pt idx="3226">
                  <c:v>0</c:v>
                </c:pt>
                <c:pt idx="3227">
                  <c:v>0</c:v>
                </c:pt>
                <c:pt idx="3228">
                  <c:v>0</c:v>
                </c:pt>
                <c:pt idx="3229">
                  <c:v>0</c:v>
                </c:pt>
                <c:pt idx="3230">
                  <c:v>0</c:v>
                </c:pt>
                <c:pt idx="3231">
                  <c:v>0</c:v>
                </c:pt>
                <c:pt idx="3232">
                  <c:v>0</c:v>
                </c:pt>
                <c:pt idx="3233">
                  <c:v>0</c:v>
                </c:pt>
                <c:pt idx="3234">
                  <c:v>0</c:v>
                </c:pt>
                <c:pt idx="3235">
                  <c:v>0</c:v>
                </c:pt>
                <c:pt idx="3236">
                  <c:v>0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0</c:v>
                </c:pt>
                <c:pt idx="3246">
                  <c:v>0</c:v>
                </c:pt>
                <c:pt idx="3247">
                  <c:v>0</c:v>
                </c:pt>
                <c:pt idx="3248">
                  <c:v>0</c:v>
                </c:pt>
                <c:pt idx="3249">
                  <c:v>0</c:v>
                </c:pt>
                <c:pt idx="3250">
                  <c:v>0</c:v>
                </c:pt>
                <c:pt idx="3251">
                  <c:v>0</c:v>
                </c:pt>
                <c:pt idx="3252">
                  <c:v>0</c:v>
                </c:pt>
                <c:pt idx="3253">
                  <c:v>0</c:v>
                </c:pt>
                <c:pt idx="3254">
                  <c:v>0</c:v>
                </c:pt>
                <c:pt idx="3255">
                  <c:v>0</c:v>
                </c:pt>
                <c:pt idx="3256">
                  <c:v>0</c:v>
                </c:pt>
                <c:pt idx="3257">
                  <c:v>0</c:v>
                </c:pt>
                <c:pt idx="3258">
                  <c:v>0</c:v>
                </c:pt>
                <c:pt idx="3259">
                  <c:v>0</c:v>
                </c:pt>
                <c:pt idx="3260">
                  <c:v>0</c:v>
                </c:pt>
                <c:pt idx="3261">
                  <c:v>0</c:v>
                </c:pt>
                <c:pt idx="3262">
                  <c:v>0</c:v>
                </c:pt>
                <c:pt idx="3263">
                  <c:v>0</c:v>
                </c:pt>
                <c:pt idx="3264">
                  <c:v>0</c:v>
                </c:pt>
                <c:pt idx="3265">
                  <c:v>0</c:v>
                </c:pt>
                <c:pt idx="3266">
                  <c:v>0</c:v>
                </c:pt>
                <c:pt idx="3267">
                  <c:v>0</c:v>
                </c:pt>
                <c:pt idx="3268">
                  <c:v>0</c:v>
                </c:pt>
                <c:pt idx="3269">
                  <c:v>0</c:v>
                </c:pt>
                <c:pt idx="3270">
                  <c:v>0</c:v>
                </c:pt>
                <c:pt idx="3271">
                  <c:v>0</c:v>
                </c:pt>
                <c:pt idx="3272">
                  <c:v>0</c:v>
                </c:pt>
                <c:pt idx="3273">
                  <c:v>0</c:v>
                </c:pt>
                <c:pt idx="3274">
                  <c:v>0</c:v>
                </c:pt>
                <c:pt idx="3275">
                  <c:v>0</c:v>
                </c:pt>
                <c:pt idx="3276">
                  <c:v>0</c:v>
                </c:pt>
                <c:pt idx="3277">
                  <c:v>0</c:v>
                </c:pt>
                <c:pt idx="3278">
                  <c:v>0</c:v>
                </c:pt>
                <c:pt idx="3279">
                  <c:v>0</c:v>
                </c:pt>
                <c:pt idx="3280">
                  <c:v>0</c:v>
                </c:pt>
                <c:pt idx="3281">
                  <c:v>0</c:v>
                </c:pt>
                <c:pt idx="3282">
                  <c:v>0</c:v>
                </c:pt>
                <c:pt idx="3283">
                  <c:v>0</c:v>
                </c:pt>
                <c:pt idx="3284">
                  <c:v>0</c:v>
                </c:pt>
                <c:pt idx="3285">
                  <c:v>0</c:v>
                </c:pt>
                <c:pt idx="3286">
                  <c:v>0</c:v>
                </c:pt>
                <c:pt idx="3287">
                  <c:v>0</c:v>
                </c:pt>
                <c:pt idx="3288">
                  <c:v>0</c:v>
                </c:pt>
                <c:pt idx="3289">
                  <c:v>0</c:v>
                </c:pt>
                <c:pt idx="3290">
                  <c:v>0</c:v>
                </c:pt>
                <c:pt idx="3291">
                  <c:v>0</c:v>
                </c:pt>
                <c:pt idx="3292">
                  <c:v>0</c:v>
                </c:pt>
                <c:pt idx="3293">
                  <c:v>0</c:v>
                </c:pt>
                <c:pt idx="3294">
                  <c:v>0</c:v>
                </c:pt>
                <c:pt idx="3295">
                  <c:v>0</c:v>
                </c:pt>
                <c:pt idx="3296">
                  <c:v>0</c:v>
                </c:pt>
                <c:pt idx="3297">
                  <c:v>0</c:v>
                </c:pt>
                <c:pt idx="3298">
                  <c:v>0</c:v>
                </c:pt>
                <c:pt idx="3299">
                  <c:v>0</c:v>
                </c:pt>
                <c:pt idx="3300">
                  <c:v>0</c:v>
                </c:pt>
                <c:pt idx="3301">
                  <c:v>0</c:v>
                </c:pt>
                <c:pt idx="3302">
                  <c:v>0</c:v>
                </c:pt>
                <c:pt idx="3303">
                  <c:v>0</c:v>
                </c:pt>
                <c:pt idx="3304">
                  <c:v>0</c:v>
                </c:pt>
                <c:pt idx="3305">
                  <c:v>0</c:v>
                </c:pt>
                <c:pt idx="3306">
                  <c:v>0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0</c:v>
                </c:pt>
                <c:pt idx="3311">
                  <c:v>0</c:v>
                </c:pt>
                <c:pt idx="3312">
                  <c:v>0</c:v>
                </c:pt>
                <c:pt idx="3313">
                  <c:v>0</c:v>
                </c:pt>
                <c:pt idx="3314">
                  <c:v>0</c:v>
                </c:pt>
                <c:pt idx="3315">
                  <c:v>0</c:v>
                </c:pt>
                <c:pt idx="3316">
                  <c:v>0</c:v>
                </c:pt>
                <c:pt idx="3317">
                  <c:v>0</c:v>
                </c:pt>
                <c:pt idx="3318">
                  <c:v>0</c:v>
                </c:pt>
                <c:pt idx="3319">
                  <c:v>0</c:v>
                </c:pt>
                <c:pt idx="3320">
                  <c:v>0</c:v>
                </c:pt>
                <c:pt idx="3321">
                  <c:v>0</c:v>
                </c:pt>
                <c:pt idx="3322">
                  <c:v>0</c:v>
                </c:pt>
                <c:pt idx="3323">
                  <c:v>0</c:v>
                </c:pt>
                <c:pt idx="3324">
                  <c:v>0</c:v>
                </c:pt>
                <c:pt idx="3325">
                  <c:v>0</c:v>
                </c:pt>
                <c:pt idx="3326">
                  <c:v>0</c:v>
                </c:pt>
                <c:pt idx="3327">
                  <c:v>0</c:v>
                </c:pt>
                <c:pt idx="3328">
                  <c:v>0</c:v>
                </c:pt>
                <c:pt idx="3329">
                  <c:v>0</c:v>
                </c:pt>
                <c:pt idx="3330">
                  <c:v>0</c:v>
                </c:pt>
                <c:pt idx="3331">
                  <c:v>0</c:v>
                </c:pt>
                <c:pt idx="3332">
                  <c:v>0</c:v>
                </c:pt>
                <c:pt idx="3333">
                  <c:v>0</c:v>
                </c:pt>
                <c:pt idx="3334">
                  <c:v>0</c:v>
                </c:pt>
                <c:pt idx="3335">
                  <c:v>0</c:v>
                </c:pt>
                <c:pt idx="3336">
                  <c:v>0</c:v>
                </c:pt>
                <c:pt idx="3337">
                  <c:v>0</c:v>
                </c:pt>
                <c:pt idx="3338">
                  <c:v>0</c:v>
                </c:pt>
                <c:pt idx="3339">
                  <c:v>0</c:v>
                </c:pt>
                <c:pt idx="3340">
                  <c:v>0</c:v>
                </c:pt>
                <c:pt idx="3341">
                  <c:v>0</c:v>
                </c:pt>
                <c:pt idx="3342">
                  <c:v>0</c:v>
                </c:pt>
                <c:pt idx="3343">
                  <c:v>0</c:v>
                </c:pt>
                <c:pt idx="3344">
                  <c:v>0</c:v>
                </c:pt>
                <c:pt idx="3345">
                  <c:v>0</c:v>
                </c:pt>
                <c:pt idx="3346">
                  <c:v>0</c:v>
                </c:pt>
                <c:pt idx="3347">
                  <c:v>0</c:v>
                </c:pt>
                <c:pt idx="3348">
                  <c:v>0</c:v>
                </c:pt>
                <c:pt idx="3349">
                  <c:v>0</c:v>
                </c:pt>
                <c:pt idx="3350">
                  <c:v>0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0</c:v>
                </c:pt>
                <c:pt idx="3356">
                  <c:v>0</c:v>
                </c:pt>
                <c:pt idx="3357">
                  <c:v>0</c:v>
                </c:pt>
                <c:pt idx="3358">
                  <c:v>0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0</c:v>
                </c:pt>
                <c:pt idx="3363">
                  <c:v>0</c:v>
                </c:pt>
                <c:pt idx="3364">
                  <c:v>0</c:v>
                </c:pt>
                <c:pt idx="3365">
                  <c:v>0</c:v>
                </c:pt>
                <c:pt idx="3366">
                  <c:v>0</c:v>
                </c:pt>
                <c:pt idx="3367">
                  <c:v>0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0</c:v>
                </c:pt>
                <c:pt idx="3373">
                  <c:v>0</c:v>
                </c:pt>
                <c:pt idx="3374">
                  <c:v>0</c:v>
                </c:pt>
                <c:pt idx="3375">
                  <c:v>0</c:v>
                </c:pt>
                <c:pt idx="3376">
                  <c:v>0</c:v>
                </c:pt>
                <c:pt idx="3377">
                  <c:v>0</c:v>
                </c:pt>
                <c:pt idx="3378">
                  <c:v>0</c:v>
                </c:pt>
                <c:pt idx="3379">
                  <c:v>0</c:v>
                </c:pt>
                <c:pt idx="3380">
                  <c:v>0</c:v>
                </c:pt>
                <c:pt idx="3381">
                  <c:v>0</c:v>
                </c:pt>
                <c:pt idx="3382">
                  <c:v>0</c:v>
                </c:pt>
                <c:pt idx="3383">
                  <c:v>0</c:v>
                </c:pt>
                <c:pt idx="3384">
                  <c:v>0</c:v>
                </c:pt>
                <c:pt idx="3385">
                  <c:v>0</c:v>
                </c:pt>
                <c:pt idx="3386">
                  <c:v>0</c:v>
                </c:pt>
                <c:pt idx="3387">
                  <c:v>0</c:v>
                </c:pt>
                <c:pt idx="3388">
                  <c:v>0</c:v>
                </c:pt>
                <c:pt idx="3389">
                  <c:v>0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0</c:v>
                </c:pt>
                <c:pt idx="3397">
                  <c:v>0</c:v>
                </c:pt>
                <c:pt idx="3398">
                  <c:v>0</c:v>
                </c:pt>
                <c:pt idx="3399">
                  <c:v>0</c:v>
                </c:pt>
                <c:pt idx="3400">
                  <c:v>0</c:v>
                </c:pt>
                <c:pt idx="3401">
                  <c:v>0</c:v>
                </c:pt>
                <c:pt idx="3402">
                  <c:v>0</c:v>
                </c:pt>
                <c:pt idx="3403">
                  <c:v>0</c:v>
                </c:pt>
                <c:pt idx="3404">
                  <c:v>0</c:v>
                </c:pt>
                <c:pt idx="3405">
                  <c:v>0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0</c:v>
                </c:pt>
                <c:pt idx="3411">
                  <c:v>0</c:v>
                </c:pt>
                <c:pt idx="3412">
                  <c:v>0</c:v>
                </c:pt>
                <c:pt idx="3413">
                  <c:v>0</c:v>
                </c:pt>
                <c:pt idx="3414">
                  <c:v>0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0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0</c:v>
                </c:pt>
                <c:pt idx="3427">
                  <c:v>0</c:v>
                </c:pt>
                <c:pt idx="3428">
                  <c:v>0</c:v>
                </c:pt>
                <c:pt idx="3429">
                  <c:v>0</c:v>
                </c:pt>
                <c:pt idx="3430">
                  <c:v>0</c:v>
                </c:pt>
                <c:pt idx="3431">
                  <c:v>0</c:v>
                </c:pt>
                <c:pt idx="3432">
                  <c:v>0</c:v>
                </c:pt>
                <c:pt idx="3433">
                  <c:v>0</c:v>
                </c:pt>
                <c:pt idx="3434">
                  <c:v>0</c:v>
                </c:pt>
                <c:pt idx="3435">
                  <c:v>0</c:v>
                </c:pt>
                <c:pt idx="3436">
                  <c:v>0</c:v>
                </c:pt>
                <c:pt idx="3437">
                  <c:v>0</c:v>
                </c:pt>
                <c:pt idx="3438">
                  <c:v>0</c:v>
                </c:pt>
                <c:pt idx="3439">
                  <c:v>0</c:v>
                </c:pt>
                <c:pt idx="3440">
                  <c:v>0</c:v>
                </c:pt>
                <c:pt idx="3441">
                  <c:v>0</c:v>
                </c:pt>
                <c:pt idx="3442">
                  <c:v>0</c:v>
                </c:pt>
                <c:pt idx="3443">
                  <c:v>0</c:v>
                </c:pt>
                <c:pt idx="3444">
                  <c:v>0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0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0</c:v>
                </c:pt>
                <c:pt idx="3460">
                  <c:v>0</c:v>
                </c:pt>
                <c:pt idx="3461">
                  <c:v>0</c:v>
                </c:pt>
                <c:pt idx="3462">
                  <c:v>0</c:v>
                </c:pt>
                <c:pt idx="3463">
                  <c:v>0</c:v>
                </c:pt>
                <c:pt idx="3464">
                  <c:v>0</c:v>
                </c:pt>
                <c:pt idx="3465">
                  <c:v>0</c:v>
                </c:pt>
                <c:pt idx="3466">
                  <c:v>0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0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0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0</c:v>
                </c:pt>
                <c:pt idx="3753">
                  <c:v>0</c:v>
                </c:pt>
                <c:pt idx="3754">
                  <c:v>0</c:v>
                </c:pt>
                <c:pt idx="3755">
                  <c:v>0</c:v>
                </c:pt>
                <c:pt idx="3756">
                  <c:v>0</c:v>
                </c:pt>
                <c:pt idx="3757">
                  <c:v>0</c:v>
                </c:pt>
                <c:pt idx="3758">
                  <c:v>0</c:v>
                </c:pt>
                <c:pt idx="3759">
                  <c:v>0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0</c:v>
                </c:pt>
                <c:pt idx="3781">
                  <c:v>0</c:v>
                </c:pt>
                <c:pt idx="3782">
                  <c:v>0</c:v>
                </c:pt>
                <c:pt idx="3783">
                  <c:v>0</c:v>
                </c:pt>
                <c:pt idx="3784">
                  <c:v>0</c:v>
                </c:pt>
                <c:pt idx="3785">
                  <c:v>0</c:v>
                </c:pt>
                <c:pt idx="3786">
                  <c:v>0</c:v>
                </c:pt>
                <c:pt idx="3787">
                  <c:v>0</c:v>
                </c:pt>
                <c:pt idx="3788">
                  <c:v>0</c:v>
                </c:pt>
                <c:pt idx="3789">
                  <c:v>0</c:v>
                </c:pt>
                <c:pt idx="3790">
                  <c:v>0</c:v>
                </c:pt>
                <c:pt idx="3791">
                  <c:v>0</c:v>
                </c:pt>
                <c:pt idx="3792">
                  <c:v>0</c:v>
                </c:pt>
                <c:pt idx="3793">
                  <c:v>0</c:v>
                </c:pt>
                <c:pt idx="3794">
                  <c:v>0</c:v>
                </c:pt>
                <c:pt idx="3795">
                  <c:v>0</c:v>
                </c:pt>
                <c:pt idx="3796">
                  <c:v>0</c:v>
                </c:pt>
                <c:pt idx="3797">
                  <c:v>0</c:v>
                </c:pt>
                <c:pt idx="3798">
                  <c:v>0</c:v>
                </c:pt>
                <c:pt idx="3799">
                  <c:v>0</c:v>
                </c:pt>
                <c:pt idx="3800">
                  <c:v>0</c:v>
                </c:pt>
                <c:pt idx="3801">
                  <c:v>0</c:v>
                </c:pt>
                <c:pt idx="3802">
                  <c:v>0</c:v>
                </c:pt>
                <c:pt idx="3803">
                  <c:v>0</c:v>
                </c:pt>
                <c:pt idx="3804">
                  <c:v>0</c:v>
                </c:pt>
                <c:pt idx="3805">
                  <c:v>0</c:v>
                </c:pt>
                <c:pt idx="3806">
                  <c:v>0</c:v>
                </c:pt>
                <c:pt idx="3807">
                  <c:v>0</c:v>
                </c:pt>
                <c:pt idx="3808">
                  <c:v>0</c:v>
                </c:pt>
                <c:pt idx="3809">
                  <c:v>0</c:v>
                </c:pt>
                <c:pt idx="3810">
                  <c:v>0</c:v>
                </c:pt>
                <c:pt idx="3811">
                  <c:v>0</c:v>
                </c:pt>
                <c:pt idx="3812">
                  <c:v>0</c:v>
                </c:pt>
                <c:pt idx="3813">
                  <c:v>0</c:v>
                </c:pt>
                <c:pt idx="3814">
                  <c:v>0</c:v>
                </c:pt>
                <c:pt idx="3815">
                  <c:v>0</c:v>
                </c:pt>
                <c:pt idx="3816">
                  <c:v>0</c:v>
                </c:pt>
                <c:pt idx="3817">
                  <c:v>0</c:v>
                </c:pt>
                <c:pt idx="3818">
                  <c:v>0</c:v>
                </c:pt>
                <c:pt idx="3819">
                  <c:v>0</c:v>
                </c:pt>
                <c:pt idx="3820">
                  <c:v>0</c:v>
                </c:pt>
                <c:pt idx="3821">
                  <c:v>0</c:v>
                </c:pt>
                <c:pt idx="3822">
                  <c:v>0</c:v>
                </c:pt>
                <c:pt idx="3823">
                  <c:v>0</c:v>
                </c:pt>
                <c:pt idx="3824">
                  <c:v>0</c:v>
                </c:pt>
                <c:pt idx="3825">
                  <c:v>0</c:v>
                </c:pt>
                <c:pt idx="3826">
                  <c:v>0</c:v>
                </c:pt>
                <c:pt idx="3827">
                  <c:v>0</c:v>
                </c:pt>
                <c:pt idx="3828">
                  <c:v>0</c:v>
                </c:pt>
                <c:pt idx="3829">
                  <c:v>0</c:v>
                </c:pt>
                <c:pt idx="3830">
                  <c:v>0</c:v>
                </c:pt>
                <c:pt idx="3831">
                  <c:v>0</c:v>
                </c:pt>
                <c:pt idx="3832">
                  <c:v>0</c:v>
                </c:pt>
                <c:pt idx="3833">
                  <c:v>0</c:v>
                </c:pt>
                <c:pt idx="3834">
                  <c:v>0</c:v>
                </c:pt>
                <c:pt idx="3835">
                  <c:v>0</c:v>
                </c:pt>
                <c:pt idx="3836">
                  <c:v>0</c:v>
                </c:pt>
                <c:pt idx="3837">
                  <c:v>0</c:v>
                </c:pt>
                <c:pt idx="3838">
                  <c:v>0</c:v>
                </c:pt>
                <c:pt idx="3839">
                  <c:v>0</c:v>
                </c:pt>
                <c:pt idx="3840">
                  <c:v>0</c:v>
                </c:pt>
                <c:pt idx="3841">
                  <c:v>0</c:v>
                </c:pt>
                <c:pt idx="3842">
                  <c:v>0</c:v>
                </c:pt>
                <c:pt idx="3843">
                  <c:v>0</c:v>
                </c:pt>
                <c:pt idx="3844">
                  <c:v>0</c:v>
                </c:pt>
                <c:pt idx="3845">
                  <c:v>0</c:v>
                </c:pt>
                <c:pt idx="3846">
                  <c:v>0</c:v>
                </c:pt>
                <c:pt idx="3847">
                  <c:v>0</c:v>
                </c:pt>
                <c:pt idx="3848">
                  <c:v>0</c:v>
                </c:pt>
                <c:pt idx="3849">
                  <c:v>0</c:v>
                </c:pt>
                <c:pt idx="3850">
                  <c:v>0</c:v>
                </c:pt>
                <c:pt idx="3851">
                  <c:v>0</c:v>
                </c:pt>
                <c:pt idx="3852">
                  <c:v>0</c:v>
                </c:pt>
                <c:pt idx="3853">
                  <c:v>0</c:v>
                </c:pt>
                <c:pt idx="3854">
                  <c:v>0</c:v>
                </c:pt>
                <c:pt idx="3855">
                  <c:v>0</c:v>
                </c:pt>
                <c:pt idx="3856">
                  <c:v>0</c:v>
                </c:pt>
                <c:pt idx="3857">
                  <c:v>0</c:v>
                </c:pt>
                <c:pt idx="3858">
                  <c:v>0</c:v>
                </c:pt>
                <c:pt idx="3859">
                  <c:v>0</c:v>
                </c:pt>
                <c:pt idx="3860">
                  <c:v>0</c:v>
                </c:pt>
                <c:pt idx="3861">
                  <c:v>0</c:v>
                </c:pt>
                <c:pt idx="3862">
                  <c:v>0</c:v>
                </c:pt>
                <c:pt idx="3863">
                  <c:v>0</c:v>
                </c:pt>
                <c:pt idx="3864">
                  <c:v>0</c:v>
                </c:pt>
                <c:pt idx="3865">
                  <c:v>0</c:v>
                </c:pt>
                <c:pt idx="3866">
                  <c:v>0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0</c:v>
                </c:pt>
                <c:pt idx="3871">
                  <c:v>0</c:v>
                </c:pt>
                <c:pt idx="3872">
                  <c:v>0</c:v>
                </c:pt>
                <c:pt idx="3873">
                  <c:v>0</c:v>
                </c:pt>
                <c:pt idx="3874">
                  <c:v>0</c:v>
                </c:pt>
                <c:pt idx="3875">
                  <c:v>0</c:v>
                </c:pt>
                <c:pt idx="3876">
                  <c:v>0</c:v>
                </c:pt>
                <c:pt idx="3877">
                  <c:v>0</c:v>
                </c:pt>
                <c:pt idx="3878">
                  <c:v>0</c:v>
                </c:pt>
                <c:pt idx="3879">
                  <c:v>0</c:v>
                </c:pt>
                <c:pt idx="3880">
                  <c:v>0</c:v>
                </c:pt>
                <c:pt idx="3881">
                  <c:v>0</c:v>
                </c:pt>
                <c:pt idx="3882">
                  <c:v>0</c:v>
                </c:pt>
                <c:pt idx="3883">
                  <c:v>0</c:v>
                </c:pt>
                <c:pt idx="3884">
                  <c:v>0</c:v>
                </c:pt>
                <c:pt idx="3885">
                  <c:v>0</c:v>
                </c:pt>
                <c:pt idx="3886">
                  <c:v>0</c:v>
                </c:pt>
                <c:pt idx="3887">
                  <c:v>0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0</c:v>
                </c:pt>
                <c:pt idx="3892">
                  <c:v>0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0</c:v>
                </c:pt>
                <c:pt idx="3903">
                  <c:v>0</c:v>
                </c:pt>
                <c:pt idx="3904">
                  <c:v>0</c:v>
                </c:pt>
                <c:pt idx="3905">
                  <c:v>0</c:v>
                </c:pt>
                <c:pt idx="3906">
                  <c:v>0</c:v>
                </c:pt>
                <c:pt idx="3907">
                  <c:v>0</c:v>
                </c:pt>
                <c:pt idx="3908">
                  <c:v>0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0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0</c:v>
                </c:pt>
                <c:pt idx="3918">
                  <c:v>0</c:v>
                </c:pt>
                <c:pt idx="3919">
                  <c:v>0</c:v>
                </c:pt>
                <c:pt idx="3920">
                  <c:v>0</c:v>
                </c:pt>
                <c:pt idx="3921">
                  <c:v>0</c:v>
                </c:pt>
                <c:pt idx="3922">
                  <c:v>0</c:v>
                </c:pt>
                <c:pt idx="3923">
                  <c:v>0</c:v>
                </c:pt>
                <c:pt idx="3924">
                  <c:v>0</c:v>
                </c:pt>
                <c:pt idx="3925">
                  <c:v>0</c:v>
                </c:pt>
                <c:pt idx="3926">
                  <c:v>0</c:v>
                </c:pt>
                <c:pt idx="3927">
                  <c:v>0</c:v>
                </c:pt>
                <c:pt idx="3928">
                  <c:v>0</c:v>
                </c:pt>
                <c:pt idx="3929">
                  <c:v>0</c:v>
                </c:pt>
                <c:pt idx="3930">
                  <c:v>0</c:v>
                </c:pt>
                <c:pt idx="3931">
                  <c:v>0</c:v>
                </c:pt>
                <c:pt idx="3932">
                  <c:v>0</c:v>
                </c:pt>
                <c:pt idx="3933">
                  <c:v>0</c:v>
                </c:pt>
                <c:pt idx="3934">
                  <c:v>0</c:v>
                </c:pt>
                <c:pt idx="3935">
                  <c:v>0</c:v>
                </c:pt>
                <c:pt idx="3936">
                  <c:v>0</c:v>
                </c:pt>
                <c:pt idx="3937">
                  <c:v>0</c:v>
                </c:pt>
                <c:pt idx="3938">
                  <c:v>0</c:v>
                </c:pt>
                <c:pt idx="3939">
                  <c:v>0</c:v>
                </c:pt>
                <c:pt idx="3940">
                  <c:v>0</c:v>
                </c:pt>
                <c:pt idx="3941">
                  <c:v>0</c:v>
                </c:pt>
                <c:pt idx="3942">
                  <c:v>0</c:v>
                </c:pt>
                <c:pt idx="3943">
                  <c:v>0</c:v>
                </c:pt>
                <c:pt idx="3944">
                  <c:v>0</c:v>
                </c:pt>
                <c:pt idx="3945">
                  <c:v>0</c:v>
                </c:pt>
                <c:pt idx="3946">
                  <c:v>0</c:v>
                </c:pt>
                <c:pt idx="3947">
                  <c:v>0</c:v>
                </c:pt>
                <c:pt idx="3948">
                  <c:v>0</c:v>
                </c:pt>
                <c:pt idx="3949">
                  <c:v>0</c:v>
                </c:pt>
                <c:pt idx="3950">
                  <c:v>0</c:v>
                </c:pt>
                <c:pt idx="3951">
                  <c:v>0</c:v>
                </c:pt>
                <c:pt idx="3952">
                  <c:v>0</c:v>
                </c:pt>
                <c:pt idx="3953">
                  <c:v>0</c:v>
                </c:pt>
                <c:pt idx="3954">
                  <c:v>0</c:v>
                </c:pt>
                <c:pt idx="3955">
                  <c:v>0</c:v>
                </c:pt>
                <c:pt idx="3956">
                  <c:v>0</c:v>
                </c:pt>
                <c:pt idx="3957">
                  <c:v>0</c:v>
                </c:pt>
                <c:pt idx="3958">
                  <c:v>0</c:v>
                </c:pt>
                <c:pt idx="3959">
                  <c:v>0</c:v>
                </c:pt>
                <c:pt idx="3960">
                  <c:v>0</c:v>
                </c:pt>
                <c:pt idx="3961">
                  <c:v>0</c:v>
                </c:pt>
                <c:pt idx="3962">
                  <c:v>0</c:v>
                </c:pt>
                <c:pt idx="3963">
                  <c:v>0</c:v>
                </c:pt>
                <c:pt idx="3964">
                  <c:v>0</c:v>
                </c:pt>
                <c:pt idx="3965">
                  <c:v>0</c:v>
                </c:pt>
                <c:pt idx="3966">
                  <c:v>0</c:v>
                </c:pt>
                <c:pt idx="3967">
                  <c:v>0</c:v>
                </c:pt>
                <c:pt idx="3968">
                  <c:v>0</c:v>
                </c:pt>
                <c:pt idx="3969">
                  <c:v>0</c:v>
                </c:pt>
                <c:pt idx="3970">
                  <c:v>0</c:v>
                </c:pt>
                <c:pt idx="3971">
                  <c:v>0</c:v>
                </c:pt>
                <c:pt idx="3972">
                  <c:v>0</c:v>
                </c:pt>
                <c:pt idx="3973">
                  <c:v>0</c:v>
                </c:pt>
                <c:pt idx="3974">
                  <c:v>0</c:v>
                </c:pt>
                <c:pt idx="3975">
                  <c:v>0</c:v>
                </c:pt>
                <c:pt idx="3976">
                  <c:v>0</c:v>
                </c:pt>
                <c:pt idx="3977">
                  <c:v>0</c:v>
                </c:pt>
                <c:pt idx="3978">
                  <c:v>0</c:v>
                </c:pt>
                <c:pt idx="3979">
                  <c:v>0</c:v>
                </c:pt>
                <c:pt idx="3980">
                  <c:v>0</c:v>
                </c:pt>
                <c:pt idx="3981">
                  <c:v>0</c:v>
                </c:pt>
                <c:pt idx="3982">
                  <c:v>0</c:v>
                </c:pt>
                <c:pt idx="3983">
                  <c:v>0</c:v>
                </c:pt>
                <c:pt idx="3984">
                  <c:v>0</c:v>
                </c:pt>
                <c:pt idx="3985">
                  <c:v>0</c:v>
                </c:pt>
                <c:pt idx="3986">
                  <c:v>0</c:v>
                </c:pt>
                <c:pt idx="3987">
                  <c:v>0</c:v>
                </c:pt>
                <c:pt idx="3988">
                  <c:v>0</c:v>
                </c:pt>
                <c:pt idx="3989">
                  <c:v>0</c:v>
                </c:pt>
                <c:pt idx="3990">
                  <c:v>0</c:v>
                </c:pt>
                <c:pt idx="3991">
                  <c:v>0</c:v>
                </c:pt>
                <c:pt idx="3992">
                  <c:v>0</c:v>
                </c:pt>
                <c:pt idx="3993">
                  <c:v>0</c:v>
                </c:pt>
                <c:pt idx="3994">
                  <c:v>0</c:v>
                </c:pt>
                <c:pt idx="3995">
                  <c:v>0</c:v>
                </c:pt>
                <c:pt idx="3996">
                  <c:v>0</c:v>
                </c:pt>
                <c:pt idx="3997">
                  <c:v>0</c:v>
                </c:pt>
                <c:pt idx="3998">
                  <c:v>0</c:v>
                </c:pt>
                <c:pt idx="3999">
                  <c:v>0</c:v>
                </c:pt>
                <c:pt idx="4000">
                  <c:v>0</c:v>
                </c:pt>
                <c:pt idx="4001">
                  <c:v>0</c:v>
                </c:pt>
                <c:pt idx="4002">
                  <c:v>0</c:v>
                </c:pt>
                <c:pt idx="4003">
                  <c:v>0</c:v>
                </c:pt>
                <c:pt idx="4004">
                  <c:v>0</c:v>
                </c:pt>
                <c:pt idx="4005">
                  <c:v>0</c:v>
                </c:pt>
                <c:pt idx="4006">
                  <c:v>0</c:v>
                </c:pt>
                <c:pt idx="4007">
                  <c:v>0</c:v>
                </c:pt>
                <c:pt idx="4008">
                  <c:v>0</c:v>
                </c:pt>
                <c:pt idx="4009">
                  <c:v>0</c:v>
                </c:pt>
                <c:pt idx="4010">
                  <c:v>0</c:v>
                </c:pt>
                <c:pt idx="4011">
                  <c:v>0</c:v>
                </c:pt>
                <c:pt idx="4012">
                  <c:v>0</c:v>
                </c:pt>
                <c:pt idx="4013">
                  <c:v>0</c:v>
                </c:pt>
                <c:pt idx="4014">
                  <c:v>0</c:v>
                </c:pt>
                <c:pt idx="4015">
                  <c:v>0</c:v>
                </c:pt>
                <c:pt idx="4016">
                  <c:v>0</c:v>
                </c:pt>
                <c:pt idx="4017">
                  <c:v>0</c:v>
                </c:pt>
                <c:pt idx="4018">
                  <c:v>0</c:v>
                </c:pt>
                <c:pt idx="4019">
                  <c:v>0</c:v>
                </c:pt>
                <c:pt idx="4020">
                  <c:v>0</c:v>
                </c:pt>
                <c:pt idx="4021">
                  <c:v>0</c:v>
                </c:pt>
                <c:pt idx="4022">
                  <c:v>0</c:v>
                </c:pt>
                <c:pt idx="4023">
                  <c:v>0</c:v>
                </c:pt>
                <c:pt idx="4024">
                  <c:v>0</c:v>
                </c:pt>
                <c:pt idx="4025">
                  <c:v>0</c:v>
                </c:pt>
                <c:pt idx="4026">
                  <c:v>0</c:v>
                </c:pt>
                <c:pt idx="4027">
                  <c:v>0</c:v>
                </c:pt>
                <c:pt idx="4028">
                  <c:v>0</c:v>
                </c:pt>
                <c:pt idx="4029">
                  <c:v>0</c:v>
                </c:pt>
                <c:pt idx="4030">
                  <c:v>0</c:v>
                </c:pt>
                <c:pt idx="4031">
                  <c:v>0</c:v>
                </c:pt>
                <c:pt idx="4032">
                  <c:v>0</c:v>
                </c:pt>
                <c:pt idx="4033">
                  <c:v>0</c:v>
                </c:pt>
                <c:pt idx="4034">
                  <c:v>0</c:v>
                </c:pt>
                <c:pt idx="4035">
                  <c:v>0</c:v>
                </c:pt>
                <c:pt idx="4036">
                  <c:v>0</c:v>
                </c:pt>
                <c:pt idx="4037">
                  <c:v>0</c:v>
                </c:pt>
                <c:pt idx="4038">
                  <c:v>0</c:v>
                </c:pt>
                <c:pt idx="4039">
                  <c:v>0</c:v>
                </c:pt>
                <c:pt idx="4040">
                  <c:v>0</c:v>
                </c:pt>
                <c:pt idx="4041">
                  <c:v>0</c:v>
                </c:pt>
                <c:pt idx="4042">
                  <c:v>0</c:v>
                </c:pt>
                <c:pt idx="4043">
                  <c:v>0</c:v>
                </c:pt>
                <c:pt idx="4044">
                  <c:v>0</c:v>
                </c:pt>
                <c:pt idx="4045">
                  <c:v>0</c:v>
                </c:pt>
                <c:pt idx="4046">
                  <c:v>0</c:v>
                </c:pt>
                <c:pt idx="4047">
                  <c:v>0</c:v>
                </c:pt>
                <c:pt idx="4048">
                  <c:v>0</c:v>
                </c:pt>
                <c:pt idx="4049">
                  <c:v>0</c:v>
                </c:pt>
                <c:pt idx="4050">
                  <c:v>0</c:v>
                </c:pt>
                <c:pt idx="4051">
                  <c:v>0</c:v>
                </c:pt>
                <c:pt idx="4052">
                  <c:v>0</c:v>
                </c:pt>
                <c:pt idx="4053">
                  <c:v>0</c:v>
                </c:pt>
                <c:pt idx="4054">
                  <c:v>0</c:v>
                </c:pt>
                <c:pt idx="4055">
                  <c:v>0</c:v>
                </c:pt>
                <c:pt idx="4056">
                  <c:v>0</c:v>
                </c:pt>
                <c:pt idx="4057">
                  <c:v>0</c:v>
                </c:pt>
                <c:pt idx="4058">
                  <c:v>0</c:v>
                </c:pt>
                <c:pt idx="4059">
                  <c:v>0</c:v>
                </c:pt>
                <c:pt idx="4060">
                  <c:v>0</c:v>
                </c:pt>
                <c:pt idx="4061">
                  <c:v>0</c:v>
                </c:pt>
                <c:pt idx="4062">
                  <c:v>0</c:v>
                </c:pt>
                <c:pt idx="4063">
                  <c:v>0</c:v>
                </c:pt>
                <c:pt idx="4064">
                  <c:v>0</c:v>
                </c:pt>
                <c:pt idx="4065">
                  <c:v>0</c:v>
                </c:pt>
                <c:pt idx="4066">
                  <c:v>0</c:v>
                </c:pt>
                <c:pt idx="4067">
                  <c:v>0</c:v>
                </c:pt>
                <c:pt idx="4068">
                  <c:v>0</c:v>
                </c:pt>
                <c:pt idx="4069">
                  <c:v>0</c:v>
                </c:pt>
                <c:pt idx="4070">
                  <c:v>0</c:v>
                </c:pt>
                <c:pt idx="4071">
                  <c:v>0</c:v>
                </c:pt>
                <c:pt idx="4072">
                  <c:v>0</c:v>
                </c:pt>
                <c:pt idx="4073">
                  <c:v>0</c:v>
                </c:pt>
                <c:pt idx="4074">
                  <c:v>0</c:v>
                </c:pt>
                <c:pt idx="4075">
                  <c:v>0</c:v>
                </c:pt>
                <c:pt idx="4076">
                  <c:v>0</c:v>
                </c:pt>
                <c:pt idx="4077">
                  <c:v>0</c:v>
                </c:pt>
                <c:pt idx="4078">
                  <c:v>0</c:v>
                </c:pt>
                <c:pt idx="4079">
                  <c:v>0</c:v>
                </c:pt>
                <c:pt idx="4080">
                  <c:v>0</c:v>
                </c:pt>
                <c:pt idx="4081">
                  <c:v>0</c:v>
                </c:pt>
                <c:pt idx="4082">
                  <c:v>0</c:v>
                </c:pt>
                <c:pt idx="4083">
                  <c:v>0</c:v>
                </c:pt>
                <c:pt idx="4084">
                  <c:v>0</c:v>
                </c:pt>
                <c:pt idx="4085">
                  <c:v>0</c:v>
                </c:pt>
                <c:pt idx="4086">
                  <c:v>0</c:v>
                </c:pt>
                <c:pt idx="4087">
                  <c:v>0</c:v>
                </c:pt>
                <c:pt idx="4088">
                  <c:v>0</c:v>
                </c:pt>
                <c:pt idx="4089">
                  <c:v>0</c:v>
                </c:pt>
                <c:pt idx="4090">
                  <c:v>0</c:v>
                </c:pt>
                <c:pt idx="4091">
                  <c:v>0</c:v>
                </c:pt>
                <c:pt idx="4092">
                  <c:v>0</c:v>
                </c:pt>
                <c:pt idx="4093">
                  <c:v>0</c:v>
                </c:pt>
                <c:pt idx="4094">
                  <c:v>0</c:v>
                </c:pt>
                <c:pt idx="4095">
                  <c:v>0</c:v>
                </c:pt>
                <c:pt idx="4096">
                  <c:v>0</c:v>
                </c:pt>
                <c:pt idx="4097">
                  <c:v>0</c:v>
                </c:pt>
                <c:pt idx="4098">
                  <c:v>0</c:v>
                </c:pt>
                <c:pt idx="4099">
                  <c:v>0</c:v>
                </c:pt>
                <c:pt idx="4100">
                  <c:v>0</c:v>
                </c:pt>
                <c:pt idx="4101">
                  <c:v>0</c:v>
                </c:pt>
                <c:pt idx="4102">
                  <c:v>0</c:v>
                </c:pt>
                <c:pt idx="4103">
                  <c:v>0</c:v>
                </c:pt>
                <c:pt idx="4104">
                  <c:v>0</c:v>
                </c:pt>
                <c:pt idx="4105">
                  <c:v>0</c:v>
                </c:pt>
                <c:pt idx="4106">
                  <c:v>0</c:v>
                </c:pt>
                <c:pt idx="4107">
                  <c:v>0</c:v>
                </c:pt>
                <c:pt idx="4108">
                  <c:v>0</c:v>
                </c:pt>
                <c:pt idx="4109">
                  <c:v>0</c:v>
                </c:pt>
                <c:pt idx="4110">
                  <c:v>0</c:v>
                </c:pt>
                <c:pt idx="4111">
                  <c:v>0</c:v>
                </c:pt>
                <c:pt idx="4112">
                  <c:v>0</c:v>
                </c:pt>
                <c:pt idx="4113">
                  <c:v>0</c:v>
                </c:pt>
                <c:pt idx="4114">
                  <c:v>0</c:v>
                </c:pt>
                <c:pt idx="4115">
                  <c:v>0</c:v>
                </c:pt>
                <c:pt idx="4116">
                  <c:v>0</c:v>
                </c:pt>
                <c:pt idx="4117">
                  <c:v>0</c:v>
                </c:pt>
                <c:pt idx="4118">
                  <c:v>0</c:v>
                </c:pt>
                <c:pt idx="4119">
                  <c:v>0</c:v>
                </c:pt>
                <c:pt idx="4120">
                  <c:v>0</c:v>
                </c:pt>
                <c:pt idx="4121">
                  <c:v>0</c:v>
                </c:pt>
                <c:pt idx="4122">
                  <c:v>0</c:v>
                </c:pt>
                <c:pt idx="4123">
                  <c:v>0</c:v>
                </c:pt>
                <c:pt idx="4124">
                  <c:v>0</c:v>
                </c:pt>
                <c:pt idx="4125">
                  <c:v>0</c:v>
                </c:pt>
                <c:pt idx="4126">
                  <c:v>0</c:v>
                </c:pt>
                <c:pt idx="4127">
                  <c:v>0</c:v>
                </c:pt>
                <c:pt idx="4128">
                  <c:v>0</c:v>
                </c:pt>
                <c:pt idx="4129">
                  <c:v>0</c:v>
                </c:pt>
                <c:pt idx="4130">
                  <c:v>0</c:v>
                </c:pt>
                <c:pt idx="4131">
                  <c:v>0</c:v>
                </c:pt>
                <c:pt idx="4132">
                  <c:v>0</c:v>
                </c:pt>
                <c:pt idx="4133">
                  <c:v>0</c:v>
                </c:pt>
                <c:pt idx="4134">
                  <c:v>0</c:v>
                </c:pt>
                <c:pt idx="4135">
                  <c:v>0</c:v>
                </c:pt>
                <c:pt idx="4136">
                  <c:v>0</c:v>
                </c:pt>
                <c:pt idx="4137">
                  <c:v>0</c:v>
                </c:pt>
                <c:pt idx="4138">
                  <c:v>0</c:v>
                </c:pt>
                <c:pt idx="4139">
                  <c:v>0</c:v>
                </c:pt>
                <c:pt idx="4140">
                  <c:v>0</c:v>
                </c:pt>
                <c:pt idx="4141">
                  <c:v>0</c:v>
                </c:pt>
                <c:pt idx="4142">
                  <c:v>0</c:v>
                </c:pt>
                <c:pt idx="4143">
                  <c:v>0</c:v>
                </c:pt>
                <c:pt idx="4144">
                  <c:v>0</c:v>
                </c:pt>
                <c:pt idx="4145">
                  <c:v>0</c:v>
                </c:pt>
                <c:pt idx="4146">
                  <c:v>0</c:v>
                </c:pt>
                <c:pt idx="4147">
                  <c:v>0</c:v>
                </c:pt>
                <c:pt idx="4148">
                  <c:v>0</c:v>
                </c:pt>
                <c:pt idx="4149">
                  <c:v>0</c:v>
                </c:pt>
                <c:pt idx="4150">
                  <c:v>0</c:v>
                </c:pt>
                <c:pt idx="4151">
                  <c:v>0</c:v>
                </c:pt>
                <c:pt idx="4152">
                  <c:v>0</c:v>
                </c:pt>
                <c:pt idx="4153">
                  <c:v>0</c:v>
                </c:pt>
                <c:pt idx="4154">
                  <c:v>0</c:v>
                </c:pt>
                <c:pt idx="4155">
                  <c:v>0</c:v>
                </c:pt>
                <c:pt idx="4156">
                  <c:v>0</c:v>
                </c:pt>
                <c:pt idx="4157">
                  <c:v>0</c:v>
                </c:pt>
                <c:pt idx="4158">
                  <c:v>0</c:v>
                </c:pt>
                <c:pt idx="4159">
                  <c:v>0</c:v>
                </c:pt>
                <c:pt idx="4160">
                  <c:v>0</c:v>
                </c:pt>
                <c:pt idx="4161">
                  <c:v>0</c:v>
                </c:pt>
                <c:pt idx="4162">
                  <c:v>0</c:v>
                </c:pt>
                <c:pt idx="4163">
                  <c:v>0</c:v>
                </c:pt>
                <c:pt idx="4164">
                  <c:v>0</c:v>
                </c:pt>
                <c:pt idx="4165">
                  <c:v>0</c:v>
                </c:pt>
                <c:pt idx="4166">
                  <c:v>0</c:v>
                </c:pt>
                <c:pt idx="4167">
                  <c:v>0</c:v>
                </c:pt>
                <c:pt idx="4168">
                  <c:v>0</c:v>
                </c:pt>
                <c:pt idx="4169">
                  <c:v>0</c:v>
                </c:pt>
                <c:pt idx="4170">
                  <c:v>0</c:v>
                </c:pt>
                <c:pt idx="4171">
                  <c:v>0</c:v>
                </c:pt>
                <c:pt idx="4172">
                  <c:v>0</c:v>
                </c:pt>
                <c:pt idx="4173">
                  <c:v>0</c:v>
                </c:pt>
                <c:pt idx="4174">
                  <c:v>0</c:v>
                </c:pt>
                <c:pt idx="4175">
                  <c:v>0</c:v>
                </c:pt>
                <c:pt idx="4176">
                  <c:v>0</c:v>
                </c:pt>
                <c:pt idx="4177">
                  <c:v>0</c:v>
                </c:pt>
                <c:pt idx="4178">
                  <c:v>0</c:v>
                </c:pt>
                <c:pt idx="4179">
                  <c:v>0</c:v>
                </c:pt>
                <c:pt idx="4180">
                  <c:v>0</c:v>
                </c:pt>
                <c:pt idx="4181">
                  <c:v>0</c:v>
                </c:pt>
                <c:pt idx="4182">
                  <c:v>0</c:v>
                </c:pt>
                <c:pt idx="4183">
                  <c:v>0</c:v>
                </c:pt>
                <c:pt idx="4184">
                  <c:v>0</c:v>
                </c:pt>
                <c:pt idx="4185">
                  <c:v>0</c:v>
                </c:pt>
                <c:pt idx="4186">
                  <c:v>0</c:v>
                </c:pt>
                <c:pt idx="4187">
                  <c:v>0</c:v>
                </c:pt>
                <c:pt idx="4188">
                  <c:v>0</c:v>
                </c:pt>
                <c:pt idx="4189">
                  <c:v>0</c:v>
                </c:pt>
                <c:pt idx="4190">
                  <c:v>0</c:v>
                </c:pt>
                <c:pt idx="4191">
                  <c:v>0</c:v>
                </c:pt>
                <c:pt idx="4192">
                  <c:v>0</c:v>
                </c:pt>
                <c:pt idx="4193">
                  <c:v>0</c:v>
                </c:pt>
                <c:pt idx="4194">
                  <c:v>0</c:v>
                </c:pt>
                <c:pt idx="4195">
                  <c:v>0</c:v>
                </c:pt>
                <c:pt idx="4196">
                  <c:v>0</c:v>
                </c:pt>
                <c:pt idx="4197">
                  <c:v>0</c:v>
                </c:pt>
                <c:pt idx="4198">
                  <c:v>0</c:v>
                </c:pt>
                <c:pt idx="4199">
                  <c:v>0</c:v>
                </c:pt>
                <c:pt idx="4200">
                  <c:v>0</c:v>
                </c:pt>
                <c:pt idx="4201">
                  <c:v>0</c:v>
                </c:pt>
                <c:pt idx="4202">
                  <c:v>0</c:v>
                </c:pt>
                <c:pt idx="4203">
                  <c:v>0</c:v>
                </c:pt>
                <c:pt idx="4204">
                  <c:v>0</c:v>
                </c:pt>
                <c:pt idx="4205">
                  <c:v>0</c:v>
                </c:pt>
                <c:pt idx="4206">
                  <c:v>0</c:v>
                </c:pt>
                <c:pt idx="4207">
                  <c:v>0</c:v>
                </c:pt>
                <c:pt idx="4208">
                  <c:v>0</c:v>
                </c:pt>
                <c:pt idx="4209">
                  <c:v>0</c:v>
                </c:pt>
                <c:pt idx="4210">
                  <c:v>0</c:v>
                </c:pt>
                <c:pt idx="4211">
                  <c:v>0</c:v>
                </c:pt>
                <c:pt idx="4212">
                  <c:v>0</c:v>
                </c:pt>
                <c:pt idx="4213">
                  <c:v>0</c:v>
                </c:pt>
                <c:pt idx="4214">
                  <c:v>0</c:v>
                </c:pt>
                <c:pt idx="4215">
                  <c:v>0</c:v>
                </c:pt>
                <c:pt idx="4216">
                  <c:v>0</c:v>
                </c:pt>
                <c:pt idx="4217">
                  <c:v>0</c:v>
                </c:pt>
                <c:pt idx="4218">
                  <c:v>0</c:v>
                </c:pt>
                <c:pt idx="4219">
                  <c:v>0</c:v>
                </c:pt>
                <c:pt idx="4220">
                  <c:v>0</c:v>
                </c:pt>
                <c:pt idx="4221">
                  <c:v>0</c:v>
                </c:pt>
                <c:pt idx="4222">
                  <c:v>0</c:v>
                </c:pt>
                <c:pt idx="4223">
                  <c:v>0</c:v>
                </c:pt>
                <c:pt idx="4224">
                  <c:v>0</c:v>
                </c:pt>
                <c:pt idx="4225">
                  <c:v>0</c:v>
                </c:pt>
                <c:pt idx="4226">
                  <c:v>0</c:v>
                </c:pt>
                <c:pt idx="4227">
                  <c:v>0</c:v>
                </c:pt>
                <c:pt idx="4228">
                  <c:v>0</c:v>
                </c:pt>
                <c:pt idx="4229">
                  <c:v>0</c:v>
                </c:pt>
                <c:pt idx="4230">
                  <c:v>0</c:v>
                </c:pt>
                <c:pt idx="4231">
                  <c:v>0</c:v>
                </c:pt>
                <c:pt idx="4232">
                  <c:v>0</c:v>
                </c:pt>
                <c:pt idx="4233">
                  <c:v>0</c:v>
                </c:pt>
                <c:pt idx="4234">
                  <c:v>0</c:v>
                </c:pt>
                <c:pt idx="4235">
                  <c:v>0</c:v>
                </c:pt>
                <c:pt idx="4236">
                  <c:v>0</c:v>
                </c:pt>
                <c:pt idx="4237">
                  <c:v>0</c:v>
                </c:pt>
                <c:pt idx="4238">
                  <c:v>0</c:v>
                </c:pt>
                <c:pt idx="4239">
                  <c:v>0</c:v>
                </c:pt>
                <c:pt idx="4240">
                  <c:v>0</c:v>
                </c:pt>
                <c:pt idx="4241">
                  <c:v>0</c:v>
                </c:pt>
                <c:pt idx="4242">
                  <c:v>0</c:v>
                </c:pt>
                <c:pt idx="4243">
                  <c:v>0</c:v>
                </c:pt>
                <c:pt idx="4244">
                  <c:v>0</c:v>
                </c:pt>
                <c:pt idx="4245">
                  <c:v>0</c:v>
                </c:pt>
                <c:pt idx="4246">
                  <c:v>0</c:v>
                </c:pt>
                <c:pt idx="4247">
                  <c:v>0</c:v>
                </c:pt>
                <c:pt idx="4248">
                  <c:v>0</c:v>
                </c:pt>
                <c:pt idx="4249">
                  <c:v>0</c:v>
                </c:pt>
                <c:pt idx="4250">
                  <c:v>0</c:v>
                </c:pt>
                <c:pt idx="4251">
                  <c:v>0</c:v>
                </c:pt>
                <c:pt idx="4252">
                  <c:v>0</c:v>
                </c:pt>
                <c:pt idx="4253">
                  <c:v>0</c:v>
                </c:pt>
                <c:pt idx="4254">
                  <c:v>0</c:v>
                </c:pt>
                <c:pt idx="4255">
                  <c:v>0</c:v>
                </c:pt>
                <c:pt idx="4256">
                  <c:v>0</c:v>
                </c:pt>
                <c:pt idx="4257">
                  <c:v>0</c:v>
                </c:pt>
                <c:pt idx="4258">
                  <c:v>0</c:v>
                </c:pt>
                <c:pt idx="4259">
                  <c:v>0</c:v>
                </c:pt>
                <c:pt idx="4260">
                  <c:v>0</c:v>
                </c:pt>
                <c:pt idx="4261">
                  <c:v>0</c:v>
                </c:pt>
                <c:pt idx="4262">
                  <c:v>0</c:v>
                </c:pt>
                <c:pt idx="4263">
                  <c:v>0</c:v>
                </c:pt>
                <c:pt idx="4264">
                  <c:v>0</c:v>
                </c:pt>
                <c:pt idx="4265">
                  <c:v>0</c:v>
                </c:pt>
                <c:pt idx="4266">
                  <c:v>0</c:v>
                </c:pt>
                <c:pt idx="4267">
                  <c:v>0</c:v>
                </c:pt>
                <c:pt idx="4268">
                  <c:v>0</c:v>
                </c:pt>
                <c:pt idx="4269">
                  <c:v>0</c:v>
                </c:pt>
                <c:pt idx="4270">
                  <c:v>0</c:v>
                </c:pt>
                <c:pt idx="4271">
                  <c:v>0</c:v>
                </c:pt>
                <c:pt idx="4272">
                  <c:v>0</c:v>
                </c:pt>
                <c:pt idx="4273">
                  <c:v>0</c:v>
                </c:pt>
                <c:pt idx="4274">
                  <c:v>0</c:v>
                </c:pt>
                <c:pt idx="4275">
                  <c:v>0</c:v>
                </c:pt>
                <c:pt idx="4276">
                  <c:v>0</c:v>
                </c:pt>
                <c:pt idx="4277">
                  <c:v>0</c:v>
                </c:pt>
                <c:pt idx="4278">
                  <c:v>0</c:v>
                </c:pt>
                <c:pt idx="4279">
                  <c:v>0</c:v>
                </c:pt>
                <c:pt idx="4280">
                  <c:v>0</c:v>
                </c:pt>
                <c:pt idx="4281">
                  <c:v>0</c:v>
                </c:pt>
                <c:pt idx="4282">
                  <c:v>0</c:v>
                </c:pt>
                <c:pt idx="4283">
                  <c:v>0</c:v>
                </c:pt>
                <c:pt idx="4284">
                  <c:v>0</c:v>
                </c:pt>
                <c:pt idx="4285">
                  <c:v>0</c:v>
                </c:pt>
                <c:pt idx="4286">
                  <c:v>0</c:v>
                </c:pt>
                <c:pt idx="4287">
                  <c:v>0</c:v>
                </c:pt>
                <c:pt idx="4288">
                  <c:v>0</c:v>
                </c:pt>
                <c:pt idx="4289">
                  <c:v>0</c:v>
                </c:pt>
                <c:pt idx="4290">
                  <c:v>0</c:v>
                </c:pt>
                <c:pt idx="4291">
                  <c:v>0</c:v>
                </c:pt>
                <c:pt idx="4292">
                  <c:v>0</c:v>
                </c:pt>
                <c:pt idx="4293">
                  <c:v>0</c:v>
                </c:pt>
                <c:pt idx="4294">
                  <c:v>0</c:v>
                </c:pt>
                <c:pt idx="4295">
                  <c:v>0</c:v>
                </c:pt>
                <c:pt idx="4296">
                  <c:v>0</c:v>
                </c:pt>
                <c:pt idx="4297">
                  <c:v>0</c:v>
                </c:pt>
                <c:pt idx="4298">
                  <c:v>0</c:v>
                </c:pt>
                <c:pt idx="4299">
                  <c:v>0</c:v>
                </c:pt>
                <c:pt idx="4300">
                  <c:v>0</c:v>
                </c:pt>
                <c:pt idx="4301">
                  <c:v>0</c:v>
                </c:pt>
                <c:pt idx="4302">
                  <c:v>0</c:v>
                </c:pt>
                <c:pt idx="4303">
                  <c:v>0</c:v>
                </c:pt>
                <c:pt idx="4304">
                  <c:v>0</c:v>
                </c:pt>
                <c:pt idx="4305">
                  <c:v>0</c:v>
                </c:pt>
                <c:pt idx="4306">
                  <c:v>0</c:v>
                </c:pt>
                <c:pt idx="4307">
                  <c:v>0</c:v>
                </c:pt>
                <c:pt idx="4308">
                  <c:v>0</c:v>
                </c:pt>
                <c:pt idx="4309">
                  <c:v>0</c:v>
                </c:pt>
                <c:pt idx="4310">
                  <c:v>0</c:v>
                </c:pt>
                <c:pt idx="4311">
                  <c:v>0</c:v>
                </c:pt>
                <c:pt idx="4312">
                  <c:v>0</c:v>
                </c:pt>
                <c:pt idx="4313">
                  <c:v>0</c:v>
                </c:pt>
                <c:pt idx="4314">
                  <c:v>0</c:v>
                </c:pt>
                <c:pt idx="4315">
                  <c:v>0</c:v>
                </c:pt>
                <c:pt idx="4316">
                  <c:v>0</c:v>
                </c:pt>
                <c:pt idx="4317">
                  <c:v>0</c:v>
                </c:pt>
                <c:pt idx="4318">
                  <c:v>0</c:v>
                </c:pt>
                <c:pt idx="4319">
                  <c:v>0</c:v>
                </c:pt>
                <c:pt idx="4320">
                  <c:v>0</c:v>
                </c:pt>
                <c:pt idx="4321">
                  <c:v>0</c:v>
                </c:pt>
                <c:pt idx="4322">
                  <c:v>0</c:v>
                </c:pt>
                <c:pt idx="4323">
                  <c:v>0</c:v>
                </c:pt>
                <c:pt idx="4324">
                  <c:v>0</c:v>
                </c:pt>
                <c:pt idx="4325">
                  <c:v>0</c:v>
                </c:pt>
                <c:pt idx="4326">
                  <c:v>0</c:v>
                </c:pt>
                <c:pt idx="4327">
                  <c:v>0</c:v>
                </c:pt>
                <c:pt idx="4328">
                  <c:v>0</c:v>
                </c:pt>
                <c:pt idx="4329">
                  <c:v>0</c:v>
                </c:pt>
                <c:pt idx="4330">
                  <c:v>0</c:v>
                </c:pt>
                <c:pt idx="4331">
                  <c:v>0</c:v>
                </c:pt>
                <c:pt idx="4332">
                  <c:v>0</c:v>
                </c:pt>
                <c:pt idx="4333">
                  <c:v>0</c:v>
                </c:pt>
                <c:pt idx="4334">
                  <c:v>0</c:v>
                </c:pt>
                <c:pt idx="4335">
                  <c:v>0</c:v>
                </c:pt>
                <c:pt idx="4336">
                  <c:v>0</c:v>
                </c:pt>
                <c:pt idx="4337">
                  <c:v>0</c:v>
                </c:pt>
                <c:pt idx="4338">
                  <c:v>0</c:v>
                </c:pt>
                <c:pt idx="4339">
                  <c:v>0</c:v>
                </c:pt>
                <c:pt idx="4340">
                  <c:v>0</c:v>
                </c:pt>
                <c:pt idx="4341">
                  <c:v>0</c:v>
                </c:pt>
                <c:pt idx="4342">
                  <c:v>0</c:v>
                </c:pt>
                <c:pt idx="4343">
                  <c:v>0</c:v>
                </c:pt>
                <c:pt idx="4344">
                  <c:v>0</c:v>
                </c:pt>
                <c:pt idx="4345">
                  <c:v>0</c:v>
                </c:pt>
                <c:pt idx="4346">
                  <c:v>0</c:v>
                </c:pt>
                <c:pt idx="4347">
                  <c:v>0</c:v>
                </c:pt>
                <c:pt idx="4348">
                  <c:v>0</c:v>
                </c:pt>
                <c:pt idx="4349">
                  <c:v>0</c:v>
                </c:pt>
                <c:pt idx="4350">
                  <c:v>0</c:v>
                </c:pt>
                <c:pt idx="4351">
                  <c:v>0</c:v>
                </c:pt>
                <c:pt idx="4352">
                  <c:v>0</c:v>
                </c:pt>
                <c:pt idx="4353">
                  <c:v>0</c:v>
                </c:pt>
                <c:pt idx="4354">
                  <c:v>0</c:v>
                </c:pt>
                <c:pt idx="4355">
                  <c:v>0</c:v>
                </c:pt>
                <c:pt idx="4356">
                  <c:v>0</c:v>
                </c:pt>
                <c:pt idx="4357">
                  <c:v>0</c:v>
                </c:pt>
                <c:pt idx="4358">
                  <c:v>0</c:v>
                </c:pt>
                <c:pt idx="4359">
                  <c:v>0</c:v>
                </c:pt>
                <c:pt idx="4360">
                  <c:v>0</c:v>
                </c:pt>
                <c:pt idx="4361">
                  <c:v>0</c:v>
                </c:pt>
                <c:pt idx="4362">
                  <c:v>0</c:v>
                </c:pt>
                <c:pt idx="4363">
                  <c:v>0</c:v>
                </c:pt>
                <c:pt idx="4364">
                  <c:v>0</c:v>
                </c:pt>
                <c:pt idx="4365">
                  <c:v>0</c:v>
                </c:pt>
                <c:pt idx="4366">
                  <c:v>0</c:v>
                </c:pt>
                <c:pt idx="4367">
                  <c:v>0</c:v>
                </c:pt>
                <c:pt idx="4368">
                  <c:v>0</c:v>
                </c:pt>
                <c:pt idx="4369">
                  <c:v>0</c:v>
                </c:pt>
                <c:pt idx="4370">
                  <c:v>0</c:v>
                </c:pt>
                <c:pt idx="4371">
                  <c:v>0</c:v>
                </c:pt>
                <c:pt idx="4372">
                  <c:v>0</c:v>
                </c:pt>
                <c:pt idx="4373">
                  <c:v>0</c:v>
                </c:pt>
                <c:pt idx="4374">
                  <c:v>0</c:v>
                </c:pt>
                <c:pt idx="4375">
                  <c:v>0</c:v>
                </c:pt>
                <c:pt idx="4376">
                  <c:v>0</c:v>
                </c:pt>
                <c:pt idx="4377">
                  <c:v>0</c:v>
                </c:pt>
                <c:pt idx="4378">
                  <c:v>0</c:v>
                </c:pt>
                <c:pt idx="4379">
                  <c:v>0</c:v>
                </c:pt>
                <c:pt idx="4380">
                  <c:v>0</c:v>
                </c:pt>
                <c:pt idx="4381">
                  <c:v>0</c:v>
                </c:pt>
                <c:pt idx="4382">
                  <c:v>0</c:v>
                </c:pt>
                <c:pt idx="4383">
                  <c:v>0</c:v>
                </c:pt>
                <c:pt idx="4384">
                  <c:v>0</c:v>
                </c:pt>
                <c:pt idx="4385">
                  <c:v>0</c:v>
                </c:pt>
                <c:pt idx="4386">
                  <c:v>0</c:v>
                </c:pt>
                <c:pt idx="4387">
                  <c:v>0</c:v>
                </c:pt>
                <c:pt idx="4388">
                  <c:v>0</c:v>
                </c:pt>
                <c:pt idx="4389">
                  <c:v>0</c:v>
                </c:pt>
                <c:pt idx="4390">
                  <c:v>0</c:v>
                </c:pt>
                <c:pt idx="4391">
                  <c:v>0</c:v>
                </c:pt>
                <c:pt idx="4392">
                  <c:v>0</c:v>
                </c:pt>
                <c:pt idx="4393">
                  <c:v>0</c:v>
                </c:pt>
                <c:pt idx="4394">
                  <c:v>0</c:v>
                </c:pt>
                <c:pt idx="4395">
                  <c:v>0</c:v>
                </c:pt>
                <c:pt idx="4396">
                  <c:v>0</c:v>
                </c:pt>
                <c:pt idx="4397">
                  <c:v>0</c:v>
                </c:pt>
                <c:pt idx="4398">
                  <c:v>0</c:v>
                </c:pt>
                <c:pt idx="4399">
                  <c:v>0</c:v>
                </c:pt>
                <c:pt idx="4400">
                  <c:v>0</c:v>
                </c:pt>
                <c:pt idx="4401">
                  <c:v>0</c:v>
                </c:pt>
                <c:pt idx="4402">
                  <c:v>0</c:v>
                </c:pt>
                <c:pt idx="4403">
                  <c:v>0</c:v>
                </c:pt>
                <c:pt idx="4404">
                  <c:v>0</c:v>
                </c:pt>
                <c:pt idx="4405">
                  <c:v>0</c:v>
                </c:pt>
                <c:pt idx="4406">
                  <c:v>0</c:v>
                </c:pt>
                <c:pt idx="4407">
                  <c:v>0</c:v>
                </c:pt>
                <c:pt idx="4408">
                  <c:v>0</c:v>
                </c:pt>
                <c:pt idx="4409">
                  <c:v>0</c:v>
                </c:pt>
                <c:pt idx="4410">
                  <c:v>0</c:v>
                </c:pt>
                <c:pt idx="4411">
                  <c:v>0</c:v>
                </c:pt>
                <c:pt idx="4412">
                  <c:v>0</c:v>
                </c:pt>
                <c:pt idx="4413">
                  <c:v>0</c:v>
                </c:pt>
                <c:pt idx="4414">
                  <c:v>0</c:v>
                </c:pt>
                <c:pt idx="4415">
                  <c:v>0</c:v>
                </c:pt>
                <c:pt idx="4416">
                  <c:v>0</c:v>
                </c:pt>
                <c:pt idx="4417">
                  <c:v>0</c:v>
                </c:pt>
                <c:pt idx="4418">
                  <c:v>0</c:v>
                </c:pt>
                <c:pt idx="4419">
                  <c:v>0</c:v>
                </c:pt>
                <c:pt idx="4420">
                  <c:v>0</c:v>
                </c:pt>
                <c:pt idx="4421">
                  <c:v>0</c:v>
                </c:pt>
                <c:pt idx="4422">
                  <c:v>0</c:v>
                </c:pt>
                <c:pt idx="4423">
                  <c:v>0</c:v>
                </c:pt>
                <c:pt idx="4424">
                  <c:v>0</c:v>
                </c:pt>
                <c:pt idx="4425">
                  <c:v>0</c:v>
                </c:pt>
                <c:pt idx="4426">
                  <c:v>0</c:v>
                </c:pt>
                <c:pt idx="4427">
                  <c:v>0</c:v>
                </c:pt>
                <c:pt idx="4428">
                  <c:v>0</c:v>
                </c:pt>
                <c:pt idx="4429">
                  <c:v>0</c:v>
                </c:pt>
                <c:pt idx="4430">
                  <c:v>0</c:v>
                </c:pt>
                <c:pt idx="4431">
                  <c:v>0</c:v>
                </c:pt>
                <c:pt idx="4432">
                  <c:v>0</c:v>
                </c:pt>
                <c:pt idx="4433">
                  <c:v>0</c:v>
                </c:pt>
                <c:pt idx="4434">
                  <c:v>0</c:v>
                </c:pt>
                <c:pt idx="4435">
                  <c:v>0</c:v>
                </c:pt>
                <c:pt idx="4436">
                  <c:v>0</c:v>
                </c:pt>
                <c:pt idx="4437">
                  <c:v>0</c:v>
                </c:pt>
                <c:pt idx="4438">
                  <c:v>0</c:v>
                </c:pt>
                <c:pt idx="4439">
                  <c:v>0</c:v>
                </c:pt>
                <c:pt idx="4440">
                  <c:v>0</c:v>
                </c:pt>
                <c:pt idx="4441">
                  <c:v>0</c:v>
                </c:pt>
                <c:pt idx="4442">
                  <c:v>0</c:v>
                </c:pt>
                <c:pt idx="4443">
                  <c:v>0</c:v>
                </c:pt>
                <c:pt idx="4444">
                  <c:v>0</c:v>
                </c:pt>
                <c:pt idx="4445">
                  <c:v>0</c:v>
                </c:pt>
                <c:pt idx="4446">
                  <c:v>0</c:v>
                </c:pt>
                <c:pt idx="4447">
                  <c:v>0</c:v>
                </c:pt>
                <c:pt idx="4448">
                  <c:v>0</c:v>
                </c:pt>
                <c:pt idx="4449">
                  <c:v>0</c:v>
                </c:pt>
                <c:pt idx="4450">
                  <c:v>0</c:v>
                </c:pt>
                <c:pt idx="4451">
                  <c:v>0</c:v>
                </c:pt>
                <c:pt idx="4452">
                  <c:v>0</c:v>
                </c:pt>
                <c:pt idx="4453">
                  <c:v>0</c:v>
                </c:pt>
                <c:pt idx="4454">
                  <c:v>0</c:v>
                </c:pt>
                <c:pt idx="4455">
                  <c:v>0</c:v>
                </c:pt>
                <c:pt idx="4456">
                  <c:v>0</c:v>
                </c:pt>
                <c:pt idx="4457">
                  <c:v>0</c:v>
                </c:pt>
                <c:pt idx="4458">
                  <c:v>0</c:v>
                </c:pt>
                <c:pt idx="4459">
                  <c:v>0</c:v>
                </c:pt>
                <c:pt idx="4460">
                  <c:v>0</c:v>
                </c:pt>
                <c:pt idx="4461">
                  <c:v>0</c:v>
                </c:pt>
                <c:pt idx="4462">
                  <c:v>0</c:v>
                </c:pt>
                <c:pt idx="4463">
                  <c:v>0</c:v>
                </c:pt>
                <c:pt idx="4464">
                  <c:v>0</c:v>
                </c:pt>
                <c:pt idx="4465">
                  <c:v>0</c:v>
                </c:pt>
                <c:pt idx="4466">
                  <c:v>0</c:v>
                </c:pt>
                <c:pt idx="4467">
                  <c:v>0</c:v>
                </c:pt>
                <c:pt idx="4468">
                  <c:v>0</c:v>
                </c:pt>
                <c:pt idx="4469">
                  <c:v>0</c:v>
                </c:pt>
                <c:pt idx="4470">
                  <c:v>0</c:v>
                </c:pt>
                <c:pt idx="4471">
                  <c:v>0</c:v>
                </c:pt>
                <c:pt idx="4472">
                  <c:v>0</c:v>
                </c:pt>
                <c:pt idx="4473">
                  <c:v>0</c:v>
                </c:pt>
                <c:pt idx="4474">
                  <c:v>0</c:v>
                </c:pt>
                <c:pt idx="4475">
                  <c:v>0</c:v>
                </c:pt>
                <c:pt idx="4476">
                  <c:v>0</c:v>
                </c:pt>
                <c:pt idx="4477">
                  <c:v>0</c:v>
                </c:pt>
                <c:pt idx="4478">
                  <c:v>0</c:v>
                </c:pt>
                <c:pt idx="4479">
                  <c:v>0</c:v>
                </c:pt>
                <c:pt idx="4480">
                  <c:v>0</c:v>
                </c:pt>
                <c:pt idx="4481">
                  <c:v>0</c:v>
                </c:pt>
                <c:pt idx="4482">
                  <c:v>0</c:v>
                </c:pt>
                <c:pt idx="4483">
                  <c:v>0</c:v>
                </c:pt>
                <c:pt idx="4484">
                  <c:v>0</c:v>
                </c:pt>
                <c:pt idx="4485">
                  <c:v>0</c:v>
                </c:pt>
                <c:pt idx="4486">
                  <c:v>0</c:v>
                </c:pt>
                <c:pt idx="4487">
                  <c:v>0</c:v>
                </c:pt>
                <c:pt idx="4488">
                  <c:v>0</c:v>
                </c:pt>
                <c:pt idx="4489">
                  <c:v>0</c:v>
                </c:pt>
                <c:pt idx="4490">
                  <c:v>0</c:v>
                </c:pt>
                <c:pt idx="4491">
                  <c:v>0</c:v>
                </c:pt>
                <c:pt idx="4492">
                  <c:v>0</c:v>
                </c:pt>
                <c:pt idx="4493">
                  <c:v>0</c:v>
                </c:pt>
                <c:pt idx="4494">
                  <c:v>0</c:v>
                </c:pt>
                <c:pt idx="4495">
                  <c:v>0</c:v>
                </c:pt>
                <c:pt idx="4496">
                  <c:v>0</c:v>
                </c:pt>
                <c:pt idx="4497">
                  <c:v>0</c:v>
                </c:pt>
                <c:pt idx="4498">
                  <c:v>0</c:v>
                </c:pt>
                <c:pt idx="4499">
                  <c:v>0</c:v>
                </c:pt>
                <c:pt idx="4500">
                  <c:v>0</c:v>
                </c:pt>
                <c:pt idx="4501">
                  <c:v>0</c:v>
                </c:pt>
                <c:pt idx="4502">
                  <c:v>0</c:v>
                </c:pt>
                <c:pt idx="4503">
                  <c:v>0</c:v>
                </c:pt>
                <c:pt idx="4504">
                  <c:v>0</c:v>
                </c:pt>
                <c:pt idx="4505">
                  <c:v>0</c:v>
                </c:pt>
                <c:pt idx="4506">
                  <c:v>0</c:v>
                </c:pt>
                <c:pt idx="4507">
                  <c:v>0</c:v>
                </c:pt>
                <c:pt idx="4508">
                  <c:v>0</c:v>
                </c:pt>
                <c:pt idx="4509">
                  <c:v>0</c:v>
                </c:pt>
                <c:pt idx="4510">
                  <c:v>0</c:v>
                </c:pt>
                <c:pt idx="4511">
                  <c:v>0</c:v>
                </c:pt>
                <c:pt idx="4512">
                  <c:v>0</c:v>
                </c:pt>
                <c:pt idx="4513">
                  <c:v>0</c:v>
                </c:pt>
                <c:pt idx="4514">
                  <c:v>0</c:v>
                </c:pt>
                <c:pt idx="4515">
                  <c:v>0</c:v>
                </c:pt>
                <c:pt idx="4516">
                  <c:v>0</c:v>
                </c:pt>
                <c:pt idx="4517">
                  <c:v>0</c:v>
                </c:pt>
                <c:pt idx="4518">
                  <c:v>0</c:v>
                </c:pt>
                <c:pt idx="4519">
                  <c:v>0</c:v>
                </c:pt>
                <c:pt idx="4520">
                  <c:v>0</c:v>
                </c:pt>
                <c:pt idx="4521">
                  <c:v>0</c:v>
                </c:pt>
                <c:pt idx="4522">
                  <c:v>0</c:v>
                </c:pt>
                <c:pt idx="4523">
                  <c:v>0</c:v>
                </c:pt>
                <c:pt idx="4524">
                  <c:v>0</c:v>
                </c:pt>
                <c:pt idx="4525">
                  <c:v>0</c:v>
                </c:pt>
                <c:pt idx="4526">
                  <c:v>0</c:v>
                </c:pt>
                <c:pt idx="4527">
                  <c:v>0</c:v>
                </c:pt>
                <c:pt idx="4528">
                  <c:v>0</c:v>
                </c:pt>
                <c:pt idx="4529">
                  <c:v>0</c:v>
                </c:pt>
                <c:pt idx="4530">
                  <c:v>0</c:v>
                </c:pt>
                <c:pt idx="4531">
                  <c:v>0</c:v>
                </c:pt>
                <c:pt idx="4532">
                  <c:v>0</c:v>
                </c:pt>
                <c:pt idx="4533">
                  <c:v>0</c:v>
                </c:pt>
                <c:pt idx="4534">
                  <c:v>0</c:v>
                </c:pt>
                <c:pt idx="4535">
                  <c:v>0</c:v>
                </c:pt>
                <c:pt idx="4536">
                  <c:v>0</c:v>
                </c:pt>
                <c:pt idx="4537">
                  <c:v>0</c:v>
                </c:pt>
                <c:pt idx="4538">
                  <c:v>0</c:v>
                </c:pt>
                <c:pt idx="4539">
                  <c:v>0</c:v>
                </c:pt>
                <c:pt idx="4540">
                  <c:v>0</c:v>
                </c:pt>
                <c:pt idx="4541">
                  <c:v>0</c:v>
                </c:pt>
                <c:pt idx="4542">
                  <c:v>0</c:v>
                </c:pt>
                <c:pt idx="4543">
                  <c:v>0</c:v>
                </c:pt>
                <c:pt idx="4544">
                  <c:v>0</c:v>
                </c:pt>
                <c:pt idx="4545">
                  <c:v>0</c:v>
                </c:pt>
                <c:pt idx="4546">
                  <c:v>0</c:v>
                </c:pt>
                <c:pt idx="4547">
                  <c:v>0</c:v>
                </c:pt>
                <c:pt idx="4548">
                  <c:v>0</c:v>
                </c:pt>
                <c:pt idx="4549">
                  <c:v>0</c:v>
                </c:pt>
                <c:pt idx="4550">
                  <c:v>0</c:v>
                </c:pt>
                <c:pt idx="4551">
                  <c:v>0</c:v>
                </c:pt>
                <c:pt idx="4552">
                  <c:v>0</c:v>
                </c:pt>
                <c:pt idx="4553">
                  <c:v>0</c:v>
                </c:pt>
                <c:pt idx="4554">
                  <c:v>0</c:v>
                </c:pt>
                <c:pt idx="4555">
                  <c:v>0</c:v>
                </c:pt>
                <c:pt idx="4556">
                  <c:v>0</c:v>
                </c:pt>
                <c:pt idx="4557">
                  <c:v>0</c:v>
                </c:pt>
                <c:pt idx="4558">
                  <c:v>0</c:v>
                </c:pt>
                <c:pt idx="4559">
                  <c:v>0</c:v>
                </c:pt>
                <c:pt idx="4560">
                  <c:v>0</c:v>
                </c:pt>
                <c:pt idx="4561">
                  <c:v>0</c:v>
                </c:pt>
                <c:pt idx="4562">
                  <c:v>0</c:v>
                </c:pt>
                <c:pt idx="4563">
                  <c:v>0</c:v>
                </c:pt>
                <c:pt idx="4564">
                  <c:v>0</c:v>
                </c:pt>
                <c:pt idx="4565">
                  <c:v>0</c:v>
                </c:pt>
                <c:pt idx="4566">
                  <c:v>0</c:v>
                </c:pt>
                <c:pt idx="4567">
                  <c:v>0</c:v>
                </c:pt>
                <c:pt idx="4568">
                  <c:v>0</c:v>
                </c:pt>
                <c:pt idx="4569">
                  <c:v>0</c:v>
                </c:pt>
                <c:pt idx="4570">
                  <c:v>0</c:v>
                </c:pt>
                <c:pt idx="4571">
                  <c:v>0</c:v>
                </c:pt>
                <c:pt idx="4572">
                  <c:v>0</c:v>
                </c:pt>
                <c:pt idx="4573">
                  <c:v>0</c:v>
                </c:pt>
                <c:pt idx="4574">
                  <c:v>0</c:v>
                </c:pt>
                <c:pt idx="4575">
                  <c:v>0</c:v>
                </c:pt>
                <c:pt idx="4576">
                  <c:v>0</c:v>
                </c:pt>
                <c:pt idx="4577">
                  <c:v>0</c:v>
                </c:pt>
                <c:pt idx="4578">
                  <c:v>0</c:v>
                </c:pt>
                <c:pt idx="4579">
                  <c:v>0</c:v>
                </c:pt>
                <c:pt idx="4580">
                  <c:v>0</c:v>
                </c:pt>
                <c:pt idx="4581">
                  <c:v>0</c:v>
                </c:pt>
                <c:pt idx="4582">
                  <c:v>0</c:v>
                </c:pt>
                <c:pt idx="4583">
                  <c:v>0</c:v>
                </c:pt>
                <c:pt idx="4584">
                  <c:v>0</c:v>
                </c:pt>
                <c:pt idx="4585">
                  <c:v>0</c:v>
                </c:pt>
                <c:pt idx="4586">
                  <c:v>0</c:v>
                </c:pt>
                <c:pt idx="4587">
                  <c:v>0</c:v>
                </c:pt>
                <c:pt idx="4588">
                  <c:v>0</c:v>
                </c:pt>
                <c:pt idx="4589">
                  <c:v>0</c:v>
                </c:pt>
                <c:pt idx="4590">
                  <c:v>0</c:v>
                </c:pt>
                <c:pt idx="4591">
                  <c:v>0</c:v>
                </c:pt>
                <c:pt idx="4592">
                  <c:v>0</c:v>
                </c:pt>
                <c:pt idx="4593">
                  <c:v>0</c:v>
                </c:pt>
                <c:pt idx="4594">
                  <c:v>0</c:v>
                </c:pt>
                <c:pt idx="4595">
                  <c:v>0</c:v>
                </c:pt>
                <c:pt idx="4596">
                  <c:v>0</c:v>
                </c:pt>
                <c:pt idx="4597">
                  <c:v>0</c:v>
                </c:pt>
                <c:pt idx="4598">
                  <c:v>0</c:v>
                </c:pt>
                <c:pt idx="4599">
                  <c:v>0</c:v>
                </c:pt>
                <c:pt idx="4600">
                  <c:v>0</c:v>
                </c:pt>
                <c:pt idx="4601">
                  <c:v>0</c:v>
                </c:pt>
                <c:pt idx="4602">
                  <c:v>0</c:v>
                </c:pt>
                <c:pt idx="4603">
                  <c:v>0</c:v>
                </c:pt>
                <c:pt idx="4604">
                  <c:v>0</c:v>
                </c:pt>
                <c:pt idx="4605">
                  <c:v>0</c:v>
                </c:pt>
                <c:pt idx="4606">
                  <c:v>0</c:v>
                </c:pt>
                <c:pt idx="4607">
                  <c:v>0</c:v>
                </c:pt>
                <c:pt idx="4608">
                  <c:v>0</c:v>
                </c:pt>
                <c:pt idx="4609">
                  <c:v>0</c:v>
                </c:pt>
                <c:pt idx="4610">
                  <c:v>0</c:v>
                </c:pt>
                <c:pt idx="4611">
                  <c:v>0</c:v>
                </c:pt>
                <c:pt idx="4612">
                  <c:v>0</c:v>
                </c:pt>
                <c:pt idx="4613">
                  <c:v>0</c:v>
                </c:pt>
                <c:pt idx="4614">
                  <c:v>0</c:v>
                </c:pt>
                <c:pt idx="4615">
                  <c:v>0</c:v>
                </c:pt>
                <c:pt idx="4616">
                  <c:v>0</c:v>
                </c:pt>
                <c:pt idx="4617">
                  <c:v>0</c:v>
                </c:pt>
                <c:pt idx="4618">
                  <c:v>0</c:v>
                </c:pt>
                <c:pt idx="4619">
                  <c:v>0</c:v>
                </c:pt>
                <c:pt idx="4620">
                  <c:v>0</c:v>
                </c:pt>
                <c:pt idx="4621">
                  <c:v>0</c:v>
                </c:pt>
                <c:pt idx="4622">
                  <c:v>0</c:v>
                </c:pt>
                <c:pt idx="4623">
                  <c:v>0</c:v>
                </c:pt>
                <c:pt idx="4624">
                  <c:v>0</c:v>
                </c:pt>
                <c:pt idx="4625">
                  <c:v>0</c:v>
                </c:pt>
                <c:pt idx="4626">
                  <c:v>0</c:v>
                </c:pt>
                <c:pt idx="4627">
                  <c:v>0</c:v>
                </c:pt>
                <c:pt idx="4628">
                  <c:v>0</c:v>
                </c:pt>
                <c:pt idx="4629">
                  <c:v>0</c:v>
                </c:pt>
                <c:pt idx="4630">
                  <c:v>0</c:v>
                </c:pt>
                <c:pt idx="4631">
                  <c:v>0</c:v>
                </c:pt>
                <c:pt idx="4632">
                  <c:v>0</c:v>
                </c:pt>
                <c:pt idx="4633">
                  <c:v>0</c:v>
                </c:pt>
                <c:pt idx="4634">
                  <c:v>0</c:v>
                </c:pt>
                <c:pt idx="4635">
                  <c:v>0</c:v>
                </c:pt>
                <c:pt idx="4636">
                  <c:v>0</c:v>
                </c:pt>
                <c:pt idx="4637">
                  <c:v>0</c:v>
                </c:pt>
                <c:pt idx="4638">
                  <c:v>0</c:v>
                </c:pt>
                <c:pt idx="4639">
                  <c:v>0</c:v>
                </c:pt>
                <c:pt idx="4640">
                  <c:v>0</c:v>
                </c:pt>
                <c:pt idx="4641">
                  <c:v>0</c:v>
                </c:pt>
                <c:pt idx="4642">
                  <c:v>0</c:v>
                </c:pt>
                <c:pt idx="4643">
                  <c:v>0</c:v>
                </c:pt>
                <c:pt idx="4644">
                  <c:v>0</c:v>
                </c:pt>
                <c:pt idx="4645">
                  <c:v>0</c:v>
                </c:pt>
                <c:pt idx="4646">
                  <c:v>0</c:v>
                </c:pt>
                <c:pt idx="4647">
                  <c:v>0</c:v>
                </c:pt>
                <c:pt idx="4648">
                  <c:v>0</c:v>
                </c:pt>
                <c:pt idx="4649">
                  <c:v>0</c:v>
                </c:pt>
                <c:pt idx="4650">
                  <c:v>0</c:v>
                </c:pt>
                <c:pt idx="4651">
                  <c:v>0</c:v>
                </c:pt>
                <c:pt idx="4652">
                  <c:v>0</c:v>
                </c:pt>
                <c:pt idx="4653">
                  <c:v>0</c:v>
                </c:pt>
                <c:pt idx="4654">
                  <c:v>0</c:v>
                </c:pt>
                <c:pt idx="4655">
                  <c:v>0</c:v>
                </c:pt>
                <c:pt idx="4656">
                  <c:v>0</c:v>
                </c:pt>
                <c:pt idx="4657">
                  <c:v>0</c:v>
                </c:pt>
                <c:pt idx="4658">
                  <c:v>0</c:v>
                </c:pt>
                <c:pt idx="4659">
                  <c:v>0</c:v>
                </c:pt>
                <c:pt idx="4660">
                  <c:v>0</c:v>
                </c:pt>
                <c:pt idx="4661">
                  <c:v>0</c:v>
                </c:pt>
                <c:pt idx="4662">
                  <c:v>0</c:v>
                </c:pt>
                <c:pt idx="4663">
                  <c:v>0</c:v>
                </c:pt>
                <c:pt idx="4664">
                  <c:v>0</c:v>
                </c:pt>
                <c:pt idx="4665">
                  <c:v>0</c:v>
                </c:pt>
                <c:pt idx="4666">
                  <c:v>0</c:v>
                </c:pt>
                <c:pt idx="4667">
                  <c:v>0</c:v>
                </c:pt>
                <c:pt idx="4668">
                  <c:v>0</c:v>
                </c:pt>
                <c:pt idx="4669">
                  <c:v>0</c:v>
                </c:pt>
                <c:pt idx="4670">
                  <c:v>0</c:v>
                </c:pt>
                <c:pt idx="4671">
                  <c:v>0</c:v>
                </c:pt>
                <c:pt idx="4672">
                  <c:v>0</c:v>
                </c:pt>
                <c:pt idx="4673">
                  <c:v>0</c:v>
                </c:pt>
                <c:pt idx="4674">
                  <c:v>0</c:v>
                </c:pt>
                <c:pt idx="4675">
                  <c:v>0</c:v>
                </c:pt>
                <c:pt idx="4676">
                  <c:v>0</c:v>
                </c:pt>
                <c:pt idx="4677">
                  <c:v>0</c:v>
                </c:pt>
                <c:pt idx="4678">
                  <c:v>0</c:v>
                </c:pt>
                <c:pt idx="4679">
                  <c:v>0</c:v>
                </c:pt>
                <c:pt idx="4680">
                  <c:v>0</c:v>
                </c:pt>
                <c:pt idx="4681">
                  <c:v>0</c:v>
                </c:pt>
                <c:pt idx="4682">
                  <c:v>0</c:v>
                </c:pt>
                <c:pt idx="4683">
                  <c:v>0</c:v>
                </c:pt>
                <c:pt idx="4684">
                  <c:v>0</c:v>
                </c:pt>
                <c:pt idx="4685">
                  <c:v>0</c:v>
                </c:pt>
                <c:pt idx="4686">
                  <c:v>0</c:v>
                </c:pt>
                <c:pt idx="4687">
                  <c:v>0</c:v>
                </c:pt>
                <c:pt idx="4688">
                  <c:v>0</c:v>
                </c:pt>
                <c:pt idx="4689">
                  <c:v>0</c:v>
                </c:pt>
                <c:pt idx="4690">
                  <c:v>0</c:v>
                </c:pt>
                <c:pt idx="4691">
                  <c:v>0</c:v>
                </c:pt>
                <c:pt idx="4692">
                  <c:v>0</c:v>
                </c:pt>
                <c:pt idx="4693">
                  <c:v>0</c:v>
                </c:pt>
                <c:pt idx="4694">
                  <c:v>0</c:v>
                </c:pt>
                <c:pt idx="4695">
                  <c:v>0</c:v>
                </c:pt>
                <c:pt idx="4696">
                  <c:v>0</c:v>
                </c:pt>
                <c:pt idx="4697">
                  <c:v>0</c:v>
                </c:pt>
                <c:pt idx="4698">
                  <c:v>0</c:v>
                </c:pt>
                <c:pt idx="4699">
                  <c:v>0</c:v>
                </c:pt>
                <c:pt idx="4700">
                  <c:v>0</c:v>
                </c:pt>
                <c:pt idx="4701">
                  <c:v>0</c:v>
                </c:pt>
                <c:pt idx="4702">
                  <c:v>0</c:v>
                </c:pt>
                <c:pt idx="4703">
                  <c:v>0</c:v>
                </c:pt>
                <c:pt idx="4704">
                  <c:v>0</c:v>
                </c:pt>
                <c:pt idx="4705">
                  <c:v>0</c:v>
                </c:pt>
                <c:pt idx="4706">
                  <c:v>0</c:v>
                </c:pt>
                <c:pt idx="4707">
                  <c:v>0</c:v>
                </c:pt>
                <c:pt idx="4708">
                  <c:v>0</c:v>
                </c:pt>
                <c:pt idx="4709">
                  <c:v>0</c:v>
                </c:pt>
                <c:pt idx="4710">
                  <c:v>0</c:v>
                </c:pt>
                <c:pt idx="4711">
                  <c:v>0</c:v>
                </c:pt>
                <c:pt idx="4712">
                  <c:v>0</c:v>
                </c:pt>
                <c:pt idx="4713">
                  <c:v>0</c:v>
                </c:pt>
                <c:pt idx="4714">
                  <c:v>0</c:v>
                </c:pt>
                <c:pt idx="4715">
                  <c:v>0</c:v>
                </c:pt>
                <c:pt idx="4716">
                  <c:v>0</c:v>
                </c:pt>
                <c:pt idx="4717">
                  <c:v>0</c:v>
                </c:pt>
                <c:pt idx="4718">
                  <c:v>0</c:v>
                </c:pt>
                <c:pt idx="4719">
                  <c:v>0</c:v>
                </c:pt>
                <c:pt idx="4720">
                  <c:v>0</c:v>
                </c:pt>
                <c:pt idx="4721">
                  <c:v>0</c:v>
                </c:pt>
                <c:pt idx="4722">
                  <c:v>0</c:v>
                </c:pt>
                <c:pt idx="4723">
                  <c:v>0</c:v>
                </c:pt>
                <c:pt idx="4724">
                  <c:v>0</c:v>
                </c:pt>
                <c:pt idx="4725">
                  <c:v>0</c:v>
                </c:pt>
                <c:pt idx="4726">
                  <c:v>0</c:v>
                </c:pt>
                <c:pt idx="4727">
                  <c:v>0</c:v>
                </c:pt>
                <c:pt idx="4728">
                  <c:v>0</c:v>
                </c:pt>
                <c:pt idx="4729">
                  <c:v>0</c:v>
                </c:pt>
                <c:pt idx="4730">
                  <c:v>0</c:v>
                </c:pt>
                <c:pt idx="4731">
                  <c:v>0</c:v>
                </c:pt>
                <c:pt idx="4732">
                  <c:v>0</c:v>
                </c:pt>
                <c:pt idx="4733">
                  <c:v>0</c:v>
                </c:pt>
                <c:pt idx="4734">
                  <c:v>0</c:v>
                </c:pt>
                <c:pt idx="4735">
                  <c:v>0</c:v>
                </c:pt>
                <c:pt idx="4736">
                  <c:v>0</c:v>
                </c:pt>
                <c:pt idx="4737">
                  <c:v>0</c:v>
                </c:pt>
                <c:pt idx="4738">
                  <c:v>0</c:v>
                </c:pt>
                <c:pt idx="4739">
                  <c:v>0</c:v>
                </c:pt>
                <c:pt idx="4740">
                  <c:v>0</c:v>
                </c:pt>
                <c:pt idx="4741">
                  <c:v>0</c:v>
                </c:pt>
                <c:pt idx="4742">
                  <c:v>0</c:v>
                </c:pt>
                <c:pt idx="4743">
                  <c:v>0</c:v>
                </c:pt>
                <c:pt idx="4744">
                  <c:v>0</c:v>
                </c:pt>
                <c:pt idx="4745">
                  <c:v>0</c:v>
                </c:pt>
                <c:pt idx="4746">
                  <c:v>0</c:v>
                </c:pt>
                <c:pt idx="4747">
                  <c:v>0</c:v>
                </c:pt>
                <c:pt idx="4748">
                  <c:v>0</c:v>
                </c:pt>
                <c:pt idx="4749">
                  <c:v>0</c:v>
                </c:pt>
                <c:pt idx="4750">
                  <c:v>0</c:v>
                </c:pt>
                <c:pt idx="4751">
                  <c:v>0</c:v>
                </c:pt>
                <c:pt idx="4752">
                  <c:v>0</c:v>
                </c:pt>
                <c:pt idx="4753">
                  <c:v>0</c:v>
                </c:pt>
                <c:pt idx="4754">
                  <c:v>0</c:v>
                </c:pt>
                <c:pt idx="4755">
                  <c:v>0</c:v>
                </c:pt>
                <c:pt idx="4756">
                  <c:v>0</c:v>
                </c:pt>
                <c:pt idx="4757">
                  <c:v>0</c:v>
                </c:pt>
                <c:pt idx="4758">
                  <c:v>0</c:v>
                </c:pt>
                <c:pt idx="4759">
                  <c:v>0</c:v>
                </c:pt>
                <c:pt idx="4760">
                  <c:v>0</c:v>
                </c:pt>
                <c:pt idx="4761">
                  <c:v>0</c:v>
                </c:pt>
                <c:pt idx="4762">
                  <c:v>0</c:v>
                </c:pt>
                <c:pt idx="4763">
                  <c:v>0</c:v>
                </c:pt>
                <c:pt idx="4764">
                  <c:v>0</c:v>
                </c:pt>
                <c:pt idx="4765">
                  <c:v>0</c:v>
                </c:pt>
                <c:pt idx="4766">
                  <c:v>0</c:v>
                </c:pt>
                <c:pt idx="4767">
                  <c:v>0</c:v>
                </c:pt>
                <c:pt idx="4768">
                  <c:v>0</c:v>
                </c:pt>
                <c:pt idx="4769">
                  <c:v>0</c:v>
                </c:pt>
                <c:pt idx="4770">
                  <c:v>0</c:v>
                </c:pt>
                <c:pt idx="4771">
                  <c:v>0</c:v>
                </c:pt>
                <c:pt idx="4772">
                  <c:v>0</c:v>
                </c:pt>
                <c:pt idx="4773">
                  <c:v>0</c:v>
                </c:pt>
                <c:pt idx="4774">
                  <c:v>0</c:v>
                </c:pt>
                <c:pt idx="4775">
                  <c:v>0</c:v>
                </c:pt>
                <c:pt idx="4776">
                  <c:v>0</c:v>
                </c:pt>
                <c:pt idx="4777">
                  <c:v>0</c:v>
                </c:pt>
                <c:pt idx="4778">
                  <c:v>0</c:v>
                </c:pt>
                <c:pt idx="4779">
                  <c:v>0</c:v>
                </c:pt>
                <c:pt idx="4780">
                  <c:v>0</c:v>
                </c:pt>
                <c:pt idx="4781">
                  <c:v>0</c:v>
                </c:pt>
                <c:pt idx="4782">
                  <c:v>0</c:v>
                </c:pt>
                <c:pt idx="4783">
                  <c:v>0</c:v>
                </c:pt>
                <c:pt idx="4784">
                  <c:v>0</c:v>
                </c:pt>
                <c:pt idx="4785">
                  <c:v>0</c:v>
                </c:pt>
                <c:pt idx="4786">
                  <c:v>0</c:v>
                </c:pt>
                <c:pt idx="4787">
                  <c:v>0</c:v>
                </c:pt>
                <c:pt idx="4788">
                  <c:v>0</c:v>
                </c:pt>
                <c:pt idx="4789">
                  <c:v>0</c:v>
                </c:pt>
                <c:pt idx="4790">
                  <c:v>0</c:v>
                </c:pt>
                <c:pt idx="4791">
                  <c:v>0</c:v>
                </c:pt>
                <c:pt idx="4792">
                  <c:v>0</c:v>
                </c:pt>
                <c:pt idx="4793">
                  <c:v>0</c:v>
                </c:pt>
                <c:pt idx="4794">
                  <c:v>0</c:v>
                </c:pt>
                <c:pt idx="4795">
                  <c:v>0</c:v>
                </c:pt>
                <c:pt idx="4796">
                  <c:v>0</c:v>
                </c:pt>
                <c:pt idx="4797">
                  <c:v>0</c:v>
                </c:pt>
                <c:pt idx="4798">
                  <c:v>0</c:v>
                </c:pt>
                <c:pt idx="4799">
                  <c:v>0</c:v>
                </c:pt>
                <c:pt idx="4800">
                  <c:v>0</c:v>
                </c:pt>
                <c:pt idx="4801">
                  <c:v>0</c:v>
                </c:pt>
                <c:pt idx="4802">
                  <c:v>0</c:v>
                </c:pt>
                <c:pt idx="4803">
                  <c:v>0</c:v>
                </c:pt>
                <c:pt idx="4804">
                  <c:v>0</c:v>
                </c:pt>
                <c:pt idx="4805">
                  <c:v>0</c:v>
                </c:pt>
                <c:pt idx="4806">
                  <c:v>0</c:v>
                </c:pt>
                <c:pt idx="4807">
                  <c:v>0</c:v>
                </c:pt>
                <c:pt idx="4808">
                  <c:v>0</c:v>
                </c:pt>
                <c:pt idx="4809">
                  <c:v>0</c:v>
                </c:pt>
                <c:pt idx="4810">
                  <c:v>0</c:v>
                </c:pt>
                <c:pt idx="4811">
                  <c:v>0</c:v>
                </c:pt>
                <c:pt idx="4812">
                  <c:v>0</c:v>
                </c:pt>
                <c:pt idx="4813">
                  <c:v>0</c:v>
                </c:pt>
                <c:pt idx="4814">
                  <c:v>0</c:v>
                </c:pt>
                <c:pt idx="4815">
                  <c:v>0</c:v>
                </c:pt>
                <c:pt idx="4816">
                  <c:v>0</c:v>
                </c:pt>
                <c:pt idx="4817">
                  <c:v>0</c:v>
                </c:pt>
                <c:pt idx="4818">
                  <c:v>0</c:v>
                </c:pt>
                <c:pt idx="4819">
                  <c:v>0</c:v>
                </c:pt>
                <c:pt idx="4820">
                  <c:v>0</c:v>
                </c:pt>
                <c:pt idx="4821">
                  <c:v>0</c:v>
                </c:pt>
                <c:pt idx="4822">
                  <c:v>0</c:v>
                </c:pt>
                <c:pt idx="4823">
                  <c:v>0</c:v>
                </c:pt>
                <c:pt idx="4824">
                  <c:v>0</c:v>
                </c:pt>
                <c:pt idx="4825">
                  <c:v>0</c:v>
                </c:pt>
                <c:pt idx="4826">
                  <c:v>0</c:v>
                </c:pt>
                <c:pt idx="4827">
                  <c:v>0</c:v>
                </c:pt>
                <c:pt idx="4828">
                  <c:v>0</c:v>
                </c:pt>
                <c:pt idx="4829">
                  <c:v>0</c:v>
                </c:pt>
                <c:pt idx="4830">
                  <c:v>0</c:v>
                </c:pt>
                <c:pt idx="4831">
                  <c:v>0</c:v>
                </c:pt>
                <c:pt idx="4832">
                  <c:v>0</c:v>
                </c:pt>
                <c:pt idx="4833">
                  <c:v>0</c:v>
                </c:pt>
                <c:pt idx="4834">
                  <c:v>0</c:v>
                </c:pt>
                <c:pt idx="4835">
                  <c:v>0</c:v>
                </c:pt>
                <c:pt idx="4836">
                  <c:v>0</c:v>
                </c:pt>
                <c:pt idx="4837">
                  <c:v>0</c:v>
                </c:pt>
                <c:pt idx="4838">
                  <c:v>0</c:v>
                </c:pt>
                <c:pt idx="4839">
                  <c:v>0</c:v>
                </c:pt>
                <c:pt idx="4840">
                  <c:v>0</c:v>
                </c:pt>
                <c:pt idx="4841">
                  <c:v>0</c:v>
                </c:pt>
                <c:pt idx="4842">
                  <c:v>0</c:v>
                </c:pt>
                <c:pt idx="4843">
                  <c:v>0</c:v>
                </c:pt>
                <c:pt idx="4844">
                  <c:v>0</c:v>
                </c:pt>
                <c:pt idx="4845">
                  <c:v>0</c:v>
                </c:pt>
                <c:pt idx="4846">
                  <c:v>0</c:v>
                </c:pt>
                <c:pt idx="4847">
                  <c:v>0</c:v>
                </c:pt>
                <c:pt idx="4848">
                  <c:v>0</c:v>
                </c:pt>
                <c:pt idx="4849">
                  <c:v>0</c:v>
                </c:pt>
                <c:pt idx="4850">
                  <c:v>0</c:v>
                </c:pt>
                <c:pt idx="4851">
                  <c:v>0</c:v>
                </c:pt>
                <c:pt idx="4852">
                  <c:v>0</c:v>
                </c:pt>
                <c:pt idx="4853">
                  <c:v>0</c:v>
                </c:pt>
                <c:pt idx="4854">
                  <c:v>0</c:v>
                </c:pt>
                <c:pt idx="4855">
                  <c:v>0</c:v>
                </c:pt>
                <c:pt idx="4856">
                  <c:v>0</c:v>
                </c:pt>
                <c:pt idx="4857">
                  <c:v>0</c:v>
                </c:pt>
                <c:pt idx="4858">
                  <c:v>0</c:v>
                </c:pt>
                <c:pt idx="4859">
                  <c:v>0</c:v>
                </c:pt>
                <c:pt idx="4860">
                  <c:v>0</c:v>
                </c:pt>
                <c:pt idx="4861">
                  <c:v>0</c:v>
                </c:pt>
                <c:pt idx="4862">
                  <c:v>0</c:v>
                </c:pt>
                <c:pt idx="4863">
                  <c:v>0</c:v>
                </c:pt>
                <c:pt idx="4864">
                  <c:v>0</c:v>
                </c:pt>
                <c:pt idx="4865">
                  <c:v>0</c:v>
                </c:pt>
                <c:pt idx="4866">
                  <c:v>0</c:v>
                </c:pt>
                <c:pt idx="4867">
                  <c:v>0</c:v>
                </c:pt>
                <c:pt idx="4868">
                  <c:v>0</c:v>
                </c:pt>
                <c:pt idx="4869">
                  <c:v>0</c:v>
                </c:pt>
                <c:pt idx="4870">
                  <c:v>0</c:v>
                </c:pt>
                <c:pt idx="4871">
                  <c:v>0</c:v>
                </c:pt>
                <c:pt idx="4872">
                  <c:v>0</c:v>
                </c:pt>
                <c:pt idx="4873">
                  <c:v>0</c:v>
                </c:pt>
                <c:pt idx="4874">
                  <c:v>0</c:v>
                </c:pt>
                <c:pt idx="4875">
                  <c:v>0</c:v>
                </c:pt>
                <c:pt idx="4876">
                  <c:v>0</c:v>
                </c:pt>
                <c:pt idx="4877">
                  <c:v>0</c:v>
                </c:pt>
                <c:pt idx="4878">
                  <c:v>0</c:v>
                </c:pt>
                <c:pt idx="4879">
                  <c:v>0</c:v>
                </c:pt>
                <c:pt idx="4880">
                  <c:v>0</c:v>
                </c:pt>
                <c:pt idx="4881">
                  <c:v>0</c:v>
                </c:pt>
                <c:pt idx="4882">
                  <c:v>0</c:v>
                </c:pt>
                <c:pt idx="4883">
                  <c:v>0</c:v>
                </c:pt>
                <c:pt idx="4884">
                  <c:v>0</c:v>
                </c:pt>
                <c:pt idx="4885">
                  <c:v>0</c:v>
                </c:pt>
                <c:pt idx="4886">
                  <c:v>0</c:v>
                </c:pt>
                <c:pt idx="4887">
                  <c:v>0</c:v>
                </c:pt>
                <c:pt idx="4888">
                  <c:v>0</c:v>
                </c:pt>
                <c:pt idx="4889">
                  <c:v>0</c:v>
                </c:pt>
                <c:pt idx="4890">
                  <c:v>0</c:v>
                </c:pt>
                <c:pt idx="4891">
                  <c:v>0</c:v>
                </c:pt>
                <c:pt idx="4892">
                  <c:v>0</c:v>
                </c:pt>
                <c:pt idx="4893">
                  <c:v>0</c:v>
                </c:pt>
                <c:pt idx="4894">
                  <c:v>0</c:v>
                </c:pt>
                <c:pt idx="4895">
                  <c:v>0</c:v>
                </c:pt>
                <c:pt idx="4896">
                  <c:v>0</c:v>
                </c:pt>
                <c:pt idx="4897">
                  <c:v>0</c:v>
                </c:pt>
                <c:pt idx="4898">
                  <c:v>0</c:v>
                </c:pt>
                <c:pt idx="4899">
                  <c:v>0</c:v>
                </c:pt>
                <c:pt idx="4900">
                  <c:v>0</c:v>
                </c:pt>
                <c:pt idx="4901">
                  <c:v>0</c:v>
                </c:pt>
                <c:pt idx="4902">
                  <c:v>0</c:v>
                </c:pt>
                <c:pt idx="4903">
                  <c:v>0</c:v>
                </c:pt>
                <c:pt idx="4904">
                  <c:v>0</c:v>
                </c:pt>
                <c:pt idx="4905">
                  <c:v>0</c:v>
                </c:pt>
                <c:pt idx="4906">
                  <c:v>0</c:v>
                </c:pt>
                <c:pt idx="4907">
                  <c:v>0</c:v>
                </c:pt>
                <c:pt idx="4908">
                  <c:v>0</c:v>
                </c:pt>
                <c:pt idx="4909">
                  <c:v>0</c:v>
                </c:pt>
                <c:pt idx="4910">
                  <c:v>0</c:v>
                </c:pt>
                <c:pt idx="4911">
                  <c:v>0</c:v>
                </c:pt>
                <c:pt idx="4912">
                  <c:v>0</c:v>
                </c:pt>
                <c:pt idx="4913">
                  <c:v>0</c:v>
                </c:pt>
                <c:pt idx="4914">
                  <c:v>0</c:v>
                </c:pt>
                <c:pt idx="4915">
                  <c:v>0</c:v>
                </c:pt>
                <c:pt idx="4916">
                  <c:v>0</c:v>
                </c:pt>
                <c:pt idx="4917">
                  <c:v>0</c:v>
                </c:pt>
                <c:pt idx="4918">
                  <c:v>0</c:v>
                </c:pt>
                <c:pt idx="4919">
                  <c:v>0</c:v>
                </c:pt>
                <c:pt idx="4920">
                  <c:v>0</c:v>
                </c:pt>
                <c:pt idx="4921">
                  <c:v>0</c:v>
                </c:pt>
                <c:pt idx="4922">
                  <c:v>0</c:v>
                </c:pt>
                <c:pt idx="4923">
                  <c:v>0</c:v>
                </c:pt>
                <c:pt idx="4924">
                  <c:v>0</c:v>
                </c:pt>
                <c:pt idx="4925">
                  <c:v>0</c:v>
                </c:pt>
                <c:pt idx="4926">
                  <c:v>0</c:v>
                </c:pt>
                <c:pt idx="4927">
                  <c:v>0</c:v>
                </c:pt>
                <c:pt idx="4928">
                  <c:v>0</c:v>
                </c:pt>
                <c:pt idx="4929">
                  <c:v>0</c:v>
                </c:pt>
                <c:pt idx="4930">
                  <c:v>0</c:v>
                </c:pt>
                <c:pt idx="4931">
                  <c:v>0</c:v>
                </c:pt>
                <c:pt idx="4932">
                  <c:v>0</c:v>
                </c:pt>
                <c:pt idx="4933">
                  <c:v>0</c:v>
                </c:pt>
                <c:pt idx="4934">
                  <c:v>0</c:v>
                </c:pt>
                <c:pt idx="4935">
                  <c:v>0</c:v>
                </c:pt>
                <c:pt idx="4936">
                  <c:v>0</c:v>
                </c:pt>
                <c:pt idx="4937">
                  <c:v>0</c:v>
                </c:pt>
                <c:pt idx="4938">
                  <c:v>0</c:v>
                </c:pt>
                <c:pt idx="4939">
                  <c:v>0</c:v>
                </c:pt>
                <c:pt idx="4940">
                  <c:v>0</c:v>
                </c:pt>
                <c:pt idx="4941">
                  <c:v>0</c:v>
                </c:pt>
                <c:pt idx="4942">
                  <c:v>0</c:v>
                </c:pt>
                <c:pt idx="4943">
                  <c:v>0</c:v>
                </c:pt>
                <c:pt idx="4944">
                  <c:v>0</c:v>
                </c:pt>
                <c:pt idx="4945">
                  <c:v>0</c:v>
                </c:pt>
                <c:pt idx="4946">
                  <c:v>0</c:v>
                </c:pt>
                <c:pt idx="4947">
                  <c:v>0</c:v>
                </c:pt>
                <c:pt idx="4948">
                  <c:v>0</c:v>
                </c:pt>
                <c:pt idx="4949">
                  <c:v>0</c:v>
                </c:pt>
                <c:pt idx="4950">
                  <c:v>0</c:v>
                </c:pt>
                <c:pt idx="4951">
                  <c:v>0</c:v>
                </c:pt>
                <c:pt idx="4952">
                  <c:v>0</c:v>
                </c:pt>
                <c:pt idx="4953">
                  <c:v>0</c:v>
                </c:pt>
                <c:pt idx="4954">
                  <c:v>0</c:v>
                </c:pt>
                <c:pt idx="4955">
                  <c:v>0</c:v>
                </c:pt>
                <c:pt idx="4956">
                  <c:v>0</c:v>
                </c:pt>
                <c:pt idx="4957">
                  <c:v>0</c:v>
                </c:pt>
                <c:pt idx="4958">
                  <c:v>0</c:v>
                </c:pt>
                <c:pt idx="4959">
                  <c:v>0</c:v>
                </c:pt>
                <c:pt idx="4960">
                  <c:v>0</c:v>
                </c:pt>
                <c:pt idx="4961">
                  <c:v>0</c:v>
                </c:pt>
                <c:pt idx="4962">
                  <c:v>0</c:v>
                </c:pt>
                <c:pt idx="4963">
                  <c:v>0</c:v>
                </c:pt>
                <c:pt idx="4964">
                  <c:v>0</c:v>
                </c:pt>
                <c:pt idx="4965">
                  <c:v>0</c:v>
                </c:pt>
                <c:pt idx="4966">
                  <c:v>0</c:v>
                </c:pt>
                <c:pt idx="4967">
                  <c:v>0</c:v>
                </c:pt>
                <c:pt idx="4968">
                  <c:v>0</c:v>
                </c:pt>
                <c:pt idx="4969">
                  <c:v>0</c:v>
                </c:pt>
                <c:pt idx="4970">
                  <c:v>0</c:v>
                </c:pt>
                <c:pt idx="4971">
                  <c:v>0</c:v>
                </c:pt>
                <c:pt idx="4972">
                  <c:v>0</c:v>
                </c:pt>
                <c:pt idx="4973">
                  <c:v>0</c:v>
                </c:pt>
                <c:pt idx="4974">
                  <c:v>0</c:v>
                </c:pt>
                <c:pt idx="4975">
                  <c:v>0</c:v>
                </c:pt>
                <c:pt idx="4976">
                  <c:v>0</c:v>
                </c:pt>
                <c:pt idx="4977">
                  <c:v>0</c:v>
                </c:pt>
                <c:pt idx="4978">
                  <c:v>0</c:v>
                </c:pt>
                <c:pt idx="4979">
                  <c:v>0</c:v>
                </c:pt>
                <c:pt idx="4980">
                  <c:v>0</c:v>
                </c:pt>
                <c:pt idx="4981">
                  <c:v>0</c:v>
                </c:pt>
                <c:pt idx="4982">
                  <c:v>0</c:v>
                </c:pt>
                <c:pt idx="4983">
                  <c:v>0</c:v>
                </c:pt>
                <c:pt idx="4984">
                  <c:v>0</c:v>
                </c:pt>
                <c:pt idx="4985">
                  <c:v>0</c:v>
                </c:pt>
                <c:pt idx="4986">
                  <c:v>0</c:v>
                </c:pt>
                <c:pt idx="4987">
                  <c:v>0</c:v>
                </c:pt>
                <c:pt idx="4988">
                  <c:v>0</c:v>
                </c:pt>
                <c:pt idx="4989">
                  <c:v>0</c:v>
                </c:pt>
                <c:pt idx="4990">
                  <c:v>0</c:v>
                </c:pt>
                <c:pt idx="4991">
                  <c:v>0</c:v>
                </c:pt>
                <c:pt idx="4992">
                  <c:v>0</c:v>
                </c:pt>
                <c:pt idx="4993">
                  <c:v>0</c:v>
                </c:pt>
                <c:pt idx="4994">
                  <c:v>0</c:v>
                </c:pt>
                <c:pt idx="4995">
                  <c:v>0</c:v>
                </c:pt>
                <c:pt idx="4996">
                  <c:v>0</c:v>
                </c:pt>
                <c:pt idx="4997">
                  <c:v>0</c:v>
                </c:pt>
                <c:pt idx="4998">
                  <c:v>0</c:v>
                </c:pt>
                <c:pt idx="4999">
                  <c:v>0</c:v>
                </c:pt>
                <c:pt idx="5000">
                  <c:v>0</c:v>
                </c:pt>
                <c:pt idx="5001">
                  <c:v>0</c:v>
                </c:pt>
                <c:pt idx="5002">
                  <c:v>0</c:v>
                </c:pt>
                <c:pt idx="5003">
                  <c:v>0</c:v>
                </c:pt>
                <c:pt idx="5004">
                  <c:v>0</c:v>
                </c:pt>
                <c:pt idx="5005">
                  <c:v>0</c:v>
                </c:pt>
                <c:pt idx="5006">
                  <c:v>0</c:v>
                </c:pt>
                <c:pt idx="5007">
                  <c:v>0</c:v>
                </c:pt>
                <c:pt idx="5008">
                  <c:v>0</c:v>
                </c:pt>
                <c:pt idx="5009">
                  <c:v>0</c:v>
                </c:pt>
                <c:pt idx="5010">
                  <c:v>0</c:v>
                </c:pt>
                <c:pt idx="5011">
                  <c:v>0</c:v>
                </c:pt>
                <c:pt idx="5012">
                  <c:v>0</c:v>
                </c:pt>
                <c:pt idx="5013">
                  <c:v>0</c:v>
                </c:pt>
                <c:pt idx="5014">
                  <c:v>0</c:v>
                </c:pt>
                <c:pt idx="5015">
                  <c:v>0</c:v>
                </c:pt>
                <c:pt idx="5016">
                  <c:v>0</c:v>
                </c:pt>
                <c:pt idx="5017">
                  <c:v>0</c:v>
                </c:pt>
                <c:pt idx="5018">
                  <c:v>0</c:v>
                </c:pt>
                <c:pt idx="5019">
                  <c:v>0</c:v>
                </c:pt>
                <c:pt idx="5020">
                  <c:v>0</c:v>
                </c:pt>
                <c:pt idx="5021">
                  <c:v>0</c:v>
                </c:pt>
                <c:pt idx="5022">
                  <c:v>0</c:v>
                </c:pt>
                <c:pt idx="5023">
                  <c:v>0</c:v>
                </c:pt>
                <c:pt idx="5024">
                  <c:v>0</c:v>
                </c:pt>
                <c:pt idx="5025">
                  <c:v>0</c:v>
                </c:pt>
                <c:pt idx="5026">
                  <c:v>0</c:v>
                </c:pt>
                <c:pt idx="5027">
                  <c:v>0</c:v>
                </c:pt>
                <c:pt idx="5028">
                  <c:v>0</c:v>
                </c:pt>
                <c:pt idx="5029">
                  <c:v>0</c:v>
                </c:pt>
                <c:pt idx="5030">
                  <c:v>0</c:v>
                </c:pt>
                <c:pt idx="5031">
                  <c:v>0</c:v>
                </c:pt>
                <c:pt idx="5032">
                  <c:v>0</c:v>
                </c:pt>
                <c:pt idx="5033">
                  <c:v>0</c:v>
                </c:pt>
                <c:pt idx="5034">
                  <c:v>0</c:v>
                </c:pt>
                <c:pt idx="5035">
                  <c:v>0</c:v>
                </c:pt>
                <c:pt idx="5036">
                  <c:v>0</c:v>
                </c:pt>
                <c:pt idx="5037">
                  <c:v>0</c:v>
                </c:pt>
                <c:pt idx="5038">
                  <c:v>0</c:v>
                </c:pt>
                <c:pt idx="5039">
                  <c:v>0</c:v>
                </c:pt>
                <c:pt idx="5040">
                  <c:v>0</c:v>
                </c:pt>
                <c:pt idx="5041">
                  <c:v>0</c:v>
                </c:pt>
                <c:pt idx="5042">
                  <c:v>0</c:v>
                </c:pt>
                <c:pt idx="5043">
                  <c:v>0</c:v>
                </c:pt>
                <c:pt idx="5044">
                  <c:v>0</c:v>
                </c:pt>
                <c:pt idx="5045">
                  <c:v>0</c:v>
                </c:pt>
                <c:pt idx="5046">
                  <c:v>0</c:v>
                </c:pt>
                <c:pt idx="5047">
                  <c:v>0</c:v>
                </c:pt>
                <c:pt idx="5048">
                  <c:v>0</c:v>
                </c:pt>
                <c:pt idx="5049">
                  <c:v>0</c:v>
                </c:pt>
                <c:pt idx="5050">
                  <c:v>0</c:v>
                </c:pt>
                <c:pt idx="5051">
                  <c:v>0</c:v>
                </c:pt>
                <c:pt idx="5052">
                  <c:v>0</c:v>
                </c:pt>
                <c:pt idx="5053">
                  <c:v>0</c:v>
                </c:pt>
                <c:pt idx="5054">
                  <c:v>0</c:v>
                </c:pt>
                <c:pt idx="5055">
                  <c:v>0</c:v>
                </c:pt>
                <c:pt idx="5056">
                  <c:v>0</c:v>
                </c:pt>
                <c:pt idx="5057">
                  <c:v>0</c:v>
                </c:pt>
                <c:pt idx="5058">
                  <c:v>0</c:v>
                </c:pt>
                <c:pt idx="5059">
                  <c:v>0</c:v>
                </c:pt>
                <c:pt idx="5060">
                  <c:v>0</c:v>
                </c:pt>
                <c:pt idx="5061">
                  <c:v>0</c:v>
                </c:pt>
                <c:pt idx="5062">
                  <c:v>0</c:v>
                </c:pt>
                <c:pt idx="5063">
                  <c:v>0</c:v>
                </c:pt>
                <c:pt idx="5064">
                  <c:v>0</c:v>
                </c:pt>
                <c:pt idx="5065">
                  <c:v>0</c:v>
                </c:pt>
                <c:pt idx="5066">
                  <c:v>0</c:v>
                </c:pt>
                <c:pt idx="5067">
                  <c:v>0</c:v>
                </c:pt>
                <c:pt idx="5068">
                  <c:v>0</c:v>
                </c:pt>
                <c:pt idx="5069">
                  <c:v>0</c:v>
                </c:pt>
                <c:pt idx="5070">
                  <c:v>0</c:v>
                </c:pt>
                <c:pt idx="5071">
                  <c:v>0</c:v>
                </c:pt>
                <c:pt idx="5072">
                  <c:v>0</c:v>
                </c:pt>
                <c:pt idx="5073">
                  <c:v>0</c:v>
                </c:pt>
                <c:pt idx="5074">
                  <c:v>0</c:v>
                </c:pt>
                <c:pt idx="5075">
                  <c:v>0</c:v>
                </c:pt>
                <c:pt idx="5076">
                  <c:v>0</c:v>
                </c:pt>
                <c:pt idx="5077">
                  <c:v>0</c:v>
                </c:pt>
                <c:pt idx="5078">
                  <c:v>0</c:v>
                </c:pt>
                <c:pt idx="5079">
                  <c:v>0</c:v>
                </c:pt>
                <c:pt idx="5080">
                  <c:v>0</c:v>
                </c:pt>
                <c:pt idx="5081">
                  <c:v>0</c:v>
                </c:pt>
                <c:pt idx="5082">
                  <c:v>0</c:v>
                </c:pt>
                <c:pt idx="5083">
                  <c:v>0</c:v>
                </c:pt>
                <c:pt idx="5084">
                  <c:v>0</c:v>
                </c:pt>
                <c:pt idx="5085">
                  <c:v>0</c:v>
                </c:pt>
                <c:pt idx="5086">
                  <c:v>0</c:v>
                </c:pt>
                <c:pt idx="5087">
                  <c:v>0</c:v>
                </c:pt>
                <c:pt idx="5088">
                  <c:v>0</c:v>
                </c:pt>
                <c:pt idx="5089">
                  <c:v>0</c:v>
                </c:pt>
                <c:pt idx="5090">
                  <c:v>0</c:v>
                </c:pt>
                <c:pt idx="5091">
                  <c:v>0</c:v>
                </c:pt>
                <c:pt idx="5092">
                  <c:v>0</c:v>
                </c:pt>
                <c:pt idx="5093">
                  <c:v>0</c:v>
                </c:pt>
                <c:pt idx="5094">
                  <c:v>0</c:v>
                </c:pt>
                <c:pt idx="5095">
                  <c:v>0</c:v>
                </c:pt>
                <c:pt idx="5096">
                  <c:v>0</c:v>
                </c:pt>
                <c:pt idx="5097">
                  <c:v>0</c:v>
                </c:pt>
                <c:pt idx="5098">
                  <c:v>0</c:v>
                </c:pt>
                <c:pt idx="5099">
                  <c:v>0</c:v>
                </c:pt>
                <c:pt idx="5100">
                  <c:v>0</c:v>
                </c:pt>
                <c:pt idx="5101">
                  <c:v>0</c:v>
                </c:pt>
                <c:pt idx="5102">
                  <c:v>0</c:v>
                </c:pt>
                <c:pt idx="5103">
                  <c:v>0</c:v>
                </c:pt>
                <c:pt idx="5104">
                  <c:v>0</c:v>
                </c:pt>
                <c:pt idx="5105">
                  <c:v>0</c:v>
                </c:pt>
                <c:pt idx="5106">
                  <c:v>0</c:v>
                </c:pt>
                <c:pt idx="5107">
                  <c:v>0</c:v>
                </c:pt>
                <c:pt idx="5108">
                  <c:v>0</c:v>
                </c:pt>
                <c:pt idx="5109">
                  <c:v>0</c:v>
                </c:pt>
                <c:pt idx="5110">
                  <c:v>0</c:v>
                </c:pt>
                <c:pt idx="5111">
                  <c:v>0</c:v>
                </c:pt>
                <c:pt idx="5112">
                  <c:v>0</c:v>
                </c:pt>
                <c:pt idx="5113">
                  <c:v>0</c:v>
                </c:pt>
                <c:pt idx="5114">
                  <c:v>0</c:v>
                </c:pt>
                <c:pt idx="5115">
                  <c:v>0</c:v>
                </c:pt>
                <c:pt idx="5116">
                  <c:v>0</c:v>
                </c:pt>
                <c:pt idx="5117">
                  <c:v>0</c:v>
                </c:pt>
                <c:pt idx="5118">
                  <c:v>0</c:v>
                </c:pt>
                <c:pt idx="5119">
                  <c:v>0</c:v>
                </c:pt>
                <c:pt idx="5120">
                  <c:v>0</c:v>
                </c:pt>
                <c:pt idx="5121">
                  <c:v>0</c:v>
                </c:pt>
                <c:pt idx="5122">
                  <c:v>0</c:v>
                </c:pt>
                <c:pt idx="5123">
                  <c:v>0</c:v>
                </c:pt>
                <c:pt idx="5124">
                  <c:v>0</c:v>
                </c:pt>
                <c:pt idx="5125">
                  <c:v>0</c:v>
                </c:pt>
                <c:pt idx="5126">
                  <c:v>0</c:v>
                </c:pt>
                <c:pt idx="5127">
                  <c:v>0</c:v>
                </c:pt>
                <c:pt idx="5128">
                  <c:v>0</c:v>
                </c:pt>
                <c:pt idx="5129">
                  <c:v>0</c:v>
                </c:pt>
                <c:pt idx="5130">
                  <c:v>0</c:v>
                </c:pt>
                <c:pt idx="5131">
                  <c:v>0</c:v>
                </c:pt>
                <c:pt idx="5132">
                  <c:v>0</c:v>
                </c:pt>
                <c:pt idx="5133">
                  <c:v>0</c:v>
                </c:pt>
                <c:pt idx="5134">
                  <c:v>0</c:v>
                </c:pt>
                <c:pt idx="5135">
                  <c:v>0</c:v>
                </c:pt>
                <c:pt idx="5136">
                  <c:v>0</c:v>
                </c:pt>
                <c:pt idx="5137">
                  <c:v>0</c:v>
                </c:pt>
                <c:pt idx="5138">
                  <c:v>0</c:v>
                </c:pt>
                <c:pt idx="5139">
                  <c:v>0</c:v>
                </c:pt>
                <c:pt idx="5140">
                  <c:v>0</c:v>
                </c:pt>
                <c:pt idx="5141">
                  <c:v>0</c:v>
                </c:pt>
                <c:pt idx="5142">
                  <c:v>0</c:v>
                </c:pt>
                <c:pt idx="5143">
                  <c:v>0</c:v>
                </c:pt>
                <c:pt idx="5144">
                  <c:v>0</c:v>
                </c:pt>
                <c:pt idx="5145">
                  <c:v>0</c:v>
                </c:pt>
                <c:pt idx="5146">
                  <c:v>0</c:v>
                </c:pt>
                <c:pt idx="5147">
                  <c:v>0</c:v>
                </c:pt>
                <c:pt idx="5148">
                  <c:v>0</c:v>
                </c:pt>
                <c:pt idx="5149">
                  <c:v>0</c:v>
                </c:pt>
                <c:pt idx="5150">
                  <c:v>0</c:v>
                </c:pt>
                <c:pt idx="5151">
                  <c:v>0</c:v>
                </c:pt>
                <c:pt idx="5152">
                  <c:v>0</c:v>
                </c:pt>
                <c:pt idx="5153">
                  <c:v>0</c:v>
                </c:pt>
                <c:pt idx="5154">
                  <c:v>0</c:v>
                </c:pt>
                <c:pt idx="5155">
                  <c:v>0</c:v>
                </c:pt>
                <c:pt idx="5156">
                  <c:v>0</c:v>
                </c:pt>
                <c:pt idx="5157">
                  <c:v>0</c:v>
                </c:pt>
                <c:pt idx="5158">
                  <c:v>0</c:v>
                </c:pt>
                <c:pt idx="5159">
                  <c:v>0</c:v>
                </c:pt>
                <c:pt idx="5160">
                  <c:v>0</c:v>
                </c:pt>
                <c:pt idx="5161">
                  <c:v>0</c:v>
                </c:pt>
                <c:pt idx="5162">
                  <c:v>0</c:v>
                </c:pt>
                <c:pt idx="5163">
                  <c:v>0</c:v>
                </c:pt>
                <c:pt idx="5164">
                  <c:v>0</c:v>
                </c:pt>
                <c:pt idx="5165">
                  <c:v>0</c:v>
                </c:pt>
                <c:pt idx="5166">
                  <c:v>0</c:v>
                </c:pt>
                <c:pt idx="5167">
                  <c:v>0</c:v>
                </c:pt>
                <c:pt idx="5168">
                  <c:v>0</c:v>
                </c:pt>
                <c:pt idx="5169">
                  <c:v>0</c:v>
                </c:pt>
                <c:pt idx="5170">
                  <c:v>0</c:v>
                </c:pt>
                <c:pt idx="5171">
                  <c:v>0</c:v>
                </c:pt>
                <c:pt idx="5172">
                  <c:v>0</c:v>
                </c:pt>
                <c:pt idx="5173">
                  <c:v>0</c:v>
                </c:pt>
                <c:pt idx="5174">
                  <c:v>0</c:v>
                </c:pt>
                <c:pt idx="5175">
                  <c:v>0</c:v>
                </c:pt>
                <c:pt idx="5176">
                  <c:v>0</c:v>
                </c:pt>
                <c:pt idx="5177">
                  <c:v>0</c:v>
                </c:pt>
                <c:pt idx="5178">
                  <c:v>0</c:v>
                </c:pt>
                <c:pt idx="5179">
                  <c:v>0</c:v>
                </c:pt>
                <c:pt idx="5180">
                  <c:v>0</c:v>
                </c:pt>
                <c:pt idx="5181">
                  <c:v>0</c:v>
                </c:pt>
                <c:pt idx="5182">
                  <c:v>0</c:v>
                </c:pt>
                <c:pt idx="5183">
                  <c:v>0</c:v>
                </c:pt>
                <c:pt idx="5184">
                  <c:v>0</c:v>
                </c:pt>
                <c:pt idx="5185">
                  <c:v>0</c:v>
                </c:pt>
                <c:pt idx="5186">
                  <c:v>0</c:v>
                </c:pt>
                <c:pt idx="5187">
                  <c:v>0</c:v>
                </c:pt>
                <c:pt idx="5188">
                  <c:v>0</c:v>
                </c:pt>
                <c:pt idx="5189">
                  <c:v>0</c:v>
                </c:pt>
                <c:pt idx="5190">
                  <c:v>0</c:v>
                </c:pt>
                <c:pt idx="5191">
                  <c:v>0</c:v>
                </c:pt>
                <c:pt idx="5192">
                  <c:v>0</c:v>
                </c:pt>
                <c:pt idx="5193">
                  <c:v>0</c:v>
                </c:pt>
                <c:pt idx="5194">
                  <c:v>0</c:v>
                </c:pt>
                <c:pt idx="5195">
                  <c:v>0</c:v>
                </c:pt>
                <c:pt idx="5196">
                  <c:v>0</c:v>
                </c:pt>
                <c:pt idx="5197">
                  <c:v>0</c:v>
                </c:pt>
                <c:pt idx="5198">
                  <c:v>0</c:v>
                </c:pt>
                <c:pt idx="5199">
                  <c:v>0</c:v>
                </c:pt>
                <c:pt idx="5200">
                  <c:v>0</c:v>
                </c:pt>
                <c:pt idx="5201">
                  <c:v>0</c:v>
                </c:pt>
                <c:pt idx="5202">
                  <c:v>0</c:v>
                </c:pt>
                <c:pt idx="5203">
                  <c:v>0</c:v>
                </c:pt>
                <c:pt idx="5204">
                  <c:v>0</c:v>
                </c:pt>
                <c:pt idx="5205">
                  <c:v>0</c:v>
                </c:pt>
                <c:pt idx="5206">
                  <c:v>0</c:v>
                </c:pt>
                <c:pt idx="5207">
                  <c:v>0</c:v>
                </c:pt>
                <c:pt idx="5208">
                  <c:v>0</c:v>
                </c:pt>
                <c:pt idx="5209">
                  <c:v>0</c:v>
                </c:pt>
                <c:pt idx="5210">
                  <c:v>0</c:v>
                </c:pt>
                <c:pt idx="5211">
                  <c:v>0</c:v>
                </c:pt>
                <c:pt idx="5212">
                  <c:v>0</c:v>
                </c:pt>
                <c:pt idx="5213">
                  <c:v>0</c:v>
                </c:pt>
                <c:pt idx="5214">
                  <c:v>0</c:v>
                </c:pt>
                <c:pt idx="5215">
                  <c:v>0</c:v>
                </c:pt>
                <c:pt idx="5216">
                  <c:v>0</c:v>
                </c:pt>
                <c:pt idx="5217">
                  <c:v>0</c:v>
                </c:pt>
                <c:pt idx="5218">
                  <c:v>0</c:v>
                </c:pt>
                <c:pt idx="5219">
                  <c:v>0</c:v>
                </c:pt>
                <c:pt idx="5220">
                  <c:v>0</c:v>
                </c:pt>
                <c:pt idx="5221">
                  <c:v>0</c:v>
                </c:pt>
                <c:pt idx="5222">
                  <c:v>0</c:v>
                </c:pt>
                <c:pt idx="5223">
                  <c:v>0</c:v>
                </c:pt>
                <c:pt idx="5224">
                  <c:v>0</c:v>
                </c:pt>
                <c:pt idx="5225">
                  <c:v>0</c:v>
                </c:pt>
                <c:pt idx="5226">
                  <c:v>0</c:v>
                </c:pt>
                <c:pt idx="5227">
                  <c:v>0</c:v>
                </c:pt>
                <c:pt idx="5228">
                  <c:v>0</c:v>
                </c:pt>
                <c:pt idx="5229">
                  <c:v>0</c:v>
                </c:pt>
                <c:pt idx="5230">
                  <c:v>0</c:v>
                </c:pt>
                <c:pt idx="5231">
                  <c:v>0</c:v>
                </c:pt>
                <c:pt idx="5232">
                  <c:v>0</c:v>
                </c:pt>
                <c:pt idx="5233">
                  <c:v>0</c:v>
                </c:pt>
                <c:pt idx="5234">
                  <c:v>0</c:v>
                </c:pt>
                <c:pt idx="5235">
                  <c:v>0</c:v>
                </c:pt>
                <c:pt idx="5236">
                  <c:v>0</c:v>
                </c:pt>
                <c:pt idx="5237">
                  <c:v>0</c:v>
                </c:pt>
                <c:pt idx="5238">
                  <c:v>0</c:v>
                </c:pt>
                <c:pt idx="5239">
                  <c:v>0</c:v>
                </c:pt>
                <c:pt idx="5240">
                  <c:v>0</c:v>
                </c:pt>
                <c:pt idx="5241">
                  <c:v>0</c:v>
                </c:pt>
                <c:pt idx="5242">
                  <c:v>0</c:v>
                </c:pt>
                <c:pt idx="5243">
                  <c:v>0</c:v>
                </c:pt>
                <c:pt idx="5244">
                  <c:v>0</c:v>
                </c:pt>
                <c:pt idx="5245">
                  <c:v>0</c:v>
                </c:pt>
                <c:pt idx="5246">
                  <c:v>0</c:v>
                </c:pt>
                <c:pt idx="5247">
                  <c:v>0</c:v>
                </c:pt>
                <c:pt idx="5248">
                  <c:v>0</c:v>
                </c:pt>
                <c:pt idx="5249">
                  <c:v>0</c:v>
                </c:pt>
                <c:pt idx="5250">
                  <c:v>0</c:v>
                </c:pt>
                <c:pt idx="5251">
                  <c:v>0</c:v>
                </c:pt>
                <c:pt idx="5252">
                  <c:v>0</c:v>
                </c:pt>
                <c:pt idx="5253">
                  <c:v>0</c:v>
                </c:pt>
                <c:pt idx="5254">
                  <c:v>0</c:v>
                </c:pt>
                <c:pt idx="5255">
                  <c:v>0</c:v>
                </c:pt>
                <c:pt idx="5256">
                  <c:v>0</c:v>
                </c:pt>
                <c:pt idx="5257">
                  <c:v>0</c:v>
                </c:pt>
                <c:pt idx="5258">
                  <c:v>0</c:v>
                </c:pt>
                <c:pt idx="5259">
                  <c:v>0</c:v>
                </c:pt>
                <c:pt idx="5260">
                  <c:v>0</c:v>
                </c:pt>
                <c:pt idx="5261">
                  <c:v>0</c:v>
                </c:pt>
                <c:pt idx="5262">
                  <c:v>0</c:v>
                </c:pt>
                <c:pt idx="5263">
                  <c:v>0</c:v>
                </c:pt>
                <c:pt idx="5264">
                  <c:v>0</c:v>
                </c:pt>
                <c:pt idx="5265">
                  <c:v>0</c:v>
                </c:pt>
                <c:pt idx="5266">
                  <c:v>0</c:v>
                </c:pt>
                <c:pt idx="5267">
                  <c:v>0</c:v>
                </c:pt>
                <c:pt idx="5268">
                  <c:v>0</c:v>
                </c:pt>
                <c:pt idx="5269">
                  <c:v>0</c:v>
                </c:pt>
                <c:pt idx="5270">
                  <c:v>0</c:v>
                </c:pt>
                <c:pt idx="5271">
                  <c:v>0</c:v>
                </c:pt>
                <c:pt idx="5272">
                  <c:v>0</c:v>
                </c:pt>
                <c:pt idx="5273">
                  <c:v>0</c:v>
                </c:pt>
                <c:pt idx="5274">
                  <c:v>0</c:v>
                </c:pt>
                <c:pt idx="5275">
                  <c:v>0</c:v>
                </c:pt>
                <c:pt idx="5276">
                  <c:v>0</c:v>
                </c:pt>
                <c:pt idx="5277">
                  <c:v>0</c:v>
                </c:pt>
                <c:pt idx="5278">
                  <c:v>0</c:v>
                </c:pt>
                <c:pt idx="5279">
                  <c:v>0</c:v>
                </c:pt>
                <c:pt idx="5280">
                  <c:v>0</c:v>
                </c:pt>
                <c:pt idx="5281">
                  <c:v>0</c:v>
                </c:pt>
                <c:pt idx="5282">
                  <c:v>0</c:v>
                </c:pt>
                <c:pt idx="5283">
                  <c:v>0</c:v>
                </c:pt>
                <c:pt idx="5284">
                  <c:v>0</c:v>
                </c:pt>
                <c:pt idx="5285">
                  <c:v>0</c:v>
                </c:pt>
                <c:pt idx="5286">
                  <c:v>0</c:v>
                </c:pt>
                <c:pt idx="5287">
                  <c:v>0</c:v>
                </c:pt>
                <c:pt idx="5288">
                  <c:v>0</c:v>
                </c:pt>
                <c:pt idx="5289">
                  <c:v>0</c:v>
                </c:pt>
                <c:pt idx="5290">
                  <c:v>0</c:v>
                </c:pt>
                <c:pt idx="5291">
                  <c:v>0</c:v>
                </c:pt>
                <c:pt idx="5292">
                  <c:v>0</c:v>
                </c:pt>
                <c:pt idx="5293">
                  <c:v>0</c:v>
                </c:pt>
                <c:pt idx="5294">
                  <c:v>0</c:v>
                </c:pt>
                <c:pt idx="5295">
                  <c:v>0</c:v>
                </c:pt>
                <c:pt idx="5296">
                  <c:v>0</c:v>
                </c:pt>
                <c:pt idx="5297">
                  <c:v>0</c:v>
                </c:pt>
                <c:pt idx="5298">
                  <c:v>0</c:v>
                </c:pt>
                <c:pt idx="5299">
                  <c:v>0</c:v>
                </c:pt>
                <c:pt idx="5300">
                  <c:v>0</c:v>
                </c:pt>
                <c:pt idx="5301">
                  <c:v>0</c:v>
                </c:pt>
                <c:pt idx="5302">
                  <c:v>0</c:v>
                </c:pt>
                <c:pt idx="5303">
                  <c:v>0</c:v>
                </c:pt>
                <c:pt idx="5304">
                  <c:v>0</c:v>
                </c:pt>
                <c:pt idx="5305">
                  <c:v>0</c:v>
                </c:pt>
                <c:pt idx="5306">
                  <c:v>0</c:v>
                </c:pt>
                <c:pt idx="5307">
                  <c:v>0</c:v>
                </c:pt>
                <c:pt idx="5308">
                  <c:v>0</c:v>
                </c:pt>
                <c:pt idx="5309">
                  <c:v>0</c:v>
                </c:pt>
                <c:pt idx="5310">
                  <c:v>0</c:v>
                </c:pt>
                <c:pt idx="5311">
                  <c:v>0</c:v>
                </c:pt>
                <c:pt idx="5312">
                  <c:v>0</c:v>
                </c:pt>
                <c:pt idx="5313">
                  <c:v>0</c:v>
                </c:pt>
                <c:pt idx="5314">
                  <c:v>0</c:v>
                </c:pt>
                <c:pt idx="5315">
                  <c:v>0</c:v>
                </c:pt>
                <c:pt idx="5316">
                  <c:v>0</c:v>
                </c:pt>
                <c:pt idx="5317">
                  <c:v>0</c:v>
                </c:pt>
                <c:pt idx="5318">
                  <c:v>0</c:v>
                </c:pt>
                <c:pt idx="5319">
                  <c:v>0</c:v>
                </c:pt>
                <c:pt idx="5320">
                  <c:v>0</c:v>
                </c:pt>
                <c:pt idx="5321">
                  <c:v>0</c:v>
                </c:pt>
                <c:pt idx="5322">
                  <c:v>0</c:v>
                </c:pt>
                <c:pt idx="5323">
                  <c:v>0</c:v>
                </c:pt>
                <c:pt idx="5324">
                  <c:v>0</c:v>
                </c:pt>
                <c:pt idx="5325">
                  <c:v>0</c:v>
                </c:pt>
                <c:pt idx="5326">
                  <c:v>0</c:v>
                </c:pt>
                <c:pt idx="5327">
                  <c:v>0</c:v>
                </c:pt>
                <c:pt idx="5328">
                  <c:v>0</c:v>
                </c:pt>
                <c:pt idx="5329">
                  <c:v>0</c:v>
                </c:pt>
                <c:pt idx="5330">
                  <c:v>0</c:v>
                </c:pt>
                <c:pt idx="5331">
                  <c:v>0</c:v>
                </c:pt>
                <c:pt idx="5332">
                  <c:v>0</c:v>
                </c:pt>
                <c:pt idx="5333">
                  <c:v>0</c:v>
                </c:pt>
                <c:pt idx="5334">
                  <c:v>0</c:v>
                </c:pt>
                <c:pt idx="5335">
                  <c:v>0</c:v>
                </c:pt>
                <c:pt idx="5336">
                  <c:v>0</c:v>
                </c:pt>
                <c:pt idx="5337">
                  <c:v>0</c:v>
                </c:pt>
                <c:pt idx="5338">
                  <c:v>0</c:v>
                </c:pt>
                <c:pt idx="5339">
                  <c:v>0</c:v>
                </c:pt>
                <c:pt idx="5340">
                  <c:v>0</c:v>
                </c:pt>
                <c:pt idx="5341">
                  <c:v>0</c:v>
                </c:pt>
                <c:pt idx="5342">
                  <c:v>0</c:v>
                </c:pt>
                <c:pt idx="5343">
                  <c:v>0</c:v>
                </c:pt>
                <c:pt idx="5344">
                  <c:v>0</c:v>
                </c:pt>
                <c:pt idx="5345">
                  <c:v>0</c:v>
                </c:pt>
                <c:pt idx="5346">
                  <c:v>0</c:v>
                </c:pt>
                <c:pt idx="5347">
                  <c:v>0</c:v>
                </c:pt>
                <c:pt idx="5348">
                  <c:v>0</c:v>
                </c:pt>
                <c:pt idx="5349">
                  <c:v>0</c:v>
                </c:pt>
                <c:pt idx="5350">
                  <c:v>0</c:v>
                </c:pt>
                <c:pt idx="5351">
                  <c:v>0</c:v>
                </c:pt>
                <c:pt idx="5352">
                  <c:v>0</c:v>
                </c:pt>
                <c:pt idx="5353">
                  <c:v>0</c:v>
                </c:pt>
                <c:pt idx="5354">
                  <c:v>0</c:v>
                </c:pt>
                <c:pt idx="5355">
                  <c:v>0</c:v>
                </c:pt>
                <c:pt idx="5356">
                  <c:v>0</c:v>
                </c:pt>
                <c:pt idx="5357">
                  <c:v>0</c:v>
                </c:pt>
                <c:pt idx="5358">
                  <c:v>0</c:v>
                </c:pt>
                <c:pt idx="5359">
                  <c:v>0</c:v>
                </c:pt>
                <c:pt idx="5360">
                  <c:v>0</c:v>
                </c:pt>
                <c:pt idx="5361">
                  <c:v>0</c:v>
                </c:pt>
                <c:pt idx="5362">
                  <c:v>0</c:v>
                </c:pt>
                <c:pt idx="5363">
                  <c:v>0</c:v>
                </c:pt>
                <c:pt idx="5364">
                  <c:v>0</c:v>
                </c:pt>
                <c:pt idx="5365">
                  <c:v>0</c:v>
                </c:pt>
                <c:pt idx="5366">
                  <c:v>0</c:v>
                </c:pt>
                <c:pt idx="5367">
                  <c:v>0</c:v>
                </c:pt>
                <c:pt idx="5368">
                  <c:v>0</c:v>
                </c:pt>
                <c:pt idx="5369">
                  <c:v>0</c:v>
                </c:pt>
                <c:pt idx="5370">
                  <c:v>0</c:v>
                </c:pt>
                <c:pt idx="5371">
                  <c:v>0</c:v>
                </c:pt>
                <c:pt idx="5372">
                  <c:v>0</c:v>
                </c:pt>
                <c:pt idx="5373">
                  <c:v>0</c:v>
                </c:pt>
                <c:pt idx="5374">
                  <c:v>0</c:v>
                </c:pt>
                <c:pt idx="5375">
                  <c:v>0</c:v>
                </c:pt>
                <c:pt idx="5376">
                  <c:v>0</c:v>
                </c:pt>
                <c:pt idx="5377">
                  <c:v>0</c:v>
                </c:pt>
                <c:pt idx="5378">
                  <c:v>0</c:v>
                </c:pt>
                <c:pt idx="5379">
                  <c:v>0</c:v>
                </c:pt>
                <c:pt idx="5380">
                  <c:v>0</c:v>
                </c:pt>
                <c:pt idx="5381">
                  <c:v>0</c:v>
                </c:pt>
                <c:pt idx="5382">
                  <c:v>0</c:v>
                </c:pt>
                <c:pt idx="5383">
                  <c:v>0</c:v>
                </c:pt>
                <c:pt idx="5384">
                  <c:v>0</c:v>
                </c:pt>
                <c:pt idx="5385">
                  <c:v>0</c:v>
                </c:pt>
                <c:pt idx="5386">
                  <c:v>0</c:v>
                </c:pt>
                <c:pt idx="5387">
                  <c:v>0</c:v>
                </c:pt>
                <c:pt idx="5388">
                  <c:v>0</c:v>
                </c:pt>
                <c:pt idx="5389">
                  <c:v>0</c:v>
                </c:pt>
                <c:pt idx="5390">
                  <c:v>0</c:v>
                </c:pt>
                <c:pt idx="5391">
                  <c:v>0</c:v>
                </c:pt>
                <c:pt idx="5392">
                  <c:v>0</c:v>
                </c:pt>
                <c:pt idx="5393">
                  <c:v>0</c:v>
                </c:pt>
                <c:pt idx="5394">
                  <c:v>0</c:v>
                </c:pt>
                <c:pt idx="5395">
                  <c:v>0</c:v>
                </c:pt>
                <c:pt idx="5396">
                  <c:v>0</c:v>
                </c:pt>
                <c:pt idx="5397">
                  <c:v>0</c:v>
                </c:pt>
                <c:pt idx="5398">
                  <c:v>0</c:v>
                </c:pt>
                <c:pt idx="5399">
                  <c:v>0</c:v>
                </c:pt>
                <c:pt idx="5400">
                  <c:v>0</c:v>
                </c:pt>
                <c:pt idx="5401">
                  <c:v>0</c:v>
                </c:pt>
                <c:pt idx="5402">
                  <c:v>0</c:v>
                </c:pt>
                <c:pt idx="5403">
                  <c:v>0</c:v>
                </c:pt>
                <c:pt idx="5404">
                  <c:v>0</c:v>
                </c:pt>
                <c:pt idx="5405">
                  <c:v>0</c:v>
                </c:pt>
                <c:pt idx="5406">
                  <c:v>0</c:v>
                </c:pt>
                <c:pt idx="5407">
                  <c:v>0</c:v>
                </c:pt>
                <c:pt idx="5408">
                  <c:v>0</c:v>
                </c:pt>
                <c:pt idx="5409">
                  <c:v>0</c:v>
                </c:pt>
                <c:pt idx="5410">
                  <c:v>0</c:v>
                </c:pt>
                <c:pt idx="5411">
                  <c:v>0</c:v>
                </c:pt>
                <c:pt idx="5412">
                  <c:v>0</c:v>
                </c:pt>
                <c:pt idx="5413">
                  <c:v>0</c:v>
                </c:pt>
                <c:pt idx="5414">
                  <c:v>0</c:v>
                </c:pt>
                <c:pt idx="5415">
                  <c:v>0</c:v>
                </c:pt>
                <c:pt idx="5416">
                  <c:v>0</c:v>
                </c:pt>
                <c:pt idx="5417">
                  <c:v>0</c:v>
                </c:pt>
                <c:pt idx="5418">
                  <c:v>0</c:v>
                </c:pt>
                <c:pt idx="5419">
                  <c:v>0</c:v>
                </c:pt>
                <c:pt idx="5420">
                  <c:v>0</c:v>
                </c:pt>
                <c:pt idx="5421">
                  <c:v>0</c:v>
                </c:pt>
                <c:pt idx="5422">
                  <c:v>0</c:v>
                </c:pt>
                <c:pt idx="5423">
                  <c:v>0</c:v>
                </c:pt>
                <c:pt idx="5424">
                  <c:v>0</c:v>
                </c:pt>
                <c:pt idx="5425">
                  <c:v>0</c:v>
                </c:pt>
                <c:pt idx="5426">
                  <c:v>0</c:v>
                </c:pt>
                <c:pt idx="5427">
                  <c:v>0</c:v>
                </c:pt>
                <c:pt idx="5428">
                  <c:v>0</c:v>
                </c:pt>
                <c:pt idx="5429">
                  <c:v>0</c:v>
                </c:pt>
                <c:pt idx="5430">
                  <c:v>0</c:v>
                </c:pt>
                <c:pt idx="5431">
                  <c:v>0</c:v>
                </c:pt>
                <c:pt idx="5432">
                  <c:v>0</c:v>
                </c:pt>
                <c:pt idx="5433">
                  <c:v>0</c:v>
                </c:pt>
                <c:pt idx="5434">
                  <c:v>0</c:v>
                </c:pt>
                <c:pt idx="5435">
                  <c:v>0</c:v>
                </c:pt>
                <c:pt idx="5436">
                  <c:v>0</c:v>
                </c:pt>
                <c:pt idx="5437">
                  <c:v>0</c:v>
                </c:pt>
                <c:pt idx="5438">
                  <c:v>0</c:v>
                </c:pt>
                <c:pt idx="5439">
                  <c:v>0</c:v>
                </c:pt>
                <c:pt idx="5440">
                  <c:v>0</c:v>
                </c:pt>
                <c:pt idx="5441">
                  <c:v>0</c:v>
                </c:pt>
                <c:pt idx="5442">
                  <c:v>0</c:v>
                </c:pt>
                <c:pt idx="5443">
                  <c:v>0</c:v>
                </c:pt>
                <c:pt idx="5444">
                  <c:v>0</c:v>
                </c:pt>
                <c:pt idx="5445">
                  <c:v>0</c:v>
                </c:pt>
                <c:pt idx="5446">
                  <c:v>0</c:v>
                </c:pt>
                <c:pt idx="5447">
                  <c:v>0</c:v>
                </c:pt>
                <c:pt idx="5448">
                  <c:v>0</c:v>
                </c:pt>
                <c:pt idx="5449">
                  <c:v>0</c:v>
                </c:pt>
                <c:pt idx="5450">
                  <c:v>0</c:v>
                </c:pt>
                <c:pt idx="5451">
                  <c:v>0</c:v>
                </c:pt>
                <c:pt idx="5452">
                  <c:v>0</c:v>
                </c:pt>
                <c:pt idx="5453">
                  <c:v>0</c:v>
                </c:pt>
                <c:pt idx="5454">
                  <c:v>0</c:v>
                </c:pt>
                <c:pt idx="5455">
                  <c:v>0</c:v>
                </c:pt>
                <c:pt idx="5456">
                  <c:v>0</c:v>
                </c:pt>
                <c:pt idx="5457">
                  <c:v>0</c:v>
                </c:pt>
                <c:pt idx="5458">
                  <c:v>0</c:v>
                </c:pt>
                <c:pt idx="5459">
                  <c:v>0</c:v>
                </c:pt>
                <c:pt idx="5460">
                  <c:v>0</c:v>
                </c:pt>
                <c:pt idx="5461">
                  <c:v>0</c:v>
                </c:pt>
                <c:pt idx="5462">
                  <c:v>0</c:v>
                </c:pt>
                <c:pt idx="5463">
                  <c:v>0</c:v>
                </c:pt>
                <c:pt idx="5464">
                  <c:v>0</c:v>
                </c:pt>
                <c:pt idx="5465">
                  <c:v>0</c:v>
                </c:pt>
                <c:pt idx="5466">
                  <c:v>0</c:v>
                </c:pt>
                <c:pt idx="5467">
                  <c:v>0</c:v>
                </c:pt>
                <c:pt idx="5468">
                  <c:v>0</c:v>
                </c:pt>
                <c:pt idx="5469">
                  <c:v>0</c:v>
                </c:pt>
                <c:pt idx="5470">
                  <c:v>0</c:v>
                </c:pt>
                <c:pt idx="5471">
                  <c:v>0</c:v>
                </c:pt>
                <c:pt idx="5472">
                  <c:v>0</c:v>
                </c:pt>
                <c:pt idx="5473">
                  <c:v>0</c:v>
                </c:pt>
                <c:pt idx="5474">
                  <c:v>0</c:v>
                </c:pt>
                <c:pt idx="5475">
                  <c:v>0</c:v>
                </c:pt>
                <c:pt idx="5476">
                  <c:v>0</c:v>
                </c:pt>
                <c:pt idx="5477">
                  <c:v>0</c:v>
                </c:pt>
                <c:pt idx="5478">
                  <c:v>0</c:v>
                </c:pt>
                <c:pt idx="5479">
                  <c:v>0</c:v>
                </c:pt>
                <c:pt idx="5480">
                  <c:v>0</c:v>
                </c:pt>
                <c:pt idx="5481">
                  <c:v>0</c:v>
                </c:pt>
                <c:pt idx="5482">
                  <c:v>0</c:v>
                </c:pt>
                <c:pt idx="5483">
                  <c:v>0</c:v>
                </c:pt>
                <c:pt idx="5484">
                  <c:v>0</c:v>
                </c:pt>
                <c:pt idx="5485">
                  <c:v>0</c:v>
                </c:pt>
                <c:pt idx="5486">
                  <c:v>0</c:v>
                </c:pt>
                <c:pt idx="5487">
                  <c:v>0</c:v>
                </c:pt>
                <c:pt idx="5488">
                  <c:v>0</c:v>
                </c:pt>
                <c:pt idx="5489">
                  <c:v>0</c:v>
                </c:pt>
                <c:pt idx="5490">
                  <c:v>0</c:v>
                </c:pt>
                <c:pt idx="5491">
                  <c:v>0</c:v>
                </c:pt>
                <c:pt idx="5492">
                  <c:v>0</c:v>
                </c:pt>
                <c:pt idx="5493">
                  <c:v>0</c:v>
                </c:pt>
                <c:pt idx="5494">
                  <c:v>0</c:v>
                </c:pt>
                <c:pt idx="5495">
                  <c:v>0</c:v>
                </c:pt>
                <c:pt idx="5496">
                  <c:v>0</c:v>
                </c:pt>
                <c:pt idx="5497">
                  <c:v>0</c:v>
                </c:pt>
                <c:pt idx="5498">
                  <c:v>0</c:v>
                </c:pt>
                <c:pt idx="5499">
                  <c:v>0</c:v>
                </c:pt>
                <c:pt idx="5500">
                  <c:v>0</c:v>
                </c:pt>
                <c:pt idx="5501">
                  <c:v>0</c:v>
                </c:pt>
                <c:pt idx="5502">
                  <c:v>0</c:v>
                </c:pt>
                <c:pt idx="5503">
                  <c:v>0</c:v>
                </c:pt>
                <c:pt idx="5504">
                  <c:v>0</c:v>
                </c:pt>
                <c:pt idx="5505">
                  <c:v>0</c:v>
                </c:pt>
                <c:pt idx="5506">
                  <c:v>0</c:v>
                </c:pt>
                <c:pt idx="5507">
                  <c:v>0</c:v>
                </c:pt>
                <c:pt idx="5508">
                  <c:v>0</c:v>
                </c:pt>
                <c:pt idx="5509">
                  <c:v>0</c:v>
                </c:pt>
                <c:pt idx="5510">
                  <c:v>0</c:v>
                </c:pt>
                <c:pt idx="5511">
                  <c:v>0</c:v>
                </c:pt>
                <c:pt idx="5512">
                  <c:v>0</c:v>
                </c:pt>
                <c:pt idx="5513">
                  <c:v>0</c:v>
                </c:pt>
                <c:pt idx="5514">
                  <c:v>0</c:v>
                </c:pt>
                <c:pt idx="5515">
                  <c:v>0</c:v>
                </c:pt>
                <c:pt idx="5516">
                  <c:v>0</c:v>
                </c:pt>
                <c:pt idx="5517">
                  <c:v>0</c:v>
                </c:pt>
                <c:pt idx="5518">
                  <c:v>0</c:v>
                </c:pt>
                <c:pt idx="5519">
                  <c:v>0</c:v>
                </c:pt>
                <c:pt idx="5520">
                  <c:v>0</c:v>
                </c:pt>
                <c:pt idx="5521">
                  <c:v>0</c:v>
                </c:pt>
                <c:pt idx="5522">
                  <c:v>0</c:v>
                </c:pt>
                <c:pt idx="5523">
                  <c:v>0</c:v>
                </c:pt>
                <c:pt idx="5524">
                  <c:v>0</c:v>
                </c:pt>
                <c:pt idx="5525">
                  <c:v>0</c:v>
                </c:pt>
                <c:pt idx="5526">
                  <c:v>0</c:v>
                </c:pt>
                <c:pt idx="5527">
                  <c:v>0</c:v>
                </c:pt>
                <c:pt idx="5528">
                  <c:v>0</c:v>
                </c:pt>
                <c:pt idx="5529">
                  <c:v>0</c:v>
                </c:pt>
                <c:pt idx="5530">
                  <c:v>0</c:v>
                </c:pt>
                <c:pt idx="5531">
                  <c:v>0</c:v>
                </c:pt>
                <c:pt idx="5532">
                  <c:v>0</c:v>
                </c:pt>
                <c:pt idx="5533">
                  <c:v>0</c:v>
                </c:pt>
                <c:pt idx="5534">
                  <c:v>0</c:v>
                </c:pt>
                <c:pt idx="5535">
                  <c:v>0</c:v>
                </c:pt>
                <c:pt idx="5536">
                  <c:v>0</c:v>
                </c:pt>
                <c:pt idx="5537">
                  <c:v>0</c:v>
                </c:pt>
                <c:pt idx="5538">
                  <c:v>0</c:v>
                </c:pt>
                <c:pt idx="5539">
                  <c:v>0</c:v>
                </c:pt>
                <c:pt idx="5540">
                  <c:v>0</c:v>
                </c:pt>
                <c:pt idx="5541">
                  <c:v>0</c:v>
                </c:pt>
                <c:pt idx="5542">
                  <c:v>0</c:v>
                </c:pt>
                <c:pt idx="5543">
                  <c:v>0</c:v>
                </c:pt>
                <c:pt idx="5544">
                  <c:v>0</c:v>
                </c:pt>
                <c:pt idx="5545">
                  <c:v>0</c:v>
                </c:pt>
                <c:pt idx="5546">
                  <c:v>0</c:v>
                </c:pt>
                <c:pt idx="5547">
                  <c:v>0</c:v>
                </c:pt>
                <c:pt idx="5548">
                  <c:v>0</c:v>
                </c:pt>
                <c:pt idx="5549">
                  <c:v>0</c:v>
                </c:pt>
                <c:pt idx="5550">
                  <c:v>0</c:v>
                </c:pt>
                <c:pt idx="5551">
                  <c:v>0</c:v>
                </c:pt>
                <c:pt idx="5552">
                  <c:v>0</c:v>
                </c:pt>
                <c:pt idx="5553">
                  <c:v>0</c:v>
                </c:pt>
                <c:pt idx="5554">
                  <c:v>0</c:v>
                </c:pt>
                <c:pt idx="5555">
                  <c:v>0</c:v>
                </c:pt>
                <c:pt idx="5556">
                  <c:v>0</c:v>
                </c:pt>
                <c:pt idx="5557">
                  <c:v>0</c:v>
                </c:pt>
                <c:pt idx="5558">
                  <c:v>0</c:v>
                </c:pt>
                <c:pt idx="5559">
                  <c:v>0</c:v>
                </c:pt>
                <c:pt idx="5560">
                  <c:v>0</c:v>
                </c:pt>
                <c:pt idx="5561">
                  <c:v>0</c:v>
                </c:pt>
                <c:pt idx="5562">
                  <c:v>0</c:v>
                </c:pt>
                <c:pt idx="5563">
                  <c:v>0</c:v>
                </c:pt>
                <c:pt idx="5564">
                  <c:v>0</c:v>
                </c:pt>
                <c:pt idx="5565">
                  <c:v>0</c:v>
                </c:pt>
                <c:pt idx="5566">
                  <c:v>0</c:v>
                </c:pt>
                <c:pt idx="5567">
                  <c:v>0</c:v>
                </c:pt>
                <c:pt idx="5568">
                  <c:v>0</c:v>
                </c:pt>
                <c:pt idx="5569">
                  <c:v>0</c:v>
                </c:pt>
                <c:pt idx="5570">
                  <c:v>0</c:v>
                </c:pt>
                <c:pt idx="5571">
                  <c:v>0</c:v>
                </c:pt>
                <c:pt idx="5572">
                  <c:v>0</c:v>
                </c:pt>
                <c:pt idx="5573">
                  <c:v>0</c:v>
                </c:pt>
                <c:pt idx="5574">
                  <c:v>0</c:v>
                </c:pt>
                <c:pt idx="5575">
                  <c:v>0</c:v>
                </c:pt>
                <c:pt idx="5576">
                  <c:v>0</c:v>
                </c:pt>
                <c:pt idx="5577">
                  <c:v>0</c:v>
                </c:pt>
                <c:pt idx="5578">
                  <c:v>0</c:v>
                </c:pt>
                <c:pt idx="5579">
                  <c:v>0</c:v>
                </c:pt>
                <c:pt idx="5580">
                  <c:v>0</c:v>
                </c:pt>
                <c:pt idx="5581">
                  <c:v>0</c:v>
                </c:pt>
                <c:pt idx="5582">
                  <c:v>0</c:v>
                </c:pt>
                <c:pt idx="5583">
                  <c:v>0</c:v>
                </c:pt>
                <c:pt idx="5584">
                  <c:v>0</c:v>
                </c:pt>
                <c:pt idx="5585">
                  <c:v>0</c:v>
                </c:pt>
                <c:pt idx="5586">
                  <c:v>0</c:v>
                </c:pt>
                <c:pt idx="5587">
                  <c:v>0</c:v>
                </c:pt>
                <c:pt idx="5588">
                  <c:v>0</c:v>
                </c:pt>
                <c:pt idx="5589">
                  <c:v>0</c:v>
                </c:pt>
                <c:pt idx="5590">
                  <c:v>0</c:v>
                </c:pt>
                <c:pt idx="5591">
                  <c:v>0</c:v>
                </c:pt>
                <c:pt idx="5592">
                  <c:v>0</c:v>
                </c:pt>
                <c:pt idx="5593">
                  <c:v>0</c:v>
                </c:pt>
                <c:pt idx="5594">
                  <c:v>0</c:v>
                </c:pt>
                <c:pt idx="5595">
                  <c:v>0</c:v>
                </c:pt>
                <c:pt idx="5596">
                  <c:v>0</c:v>
                </c:pt>
                <c:pt idx="5597">
                  <c:v>0</c:v>
                </c:pt>
                <c:pt idx="5598">
                  <c:v>0</c:v>
                </c:pt>
                <c:pt idx="5599">
                  <c:v>0</c:v>
                </c:pt>
                <c:pt idx="5600">
                  <c:v>0</c:v>
                </c:pt>
                <c:pt idx="5601">
                  <c:v>0</c:v>
                </c:pt>
                <c:pt idx="5602">
                  <c:v>0</c:v>
                </c:pt>
                <c:pt idx="5603">
                  <c:v>0</c:v>
                </c:pt>
                <c:pt idx="5604">
                  <c:v>0</c:v>
                </c:pt>
                <c:pt idx="5605">
                  <c:v>0</c:v>
                </c:pt>
                <c:pt idx="5606">
                  <c:v>0</c:v>
                </c:pt>
                <c:pt idx="5607">
                  <c:v>0</c:v>
                </c:pt>
                <c:pt idx="5608">
                  <c:v>0</c:v>
                </c:pt>
                <c:pt idx="5609">
                  <c:v>0</c:v>
                </c:pt>
                <c:pt idx="5610">
                  <c:v>0</c:v>
                </c:pt>
                <c:pt idx="5611">
                  <c:v>0</c:v>
                </c:pt>
                <c:pt idx="5612">
                  <c:v>0</c:v>
                </c:pt>
                <c:pt idx="5613">
                  <c:v>0</c:v>
                </c:pt>
                <c:pt idx="5614">
                  <c:v>0</c:v>
                </c:pt>
                <c:pt idx="5615">
                  <c:v>0</c:v>
                </c:pt>
                <c:pt idx="5616">
                  <c:v>0</c:v>
                </c:pt>
                <c:pt idx="5617">
                  <c:v>0</c:v>
                </c:pt>
                <c:pt idx="5618">
                  <c:v>0</c:v>
                </c:pt>
                <c:pt idx="5619">
                  <c:v>0</c:v>
                </c:pt>
                <c:pt idx="5620">
                  <c:v>0</c:v>
                </c:pt>
                <c:pt idx="5621">
                  <c:v>0</c:v>
                </c:pt>
                <c:pt idx="5622">
                  <c:v>0</c:v>
                </c:pt>
                <c:pt idx="5623">
                  <c:v>0</c:v>
                </c:pt>
                <c:pt idx="5624">
                  <c:v>0</c:v>
                </c:pt>
                <c:pt idx="5625">
                  <c:v>0</c:v>
                </c:pt>
                <c:pt idx="5626">
                  <c:v>0</c:v>
                </c:pt>
                <c:pt idx="5627">
                  <c:v>0</c:v>
                </c:pt>
                <c:pt idx="5628">
                  <c:v>0</c:v>
                </c:pt>
                <c:pt idx="5629">
                  <c:v>0</c:v>
                </c:pt>
                <c:pt idx="5630">
                  <c:v>0</c:v>
                </c:pt>
                <c:pt idx="5631">
                  <c:v>0</c:v>
                </c:pt>
                <c:pt idx="5632">
                  <c:v>0</c:v>
                </c:pt>
                <c:pt idx="5633">
                  <c:v>0</c:v>
                </c:pt>
                <c:pt idx="5634">
                  <c:v>0</c:v>
                </c:pt>
                <c:pt idx="5635">
                  <c:v>0</c:v>
                </c:pt>
                <c:pt idx="5636">
                  <c:v>0</c:v>
                </c:pt>
                <c:pt idx="5637">
                  <c:v>0</c:v>
                </c:pt>
                <c:pt idx="5638">
                  <c:v>0</c:v>
                </c:pt>
                <c:pt idx="5639">
                  <c:v>0</c:v>
                </c:pt>
                <c:pt idx="5640">
                  <c:v>0</c:v>
                </c:pt>
                <c:pt idx="5641">
                  <c:v>0</c:v>
                </c:pt>
                <c:pt idx="5642">
                  <c:v>0</c:v>
                </c:pt>
                <c:pt idx="5643">
                  <c:v>0</c:v>
                </c:pt>
                <c:pt idx="5644">
                  <c:v>0</c:v>
                </c:pt>
                <c:pt idx="5645">
                  <c:v>0</c:v>
                </c:pt>
                <c:pt idx="5646">
                  <c:v>0</c:v>
                </c:pt>
                <c:pt idx="5647">
                  <c:v>0</c:v>
                </c:pt>
                <c:pt idx="5648">
                  <c:v>0</c:v>
                </c:pt>
                <c:pt idx="5649">
                  <c:v>0</c:v>
                </c:pt>
                <c:pt idx="5650">
                  <c:v>0</c:v>
                </c:pt>
                <c:pt idx="5651">
                  <c:v>0</c:v>
                </c:pt>
                <c:pt idx="5652">
                  <c:v>0</c:v>
                </c:pt>
                <c:pt idx="5653">
                  <c:v>0</c:v>
                </c:pt>
                <c:pt idx="5654">
                  <c:v>0</c:v>
                </c:pt>
                <c:pt idx="5655">
                  <c:v>0</c:v>
                </c:pt>
                <c:pt idx="5656">
                  <c:v>0</c:v>
                </c:pt>
                <c:pt idx="5657">
                  <c:v>0</c:v>
                </c:pt>
                <c:pt idx="5658">
                  <c:v>0</c:v>
                </c:pt>
                <c:pt idx="5659">
                  <c:v>0</c:v>
                </c:pt>
                <c:pt idx="5660">
                  <c:v>0</c:v>
                </c:pt>
                <c:pt idx="5661">
                  <c:v>0</c:v>
                </c:pt>
                <c:pt idx="5662">
                  <c:v>0</c:v>
                </c:pt>
                <c:pt idx="5663">
                  <c:v>0</c:v>
                </c:pt>
                <c:pt idx="5664">
                  <c:v>0</c:v>
                </c:pt>
                <c:pt idx="5665">
                  <c:v>0</c:v>
                </c:pt>
                <c:pt idx="5666">
                  <c:v>0</c:v>
                </c:pt>
                <c:pt idx="5667">
                  <c:v>0</c:v>
                </c:pt>
                <c:pt idx="5668">
                  <c:v>0</c:v>
                </c:pt>
                <c:pt idx="5669">
                  <c:v>0</c:v>
                </c:pt>
                <c:pt idx="5670">
                  <c:v>0</c:v>
                </c:pt>
                <c:pt idx="5671">
                  <c:v>0</c:v>
                </c:pt>
                <c:pt idx="5672">
                  <c:v>0</c:v>
                </c:pt>
                <c:pt idx="5673">
                  <c:v>0</c:v>
                </c:pt>
                <c:pt idx="5674">
                  <c:v>0</c:v>
                </c:pt>
                <c:pt idx="5675">
                  <c:v>0</c:v>
                </c:pt>
                <c:pt idx="5676">
                  <c:v>0</c:v>
                </c:pt>
                <c:pt idx="5677">
                  <c:v>0</c:v>
                </c:pt>
                <c:pt idx="5678">
                  <c:v>0</c:v>
                </c:pt>
                <c:pt idx="5679">
                  <c:v>0</c:v>
                </c:pt>
                <c:pt idx="5680">
                  <c:v>0</c:v>
                </c:pt>
                <c:pt idx="5681">
                  <c:v>0</c:v>
                </c:pt>
                <c:pt idx="5682">
                  <c:v>0</c:v>
                </c:pt>
                <c:pt idx="5683">
                  <c:v>0</c:v>
                </c:pt>
                <c:pt idx="5684">
                  <c:v>0</c:v>
                </c:pt>
                <c:pt idx="5685">
                  <c:v>0</c:v>
                </c:pt>
                <c:pt idx="5686">
                  <c:v>0</c:v>
                </c:pt>
                <c:pt idx="5687">
                  <c:v>0</c:v>
                </c:pt>
                <c:pt idx="5688">
                  <c:v>0</c:v>
                </c:pt>
                <c:pt idx="5689">
                  <c:v>0</c:v>
                </c:pt>
                <c:pt idx="5690">
                  <c:v>0</c:v>
                </c:pt>
                <c:pt idx="5691">
                  <c:v>0</c:v>
                </c:pt>
                <c:pt idx="5692">
                  <c:v>0</c:v>
                </c:pt>
                <c:pt idx="5693">
                  <c:v>0</c:v>
                </c:pt>
                <c:pt idx="5694">
                  <c:v>0</c:v>
                </c:pt>
                <c:pt idx="5695">
                  <c:v>0</c:v>
                </c:pt>
                <c:pt idx="5696">
                  <c:v>0</c:v>
                </c:pt>
                <c:pt idx="5697">
                  <c:v>0</c:v>
                </c:pt>
                <c:pt idx="5698">
                  <c:v>0</c:v>
                </c:pt>
                <c:pt idx="5699">
                  <c:v>0</c:v>
                </c:pt>
                <c:pt idx="5700">
                  <c:v>0</c:v>
                </c:pt>
                <c:pt idx="5701">
                  <c:v>0</c:v>
                </c:pt>
                <c:pt idx="5702">
                  <c:v>0</c:v>
                </c:pt>
                <c:pt idx="5703">
                  <c:v>0</c:v>
                </c:pt>
                <c:pt idx="5704">
                  <c:v>0</c:v>
                </c:pt>
                <c:pt idx="5705">
                  <c:v>0</c:v>
                </c:pt>
                <c:pt idx="5706">
                  <c:v>0</c:v>
                </c:pt>
                <c:pt idx="5707">
                  <c:v>0</c:v>
                </c:pt>
                <c:pt idx="5708">
                  <c:v>0</c:v>
                </c:pt>
                <c:pt idx="5709">
                  <c:v>0</c:v>
                </c:pt>
                <c:pt idx="5710">
                  <c:v>0</c:v>
                </c:pt>
                <c:pt idx="5711">
                  <c:v>0</c:v>
                </c:pt>
                <c:pt idx="5712">
                  <c:v>0</c:v>
                </c:pt>
                <c:pt idx="5713">
                  <c:v>0</c:v>
                </c:pt>
                <c:pt idx="5714">
                  <c:v>0</c:v>
                </c:pt>
                <c:pt idx="5715">
                  <c:v>0</c:v>
                </c:pt>
                <c:pt idx="5716">
                  <c:v>0</c:v>
                </c:pt>
                <c:pt idx="5717">
                  <c:v>0</c:v>
                </c:pt>
                <c:pt idx="5718">
                  <c:v>0</c:v>
                </c:pt>
                <c:pt idx="5719">
                  <c:v>0</c:v>
                </c:pt>
                <c:pt idx="5720">
                  <c:v>0</c:v>
                </c:pt>
                <c:pt idx="5721">
                  <c:v>0</c:v>
                </c:pt>
                <c:pt idx="5722">
                  <c:v>0</c:v>
                </c:pt>
                <c:pt idx="5723">
                  <c:v>0</c:v>
                </c:pt>
                <c:pt idx="5724">
                  <c:v>0</c:v>
                </c:pt>
                <c:pt idx="5725">
                  <c:v>0</c:v>
                </c:pt>
                <c:pt idx="5726">
                  <c:v>0</c:v>
                </c:pt>
                <c:pt idx="5727">
                  <c:v>0</c:v>
                </c:pt>
                <c:pt idx="5728">
                  <c:v>0</c:v>
                </c:pt>
                <c:pt idx="5729">
                  <c:v>0</c:v>
                </c:pt>
                <c:pt idx="5730">
                  <c:v>0</c:v>
                </c:pt>
                <c:pt idx="5731">
                  <c:v>0</c:v>
                </c:pt>
                <c:pt idx="5732">
                  <c:v>0</c:v>
                </c:pt>
                <c:pt idx="5733">
                  <c:v>0</c:v>
                </c:pt>
                <c:pt idx="5734">
                  <c:v>0</c:v>
                </c:pt>
                <c:pt idx="5735">
                  <c:v>0</c:v>
                </c:pt>
                <c:pt idx="5736">
                  <c:v>0</c:v>
                </c:pt>
                <c:pt idx="5737">
                  <c:v>0</c:v>
                </c:pt>
                <c:pt idx="5738">
                  <c:v>0</c:v>
                </c:pt>
                <c:pt idx="5739">
                  <c:v>0</c:v>
                </c:pt>
                <c:pt idx="5740">
                  <c:v>0</c:v>
                </c:pt>
                <c:pt idx="5741">
                  <c:v>0</c:v>
                </c:pt>
                <c:pt idx="5742">
                  <c:v>0</c:v>
                </c:pt>
                <c:pt idx="5743">
                  <c:v>0</c:v>
                </c:pt>
                <c:pt idx="5744">
                  <c:v>0</c:v>
                </c:pt>
                <c:pt idx="5745">
                  <c:v>0</c:v>
                </c:pt>
                <c:pt idx="5746">
                  <c:v>0</c:v>
                </c:pt>
                <c:pt idx="5747">
                  <c:v>0</c:v>
                </c:pt>
                <c:pt idx="5748">
                  <c:v>0</c:v>
                </c:pt>
                <c:pt idx="5749">
                  <c:v>0</c:v>
                </c:pt>
                <c:pt idx="5750">
                  <c:v>0</c:v>
                </c:pt>
                <c:pt idx="5751">
                  <c:v>0</c:v>
                </c:pt>
                <c:pt idx="5752">
                  <c:v>0</c:v>
                </c:pt>
                <c:pt idx="5753">
                  <c:v>0</c:v>
                </c:pt>
                <c:pt idx="5754">
                  <c:v>0</c:v>
                </c:pt>
                <c:pt idx="5755">
                  <c:v>0</c:v>
                </c:pt>
                <c:pt idx="5756">
                  <c:v>0</c:v>
                </c:pt>
                <c:pt idx="5757">
                  <c:v>0</c:v>
                </c:pt>
                <c:pt idx="5758">
                  <c:v>0</c:v>
                </c:pt>
                <c:pt idx="5759">
                  <c:v>0</c:v>
                </c:pt>
                <c:pt idx="5760">
                  <c:v>0</c:v>
                </c:pt>
                <c:pt idx="5761">
                  <c:v>0</c:v>
                </c:pt>
                <c:pt idx="5762">
                  <c:v>0</c:v>
                </c:pt>
                <c:pt idx="5763">
                  <c:v>0</c:v>
                </c:pt>
                <c:pt idx="5764">
                  <c:v>0</c:v>
                </c:pt>
                <c:pt idx="5765">
                  <c:v>0</c:v>
                </c:pt>
                <c:pt idx="5766">
                  <c:v>0</c:v>
                </c:pt>
                <c:pt idx="5767">
                  <c:v>0</c:v>
                </c:pt>
                <c:pt idx="5768">
                  <c:v>0</c:v>
                </c:pt>
                <c:pt idx="5769">
                  <c:v>0</c:v>
                </c:pt>
                <c:pt idx="5770">
                  <c:v>0</c:v>
                </c:pt>
                <c:pt idx="5771">
                  <c:v>0</c:v>
                </c:pt>
                <c:pt idx="5772">
                  <c:v>0</c:v>
                </c:pt>
                <c:pt idx="5773">
                  <c:v>0</c:v>
                </c:pt>
                <c:pt idx="5774">
                  <c:v>0</c:v>
                </c:pt>
                <c:pt idx="5775">
                  <c:v>0</c:v>
                </c:pt>
                <c:pt idx="5776">
                  <c:v>0</c:v>
                </c:pt>
                <c:pt idx="5777">
                  <c:v>0</c:v>
                </c:pt>
                <c:pt idx="5778">
                  <c:v>0</c:v>
                </c:pt>
                <c:pt idx="5779">
                  <c:v>0</c:v>
                </c:pt>
                <c:pt idx="5780">
                  <c:v>0</c:v>
                </c:pt>
                <c:pt idx="5781">
                  <c:v>0</c:v>
                </c:pt>
                <c:pt idx="5782">
                  <c:v>0</c:v>
                </c:pt>
                <c:pt idx="5783">
                  <c:v>0</c:v>
                </c:pt>
                <c:pt idx="5784">
                  <c:v>0</c:v>
                </c:pt>
                <c:pt idx="5785">
                  <c:v>0</c:v>
                </c:pt>
                <c:pt idx="5786">
                  <c:v>0</c:v>
                </c:pt>
                <c:pt idx="5787">
                  <c:v>0</c:v>
                </c:pt>
                <c:pt idx="5788">
                  <c:v>0</c:v>
                </c:pt>
                <c:pt idx="5789">
                  <c:v>0</c:v>
                </c:pt>
                <c:pt idx="5790">
                  <c:v>0</c:v>
                </c:pt>
                <c:pt idx="5791">
                  <c:v>0</c:v>
                </c:pt>
                <c:pt idx="5792">
                  <c:v>0</c:v>
                </c:pt>
                <c:pt idx="5793">
                  <c:v>0</c:v>
                </c:pt>
                <c:pt idx="5794">
                  <c:v>0</c:v>
                </c:pt>
                <c:pt idx="5795">
                  <c:v>0</c:v>
                </c:pt>
                <c:pt idx="5796">
                  <c:v>0</c:v>
                </c:pt>
                <c:pt idx="5797">
                  <c:v>0</c:v>
                </c:pt>
                <c:pt idx="5798">
                  <c:v>0</c:v>
                </c:pt>
                <c:pt idx="5799">
                  <c:v>0</c:v>
                </c:pt>
                <c:pt idx="5800">
                  <c:v>0</c:v>
                </c:pt>
                <c:pt idx="5801">
                  <c:v>0</c:v>
                </c:pt>
                <c:pt idx="5802">
                  <c:v>0</c:v>
                </c:pt>
                <c:pt idx="5803">
                  <c:v>0</c:v>
                </c:pt>
                <c:pt idx="5804">
                  <c:v>0</c:v>
                </c:pt>
                <c:pt idx="5805">
                  <c:v>0</c:v>
                </c:pt>
                <c:pt idx="5806">
                  <c:v>0</c:v>
                </c:pt>
                <c:pt idx="5807">
                  <c:v>0</c:v>
                </c:pt>
                <c:pt idx="5808">
                  <c:v>0</c:v>
                </c:pt>
                <c:pt idx="5809">
                  <c:v>0</c:v>
                </c:pt>
                <c:pt idx="5810">
                  <c:v>0</c:v>
                </c:pt>
                <c:pt idx="5811">
                  <c:v>0</c:v>
                </c:pt>
                <c:pt idx="5812">
                  <c:v>0</c:v>
                </c:pt>
                <c:pt idx="5813">
                  <c:v>0</c:v>
                </c:pt>
                <c:pt idx="5814">
                  <c:v>0</c:v>
                </c:pt>
                <c:pt idx="5815">
                  <c:v>0</c:v>
                </c:pt>
                <c:pt idx="5816">
                  <c:v>0</c:v>
                </c:pt>
                <c:pt idx="5817">
                  <c:v>0</c:v>
                </c:pt>
                <c:pt idx="5818">
                  <c:v>0</c:v>
                </c:pt>
                <c:pt idx="5819">
                  <c:v>0</c:v>
                </c:pt>
                <c:pt idx="5820">
                  <c:v>0</c:v>
                </c:pt>
                <c:pt idx="5821">
                  <c:v>0</c:v>
                </c:pt>
                <c:pt idx="5822">
                  <c:v>0</c:v>
                </c:pt>
                <c:pt idx="5823">
                  <c:v>0</c:v>
                </c:pt>
                <c:pt idx="5824">
                  <c:v>0</c:v>
                </c:pt>
                <c:pt idx="5825">
                  <c:v>0</c:v>
                </c:pt>
                <c:pt idx="5826">
                  <c:v>0</c:v>
                </c:pt>
                <c:pt idx="5827">
                  <c:v>0</c:v>
                </c:pt>
                <c:pt idx="5828">
                  <c:v>0</c:v>
                </c:pt>
                <c:pt idx="5829">
                  <c:v>0</c:v>
                </c:pt>
                <c:pt idx="5830">
                  <c:v>0</c:v>
                </c:pt>
                <c:pt idx="5831">
                  <c:v>0</c:v>
                </c:pt>
                <c:pt idx="5832">
                  <c:v>0</c:v>
                </c:pt>
                <c:pt idx="5833">
                  <c:v>0</c:v>
                </c:pt>
                <c:pt idx="5834">
                  <c:v>0</c:v>
                </c:pt>
                <c:pt idx="5835">
                  <c:v>0</c:v>
                </c:pt>
                <c:pt idx="5836">
                  <c:v>0</c:v>
                </c:pt>
                <c:pt idx="5837">
                  <c:v>0</c:v>
                </c:pt>
                <c:pt idx="5838">
                  <c:v>0</c:v>
                </c:pt>
                <c:pt idx="5839">
                  <c:v>0</c:v>
                </c:pt>
                <c:pt idx="5840">
                  <c:v>0</c:v>
                </c:pt>
                <c:pt idx="5841">
                  <c:v>0</c:v>
                </c:pt>
                <c:pt idx="5842">
                  <c:v>0</c:v>
                </c:pt>
                <c:pt idx="5843">
                  <c:v>0</c:v>
                </c:pt>
                <c:pt idx="5844">
                  <c:v>0</c:v>
                </c:pt>
                <c:pt idx="5845">
                  <c:v>0</c:v>
                </c:pt>
                <c:pt idx="5846">
                  <c:v>0</c:v>
                </c:pt>
                <c:pt idx="5847">
                  <c:v>0</c:v>
                </c:pt>
                <c:pt idx="5848">
                  <c:v>0</c:v>
                </c:pt>
                <c:pt idx="5849">
                  <c:v>0</c:v>
                </c:pt>
                <c:pt idx="5850">
                  <c:v>0</c:v>
                </c:pt>
                <c:pt idx="5851">
                  <c:v>0</c:v>
                </c:pt>
                <c:pt idx="5852">
                  <c:v>0</c:v>
                </c:pt>
                <c:pt idx="5853">
                  <c:v>0</c:v>
                </c:pt>
                <c:pt idx="5854">
                  <c:v>0</c:v>
                </c:pt>
                <c:pt idx="5855">
                  <c:v>0</c:v>
                </c:pt>
                <c:pt idx="5856">
                  <c:v>0</c:v>
                </c:pt>
                <c:pt idx="5857">
                  <c:v>0</c:v>
                </c:pt>
                <c:pt idx="5858">
                  <c:v>0</c:v>
                </c:pt>
                <c:pt idx="5859">
                  <c:v>0</c:v>
                </c:pt>
                <c:pt idx="5860">
                  <c:v>0</c:v>
                </c:pt>
                <c:pt idx="5861">
                  <c:v>0</c:v>
                </c:pt>
                <c:pt idx="5862">
                  <c:v>0</c:v>
                </c:pt>
                <c:pt idx="5863">
                  <c:v>0</c:v>
                </c:pt>
                <c:pt idx="5864">
                  <c:v>0</c:v>
                </c:pt>
                <c:pt idx="5865">
                  <c:v>0</c:v>
                </c:pt>
                <c:pt idx="5866">
                  <c:v>0</c:v>
                </c:pt>
                <c:pt idx="5867">
                  <c:v>0</c:v>
                </c:pt>
                <c:pt idx="5868">
                  <c:v>0</c:v>
                </c:pt>
                <c:pt idx="5869">
                  <c:v>0</c:v>
                </c:pt>
                <c:pt idx="5870">
                  <c:v>0</c:v>
                </c:pt>
                <c:pt idx="5871">
                  <c:v>0</c:v>
                </c:pt>
                <c:pt idx="5872">
                  <c:v>0</c:v>
                </c:pt>
                <c:pt idx="5873">
                  <c:v>0</c:v>
                </c:pt>
                <c:pt idx="5874">
                  <c:v>0</c:v>
                </c:pt>
                <c:pt idx="5875">
                  <c:v>0</c:v>
                </c:pt>
                <c:pt idx="5876">
                  <c:v>0</c:v>
                </c:pt>
                <c:pt idx="5877">
                  <c:v>0</c:v>
                </c:pt>
                <c:pt idx="5878">
                  <c:v>0</c:v>
                </c:pt>
                <c:pt idx="5879">
                  <c:v>0</c:v>
                </c:pt>
                <c:pt idx="5880">
                  <c:v>0</c:v>
                </c:pt>
                <c:pt idx="5881">
                  <c:v>0</c:v>
                </c:pt>
                <c:pt idx="5882">
                  <c:v>0</c:v>
                </c:pt>
                <c:pt idx="5883">
                  <c:v>0</c:v>
                </c:pt>
                <c:pt idx="5884">
                  <c:v>0</c:v>
                </c:pt>
                <c:pt idx="5885">
                  <c:v>0</c:v>
                </c:pt>
                <c:pt idx="5886">
                  <c:v>0</c:v>
                </c:pt>
                <c:pt idx="5887">
                  <c:v>0</c:v>
                </c:pt>
                <c:pt idx="5888">
                  <c:v>0</c:v>
                </c:pt>
                <c:pt idx="5889">
                  <c:v>0</c:v>
                </c:pt>
                <c:pt idx="5890">
                  <c:v>0</c:v>
                </c:pt>
                <c:pt idx="5891">
                  <c:v>0</c:v>
                </c:pt>
                <c:pt idx="5892">
                  <c:v>0</c:v>
                </c:pt>
                <c:pt idx="5893">
                  <c:v>0</c:v>
                </c:pt>
                <c:pt idx="5894">
                  <c:v>0</c:v>
                </c:pt>
                <c:pt idx="5895">
                  <c:v>0</c:v>
                </c:pt>
                <c:pt idx="5896">
                  <c:v>0</c:v>
                </c:pt>
                <c:pt idx="5897">
                  <c:v>0</c:v>
                </c:pt>
                <c:pt idx="5898">
                  <c:v>0</c:v>
                </c:pt>
                <c:pt idx="5899">
                  <c:v>0</c:v>
                </c:pt>
                <c:pt idx="5900">
                  <c:v>0</c:v>
                </c:pt>
                <c:pt idx="5901">
                  <c:v>0</c:v>
                </c:pt>
                <c:pt idx="5902">
                  <c:v>0</c:v>
                </c:pt>
                <c:pt idx="5903">
                  <c:v>0</c:v>
                </c:pt>
                <c:pt idx="5904">
                  <c:v>0</c:v>
                </c:pt>
                <c:pt idx="5905">
                  <c:v>0</c:v>
                </c:pt>
                <c:pt idx="5906">
                  <c:v>0</c:v>
                </c:pt>
                <c:pt idx="5907">
                  <c:v>0</c:v>
                </c:pt>
                <c:pt idx="5908">
                  <c:v>0</c:v>
                </c:pt>
                <c:pt idx="5909">
                  <c:v>0</c:v>
                </c:pt>
                <c:pt idx="5910">
                  <c:v>0</c:v>
                </c:pt>
                <c:pt idx="5911">
                  <c:v>0</c:v>
                </c:pt>
                <c:pt idx="5912">
                  <c:v>0</c:v>
                </c:pt>
                <c:pt idx="5913">
                  <c:v>0</c:v>
                </c:pt>
                <c:pt idx="5914">
                  <c:v>0</c:v>
                </c:pt>
                <c:pt idx="5915">
                  <c:v>0</c:v>
                </c:pt>
                <c:pt idx="5916">
                  <c:v>0</c:v>
                </c:pt>
                <c:pt idx="5917">
                  <c:v>0</c:v>
                </c:pt>
                <c:pt idx="5918">
                  <c:v>0</c:v>
                </c:pt>
                <c:pt idx="5919">
                  <c:v>0</c:v>
                </c:pt>
                <c:pt idx="5920">
                  <c:v>0</c:v>
                </c:pt>
                <c:pt idx="5921">
                  <c:v>0</c:v>
                </c:pt>
                <c:pt idx="5922">
                  <c:v>0</c:v>
                </c:pt>
                <c:pt idx="5923">
                  <c:v>0</c:v>
                </c:pt>
                <c:pt idx="5924">
                  <c:v>0</c:v>
                </c:pt>
                <c:pt idx="5925">
                  <c:v>0</c:v>
                </c:pt>
                <c:pt idx="5926">
                  <c:v>0</c:v>
                </c:pt>
                <c:pt idx="5927">
                  <c:v>0</c:v>
                </c:pt>
                <c:pt idx="5928">
                  <c:v>0</c:v>
                </c:pt>
                <c:pt idx="5929">
                  <c:v>0</c:v>
                </c:pt>
                <c:pt idx="5930">
                  <c:v>0</c:v>
                </c:pt>
                <c:pt idx="5931">
                  <c:v>0</c:v>
                </c:pt>
                <c:pt idx="5932">
                  <c:v>0</c:v>
                </c:pt>
                <c:pt idx="5933">
                  <c:v>0</c:v>
                </c:pt>
                <c:pt idx="5934">
                  <c:v>0</c:v>
                </c:pt>
                <c:pt idx="5935">
                  <c:v>0</c:v>
                </c:pt>
                <c:pt idx="5936">
                  <c:v>0</c:v>
                </c:pt>
                <c:pt idx="5937">
                  <c:v>0</c:v>
                </c:pt>
                <c:pt idx="5938">
                  <c:v>0</c:v>
                </c:pt>
                <c:pt idx="5939">
                  <c:v>0</c:v>
                </c:pt>
                <c:pt idx="5940">
                  <c:v>0</c:v>
                </c:pt>
                <c:pt idx="5941">
                  <c:v>0</c:v>
                </c:pt>
                <c:pt idx="5942">
                  <c:v>0</c:v>
                </c:pt>
                <c:pt idx="5943">
                  <c:v>0</c:v>
                </c:pt>
                <c:pt idx="5944">
                  <c:v>0</c:v>
                </c:pt>
                <c:pt idx="5945">
                  <c:v>0</c:v>
                </c:pt>
                <c:pt idx="5946">
                  <c:v>0</c:v>
                </c:pt>
                <c:pt idx="5947">
                  <c:v>0</c:v>
                </c:pt>
                <c:pt idx="5948">
                  <c:v>0</c:v>
                </c:pt>
                <c:pt idx="5949">
                  <c:v>0</c:v>
                </c:pt>
                <c:pt idx="5950">
                  <c:v>0</c:v>
                </c:pt>
                <c:pt idx="5951">
                  <c:v>0</c:v>
                </c:pt>
                <c:pt idx="5952">
                  <c:v>0</c:v>
                </c:pt>
                <c:pt idx="5953">
                  <c:v>0</c:v>
                </c:pt>
                <c:pt idx="5954">
                  <c:v>0</c:v>
                </c:pt>
                <c:pt idx="5955">
                  <c:v>0</c:v>
                </c:pt>
                <c:pt idx="5956">
                  <c:v>0</c:v>
                </c:pt>
                <c:pt idx="5957">
                  <c:v>0</c:v>
                </c:pt>
                <c:pt idx="5958">
                  <c:v>0</c:v>
                </c:pt>
                <c:pt idx="5959">
                  <c:v>0</c:v>
                </c:pt>
                <c:pt idx="5960">
                  <c:v>0</c:v>
                </c:pt>
                <c:pt idx="5961">
                  <c:v>0</c:v>
                </c:pt>
                <c:pt idx="5962">
                  <c:v>0</c:v>
                </c:pt>
                <c:pt idx="5963">
                  <c:v>0</c:v>
                </c:pt>
                <c:pt idx="5964">
                  <c:v>0</c:v>
                </c:pt>
                <c:pt idx="5965">
                  <c:v>0</c:v>
                </c:pt>
                <c:pt idx="5966">
                  <c:v>0</c:v>
                </c:pt>
                <c:pt idx="5967">
                  <c:v>0</c:v>
                </c:pt>
                <c:pt idx="5968">
                  <c:v>0</c:v>
                </c:pt>
                <c:pt idx="5969">
                  <c:v>0</c:v>
                </c:pt>
                <c:pt idx="5970">
                  <c:v>0</c:v>
                </c:pt>
                <c:pt idx="5971">
                  <c:v>0</c:v>
                </c:pt>
                <c:pt idx="5972">
                  <c:v>0</c:v>
                </c:pt>
                <c:pt idx="5973">
                  <c:v>0</c:v>
                </c:pt>
                <c:pt idx="5974">
                  <c:v>0</c:v>
                </c:pt>
                <c:pt idx="5975">
                  <c:v>0</c:v>
                </c:pt>
                <c:pt idx="5976">
                  <c:v>0</c:v>
                </c:pt>
                <c:pt idx="5977">
                  <c:v>0</c:v>
                </c:pt>
                <c:pt idx="5978">
                  <c:v>0</c:v>
                </c:pt>
                <c:pt idx="5979">
                  <c:v>0</c:v>
                </c:pt>
                <c:pt idx="5980">
                  <c:v>0</c:v>
                </c:pt>
                <c:pt idx="5981">
                  <c:v>0</c:v>
                </c:pt>
                <c:pt idx="5982">
                  <c:v>0</c:v>
                </c:pt>
                <c:pt idx="5983">
                  <c:v>0</c:v>
                </c:pt>
                <c:pt idx="5984">
                  <c:v>0</c:v>
                </c:pt>
                <c:pt idx="5985">
                  <c:v>0</c:v>
                </c:pt>
                <c:pt idx="5986">
                  <c:v>0</c:v>
                </c:pt>
                <c:pt idx="5987">
                  <c:v>0</c:v>
                </c:pt>
                <c:pt idx="5988">
                  <c:v>0</c:v>
                </c:pt>
                <c:pt idx="5989">
                  <c:v>0</c:v>
                </c:pt>
                <c:pt idx="5990">
                  <c:v>0</c:v>
                </c:pt>
                <c:pt idx="5991">
                  <c:v>0</c:v>
                </c:pt>
                <c:pt idx="5992">
                  <c:v>0</c:v>
                </c:pt>
                <c:pt idx="5993">
                  <c:v>0</c:v>
                </c:pt>
                <c:pt idx="5994">
                  <c:v>0</c:v>
                </c:pt>
                <c:pt idx="5995">
                  <c:v>0</c:v>
                </c:pt>
                <c:pt idx="5996">
                  <c:v>0</c:v>
                </c:pt>
                <c:pt idx="5997">
                  <c:v>0</c:v>
                </c:pt>
                <c:pt idx="5998">
                  <c:v>0</c:v>
                </c:pt>
                <c:pt idx="5999">
                  <c:v>0</c:v>
                </c:pt>
                <c:pt idx="6000">
                  <c:v>0</c:v>
                </c:pt>
                <c:pt idx="6001">
                  <c:v>0</c:v>
                </c:pt>
                <c:pt idx="6002">
                  <c:v>0</c:v>
                </c:pt>
                <c:pt idx="6003">
                  <c:v>0</c:v>
                </c:pt>
                <c:pt idx="6004">
                  <c:v>0</c:v>
                </c:pt>
                <c:pt idx="6005">
                  <c:v>0</c:v>
                </c:pt>
                <c:pt idx="6006">
                  <c:v>0</c:v>
                </c:pt>
                <c:pt idx="6007">
                  <c:v>0</c:v>
                </c:pt>
                <c:pt idx="6008">
                  <c:v>0</c:v>
                </c:pt>
                <c:pt idx="6009">
                  <c:v>0</c:v>
                </c:pt>
                <c:pt idx="6010">
                  <c:v>0</c:v>
                </c:pt>
                <c:pt idx="6011">
                  <c:v>0</c:v>
                </c:pt>
                <c:pt idx="6012">
                  <c:v>0</c:v>
                </c:pt>
              </c:numCache>
            </c:numRef>
          </c:cat>
          <c:val>
            <c:numRef>
              <c:f>Platts!$F$24:$F$6036</c:f>
              <c:numCache>
                <c:formatCode>General</c:formatCode>
                <c:ptCount val="6013"/>
                <c:pt idx="18" formatCode="#,##0_);\(#,##0\);&quot;-  &quot;;&quot; &quot;@&quot; &quot;">
                  <c:v>110.28</c:v>
                </c:pt>
                <c:pt idx="19" formatCode="#,##0_);\(#,##0\);&quot;-  &quot;;&quot; &quot;@&quot; &quot;">
                  <c:v>108.02</c:v>
                </c:pt>
                <c:pt idx="20" formatCode="#,##0_);\(#,##0\);&quot;-  &quot;;&quot; &quot;@&quot; &quot;">
                  <c:v>108.02</c:v>
                </c:pt>
                <c:pt idx="21" formatCode="#,##0_);\(#,##0\);&quot;-  &quot;;&quot; &quot;@&quot; &quot;">
                  <c:v>106.605</c:v>
                </c:pt>
                <c:pt idx="22" formatCode="#,##0_);\(#,##0\);&quot;-  &quot;;&quot; &quot;@&quot; &quot;">
                  <c:v>106.57</c:v>
                </c:pt>
                <c:pt idx="23" formatCode="#,##0_);\(#,##0\);&quot;-  &quot;;&quot; &quot;@&quot; &quot;">
                  <c:v>106.935</c:v>
                </c:pt>
                <c:pt idx="24" formatCode="#,##0_);\(#,##0\);&quot;-  &quot;;&quot; &quot;@&quot; &quot;">
                  <c:v>107.355</c:v>
                </c:pt>
                <c:pt idx="25" formatCode="#,##0_);\(#,##0\);&quot;-  &quot;;&quot; &quot;@&quot; &quot;">
                  <c:v>107.33</c:v>
                </c:pt>
                <c:pt idx="26" formatCode="#,##0_);\(#,##0\);&quot;-  &quot;;&quot; &quot;@&quot; &quot;">
                  <c:v>106.55</c:v>
                </c:pt>
                <c:pt idx="27" formatCode="#,##0_);\(#,##0\);&quot;-  &quot;;&quot; &quot;@&quot; &quot;">
                  <c:v>108.355</c:v>
                </c:pt>
                <c:pt idx="28" formatCode="#,##0_);\(#,##0\);&quot;-  &quot;;&quot; &quot;@&quot; &quot;">
                  <c:v>107.39</c:v>
                </c:pt>
                <c:pt idx="29" formatCode="#,##0_);\(#,##0\);&quot;-  &quot;;&quot; &quot;@&quot; &quot;">
                  <c:v>108.245</c:v>
                </c:pt>
                <c:pt idx="30" formatCode="#,##0_);\(#,##0\);&quot;-  &quot;;&quot; &quot;@&quot; &quot;">
                  <c:v>107.575</c:v>
                </c:pt>
                <c:pt idx="31" formatCode="#,##0_);\(#,##0\);&quot;-  &quot;;&quot; &quot;@&quot; &quot;">
                  <c:v>108.52500000000001</c:v>
                </c:pt>
                <c:pt idx="32" formatCode="#,##0_);\(#,##0\);&quot;-  &quot;;&quot; &quot;@&quot; &quot;">
                  <c:v>108.63</c:v>
                </c:pt>
                <c:pt idx="33" formatCode="#,##0_);\(#,##0\);&quot;-  &quot;;&quot; &quot;@&quot; &quot;">
                  <c:v>109.72</c:v>
                </c:pt>
                <c:pt idx="34" formatCode="#,##0_);\(#,##0\);&quot;-  &quot;;&quot; &quot;@&quot; &quot;">
                  <c:v>110.2</c:v>
                </c:pt>
                <c:pt idx="35" formatCode="#,##0_);\(#,##0\);&quot;-  &quot;;&quot; &quot;@&quot; &quot;">
                  <c:v>110.11499999999999</c:v>
                </c:pt>
                <c:pt idx="36" formatCode="#,##0_);\(#,##0\);&quot;-  &quot;;&quot; &quot;@&quot; &quot;">
                  <c:v>109.39</c:v>
                </c:pt>
                <c:pt idx="37" formatCode="#,##0_);\(#,##0\);&quot;-  &quot;;&quot; &quot;@&quot; &quot;">
                  <c:v>108.69</c:v>
                </c:pt>
                <c:pt idx="38" formatCode="#,##0_);\(#,##0\);&quot;-  &quot;;&quot; &quot;@&quot; &quot;">
                  <c:v>108.595</c:v>
                </c:pt>
                <c:pt idx="39" formatCode="#,##0_);\(#,##0\);&quot;-  &quot;;&quot; &quot;@&quot; &quot;">
                  <c:v>108.91500000000001</c:v>
                </c:pt>
                <c:pt idx="40" formatCode="#,##0_);\(#,##0\);&quot;-  &quot;;&quot; &quot;@&quot; &quot;">
                  <c:v>109.675</c:v>
                </c:pt>
                <c:pt idx="41" formatCode="#,##0_);\(#,##0\);&quot;-  &quot;;&quot; &quot;@&quot; &quot;">
                  <c:v>108.175</c:v>
                </c:pt>
                <c:pt idx="42" formatCode="#,##0_);\(#,##0\);&quot;-  &quot;;&quot; &quot;@&quot; &quot;">
                  <c:v>106.82</c:v>
                </c:pt>
                <c:pt idx="43" formatCode="#,##0_);\(#,##0\);&quot;-  &quot;;&quot; &quot;@&quot; &quot;">
                  <c:v>107.285</c:v>
                </c:pt>
                <c:pt idx="44" formatCode="#,##0_);\(#,##0\);&quot;-  &quot;;&quot; &quot;@&quot; &quot;">
                  <c:v>107.02</c:v>
                </c:pt>
                <c:pt idx="45" formatCode="#,##0_);\(#,##0\);&quot;-  &quot;;&quot; &quot;@&quot; &quot;">
                  <c:v>108.09</c:v>
                </c:pt>
                <c:pt idx="46" formatCode="#,##0_);\(#,##0\);&quot;-  &quot;;&quot; &quot;@&quot; &quot;">
                  <c:v>109.235</c:v>
                </c:pt>
                <c:pt idx="47" formatCode="#,##0_);\(#,##0\);&quot;-  &quot;;&quot; &quot;@&quot; &quot;">
                  <c:v>110.235</c:v>
                </c:pt>
                <c:pt idx="48" formatCode="#,##0_);\(#,##0\);&quot;-  &quot;;&quot; &quot;@&quot; &quot;">
                  <c:v>109.405</c:v>
                </c:pt>
                <c:pt idx="49" formatCode="#,##0_);\(#,##0\);&quot;-  &quot;;&quot; &quot;@&quot; &quot;">
                  <c:v>108.9</c:v>
                </c:pt>
                <c:pt idx="50" formatCode="#,##0_);\(#,##0\);&quot;-  &quot;;&quot; &quot;@&quot; &quot;">
                  <c:v>108.88500000000001</c:v>
                </c:pt>
                <c:pt idx="51" formatCode="#,##0_);\(#,##0\);&quot;-  &quot;;&quot; &quot;@&quot; &quot;">
                  <c:v>108.595</c:v>
                </c:pt>
                <c:pt idx="52" formatCode="#,##0_);\(#,##0\);&quot;-  &quot;;&quot; &quot;@&quot; &quot;">
                  <c:v>108.995</c:v>
                </c:pt>
                <c:pt idx="53" formatCode="#,##0_);\(#,##0\);&quot;-  &quot;;&quot; &quot;@&quot; &quot;">
                  <c:v>109.97499999999999</c:v>
                </c:pt>
                <c:pt idx="54" formatCode="#,##0_);\(#,##0\);&quot;-  &quot;;&quot; &quot;@&quot; &quot;">
                  <c:v>110.13500000000001</c:v>
                </c:pt>
                <c:pt idx="55" formatCode="#,##0_);\(#,##0\);&quot;-  &quot;;&quot; &quot;@&quot; &quot;">
                  <c:v>109.38</c:v>
                </c:pt>
                <c:pt idx="56" formatCode="#,##0_);\(#,##0\);&quot;-  &quot;;&quot; &quot;@&quot; &quot;">
                  <c:v>108.88</c:v>
                </c:pt>
                <c:pt idx="57" formatCode="#,##0_);\(#,##0\);&quot;-  &quot;;&quot; &quot;@&quot; &quot;">
                  <c:v>109.62</c:v>
                </c:pt>
                <c:pt idx="58" formatCode="#,##0_);\(#,##0\);&quot;-  &quot;;&quot; &quot;@&quot; &quot;">
                  <c:v>109.1</c:v>
                </c:pt>
                <c:pt idx="59" formatCode="#,##0_);\(#,##0\);&quot;-  &quot;;&quot; &quot;@&quot; &quot;">
                  <c:v>109.4</c:v>
                </c:pt>
                <c:pt idx="60" formatCode="#,##0_);\(#,##0\);&quot;-  &quot;;&quot; &quot;@&quot; &quot;">
                  <c:v>108.52500000000001</c:v>
                </c:pt>
                <c:pt idx="61" formatCode="#,##0_);\(#,##0\);&quot;-  &quot;;&quot; &quot;@&quot; &quot;">
                  <c:v>108.825</c:v>
                </c:pt>
                <c:pt idx="62" formatCode="#,##0_);\(#,##0\);&quot;-  &quot;;&quot; &quot;@&quot; &quot;">
                  <c:v>111.30500000000001</c:v>
                </c:pt>
                <c:pt idx="63" formatCode="#,##0_);\(#,##0\);&quot;-  &quot;;&quot; &quot;@&quot; &quot;">
                  <c:v>109.19</c:v>
                </c:pt>
                <c:pt idx="64" formatCode="#,##0_);\(#,##0\);&quot;-  &quot;;&quot; &quot;@&quot; &quot;">
                  <c:v>108.505</c:v>
                </c:pt>
                <c:pt idx="65" formatCode="#,##0_);\(#,##0\);&quot;-  &quot;;&quot; &quot;@&quot; &quot;">
                  <c:v>108.08499999999999</c:v>
                </c:pt>
                <c:pt idx="66" formatCode="#,##0_);\(#,##0\);&quot;-  &quot;;&quot; &quot;@&quot; &quot;">
                  <c:v>109.19</c:v>
                </c:pt>
                <c:pt idx="67" formatCode="#,##0_);\(#,##0\);&quot;-  &quot;;&quot; &quot;@&quot; &quot;">
                  <c:v>108.38500000000001</c:v>
                </c:pt>
                <c:pt idx="68" formatCode="#,##0_);\(#,##0\);&quot;-  &quot;;&quot; &quot;@&quot; &quot;">
                  <c:v>108.495</c:v>
                </c:pt>
                <c:pt idx="69" formatCode="#,##0_);\(#,##0\);&quot;-  &quot;;&quot; &quot;@&quot; &quot;">
                  <c:v>107.965</c:v>
                </c:pt>
                <c:pt idx="70" formatCode="#,##0_);\(#,##0\);&quot;-  &quot;;&quot; &quot;@&quot; &quot;">
                  <c:v>107.11499999999999</c:v>
                </c:pt>
                <c:pt idx="71" formatCode="#,##0_);\(#,##0\);&quot;-  &quot;;&quot; &quot;@&quot; &quot;">
                  <c:v>108.145</c:v>
                </c:pt>
                <c:pt idx="72" formatCode="#,##0_);\(#,##0\);&quot;-  &quot;;&quot; &quot;@&quot; &quot;">
                  <c:v>107.14</c:v>
                </c:pt>
                <c:pt idx="73" formatCode="#,##0_);\(#,##0\);&quot;-  &quot;;&quot; &quot;@&quot; &quot;">
                  <c:v>106.85</c:v>
                </c:pt>
                <c:pt idx="74" formatCode="#,##0_);\(#,##0\);&quot;-  &quot;;&quot; &quot;@&quot; &quot;">
                  <c:v>106.05</c:v>
                </c:pt>
                <c:pt idx="75" formatCode="#,##0_);\(#,##0\);&quot;-  &quot;;&quot; &quot;@&quot; &quot;">
                  <c:v>105.715</c:v>
                </c:pt>
                <c:pt idx="76" formatCode="#,##0_);\(#,##0\);&quot;-  &quot;;&quot; &quot;@&quot; &quot;">
                  <c:v>107.285</c:v>
                </c:pt>
                <c:pt idx="77" formatCode="#,##0_);\(#,##0\);&quot;-  &quot;;&quot; &quot;@&quot; &quot;">
                  <c:v>106.655</c:v>
                </c:pt>
                <c:pt idx="78" formatCode="#,##0_);\(#,##0\);&quot;-  &quot;;&quot; &quot;@&quot; &quot;">
                  <c:v>107.02</c:v>
                </c:pt>
                <c:pt idx="79" formatCode="#,##0_);\(#,##0\);&quot;-  &quot;;&quot; &quot;@&quot; &quot;">
                  <c:v>106.005</c:v>
                </c:pt>
                <c:pt idx="80" formatCode="#,##0_);\(#,##0\);&quot;-  &quot;;&quot; &quot;@&quot; &quot;">
                  <c:v>106.595</c:v>
                </c:pt>
                <c:pt idx="81" formatCode="#,##0_);\(#,##0\);&quot;-  &quot;;&quot; &quot;@&quot; &quot;">
                  <c:v>106.69499999999999</c:v>
                </c:pt>
                <c:pt idx="82" formatCode="#,##0_);\(#,##0\);&quot;-  &quot;;&quot; &quot;@&quot; &quot;">
                  <c:v>106.02500000000001</c:v>
                </c:pt>
                <c:pt idx="83" formatCode="#,##0_);\(#,##0\);&quot;-  &quot;;&quot; &quot;@&quot; &quot;">
                  <c:v>105.735</c:v>
                </c:pt>
                <c:pt idx="84" formatCode="#,##0_);\(#,##0\);&quot;-  &quot;;&quot; &quot;@&quot; &quot;">
                  <c:v>103.22499999999999</c:v>
                </c:pt>
                <c:pt idx="85" formatCode="#,##0_);\(#,##0\);&quot;-  &quot;;&quot; &quot;@&quot; &quot;">
                  <c:v>104.855</c:v>
                </c:pt>
                <c:pt idx="86" formatCode="#,##0_);\(#,##0\);&quot;-  &quot;;&quot; &quot;@&quot; &quot;">
                  <c:v>106.59</c:v>
                </c:pt>
                <c:pt idx="87" formatCode="#,##0_);\(#,##0\);&quot;-  &quot;;&quot; &quot;@&quot; &quot;">
                  <c:v>104.99</c:v>
                </c:pt>
                <c:pt idx="88" formatCode="#,##0_);\(#,##0\);&quot;-  &quot;;&quot; &quot;@&quot; &quot;">
                  <c:v>105.845</c:v>
                </c:pt>
                <c:pt idx="89" formatCode="#,##0_);\(#,##0\);&quot;-  &quot;;&quot; &quot;@&quot; &quot;">
                  <c:v>107.41500000000001</c:v>
                </c:pt>
                <c:pt idx="90" formatCode="#,##0_);\(#,##0\);&quot;-  &quot;;&quot; &quot;@&quot; &quot;">
                  <c:v>107.005</c:v>
                </c:pt>
                <c:pt idx="91" formatCode="#,##0_);\(#,##0\);&quot;-  &quot;;&quot; &quot;@&quot; &quot;">
                  <c:v>107.515</c:v>
                </c:pt>
                <c:pt idx="92" formatCode="#,##0_);\(#,##0\);&quot;-  &quot;;&quot; &quot;@&quot; &quot;">
                  <c:v>107.7</c:v>
                </c:pt>
                <c:pt idx="93" formatCode="#,##0_);\(#,##0\);&quot;-  &quot;;&quot; &quot;@&quot; &quot;">
                  <c:v>109.02500000000001</c:v>
                </c:pt>
                <c:pt idx="94" formatCode="#,##0_);\(#,##0\);&quot;-  &quot;;&quot; &quot;@&quot; &quot;">
                  <c:v>109.855</c:v>
                </c:pt>
                <c:pt idx="95" formatCode="#,##0_);\(#,##0\);&quot;-  &quot;;&quot; &quot;@&quot; &quot;">
                  <c:v>108.92</c:v>
                </c:pt>
                <c:pt idx="96" formatCode="#,##0_);\(#,##0\);&quot;-  &quot;;&quot; &quot;@&quot; &quot;">
                  <c:v>108.47499999999999</c:v>
                </c:pt>
                <c:pt idx="97" formatCode="#,##0_);\(#,##0\);&quot;-  &quot;;&quot; &quot;@&quot; &quot;">
                  <c:v>108.47499999999999</c:v>
                </c:pt>
                <c:pt idx="98" formatCode="#,##0_);\(#,##0\);&quot;-  &quot;;&quot; &quot;@&quot; &quot;">
                  <c:v>108.47499999999999</c:v>
                </c:pt>
                <c:pt idx="99" formatCode="#,##0_);\(#,##0\);&quot;-  &quot;;&quot; &quot;@&quot; &quot;">
                  <c:v>108.455</c:v>
                </c:pt>
                <c:pt idx="100" formatCode="#,##0_);\(#,##0\);&quot;-  &quot;;&quot; &quot;@&quot; &quot;">
                  <c:v>109.785</c:v>
                </c:pt>
                <c:pt idx="101" formatCode="#,##0_);\(#,##0\);&quot;-  &quot;;&quot; &quot;@&quot; &quot;">
                  <c:v>109.41</c:v>
                </c:pt>
                <c:pt idx="102" formatCode="#,##0_);\(#,##0\);&quot;-  &quot;;&quot; &quot;@&quot; &quot;">
                  <c:v>109.28</c:v>
                </c:pt>
                <c:pt idx="103" formatCode="#,##0_);\(#,##0\);&quot;-  &quot;;&quot; &quot;@&quot; &quot;">
                  <c:v>110</c:v>
                </c:pt>
                <c:pt idx="104" formatCode="#,##0_);\(#,##0\);&quot;-  &quot;;&quot; &quot;@&quot; &quot;">
                  <c:v>108.47499999999999</c:v>
                </c:pt>
                <c:pt idx="105" formatCode="#,##0_);\(#,##0\);&quot;-  &quot;;&quot; &quot;@&quot; &quot;">
                  <c:v>108.30500000000001</c:v>
                </c:pt>
                <c:pt idx="106" formatCode="#,##0_);\(#,##0\);&quot;-  &quot;;&quot; &quot;@&quot; &quot;">
                  <c:v>109.645</c:v>
                </c:pt>
                <c:pt idx="107" formatCode="#,##0_);\(#,##0\);&quot;-  &quot;;&quot; &quot;@&quot; &quot;">
                  <c:v>108.45</c:v>
                </c:pt>
                <c:pt idx="108" formatCode="#,##0_);\(#,##0\);&quot;-  &quot;;&quot; &quot;@&quot; &quot;">
                  <c:v>108.45</c:v>
                </c:pt>
                <c:pt idx="109" formatCode="#,##0_);\(#,##0\);&quot;-  &quot;;&quot; &quot;@&quot; &quot;">
                  <c:v>108.28</c:v>
                </c:pt>
                <c:pt idx="110" formatCode="#,##0_);\(#,##0\);&quot;-  &quot;;&quot; &quot;@&quot; &quot;">
                  <c:v>108.375</c:v>
                </c:pt>
                <c:pt idx="111" formatCode="#,##0_);\(#,##0\);&quot;-  &quot;;&quot; &quot;@&quot; &quot;">
                  <c:v>108.28</c:v>
                </c:pt>
                <c:pt idx="112" formatCode="#,##0_);\(#,##0\);&quot;-  &quot;;&quot; &quot;@&quot; &quot;">
                  <c:v>108.11499999999999</c:v>
                </c:pt>
                <c:pt idx="113" formatCode="#,##0_);\(#,##0\);&quot;-  &quot;;&quot; &quot;@&quot; &quot;">
                  <c:v>108.88500000000001</c:v>
                </c:pt>
                <c:pt idx="114" formatCode="#,##0_);\(#,##0\);&quot;-  &quot;;&quot; &quot;@&quot; &quot;">
                  <c:v>109.86</c:v>
                </c:pt>
                <c:pt idx="115" formatCode="#,##0_);\(#,##0\);&quot;-  &quot;;&quot; &quot;@&quot; &quot;">
                  <c:v>109.81</c:v>
                </c:pt>
                <c:pt idx="116" formatCode="#,##0_);\(#,##0\);&quot;-  &quot;;&quot; &quot;@&quot; &quot;">
                  <c:v>111.24</c:v>
                </c:pt>
                <c:pt idx="117" formatCode="#,##0_);\(#,##0\);&quot;-  &quot;;&quot; &quot;@&quot; &quot;">
                  <c:v>110.66</c:v>
                </c:pt>
                <c:pt idx="118" formatCode="#,##0_);\(#,##0\);&quot;-  &quot;;&quot; &quot;@&quot; &quot;">
                  <c:v>110.36</c:v>
                </c:pt>
                <c:pt idx="119" formatCode="#,##0_);\(#,##0\);&quot;-  &quot;;&quot; &quot;@&quot; &quot;">
                  <c:v>111.21</c:v>
                </c:pt>
                <c:pt idx="120" formatCode="#,##0_);\(#,##0\);&quot;-  &quot;;&quot; &quot;@&quot; &quot;">
                  <c:v>111.3</c:v>
                </c:pt>
                <c:pt idx="121" formatCode="#,##0_);\(#,##0\);&quot;-  &quot;;&quot; &quot;@&quot; &quot;">
                  <c:v>110.76</c:v>
                </c:pt>
                <c:pt idx="122" formatCode="#,##0_);\(#,##0\);&quot;-  &quot;;&quot; &quot;@&quot; &quot;">
                  <c:v>110.095</c:v>
                </c:pt>
                <c:pt idx="123" formatCode="#,##0_);\(#,##0\);&quot;-  &quot;;&quot; &quot;@&quot; &quot;">
                  <c:v>110.095</c:v>
                </c:pt>
                <c:pt idx="124" formatCode="#,##0_);\(#,##0\);&quot;-  &quot;;&quot; &quot;@&quot; &quot;">
                  <c:v>109.405</c:v>
                </c:pt>
                <c:pt idx="125" formatCode="#,##0_);\(#,##0\);&quot;-  &quot;;&quot; &quot;@&quot; &quot;">
                  <c:v>110.15</c:v>
                </c:pt>
                <c:pt idx="126" formatCode="#,##0_);\(#,##0\);&quot;-  &quot;;&quot; &quot;@&quot; &quot;">
                  <c:v>109.095</c:v>
                </c:pt>
                <c:pt idx="127" formatCode="#,##0_);\(#,##0\);&quot;-  &quot;;&quot; &quot;@&quot; &quot;">
                  <c:v>109.09</c:v>
                </c:pt>
                <c:pt idx="128" formatCode="#,##0_);\(#,##0\);&quot;-  &quot;;&quot; &quot;@&quot; &quot;">
                  <c:v>108.785</c:v>
                </c:pt>
                <c:pt idx="129" formatCode="#,##0_);\(#,##0\);&quot;-  &quot;;&quot; &quot;@&quot; &quot;">
                  <c:v>109.185</c:v>
                </c:pt>
                <c:pt idx="130" formatCode="#,##0_);\(#,##0\);&quot;-  &quot;;&quot; &quot;@&quot; &quot;">
                  <c:v>108.33499999999999</c:v>
                </c:pt>
                <c:pt idx="131" formatCode="#,##0_);\(#,##0\);&quot;-  &quot;;&quot; &quot;@&quot; &quot;">
                  <c:v>108.81</c:v>
                </c:pt>
                <c:pt idx="132" formatCode="#,##0_);\(#,##0\);&quot;-  &quot;;&quot; &quot;@&quot; &quot;">
                  <c:v>110.255</c:v>
                </c:pt>
                <c:pt idx="133" formatCode="#,##0_);\(#,##0\);&quot;-  &quot;;&quot; &quot;@&quot; &quot;">
                  <c:v>109.075</c:v>
                </c:pt>
                <c:pt idx="134" formatCode="#,##0_);\(#,##0\);&quot;-  &quot;;&quot; &quot;@&quot; &quot;">
                  <c:v>109.77</c:v>
                </c:pt>
                <c:pt idx="135" formatCode="#,##0_);\(#,##0\);&quot;-  &quot;;&quot; &quot;@&quot; &quot;">
                  <c:v>112.16</c:v>
                </c:pt>
                <c:pt idx="136" formatCode="#,##0_);\(#,##0\);&quot;-  &quot;;&quot; &quot;@&quot; &quot;">
                  <c:v>112.845</c:v>
                </c:pt>
                <c:pt idx="137" formatCode="#,##0_);\(#,##0\);&quot;-  &quot;;&quot; &quot;@&quot; &quot;">
                  <c:v>113.25</c:v>
                </c:pt>
                <c:pt idx="138" formatCode="#,##0_);\(#,##0\);&quot;-  &quot;;&quot; &quot;@&quot; &quot;">
                  <c:v>113.935</c:v>
                </c:pt>
                <c:pt idx="139" formatCode="#,##0_);\(#,##0\);&quot;-  &quot;;&quot; &quot;@&quot; &quot;">
                  <c:v>114.26</c:v>
                </c:pt>
                <c:pt idx="140" formatCode="#,##0_);\(#,##0\);&quot;-  &quot;;&quot; &quot;@&quot; &quot;">
                  <c:v>115.315</c:v>
                </c:pt>
                <c:pt idx="141" formatCode="#,##0_);\(#,##0\);&quot;-  &quot;;&quot; &quot;@&quot; &quot;">
                  <c:v>114.52</c:v>
                </c:pt>
                <c:pt idx="142" formatCode="#,##0_);\(#,##0\);&quot;-  &quot;;&quot; &quot;@&quot; &quot;">
                  <c:v>113.13500000000001</c:v>
                </c:pt>
                <c:pt idx="143" formatCode="#,##0_);\(#,##0\);&quot;-  &quot;;&quot; &quot;@&quot; &quot;">
                  <c:v>113.74</c:v>
                </c:pt>
                <c:pt idx="144" formatCode="#,##0_);\(#,##0\);&quot;-  &quot;;&quot; &quot;@&quot; &quot;">
                  <c:v>112.755</c:v>
                </c:pt>
                <c:pt idx="145" formatCode="#,##0_);\(#,##0\);&quot;-  &quot;;&quot; &quot;@&quot; &quot;">
                  <c:v>112.41</c:v>
                </c:pt>
                <c:pt idx="146" formatCode="#,##0_);\(#,##0\);&quot;-  &quot;;&quot; &quot;@&quot; &quot;">
                  <c:v>112.08499999999999</c:v>
                </c:pt>
                <c:pt idx="147" formatCode="#,##0_);\(#,##0\);&quot;-  &quot;;&quot; &quot;@&quot; &quot;">
                  <c:v>111.02</c:v>
                </c:pt>
                <c:pt idx="148" formatCode="#,##0_);\(#,##0\);&quot;-  &quot;;&quot; &quot;@&quot; &quot;">
                  <c:v>110.46</c:v>
                </c:pt>
                <c:pt idx="149" formatCode="#,##0_);\(#,##0\);&quot;-  &quot;;&quot; &quot;@&quot; &quot;">
                  <c:v>109.925</c:v>
                </c:pt>
                <c:pt idx="150" formatCode="#,##0_);\(#,##0\);&quot;-  &quot;;&quot; &quot;@&quot; &quot;">
                  <c:v>109.04</c:v>
                </c:pt>
                <c:pt idx="151" formatCode="#,##0_);\(#,##0\);&quot;-  &quot;;&quot; &quot;@&quot; &quot;">
                  <c:v>109.035</c:v>
                </c:pt>
                <c:pt idx="152" formatCode="#,##0_);\(#,##0\);&quot;-  &quot;;&quot; &quot;@&quot; &quot;">
                  <c:v>108.94</c:v>
                </c:pt>
                <c:pt idx="153" formatCode="#,##0_);\(#,##0\);&quot;-  &quot;;&quot; &quot;@&quot; &quot;">
                  <c:v>107.71</c:v>
                </c:pt>
                <c:pt idx="154" formatCode="#,##0_);\(#,##0\);&quot;-  &quot;;&quot; &quot;@&quot; &quot;">
                  <c:v>107.065</c:v>
                </c:pt>
                <c:pt idx="155" formatCode="#,##0_);\(#,##0\);&quot;-  &quot;;&quot; &quot;@&quot; &quot;">
                  <c:v>105.88500000000001</c:v>
                </c:pt>
                <c:pt idx="156" formatCode="#,##0_);\(#,##0\);&quot;-  &quot;;&quot; &quot;@&quot; &quot;">
                  <c:v>105.3</c:v>
                </c:pt>
                <c:pt idx="157" formatCode="#,##0_);\(#,##0\);&quot;-  &quot;;&quot; &quot;@&quot; &quot;">
                  <c:v>104.69</c:v>
                </c:pt>
                <c:pt idx="158" formatCode="#,##0_);\(#,##0\);&quot;-  &quot;;&quot; &quot;@&quot; &quot;">
                  <c:v>103.105</c:v>
                </c:pt>
                <c:pt idx="159" formatCode="#,##0_);\(#,##0\);&quot;-  &quot;;&quot; &quot;@&quot; &quot;">
                  <c:v>105.41500000000001</c:v>
                </c:pt>
                <c:pt idx="160" formatCode="#,##0_);\(#,##0\);&quot;-  &quot;;&quot; &quot;@&quot; &quot;">
                  <c:v>105.91500000000001</c:v>
                </c:pt>
                <c:pt idx="161" formatCode="#,##0_);\(#,##0\);&quot;-  &quot;;&quot; &quot;@&quot; &quot;">
                  <c:v>106.34</c:v>
                </c:pt>
                <c:pt idx="162" formatCode="#,##0_);\(#,##0\);&quot;-  &quot;;&quot; &quot;@&quot; &quot;">
                  <c:v>105.25</c:v>
                </c:pt>
                <c:pt idx="163" formatCode="#,##0_);\(#,##0\);&quot;-  &quot;;&quot; &quot;@&quot; &quot;">
                  <c:v>106.08499999999999</c:v>
                </c:pt>
                <c:pt idx="164" formatCode="#,##0_);\(#,##0\);&quot;-  &quot;;&quot; &quot;@&quot; &quot;">
                  <c:v>106.75</c:v>
                </c:pt>
                <c:pt idx="165" formatCode="#,##0_);\(#,##0\);&quot;-  &quot;;&quot; &quot;@&quot; &quot;">
                  <c:v>105.88</c:v>
                </c:pt>
                <c:pt idx="166" formatCode="#,##0_);\(#,##0\);&quot;-  &quot;;&quot; &quot;@&quot; &quot;">
                  <c:v>106.52</c:v>
                </c:pt>
                <c:pt idx="167" formatCode="#,##0_);\(#,##0\);&quot;-  &quot;;&quot; &quot;@&quot; &quot;">
                  <c:v>106.24</c:v>
                </c:pt>
                <c:pt idx="168" formatCode="#,##0_);\(#,##0\);&quot;-  &quot;;&quot; &quot;@&quot; &quot;">
                  <c:v>106.54</c:v>
                </c:pt>
                <c:pt idx="169" formatCode="#,##0_);\(#,##0\);&quot;-  &quot;;&quot; &quot;@&quot; &quot;">
                  <c:v>106.1</c:v>
                </c:pt>
                <c:pt idx="170" formatCode="#,##0_);\(#,##0\);&quot;-  &quot;;&quot; &quot;@&quot; &quot;">
                  <c:v>104.425</c:v>
                </c:pt>
                <c:pt idx="171" formatCode="#,##0_);\(#,##0\);&quot;-  &quot;;&quot; &quot;@&quot; &quot;">
                  <c:v>103.04</c:v>
                </c:pt>
                <c:pt idx="172" formatCode="#,##0_);\(#,##0\);&quot;-  &quot;;&quot; &quot;@&quot; &quot;">
                  <c:v>103.52</c:v>
                </c:pt>
                <c:pt idx="173" formatCode="#,##0_);\(#,##0\);&quot;-  &quot;;&quot; &quot;@&quot; &quot;">
                  <c:v>102.795</c:v>
                </c:pt>
                <c:pt idx="174" formatCode="#,##0_);\(#,##0\);&quot;-  &quot;;&quot; &quot;@&quot; &quot;">
                  <c:v>103.565</c:v>
                </c:pt>
                <c:pt idx="175" formatCode="#,##0_);\(#,##0\);&quot;-  &quot;;&quot; &quot;@&quot; &quot;">
                  <c:v>103.46</c:v>
                </c:pt>
                <c:pt idx="176" formatCode="#,##0_);\(#,##0\);&quot;-  &quot;;&quot; &quot;@&quot; &quot;">
                  <c:v>103.315</c:v>
                </c:pt>
                <c:pt idx="177" formatCode="#,##0_);\(#,##0\);&quot;-  &quot;;&quot; &quot;@&quot; &quot;">
                  <c:v>103.535</c:v>
                </c:pt>
                <c:pt idx="178" formatCode="#,##0_);\(#,##0\);&quot;-  &quot;;&quot; &quot;@&quot; &quot;">
                  <c:v>101.72499999999999</c:v>
                </c:pt>
                <c:pt idx="179" formatCode="#,##0_);\(#,##0\);&quot;-  &quot;;&quot; &quot;@&quot; &quot;">
                  <c:v>101.855</c:v>
                </c:pt>
                <c:pt idx="180" formatCode="#,##0_);\(#,##0\);&quot;-  &quot;;&quot; &quot;@&quot; &quot;">
                  <c:v>100.44499999999999</c:v>
                </c:pt>
                <c:pt idx="181" formatCode="#,##0_);\(#,##0\);&quot;-  &quot;;&quot; &quot;@&quot; &quot;">
                  <c:v>100.77500000000001</c:v>
                </c:pt>
                <c:pt idx="182" formatCode="#,##0_);\(#,##0\);&quot;-  &quot;;&quot; &quot;@&quot; &quot;">
                  <c:v>98.614999999999995</c:v>
                </c:pt>
                <c:pt idx="183" formatCode="#,##0_);\(#,##0\);&quot;-  &quot;;&quot; &quot;@&quot; &quot;">
                  <c:v>99.69</c:v>
                </c:pt>
                <c:pt idx="184" formatCode="#,##0_);\(#,##0\);&quot;-  &quot;;&quot; &quot;@&quot; &quot;">
                  <c:v>100.16500000000001</c:v>
                </c:pt>
                <c:pt idx="185" formatCode="#,##0_);\(#,##0\);&quot;-  &quot;;&quot; &quot;@&quot; &quot;">
                  <c:v>100.63</c:v>
                </c:pt>
                <c:pt idx="186" formatCode="#,##0_);\(#,##0\);&quot;-  &quot;;&quot; &quot;@&quot; &quot;">
                  <c:v>100.63500000000001</c:v>
                </c:pt>
                <c:pt idx="187" formatCode="#,##0_);\(#,##0\);&quot;-  &quot;;&quot; &quot;@&quot; &quot;">
                  <c:v>101.22</c:v>
                </c:pt>
                <c:pt idx="188" formatCode="#,##0_);\(#,##0\);&quot;-  &quot;;&quot; &quot;@&quot; &quot;">
                  <c:v>101.22</c:v>
                </c:pt>
                <c:pt idx="189" formatCode="#,##0_);\(#,##0\);&quot;-  &quot;;&quot; &quot;@&quot; &quot;">
                  <c:v>100.83499999999999</c:v>
                </c:pt>
                <c:pt idx="190" formatCode="#,##0_);\(#,##0\);&quot;-  &quot;;&quot; &quot;@&quot; &quot;">
                  <c:v>101.01</c:v>
                </c:pt>
                <c:pt idx="191" formatCode="#,##0_);\(#,##0\);&quot;-  &quot;;&quot; &quot;@&quot; &quot;">
                  <c:v>101.315</c:v>
                </c:pt>
                <c:pt idx="192" formatCode="#,##0_);\(#,##0\);&quot;-  &quot;;&quot; &quot;@&quot; &quot;">
                  <c:v>101.43</c:v>
                </c:pt>
                <c:pt idx="193" formatCode="#,##0_);\(#,##0\);&quot;-  &quot;;&quot; &quot;@&quot; &quot;">
                  <c:v>100.145</c:v>
                </c:pt>
                <c:pt idx="194" formatCode="#,##0_);\(#,##0\);&quot;-  &quot;;&quot; &quot;@&quot; &quot;">
                  <c:v>100.925</c:v>
                </c:pt>
                <c:pt idx="195" formatCode="#,##0_);\(#,##0\);&quot;-  &quot;;&quot; &quot;@&quot; &quot;">
                  <c:v>101.19499999999999</c:v>
                </c:pt>
                <c:pt idx="196" formatCode="#,##0_);\(#,##0\);&quot;-  &quot;;&quot; &quot;@&quot; &quot;">
                  <c:v>99.605000000000004</c:v>
                </c:pt>
                <c:pt idx="197" formatCode="#,##0_);\(#,##0\);&quot;-  &quot;;&quot; &quot;@&quot; &quot;">
                  <c:v>98.38</c:v>
                </c:pt>
                <c:pt idx="198" formatCode="#,##0_);\(#,##0\);&quot;-  &quot;;&quot; &quot;@&quot; &quot;">
                  <c:v>98.43</c:v>
                </c:pt>
                <c:pt idx="199" formatCode="#,##0_);\(#,##0\);&quot;-  &quot;;&quot; &quot;@&quot; &quot;">
                  <c:v>96.45</c:v>
                </c:pt>
                <c:pt idx="200" formatCode="#,##0_);\(#,##0\);&quot;-  &quot;;&quot; &quot;@&quot; &quot;">
                  <c:v>96.435000000000002</c:v>
                </c:pt>
                <c:pt idx="201" formatCode="#,##0_);\(#,##0\);&quot;-  &quot;;&quot; &quot;@&quot; &quot;">
                  <c:v>96.29</c:v>
                </c:pt>
                <c:pt idx="202" formatCode="#,##0_);\(#,##0\);&quot;-  &quot;;&quot; &quot;@&quot; &quot;">
                  <c:v>96.36</c:v>
                </c:pt>
                <c:pt idx="203" formatCode="#,##0_);\(#,##0\);&quot;-  &quot;;&quot; &quot;@&quot; &quot;">
                  <c:v>97.495000000000005</c:v>
                </c:pt>
                <c:pt idx="204" formatCode="#,##0_);\(#,##0\);&quot;-  &quot;;&quot; &quot;@&quot; &quot;">
                  <c:v>97.73</c:v>
                </c:pt>
                <c:pt idx="205" formatCode="#,##0_);\(#,##0\);&quot;-  &quot;;&quot; &quot;@&quot; &quot;">
                  <c:v>96.745000000000005</c:v>
                </c:pt>
                <c:pt idx="206" formatCode="#,##0_);\(#,##0\);&quot;-  &quot;;&quot; &quot;@&quot; &quot;">
                  <c:v>96.644999999999996</c:v>
                </c:pt>
                <c:pt idx="207" formatCode="#,##0_);\(#,##0\);&quot;-  &quot;;&quot; &quot;@&quot; &quot;">
                  <c:v>95.314999999999998</c:v>
                </c:pt>
                <c:pt idx="208" formatCode="#,##0_);\(#,##0\);&quot;-  &quot;;&quot; &quot;@&quot; &quot;">
                  <c:v>95.064999999999998</c:v>
                </c:pt>
                <c:pt idx="209" formatCode="#,##0_);\(#,##0\);&quot;-  &quot;;&quot; &quot;@&quot; &quot;">
                  <c:v>94.584999999999994</c:v>
                </c:pt>
                <c:pt idx="210" formatCode="#,##0_);\(#,##0\);&quot;-  &quot;;&quot; &quot;@&quot; &quot;">
                  <c:v>95.465000000000003</c:v>
                </c:pt>
                <c:pt idx="211" formatCode="#,##0_);\(#,##0\);&quot;-  &quot;;&quot; &quot;@&quot; &quot;">
                  <c:v>95.25</c:v>
                </c:pt>
                <c:pt idx="212" formatCode="#,##0_);\(#,##0\);&quot;-  &quot;;&quot; &quot;@&quot; &quot;">
                  <c:v>95.8</c:v>
                </c:pt>
                <c:pt idx="213" formatCode="#,##0_);\(#,##0\);&quot;-  &quot;;&quot; &quot;@&quot; &quot;">
                  <c:v>94.8</c:v>
                </c:pt>
                <c:pt idx="214" formatCode="#,##0_);\(#,##0\);&quot;-  &quot;;&quot; &quot;@&quot; &quot;">
                  <c:v>94.605000000000004</c:v>
                </c:pt>
                <c:pt idx="215" formatCode="#,##0_);\(#,##0\);&quot;-  &quot;;&quot; &quot;@&quot; &quot;">
                  <c:v>91.165000000000006</c:v>
                </c:pt>
                <c:pt idx="216" formatCode="#,##0_);\(#,##0\);&quot;-  &quot;;&quot; &quot;@&quot; &quot;">
                  <c:v>90.63</c:v>
                </c:pt>
                <c:pt idx="217" formatCode="#,##0_);\(#,##0\);&quot;-  &quot;;&quot; &quot;@&quot; &quot;">
                  <c:v>90.63</c:v>
                </c:pt>
                <c:pt idx="218" formatCode="#,##0_);\(#,##0\);&quot;-  &quot;;&quot; &quot;@&quot; &quot;">
                  <c:v>90.64</c:v>
                </c:pt>
                <c:pt idx="219" formatCode="#,##0_);\(#,##0\);&quot;-  &quot;;&quot; &quot;@&quot; &quot;">
                  <c:v>90.27</c:v>
                </c:pt>
                <c:pt idx="220" formatCode="#,##0_);\(#,##0\);&quot;-  &quot;;&quot; &quot;@&quot; &quot;">
                  <c:v>90.5</c:v>
                </c:pt>
                <c:pt idx="221" formatCode="#,##0_);\(#,##0\);&quot;-  &quot;;&quot; &quot;@&quot; &quot;">
                  <c:v>88.805000000000007</c:v>
                </c:pt>
                <c:pt idx="222" formatCode="#,##0_);\(#,##0\);&quot;-  &quot;;&quot; &quot;@&quot; &quot;">
                  <c:v>87.834999999999994</c:v>
                </c:pt>
                <c:pt idx="223" formatCode="#,##0_);\(#,##0\);&quot;-  &quot;;&quot; &quot;@&quot; &quot;">
                  <c:v>86.465000000000003</c:v>
                </c:pt>
                <c:pt idx="224" formatCode="#,##0_);\(#,##0\);&quot;-  &quot;;&quot; &quot;@&quot; &quot;">
                  <c:v>84.234999999999999</c:v>
                </c:pt>
                <c:pt idx="225" formatCode="#,##0_);\(#,##0\);&quot;-  &quot;;&quot; &quot;@&quot; &quot;">
                  <c:v>83.415000000000006</c:v>
                </c:pt>
                <c:pt idx="226" formatCode="#,##0_);\(#,##0\);&quot;-  &quot;;&quot; &quot;@&quot; &quot;">
                  <c:v>85.084999999999994</c:v>
                </c:pt>
                <c:pt idx="227" formatCode="#,##0_);\(#,##0\);&quot;-  &quot;;&quot; &quot;@&quot; &quot;">
                  <c:v>84.465000000000003</c:v>
                </c:pt>
                <c:pt idx="228" formatCode="#,##0_);\(#,##0\);&quot;-  &quot;;&quot; &quot;@&quot; &quot;">
                  <c:v>85.36</c:v>
                </c:pt>
                <c:pt idx="229" formatCode="#,##0_);\(#,##0\);&quot;-  &quot;;&quot; &quot;@&quot; &quot;">
                  <c:v>86.534999999999997</c:v>
                </c:pt>
                <c:pt idx="230" formatCode="#,##0_);\(#,##0\);&quot;-  &quot;;&quot; &quot;@&quot; &quot;">
                  <c:v>85.954999999999998</c:v>
                </c:pt>
                <c:pt idx="231" formatCode="#,##0_);\(#,##0\);&quot;-  &quot;;&quot; &quot;@&quot; &quot;">
                  <c:v>85.93</c:v>
                </c:pt>
                <c:pt idx="232" formatCode="#,##0_);\(#,##0\);&quot;-  &quot;;&quot; &quot;@&quot; &quot;">
                  <c:v>85.245000000000005</c:v>
                </c:pt>
                <c:pt idx="233" formatCode="#,##0_);\(#,##0\);&quot;-  &quot;;&quot; &quot;@&quot; &quot;">
                  <c:v>85.69</c:v>
                </c:pt>
                <c:pt idx="234" formatCode="#,##0_);\(#,##0\);&quot;-  &quot;;&quot; &quot;@&quot; &quot;">
                  <c:v>86.805000000000007</c:v>
                </c:pt>
                <c:pt idx="235" formatCode="#,##0_);\(#,##0\);&quot;-  &quot;;&quot; &quot;@&quot; &quot;">
                  <c:v>85.71</c:v>
                </c:pt>
                <c:pt idx="236" formatCode="#,##0_);\(#,##0\);&quot;-  &quot;;&quot; &quot;@&quot; &quot;">
                  <c:v>84.284999999999997</c:v>
                </c:pt>
                <c:pt idx="237" formatCode="#,##0_);\(#,##0\);&quot;-  &quot;;&quot; &quot;@&quot; &quot;">
                  <c:v>84.834999999999994</c:v>
                </c:pt>
                <c:pt idx="238" formatCode="#,##0_);\(#,##0\);&quot;-  &quot;;&quot; &quot;@&quot; &quot;">
                  <c:v>82.3</c:v>
                </c:pt>
                <c:pt idx="239" formatCode="#,##0_);\(#,##0\);&quot;-  &quot;;&quot; &quot;@&quot; &quot;">
                  <c:v>83</c:v>
                </c:pt>
                <c:pt idx="240" formatCode="#,##0_);\(#,##0\);&quot;-  &quot;;&quot; &quot;@&quot; &quot;">
                  <c:v>82.08</c:v>
                </c:pt>
                <c:pt idx="241" formatCode="#,##0_);\(#,##0\);&quot;-  &quot;;&quot; &quot;@&quot; &quot;">
                  <c:v>83.224999999999994</c:v>
                </c:pt>
                <c:pt idx="242" formatCode="#,##0_);\(#,##0\);&quot;-  &quot;;&quot; &quot;@&quot; &quot;">
                  <c:v>82.555000000000007</c:v>
                </c:pt>
                <c:pt idx="243" formatCode="#,##0_);\(#,##0\);&quot;-  &quot;;&quot; &quot;@&quot; &quot;">
                  <c:v>80.239999999999995</c:v>
                </c:pt>
                <c:pt idx="244" formatCode="#,##0_);\(#,##0\);&quot;-  &quot;;&quot; &quot;@&quot; &quot;">
                  <c:v>80.355000000000004</c:v>
                </c:pt>
                <c:pt idx="245" formatCode="#,##0_);\(#,##0\);&quot;-  &quot;;&quot; &quot;@&quot; &quot;">
                  <c:v>77.8</c:v>
                </c:pt>
                <c:pt idx="246" formatCode="#,##0_);\(#,##0\);&quot;-  &quot;;&quot; &quot;@&quot; &quot;">
                  <c:v>76.75</c:v>
                </c:pt>
                <c:pt idx="247" formatCode="#,##0_);\(#,##0\);&quot;-  &quot;;&quot; &quot;@&quot; &quot;">
                  <c:v>76.954999999999998</c:v>
                </c:pt>
                <c:pt idx="248" formatCode="#,##0_);\(#,##0\);&quot;-  &quot;;&quot; &quot;@&quot; &quot;">
                  <c:v>77.405000000000001</c:v>
                </c:pt>
                <c:pt idx="249" formatCode="#,##0_);\(#,##0\);&quot;-  &quot;;&quot; &quot;@&quot; &quot;">
                  <c:v>77.325000000000003</c:v>
                </c:pt>
                <c:pt idx="250" formatCode="#,##0_);\(#,##0\);&quot;-  &quot;;&quot; &quot;@&quot; &quot;">
                  <c:v>77.334999999999994</c:v>
                </c:pt>
                <c:pt idx="251" formatCode="#,##0_);\(#,##0\);&quot;-  &quot;;&quot; &quot;@&quot; &quot;">
                  <c:v>78.984999999999999</c:v>
                </c:pt>
                <c:pt idx="252" formatCode="#,##0_);\(#,##0\);&quot;-  &quot;;&quot; &quot;@&quot; &quot;">
                  <c:v>79.34</c:v>
                </c:pt>
                <c:pt idx="253" formatCode="#,##0_);\(#,##0\);&quot;-  &quot;;&quot; &quot;@&quot; &quot;">
                  <c:v>77.55</c:v>
                </c:pt>
                <c:pt idx="254" formatCode="#,##0_);\(#,##0\);&quot;-  &quot;;&quot; &quot;@&quot; &quot;">
                  <c:v>77.48</c:v>
                </c:pt>
                <c:pt idx="255" formatCode="#,##0_);\(#,##0\);&quot;-  &quot;;&quot; &quot;@&quot; &quot;">
                  <c:v>70.69</c:v>
                </c:pt>
                <c:pt idx="256" formatCode="#,##0_);\(#,##0\);&quot;-  &quot;;&quot; &quot;@&quot; &quot;">
                  <c:v>71.67</c:v>
                </c:pt>
                <c:pt idx="257" formatCode="#,##0_);\(#,##0\);&quot;-  &quot;;&quot; &quot;@&quot; &quot;">
                  <c:v>70.944999999999993</c:v>
                </c:pt>
                <c:pt idx="258" formatCode="#,##0_);\(#,##0\);&quot;-  &quot;;&quot; &quot;@&quot; &quot;">
                  <c:v>71.174999999999997</c:v>
                </c:pt>
                <c:pt idx="259" formatCode="#,##0_);\(#,##0\);&quot;-  &quot;;&quot; &quot;@&quot; &quot;">
                  <c:v>70.174999999999997</c:v>
                </c:pt>
                <c:pt idx="260" formatCode="#,##0_);\(#,##0\);&quot;-  &quot;;&quot; &quot;@&quot; &quot;">
                  <c:v>68.55</c:v>
                </c:pt>
                <c:pt idx="261" formatCode="#,##0_);\(#,##0\);&quot;-  &quot;;&quot; &quot;@&quot; &quot;">
                  <c:v>67.965000000000003</c:v>
                </c:pt>
                <c:pt idx="262" formatCode="#,##0_);\(#,##0\);&quot;-  &quot;;&quot; &quot;@&quot; &quot;">
                  <c:v>65.7</c:v>
                </c:pt>
                <c:pt idx="263" formatCode="#,##0_);\(#,##0\);&quot;-  &quot;;&quot; &quot;@&quot; &quot;">
                  <c:v>66.099999999999994</c:v>
                </c:pt>
                <c:pt idx="264" formatCode="#,##0_);\(#,##0\);&quot;-  &quot;;&quot; &quot;@&quot; &quot;">
                  <c:v>63.17</c:v>
                </c:pt>
                <c:pt idx="265" formatCode="#,##0_);\(#,##0\);&quot;-  &quot;;&quot; &quot;@&quot; &quot;">
                  <c:v>63.625</c:v>
                </c:pt>
                <c:pt idx="266" formatCode="#,##0_);\(#,##0\);&quot;-  &quot;;&quot; &quot;@&quot; &quot;">
                  <c:v>61.625</c:v>
                </c:pt>
                <c:pt idx="267" formatCode="#,##0_);\(#,##0\);&quot;-  &quot;;&quot; &quot;@&quot; &quot;">
                  <c:v>61</c:v>
                </c:pt>
                <c:pt idx="268" formatCode="#,##0_);\(#,##0\);&quot;-  &quot;;&quot; &quot;@&quot; &quot;">
                  <c:v>60.41</c:v>
                </c:pt>
                <c:pt idx="269" formatCode="#,##0_);\(#,##0\);&quot;-  &quot;;&quot; &quot;@&quot; &quot;">
                  <c:v>59.954999999999998</c:v>
                </c:pt>
                <c:pt idx="270" formatCode="#,##0_);\(#,##0\);&quot;-  &quot;;&quot; &quot;@&quot; &quot;">
                  <c:v>58.9</c:v>
                </c:pt>
                <c:pt idx="271" formatCode="#,##0_);\(#,##0\);&quot;-  &quot;;&quot; &quot;@&quot; &quot;">
                  <c:v>59.19</c:v>
                </c:pt>
                <c:pt idx="272" formatCode="#,##0_);\(#,##0\);&quot;-  &quot;;&quot; &quot;@&quot; &quot;">
                  <c:v>58.52</c:v>
                </c:pt>
                <c:pt idx="273" formatCode="#,##0_);\(#,##0\);&quot;-  &quot;;&quot; &quot;@&quot; &quot;">
                  <c:v>58.994999999999997</c:v>
                </c:pt>
                <c:pt idx="274" formatCode="#,##0_);\(#,##0\);&quot;-  &quot;;&quot; &quot;@&quot; &quot;">
                  <c:v>58.57</c:v>
                </c:pt>
                <c:pt idx="275" formatCode="#,##0_);\(#,##0\);&quot;-  &quot;;&quot; &quot;@&quot; &quot;">
                  <c:v>57.68</c:v>
                </c:pt>
                <c:pt idx="276" formatCode="#,##0_);\(#,##0\);&quot;-  &quot;;&quot; &quot;@&quot; &quot;">
                  <c:v>55.83</c:v>
                </c:pt>
                <c:pt idx="277" formatCode="#,##0_);\(#,##0\);&quot;-  &quot;;&quot; &quot;@&quot; &quot;">
                  <c:v>54.975000000000001</c:v>
                </c:pt>
                <c:pt idx="278" formatCode="#,##0_);\(#,##0\);&quot;-  &quot;;&quot; &quot;@&quot; &quot;">
                  <c:v>54.98</c:v>
                </c:pt>
                <c:pt idx="279" formatCode="#,##0_);\(#,##0\);&quot;-  &quot;;&quot; &quot;@&quot; &quot;">
                  <c:v>51.3</c:v>
                </c:pt>
                <c:pt idx="280" formatCode="#,##0_);\(#,##0\);&quot;-  &quot;;&quot; &quot;@&quot; &quot;">
                  <c:v>50.075000000000003</c:v>
                </c:pt>
                <c:pt idx="281" formatCode="#,##0_);\(#,##0\);&quot;-  &quot;;&quot; &quot;@&quot; &quot;">
                  <c:v>49.07</c:v>
                </c:pt>
                <c:pt idx="282" formatCode="#,##0_);\(#,##0\);&quot;-  &quot;;&quot; &quot;@&quot; &quot;">
                  <c:v>49.29</c:v>
                </c:pt>
                <c:pt idx="283" formatCode="#,##0_);\(#,##0\);&quot;-  &quot;;&quot; &quot;@&quot; &quot;">
                  <c:v>47.655000000000001</c:v>
                </c:pt>
                <c:pt idx="284" formatCode="#,##0_);\(#,##0\);&quot;-  &quot;;&quot; &quot;@&quot; &quot;">
                  <c:v>46.805</c:v>
                </c:pt>
                <c:pt idx="285" formatCode="#,##0_);\(#,##0\);&quot;-  &quot;;&quot; &quot;@&quot; &quot;">
                  <c:v>45.22</c:v>
                </c:pt>
                <c:pt idx="286" formatCode="#,##0_);\(#,##0\);&quot;-  &quot;;&quot; &quot;@&quot; &quot;">
                  <c:v>45.73</c:v>
                </c:pt>
                <c:pt idx="287" formatCode="#,##0_);\(#,##0\);&quot;-  &quot;;&quot; &quot;@&quot; &quot;">
                  <c:v>47.65</c:v>
                </c:pt>
                <c:pt idx="288" formatCode="#,##0_);\(#,##0\);&quot;-  &quot;;&quot; &quot;@&quot; &quot;">
                  <c:v>47.225000000000001</c:v>
                </c:pt>
                <c:pt idx="289" formatCode="#,##0_);\(#,##0\);&quot;-  &quot;;&quot; &quot;@&quot; &quot;">
                  <c:v>47.005000000000003</c:v>
                </c:pt>
                <c:pt idx="290" formatCode="#,##0_);\(#,##0\);&quot;-  &quot;;&quot; &quot;@&quot; &quot;">
                  <c:v>46.865000000000002</c:v>
                </c:pt>
                <c:pt idx="291" formatCode="#,##0_);\(#,##0\);&quot;-  &quot;;&quot; &quot;@&quot; &quot;">
                  <c:v>46.884999999999998</c:v>
                </c:pt>
                <c:pt idx="292" formatCode="#,##0_);\(#,##0\);&quot;-  &quot;;&quot; &quot;@&quot; &quot;">
                  <c:v>46.6</c:v>
                </c:pt>
                <c:pt idx="293" formatCode="#,##0_);\(#,##0\);&quot;-  &quot;;&quot; &quot;@&quot; &quot;">
                  <c:v>46.97</c:v>
                </c:pt>
                <c:pt idx="294" formatCode="#,##0_);\(#,##0\);&quot;-  &quot;;&quot; &quot;@&quot; &quot;">
                  <c:v>46.3</c:v>
                </c:pt>
                <c:pt idx="295" formatCode="#,##0_);\(#,##0\);&quot;-  &quot;;&quot; &quot;@&quot; &quot;">
                  <c:v>46.854999999999997</c:v>
                </c:pt>
                <c:pt idx="296" formatCode="#,##0_);\(#,##0\);&quot;-  &quot;;&quot; &quot;@&quot; &quot;">
                  <c:v>47.64</c:v>
                </c:pt>
                <c:pt idx="297" formatCode="#,##0_);\(#,##0\);&quot;-  &quot;;&quot; &quot;@&quot; &quot;">
                  <c:v>47.06</c:v>
                </c:pt>
                <c:pt idx="298" formatCode="#,##0_);\(#,##0\);&quot;-  &quot;;&quot; &quot;@&quot; &quot;">
                  <c:v>47.854999999999997</c:v>
                </c:pt>
                <c:pt idx="299" formatCode="#,##0_);\(#,##0\);&quot;-  &quot;;&quot; &quot;@&quot; &quot;">
                  <c:v>52.265000000000001</c:v>
                </c:pt>
                <c:pt idx="300" formatCode="#,##0_);\(#,##0\);&quot;-  &quot;;&quot; &quot;@&quot; &quot;">
                  <c:v>54.81</c:v>
                </c:pt>
                <c:pt idx="301" formatCode="#,##0_);\(#,##0\);&quot;-  &quot;;&quot; &quot;@&quot; &quot;">
                  <c:v>54.895000000000003</c:v>
                </c:pt>
                <c:pt idx="302" formatCode="#,##0_);\(#,##0\);&quot;-  &quot;;&quot; &quot;@&quot; &quot;">
                  <c:v>55.99</c:v>
                </c:pt>
                <c:pt idx="303" formatCode="#,##0_);\(#,##0\);&quot;-  &quot;;&quot; &quot;@&quot; &quot;">
                  <c:v>56.704999999999998</c:v>
                </c:pt>
                <c:pt idx="304" formatCode="#,##0_);\(#,##0\);&quot;-  &quot;;&quot; &quot;@&quot; &quot;">
                  <c:v>57.16</c:v>
                </c:pt>
                <c:pt idx="305" formatCode="#,##0_);\(#,##0\);&quot;-  &quot;;&quot; &quot;@&quot; &quot;">
                  <c:v>55.835000000000001</c:v>
                </c:pt>
                <c:pt idx="306" formatCode="#,##0_);\(#,##0\);&quot;-  &quot;;&quot; &quot;@&quot; &quot;">
                  <c:v>54</c:v>
                </c:pt>
                <c:pt idx="307" formatCode="#,##0_);\(#,##0\);&quot;-  &quot;;&quot; &quot;@&quot; &quot;">
                  <c:v>56.314999999999998</c:v>
                </c:pt>
                <c:pt idx="308" formatCode="#,##0_);\(#,##0\);&quot;-  &quot;;&quot; &quot;@&quot; &quot;">
                  <c:v>60.104999999999997</c:v>
                </c:pt>
                <c:pt idx="309" formatCode="#,##0_);\(#,##0\);&quot;-  &quot;;&quot; &quot;@&quot; &quot;">
                  <c:v>61.2</c:v>
                </c:pt>
                <c:pt idx="310" formatCode="#,##0_);\(#,##0\);&quot;-  &quot;;&quot; &quot;@&quot; &quot;">
                  <c:v>60.465000000000003</c:v>
                </c:pt>
                <c:pt idx="311" formatCode="#,##0_);\(#,##0\);&quot;-  &quot;;&quot; &quot;@&quot; &quot;">
                  <c:v>60.66</c:v>
                </c:pt>
                <c:pt idx="312" formatCode="#,##0_);\(#,##0\);&quot;-  &quot;;&quot; &quot;@&quot; &quot;">
                  <c:v>58.59</c:v>
                </c:pt>
                <c:pt idx="313" formatCode="#,##0_);\(#,##0\);&quot;-  &quot;;&quot; &quot;@&quot; &quot;">
                  <c:v>60.7</c:v>
                </c:pt>
                <c:pt idx="314" formatCode="#,##0_);\(#,##0\);&quot;-  &quot;;&quot; &quot;@&quot; &quot;">
                  <c:v>59.865000000000002</c:v>
                </c:pt>
                <c:pt idx="315" formatCode="#,##0_);\(#,##0\);&quot;-  &quot;;&quot; &quot;@&quot; &quot;">
                  <c:v>60.075000000000003</c:v>
                </c:pt>
                <c:pt idx="316" formatCode="#,##0_);\(#,##0\);&quot;-  &quot;;&quot; &quot;@&quot; &quot;">
                  <c:v>59.645000000000003</c:v>
                </c:pt>
                <c:pt idx="317" formatCode="#,##0_);\(#,##0\);&quot;-  &quot;;&quot; &quot;@&quot; &quot;">
                  <c:v>61.36</c:v>
                </c:pt>
                <c:pt idx="318" formatCode="#,##0_);\(#,##0\);&quot;-  &quot;;&quot; &quot;@&quot; &quot;">
                  <c:v>61.99</c:v>
                </c:pt>
                <c:pt idx="319" formatCode="#,##0_);\(#,##0\);&quot;-  &quot;;&quot; &quot;@&quot; &quot;">
                  <c:v>61.075000000000003</c:v>
                </c:pt>
                <c:pt idx="320" formatCode="#,##0_);\(#,##0\);&quot;-  &quot;;&quot; &quot;@&quot; &quot;">
                  <c:v>61.38</c:v>
                </c:pt>
                <c:pt idx="321" formatCode="#,##0_);\(#,##0\);&quot;-  &quot;;&quot; &quot;@&quot; &quot;">
                  <c:v>59.155000000000001</c:v>
                </c:pt>
                <c:pt idx="322" formatCode="#,##0_);\(#,##0\);&quot;-  &quot;;&quot; &quot;@&quot; &quot;">
                  <c:v>60.314999999999998</c:v>
                </c:pt>
                <c:pt idx="323" formatCode="#,##0_);\(#,##0\);&quot;-  &quot;;&quot; &quot;@&quot; &quot;">
                  <c:v>59.435000000000002</c:v>
                </c:pt>
                <c:pt idx="324" formatCode="#,##0_);\(#,##0\);&quot;-  &quot;;&quot; &quot;@&quot; &quot;">
                  <c:v>58.465000000000003</c:v>
                </c:pt>
                <c:pt idx="325" formatCode="#,##0_);\(#,##0\);&quot;-  &quot;;&quot; &quot;@&quot; &quot;">
                  <c:v>55.83</c:v>
                </c:pt>
                <c:pt idx="326" formatCode="#,##0_);\(#,##0\);&quot;-  &quot;;&quot; &quot;@&quot; &quot;">
                  <c:v>56.505000000000003</c:v>
                </c:pt>
                <c:pt idx="327" formatCode="#,##0_);\(#,##0\);&quot;-  &quot;;&quot; &quot;@&quot; &quot;">
                  <c:v>56.564999999999998</c:v>
                </c:pt>
                <c:pt idx="328" formatCode="#,##0_);\(#,##0\);&quot;-  &quot;;&quot; &quot;@&quot; &quot;">
                  <c:v>54.405000000000001</c:v>
                </c:pt>
                <c:pt idx="329" formatCode="#,##0_);\(#,##0\);&quot;-  &quot;;&quot; &quot;@&quot; &quot;">
                  <c:v>52.045000000000002</c:v>
                </c:pt>
                <c:pt idx="330" formatCode="#,##0_);\(#,##0\);&quot;-  &quot;;&quot; &quot;@&quot; &quot;">
                  <c:v>51.64</c:v>
                </c:pt>
                <c:pt idx="331" formatCode="#,##0_);\(#,##0\);&quot;-  &quot;;&quot; &quot;@&quot; &quot;">
                  <c:v>52.65</c:v>
                </c:pt>
                <c:pt idx="332" formatCode="#,##0_);\(#,##0\);&quot;-  &quot;;&quot; &quot;@&quot; &quot;">
                  <c:v>52.935000000000002</c:v>
                </c:pt>
                <c:pt idx="333" formatCode="#,##0_);\(#,##0\);&quot;-  &quot;;&quot; &quot;@&quot; &quot;">
                  <c:v>53.875</c:v>
                </c:pt>
                <c:pt idx="334" formatCode="#,##0_);\(#,##0\);&quot;-  &quot;;&quot; &quot;@&quot; &quot;">
                  <c:v>53.87</c:v>
                </c:pt>
                <c:pt idx="335" formatCode="#,##0_);\(#,##0\);&quot;-  &quot;;&quot; &quot;@&quot; &quot;">
                  <c:v>53.8</c:v>
                </c:pt>
                <c:pt idx="336" formatCode="#,##0_);\(#,##0\);&quot;-  &quot;;&quot; &quot;@&quot; &quot;">
                  <c:v>54.255000000000003</c:v>
                </c:pt>
                <c:pt idx="337" formatCode="#,##0_);\(#,##0\);&quot;-  &quot;;&quot; &quot;@&quot; &quot;">
                  <c:v>57.16</c:v>
                </c:pt>
                <c:pt idx="338" formatCode="#,##0_);\(#,##0\);&quot;-  &quot;;&quot; &quot;@&quot; &quot;">
                  <c:v>56.625</c:v>
                </c:pt>
                <c:pt idx="339" formatCode="#,##0_);\(#,##0\);&quot;-  &quot;;&quot; &quot;@&quot; &quot;">
                  <c:v>54.354999999999997</c:v>
                </c:pt>
                <c:pt idx="340" formatCode="#,##0_);\(#,##0\);&quot;-  &quot;;&quot; &quot;@&quot; &quot;">
                  <c:v>53.984999999999999</c:v>
                </c:pt>
                <c:pt idx="341" formatCode="#,##0_);\(#,##0\);&quot;-  &quot;;&quot; &quot;@&quot; &quot;">
                  <c:v>55.57</c:v>
                </c:pt>
                <c:pt idx="342" formatCode="#,##0_);\(#,##0\);&quot;-  &quot;;&quot; &quot;@&quot; &quot;">
                  <c:v>54.18</c:v>
                </c:pt>
                <c:pt idx="343" formatCode="#,##0_);\(#,##0\);&quot;-  &quot;;&quot; &quot;@&quot; &quot;">
                  <c:v>57.555</c:v>
                </c:pt>
                <c:pt idx="344" formatCode="#,##0_);\(#,##0\);&quot;-  &quot;;&quot; &quot;@&quot; &quot;">
                  <c:v>57.555</c:v>
                </c:pt>
                <c:pt idx="345" formatCode="#,##0_);\(#,##0\);&quot;-  &quot;;&quot; &quot;@&quot; &quot;">
                  <c:v>56.435000000000002</c:v>
                </c:pt>
                <c:pt idx="346" formatCode="#,##0_);\(#,##0\);&quot;-  &quot;;&quot; &quot;@&quot; &quot;">
                  <c:v>56.06</c:v>
                </c:pt>
                <c:pt idx="347" formatCode="#,##0_);\(#,##0\);&quot;-  &quot;;&quot; &quot;@&quot; &quot;">
                  <c:v>57.045000000000002</c:v>
                </c:pt>
                <c:pt idx="348" formatCode="#,##0_);\(#,##0\);&quot;-  &quot;;&quot; &quot;@&quot; &quot;">
                  <c:v>57.13</c:v>
                </c:pt>
                <c:pt idx="349" formatCode="#,##0_);\(#,##0\);&quot;-  &quot;;&quot; &quot;@&quot; &quot;">
                  <c:v>57.54</c:v>
                </c:pt>
                <c:pt idx="350" formatCode="#,##0_);\(#,##0\);&quot;-  &quot;;&quot; &quot;@&quot; &quot;">
                  <c:v>58.86</c:v>
                </c:pt>
                <c:pt idx="351" formatCode="#,##0_);\(#,##0\);&quot;-  &quot;;&quot; &quot;@&quot; &quot;">
                  <c:v>60.46</c:v>
                </c:pt>
                <c:pt idx="352" formatCode="#,##0_);\(#,##0\);&quot;-  &quot;;&quot; &quot;@&quot; &quot;">
                  <c:v>61.774999999999999</c:v>
                </c:pt>
                <c:pt idx="353" formatCode="#,##0_);\(#,##0\);&quot;-  &quot;;&quot; &quot;@&quot; &quot;">
                  <c:v>61.16</c:v>
                </c:pt>
                <c:pt idx="354" formatCode="#,##0_);\(#,##0\);&quot;-  &quot;;&quot; &quot;@&quot; &quot;">
                  <c:v>60.64</c:v>
                </c:pt>
                <c:pt idx="355" formatCode="#,##0_);\(#,##0\);&quot;-  &quot;;&quot; &quot;@&quot; &quot;">
                  <c:v>60.755000000000003</c:v>
                </c:pt>
                <c:pt idx="356" formatCode="#,##0_);\(#,##0\);&quot;-  &quot;;&quot; &quot;@&quot; &quot;">
                  <c:v>62.975000000000001</c:v>
                </c:pt>
                <c:pt idx="357" formatCode="#,##0_);\(#,##0\);&quot;-  &quot;;&quot; &quot;@&quot; &quot;">
                  <c:v>62.865000000000002</c:v>
                </c:pt>
                <c:pt idx="358" formatCode="#,##0_);\(#,##0\);&quot;-  &quot;;&quot; &quot;@&quot; &quot;">
                  <c:v>62.98</c:v>
                </c:pt>
                <c:pt idx="359" formatCode="#,##0_);\(#,##0\);&quot;-  &quot;;&quot; &quot;@&quot; &quot;">
                  <c:v>62.8</c:v>
                </c:pt>
                <c:pt idx="360" formatCode="#,##0_);\(#,##0\);&quot;-  &quot;;&quot; &quot;@&quot; &quot;">
                  <c:v>64.05</c:v>
                </c:pt>
                <c:pt idx="361" formatCode="#,##0_);\(#,##0\);&quot;-  &quot;;&quot; &quot;@&quot; &quot;">
                  <c:v>64.42</c:v>
                </c:pt>
                <c:pt idx="362" formatCode="#,##0_);\(#,##0\);&quot;-  &quot;;&quot; &quot;@&quot; &quot;">
                  <c:v>64.39</c:v>
                </c:pt>
                <c:pt idx="363" formatCode="#,##0_);\(#,##0\);&quot;-  &quot;;&quot; &quot;@&quot; &quot;">
                  <c:v>66.114999999999995</c:v>
                </c:pt>
                <c:pt idx="364" formatCode="#,##0_);\(#,##0\);&quot;-  &quot;;&quot; &quot;@&quot; &quot;">
                  <c:v>66.114999999999995</c:v>
                </c:pt>
                <c:pt idx="365" formatCode="#,##0_);\(#,##0\);&quot;-  &quot;;&quot; &quot;@&quot; &quot;">
                  <c:v>66.62</c:v>
                </c:pt>
                <c:pt idx="366" formatCode="#,##0_);\(#,##0\);&quot;-  &quot;;&quot; &quot;@&quot; &quot;">
                  <c:v>64.84</c:v>
                </c:pt>
                <c:pt idx="367" formatCode="#,##0_);\(#,##0\);&quot;-  &quot;;&quot; &quot;@&quot; &quot;">
                  <c:v>64.025000000000006</c:v>
                </c:pt>
                <c:pt idx="368" formatCode="#,##0_);\(#,##0\);&quot;-  &quot;;&quot; &quot;@&quot; &quot;">
                  <c:v>62.954999999999998</c:v>
                </c:pt>
                <c:pt idx="369" formatCode="#,##0_);\(#,##0\);&quot;-  &quot;;&quot; &quot;@&quot; &quot;">
                  <c:v>65.314999999999998</c:v>
                </c:pt>
                <c:pt idx="370" formatCode="#,##0_);\(#,##0\);&quot;-  &quot;;&quot; &quot;@&quot; &quot;">
                  <c:v>66.650000000000006</c:v>
                </c:pt>
                <c:pt idx="371" formatCode="#,##0_);\(#,##0\);&quot;-  &quot;;&quot; &quot;@&quot; &quot;">
                  <c:v>65.66</c:v>
                </c:pt>
                <c:pt idx="372" formatCode="#,##0_);\(#,##0\);&quot;-  &quot;;&quot; &quot;@&quot; &quot;">
                  <c:v>65.17</c:v>
                </c:pt>
                <c:pt idx="373" formatCode="#,##0_);\(#,##0\);&quot;-  &quot;;&quot; &quot;@&quot; &quot;">
                  <c:v>65.22</c:v>
                </c:pt>
                <c:pt idx="374" formatCode="#,##0_);\(#,##0\);&quot;-  &quot;;&quot; &quot;@&quot; &quot;">
                  <c:v>63.524999999999999</c:v>
                </c:pt>
                <c:pt idx="375" formatCode="#,##0_);\(#,##0\);&quot;-  &quot;;&quot; &quot;@&quot; &quot;">
                  <c:v>63.59</c:v>
                </c:pt>
                <c:pt idx="376" formatCode="#,##0_);\(#,##0\);&quot;-  &quot;;&quot; &quot;@&quot; &quot;">
                  <c:v>65.650000000000006</c:v>
                </c:pt>
                <c:pt idx="377" formatCode="#,##0_);\(#,##0\);&quot;-  &quot;;&quot; &quot;@&quot; &quot;">
                  <c:v>64.290000000000006</c:v>
                </c:pt>
                <c:pt idx="378" formatCode="#,##0_);\(#,##0\);&quot;-  &quot;;&quot; &quot;@&quot; &quot;">
                  <c:v>62.055</c:v>
                </c:pt>
                <c:pt idx="379" formatCode="#,##0_);\(#,##0\);&quot;-  &quot;;&quot; &quot;@&quot; &quot;">
                  <c:v>61.755000000000003</c:v>
                </c:pt>
                <c:pt idx="380" formatCode="#,##0_);\(#,##0\);&quot;-  &quot;;&quot; &quot;@&quot; &quot;">
                  <c:v>60.725000000000001</c:v>
                </c:pt>
                <c:pt idx="381" formatCode="#,##0_);\(#,##0\);&quot;-  &quot;;&quot; &quot;@&quot; &quot;">
                  <c:v>63.49</c:v>
                </c:pt>
                <c:pt idx="382" formatCode="#,##0_);\(#,##0\);&quot;-  &quot;;&quot; &quot;@&quot; &quot;">
                  <c:v>62.89</c:v>
                </c:pt>
                <c:pt idx="383" formatCode="#,##0_);\(#,##0\);&quot;-  &quot;;&quot; &quot;@&quot; &quot;">
                  <c:v>63.55</c:v>
                </c:pt>
                <c:pt idx="384" formatCode="#,##0_);\(#,##0\);&quot;-  &quot;;&quot; &quot;@&quot; &quot;">
                  <c:v>62.524999999999999</c:v>
                </c:pt>
                <c:pt idx="385" formatCode="#,##0_);\(#,##0\);&quot;-  &quot;;&quot; &quot;@&quot; &quot;">
                  <c:v>60.354999999999997</c:v>
                </c:pt>
                <c:pt idx="386" formatCode="#,##0_);\(#,##0\);&quot;-  &quot;;&quot; &quot;@&quot; &quot;">
                  <c:v>60.18</c:v>
                </c:pt>
                <c:pt idx="387" formatCode="#,##0_);\(#,##0\);&quot;-  &quot;;&quot; &quot;@&quot; &quot;">
                  <c:v>61.155000000000001</c:v>
                </c:pt>
                <c:pt idx="388" formatCode="#,##0_);\(#,##0\);&quot;-  &quot;;&quot; &quot;@&quot; &quot;">
                  <c:v>63.33</c:v>
                </c:pt>
                <c:pt idx="389" formatCode="#,##0_);\(#,##0\);&quot;-  &quot;;&quot; &quot;@&quot; &quot;">
                  <c:v>63.87</c:v>
                </c:pt>
                <c:pt idx="390" formatCode="#,##0_);\(#,##0\);&quot;-  &quot;;&quot; &quot;@&quot; &quot;">
                  <c:v>63.475000000000001</c:v>
                </c:pt>
                <c:pt idx="391" formatCode="#,##0_);\(#,##0\);&quot;-  &quot;;&quot; &quot;@&quot; &quot;">
                  <c:v>63.05</c:v>
                </c:pt>
                <c:pt idx="392" formatCode="#,##0_);\(#,##0\);&quot;-  &quot;;&quot; &quot;@&quot; &quot;">
                  <c:v>61.59</c:v>
                </c:pt>
                <c:pt idx="393" formatCode="#,##0_);\(#,##0\);&quot;-  &quot;;&quot; &quot;@&quot; &quot;">
                  <c:v>61.465000000000003</c:v>
                </c:pt>
                <c:pt idx="394" formatCode="#,##0_);\(#,##0\);&quot;-  &quot;;&quot; &quot;@&quot; &quot;">
                  <c:v>61.35</c:v>
                </c:pt>
                <c:pt idx="395" formatCode="#,##0_);\(#,##0\);&quot;-  &quot;;&quot; &quot;@&quot; &quot;">
                  <c:v>61.96</c:v>
                </c:pt>
                <c:pt idx="396" formatCode="#,##0_);\(#,##0\);&quot;-  &quot;;&quot; &quot;@&quot; &quot;">
                  <c:v>60.47</c:v>
                </c:pt>
                <c:pt idx="397" formatCode="#,##0_);\(#,##0\);&quot;-  &quot;;&quot; &quot;@&quot; &quot;">
                  <c:v>60.204999999999998</c:v>
                </c:pt>
                <c:pt idx="398" formatCode="#,##0_);\(#,##0\);&quot;-  &quot;;&quot; &quot;@&quot; &quot;">
                  <c:v>61.674999999999997</c:v>
                </c:pt>
                <c:pt idx="399" formatCode="#,##0_);\(#,##0\);&quot;-  &quot;;&quot; &quot;@&quot; &quot;">
                  <c:v>61.774999999999999</c:v>
                </c:pt>
                <c:pt idx="400" formatCode="#,##0_);\(#,##0\);&quot;-  &quot;;&quot; &quot;@&quot; &quot;">
                  <c:v>60.594999999999999</c:v>
                </c:pt>
                <c:pt idx="401" formatCode="#,##0_);\(#,##0\);&quot;-  &quot;;&quot; &quot;@&quot; &quot;">
                  <c:v>60.74</c:v>
                </c:pt>
                <c:pt idx="402" formatCode="#,##0_);\(#,##0\);&quot;-  &quot;;&quot; &quot;@&quot; &quot;">
                  <c:v>59.825000000000003</c:v>
                </c:pt>
                <c:pt idx="403" formatCode="#,##0_);\(#,##0\);&quot;-  &quot;;&quot; &quot;@&quot; &quot;">
                  <c:v>61.05</c:v>
                </c:pt>
                <c:pt idx="404" formatCode="#,##0_);\(#,##0\);&quot;-  &quot;;&quot; &quot;@&quot; &quot;">
                  <c:v>61.67</c:v>
                </c:pt>
                <c:pt idx="405" formatCode="#,##0_);\(#,##0\);&quot;-  &quot;;&quot; &quot;@&quot; &quot;">
                  <c:v>61.51</c:v>
                </c:pt>
                <c:pt idx="406" formatCode="#,##0_);\(#,##0\);&quot;-  &quot;;&quot; &quot;@&quot; &quot;">
                  <c:v>59.104999999999997</c:v>
                </c:pt>
                <c:pt idx="407" formatCode="#,##0_);\(#,##0\);&quot;-  &quot;;&quot; &quot;@&quot; &quot;">
                  <c:v>57.075000000000003</c:v>
                </c:pt>
                <c:pt idx="408" formatCode="#,##0_);\(#,##0\);&quot;-  &quot;;&quot; &quot;@&quot; &quot;">
                  <c:v>54.73</c:v>
                </c:pt>
                <c:pt idx="409" formatCode="#,##0_);\(#,##0\);&quot;-  &quot;;&quot; &quot;@&quot; &quot;">
                  <c:v>55.704999999999998</c:v>
                </c:pt>
                <c:pt idx="410" formatCode="#,##0_);\(#,##0\);&quot;-  &quot;;&quot; &quot;@&quot; &quot;">
                  <c:v>58.024999999999999</c:v>
                </c:pt>
                <c:pt idx="411" formatCode="#,##0_);\(#,##0\);&quot;-  &quot;;&quot; &quot;@&quot; &quot;">
                  <c:v>57.454999999999998</c:v>
                </c:pt>
                <c:pt idx="412" formatCode="#,##0_);\(#,##0\);&quot;-  &quot;;&quot; &quot;@&quot; &quot;">
                  <c:v>57.56</c:v>
                </c:pt>
                <c:pt idx="413" formatCode="#,##0_);\(#,##0\);&quot;-  &quot;;&quot; &quot;@&quot; &quot;">
                  <c:v>57.344999999999999</c:v>
                </c:pt>
                <c:pt idx="414" formatCode="#,##0_);\(#,##0\);&quot;-  &quot;;&quot; &quot;@&quot; &quot;">
                  <c:v>57.59</c:v>
                </c:pt>
                <c:pt idx="415" formatCode="#,##0_);\(#,##0\);&quot;-  &quot;;&quot; &quot;@&quot; &quot;">
                  <c:v>57.354999999999997</c:v>
                </c:pt>
                <c:pt idx="416" formatCode="#,##0_);\(#,##0\);&quot;-  &quot;;&quot; &quot;@&quot; &quot;">
                  <c:v>56.475000000000001</c:v>
                </c:pt>
                <c:pt idx="417" formatCode="#,##0_);\(#,##0\);&quot;-  &quot;;&quot; &quot;@&quot; &quot;">
                  <c:v>56.41</c:v>
                </c:pt>
                <c:pt idx="418" formatCode="#,##0_);\(#,##0\);&quot;-  &quot;;&quot; &quot;@&quot; &quot;">
                  <c:v>56.05</c:v>
                </c:pt>
                <c:pt idx="419" formatCode="#,##0_);\(#,##0\);&quot;-  &quot;;&quot; &quot;@&quot; &quot;">
                  <c:v>56.545000000000002</c:v>
                </c:pt>
                <c:pt idx="420" formatCode="#,##0_);\(#,##0\);&quot;-  &quot;;&quot; &quot;@&quot; &quot;">
                  <c:v>55.965000000000003</c:v>
                </c:pt>
                <c:pt idx="421" formatCode="#,##0_);\(#,##0\);&quot;-  &quot;;&quot; &quot;@&quot; &quot;">
                  <c:v>54.575000000000003</c:v>
                </c:pt>
                <c:pt idx="422" formatCode="#,##0_);\(#,##0\);&quot;-  &quot;;&quot; &quot;@&quot; &quot;">
                  <c:v>54.13</c:v>
                </c:pt>
                <c:pt idx="423" formatCode="#,##0_);\(#,##0\);&quot;-  &quot;;&quot; &quot;@&quot; &quot;">
                  <c:v>54.424999999999997</c:v>
                </c:pt>
                <c:pt idx="424" formatCode="#,##0_);\(#,##0\);&quot;-  &quot;;&quot; &quot;@&quot; &quot;">
                  <c:v>54.38</c:v>
                </c:pt>
                <c:pt idx="425" formatCode="#,##0_);\(#,##0\);&quot;-  &quot;;&quot; &quot;@&quot; &quot;">
                  <c:v>53.715000000000003</c:v>
                </c:pt>
                <c:pt idx="426" formatCode="#,##0_);\(#,##0\);&quot;-  &quot;;&quot; &quot;@&quot; &quot;">
                  <c:v>52.53</c:v>
                </c:pt>
                <c:pt idx="427" formatCode="#,##0_);\(#,##0\);&quot;-  &quot;;&quot; &quot;@&quot; &quot;">
                  <c:v>49.145000000000003</c:v>
                </c:pt>
                <c:pt idx="428" formatCode="#,##0_);\(#,##0\);&quot;-  &quot;;&quot; &quot;@&quot; &quot;">
                  <c:v>48.86</c:v>
                </c:pt>
                <c:pt idx="429" formatCode="#,##0_);\(#,##0\);&quot;-  &quot;;&quot; &quot;@&quot; &quot;">
                  <c:v>49.32</c:v>
                </c:pt>
                <c:pt idx="430" formatCode="#,##0_);\(#,##0\);&quot;-  &quot;;&quot; &quot;@&quot; &quot;">
                  <c:v>47.83</c:v>
                </c:pt>
                <c:pt idx="431" formatCode="#,##0_);\(#,##0\);&quot;-  &quot;;&quot; &quot;@&quot; &quot;">
                  <c:v>47.685000000000002</c:v>
                </c:pt>
                <c:pt idx="432" formatCode="#,##0_);\(#,##0\);&quot;-  &quot;;&quot; &quot;@&quot; &quot;">
                  <c:v>48.475000000000001</c:v>
                </c:pt>
                <c:pt idx="433" formatCode="#,##0_);\(#,##0\);&quot;-  &quot;;&quot; &quot;@&quot; &quot;">
                  <c:v>47.524999999999999</c:v>
                </c:pt>
                <c:pt idx="434" formatCode="#,##0_);\(#,##0\);&quot;-  &quot;;&quot; &quot;@&quot; &quot;">
                  <c:v>48.24</c:v>
                </c:pt>
                <c:pt idx="435" formatCode="#,##0_);\(#,##0\);&quot;-  &quot;;&quot; &quot;@&quot; &quot;">
                  <c:v>48.015000000000001</c:v>
                </c:pt>
                <c:pt idx="436" formatCode="#,##0_);\(#,##0\);&quot;-  &quot;;&quot; &quot;@&quot; &quot;">
                  <c:v>47.79</c:v>
                </c:pt>
                <c:pt idx="437" formatCode="#,##0_);\(#,##0\);&quot;-  &quot;;&quot; &quot;@&quot; &quot;">
                  <c:v>47.844999999999999</c:v>
                </c:pt>
                <c:pt idx="438" formatCode="#,##0_);\(#,##0\);&quot;-  &quot;;&quot; &quot;@&quot; &quot;">
                  <c:v>47.274999999999999</c:v>
                </c:pt>
                <c:pt idx="439" formatCode="#,##0_);\(#,##0\);&quot;-  &quot;;&quot; &quot;@&quot; &quot;">
                  <c:v>46.125</c:v>
                </c:pt>
                <c:pt idx="440" formatCode="#,##0_);\(#,##0\);&quot;-  &quot;;&quot; &quot;@&quot; &quot;">
                  <c:v>45.74</c:v>
                </c:pt>
                <c:pt idx="441" formatCode="#,##0_);\(#,##0\);&quot;-  &quot;;&quot; &quot;@&quot; &quot;">
                  <c:v>44.06</c:v>
                </c:pt>
                <c:pt idx="442" formatCode="#,##0_);\(#,##0\);&quot;-  &quot;;&quot; &quot;@&quot; &quot;">
                  <c:v>41.854999999999997</c:v>
                </c:pt>
                <c:pt idx="443" formatCode="#,##0_);\(#,##0\);&quot;-  &quot;;&quot; &quot;@&quot; &quot;">
                  <c:v>42.03</c:v>
                </c:pt>
                <c:pt idx="444" formatCode="#,##0_);\(#,##0\);&quot;-  &quot;;&quot; &quot;@&quot; &quot;">
                  <c:v>42.055</c:v>
                </c:pt>
                <c:pt idx="445" formatCode="#,##0_);\(#,##0\);&quot;-  &quot;;&quot; &quot;@&quot; &quot;">
                  <c:v>44.734999999999999</c:v>
                </c:pt>
                <c:pt idx="446" formatCode="#,##0_);\(#,##0\);&quot;-  &quot;;&quot; &quot;@&quot; &quot;">
                  <c:v>48.27</c:v>
                </c:pt>
                <c:pt idx="447" formatCode="#,##0_);\(#,##0\);&quot;-  &quot;;&quot; &quot;@&quot; &quot;">
                  <c:v>48.97</c:v>
                </c:pt>
                <c:pt idx="448" formatCode="#,##0_);\(#,##0\);&quot;-  &quot;;&quot; &quot;@&quot; &quot;">
                  <c:v>48.97</c:v>
                </c:pt>
                <c:pt idx="449" formatCode="#,##0_);\(#,##0\);&quot;-  &quot;;&quot; &quot;@&quot; &quot;">
                  <c:v>47.384999999999998</c:v>
                </c:pt>
                <c:pt idx="450" formatCode="#,##0_);\(#,##0\);&quot;-  &quot;;&quot; &quot;@&quot; &quot;">
                  <c:v>50.43</c:v>
                </c:pt>
                <c:pt idx="451" formatCode="#,##0_);\(#,##0\);&quot;-  &quot;;&quot; &quot;@&quot; &quot;">
                  <c:v>48.695</c:v>
                </c:pt>
                <c:pt idx="452" formatCode="#,##0_);\(#,##0\);&quot;-  &quot;;&quot; &quot;@&quot; &quot;">
                  <c:v>46.604999999999997</c:v>
                </c:pt>
                <c:pt idx="453" formatCode="#,##0_);\(#,##0\);&quot;-  &quot;;&quot; &quot;@&quot; &quot;">
                  <c:v>49.01</c:v>
                </c:pt>
                <c:pt idx="454" formatCode="#,##0_);\(#,##0\);&quot;-  &quot;;&quot; &quot;@&quot; &quot;">
                  <c:v>47.99</c:v>
                </c:pt>
                <c:pt idx="455" formatCode="#,##0_);\(#,##0\);&quot;-  &quot;;&quot; &quot;@&quot; &quot;">
                  <c:v>47.625</c:v>
                </c:pt>
                <c:pt idx="456" formatCode="#,##0_);\(#,##0\);&quot;-  &quot;;&quot; &quot;@&quot; &quot;">
                  <c:v>47.045000000000002</c:v>
                </c:pt>
                <c:pt idx="457" formatCode="#,##0_);\(#,##0\);&quot;-  &quot;;&quot; &quot;@&quot; &quot;">
                  <c:v>46.034999999999997</c:v>
                </c:pt>
                <c:pt idx="458" formatCode="#,##0_);\(#,##0\);&quot;-  &quot;;&quot; &quot;@&quot; &quot;">
                  <c:v>45.94</c:v>
                </c:pt>
                <c:pt idx="459" formatCode="#,##0_);\(#,##0\);&quot;-  &quot;;&quot; &quot;@&quot; &quot;">
                  <c:v>48.795000000000002</c:v>
                </c:pt>
                <c:pt idx="460" formatCode="#,##0_);\(#,##0\);&quot;-  &quot;;&quot; &quot;@&quot; &quot;">
                  <c:v>48.08</c:v>
                </c:pt>
                <c:pt idx="461" formatCode="#,##0_);\(#,##0\);&quot;-  &quot;;&quot; &quot;@&quot; &quot;">
                  <c:v>46.914999999999999</c:v>
                </c:pt>
                <c:pt idx="462" formatCode="#,##0_);\(#,##0\);&quot;-  &quot;;&quot; &quot;@&quot; &quot;">
                  <c:v>47.09</c:v>
                </c:pt>
                <c:pt idx="463" formatCode="#,##0_);\(#,##0\);&quot;-  &quot;;&quot; &quot;@&quot; &quot;">
                  <c:v>46.79</c:v>
                </c:pt>
                <c:pt idx="464" formatCode="#,##0_);\(#,##0\);&quot;-  &quot;;&quot; &quot;@&quot; &quot;">
                  <c:v>48.25</c:v>
                </c:pt>
                <c:pt idx="465" formatCode="#,##0_);\(#,##0\);&quot;-  &quot;;&quot; &quot;@&quot; &quot;">
                  <c:v>47.14</c:v>
                </c:pt>
                <c:pt idx="466" formatCode="#,##0_);\(#,##0\);&quot;-  &quot;;&quot; &quot;@&quot; &quot;">
                  <c:v>47.234999999999999</c:v>
                </c:pt>
                <c:pt idx="467" formatCode="#,##0_);\(#,##0\);&quot;-  &quot;;&quot; &quot;@&quot; &quot;">
                  <c:v>46.475000000000001</c:v>
                </c:pt>
                <c:pt idx="468" formatCode="#,##0_);\(#,##0\);&quot;-  &quot;;&quot; &quot;@&quot; &quot;">
                  <c:v>47.585000000000001</c:v>
                </c:pt>
                <c:pt idx="469" formatCode="#,##0_);\(#,##0\);&quot;-  &quot;;&quot; &quot;@&quot; &quot;">
                  <c:v>47.284999999999997</c:v>
                </c:pt>
                <c:pt idx="470" formatCode="#,##0_);\(#,##0\);&quot;-  &quot;;&quot; &quot;@&quot; &quot;">
                  <c:v>47.784999999999997</c:v>
                </c:pt>
                <c:pt idx="471" formatCode="#,##0_);\(#,##0\);&quot;-  &quot;;&quot; &quot;@&quot; &quot;">
                  <c:v>46.505000000000003</c:v>
                </c:pt>
                <c:pt idx="472" formatCode="#,##0_);\(#,##0\);&quot;-  &quot;;&quot; &quot;@&quot; &quot;">
                  <c:v>49.32</c:v>
                </c:pt>
                <c:pt idx="473" formatCode="#,##0_);\(#,##0\);&quot;-  &quot;;&quot; &quot;@&quot; &quot;">
                  <c:v>51.24</c:v>
                </c:pt>
                <c:pt idx="474" formatCode="#,##0_);\(#,##0\);&quot;-  &quot;;&quot; &quot;@&quot; &quot;">
                  <c:v>51.45</c:v>
                </c:pt>
                <c:pt idx="475" formatCode="#,##0_);\(#,##0\);&quot;-  &quot;;&quot; &quot;@&quot; &quot;">
                  <c:v>51.91</c:v>
                </c:pt>
                <c:pt idx="476" formatCode="#,##0_);\(#,##0\);&quot;-  &quot;;&quot; &quot;@&quot; &quot;">
                  <c:v>51.87</c:v>
                </c:pt>
                <c:pt idx="477" formatCode="#,##0_);\(#,##0\);&quot;-  &quot;;&quot; &quot;@&quot; &quot;">
                  <c:v>51.08</c:v>
                </c:pt>
                <c:pt idx="478" formatCode="#,##0_);\(#,##0\);&quot;-  &quot;;&quot; &quot;@&quot; &quot;">
                  <c:v>49.32</c:v>
                </c:pt>
                <c:pt idx="479" formatCode="#,##0_);\(#,##0\);&quot;-  &quot;;&quot; &quot;@&quot; &quot;">
                  <c:v>48.305</c:v>
                </c:pt>
                <c:pt idx="480" formatCode="#,##0_);\(#,##0\);&quot;-  &quot;;&quot; &quot;@&quot; &quot;">
                  <c:v>48.034999999999997</c:v>
                </c:pt>
                <c:pt idx="481" formatCode="#,##0_);\(#,##0\);&quot;-  &quot;;&quot; &quot;@&quot; &quot;">
                  <c:v>49.125</c:v>
                </c:pt>
                <c:pt idx="482" formatCode="#,##0_);\(#,##0\);&quot;-  &quot;;&quot; &quot;@&quot; &quot;">
                  <c:v>47.33</c:v>
                </c:pt>
                <c:pt idx="483" formatCode="#,##0_);\(#,##0\);&quot;-  &quot;;&quot; &quot;@&quot; &quot;">
                  <c:v>47.185000000000002</c:v>
                </c:pt>
                <c:pt idx="484" formatCode="#,##0_);\(#,##0\);&quot;-  &quot;;&quot; &quot;@&quot; &quot;">
                  <c:v>46.975000000000001</c:v>
                </c:pt>
                <c:pt idx="485" formatCode="#,##0_);\(#,##0\);&quot;-  &quot;;&quot; &quot;@&quot; &quot;">
                  <c:v>46.585000000000001</c:v>
                </c:pt>
                <c:pt idx="486" formatCode="#,##0_);\(#,##0\);&quot;-  &quot;;&quot; &quot;@&quot; &quot;">
                  <c:v>46.65</c:v>
                </c:pt>
                <c:pt idx="487" formatCode="#,##0_);\(#,##0\);&quot;-  &quot;;&quot; &quot;@&quot; &quot;">
                  <c:v>46.954999999999998</c:v>
                </c:pt>
                <c:pt idx="488" formatCode="#,##0_);\(#,##0\);&quot;-  &quot;;&quot; &quot;@&quot; &quot;">
                  <c:v>45.93</c:v>
                </c:pt>
                <c:pt idx="489" formatCode="#,##0_);\(#,##0\);&quot;-  &quot;;&quot; &quot;@&quot; &quot;">
                  <c:v>48.164999999999999</c:v>
                </c:pt>
                <c:pt idx="490" formatCode="#,##0_);\(#,##0\);&quot;-  &quot;;&quot; &quot;@&quot; &quot;">
                  <c:v>48.45</c:v>
                </c:pt>
                <c:pt idx="491" formatCode="#,##0_);\(#,##0\);&quot;-  &quot;;&quot; &quot;@&quot; &quot;">
                  <c:v>48.16</c:v>
                </c:pt>
                <c:pt idx="492" formatCode="#,##0_);\(#,##0\);&quot;-  &quot;;&quot; &quot;@&quot; &quot;">
                  <c:v>47.305</c:v>
                </c:pt>
                <c:pt idx="493" formatCode="#,##0_);\(#,##0\);&quot;-  &quot;;&quot; &quot;@&quot; &quot;">
                  <c:v>47.98</c:v>
                </c:pt>
                <c:pt idx="494" formatCode="#,##0_);\(#,##0\);&quot;-  &quot;;&quot; &quot;@&quot; &quot;">
                  <c:v>47.26</c:v>
                </c:pt>
                <c:pt idx="495" formatCode="#,##0_);\(#,##0\);&quot;-  &quot;;&quot; &quot;@&quot; &quot;">
                  <c:v>47.034999999999997</c:v>
                </c:pt>
                <c:pt idx="496" formatCode="#,##0_);\(#,##0\);&quot;-  &quot;;&quot; &quot;@&quot; &quot;">
                  <c:v>46.1</c:v>
                </c:pt>
                <c:pt idx="497" formatCode="#,##0_);\(#,##0\);&quot;-  &quot;;&quot; &quot;@&quot; &quot;">
                  <c:v>45.49</c:v>
                </c:pt>
                <c:pt idx="498" formatCode="#,##0_);\(#,##0\);&quot;-  &quot;;&quot; &quot;@&quot; &quot;">
                  <c:v>45.994999999999997</c:v>
                </c:pt>
                <c:pt idx="499" formatCode="#,##0_);\(#,##0\);&quot;-  &quot;;&quot; &quot;@&quot; &quot;">
                  <c:v>44.69</c:v>
                </c:pt>
                <c:pt idx="500" formatCode="#,##0_);\(#,##0\);&quot;-  &quot;;&quot; &quot;@&quot; &quot;">
                  <c:v>43.155000000000001</c:v>
                </c:pt>
                <c:pt idx="501" formatCode="#,##0_);\(#,##0\);&quot;-  &quot;;&quot; &quot;@&quot; &quot;">
                  <c:v>42.27</c:v>
                </c:pt>
                <c:pt idx="502" formatCode="#,##0_);\(#,##0\);&quot;-  &quot;;&quot; &quot;@&quot; &quot;">
                  <c:v>40.384999999999998</c:v>
                </c:pt>
                <c:pt idx="503" formatCode="#,##0_);\(#,##0\);&quot;-  &quot;;&quot; &quot;@&quot; &quot;">
                  <c:v>41.545000000000002</c:v>
                </c:pt>
                <c:pt idx="504" formatCode="#,##0_);\(#,##0\);&quot;-  &quot;;&quot; &quot;@&quot; &quot;">
                  <c:v>41.674999999999997</c:v>
                </c:pt>
                <c:pt idx="505" formatCode="#,##0_);\(#,##0\);&quot;-  &quot;;&quot; &quot;@&quot; &quot;">
                  <c:v>42.18</c:v>
                </c:pt>
                <c:pt idx="506" formatCode="#,##0_);\(#,##0\);&quot;-  &quot;;&quot; &quot;@&quot; &quot;">
                  <c:v>42.67</c:v>
                </c:pt>
                <c:pt idx="507" formatCode="#,##0_);\(#,##0\);&quot;-  &quot;;&quot; &quot;@&quot; &quot;">
                  <c:v>44.005000000000003</c:v>
                </c:pt>
                <c:pt idx="508" formatCode="#,##0_);\(#,##0\);&quot;-  &quot;;&quot; &quot;@&quot; &quot;">
                  <c:v>44.63</c:v>
                </c:pt>
                <c:pt idx="509" formatCode="#,##0_);\(#,##0\);&quot;-  &quot;;&quot; &quot;@&quot; &quot;">
                  <c:v>43.954999999999998</c:v>
                </c:pt>
                <c:pt idx="510" formatCode="#,##0_);\(#,##0\);&quot;-  &quot;;&quot; &quot;@&quot; &quot;">
                  <c:v>43.984999999999999</c:v>
                </c:pt>
                <c:pt idx="511" formatCode="#,##0_);\(#,##0\);&quot;-  &quot;;&quot; &quot;@&quot; &quot;">
                  <c:v>43.844999999999999</c:v>
                </c:pt>
                <c:pt idx="512" formatCode="#,##0_);\(#,##0\);&quot;-  &quot;;&quot; &quot;@&quot; &quot;">
                  <c:v>44.02</c:v>
                </c:pt>
                <c:pt idx="513" formatCode="#,##0_);\(#,##0\);&quot;-  &quot;;&quot; &quot;@&quot; &quot;">
                  <c:v>43.244999999999997</c:v>
                </c:pt>
                <c:pt idx="514" formatCode="#,##0_);\(#,##0\);&quot;-  &quot;;&quot; &quot;@&quot; &quot;">
                  <c:v>41.71</c:v>
                </c:pt>
                <c:pt idx="515" formatCode="#,##0_);\(#,##0\);&quot;-  &quot;;&quot; &quot;@&quot; &quot;">
                  <c:v>41.884999999999998</c:v>
                </c:pt>
                <c:pt idx="516" formatCode="#,##0_);\(#,##0\);&quot;-  &quot;;&quot; &quot;@&quot; &quot;">
                  <c:v>41.784999999999997</c:v>
                </c:pt>
                <c:pt idx="517" formatCode="#,##0_);\(#,##0\);&quot;-  &quot;;&quot; &quot;@&quot; &quot;">
                  <c:v>39.76</c:v>
                </c:pt>
                <c:pt idx="518" formatCode="#,##0_);\(#,##0\);&quot;-  &quot;;&quot; &quot;@&quot; &quot;">
                  <c:v>39.619999999999997</c:v>
                </c:pt>
                <c:pt idx="519" formatCode="#,##0_);\(#,##0\);&quot;-  &quot;;&quot; &quot;@&quot; &quot;">
                  <c:v>39.104999999999997</c:v>
                </c:pt>
                <c:pt idx="520" formatCode="#,##0_);\(#,##0\);&quot;-  &quot;;&quot; &quot;@&quot; &quot;">
                  <c:v>38.61</c:v>
                </c:pt>
                <c:pt idx="521" formatCode="#,##0_);\(#,##0\);&quot;-  &quot;;&quot; &quot;@&quot; &quot;">
                  <c:v>37.125</c:v>
                </c:pt>
                <c:pt idx="522" formatCode="#,##0_);\(#,##0\);&quot;-  &quot;;&quot; &quot;@&quot; &quot;">
                  <c:v>36.799999999999997</c:v>
                </c:pt>
                <c:pt idx="523" formatCode="#,##0_);\(#,##0\);&quot;-  &quot;;&quot; &quot;@&quot; &quot;">
                  <c:v>38.020000000000003</c:v>
                </c:pt>
                <c:pt idx="524" formatCode="#,##0_);\(#,##0\);&quot;-  &quot;;&quot; &quot;@&quot; &quot;">
                  <c:v>36.935000000000002</c:v>
                </c:pt>
                <c:pt idx="525" formatCode="#,##0_);\(#,##0\);&quot;-  &quot;;&quot; &quot;@&quot; &quot;">
                  <c:v>36.65</c:v>
                </c:pt>
                <c:pt idx="526" formatCode="#,##0_);\(#,##0\);&quot;-  &quot;;&quot; &quot;@&quot; &quot;">
                  <c:v>37.28</c:v>
                </c:pt>
                <c:pt idx="527" formatCode="#,##0_);\(#,##0\);&quot;-  &quot;;&quot; &quot;@&quot; &quot;">
                  <c:v>35.76</c:v>
                </c:pt>
                <c:pt idx="528" formatCode="#,##0_);\(#,##0\);&quot;-  &quot;;&quot; &quot;@&quot; &quot;">
                  <c:v>35.634999999999998</c:v>
                </c:pt>
                <c:pt idx="529" formatCode="#,##0_);\(#,##0\);&quot;-  &quot;;&quot; &quot;@&quot; &quot;">
                  <c:v>36.445</c:v>
                </c:pt>
                <c:pt idx="530" formatCode="#,##0_);\(#,##0\);&quot;-  &quot;;&quot; &quot;@&quot; &quot;">
                  <c:v>37.075000000000003</c:v>
                </c:pt>
                <c:pt idx="531" formatCode="#,##0_);\(#,##0\);&quot;-  &quot;;&quot; &quot;@&quot; &quot;">
                  <c:v>37.134999999999998</c:v>
                </c:pt>
                <c:pt idx="532" formatCode="#,##0_);\(#,##0\);&quot;-  &quot;;&quot; &quot;@&quot; &quot;">
                  <c:v>37.134999999999998</c:v>
                </c:pt>
                <c:pt idx="533" formatCode="#,##0_);\(#,##0\);&quot;-  &quot;;&quot; &quot;@&quot; &quot;">
                  <c:v>36.090000000000003</c:v>
                </c:pt>
                <c:pt idx="534" formatCode="#,##0_);\(#,##0\);&quot;-  &quot;;&quot; &quot;@&quot; &quot;">
                  <c:v>35.74</c:v>
                </c:pt>
                <c:pt idx="535" formatCode="#,##0_);\(#,##0\);&quot;-  &quot;;&quot; &quot;@&quot; &quot;">
                  <c:v>36.53</c:v>
                </c:pt>
                <c:pt idx="536" formatCode="#,##0_);\(#,##0\);&quot;-  &quot;;&quot; &quot;@&quot; &quot;">
                  <c:v>35.524999999999999</c:v>
                </c:pt>
                <c:pt idx="537" formatCode="#,##0_);\(#,##0\);&quot;-  &quot;;&quot; &quot;@&quot; &quot;">
                  <c:v>33.82</c:v>
                </c:pt>
                <c:pt idx="538" formatCode="#,##0_);\(#,##0\);&quot;-  &quot;;&quot; &quot;@&quot; &quot;">
                  <c:v>33.655000000000001</c:v>
                </c:pt>
                <c:pt idx="539" formatCode="#,##0_);\(#,##0\);&quot;-  &quot;;&quot; &quot;@&quot; &quot;">
                  <c:v>31.695</c:v>
                </c:pt>
                <c:pt idx="540" formatCode="#,##0_);\(#,##0\);&quot;-  &quot;;&quot; &quot;@&quot; &quot;">
                  <c:v>30.05</c:v>
                </c:pt>
                <c:pt idx="541" formatCode="#,##0_);\(#,##0\);&quot;-  &quot;;&quot; &quot;@&quot; &quot;">
                  <c:v>29.25</c:v>
                </c:pt>
                <c:pt idx="542" formatCode="#,##0_);\(#,##0\);&quot;-  &quot;;&quot; &quot;@&quot; &quot;">
                  <c:v>28.885000000000002</c:v>
                </c:pt>
                <c:pt idx="543" formatCode="#,##0_);\(#,##0\);&quot;-  &quot;;&quot; &quot;@&quot; &quot;">
                  <c:v>28.835000000000001</c:v>
                </c:pt>
                <c:pt idx="544" formatCode="#,##0_);\(#,##0\);&quot;-  &quot;;&quot; &quot;@&quot; &quot;">
                  <c:v>28.07</c:v>
                </c:pt>
                <c:pt idx="545" formatCode="#,##0_);\(#,##0\);&quot;-  &quot;;&quot; &quot;@&quot; &quot;">
                  <c:v>27.23</c:v>
                </c:pt>
                <c:pt idx="546" formatCode="#,##0_);\(#,##0\);&quot;-  &quot;;&quot; &quot;@&quot; &quot;">
                  <c:v>28.01</c:v>
                </c:pt>
                <c:pt idx="547" formatCode="#,##0_);\(#,##0\);&quot;-  &quot;;&quot; &quot;@&quot; &quot;">
                  <c:v>25.984999999999999</c:v>
                </c:pt>
                <c:pt idx="548" formatCode="#,##0_);\(#,##0\);&quot;-  &quot;;&quot; &quot;@&quot; &quot;">
                  <c:v>27.625</c:v>
                </c:pt>
                <c:pt idx="549" formatCode="#,##0_);\(#,##0\);&quot;-  &quot;;&quot; &quot;@&quot; &quot;">
                  <c:v>30.21</c:v>
                </c:pt>
                <c:pt idx="550" formatCode="#,##0_);\(#,##0\);&quot;-  &quot;;&quot; &quot;@&quot; &quot;">
                  <c:v>29.83</c:v>
                </c:pt>
                <c:pt idx="551" formatCode="#,##0_);\(#,##0\);&quot;-  &quot;;&quot; &quot;@&quot; &quot;">
                  <c:v>30.99</c:v>
                </c:pt>
                <c:pt idx="552" formatCode="#,##0_);\(#,##0\);&quot;-  &quot;;&quot; &quot;@&quot; &quot;">
                  <c:v>31.515000000000001</c:v>
                </c:pt>
                <c:pt idx="553" formatCode="#,##0_);\(#,##0\);&quot;-  &quot;;&quot; &quot;@&quot; &quot;">
                  <c:v>33.064999999999998</c:v>
                </c:pt>
                <c:pt idx="554" formatCode="#,##0_);\(#,##0\);&quot;-  &quot;;&quot; &quot;@&quot; &quot;">
                  <c:v>33.11</c:v>
                </c:pt>
                <c:pt idx="555" formatCode="#,##0_);\(#,##0\);&quot;-  &quot;;&quot; &quot;@&quot; &quot;">
                  <c:v>32.74</c:v>
                </c:pt>
                <c:pt idx="556" formatCode="#,##0_);\(#,##0\);&quot;-  &quot;;&quot; &quot;@&quot; &quot;">
                  <c:v>31.34</c:v>
                </c:pt>
                <c:pt idx="557" formatCode="#,##0_);\(#,##0\);&quot;-  &quot;;&quot; &quot;@&quot; &quot;">
                  <c:v>32.524999999999999</c:v>
                </c:pt>
                <c:pt idx="558" formatCode="#,##0_);\(#,##0\);&quot;-  &quot;;&quot; &quot;@&quot; &quot;">
                  <c:v>33.005000000000003</c:v>
                </c:pt>
                <c:pt idx="559" formatCode="#,##0_);\(#,##0\);&quot;-  &quot;;&quot; &quot;@&quot; &quot;">
                  <c:v>32.634999999999998</c:v>
                </c:pt>
                <c:pt idx="560" formatCode="#,##0_);\(#,##0\);&quot;-  &quot;;&quot; &quot;@&quot; &quot;">
                  <c:v>32</c:v>
                </c:pt>
                <c:pt idx="561" formatCode="#,##0_);\(#,##0\);&quot;-  &quot;;&quot; &quot;@&quot; &quot;">
                  <c:v>30.27</c:v>
                </c:pt>
                <c:pt idx="562" formatCode="#,##0_);\(#,##0\);&quot;-  &quot;;&quot; &quot;@&quot; &quot;">
                  <c:v>29.49</c:v>
                </c:pt>
                <c:pt idx="563" formatCode="#,##0_);\(#,##0\);&quot;-  &quot;;&quot; &quot;@&quot; &quot;">
                  <c:v>28.66</c:v>
                </c:pt>
                <c:pt idx="564" formatCode="#,##0_);\(#,##0\);&quot;-  &quot;;&quot; &quot;@&quot; &quot;">
                  <c:v>31.574999999999999</c:v>
                </c:pt>
                <c:pt idx="565" formatCode="#,##0_);\(#,##0\);&quot;-  &quot;;&quot; &quot;@&quot; &quot;">
                  <c:v>32.68</c:v>
                </c:pt>
                <c:pt idx="566" formatCode="#,##0_);\(#,##0\);&quot;-  &quot;;&quot; &quot;@&quot; &quot;">
                  <c:v>31.375</c:v>
                </c:pt>
                <c:pt idx="567" formatCode="#,##0_);\(#,##0\);&quot;-  &quot;;&quot; &quot;@&quot; &quot;">
                  <c:v>33.715000000000003</c:v>
                </c:pt>
                <c:pt idx="568" formatCode="#,##0_);\(#,##0\);&quot;-  &quot;;&quot; &quot;@&quot; &quot;">
                  <c:v>33.57</c:v>
                </c:pt>
                <c:pt idx="569" formatCode="#,##0_);\(#,##0\);&quot;-  &quot;;&quot; &quot;@&quot; &quot;">
                  <c:v>32.14</c:v>
                </c:pt>
                <c:pt idx="570" formatCode="#,##0_);\(#,##0\);&quot;-  &quot;;&quot; &quot;@&quot; &quot;">
                  <c:v>34.35</c:v>
                </c:pt>
                <c:pt idx="571" formatCode="#,##0_);\(#,##0\);&quot;-  &quot;;&quot; &quot;@&quot; &quot;">
                  <c:v>32.384999999999998</c:v>
                </c:pt>
                <c:pt idx="572" formatCode="#,##0_);\(#,##0\);&quot;-  &quot;;&quot; &quot;@&quot; &quot;">
                  <c:v>32.31</c:v>
                </c:pt>
                <c:pt idx="573" formatCode="#,##0_);\(#,##0\);&quot;-  &quot;;&quot; &quot;@&quot; &quot;">
                  <c:v>33.369999999999997</c:v>
                </c:pt>
                <c:pt idx="574" formatCode="#,##0_);\(#,##0\);&quot;-  &quot;;&quot; &quot;@&quot; &quot;">
                  <c:v>36.125</c:v>
                </c:pt>
                <c:pt idx="575" formatCode="#,##0_);\(#,##0\);&quot;-  &quot;;&quot; &quot;@&quot; &quot;">
                  <c:v>35.79</c:v>
                </c:pt>
                <c:pt idx="576" formatCode="#,##0_);\(#,##0\);&quot;-  &quot;;&quot; &quot;@&quot; &quot;">
                  <c:v>35.555</c:v>
                </c:pt>
                <c:pt idx="577" formatCode="#,##0_);\(#,##0\);&quot;-  &quot;;&quot; &quot;@&quot; &quot;">
                  <c:v>36.4</c:v>
                </c:pt>
                <c:pt idx="578" formatCode="#,##0_);\(#,##0\);&quot;-  &quot;;&quot; &quot;@&quot; &quot;">
                  <c:v>35.895000000000003</c:v>
                </c:pt>
                <c:pt idx="579" formatCode="#,##0_);\(#,##0\);&quot;-  &quot;;&quot; &quot;@&quot; &quot;">
                  <c:v>37.270000000000003</c:v>
                </c:pt>
                <c:pt idx="580" formatCode="#,##0_);\(#,##0\);&quot;-  &quot;;&quot; &quot;@&quot; &quot;">
                  <c:v>39.020000000000003</c:v>
                </c:pt>
                <c:pt idx="581" formatCode="#,##0_);\(#,##0\);&quot;-  &quot;;&quot; &quot;@&quot; &quot;">
                  <c:v>39.115000000000002</c:v>
                </c:pt>
                <c:pt idx="582" formatCode="#,##0_);\(#,##0\);&quot;-  &quot;;&quot; &quot;@&quot; &quot;">
                  <c:v>39.905000000000001</c:v>
                </c:pt>
                <c:pt idx="583" formatCode="#,##0_);\(#,##0\);&quot;-  &quot;;&quot; &quot;@&quot; &quot;">
                  <c:v>38.585000000000001</c:v>
                </c:pt>
                <c:pt idx="584" formatCode="#,##0_);\(#,##0\);&quot;-  &quot;;&quot; &quot;@&quot; &quot;">
                  <c:v>39.18</c:v>
                </c:pt>
                <c:pt idx="585" formatCode="#,##0_);\(#,##0\);&quot;-  &quot;;&quot; &quot;@&quot; &quot;">
                  <c:v>37.89</c:v>
                </c:pt>
                <c:pt idx="586" formatCode="#,##0_);\(#,##0\);&quot;-  &quot;;&quot; &quot;@&quot; &quot;">
                  <c:v>37.42</c:v>
                </c:pt>
                <c:pt idx="587" formatCode="#,##0_);\(#,##0\);&quot;-  &quot;;&quot; &quot;@&quot; &quot;">
                  <c:v>38.704999999999998</c:v>
                </c:pt>
                <c:pt idx="588" formatCode="#,##0_);\(#,##0\);&quot;-  &quot;;&quot; &quot;@&quot; &quot;">
                  <c:v>40.034999999999997</c:v>
                </c:pt>
                <c:pt idx="589" formatCode="#,##0_);\(#,##0\);&quot;-  &quot;;&quot; &quot;@&quot; &quot;">
                  <c:v>40.24</c:v>
                </c:pt>
                <c:pt idx="590" formatCode="#,##0_);\(#,##0\);&quot;-  &quot;;&quot; &quot;@&quot; &quot;">
                  <c:v>40.234999999999999</c:v>
                </c:pt>
                <c:pt idx="591" formatCode="#,##0_);\(#,##0\);&quot;-  &quot;;&quot; &quot;@&quot; &quot;">
                  <c:v>40.159999999999997</c:v>
                </c:pt>
                <c:pt idx="592" formatCode="#,##0_);\(#,##0\);&quot;-  &quot;;&quot; &quot;@&quot; &quot;">
                  <c:v>39.255000000000003</c:v>
                </c:pt>
                <c:pt idx="593" formatCode="#,##0_);\(#,##0\);&quot;-  &quot;;&quot; &quot;@&quot; &quot;">
                  <c:v>38.520000000000003</c:v>
                </c:pt>
                <c:pt idx="594" formatCode="#,##0_);\(#,##0\);&quot;-  &quot;;&quot; &quot;@&quot; &quot;">
                  <c:v>37.51</c:v>
                </c:pt>
                <c:pt idx="595" formatCode="#,##0_);\(#,##0\);&quot;-  &quot;;&quot; &quot;@&quot; &quot;">
                  <c:v>37.51</c:v>
                </c:pt>
                <c:pt idx="596" formatCode="#,##0_);\(#,##0\);&quot;-  &quot;;&quot; &quot;@&quot; &quot;">
                  <c:v>38.700000000000003</c:v>
                </c:pt>
                <c:pt idx="597" formatCode="#,##0_);\(#,##0\);&quot;-  &quot;;&quot; &quot;@&quot; &quot;">
                  <c:v>38.700000000000003</c:v>
                </c:pt>
                <c:pt idx="598" formatCode="#,##0_);\(#,##0\);&quot;-  &quot;;&quot; &quot;@&quot; &quot;">
                  <c:v>36.494999999999997</c:v>
                </c:pt>
                <c:pt idx="599" formatCode="#,##0_);\(#,##0\);&quot;-  &quot;;&quot; &quot;@&quot; &quot;">
                  <c:v>36.18</c:v>
                </c:pt>
                <c:pt idx="600" formatCode="#,##0_);\(#,##0\);&quot;-  &quot;;&quot; &quot;@&quot; &quot;">
                  <c:v>36.06</c:v>
                </c:pt>
                <c:pt idx="601" formatCode="#,##0_);\(#,##0\);&quot;-  &quot;;&quot; &quot;@&quot; &quot;">
                  <c:v>37.484999999999999</c:v>
                </c:pt>
                <c:pt idx="602" formatCode="#,##0_);\(#,##0\);&quot;-  &quot;;&quot; &quot;@&quot; &quot;">
                  <c:v>37.075000000000003</c:v>
                </c:pt>
                <c:pt idx="603" formatCode="#,##0_);\(#,##0\);&quot;-  &quot;;&quot; &quot;@&quot; &quot;">
                  <c:v>40.515000000000001</c:v>
                </c:pt>
                <c:pt idx="604" formatCode="#,##0_);\(#,##0\);&quot;-  &quot;;&quot; &quot;@&quot; &quot;">
                  <c:v>41.4</c:v>
                </c:pt>
                <c:pt idx="605" formatCode="#,##0_);\(#,##0\);&quot;-  &quot;;&quot; &quot;@&quot; &quot;">
                  <c:v>42.93</c:v>
                </c:pt>
                <c:pt idx="606" formatCode="#,##0_);\(#,##0\);&quot;-  &quot;;&quot; &quot;@&quot; &quot;">
                  <c:v>42.755000000000003</c:v>
                </c:pt>
                <c:pt idx="607" formatCode="#,##0_);\(#,##0\);&quot;-  &quot;;&quot; &quot;@&quot; &quot;">
                  <c:v>42.814999999999998</c:v>
                </c:pt>
                <c:pt idx="608" formatCode="#,##0_);\(#,##0\);&quot;-  &quot;;&quot; &quot;@&quot; &quot;">
                  <c:v>41.49</c:v>
                </c:pt>
                <c:pt idx="609" formatCode="#,##0_);\(#,##0\);&quot;-  &quot;;&quot; &quot;@&quot; &quot;">
                  <c:v>41.604999999999997</c:v>
                </c:pt>
                <c:pt idx="610" formatCode="#,##0_);\(#,##0\);&quot;-  &quot;;&quot; &quot;@&quot; &quot;">
                  <c:v>42.454999999999998</c:v>
                </c:pt>
                <c:pt idx="611" formatCode="#,##0_);\(#,##0\);&quot;-  &quot;;&quot; &quot;@&quot; &quot;">
                  <c:v>42.82</c:v>
                </c:pt>
                <c:pt idx="612" formatCode="#,##0_);\(#,##0\);&quot;-  &quot;;&quot; &quot;@&quot; &quot;">
                  <c:v>43.19</c:v>
                </c:pt>
                <c:pt idx="613" formatCode="#,##0_);\(#,##0\);&quot;-  &quot;;&quot; &quot;@&quot; &quot;">
                  <c:v>43.814999999999998</c:v>
                </c:pt>
                <c:pt idx="614" formatCode="#,##0_);\(#,##0\);&quot;-  &quot;;&quot; &quot;@&quot; &quot;">
                  <c:v>43.21</c:v>
                </c:pt>
                <c:pt idx="615" formatCode="#,##0_);\(#,##0\);&quot;-  &quot;;&quot; &quot;@&quot; &quot;">
                  <c:v>43.634999999999998</c:v>
                </c:pt>
                <c:pt idx="616" formatCode="#,##0_);\(#,##0\);&quot;-  &quot;;&quot; &quot;@&quot; &quot;">
                  <c:v>44.1</c:v>
                </c:pt>
                <c:pt idx="617" formatCode="#,##0_);\(#,##0\);&quot;-  &quot;;&quot; &quot;@&quot; &quot;">
                  <c:v>45.61</c:v>
                </c:pt>
                <c:pt idx="618" formatCode="#,##0_);\(#,##0\);&quot;-  &quot;;&quot; &quot;@&quot; &quot;">
                  <c:v>45.475000000000001</c:v>
                </c:pt>
                <c:pt idx="619" formatCode="#,##0_);\(#,##0\);&quot;-  &quot;;&quot; &quot;@&quot; &quot;">
                  <c:v>43.17</c:v>
                </c:pt>
                <c:pt idx="620" formatCode="#,##0_);\(#,##0\);&quot;-  &quot;;&quot; &quot;@&quot; &quot;">
                  <c:v>43.17</c:v>
                </c:pt>
                <c:pt idx="621" formatCode="#,##0_);\(#,##0\);&quot;-  &quot;;&quot; &quot;@&quot; &quot;">
                  <c:v>43.055</c:v>
                </c:pt>
                <c:pt idx="622" formatCode="#,##0_);\(#,##0\);&quot;-  &quot;;&quot; &quot;@&quot; &quot;">
                  <c:v>44.365000000000002</c:v>
                </c:pt>
                <c:pt idx="623" formatCode="#,##0_);\(#,##0\);&quot;-  &quot;;&quot; &quot;@&quot; &quot;">
                  <c:v>44.62</c:v>
                </c:pt>
                <c:pt idx="624" formatCode="#,##0_);\(#,##0\);&quot;-  &quot;;&quot; &quot;@&quot; &quot;">
                  <c:v>42.42</c:v>
                </c:pt>
                <c:pt idx="625" formatCode="#,##0_);\(#,##0\);&quot;-  &quot;;&quot; &quot;@&quot; &quot;">
                  <c:v>44.02</c:v>
                </c:pt>
                <c:pt idx="626" formatCode="#,##0_);\(#,##0\);&quot;-  &quot;;&quot; &quot;@&quot; &quot;">
                  <c:v>46.06</c:v>
                </c:pt>
                <c:pt idx="627" formatCode="#,##0_);\(#,##0\);&quot;-  &quot;;&quot; &quot;@&quot; &quot;">
                  <c:v>46.524999999999999</c:v>
                </c:pt>
                <c:pt idx="628" formatCode="#,##0_);\(#,##0\);&quot;-  &quot;;&quot; &quot;@&quot; &quot;">
                  <c:v>47.435000000000002</c:v>
                </c:pt>
                <c:pt idx="629" formatCode="#,##0_);\(#,##0\);&quot;-  &quot;;&quot; &quot;@&quot; &quot;">
                  <c:v>48.6</c:v>
                </c:pt>
                <c:pt idx="630" formatCode="#,##0_);\(#,##0\);&quot;-  &quot;;&quot; &quot;@&quot; &quot;">
                  <c:v>48.954999999999998</c:v>
                </c:pt>
                <c:pt idx="631" formatCode="#,##0_);\(#,##0\);&quot;-  &quot;;&quot; &quot;@&quot; &quot;">
                  <c:v>49.25</c:v>
                </c:pt>
                <c:pt idx="632" formatCode="#,##0_);\(#,##0\);&quot;-  &quot;;&quot; &quot;@&quot; &quot;">
                  <c:v>47.49</c:v>
                </c:pt>
                <c:pt idx="633" formatCode="#,##0_);\(#,##0\);&quot;-  &quot;;&quot; &quot;@&quot; &quot;">
                  <c:v>48.545000000000002</c:v>
                </c:pt>
                <c:pt idx="634" formatCode="#,##0_);\(#,##0\);&quot;-  &quot;;&quot; &quot;@&quot; &quot;">
                  <c:v>47.91</c:v>
                </c:pt>
                <c:pt idx="635" formatCode="#,##0_);\(#,##0\);&quot;-  &quot;;&quot; &quot;@&quot; &quot;">
                  <c:v>48.48</c:v>
                </c:pt>
                <c:pt idx="636" formatCode="#,##0_);\(#,##0\);&quot;-  &quot;;&quot; &quot;@&quot; &quot;">
                  <c:v>48.77</c:v>
                </c:pt>
                <c:pt idx="637" formatCode="#,##0_);\(#,##0\);&quot;-  &quot;;&quot; &quot;@&quot; &quot;">
                  <c:v>49.51</c:v>
                </c:pt>
                <c:pt idx="638" formatCode="#,##0_);\(#,##0\);&quot;-  &quot;;&quot; &quot;@&quot; &quot;">
                  <c:v>49.075000000000003</c:v>
                </c:pt>
                <c:pt idx="639" formatCode="#,##0_);\(#,##0\);&quot;-  &quot;;&quot; &quot;@&quot; &quot;">
                  <c:v>49.25</c:v>
                </c:pt>
                <c:pt idx="640" formatCode="#,##0_);\(#,##0\);&quot;-  &quot;;&quot; &quot;@&quot; &quot;">
                  <c:v>48.145000000000003</c:v>
                </c:pt>
                <c:pt idx="641" formatCode="#,##0_);\(#,##0\);&quot;-  &quot;;&quot; &quot;@&quot; &quot;">
                  <c:v>48.395000000000003</c:v>
                </c:pt>
                <c:pt idx="642" formatCode="#,##0_);\(#,##0\);&quot;-  &quot;;&quot; &quot;@&quot; &quot;">
                  <c:v>48.164999999999999</c:v>
                </c:pt>
                <c:pt idx="643" formatCode="#,##0_);\(#,##0\);&quot;-  &quot;;&quot; &quot;@&quot; &quot;">
                  <c:v>49.01</c:v>
                </c:pt>
                <c:pt idx="644" formatCode="#,##0_);\(#,##0\);&quot;-  &quot;;&quot; &quot;@&quot; &quot;">
                  <c:v>49.685000000000002</c:v>
                </c:pt>
                <c:pt idx="645" formatCode="#,##0_);\(#,##0\);&quot;-  &quot;;&quot; &quot;@&quot; &quot;">
                  <c:v>50.715000000000003</c:v>
                </c:pt>
                <c:pt idx="646" formatCode="#,##0_);\(#,##0\);&quot;-  &quot;;&quot; &quot;@&quot; &quot;">
                  <c:v>50.625</c:v>
                </c:pt>
                <c:pt idx="647" formatCode="#,##0_);\(#,##0\);&quot;-  &quot;;&quot; &quot;@&quot; &quot;">
                  <c:v>49.615000000000002</c:v>
                </c:pt>
                <c:pt idx="648" formatCode="#,##0_);\(#,##0\);&quot;-  &quot;;&quot; &quot;@&quot; &quot;">
                  <c:v>49.16</c:v>
                </c:pt>
                <c:pt idx="649" formatCode="#,##0_);\(#,##0\);&quot;-  &quot;;&quot; &quot;@&quot; &quot;">
                  <c:v>47.94</c:v>
                </c:pt>
                <c:pt idx="650" formatCode="#,##0_);\(#,##0\);&quot;-  &quot;;&quot; &quot;@&quot; &quot;">
                  <c:v>47.62</c:v>
                </c:pt>
                <c:pt idx="651" formatCode="#,##0_);\(#,##0\);&quot;-  &quot;;&quot; &quot;@&quot; &quot;">
                  <c:v>45.94</c:v>
                </c:pt>
                <c:pt idx="652" formatCode="#,##0_);\(#,##0\);&quot;-  &quot;;&quot; &quot;@&quot; &quot;">
                  <c:v>46.72</c:v>
                </c:pt>
                <c:pt idx="653" formatCode="#,##0_);\(#,##0\);&quot;-  &quot;;&quot; &quot;@&quot; &quot;">
                  <c:v>48.8</c:v>
                </c:pt>
                <c:pt idx="654" formatCode="#,##0_);\(#,##0\);&quot;-  &quot;;&quot; &quot;@&quot; &quot;">
                  <c:v>48.32</c:v>
                </c:pt>
                <c:pt idx="655" formatCode="#,##0_);\(#,##0\);&quot;-  &quot;;&quot; &quot;@&quot; &quot;">
                  <c:v>48.465000000000003</c:v>
                </c:pt>
                <c:pt idx="656" formatCode="#,##0_);\(#,##0\);&quot;-  &quot;;&quot; &quot;@&quot; &quot;">
                  <c:v>48.89</c:v>
                </c:pt>
                <c:pt idx="657" formatCode="#,##0_);\(#,##0\);&quot;-  &quot;;&quot; &quot;@&quot; &quot;">
                  <c:v>47.48</c:v>
                </c:pt>
                <c:pt idx="658" formatCode="#,##0_);\(#,##0\);&quot;-  &quot;;&quot; &quot;@&quot; &quot;">
                  <c:v>45.87</c:v>
                </c:pt>
                <c:pt idx="659" formatCode="#,##0_);\(#,##0\);&quot;-  &quot;;&quot; &quot;@&quot; &quot;">
                  <c:v>46.58</c:v>
                </c:pt>
                <c:pt idx="660" formatCode="#,##0_);\(#,##0\);&quot;-  &quot;;&quot; &quot;@&quot; &quot;">
                  <c:v>48.884999999999998</c:v>
                </c:pt>
                <c:pt idx="661" formatCode="#,##0_);\(#,##0\);&quot;-  &quot;;&quot; &quot;@&quot; &quot;">
                  <c:v>48.44</c:v>
                </c:pt>
                <c:pt idx="662" formatCode="#,##0_);\(#,##0\);&quot;-  &quot;;&quot; &quot;@&quot; &quot;">
                  <c:v>48.06</c:v>
                </c:pt>
                <c:pt idx="663" formatCode="#,##0_);\(#,##0\);&quot;-  &quot;;&quot; &quot;@&quot; &quot;">
                  <c:v>48.01</c:v>
                </c:pt>
                <c:pt idx="664" formatCode="#,##0_);\(#,##0\);&quot;-  &quot;;&quot; &quot;@&quot; &quot;">
                  <c:v>45.81</c:v>
                </c:pt>
                <c:pt idx="665" formatCode="#,##0_);\(#,##0\);&quot;-  &quot;;&quot; &quot;@&quot; &quot;">
                  <c:v>45.454999999999998</c:v>
                </c:pt>
                <c:pt idx="666" formatCode="#,##0_);\(#,##0\);&quot;-  &quot;;&quot; &quot;@&quot; &quot;">
                  <c:v>45.86</c:v>
                </c:pt>
                <c:pt idx="667" formatCode="#,##0_);\(#,##0\);&quot;-  &quot;;&quot; &quot;@&quot; &quot;">
                  <c:v>44.615000000000002</c:v>
                </c:pt>
                <c:pt idx="668" formatCode="#,##0_);\(#,##0\);&quot;-  &quot;;&quot; &quot;@&quot; &quot;">
                  <c:v>44.734999999999999</c:v>
                </c:pt>
                <c:pt idx="669" formatCode="#,##0_);\(#,##0\);&quot;-  &quot;;&quot; &quot;@&quot; &quot;">
                  <c:v>46.09</c:v>
                </c:pt>
                <c:pt idx="670" formatCode="#,##0_);\(#,##0\);&quot;-  &quot;;&quot; &quot;@&quot; &quot;">
                  <c:v>44.78</c:v>
                </c:pt>
                <c:pt idx="671" formatCode="#,##0_);\(#,##0\);&quot;-  &quot;;&quot; &quot;@&quot; &quot;">
                  <c:v>46.11</c:v>
                </c:pt>
                <c:pt idx="672" formatCode="#,##0_);\(#,##0\);&quot;-  &quot;;&quot; &quot;@&quot; &quot;">
                  <c:v>46.55</c:v>
                </c:pt>
                <c:pt idx="673" formatCode="#,##0_);\(#,##0\);&quot;-  &quot;;&quot; &quot;@&quot; &quot;">
                  <c:v>45.71</c:v>
                </c:pt>
                <c:pt idx="674" formatCode="#,##0_);\(#,##0\);&quot;-  &quot;;&quot; &quot;@&quot; &quot;">
                  <c:v>45.75</c:v>
                </c:pt>
                <c:pt idx="675" formatCode="#,##0_);\(#,##0\);&quot;-  &quot;;&quot; &quot;@&quot; &quot;">
                  <c:v>45.98</c:v>
                </c:pt>
                <c:pt idx="676" formatCode="#,##0_);\(#,##0\);&quot;-  &quot;;&quot; &quot;@&quot; &quot;">
                  <c:v>45.585000000000001</c:v>
                </c:pt>
                <c:pt idx="677" formatCode="#,##0_);\(#,##0\);&quot;-  &quot;;&quot; &quot;@&quot; &quot;">
                  <c:v>44.14</c:v>
                </c:pt>
                <c:pt idx="678" formatCode="#,##0_);\(#,##0\);&quot;-  &quot;;&quot; &quot;@&quot; &quot;">
                  <c:v>43.765000000000001</c:v>
                </c:pt>
                <c:pt idx="679" formatCode="#,##0_);\(#,##0\);&quot;-  &quot;;&quot; &quot;@&quot; &quot;">
                  <c:v>43.63</c:v>
                </c:pt>
                <c:pt idx="680" formatCode="#,##0_);\(#,##0\);&quot;-  &quot;;&quot; &quot;@&quot; &quot;">
                  <c:v>42.984999999999999</c:v>
                </c:pt>
                <c:pt idx="681" formatCode="#,##0_);\(#,##0\);&quot;-  &quot;;&quot; &quot;@&quot; &quot;">
                  <c:v>41.89</c:v>
                </c:pt>
                <c:pt idx="682" formatCode="#,##0_);\(#,##0\);&quot;-  &quot;;&quot; &quot;@&quot; &quot;">
                  <c:v>41.62</c:v>
                </c:pt>
                <c:pt idx="683" formatCode="#,##0_);\(#,##0\);&quot;-  &quot;;&quot; &quot;@&quot; &quot;">
                  <c:v>40.26</c:v>
                </c:pt>
                <c:pt idx="684" formatCode="#,##0_);\(#,##0\);&quot;-  &quot;;&quot; &quot;@&quot; &quot;">
                  <c:v>40.295000000000002</c:v>
                </c:pt>
                <c:pt idx="685" formatCode="#,##0_);\(#,##0\);&quot;-  &quot;;&quot; &quot;@&quot; &quot;">
                  <c:v>40.715000000000003</c:v>
                </c:pt>
                <c:pt idx="686" formatCode="#,##0_);\(#,##0\);&quot;-  &quot;;&quot; &quot;@&quot; &quot;">
                  <c:v>41.69</c:v>
                </c:pt>
                <c:pt idx="687" formatCode="#,##0_);\(#,##0\);&quot;-  &quot;;&quot; &quot;@&quot; &quot;">
                  <c:v>42.01</c:v>
                </c:pt>
                <c:pt idx="688" formatCode="#,##0_);\(#,##0\);&quot;-  &quot;;&quot; &quot;@&quot; &quot;">
                  <c:v>43.63</c:v>
                </c:pt>
                <c:pt idx="689" formatCode="#,##0_);\(#,##0\);&quot;-  &quot;;&quot; &quot;@&quot; &quot;">
                  <c:v>43.655000000000001</c:v>
                </c:pt>
                <c:pt idx="690" formatCode="#,##0_);\(#,##0\);&quot;-  &quot;;&quot; &quot;@&quot; &quot;">
                  <c:v>42.69</c:v>
                </c:pt>
                <c:pt idx="691" formatCode="#,##0_);\(#,##0\);&quot;-  &quot;;&quot; &quot;@&quot; &quot;">
                  <c:v>44.36</c:v>
                </c:pt>
                <c:pt idx="692" formatCode="#,##0_);\(#,##0\);&quot;-  &quot;;&quot; &quot;@&quot; &quot;">
                  <c:v>45.484999999999999</c:v>
                </c:pt>
                <c:pt idx="693" formatCode="#,##0_);\(#,##0\);&quot;-  &quot;;&quot; &quot;@&quot; &quot;">
                  <c:v>47.24</c:v>
                </c:pt>
                <c:pt idx="694" formatCode="#,##0_);\(#,##0\);&quot;-  &quot;;&quot; &quot;@&quot; &quot;">
                  <c:v>48.284999999999997</c:v>
                </c:pt>
                <c:pt idx="695" formatCode="#,##0_);\(#,##0\);&quot;-  &quot;;&quot; &quot;@&quot; &quot;">
                  <c:v>48.674999999999997</c:v>
                </c:pt>
                <c:pt idx="696" formatCode="#,##0_);\(#,##0\);&quot;-  &quot;;&quot; &quot;@&quot; &quot;">
                  <c:v>49.77</c:v>
                </c:pt>
                <c:pt idx="697" formatCode="#,##0_);\(#,##0\);&quot;-  &quot;;&quot; &quot;@&quot; &quot;">
                  <c:v>49.7</c:v>
                </c:pt>
                <c:pt idx="698" formatCode="#,##0_);\(#,##0\);&quot;-  &quot;;&quot; &quot;@&quot; &quot;">
                  <c:v>48.55</c:v>
                </c:pt>
                <c:pt idx="699" formatCode="#,##0_);\(#,##0\);&quot;-  &quot;;&quot; &quot;@&quot; &quot;">
                  <c:v>49.24</c:v>
                </c:pt>
                <c:pt idx="700" formatCode="#,##0_);\(#,##0\);&quot;-  &quot;;&quot; &quot;@&quot; &quot;">
                  <c:v>48.11</c:v>
                </c:pt>
                <c:pt idx="701" formatCode="#,##0_);\(#,##0\);&quot;-  &quot;;&quot; &quot;@&quot; &quot;">
                  <c:v>49.125</c:v>
                </c:pt>
                <c:pt idx="702" formatCode="#,##0_);\(#,##0\);&quot;-  &quot;;&quot; &quot;@&quot; &quot;">
                  <c:v>49.54</c:v>
                </c:pt>
                <c:pt idx="703" formatCode="#,##0_);\(#,##0\);&quot;-  &quot;;&quot; &quot;@&quot; &quot;">
                  <c:v>47.68</c:v>
                </c:pt>
                <c:pt idx="704" formatCode="#,##0_);\(#,##0\);&quot;-  &quot;;&quot; &quot;@&quot; &quot;">
                  <c:v>47.68</c:v>
                </c:pt>
                <c:pt idx="705" formatCode="#,##0_);\(#,##0\);&quot;-  &quot;;&quot; &quot;@&quot; &quot;">
                  <c:v>46.27</c:v>
                </c:pt>
                <c:pt idx="706" formatCode="#,##0_);\(#,##0\);&quot;-  &quot;;&quot; &quot;@&quot; &quot;">
                  <c:v>44.905000000000001</c:v>
                </c:pt>
                <c:pt idx="707" formatCode="#,##0_);\(#,##0\);&quot;-  &quot;;&quot; &quot;@&quot; &quot;">
                  <c:v>45.84</c:v>
                </c:pt>
                <c:pt idx="708" formatCode="#,##0_);\(#,##0\);&quot;-  &quot;;&quot; &quot;@&quot; &quot;">
                  <c:v>46.784999999999997</c:v>
                </c:pt>
                <c:pt idx="709" formatCode="#,##0_);\(#,##0\);&quot;-  &quot;;&quot; &quot;@&quot; &quot;">
                  <c:v>46.204999999999998</c:v>
                </c:pt>
                <c:pt idx="710" formatCode="#,##0_);\(#,##0\);&quot;-  &quot;;&quot; &quot;@&quot; &quot;">
                  <c:v>46.8</c:v>
                </c:pt>
                <c:pt idx="711" formatCode="#,##0_);\(#,##0\);&quot;-  &quot;;&quot; &quot;@&quot; &quot;">
                  <c:v>49.32</c:v>
                </c:pt>
                <c:pt idx="712" formatCode="#,##0_);\(#,##0\);&quot;-  &quot;;&quot; &quot;@&quot; &quot;">
                  <c:v>48.295000000000002</c:v>
                </c:pt>
                <c:pt idx="713" formatCode="#,##0_);\(#,##0\);&quot;-  &quot;;&quot; &quot;@&quot; &quot;">
                  <c:v>47.91</c:v>
                </c:pt>
                <c:pt idx="714" formatCode="#,##0_);\(#,##0\);&quot;-  &quot;;&quot; &quot;@&quot; &quot;">
                  <c:v>46.57</c:v>
                </c:pt>
                <c:pt idx="715" formatCode="#,##0_);\(#,##0\);&quot;-  &quot;;&quot; &quot;@&quot; &quot;">
                  <c:v>45.935000000000002</c:v>
                </c:pt>
                <c:pt idx="716" formatCode="#,##0_);\(#,##0\);&quot;-  &quot;;&quot; &quot;@&quot; &quot;">
                  <c:v>46.295000000000002</c:v>
                </c:pt>
                <c:pt idx="717" formatCode="#,##0_);\(#,##0\);&quot;-  &quot;;&quot; &quot;@&quot; &quot;">
                  <c:v>45.805</c:v>
                </c:pt>
                <c:pt idx="718" formatCode="#,##0_);\(#,##0\);&quot;-  &quot;;&quot; &quot;@&quot; &quot;">
                  <c:v>46.564999999999998</c:v>
                </c:pt>
                <c:pt idx="719" formatCode="#,##0_);\(#,##0\);&quot;-  &quot;;&quot; &quot;@&quot; &quot;">
                  <c:v>45.64</c:v>
                </c:pt>
                <c:pt idx="720" formatCode="#,##0_);\(#,##0\);&quot;-  &quot;;&quot; &quot;@&quot; &quot;">
                  <c:v>46.545000000000002</c:v>
                </c:pt>
                <c:pt idx="721" formatCode="#,##0_);\(#,##0\);&quot;-  &quot;;&quot; &quot;@&quot; &quot;">
                  <c:v>47.284999999999997</c:v>
                </c:pt>
                <c:pt idx="722" formatCode="#,##0_);\(#,##0\);&quot;-  &quot;;&quot; &quot;@&quot; &quot;">
                  <c:v>46.86</c:v>
                </c:pt>
                <c:pt idx="723" formatCode="#,##0_);\(#,##0\);&quot;-  &quot;;&quot; &quot;@&quot; &quot;">
                  <c:v>46.61</c:v>
                </c:pt>
                <c:pt idx="724" formatCode="#,##0_);\(#,##0\);&quot;-  &quot;;&quot; &quot;@&quot; &quot;">
                  <c:v>44.884999999999998</c:v>
                </c:pt>
                <c:pt idx="725" formatCode="#,##0_);\(#,##0\);&quot;-  &quot;;&quot; &quot;@&quot; &quot;">
                  <c:v>45.2</c:v>
                </c:pt>
                <c:pt idx="726" formatCode="#,##0_);\(#,##0\);&quot;-  &quot;;&quot; &quot;@&quot; &quot;">
                  <c:v>48.354999999999997</c:v>
                </c:pt>
                <c:pt idx="727" formatCode="#,##0_);\(#,##0\);&quot;-  &quot;;&quot; &quot;@&quot; &quot;">
                  <c:v>48.115000000000002</c:v>
                </c:pt>
                <c:pt idx="728" formatCode="#,##0_);\(#,##0\);&quot;-  &quot;;&quot; &quot;@&quot; &quot;">
                  <c:v>48.17</c:v>
                </c:pt>
                <c:pt idx="729" formatCode="#,##0_);\(#,##0\);&quot;-  &quot;;&quot; &quot;@&quot; &quot;">
                  <c:v>49.04</c:v>
                </c:pt>
                <c:pt idx="730" formatCode="#,##0_);\(#,##0\);&quot;-  &quot;;&quot; &quot;@&quot; &quot;">
                  <c:v>49.755000000000003</c:v>
                </c:pt>
                <c:pt idx="731" formatCode="#,##0_);\(#,##0\);&quot;-  &quot;;&quot; &quot;@&quot; &quot;">
                  <c:v>50.225000000000001</c:v>
                </c:pt>
                <c:pt idx="732" formatCode="#,##0_);\(#,##0\);&quot;-  &quot;;&quot; &quot;@&quot; &quot;">
                  <c:v>50.295000000000002</c:v>
                </c:pt>
                <c:pt idx="733" formatCode="#,##0_);\(#,##0\);&quot;-  &quot;;&quot; &quot;@&quot; &quot;">
                  <c:v>51.37</c:v>
                </c:pt>
                <c:pt idx="734" formatCode="#,##0_);\(#,##0\);&quot;-  &quot;;&quot; &quot;@&quot; &quot;">
                  <c:v>50.454999999999998</c:v>
                </c:pt>
                <c:pt idx="735" formatCode="#,##0_);\(#,##0\);&quot;-  &quot;;&quot; &quot;@&quot; &quot;">
                  <c:v>49.79</c:v>
                </c:pt>
                <c:pt idx="736" formatCode="#,##0_);\(#,##0\);&quot;-  &quot;;&quot; &quot;@&quot; &quot;">
                  <c:v>49.78</c:v>
                </c:pt>
                <c:pt idx="737" formatCode="#,##0_);\(#,##0\);&quot;-  &quot;;&quot; &quot;@&quot; &quot;">
                  <c:v>49.784999999999997</c:v>
                </c:pt>
                <c:pt idx="738" formatCode="#,##0_);\(#,##0\);&quot;-  &quot;;&quot; &quot;@&quot; &quot;">
                  <c:v>49.984999999999999</c:v>
                </c:pt>
                <c:pt idx="739" formatCode="#,##0_);\(#,##0\);&quot;-  &quot;;&quot; &quot;@&quot; &quot;">
                  <c:v>50.085000000000001</c:v>
                </c:pt>
                <c:pt idx="740" formatCode="#,##0_);\(#,##0\);&quot;-  &quot;;&quot; &quot;@&quot; &quot;">
                  <c:v>51.615000000000002</c:v>
                </c:pt>
                <c:pt idx="741" formatCode="#,##0_);\(#,##0\);&quot;-  &quot;;&quot; &quot;@&quot; &quot;">
                  <c:v>50.064999999999998</c:v>
                </c:pt>
                <c:pt idx="742" formatCode="#,##0_);\(#,##0\);&quot;-  &quot;;&quot; &quot;@&quot; &quot;">
                  <c:v>50.234999999999999</c:v>
                </c:pt>
                <c:pt idx="743" formatCode="#,##0_);\(#,##0\);&quot;-  &quot;;&quot; &quot;@&quot; &quot;">
                  <c:v>49.56</c:v>
                </c:pt>
                <c:pt idx="744" formatCode="#,##0_);\(#,##0\);&quot;-  &quot;;&quot; &quot;@&quot; &quot;">
                  <c:v>49.075000000000003</c:v>
                </c:pt>
                <c:pt idx="745" formatCode="#,##0_);\(#,##0\);&quot;-  &quot;;&quot; &quot;@&quot; &quot;">
                  <c:v>48.905000000000001</c:v>
                </c:pt>
                <c:pt idx="746" formatCode="#,##0_);\(#,##0\);&quot;-  &quot;;&quot; &quot;@&quot; &quot;">
                  <c:v>49.18</c:v>
                </c:pt>
                <c:pt idx="747" formatCode="#,##0_);\(#,##0\);&quot;-  &quot;;&quot; &quot;@&quot; &quot;">
                  <c:v>48.92</c:v>
                </c:pt>
                <c:pt idx="748" formatCode="#,##0_);\(#,##0\);&quot;-  &quot;;&quot; &quot;@&quot; &quot;">
                  <c:v>46.615000000000002</c:v>
                </c:pt>
                <c:pt idx="749" formatCode="#,##0_);\(#,##0\);&quot;-  &quot;;&quot; &quot;@&quot; &quot;">
                  <c:v>45.924999999999997</c:v>
                </c:pt>
                <c:pt idx="750" formatCode="#,##0_);\(#,##0\);&quot;-  &quot;;&quot; &quot;@&quot; &quot;">
                  <c:v>44.18</c:v>
                </c:pt>
                <c:pt idx="751" formatCode="#,##0_);\(#,##0\);&quot;-  &quot;;&quot; &quot;@&quot; &quot;">
                  <c:v>43.95</c:v>
                </c:pt>
                <c:pt idx="752" formatCode="#,##0_);\(#,##0\);&quot;-  &quot;;&quot; &quot;@&quot; &quot;">
                  <c:v>43.11</c:v>
                </c:pt>
                <c:pt idx="753" formatCode="#,##0_);\(#,##0\);&quot;-  &quot;;&quot; &quot;@&quot; &quot;">
                  <c:v>43.14</c:v>
                </c:pt>
                <c:pt idx="754" formatCode="#,##0_);\(#,##0\);&quot;-  &quot;;&quot; &quot;@&quot; &quot;">
                  <c:v>43.74</c:v>
                </c:pt>
                <c:pt idx="755" formatCode="#,##0_);\(#,##0\);&quot;-  &quot;;&quot; &quot;@&quot; &quot;">
                  <c:v>43.76</c:v>
                </c:pt>
                <c:pt idx="756" formatCode="#,##0_);\(#,##0\);&quot;-  &quot;;&quot; &quot;@&quot; &quot;">
                  <c:v>43.844999999999999</c:v>
                </c:pt>
                <c:pt idx="757" formatCode="#,##0_);\(#,##0\);&quot;-  &quot;;&quot; &quot;@&quot; &quot;">
                  <c:v>42.46</c:v>
                </c:pt>
                <c:pt idx="758" formatCode="#,##0_);\(#,##0\);&quot;-  &quot;;&quot; &quot;@&quot; &quot;">
                  <c:v>41.91</c:v>
                </c:pt>
                <c:pt idx="759" formatCode="#,##0_);\(#,##0\);&quot;-  &quot;;&quot; &quot;@&quot; &quot;">
                  <c:v>44.405000000000001</c:v>
                </c:pt>
                <c:pt idx="760" formatCode="#,##0_);\(#,##0\);&quot;-  &quot;;&quot; &quot;@&quot; &quot;">
                  <c:v>45.11</c:v>
                </c:pt>
                <c:pt idx="761" formatCode="#,##0_);\(#,##0\);&quot;-  &quot;;&quot; &quot;@&quot; &quot;">
                  <c:v>44.634999999999998</c:v>
                </c:pt>
                <c:pt idx="762" formatCode="#,##0_);\(#,##0\);&quot;-  &quot;;&quot; &quot;@&quot; &quot;">
                  <c:v>44.44</c:v>
                </c:pt>
                <c:pt idx="763" formatCode="#,##0_);\(#,##0\);&quot;-  &quot;;&quot; &quot;@&quot; &quot;">
                  <c:v>47.07</c:v>
                </c:pt>
                <c:pt idx="764" formatCode="#,##0_);\(#,##0\);&quot;-  &quot;;&quot; &quot;@&quot; &quot;">
                  <c:v>47.075000000000003</c:v>
                </c:pt>
                <c:pt idx="765" formatCode="#,##0_);\(#,##0\);&quot;-  &quot;;&quot; &quot;@&quot; &quot;">
                  <c:v>47.53</c:v>
                </c:pt>
                <c:pt idx="766" formatCode="#,##0_);\(#,##0\);&quot;-  &quot;;&quot; &quot;@&quot; &quot;">
                  <c:v>47.674999999999997</c:v>
                </c:pt>
                <c:pt idx="767" formatCode="#,##0_);\(#,##0\);&quot;-  &quot;;&quot; &quot;@&quot; &quot;">
                  <c:v>46.36</c:v>
                </c:pt>
                <c:pt idx="768" formatCode="#,##0_);\(#,##0\);&quot;-  &quot;;&quot; &quot;@&quot; &quot;">
                  <c:v>47.59</c:v>
                </c:pt>
                <c:pt idx="769" formatCode="#,##0_);\(#,##0\);&quot;-  &quot;;&quot; &quot;@&quot; &quot;">
                  <c:v>45.784999999999997</c:v>
                </c:pt>
                <c:pt idx="770" formatCode="#,##0_);\(#,##0\);&quot;-  &quot;;&quot; &quot;@&quot; &quot;">
                  <c:v>49.08</c:v>
                </c:pt>
                <c:pt idx="771" formatCode="#,##0_);\(#,##0\);&quot;-  &quot;;&quot; &quot;@&quot; &quot;">
                  <c:v>52.435000000000002</c:v>
                </c:pt>
                <c:pt idx="772" formatCode="#,##0_);\(#,##0\);&quot;-  &quot;;&quot; &quot;@&quot; &quot;">
                  <c:v>52.52</c:v>
                </c:pt>
                <c:pt idx="773" formatCode="#,##0_);\(#,##0\);&quot;-  &quot;;&quot; &quot;@&quot; &quot;">
                  <c:v>53.445</c:v>
                </c:pt>
                <c:pt idx="774" formatCode="#,##0_);\(#,##0\);&quot;-  &quot;;&quot; &quot;@&quot; &quot;">
                  <c:v>52.38</c:v>
                </c:pt>
                <c:pt idx="775" formatCode="#,##0_);\(#,##0\);&quot;-  &quot;;&quot; &quot;@&quot; &quot;">
                  <c:v>51.905000000000001</c:v>
                </c:pt>
                <c:pt idx="776" formatCode="#,##0_);\(#,##0\);&quot;-  &quot;;&quot; &quot;@&quot; &quot;">
                  <c:v>51.95</c:v>
                </c:pt>
                <c:pt idx="777" formatCode="#,##0_);\(#,##0\);&quot;-  &quot;;&quot; &quot;@&quot; &quot;">
                  <c:v>52.44</c:v>
                </c:pt>
                <c:pt idx="778" formatCode="#,##0_);\(#,##0\);&quot;-  &quot;;&quot; &quot;@&quot; &quot;">
                  <c:v>54.274999999999999</c:v>
                </c:pt>
                <c:pt idx="779" formatCode="#,##0_);\(#,##0\);&quot;-  &quot;;&quot; &quot;@&quot; &quot;">
                  <c:v>54.08</c:v>
                </c:pt>
                <c:pt idx="780" formatCode="#,##0_);\(#,##0\);&quot;-  &quot;;&quot; &quot;@&quot; &quot;">
                  <c:v>53.645000000000003</c:v>
                </c:pt>
                <c:pt idx="781" formatCode="#,##0_);\(#,##0\);&quot;-  &quot;;&quot; &quot;@&quot; &quot;">
                  <c:v>52.185000000000002</c:v>
                </c:pt>
                <c:pt idx="782" formatCode="#,##0_);\(#,##0\);&quot;-  &quot;;&quot; &quot;@&quot; &quot;">
                  <c:v>53.93</c:v>
                </c:pt>
                <c:pt idx="783" formatCode="#,##0_);\(#,##0\);&quot;-  &quot;;&quot; &quot;@&quot; &quot;">
                  <c:v>54.11</c:v>
                </c:pt>
                <c:pt idx="784" formatCode="#,##0_);\(#,##0\);&quot;-  &quot;;&quot; &quot;@&quot; &quot;">
                  <c:v>55.055</c:v>
                </c:pt>
                <c:pt idx="785" formatCode="#,##0_);\(#,##0\);&quot;-  &quot;;&quot; &quot;@&quot; &quot;">
                  <c:v>54.125</c:v>
                </c:pt>
                <c:pt idx="786" formatCode="#,##0_);\(#,##0\);&quot;-  &quot;;&quot; &quot;@&quot; &quot;">
                  <c:v>54.19</c:v>
                </c:pt>
                <c:pt idx="787" formatCode="#,##0_);\(#,##0\);&quot;-  &quot;;&quot; &quot;@&quot; &quot;">
                  <c:v>53.64</c:v>
                </c:pt>
                <c:pt idx="788" formatCode="#,##0_);\(#,##0\);&quot;-  &quot;;&quot; &quot;@&quot; &quot;">
                  <c:v>55.405000000000001</c:v>
                </c:pt>
                <c:pt idx="789" formatCode="#,##0_);\(#,##0\);&quot;-  &quot;;&quot; &quot;@&quot; &quot;">
                  <c:v>55.405000000000001</c:v>
                </c:pt>
                <c:pt idx="790" formatCode="#,##0_);\(#,##0\);&quot;-  &quot;;&quot; &quot;@&quot; &quot;">
                  <c:v>55.265000000000001</c:v>
                </c:pt>
                <c:pt idx="791" formatCode="#,##0_);\(#,##0\);&quot;-  &quot;;&quot; &quot;@&quot; &quot;">
                  <c:v>54.94</c:v>
                </c:pt>
                <c:pt idx="792" formatCode="#,##0_);\(#,##0\);&quot;-  &quot;;&quot; &quot;@&quot; &quot;">
                  <c:v>54.854999999999997</c:v>
                </c:pt>
                <c:pt idx="793" formatCode="#,##0_);\(#,##0\);&quot;-  &quot;;&quot; &quot;@&quot; &quot;">
                  <c:v>54.48</c:v>
                </c:pt>
                <c:pt idx="794" formatCode="#,##0_);\(#,##0\);&quot;-  &quot;;&quot; &quot;@&quot; &quot;">
                  <c:v>54.844999999999999</c:v>
                </c:pt>
                <c:pt idx="795" formatCode="#,##0_);\(#,##0\);&quot;-  &quot;;&quot; &quot;@&quot; &quot;">
                  <c:v>55.83</c:v>
                </c:pt>
                <c:pt idx="796" formatCode="#,##0_);\(#,##0\);&quot;-  &quot;;&quot; &quot;@&quot; &quot;">
                  <c:v>54.22</c:v>
                </c:pt>
                <c:pt idx="797" formatCode="#,##0_);\(#,##0\);&quot;-  &quot;;&quot; &quot;@&quot; &quot;">
                  <c:v>53.21</c:v>
                </c:pt>
                <c:pt idx="798" formatCode="#,##0_);\(#,##0\);&quot;-  &quot;;&quot; &quot;@&quot; &quot;">
                  <c:v>53.814999999999998</c:v>
                </c:pt>
                <c:pt idx="799" formatCode="#,##0_);\(#,##0\);&quot;-  &quot;;&quot; &quot;@&quot; &quot;">
                  <c:v>54.92</c:v>
                </c:pt>
                <c:pt idx="800" formatCode="#,##0_);\(#,##0\);&quot;-  &quot;;&quot; &quot;@&quot; &quot;">
                  <c:v>54.5</c:v>
                </c:pt>
                <c:pt idx="801" formatCode="#,##0_);\(#,##0\);&quot;-  &quot;;&quot; &quot;@&quot; &quot;">
                  <c:v>54.34</c:v>
                </c:pt>
                <c:pt idx="802" formatCode="#,##0_);\(#,##0\);&quot;-  &quot;;&quot; &quot;@&quot; &quot;">
                  <c:v>54.77</c:v>
                </c:pt>
                <c:pt idx="803" formatCode="#,##0_);\(#,##0\);&quot;-  &quot;;&quot; &quot;@&quot; &quot;">
                  <c:v>54.2</c:v>
                </c:pt>
                <c:pt idx="804" formatCode="#,##0_);\(#,##0\);&quot;-  &quot;;&quot; &quot;@&quot; &quot;">
                  <c:v>53.305</c:v>
                </c:pt>
                <c:pt idx="805" formatCode="#,##0_);\(#,##0\);&quot;-  &quot;;&quot; &quot;@&quot; &quot;">
                  <c:v>54.715000000000003</c:v>
                </c:pt>
                <c:pt idx="806" formatCode="#,##0_);\(#,##0\);&quot;-  &quot;;&quot; &quot;@&quot; &quot;">
                  <c:v>54.83</c:v>
                </c:pt>
                <c:pt idx="807" formatCode="#,##0_);\(#,##0\);&quot;-  &quot;;&quot; &quot;@&quot; &quot;">
                  <c:v>55.04</c:v>
                </c:pt>
                <c:pt idx="808" formatCode="#,##0_);\(#,##0\);&quot;-  &quot;;&quot; &quot;@&quot; &quot;">
                  <c:v>54.85</c:v>
                </c:pt>
                <c:pt idx="809" formatCode="#,##0_);\(#,##0\);&quot;-  &quot;;&quot; &quot;@&quot; &quot;">
                  <c:v>55.884999999999998</c:v>
                </c:pt>
                <c:pt idx="810" formatCode="#,##0_);\(#,##0\);&quot;-  &quot;;&quot; &quot;@&quot; &quot;">
                  <c:v>54.88</c:v>
                </c:pt>
                <c:pt idx="811" formatCode="#,##0_);\(#,##0\);&quot;-  &quot;;&quot; &quot;@&quot; &quot;">
                  <c:v>54.85</c:v>
                </c:pt>
                <c:pt idx="812" formatCode="#,##0_);\(#,##0\);&quot;-  &quot;;&quot; &quot;@&quot; &quot;">
                  <c:v>55.744999999999997</c:v>
                </c:pt>
                <c:pt idx="813" formatCode="#,##0_);\(#,##0\);&quot;-  &quot;;&quot; &quot;@&quot; &quot;">
                  <c:v>55.8</c:v>
                </c:pt>
                <c:pt idx="814" formatCode="#,##0_);\(#,##0\);&quot;-  &quot;;&quot; &quot;@&quot; &quot;">
                  <c:v>56.17</c:v>
                </c:pt>
                <c:pt idx="815" formatCode="#,##0_);\(#,##0\);&quot;-  &quot;;&quot; &quot;@&quot; &quot;">
                  <c:v>56.164999999999999</c:v>
                </c:pt>
                <c:pt idx="816" formatCode="#,##0_);\(#,##0\);&quot;-  &quot;;&quot; &quot;@&quot; &quot;">
                  <c:v>55.13</c:v>
                </c:pt>
                <c:pt idx="817" formatCode="#,##0_);\(#,##0\);&quot;-  &quot;;&quot; &quot;@&quot; &quot;">
                  <c:v>54.045000000000002</c:v>
                </c:pt>
                <c:pt idx="818" formatCode="#,##0_);\(#,##0\);&quot;-  &quot;;&quot; &quot;@&quot; &quot;">
                  <c:v>54.39</c:v>
                </c:pt>
                <c:pt idx="819" formatCode="#,##0_);\(#,##0\);&quot;-  &quot;;&quot; &quot;@&quot; &quot;">
                  <c:v>54.34</c:v>
                </c:pt>
                <c:pt idx="820" formatCode="#,##0_);\(#,##0\);&quot;-  &quot;;&quot; &quot;@&quot; &quot;">
                  <c:v>55.625</c:v>
                </c:pt>
                <c:pt idx="821" formatCode="#,##0_);\(#,##0\);&quot;-  &quot;;&quot; &quot;@&quot; &quot;">
                  <c:v>54.424999999999997</c:v>
                </c:pt>
                <c:pt idx="822" formatCode="#,##0_);\(#,##0\);&quot;-  &quot;;&quot; &quot;@&quot; &quot;">
                  <c:v>55.24</c:v>
                </c:pt>
                <c:pt idx="823" formatCode="#,##0_);\(#,##0\);&quot;-  &quot;;&quot; &quot;@&quot; &quot;">
                  <c:v>54.68</c:v>
                </c:pt>
                <c:pt idx="824" formatCode="#,##0_);\(#,##0\);&quot;-  &quot;;&quot; &quot;@&quot; &quot;">
                  <c:v>54.34</c:v>
                </c:pt>
                <c:pt idx="825" formatCode="#,##0_);\(#,##0\);&quot;-  &quot;;&quot; &quot;@&quot; &quot;">
                  <c:v>54.44</c:v>
                </c:pt>
                <c:pt idx="826" formatCode="#,##0_);\(#,##0\);&quot;-  &quot;;&quot; &quot;@&quot; &quot;">
                  <c:v>55.13</c:v>
                </c:pt>
                <c:pt idx="827" formatCode="#,##0_);\(#,##0\);&quot;-  &quot;;&quot; &quot;@&quot; &quot;">
                  <c:v>56.3</c:v>
                </c:pt>
                <c:pt idx="828" formatCode="#,##0_);\(#,##0\);&quot;-  &quot;;&quot; &quot;@&quot; &quot;">
                  <c:v>55.05</c:v>
                </c:pt>
                <c:pt idx="829" formatCode="#,##0_);\(#,##0\);&quot;-  &quot;;&quot; &quot;@&quot; &quot;">
                  <c:v>56.11</c:v>
                </c:pt>
                <c:pt idx="830" formatCode="#,##0_);\(#,##0\);&quot;-  &quot;;&quot; &quot;@&quot; &quot;">
                  <c:v>55.28</c:v>
                </c:pt>
                <c:pt idx="831" formatCode="#,##0_);\(#,##0\);&quot;-  &quot;;&quot; &quot;@&quot; &quot;">
                  <c:v>55.27</c:v>
                </c:pt>
                <c:pt idx="832" formatCode="#,##0_);\(#,##0\);&quot;-  &quot;;&quot; &quot;@&quot; &quot;">
                  <c:v>54.31</c:v>
                </c:pt>
                <c:pt idx="833" formatCode="#,##0_);\(#,##0\);&quot;-  &quot;;&quot; &quot;@&quot; &quot;">
                  <c:v>55.265000000000001</c:v>
                </c:pt>
                <c:pt idx="834" formatCode="#,##0_);\(#,##0\);&quot;-  &quot;;&quot; &quot;@&quot; &quot;">
                  <c:v>54.055</c:v>
                </c:pt>
                <c:pt idx="835" formatCode="#,##0_);\(#,##0\);&quot;-  &quot;;&quot; &quot;@&quot; &quot;">
                  <c:v>54.07</c:v>
                </c:pt>
                <c:pt idx="836" formatCode="#,##0_);\(#,##0\);&quot;-  &quot;;&quot; &quot;@&quot; &quot;">
                  <c:v>54.59</c:v>
                </c:pt>
                <c:pt idx="837" formatCode="#,##0_);\(#,##0\);&quot;-  &quot;;&quot; &quot;@&quot; &quot;">
                  <c:v>54.875</c:v>
                </c:pt>
                <c:pt idx="838" formatCode="#,##0_);\(#,##0\);&quot;-  &quot;;&quot; &quot;@&quot; &quot;">
                  <c:v>53.795000000000002</c:v>
                </c:pt>
                <c:pt idx="839" formatCode="#,##0_);\(#,##0\);&quot;-  &quot;;&quot; &quot;@&quot; &quot;">
                  <c:v>50.76</c:v>
                </c:pt>
                <c:pt idx="840" formatCode="#,##0_);\(#,##0\);&quot;-  &quot;;&quot; &quot;@&quot; &quot;">
                  <c:v>50.674999999999997</c:v>
                </c:pt>
                <c:pt idx="841" formatCode="#,##0_);\(#,##0\);&quot;-  &quot;;&quot; &quot;@&quot; &quot;">
                  <c:v>50.15</c:v>
                </c:pt>
                <c:pt idx="842" formatCode="#,##0_);\(#,##0\);&quot;-  &quot;;&quot; &quot;@&quot; &quot;">
                  <c:v>49.204999999999998</c:v>
                </c:pt>
                <c:pt idx="843" formatCode="#,##0_);\(#,##0\);&quot;-  &quot;;&quot; &quot;@&quot; &quot;">
                  <c:v>50.46</c:v>
                </c:pt>
                <c:pt idx="844" formatCode="#,##0_);\(#,##0\);&quot;-  &quot;;&quot; &quot;@&quot; &quot;">
                  <c:v>50.48</c:v>
                </c:pt>
                <c:pt idx="845" formatCode="#,##0_);\(#,##0\);&quot;-  &quot;;&quot; &quot;@&quot; &quot;">
                  <c:v>50.71</c:v>
                </c:pt>
                <c:pt idx="846" formatCode="#,##0_);\(#,##0\);&quot;-  &quot;;&quot; &quot;@&quot; &quot;">
                  <c:v>50.86</c:v>
                </c:pt>
                <c:pt idx="847" formatCode="#,##0_);\(#,##0\);&quot;-  &quot;;&quot; &quot;@&quot; &quot;">
                  <c:v>50.18</c:v>
                </c:pt>
                <c:pt idx="848" formatCode="#,##0_);\(#,##0\);&quot;-  &quot;;&quot; &quot;@&quot; &quot;">
                  <c:v>49.59</c:v>
                </c:pt>
                <c:pt idx="849" formatCode="#,##0_);\(#,##0\);&quot;-  &quot;;&quot; &quot;@&quot; &quot;">
                  <c:v>49.924999999999997</c:v>
                </c:pt>
                <c:pt idx="850" formatCode="#,##0_);\(#,##0\);&quot;-  &quot;;&quot; &quot;@&quot; &quot;">
                  <c:v>49.95</c:v>
                </c:pt>
                <c:pt idx="851" formatCode="#,##0_);\(#,##0\);&quot;-  &quot;;&quot; &quot;@&quot; &quot;">
                  <c:v>50.045000000000002</c:v>
                </c:pt>
                <c:pt idx="852" formatCode="#,##0_);\(#,##0\);&quot;-  &quot;;&quot; &quot;@&quot; &quot;">
                  <c:v>50.784999999999997</c:v>
                </c:pt>
                <c:pt idx="853" formatCode="#,##0_);\(#,##0\);&quot;-  &quot;;&quot; &quot;@&quot; &quot;">
                  <c:v>51.4</c:v>
                </c:pt>
                <c:pt idx="854" formatCode="#,##0_);\(#,##0\);&quot;-  &quot;;&quot; &quot;@&quot; &quot;">
                  <c:v>52.234999999999999</c:v>
                </c:pt>
                <c:pt idx="855" formatCode="#,##0_);\(#,##0\);&quot;-  &quot;;&quot; &quot;@&quot; &quot;">
                  <c:v>51.914999999999999</c:v>
                </c:pt>
                <c:pt idx="856" formatCode="#,##0_);\(#,##0\);&quot;-  &quot;;&quot; &quot;@&quot; &quot;">
                  <c:v>52.075000000000003</c:v>
                </c:pt>
                <c:pt idx="857" formatCode="#,##0_);\(#,##0\);&quot;-  &quot;;&quot; &quot;@&quot; &quot;">
                  <c:v>53.204999999999998</c:v>
                </c:pt>
                <c:pt idx="858" formatCode="#,##0_);\(#,##0\);&quot;-  &quot;;&quot; &quot;@&quot; &quot;">
                  <c:v>53.475000000000001</c:v>
                </c:pt>
                <c:pt idx="859" formatCode="#,##0_);\(#,##0\);&quot;-  &quot;;&quot; &quot;@&quot; &quot;">
                  <c:v>53.63</c:v>
                </c:pt>
                <c:pt idx="860" formatCode="#,##0_);\(#,##0\);&quot;-  &quot;;&quot; &quot;@&quot; &quot;">
                  <c:v>54.12</c:v>
                </c:pt>
                <c:pt idx="861" formatCode="#,##0_);\(#,##0\);&quot;-  &quot;;&quot; &quot;@&quot; &quot;">
                  <c:v>54.975000000000001</c:v>
                </c:pt>
                <c:pt idx="862" formatCode="#,##0_);\(#,##0\);&quot;-  &quot;;&quot; &quot;@&quot; &quot;">
                  <c:v>54.664999999999999</c:v>
                </c:pt>
                <c:pt idx="863" formatCode="#,##0_);\(#,##0\);&quot;-  &quot;;&quot; &quot;@&quot; &quot;">
                  <c:v>54.844999999999999</c:v>
                </c:pt>
                <c:pt idx="864" formatCode="#,##0_);\(#,##0\);&quot;-  &quot;;&quot; &quot;@&quot; &quot;">
                  <c:v>54.935000000000002</c:v>
                </c:pt>
                <c:pt idx="865" formatCode="#,##0_);\(#,##0\);&quot;-  &quot;;&quot; &quot;@&quot; &quot;">
                  <c:v>53.5</c:v>
                </c:pt>
                <c:pt idx="866" formatCode="#,##0_);\(#,##0\);&quot;-  &quot;;&quot; &quot;@&quot; &quot;">
                  <c:v>53.5</c:v>
                </c:pt>
                <c:pt idx="867" formatCode="#,##0_);\(#,##0\);&quot;-  &quot;;&quot; &quot;@&quot; &quot;">
                  <c:v>52.905000000000001</c:v>
                </c:pt>
                <c:pt idx="868" formatCode="#,##0_);\(#,##0\);&quot;-  &quot;;&quot; &quot;@&quot; &quot;">
                  <c:v>51.39</c:v>
                </c:pt>
                <c:pt idx="869" formatCode="#,##0_);\(#,##0\);&quot;-  &quot;;&quot; &quot;@&quot; &quot;">
                  <c:v>50.454999999999998</c:v>
                </c:pt>
                <c:pt idx="870" formatCode="#,##0_);\(#,##0\);&quot;-  &quot;;&quot; &quot;@&quot; &quot;">
                  <c:v>50.155000000000001</c:v>
                </c:pt>
                <c:pt idx="871" formatCode="#,##0_);\(#,##0\);&quot;-  &quot;;&quot; &quot;@&quot; &quot;">
                  <c:v>50.414999999999999</c:v>
                </c:pt>
                <c:pt idx="872" formatCode="#,##0_);\(#,##0\);&quot;-  &quot;;&quot; &quot;@&quot; &quot;">
                  <c:v>51.005000000000003</c:v>
                </c:pt>
                <c:pt idx="873" formatCode="#,##0_);\(#,##0\);&quot;-  &quot;;&quot; &quot;@&quot; &quot;">
                  <c:v>49.484999999999999</c:v>
                </c:pt>
                <c:pt idx="874" formatCode="#,##0_);\(#,##0\);&quot;-  &quot;;&quot; &quot;@&quot; &quot;">
                  <c:v>50.39</c:v>
                </c:pt>
                <c:pt idx="875" formatCode="#,##0_);\(#,##0\);&quot;-  &quot;;&quot; &quot;@&quot; &quot;">
                  <c:v>49.69</c:v>
                </c:pt>
                <c:pt idx="876" formatCode="#,##0_);\(#,##0\);&quot;-  &quot;;&quot; &quot;@&quot; &quot;">
                  <c:v>49.69</c:v>
                </c:pt>
                <c:pt idx="877" formatCode="#,##0_);\(#,##0\);&quot;-  &quot;;&quot; &quot;@&quot; &quot;">
                  <c:v>48.865000000000002</c:v>
                </c:pt>
                <c:pt idx="878" formatCode="#,##0_);\(#,##0\);&quot;-  &quot;;&quot; &quot;@&quot; &quot;">
                  <c:v>47.47</c:v>
                </c:pt>
                <c:pt idx="879" formatCode="#,##0_);\(#,##0\);&quot;-  &quot;;&quot; &quot;@&quot; &quot;">
                  <c:v>47.734999999999999</c:v>
                </c:pt>
                <c:pt idx="880" formatCode="#,##0_);\(#,##0\);&quot;-  &quot;;&quot; &quot;@&quot; &quot;">
                  <c:v>47.064999999999998</c:v>
                </c:pt>
                <c:pt idx="881" formatCode="#,##0_);\(#,##0\);&quot;-  &quot;;&quot; &quot;@&quot; &quot;">
                  <c:v>47.405000000000001</c:v>
                </c:pt>
                <c:pt idx="882" formatCode="#,##0_);\(#,##0\);&quot;-  &quot;;&quot; &quot;@&quot; &quot;">
                  <c:v>48.79</c:v>
                </c:pt>
                <c:pt idx="883" formatCode="#,##0_);\(#,##0\);&quot;-  &quot;;&quot; &quot;@&quot; &quot;">
                  <c:v>49.73</c:v>
                </c:pt>
                <c:pt idx="884" formatCode="#,##0_);\(#,##0\);&quot;-  &quot;;&quot; &quot;@&quot; &quot;">
                  <c:v>49.47</c:v>
                </c:pt>
                <c:pt idx="885" formatCode="#,##0_);\(#,##0\);&quot;-  &quot;;&quot; &quot;@&quot; &quot;">
                  <c:v>51.39</c:v>
                </c:pt>
                <c:pt idx="886" formatCode="#,##0_);\(#,##0\);&quot;-  &quot;;&quot; &quot;@&quot; &quot;">
                  <c:v>51.17</c:v>
                </c:pt>
                <c:pt idx="887" formatCode="#,##0_);\(#,##0\);&quot;-  &quot;;&quot; &quot;@&quot; &quot;">
                  <c:v>51.585000000000001</c:v>
                </c:pt>
                <c:pt idx="888" formatCode="#,##0_);\(#,##0\);&quot;-  &quot;;&quot; &quot;@&quot; &quot;">
                  <c:v>51.82</c:v>
                </c:pt>
                <c:pt idx="889" formatCode="#,##0_);\(#,##0\);&quot;-  &quot;;&quot; &quot;@&quot; &quot;">
                  <c:v>52.79</c:v>
                </c:pt>
                <c:pt idx="890" formatCode="#,##0_);\(#,##0\);&quot;-  &quot;;&quot; &quot;@&quot; &quot;">
                  <c:v>53.384999999999998</c:v>
                </c:pt>
                <c:pt idx="891" formatCode="#,##0_);\(#,##0\);&quot;-  &quot;;&quot; &quot;@&quot; &quot;">
                  <c:v>53.424999999999997</c:v>
                </c:pt>
                <c:pt idx="892" formatCode="#,##0_);\(#,##0\);&quot;-  &quot;;&quot; &quot;@&quot; &quot;">
                  <c:v>53.524999999999999</c:v>
                </c:pt>
                <c:pt idx="893" formatCode="#,##0_);\(#,##0\);&quot;-  &quot;;&quot; &quot;@&quot; &quot;">
                  <c:v>52.555</c:v>
                </c:pt>
                <c:pt idx="894" formatCode="#,##0_);\(#,##0\);&quot;-  &quot;;&quot; &quot;@&quot; &quot;">
                  <c:v>51.21</c:v>
                </c:pt>
                <c:pt idx="895" formatCode="#,##0_);\(#,##0\);&quot;-  &quot;;&quot; &quot;@&quot; &quot;">
                  <c:v>50.615000000000002</c:v>
                </c:pt>
                <c:pt idx="896" formatCode="#,##0_);\(#,##0\);&quot;-  &quot;;&quot; &quot;@&quot; &quot;">
                  <c:v>49.26</c:v>
                </c:pt>
                <c:pt idx="897" formatCode="#,##0_);\(#,##0\);&quot;-  &quot;;&quot; &quot;@&quot; &quot;">
                  <c:v>50.06</c:v>
                </c:pt>
                <c:pt idx="898" formatCode="#,##0_);\(#,##0\);&quot;-  &quot;;&quot; &quot;@&quot; &quot;">
                  <c:v>48.85</c:v>
                </c:pt>
                <c:pt idx="899" formatCode="#,##0_);\(#,##0\);&quot;-  &quot;;&quot; &quot;@&quot; &quot;">
                  <c:v>48.045000000000002</c:v>
                </c:pt>
                <c:pt idx="900" formatCode="#,##0_);\(#,##0\);&quot;-  &quot;;&quot; &quot;@&quot; &quot;">
                  <c:v>48.234999999999999</c:v>
                </c:pt>
                <c:pt idx="901" formatCode="#,##0_);\(#,##0\);&quot;-  &quot;;&quot; &quot;@&quot; &quot;">
                  <c:v>47.215000000000003</c:v>
                </c:pt>
                <c:pt idx="902" formatCode="#,##0_);\(#,##0\);&quot;-  &quot;;&quot; &quot;@&quot; &quot;">
                  <c:v>46.585000000000001</c:v>
                </c:pt>
                <c:pt idx="903" formatCode="#,##0_);\(#,##0\);&quot;-  &quot;;&quot; &quot;@&quot; &quot;">
                  <c:v>46.984999999999999</c:v>
                </c:pt>
                <c:pt idx="904" formatCode="#,##0_);\(#,##0\);&quot;-  &quot;;&quot; &quot;@&quot; &quot;">
                  <c:v>47.424999999999997</c:v>
                </c:pt>
                <c:pt idx="905" formatCode="#,##0_);\(#,##0\);&quot;-  &quot;;&quot; &quot;@&quot; &quot;">
                  <c:v>46.795000000000002</c:v>
                </c:pt>
                <c:pt idx="906" formatCode="#,##0_);\(#,##0\);&quot;-  &quot;;&quot; &quot;@&quot; &quot;">
                  <c:v>45.62</c:v>
                </c:pt>
                <c:pt idx="907" formatCode="#,##0_);\(#,##0\);&quot;-  &quot;;&quot; &quot;@&quot; &quot;">
                  <c:v>45.805</c:v>
                </c:pt>
                <c:pt idx="908" formatCode="#,##0_);\(#,##0\);&quot;-  &quot;;&quot; &quot;@&quot; &quot;">
                  <c:v>46.015000000000001</c:v>
                </c:pt>
                <c:pt idx="909" formatCode="#,##0_);\(#,##0\);&quot;-  &quot;;&quot; &quot;@&quot; &quot;">
                  <c:v>46.145000000000003</c:v>
                </c:pt>
                <c:pt idx="910" formatCode="#,##0_);\(#,##0\);&quot;-  &quot;;&quot; &quot;@&quot; &quot;">
                  <c:v>44.28</c:v>
                </c:pt>
                <c:pt idx="911" formatCode="#,##0_);\(#,##0\);&quot;-  &quot;;&quot; &quot;@&quot; &quot;">
                  <c:v>44.6</c:v>
                </c:pt>
                <c:pt idx="912" formatCode="#,##0_);\(#,##0\);&quot;-  &quot;;&quot; &quot;@&quot; &quot;">
                  <c:v>44.65</c:v>
                </c:pt>
                <c:pt idx="913" formatCode="#,##0_);\(#,##0\);&quot;-  &quot;;&quot; &quot;@&quot; &quot;">
                  <c:v>44.465000000000003</c:v>
                </c:pt>
                <c:pt idx="914" formatCode="#,##0_);\(#,##0\);&quot;-  &quot;;&quot; &quot;@&quot; &quot;">
                  <c:v>44.62</c:v>
                </c:pt>
                <c:pt idx="915" formatCode="#,##0_);\(#,##0\);&quot;-  &quot;;&quot; &quot;@&quot; &quot;">
                  <c:v>46.174999999999997</c:v>
                </c:pt>
                <c:pt idx="916" formatCode="#,##0_);\(#,##0\);&quot;-  &quot;;&quot; &quot;@&quot; &quot;">
                  <c:v>46.465000000000003</c:v>
                </c:pt>
                <c:pt idx="917" formatCode="#,##0_);\(#,##0\);&quot;-  &quot;;&quot; &quot;@&quot; &quot;">
                  <c:v>47.075000000000003</c:v>
                </c:pt>
                <c:pt idx="918" formatCode="#,##0_);\(#,##0\);&quot;-  &quot;;&quot; &quot;@&quot; &quot;">
                  <c:v>47.39</c:v>
                </c:pt>
                <c:pt idx="919" formatCode="#,##0_);\(#,##0\);&quot;-  &quot;;&quot; &quot;@&quot; &quot;">
                  <c:v>48.95</c:v>
                </c:pt>
                <c:pt idx="920" formatCode="#,##0_);\(#,##0\);&quot;-  &quot;;&quot; &quot;@&quot; &quot;">
                  <c:v>49.284999999999997</c:v>
                </c:pt>
                <c:pt idx="921" formatCode="#,##0_);\(#,##0\);&quot;-  &quot;;&quot; &quot;@&quot; &quot;">
                  <c:v>47.625</c:v>
                </c:pt>
                <c:pt idx="922" formatCode="#,##0_);\(#,##0\);&quot;-  &quot;;&quot; &quot;@&quot; &quot;">
                  <c:v>48.6</c:v>
                </c:pt>
                <c:pt idx="923" formatCode="#,##0_);\(#,##0\);&quot;-  &quot;;&quot; &quot;@&quot; &quot;">
                  <c:v>46.524999999999999</c:v>
                </c:pt>
                <c:pt idx="924" formatCode="#,##0_);\(#,##0\);&quot;-  &quot;;&quot; &quot;@&quot; &quot;">
                  <c:v>46.78</c:v>
                </c:pt>
                <c:pt idx="925" formatCode="#,##0_);\(#,##0\);&quot;-  &quot;;&quot; &quot;@&quot; &quot;">
                  <c:v>46.524999999999999</c:v>
                </c:pt>
                <c:pt idx="926" formatCode="#,##0_);\(#,##0\);&quot;-  &quot;;&quot; &quot;@&quot; &quot;">
                  <c:v>47.005000000000003</c:v>
                </c:pt>
                <c:pt idx="927" formatCode="#,##0_);\(#,##0\);&quot;-  &quot;;&quot; &quot;@&quot; &quot;">
                  <c:v>47.895000000000003</c:v>
                </c:pt>
                <c:pt idx="928" formatCode="#,##0_);\(#,##0\);&quot;-  &quot;;&quot; &quot;@&quot; &quot;">
                  <c:v>48.03</c:v>
                </c:pt>
                <c:pt idx="929" formatCode="#,##0_);\(#,##0\);&quot;-  &quot;;&quot; &quot;@&quot; &quot;">
                  <c:v>48.005000000000003</c:v>
                </c:pt>
                <c:pt idx="930" formatCode="#,##0_);\(#,##0\);&quot;-  &quot;;&quot; &quot;@&quot; &quot;">
                  <c:v>47.79</c:v>
                </c:pt>
                <c:pt idx="931" formatCode="#,##0_);\(#,##0\);&quot;-  &quot;;&quot; &quot;@&quot; &quot;">
                  <c:v>48.604999999999997</c:v>
                </c:pt>
                <c:pt idx="932" formatCode="#,##0_);\(#,##0\);&quot;-  &quot;;&quot; &quot;@&quot; &quot;">
                  <c:v>48.68</c:v>
                </c:pt>
                <c:pt idx="933" formatCode="#,##0_);\(#,##0\);&quot;-  &quot;;&quot; &quot;@&quot; &quot;">
                  <c:v>47.91</c:v>
                </c:pt>
                <c:pt idx="934" formatCode="#,##0_);\(#,##0\);&quot;-  &quot;;&quot; &quot;@&quot; &quot;">
                  <c:v>47.965000000000003</c:v>
                </c:pt>
                <c:pt idx="935" formatCode="#,##0_);\(#,##0\);&quot;-  &quot;;&quot; &quot;@&quot; &quot;">
                  <c:v>49.354999999999997</c:v>
                </c:pt>
                <c:pt idx="936" formatCode="#,##0_);\(#,##0\);&quot;-  &quot;;&quot; &quot;@&quot; &quot;">
                  <c:v>50.09</c:v>
                </c:pt>
                <c:pt idx="937" formatCode="#,##0_);\(#,##0\);&quot;-  &quot;;&quot; &quot;@&quot; &quot;">
                  <c:v>50.74</c:v>
                </c:pt>
                <c:pt idx="938" formatCode="#,##0_);\(#,##0\);&quot;-  &quot;;&quot; &quot;@&quot; &quot;">
                  <c:v>51.704999999999998</c:v>
                </c:pt>
                <c:pt idx="939" formatCode="#,##0_);\(#,##0\);&quot;-  &quot;;&quot; &quot;@&quot; &quot;">
                  <c:v>51.784999999999997</c:v>
                </c:pt>
                <c:pt idx="940" formatCode="#,##0_);\(#,##0\);&quot;-  &quot;;&quot; &quot;@&quot; &quot;">
                  <c:v>50.914999999999999</c:v>
                </c:pt>
                <c:pt idx="941" formatCode="#,##0_);\(#,##0\);&quot;-  &quot;;&quot; &quot;@&quot; &quot;">
                  <c:v>52.17</c:v>
                </c:pt>
                <c:pt idx="942" formatCode="#,##0_);\(#,##0\);&quot;-  &quot;;&quot; &quot;@&quot; &quot;">
                  <c:v>52.905000000000001</c:v>
                </c:pt>
                <c:pt idx="943" formatCode="#,##0_);\(#,##0\);&quot;-  &quot;;&quot; &quot;@&quot; &quot;">
                  <c:v>52.46</c:v>
                </c:pt>
                <c:pt idx="944" formatCode="#,##0_);\(#,##0\);&quot;-  &quot;;&quot; &quot;@&quot; &quot;">
                  <c:v>51.454999999999998</c:v>
                </c:pt>
                <c:pt idx="945" formatCode="#,##0_);\(#,##0\);&quot;-  &quot;;&quot; &quot;@&quot; &quot;">
                  <c:v>52.145000000000003</c:v>
                </c:pt>
                <c:pt idx="946" formatCode="#,##0_);\(#,##0\);&quot;-  &quot;;&quot; &quot;@&quot; &quot;">
                  <c:v>51.97</c:v>
                </c:pt>
                <c:pt idx="947" formatCode="#,##0_);\(#,##0\);&quot;-  &quot;;&quot; &quot;@&quot; &quot;">
                  <c:v>52.384999999999998</c:v>
                </c:pt>
                <c:pt idx="948" formatCode="#,##0_);\(#,##0\);&quot;-  &quot;;&quot; &quot;@&quot; &quot;">
                  <c:v>51.484999999999999</c:v>
                </c:pt>
                <c:pt idx="949" formatCode="#,##0_);\(#,##0\);&quot;-  &quot;;&quot; &quot;@&quot; &quot;">
                  <c:v>51.19</c:v>
                </c:pt>
                <c:pt idx="950" formatCode="#,##0_);\(#,##0\);&quot;-  &quot;;&quot; &quot;@&quot; &quot;">
                  <c:v>49.765000000000001</c:v>
                </c:pt>
                <c:pt idx="951" formatCode="#,##0_);\(#,##0\);&quot;-  &quot;;&quot; &quot;@&quot; &quot;">
                  <c:v>50.32</c:v>
                </c:pt>
                <c:pt idx="952" formatCode="#,##0_);\(#,##0\);&quot;-  &quot;;&quot; &quot;@&quot; &quot;">
                  <c:v>50.13</c:v>
                </c:pt>
                <c:pt idx="953" formatCode="#,##0_);\(#,##0\);&quot;-  &quot;;&quot; &quot;@&quot; &quot;">
                  <c:v>50.914999999999999</c:v>
                </c:pt>
                <c:pt idx="954" formatCode="#,##0_);\(#,##0\);&quot;-  &quot;;&quot; &quot;@&quot; &quot;">
                  <c:v>51.604999999999997</c:v>
                </c:pt>
                <c:pt idx="955" formatCode="#,##0_);\(#,##0\);&quot;-  &quot;;&quot; &quot;@&quot; &quot;">
                  <c:v>51.89</c:v>
                </c:pt>
                <c:pt idx="956" formatCode="#,##0_);\(#,##0\);&quot;-  &quot;;&quot; &quot;@&quot; &quot;">
                  <c:v>52.075000000000003</c:v>
                </c:pt>
                <c:pt idx="957" formatCode="#,##0_);\(#,##0\);&quot;-  &quot;;&quot; &quot;@&quot; &quot;">
                  <c:v>51.91</c:v>
                </c:pt>
                <c:pt idx="958" formatCode="#,##0_);\(#,##0\);&quot;-  &quot;;&quot; &quot;@&quot; &quot;">
                  <c:v>52.075000000000003</c:v>
                </c:pt>
                <c:pt idx="959" formatCode="#,##0_);\(#,##0\);&quot;-  &quot;;&quot; &quot;@&quot; &quot;">
                  <c:v>51.75</c:v>
                </c:pt>
                <c:pt idx="960" formatCode="#,##0_);\(#,##0\);&quot;-  &quot;;&quot; &quot;@&quot; &quot;">
                  <c:v>51.75</c:v>
                </c:pt>
                <c:pt idx="961" formatCode="#,##0_);\(#,##0\);&quot;-  &quot;;&quot; &quot;@&quot; &quot;">
                  <c:v>51.865000000000002</c:v>
                </c:pt>
                <c:pt idx="962" formatCode="#,##0_);\(#,##0\);&quot;-  &quot;;&quot; &quot;@&quot; &quot;">
                  <c:v>52.734999999999999</c:v>
                </c:pt>
                <c:pt idx="963" formatCode="#,##0_);\(#,##0\);&quot;-  &quot;;&quot; &quot;@&quot; &quot;">
                  <c:v>53.015000000000001</c:v>
                </c:pt>
                <c:pt idx="964" formatCode="#,##0_);\(#,##0\);&quot;-  &quot;;&quot; &quot;@&quot; &quot;">
                  <c:v>52.66</c:v>
                </c:pt>
                <c:pt idx="965" formatCode="#,##0_);\(#,##0\);&quot;-  &quot;;&quot; &quot;@&quot; &quot;">
                  <c:v>53.835000000000001</c:v>
                </c:pt>
                <c:pt idx="966" formatCode="#,##0_);\(#,##0\);&quot;-  &quot;;&quot; &quot;@&quot; &quot;">
                  <c:v>54.695</c:v>
                </c:pt>
                <c:pt idx="967" formatCode="#,##0_);\(#,##0\);&quot;-  &quot;;&quot; &quot;@&quot; &quot;">
                  <c:v>53.965000000000003</c:v>
                </c:pt>
                <c:pt idx="968" formatCode="#,##0_);\(#,##0\);&quot;-  &quot;;&quot; &quot;@&quot; &quot;">
                  <c:v>54.43</c:v>
                </c:pt>
                <c:pt idx="969" formatCode="#,##0_);\(#,##0\);&quot;-  &quot;;&quot; &quot;@&quot; &quot;">
                  <c:v>53.97</c:v>
                </c:pt>
                <c:pt idx="970" formatCode="#,##0_);\(#,##0\);&quot;-  &quot;;&quot; &quot;@&quot; &quot;">
                  <c:v>55.03</c:v>
                </c:pt>
                <c:pt idx="971" formatCode="#,##0_);\(#,##0\);&quot;-  &quot;;&quot; &quot;@&quot; &quot;">
                  <c:v>55.86</c:v>
                </c:pt>
                <c:pt idx="972" formatCode="#,##0_);\(#,##0\);&quot;-  &quot;;&quot; &quot;@&quot; &quot;">
                  <c:v>56.734999999999999</c:v>
                </c:pt>
                <c:pt idx="973" formatCode="#,##0_);\(#,##0\);&quot;-  &quot;;&quot; &quot;@&quot; &quot;">
                  <c:v>56.594999999999999</c:v>
                </c:pt>
                <c:pt idx="974" formatCode="#,##0_);\(#,##0\);&quot;-  &quot;;&quot; &quot;@&quot; &quot;">
                  <c:v>55.365000000000002</c:v>
                </c:pt>
                <c:pt idx="975" formatCode="#,##0_);\(#,##0\);&quot;-  &quot;;&quot; &quot;@&quot; &quot;">
                  <c:v>56.075000000000003</c:v>
                </c:pt>
                <c:pt idx="976" formatCode="#,##0_);\(#,##0\);&quot;-  &quot;;&quot; &quot;@&quot; &quot;">
                  <c:v>57.034999999999997</c:v>
                </c:pt>
                <c:pt idx="977" formatCode="#,##0_);\(#,##0\);&quot;-  &quot;;&quot; &quot;@&quot; &quot;">
                  <c:v>57.23</c:v>
                </c:pt>
                <c:pt idx="978" formatCode="#,##0_);\(#,##0\);&quot;-  &quot;;&quot; &quot;@&quot; &quot;">
                  <c:v>57.66</c:v>
                </c:pt>
                <c:pt idx="979" formatCode="#,##0_);\(#,##0\);&quot;-  &quot;;&quot; &quot;@&quot; &quot;">
                  <c:v>59.27</c:v>
                </c:pt>
                <c:pt idx="980" formatCode="#,##0_);\(#,##0\);&quot;-  &quot;;&quot; &quot;@&quot; &quot;">
                  <c:v>59.17</c:v>
                </c:pt>
                <c:pt idx="981" formatCode="#,##0_);\(#,##0\);&quot;-  &quot;;&quot; &quot;@&quot; &quot;">
                  <c:v>58.784999999999997</c:v>
                </c:pt>
                <c:pt idx="982" formatCode="#,##0_);\(#,##0\);&quot;-  &quot;;&quot; &quot;@&quot; &quot;">
                  <c:v>58.424999999999997</c:v>
                </c:pt>
                <c:pt idx="983" formatCode="#,##0_);\(#,##0\);&quot;-  &quot;;&quot; &quot;@&quot; &quot;">
                  <c:v>57.17</c:v>
                </c:pt>
                <c:pt idx="984" formatCode="#,##0_);\(#,##0\);&quot;-  &quot;;&quot; &quot;@&quot; &quot;">
                  <c:v>55.814999999999998</c:v>
                </c:pt>
                <c:pt idx="985" formatCode="#,##0_);\(#,##0\);&quot;-  &quot;;&quot; &quot;@&quot; &quot;">
                  <c:v>56.325000000000003</c:v>
                </c:pt>
                <c:pt idx="986" formatCode="#,##0_);\(#,##0\);&quot;-  &quot;;&quot; &quot;@&quot; &quot;">
                  <c:v>56.174999999999997</c:v>
                </c:pt>
                <c:pt idx="987" formatCode="#,##0_);\(#,##0\);&quot;-  &quot;;&quot; &quot;@&quot; &quot;">
                  <c:v>57.185000000000002</c:v>
                </c:pt>
                <c:pt idx="988" formatCode="#,##0_);\(#,##0\);&quot;-  &quot;;&quot; &quot;@&quot; &quot;">
                  <c:v>55.185000000000002</c:v>
                </c:pt>
                <c:pt idx="989" formatCode="#,##0_);\(#,##0\);&quot;-  &quot;;&quot; &quot;@&quot; &quot;">
                  <c:v>55.365000000000002</c:v>
                </c:pt>
                <c:pt idx="990" formatCode="#,##0_);\(#,##0\);&quot;-  &quot;;&quot; &quot;@&quot; &quot;">
                  <c:v>56.475000000000001</c:v>
                </c:pt>
                <c:pt idx="991" formatCode="#,##0_);\(#,##0\);&quot;-  &quot;;&quot; &quot;@&quot; &quot;">
                  <c:v>55.78</c:v>
                </c:pt>
                <c:pt idx="992" formatCode="#,##0_);\(#,##0\);&quot;-  &quot;;&quot; &quot;@&quot; &quot;">
                  <c:v>55.344999999999999</c:v>
                </c:pt>
                <c:pt idx="993" formatCode="#,##0_);\(#,##0\);&quot;-  &quot;;&quot; &quot;@&quot; &quot;">
                  <c:v>56.53</c:v>
                </c:pt>
                <c:pt idx="994" formatCode="#,##0_);\(#,##0\);&quot;-  &quot;;&quot; &quot;@&quot; &quot;">
                  <c:v>57.454999999999998</c:v>
                </c:pt>
                <c:pt idx="995" formatCode="#,##0_);\(#,##0\);&quot;-  &quot;;&quot; &quot;@&quot; &quot;">
                  <c:v>57.335000000000001</c:v>
                </c:pt>
                <c:pt idx="996" formatCode="#,##0_);\(#,##0\);&quot;-  &quot;;&quot; &quot;@&quot; &quot;">
                  <c:v>57.68</c:v>
                </c:pt>
                <c:pt idx="997" formatCode="#,##0_);\(#,##0\);&quot;-  &quot;;&quot; &quot;@&quot; &quot;">
                  <c:v>57.505000000000003</c:v>
                </c:pt>
                <c:pt idx="998" formatCode="#,##0_);\(#,##0\);&quot;-  &quot;;&quot; &quot;@&quot; &quot;">
                  <c:v>57.594999999999999</c:v>
                </c:pt>
                <c:pt idx="999" formatCode="#,##0_);\(#,##0\);&quot;-  &quot;;&quot; &quot;@&quot; &quot;">
                  <c:v>57.68</c:v>
                </c:pt>
                <c:pt idx="1000" formatCode="#,##0_);\(#,##0\);&quot;-  &quot;;&quot; &quot;@&quot; &quot;">
                  <c:v>57.79</c:v>
                </c:pt>
                <c:pt idx="1001" formatCode="#,##0_);\(#,##0\);&quot;-  &quot;;&quot; &quot;@&quot; &quot;">
                  <c:v>58.305</c:v>
                </c:pt>
                <c:pt idx="1002" formatCode="#,##0_);\(#,##0\);&quot;-  &quot;;&quot; &quot;@&quot; &quot;">
                  <c:v>58.805</c:v>
                </c:pt>
                <c:pt idx="1003" formatCode="#,##0_);\(#,##0\);&quot;-  &quot;;&quot; &quot;@&quot; &quot;">
                  <c:v>60.335000000000001</c:v>
                </c:pt>
                <c:pt idx="1004" formatCode="#,##0_);\(#,##0\);&quot;-  &quot;;&quot; &quot;@&quot; &quot;">
                  <c:v>60.405000000000001</c:v>
                </c:pt>
                <c:pt idx="1005" formatCode="#,##0_);\(#,##0\);&quot;-  &quot;;&quot; &quot;@&quot; &quot;">
                  <c:v>60.93</c:v>
                </c:pt>
                <c:pt idx="1006" formatCode="#,##0_);\(#,##0\);&quot;-  &quot;;&quot; &quot;@&quot; &quot;">
                  <c:v>60.88</c:v>
                </c:pt>
                <c:pt idx="1007" formatCode="#,##0_);\(#,##0\);&quot;-  &quot;;&quot; &quot;@&quot; &quot;">
                  <c:v>60.475000000000001</c:v>
                </c:pt>
                <c:pt idx="1008" formatCode="#,##0_);\(#,##0\);&quot;-  &quot;;&quot; &quot;@&quot; &quot;">
                  <c:v>61.314999999999998</c:v>
                </c:pt>
                <c:pt idx="1009" formatCode="#,##0_);\(#,##0\);&quot;-  &quot;;&quot; &quot;@&quot; &quot;">
                  <c:v>64.069999999999993</c:v>
                </c:pt>
                <c:pt idx="1010" formatCode="#,##0_);\(#,##0\);&quot;-  &quot;;&quot; &quot;@&quot; &quot;">
                  <c:v>64.045000000000002</c:v>
                </c:pt>
                <c:pt idx="1011" formatCode="#,##0_);\(#,##0\);&quot;-  &quot;;&quot; &quot;@&quot; &quot;">
                  <c:v>64.040000000000006</c:v>
                </c:pt>
                <c:pt idx="1012" formatCode="#,##0_);\(#,##0\);&quot;-  &quot;;&quot; &quot;@&quot; &quot;">
                  <c:v>64.465000000000003</c:v>
                </c:pt>
                <c:pt idx="1013" formatCode="#,##0_);\(#,##0\);&quot;-  &quot;;&quot; &quot;@&quot; &quot;">
                  <c:v>64.215000000000003</c:v>
                </c:pt>
                <c:pt idx="1014" formatCode="#,##0_);\(#,##0\);&quot;-  &quot;;&quot; &quot;@&quot; &quot;">
                  <c:v>63.045000000000002</c:v>
                </c:pt>
                <c:pt idx="1015" formatCode="#,##0_);\(#,##0\);&quot;-  &quot;;&quot; &quot;@&quot; &quot;">
                  <c:v>60.98</c:v>
                </c:pt>
                <c:pt idx="1016" formatCode="#,##0_);\(#,##0\);&quot;-  &quot;;&quot; &quot;@&quot; &quot;">
                  <c:v>61.26</c:v>
                </c:pt>
                <c:pt idx="1017" formatCode="#,##0_);\(#,##0\);&quot;-  &quot;;&quot; &quot;@&quot; &quot;">
                  <c:v>61.134999999999998</c:v>
                </c:pt>
                <c:pt idx="1018" formatCode="#,##0_);\(#,##0\);&quot;-  &quot;;&quot; &quot;@&quot; &quot;">
                  <c:v>61.91</c:v>
                </c:pt>
                <c:pt idx="1019" formatCode="#,##0_);\(#,##0\);&quot;-  &quot;;&quot; &quot;@&quot; &quot;">
                  <c:v>61.375</c:v>
                </c:pt>
                <c:pt idx="1020" formatCode="#,##0_);\(#,##0\);&quot;-  &quot;;&quot; &quot;@&quot; &quot;">
                  <c:v>62.04</c:v>
                </c:pt>
                <c:pt idx="1021" formatCode="#,##0_);\(#,##0\);&quot;-  &quot;;&quot; &quot;@&quot; &quot;">
                  <c:v>62.58</c:v>
                </c:pt>
                <c:pt idx="1022" formatCode="#,##0_);\(#,##0\);&quot;-  &quot;;&quot; &quot;@&quot; &quot;">
                  <c:v>62.92</c:v>
                </c:pt>
                <c:pt idx="1023" formatCode="#,##0_);\(#,##0\);&quot;-  &quot;;&quot; &quot;@&quot; &quot;">
                  <c:v>63.435000000000002</c:v>
                </c:pt>
                <c:pt idx="1024" formatCode="#,##0_);\(#,##0\);&quot;-  &quot;;&quot; &quot;@&quot; &quot;">
                  <c:v>63.204999999999998</c:v>
                </c:pt>
                <c:pt idx="1025" formatCode="#,##0_);\(#,##0\);&quot;-  &quot;;&quot; &quot;@&quot; &quot;">
                  <c:v>63.664999999999999</c:v>
                </c:pt>
                <c:pt idx="1026" formatCode="#,##0_);\(#,##0\);&quot;-  &quot;;&quot; &quot;@&quot; &quot;">
                  <c:v>63.265000000000001</c:v>
                </c:pt>
                <c:pt idx="1027" formatCode="#,##0_);\(#,##0\);&quot;-  &quot;;&quot; &quot;@&quot; &quot;">
                  <c:v>63.22</c:v>
                </c:pt>
                <c:pt idx="1028" formatCode="#,##0_);\(#,##0\);&quot;-  &quot;;&quot; &quot;@&quot; &quot;">
                  <c:v>64.515000000000001</c:v>
                </c:pt>
                <c:pt idx="1029" formatCode="#,##0_);\(#,##0\);&quot;-  &quot;;&quot; &quot;@&quot; &quot;">
                  <c:v>63.41</c:v>
                </c:pt>
                <c:pt idx="1030" formatCode="#,##0_);\(#,##0\);&quot;-  &quot;;&quot; &quot;@&quot; &quot;">
                  <c:v>63.34</c:v>
                </c:pt>
                <c:pt idx="1031" formatCode="#,##0_);\(#,##0\);&quot;-  &quot;;&quot; &quot;@&quot; &quot;">
                  <c:v>62.125</c:v>
                </c:pt>
                <c:pt idx="1032" formatCode="#,##0_);\(#,##0\);&quot;-  &quot;;&quot; &quot;@&quot; &quot;">
                  <c:v>62.56</c:v>
                </c:pt>
                <c:pt idx="1033" formatCode="#,##0_);\(#,##0\);&quot;-  &quot;;&quot; &quot;@&quot; &quot;">
                  <c:v>63.954999999999998</c:v>
                </c:pt>
                <c:pt idx="1034" formatCode="#,##0_);\(#,##0\);&quot;-  &quot;;&quot; &quot;@&quot; &quot;">
                  <c:v>65.165000000000006</c:v>
                </c:pt>
                <c:pt idx="1035" formatCode="#,##0_);\(#,##0\);&quot;-  &quot;;&quot; &quot;@&quot; &quot;">
                  <c:v>64.69</c:v>
                </c:pt>
                <c:pt idx="1036" formatCode="#,##0_);\(#,##0\);&quot;-  &quot;;&quot; &quot;@&quot; &quot;">
                  <c:v>63.274999999999999</c:v>
                </c:pt>
                <c:pt idx="1037" formatCode="#,##0_);\(#,##0\);&quot;-  &quot;;&quot; &quot;@&quot; &quot;">
                  <c:v>63.645000000000003</c:v>
                </c:pt>
                <c:pt idx="1038" formatCode="#,##0_);\(#,##0\);&quot;-  &quot;;&quot; &quot;@&quot; &quot;">
                  <c:v>63.734999999999999</c:v>
                </c:pt>
                <c:pt idx="1039" formatCode="#,##0_);\(#,##0\);&quot;-  &quot;;&quot; &quot;@&quot; &quot;">
                  <c:v>63.814999999999998</c:v>
                </c:pt>
                <c:pt idx="1040" formatCode="#,##0_);\(#,##0\);&quot;-  &quot;;&quot; &quot;@&quot; &quot;">
                  <c:v>63.41</c:v>
                </c:pt>
                <c:pt idx="1041" formatCode="#,##0_);\(#,##0\);&quot;-  &quot;;&quot; &quot;@&quot; &quot;">
                  <c:v>64.415000000000006</c:v>
                </c:pt>
                <c:pt idx="1042" formatCode="#,##0_);\(#,##0\);&quot;-  &quot;;&quot; &quot;@&quot; &quot;">
                  <c:v>64.545000000000002</c:v>
                </c:pt>
                <c:pt idx="1043" formatCode="#,##0_);\(#,##0\);&quot;-  &quot;;&quot; &quot;@&quot; &quot;">
                  <c:v>64.290000000000006</c:v>
                </c:pt>
                <c:pt idx="1044" formatCode="#,##0_);\(#,##0\);&quot;-  &quot;;&quot; &quot;@&quot; &quot;">
                  <c:v>66.075000000000003</c:v>
                </c:pt>
                <c:pt idx="1045" formatCode="#,##0_);\(#,##0\);&quot;-  &quot;;&quot; &quot;@&quot; &quot;">
                  <c:v>66.075000000000003</c:v>
                </c:pt>
                <c:pt idx="1046" formatCode="#,##0_);\(#,##0\);&quot;-  &quot;;&quot; &quot;@&quot; &quot;">
                  <c:v>66.14</c:v>
                </c:pt>
                <c:pt idx="1047" formatCode="#,##0_);\(#,##0\);&quot;-  &quot;;&quot; &quot;@&quot; &quot;">
                  <c:v>66.534999999999997</c:v>
                </c:pt>
                <c:pt idx="1048" formatCode="#,##0_);\(#,##0\);&quot;-  &quot;;&quot; &quot;@&quot; &quot;">
                  <c:v>66.599999999999994</c:v>
                </c:pt>
                <c:pt idx="1049" formatCode="#,##0_);\(#,##0\);&quot;-  &quot;;&quot; &quot;@&quot; &quot;">
                  <c:v>68.064999999999998</c:v>
                </c:pt>
                <c:pt idx="1050" formatCode="#,##0_);\(#,##0\);&quot;-  &quot;;&quot; &quot;@&quot; &quot;">
                  <c:v>68.72</c:v>
                </c:pt>
                <c:pt idx="1051" formatCode="#,##0_);\(#,##0\);&quot;-  &quot;;&quot; &quot;@&quot; &quot;">
                  <c:v>68.165000000000006</c:v>
                </c:pt>
                <c:pt idx="1052" formatCode="#,##0_);\(#,##0\);&quot;-  &quot;;&quot; &quot;@&quot; &quot;">
                  <c:v>68.344999999999999</c:v>
                </c:pt>
                <c:pt idx="1053" formatCode="#,##0_);\(#,##0\);&quot;-  &quot;;&quot; &quot;@&quot; &quot;">
                  <c:v>69.114999999999995</c:v>
                </c:pt>
                <c:pt idx="1054" formatCode="#,##0_);\(#,##0\);&quot;-  &quot;;&quot; &quot;@&quot; &quot;">
                  <c:v>69.94</c:v>
                </c:pt>
                <c:pt idx="1055" formatCode="#,##0_);\(#,##0\);&quot;-  &quot;;&quot; &quot;@&quot; &quot;">
                  <c:v>70.709999999999994</c:v>
                </c:pt>
                <c:pt idx="1056" formatCode="#,##0_);\(#,##0\);&quot;-  &quot;;&quot; &quot;@&quot; &quot;">
                  <c:v>69.924999999999997</c:v>
                </c:pt>
                <c:pt idx="1057" formatCode="#,##0_);\(#,##0\);&quot;-  &quot;;&quot; &quot;@&quot; &quot;">
                  <c:v>70.495000000000005</c:v>
                </c:pt>
                <c:pt idx="1058" formatCode="#,##0_);\(#,##0\);&quot;-  &quot;;&quot; &quot;@&quot; &quot;">
                  <c:v>69.665000000000006</c:v>
                </c:pt>
                <c:pt idx="1059" formatCode="#,##0_);\(#,##0\);&quot;-  &quot;;&quot; &quot;@&quot; &quot;">
                  <c:v>69.355000000000004</c:v>
                </c:pt>
                <c:pt idx="1060" formatCode="#,##0_);\(#,##0\);&quot;-  &quot;;&quot; &quot;@&quot; &quot;">
                  <c:v>69.525000000000006</c:v>
                </c:pt>
                <c:pt idx="1061" formatCode="#,##0_);\(#,##0\);&quot;-  &quot;;&quot; &quot;@&quot; &quot;">
                  <c:v>68.56</c:v>
                </c:pt>
                <c:pt idx="1062" formatCode="#,##0_);\(#,##0\);&quot;-  &quot;;&quot; &quot;@&quot; &quot;">
                  <c:v>69.53</c:v>
                </c:pt>
                <c:pt idx="1063" formatCode="#,##0_);\(#,##0\);&quot;-  &quot;;&quot; &quot;@&quot; &quot;">
                  <c:v>69.989999999999995</c:v>
                </c:pt>
                <c:pt idx="1064" formatCode="#,##0_);\(#,##0\);&quot;-  &quot;;&quot; &quot;@&quot; &quot;">
                  <c:v>69.905000000000001</c:v>
                </c:pt>
                <c:pt idx="1065" formatCode="#,##0_);\(#,##0\);&quot;-  &quot;;&quot; &quot;@&quot; &quot;">
                  <c:v>70.58</c:v>
                </c:pt>
                <c:pt idx="1066" formatCode="#,##0_);\(#,##0\);&quot;-  &quot;;&quot; &quot;@&quot; &quot;">
                  <c:v>70.025000000000006</c:v>
                </c:pt>
                <c:pt idx="1067" formatCode="#,##0_);\(#,##0\);&quot;-  &quot;;&quot; &quot;@&quot; &quot;">
                  <c:v>68.59</c:v>
                </c:pt>
                <c:pt idx="1068" formatCode="#,##0_);\(#,##0\);&quot;-  &quot;;&quot; &quot;@&quot; &quot;">
                  <c:v>67.984999999999999</c:v>
                </c:pt>
                <c:pt idx="1069" formatCode="#,##0_);\(#,##0\);&quot;-  &quot;;&quot; &quot;@&quot; &quot;">
                  <c:v>68.09</c:v>
                </c:pt>
                <c:pt idx="1070" formatCode="#,##0_);\(#,##0\);&quot;-  &quot;;&quot; &quot;@&quot; &quot;">
                  <c:v>68.489999999999995</c:v>
                </c:pt>
                <c:pt idx="1071" formatCode="#,##0_);\(#,##0\);&quot;-  &quot;;&quot; &quot;@&quot; &quot;">
                  <c:v>67.59</c:v>
                </c:pt>
                <c:pt idx="1072" formatCode="#,##0_);\(#,##0\);&quot;-  &quot;;&quot; &quot;@&quot; &quot;">
                  <c:v>67.855000000000004</c:v>
                </c:pt>
                <c:pt idx="1073" formatCode="#,##0_);\(#,##0\);&quot;-  &quot;;&quot; &quot;@&quot; &quot;">
                  <c:v>66.734999999999999</c:v>
                </c:pt>
                <c:pt idx="1074" formatCode="#,##0_);\(#,##0\);&quot;-  &quot;;&quot; &quot;@&quot; &quot;">
                  <c:v>65.655000000000001</c:v>
                </c:pt>
                <c:pt idx="1075" formatCode="#,##0_);\(#,##0\);&quot;-  &quot;;&quot; &quot;@&quot; &quot;">
                  <c:v>64.144999999999996</c:v>
                </c:pt>
                <c:pt idx="1076" formatCode="#,##0_);\(#,##0\);&quot;-  &quot;;&quot; &quot;@&quot; &quot;">
                  <c:v>62.98</c:v>
                </c:pt>
                <c:pt idx="1077" formatCode="#,##0_);\(#,##0\);&quot;-  &quot;;&quot; &quot;@&quot; &quot;">
                  <c:v>62.424999999999997</c:v>
                </c:pt>
                <c:pt idx="1078" formatCode="#,##0_);\(#,##0\);&quot;-  &quot;;&quot; &quot;@&quot; &quot;">
                  <c:v>61.52</c:v>
                </c:pt>
                <c:pt idx="1079" formatCode="#,##0_);\(#,##0\);&quot;-  &quot;;&quot; &quot;@&quot; &quot;">
                  <c:v>62.47</c:v>
                </c:pt>
                <c:pt idx="1080" formatCode="#,##0_);\(#,##0\);&quot;-  &quot;;&quot; &quot;@&quot; &quot;">
                  <c:v>63.02</c:v>
                </c:pt>
                <c:pt idx="1081" formatCode="#,##0_);\(#,##0\);&quot;-  &quot;;&quot; &quot;@&quot; &quot;">
                  <c:v>64.144999999999996</c:v>
                </c:pt>
                <c:pt idx="1082" formatCode="#,##0_);\(#,##0\);&quot;-  &quot;;&quot; &quot;@&quot; &quot;">
                  <c:v>64.915000000000006</c:v>
                </c:pt>
                <c:pt idx="1083" formatCode="#,##0_);\(#,##0\);&quot;-  &quot;;&quot; &quot;@&quot; &quot;">
                  <c:v>64.33</c:v>
                </c:pt>
                <c:pt idx="1084" formatCode="#,##0_);\(#,##0\);&quot;-  &quot;;&quot; &quot;@&quot; &quot;">
                  <c:v>64.760000000000005</c:v>
                </c:pt>
                <c:pt idx="1085" formatCode="#,##0_);\(#,##0\);&quot;-  &quot;;&quot; &quot;@&quot; &quot;">
                  <c:v>65.86</c:v>
                </c:pt>
                <c:pt idx="1086" formatCode="#,##0_);\(#,##0\);&quot;-  &quot;;&quot; &quot;@&quot; &quot;">
                  <c:v>66.375</c:v>
                </c:pt>
                <c:pt idx="1087" formatCode="#,##0_);\(#,##0\);&quot;-  &quot;;&quot; &quot;@&quot; &quot;">
                  <c:v>67.64</c:v>
                </c:pt>
                <c:pt idx="1088" formatCode="#,##0_);\(#,##0\);&quot;-  &quot;;&quot; &quot;@&quot; &quot;">
                  <c:v>67.174999999999997</c:v>
                </c:pt>
                <c:pt idx="1089" formatCode="#,##0_);\(#,##0\);&quot;-  &quot;;&quot; &quot;@&quot; &quot;">
                  <c:v>65.73</c:v>
                </c:pt>
                <c:pt idx="1090" formatCode="#,##0_);\(#,##0\);&quot;-  &quot;;&quot; &quot;@&quot; &quot;">
                  <c:v>64.06</c:v>
                </c:pt>
                <c:pt idx="1091" formatCode="#,##0_);\(#,##0\);&quot;-  &quot;;&quot; &quot;@&quot; &quot;">
                  <c:v>64.194999999999993</c:v>
                </c:pt>
                <c:pt idx="1092" formatCode="#,##0_);\(#,##0\);&quot;-  &quot;;&quot; &quot;@&quot; &quot;">
                  <c:v>65.849999999999994</c:v>
                </c:pt>
                <c:pt idx="1093" formatCode="#,##0_);\(#,##0\);&quot;-  &quot;;&quot; &quot;@&quot; &quot;">
                  <c:v>65.614999999999995</c:v>
                </c:pt>
                <c:pt idx="1094" formatCode="#,##0_);\(#,##0\);&quot;-  &quot;;&quot; &quot;@&quot; &quot;">
                  <c:v>65.25</c:v>
                </c:pt>
                <c:pt idx="1095" formatCode="#,##0_);\(#,##0\);&quot;-  &quot;;&quot; &quot;@&quot; &quot;">
                  <c:v>64.02</c:v>
                </c:pt>
                <c:pt idx="1096" formatCode="#,##0_);\(#,##0\);&quot;-  &quot;;&quot; &quot;@&quot; &quot;">
                  <c:v>65.314999999999998</c:v>
                </c:pt>
                <c:pt idx="1097" formatCode="#,##0_);\(#,##0\);&quot;-  &quot;;&quot; &quot;@&quot; &quot;">
                  <c:v>64.430000000000007</c:v>
                </c:pt>
                <c:pt idx="1098" formatCode="#,##0_);\(#,##0\);&quot;-  &quot;;&quot; &quot;@&quot; &quot;">
                  <c:v>64.09</c:v>
                </c:pt>
                <c:pt idx="1099" formatCode="#,##0_);\(#,##0\);&quot;-  &quot;;&quot; &quot;@&quot; &quot;">
                  <c:v>63.46</c:v>
                </c:pt>
                <c:pt idx="1100" formatCode="#,##0_);\(#,##0\);&quot;-  &quot;;&quot; &quot;@&quot; &quot;">
                  <c:v>63.68</c:v>
                </c:pt>
                <c:pt idx="1101" formatCode="#,##0_);\(#,##0\);&quot;-  &quot;;&quot; &quot;@&quot; &quot;">
                  <c:v>64.62</c:v>
                </c:pt>
                <c:pt idx="1102" formatCode="#,##0_);\(#,##0\);&quot;-  &quot;;&quot; &quot;@&quot; &quot;">
                  <c:v>65.015000000000001</c:v>
                </c:pt>
                <c:pt idx="1103" formatCode="#,##0_);\(#,##0\);&quot;-  &quot;;&quot; &quot;@&quot; &quot;">
                  <c:v>66.13</c:v>
                </c:pt>
                <c:pt idx="1104" formatCode="#,##0_);\(#,##0\);&quot;-  &quot;;&quot; &quot;@&quot; &quot;">
                  <c:v>68.314999999999998</c:v>
                </c:pt>
                <c:pt idx="1105" formatCode="#,##0_);\(#,##0\);&quot;-  &quot;;&quot; &quot;@&quot; &quot;">
                  <c:v>68.234999999999999</c:v>
                </c:pt>
                <c:pt idx="1106" formatCode="#,##0_);\(#,##0\);&quot;-  &quot;;&quot; &quot;@&quot; &quot;">
                  <c:v>68.95</c:v>
                </c:pt>
                <c:pt idx="1107" formatCode="#,##0_);\(#,##0\);&quot;-  &quot;;&quot; &quot;@&quot; &quot;">
                  <c:v>68.655000000000001</c:v>
                </c:pt>
                <c:pt idx="1108" formatCode="#,##0_);\(#,##0\);&quot;-  &quot;;&quot; &quot;@&quot; &quot;">
                  <c:v>68.61</c:v>
                </c:pt>
                <c:pt idx="1109" formatCode="#,##0_);\(#,##0\);&quot;-  &quot;;&quot; &quot;@&quot; &quot;">
                  <c:v>68.144999999999996</c:v>
                </c:pt>
                <c:pt idx="1110" formatCode="#,##0_);\(#,##0\);&quot;-  &quot;;&quot; &quot;@&quot; &quot;">
                  <c:v>67.314999999999998</c:v>
                </c:pt>
                <c:pt idx="1111" formatCode="#,##0_);\(#,##0\);&quot;-  &quot;;&quot; &quot;@&quot; &quot;">
                  <c:v>67.040000000000006</c:v>
                </c:pt>
                <c:pt idx="1112" formatCode="#,##0_);\(#,##0\);&quot;-  &quot;;&quot; &quot;@&quot; &quot;">
                  <c:v>67.040000000000006</c:v>
                </c:pt>
                <c:pt idx="1113" formatCode="#,##0_);\(#,##0\);&quot;-  &quot;;&quot; &quot;@&quot; &quot;">
                  <c:v>66.504999999999995</c:v>
                </c:pt>
                <c:pt idx="1114" formatCode="#,##0_);\(#,##0\);&quot;-  &quot;;&quot; &quot;@&quot; &quot;">
                  <c:v>67.165000000000006</c:v>
                </c:pt>
                <c:pt idx="1115" formatCode="#,##0_);\(#,##0\);&quot;-  &quot;;&quot; &quot;@&quot; &quot;">
                  <c:v>66.48</c:v>
                </c:pt>
                <c:pt idx="1116" formatCode="#,##0_);\(#,##0\);&quot;-  &quot;;&quot; &quot;@&quot; &quot;">
                  <c:v>67.86</c:v>
                </c:pt>
                <c:pt idx="1117" formatCode="#,##0_);\(#,##0\);&quot;-  &quot;;&quot; &quot;@&quot; &quot;">
                  <c:v>70.265000000000001</c:v>
                </c:pt>
                <c:pt idx="1118" formatCode="#,##0_);\(#,##0\);&quot;-  &quot;;&quot; &quot;@&quot; &quot;">
                  <c:v>72.545000000000002</c:v>
                </c:pt>
                <c:pt idx="1119" formatCode="#,##0_);\(#,##0\);&quot;-  &quot;;&quot; &quot;@&quot; &quot;">
                  <c:v>71.459999999999994</c:v>
                </c:pt>
                <c:pt idx="1120" formatCode="#,##0_);\(#,##0\);&quot;-  &quot;;&quot; &quot;@&quot; &quot;">
                  <c:v>72.704999999999998</c:v>
                </c:pt>
                <c:pt idx="1121" formatCode="#,##0_);\(#,##0\);&quot;-  &quot;;&quot; &quot;@&quot; &quot;">
                  <c:v>71.900000000000006</c:v>
                </c:pt>
                <c:pt idx="1122" formatCode="#,##0_);\(#,##0\);&quot;-  &quot;;&quot; &quot;@&quot; &quot;">
                  <c:v>71.849999999999994</c:v>
                </c:pt>
                <c:pt idx="1123" formatCode="#,##0_);\(#,##0\);&quot;-  &quot;;&quot; &quot;@&quot; &quot;">
                  <c:v>73.415000000000006</c:v>
                </c:pt>
                <c:pt idx="1124" formatCode="#,##0_);\(#,##0\);&quot;-  &quot;;&quot; &quot;@&quot; &quot;">
                  <c:v>75.03</c:v>
                </c:pt>
                <c:pt idx="1125" formatCode="#,##0_);\(#,##0\);&quot;-  &quot;;&quot; &quot;@&quot; &quot;">
                  <c:v>73.894999999999996</c:v>
                </c:pt>
                <c:pt idx="1126" formatCode="#,##0_);\(#,##0\);&quot;-  &quot;;&quot; &quot;@&quot; &quot;">
                  <c:v>74.295000000000002</c:v>
                </c:pt>
                <c:pt idx="1127" formatCode="#,##0_);\(#,##0\);&quot;-  &quot;;&quot; &quot;@&quot; &quot;">
                  <c:v>75.254999999999995</c:v>
                </c:pt>
                <c:pt idx="1128" formatCode="#,##0_);\(#,##0\);&quot;-  &quot;;&quot; &quot;@&quot; &quot;">
                  <c:v>73.995000000000005</c:v>
                </c:pt>
                <c:pt idx="1129" formatCode="#,##0_);\(#,##0\);&quot;-  &quot;;&quot; &quot;@&quot; &quot;">
                  <c:v>74.81</c:v>
                </c:pt>
                <c:pt idx="1130" formatCode="#,##0_);\(#,##0\);&quot;-  &quot;;&quot; &quot;@&quot; &quot;">
                  <c:v>74.444999999999993</c:v>
                </c:pt>
                <c:pt idx="1131" formatCode="#,##0_);\(#,##0\);&quot;-  &quot;;&quot; &quot;@&quot; &quot;">
                  <c:v>75.105000000000004</c:v>
                </c:pt>
                <c:pt idx="1132" formatCode="#,##0_);\(#,##0\);&quot;-  &quot;;&quot; &quot;@&quot; &quot;">
                  <c:v>74.37</c:v>
                </c:pt>
                <c:pt idx="1133" formatCode="#,##0_);\(#,##0\);&quot;-  &quot;;&quot; &quot;@&quot; &quot;">
                  <c:v>73.075000000000003</c:v>
                </c:pt>
                <c:pt idx="1134" formatCode="#,##0_);\(#,##0\);&quot;-  &quot;;&quot; &quot;@&quot; &quot;">
                  <c:v>73.56</c:v>
                </c:pt>
                <c:pt idx="1135" formatCode="#,##0_);\(#,##0\);&quot;-  &quot;;&quot; &quot;@&quot; &quot;">
                  <c:v>74.55</c:v>
                </c:pt>
                <c:pt idx="1136" formatCode="#,##0_);\(#,##0\);&quot;-  &quot;;&quot; &quot;@&quot; &quot;">
                  <c:v>74.305000000000007</c:v>
                </c:pt>
                <c:pt idx="1137" formatCode="#,##0_);\(#,##0\);&quot;-  &quot;;&quot; &quot;@&quot; &quot;">
                  <c:v>74.305000000000007</c:v>
                </c:pt>
                <c:pt idx="1138" formatCode="#,##0_);\(#,##0\);&quot;-  &quot;;&quot; &quot;@&quot; &quot;">
                  <c:v>77.305000000000007</c:v>
                </c:pt>
                <c:pt idx="1139" formatCode="#,##0_);\(#,##0\);&quot;-  &quot;;&quot; &quot;@&quot; &quot;">
                  <c:v>77.215000000000003</c:v>
                </c:pt>
                <c:pt idx="1140" formatCode="#,##0_);\(#,##0\);&quot;-  &quot;;&quot; &quot;@&quot; &quot;">
                  <c:v>77.3</c:v>
                </c:pt>
                <c:pt idx="1141" formatCode="#,##0_);\(#,##0\);&quot;-  &quot;;&quot; &quot;@&quot; &quot;">
                  <c:v>78.08</c:v>
                </c:pt>
                <c:pt idx="1142" formatCode="#,##0_);\(#,##0\);&quot;-  &quot;;&quot; &quot;@&quot; &quot;">
                  <c:v>78.754999999999995</c:v>
                </c:pt>
                <c:pt idx="1143" formatCode="#,##0_);\(#,##0\);&quot;-  &quot;;&quot; &quot;@&quot; &quot;">
                  <c:v>78.239999999999995</c:v>
                </c:pt>
                <c:pt idx="1144" formatCode="#,##0_);\(#,##0\);&quot;-  &quot;;&quot; &quot;@&quot; &quot;">
                  <c:v>80.290000000000006</c:v>
                </c:pt>
                <c:pt idx="1145" formatCode="#,##0_);\(#,##0\);&quot;-  &quot;;&quot; &quot;@&quot; &quot;">
                  <c:v>78.430000000000007</c:v>
                </c:pt>
                <c:pt idx="1146" formatCode="#,##0_);\(#,##0\);&quot;-  &quot;;&quot; &quot;@&quot; &quot;">
                  <c:v>78.59</c:v>
                </c:pt>
                <c:pt idx="1147" formatCode="#,##0_);\(#,##0\);&quot;-  &quot;;&quot; &quot;@&quot; &quot;">
                  <c:v>80.224999999999994</c:v>
                </c:pt>
                <c:pt idx="1148" formatCode="#,##0_);\(#,##0\);&quot;-  &quot;;&quot; &quot;@&quot; &quot;">
                  <c:v>78.8</c:v>
                </c:pt>
                <c:pt idx="1149" formatCode="#,##0_);\(#,##0\);&quot;-  &quot;;&quot; &quot;@&quot; &quot;">
                  <c:v>79.034999999999997</c:v>
                </c:pt>
                <c:pt idx="1150" formatCode="#,##0_);\(#,##0\);&quot;-  &quot;;&quot; &quot;@&quot; &quot;">
                  <c:v>76.424999999999997</c:v>
                </c:pt>
                <c:pt idx="1151" formatCode="#,##0_);\(#,##0\);&quot;-  &quot;;&quot; &quot;@&quot; &quot;">
                  <c:v>74.56</c:v>
                </c:pt>
                <c:pt idx="1152" formatCode="#,##0_);\(#,##0\);&quot;-  &quot;;&quot; &quot;@&quot; &quot;">
                  <c:v>75.95</c:v>
                </c:pt>
                <c:pt idx="1153" formatCode="#,##0_);\(#,##0\);&quot;-  &quot;;&quot; &quot;@&quot; &quot;">
                  <c:v>76.47</c:v>
                </c:pt>
                <c:pt idx="1154" formatCode="#,##0_);\(#,##0\);&quot;-  &quot;;&quot; &quot;@&quot; &quot;">
                  <c:v>74.875</c:v>
                </c:pt>
                <c:pt idx="1155" formatCode="#,##0_);\(#,##0\);&quot;-  &quot;;&quot; &quot;@&quot; &quot;">
                  <c:v>73.754999999999995</c:v>
                </c:pt>
                <c:pt idx="1156" formatCode="#,##0_);\(#,##0\);&quot;-  &quot;;&quot; &quot;@&quot; &quot;">
                  <c:v>73.19</c:v>
                </c:pt>
                <c:pt idx="1157" formatCode="#,##0_);\(#,##0\);&quot;-  &quot;;&quot; &quot;@&quot; &quot;">
                  <c:v>73.650000000000006</c:v>
                </c:pt>
                <c:pt idx="1158" formatCode="#,##0_);\(#,##0\);&quot;-  &quot;;&quot; &quot;@&quot; &quot;">
                  <c:v>75.545000000000002</c:v>
                </c:pt>
                <c:pt idx="1159" formatCode="#,##0_);\(#,##0\);&quot;-  &quot;;&quot; &quot;@&quot; &quot;">
                  <c:v>75.034999999999997</c:v>
                </c:pt>
                <c:pt idx="1160" formatCode="#,##0_);\(#,##0\);&quot;-  &quot;;&quot; &quot;@&quot; &quot;">
                  <c:v>75.034999999999997</c:v>
                </c:pt>
                <c:pt idx="1161" formatCode="#,##0_);\(#,##0\);&quot;-  &quot;;&quot; &quot;@&quot; &quot;">
                  <c:v>74.915000000000006</c:v>
                </c:pt>
                <c:pt idx="1162" formatCode="#,##0_);\(#,##0\);&quot;-  &quot;;&quot; &quot;@&quot; &quot;">
                  <c:v>74.905000000000001</c:v>
                </c:pt>
                <c:pt idx="1163" formatCode="#,##0_);\(#,##0\);&quot;-  &quot;;&quot; &quot;@&quot; &quot;">
                  <c:v>74.834999999999994</c:v>
                </c:pt>
                <c:pt idx="1164" formatCode="#,##0_);\(#,##0\);&quot;-  &quot;;&quot; &quot;@&quot; &quot;">
                  <c:v>72.254999999999995</c:v>
                </c:pt>
                <c:pt idx="1165" formatCode="#,##0_);\(#,##0\);&quot;-  &quot;;&quot; &quot;@&quot; &quot;">
                  <c:v>73.495000000000005</c:v>
                </c:pt>
                <c:pt idx="1166" formatCode="#,##0_);\(#,##0\);&quot;-  &quot;;&quot; &quot;@&quot; &quot;">
                  <c:v>73.53</c:v>
                </c:pt>
                <c:pt idx="1167" formatCode="#,##0_);\(#,##0\);&quot;-  &quot;;&quot; &quot;@&quot; &quot;">
                  <c:v>73.635000000000005</c:v>
                </c:pt>
                <c:pt idx="1168" formatCode="#,##0_);\(#,##0\);&quot;-  &quot;;&quot; &quot;@&quot; &quot;">
                  <c:v>72.430000000000007</c:v>
                </c:pt>
                <c:pt idx="1169" formatCode="#,##0_);\(#,##0\);&quot;-  &quot;;&quot; &quot;@&quot; &quot;">
                  <c:v>73.239999999999995</c:v>
                </c:pt>
                <c:pt idx="1170" formatCode="#,##0_);\(#,##0\);&quot;-  &quot;;&quot; &quot;@&quot; &quot;">
                  <c:v>72.924999999999997</c:v>
                </c:pt>
                <c:pt idx="1171" formatCode="#,##0_);\(#,##0\);&quot;-  &quot;;&quot; &quot;@&quot; &quot;">
                  <c:v>73.680000000000007</c:v>
                </c:pt>
                <c:pt idx="1172" formatCode="#,##0_);\(#,##0\);&quot;-  &quot;;&quot; &quot;@&quot; &quot;">
                  <c:v>76.265000000000001</c:v>
                </c:pt>
                <c:pt idx="1173" formatCode="#,##0_);\(#,##0\);&quot;-  &quot;;&quot; &quot;@&quot; &quot;">
                  <c:v>75.739999999999995</c:v>
                </c:pt>
                <c:pt idx="1174" formatCode="#,##0_);\(#,##0\);&quot;-  &quot;;&quot; &quot;@&quot; &quot;">
                  <c:v>77.900000000000006</c:v>
                </c:pt>
                <c:pt idx="1175" formatCode="#,##0_);\(#,##0\);&quot;-  &quot;;&quot; &quot;@&quot; &quot;">
                  <c:v>76.644999999999996</c:v>
                </c:pt>
                <c:pt idx="1176" formatCode="#,##0_);\(#,##0\);&quot;-  &quot;;&quot; &quot;@&quot; &quot;">
                  <c:v>75.905000000000001</c:v>
                </c:pt>
                <c:pt idx="1177" formatCode="#,##0_);\(#,##0\);&quot;-  &quot;;&quot; &quot;@&quot; &quot;">
                  <c:v>77.064999999999998</c:v>
                </c:pt>
                <c:pt idx="1178" formatCode="#,##0_);\(#,##0\);&quot;-  &quot;;&quot; &quot;@&quot; &quot;">
                  <c:v>77.010000000000005</c:v>
                </c:pt>
                <c:pt idx="1179" formatCode="#,##0_);\(#,##0\);&quot;-  &quot;;&quot; &quot;@&quot; &quot;">
                  <c:v>75.69</c:v>
                </c:pt>
                <c:pt idx="1180" formatCode="#,##0_);\(#,##0\);&quot;-  &quot;;&quot; &quot;@&quot; &quot;">
                  <c:v>76.825000000000003</c:v>
                </c:pt>
                <c:pt idx="1181" formatCode="#,##0_);\(#,##0\);&quot;-  &quot;;&quot; &quot;@&quot; &quot;">
                  <c:v>77.67</c:v>
                </c:pt>
                <c:pt idx="1182" formatCode="#,##0_);\(#,##0\);&quot;-  &quot;;&quot; &quot;@&quot; &quot;">
                  <c:v>75.135000000000005</c:v>
                </c:pt>
                <c:pt idx="1183" formatCode="#,##0_);\(#,##0\);&quot;-  &quot;;&quot; &quot;@&quot; &quot;">
                  <c:v>72.165000000000006</c:v>
                </c:pt>
                <c:pt idx="1184" formatCode="#,##0_);\(#,##0\);&quot;-  &quot;;&quot; &quot;@&quot; &quot;">
                  <c:v>74.27</c:v>
                </c:pt>
                <c:pt idx="1185" formatCode="#,##0_);\(#,##0\);&quot;-  &quot;;&quot; &quot;@&quot; &quot;">
                  <c:v>71.165000000000006</c:v>
                </c:pt>
                <c:pt idx="1186" formatCode="#,##0_);\(#,##0\);&quot;-  &quot;;&quot; &quot;@&quot; &quot;">
                  <c:v>70.709999999999994</c:v>
                </c:pt>
                <c:pt idx="1187" formatCode="#,##0_);\(#,##0\);&quot;-  &quot;;&quot; &quot;@&quot; &quot;">
                  <c:v>70.540000000000006</c:v>
                </c:pt>
                <c:pt idx="1188" formatCode="#,##0_);\(#,##0\);&quot;-  &quot;;&quot; &quot;@&quot; &quot;">
                  <c:v>72.155000000000001</c:v>
                </c:pt>
                <c:pt idx="1189" formatCode="#,##0_);\(#,##0\);&quot;-  &quot;;&quot; &quot;@&quot; &quot;">
                  <c:v>72.155000000000001</c:v>
                </c:pt>
                <c:pt idx="1190" formatCode="#,##0_);\(#,##0\);&quot;-  &quot;;&quot; &quot;@&quot; &quot;">
                  <c:v>73.614999999999995</c:v>
                </c:pt>
                <c:pt idx="1191" formatCode="#,##0_);\(#,##0\);&quot;-  &quot;;&quot; &quot;@&quot; &quot;">
                  <c:v>73.734999999999999</c:v>
                </c:pt>
                <c:pt idx="1192" formatCode="#,##0_);\(#,##0\);&quot;-  &quot;;&quot; &quot;@&quot; &quot;">
                  <c:v>73.98</c:v>
                </c:pt>
                <c:pt idx="1193" formatCode="#,##0_);\(#,##0\);&quot;-  &quot;;&quot; &quot;@&quot; &quot;">
                  <c:v>74.709999999999994</c:v>
                </c:pt>
                <c:pt idx="1194" formatCode="#,##0_);\(#,##0\);&quot;-  &quot;;&quot; &quot;@&quot; &quot;">
                  <c:v>74.930000000000007</c:v>
                </c:pt>
                <c:pt idx="1195" formatCode="#,##0_);\(#,##0\);&quot;-  &quot;;&quot; &quot;@&quot; &quot;">
                  <c:v>75.125</c:v>
                </c:pt>
                <c:pt idx="1196" formatCode="#,##0_);\(#,##0\);&quot;-  &quot;;&quot; &quot;@&quot; &quot;">
                  <c:v>74.459999999999994</c:v>
                </c:pt>
                <c:pt idx="1197" formatCode="#,##0_);\(#,##0\);&quot;-  &quot;;&quot; &quot;@&quot; &quot;">
                  <c:v>72.474999999999994</c:v>
                </c:pt>
                <c:pt idx="1198" formatCode="#,##0_);\(#,##0\);&quot;-  &quot;;&quot; &quot;@&quot; &quot;">
                  <c:v>73.174999999999997</c:v>
                </c:pt>
                <c:pt idx="1199" formatCode="#,##0_);\(#,##0\);&quot;-  &quot;;&quot; &quot;@&quot; &quot;">
                  <c:v>72.44</c:v>
                </c:pt>
                <c:pt idx="1200" formatCode="#,##0_);\(#,##0\);&quot;-  &quot;;&quot; &quot;@&quot; &quot;">
                  <c:v>72.625</c:v>
                </c:pt>
                <c:pt idx="1201" formatCode="#,##0_);\(#,##0\);&quot;-  &quot;;&quot; &quot;@&quot; &quot;">
                  <c:v>72.745000000000005</c:v>
                </c:pt>
                <c:pt idx="1202" formatCode="#,##0_);\(#,##0\);&quot;-  &quot;;&quot; &quot;@&quot; &quot;">
                  <c:v>70.495000000000005</c:v>
                </c:pt>
                <c:pt idx="1203" formatCode="#,##0_);\(#,##0\);&quot;-  &quot;;&quot; &quot;@&quot; &quot;">
                  <c:v>70.625</c:v>
                </c:pt>
                <c:pt idx="1204" formatCode="#,##0_);\(#,##0\);&quot;-  &quot;;&quot; &quot;@&quot; &quot;">
                  <c:v>71.27</c:v>
                </c:pt>
                <c:pt idx="1205" formatCode="#,##0_);\(#,##0\);&quot;-  &quot;;&quot; &quot;@&quot; &quot;">
                  <c:v>70.974999999999994</c:v>
                </c:pt>
                <c:pt idx="1206" formatCode="#,##0_);\(#,##0\);&quot;-  &quot;;&quot; &quot;@&quot; &quot;">
                  <c:v>71.09</c:v>
                </c:pt>
                <c:pt idx="1207" formatCode="#,##0_);\(#,##0\);&quot;-  &quot;;&quot; &quot;@&quot; &quot;">
                  <c:v>68.864999999999995</c:v>
                </c:pt>
                <c:pt idx="1208" formatCode="#,##0_);\(#,##0\);&quot;-  &quot;;&quot; &quot;@&quot; &quot;">
                  <c:v>69.825000000000003</c:v>
                </c:pt>
                <c:pt idx="1209" formatCode="#,##0_);\(#,##0\);&quot;-  &quot;;&quot; &quot;@&quot; &quot;">
                  <c:v>70.625</c:v>
                </c:pt>
                <c:pt idx="1210" formatCode="#,##0_);\(#,##0\);&quot;-  &quot;;&quot; &quot;@&quot; &quot;">
                  <c:v>70.83</c:v>
                </c:pt>
                <c:pt idx="1211" formatCode="#,##0_);\(#,##0\);&quot;-  &quot;;&quot; &quot;@&quot; &quot;">
                  <c:v>71.275000000000006</c:v>
                </c:pt>
                <c:pt idx="1212" formatCode="#,##0_);\(#,##0\);&quot;-  &quot;;&quot; &quot;@&quot; &quot;">
                  <c:v>73.174999999999997</c:v>
                </c:pt>
                <c:pt idx="1213" formatCode="#,##0_);\(#,##0\);&quot;-  &quot;;&quot; &quot;@&quot; &quot;">
                  <c:v>73.819999999999993</c:v>
                </c:pt>
                <c:pt idx="1214" formatCode="#,##0_);\(#,##0\);&quot;-  &quot;;&quot; &quot;@&quot; &quot;">
                  <c:v>75.06</c:v>
                </c:pt>
                <c:pt idx="1215" formatCode="#,##0_);\(#,##0\);&quot;-  &quot;;&quot; &quot;@&quot; &quot;">
                  <c:v>75.989999999999995</c:v>
                </c:pt>
                <c:pt idx="1216" formatCode="#,##0_);\(#,##0\);&quot;-  &quot;;&quot; &quot;@&quot; &quot;">
                  <c:v>75.989999999999995</c:v>
                </c:pt>
                <c:pt idx="1217" formatCode="#,##0_);\(#,##0\);&quot;-  &quot;;&quot; &quot;@&quot; &quot;">
                  <c:v>75.94</c:v>
                </c:pt>
                <c:pt idx="1218" formatCode="#,##0_);\(#,##0\);&quot;-  &quot;;&quot; &quot;@&quot; &quot;">
                  <c:v>76.885000000000005</c:v>
                </c:pt>
                <c:pt idx="1219" formatCode="#,##0_);\(#,##0\);&quot;-  &quot;;&quot; &quot;@&quot; &quot;">
                  <c:v>77.459999999999994</c:v>
                </c:pt>
                <c:pt idx="1220" formatCode="#,##0_);\(#,##0\);&quot;-  &quot;;&quot; &quot;@&quot; &quot;">
                  <c:v>77.784999999999997</c:v>
                </c:pt>
                <c:pt idx="1221" formatCode="#,##0_);\(#,##0\);&quot;-  &quot;;&quot; &quot;@&quot; &quot;">
                  <c:v>77.525000000000006</c:v>
                </c:pt>
                <c:pt idx="1222" formatCode="#,##0_);\(#,##0\);&quot;-  &quot;;&quot; &quot;@&quot; &quot;">
                  <c:v>76.89</c:v>
                </c:pt>
                <c:pt idx="1223" formatCode="#,##0_);\(#,##0\);&quot;-  &quot;;&quot; &quot;@&quot; &quot;">
                  <c:v>75.59</c:v>
                </c:pt>
                <c:pt idx="1224" formatCode="#,##0_);\(#,##0\);&quot;-  &quot;;&quot; &quot;@&quot; &quot;">
                  <c:v>75.510000000000005</c:v>
                </c:pt>
                <c:pt idx="1225" formatCode="#,##0_);\(#,##0\);&quot;-  &quot;;&quot; &quot;@&quot; &quot;">
                  <c:v>76.635000000000005</c:v>
                </c:pt>
                <c:pt idx="1226" formatCode="#,##0_);\(#,##0\);&quot;-  &quot;;&quot; &quot;@&quot; &quot;">
                  <c:v>77.930000000000007</c:v>
                </c:pt>
                <c:pt idx="1227" formatCode="#,##0_);\(#,##0\);&quot;-  &quot;;&quot; &quot;@&quot; &quot;">
                  <c:v>79.185000000000002</c:v>
                </c:pt>
                <c:pt idx="1228" formatCode="#,##0_);\(#,##0\);&quot;-  &quot;;&quot; &quot;@&quot; &quot;">
                  <c:v>77.594999999999999</c:v>
                </c:pt>
                <c:pt idx="1229" formatCode="#,##0_);\(#,##0\);&quot;-  &quot;;&quot; &quot;@&quot; &quot;">
                  <c:v>77.795000000000002</c:v>
                </c:pt>
                <c:pt idx="1230" formatCode="#,##0_);\(#,##0\);&quot;-  &quot;;&quot; &quot;@&quot; &quot;">
                  <c:v>78.290000000000006</c:v>
                </c:pt>
                <c:pt idx="1231" formatCode="#,##0_);\(#,##0\);&quot;-  &quot;;&quot; &quot;@&quot; &quot;">
                  <c:v>79.094999999999999</c:v>
                </c:pt>
                <c:pt idx="1232" formatCode="#,##0_);\(#,##0\);&quot;-  &quot;;&quot; &quot;@&quot; &quot;">
                  <c:v>79.22</c:v>
                </c:pt>
                <c:pt idx="1233" formatCode="#,##0_);\(#,##0\);&quot;-  &quot;;&quot; &quot;@&quot; &quot;">
                  <c:v>78.754999999999995</c:v>
                </c:pt>
                <c:pt idx="1234" formatCode="#,##0_);\(#,##0\);&quot;-  &quot;;&quot; &quot;@&quot; &quot;">
                  <c:v>78.8</c:v>
                </c:pt>
                <c:pt idx="1235" formatCode="#,##0_);\(#,##0\);&quot;-  &quot;;&quot; &quot;@&quot; &quot;">
                  <c:v>80.905000000000001</c:v>
                </c:pt>
                <c:pt idx="1236" formatCode="#,##0_);\(#,##0\);&quot;-  &quot;;&quot; &quot;@&quot; &quot;">
                  <c:v>82.36</c:v>
                </c:pt>
                <c:pt idx="1237" formatCode="#,##0_);\(#,##0\);&quot;-  &quot;;&quot; &quot;@&quot; &quot;">
                  <c:v>81.72</c:v>
                </c:pt>
                <c:pt idx="1238" formatCode="#,##0_);\(#,##0\);&quot;-  &quot;;&quot; &quot;@&quot; &quot;">
                  <c:v>81.834999999999994</c:v>
                </c:pt>
                <c:pt idx="1239" formatCode="#,##0_);\(#,##0\);&quot;-  &quot;;&quot; &quot;@&quot; &quot;">
                  <c:v>83.644999999999996</c:v>
                </c:pt>
                <c:pt idx="1240" formatCode="#,##0_);\(#,##0\);&quot;-  &quot;;&quot; &quot;@&quot; &quot;">
                  <c:v>84.685000000000002</c:v>
                </c:pt>
                <c:pt idx="1241" formatCode="#,##0_);\(#,##0\);&quot;-  &quot;;&quot; &quot;@&quot; &quot;">
                  <c:v>85.81</c:v>
                </c:pt>
                <c:pt idx="1242" formatCode="#,##0_);\(#,##0\);&quot;-  &quot;;&quot; &quot;@&quot; &quot;">
                  <c:v>85.73</c:v>
                </c:pt>
                <c:pt idx="1243" formatCode="#,##0_);\(#,##0\);&quot;-  &quot;;&quot; &quot;@&quot; &quot;">
                  <c:v>86.155000000000001</c:v>
                </c:pt>
                <c:pt idx="1244" formatCode="#,##0_);\(#,##0\);&quot;-  &quot;;&quot; &quot;@&quot; &quot;">
                  <c:v>85.155000000000001</c:v>
                </c:pt>
                <c:pt idx="1245" formatCode="#,##0_);\(#,##0\);&quot;-  &quot;;&quot; &quot;@&quot; &quot;">
                  <c:v>83.984999999999999</c:v>
                </c:pt>
                <c:pt idx="1246" formatCode="#,##0_);\(#,##0\);&quot;-  &quot;;&quot; &quot;@&quot; &quot;">
                  <c:v>85.204999999999998</c:v>
                </c:pt>
                <c:pt idx="1247" formatCode="#,##0_);\(#,##0\);&quot;-  &quot;;&quot; &quot;@&quot; &quot;">
                  <c:v>83.93</c:v>
                </c:pt>
                <c:pt idx="1248" formatCode="#,##0_);\(#,##0\);&quot;-  &quot;;&quot; &quot;@&quot; &quot;">
                  <c:v>81.290000000000006</c:v>
                </c:pt>
                <c:pt idx="1249" formatCode="#,##0_);\(#,##0\);&quot;-  &quot;;&quot; &quot;@&quot; &quot;">
                  <c:v>80.855000000000004</c:v>
                </c:pt>
                <c:pt idx="1250" formatCode="#,##0_);\(#,##0\);&quot;-  &quot;;&quot; &quot;@&quot; &quot;">
                  <c:v>81.034999999999997</c:v>
                </c:pt>
                <c:pt idx="1251" formatCode="#,##0_);\(#,##0\);&quot;-  &quot;;&quot; &quot;@&quot; &quot;">
                  <c:v>81</c:v>
                </c:pt>
                <c:pt idx="1252" formatCode="#,##0_);\(#,##0\);&quot;-  &quot;;&quot; &quot;@&quot; &quot;">
                  <c:v>80.5</c:v>
                </c:pt>
                <c:pt idx="1253" formatCode="#,##0_);\(#,##0\);&quot;-  &quot;;&quot; &quot;@&quot; &quot;">
                  <c:v>80.209999999999994</c:v>
                </c:pt>
                <c:pt idx="1254" formatCode="#,##0_);\(#,##0\);&quot;-  &quot;;&quot; &quot;@&quot; &quot;">
                  <c:v>80.635000000000005</c:v>
                </c:pt>
                <c:pt idx="1255" formatCode="#,##0_);\(#,##0\);&quot;-  &quot;;&quot; &quot;@&quot; &quot;">
                  <c:v>80.295000000000002</c:v>
                </c:pt>
                <c:pt idx="1256" formatCode="#,##0_);\(#,##0\);&quot;-  &quot;;&quot; &quot;@&quot; &quot;">
                  <c:v>78.09</c:v>
                </c:pt>
                <c:pt idx="1257" formatCode="#,##0_);\(#,##0\);&quot;-  &quot;;&quot; &quot;@&quot; &quot;">
                  <c:v>77.555000000000007</c:v>
                </c:pt>
                <c:pt idx="1258" formatCode="#,##0_);\(#,##0\);&quot;-  &quot;;&quot; &quot;@&quot; &quot;">
                  <c:v>77.61</c:v>
                </c:pt>
                <c:pt idx="1259" formatCode="#,##0_);\(#,##0\);&quot;-  &quot;;&quot; &quot;@&quot; &quot;">
                  <c:v>77.64</c:v>
                </c:pt>
                <c:pt idx="1260" formatCode="#,##0_);\(#,##0\);&quot;-  &quot;;&quot; &quot;@&quot; &quot;">
                  <c:v>77.84</c:v>
                </c:pt>
                <c:pt idx="1261" formatCode="#,##0_);\(#,##0\);&quot;-  &quot;;&quot; &quot;@&quot; &quot;">
                  <c:v>75.834999999999994</c:v>
                </c:pt>
                <c:pt idx="1262" formatCode="#,##0_);\(#,##0\);&quot;-  &quot;;&quot; &quot;@&quot; &quot;">
                  <c:v>75.495000000000005</c:v>
                </c:pt>
                <c:pt idx="1263" formatCode="#,##0_);\(#,##0\);&quot;-  &quot;;&quot; &quot;@&quot; &quot;">
                  <c:v>71.674999999999997</c:v>
                </c:pt>
                <c:pt idx="1264" formatCode="#,##0_);\(#,##0\);&quot;-  &quot;;&quot; &quot;@&quot; &quot;">
                  <c:v>71.44</c:v>
                </c:pt>
                <c:pt idx="1265" formatCode="#,##0_);\(#,##0\);&quot;-  &quot;;&quot; &quot;@&quot; &quot;">
                  <c:v>72.325000000000003</c:v>
                </c:pt>
                <c:pt idx="1266" formatCode="#,##0_);\(#,##0\);&quot;-  &quot;;&quot; &quot;@&quot; &quot;">
                  <c:v>70.239999999999995</c:v>
                </c:pt>
                <c:pt idx="1267" formatCode="#,##0_);\(#,##0\);&quot;-  &quot;;&quot; &quot;@&quot; &quot;">
                  <c:v>70.215000000000003</c:v>
                </c:pt>
                <c:pt idx="1268" formatCode="#,##0_);\(#,##0\);&quot;-  &quot;;&quot; &quot;@&quot; &quot;">
                  <c:v>69.594999999999999</c:v>
                </c:pt>
                <c:pt idx="1269" formatCode="#,##0_);\(#,##0\);&quot;-  &quot;;&quot; &quot;@&quot; &quot;">
                  <c:v>67.954999999999998</c:v>
                </c:pt>
                <c:pt idx="1270" formatCode="#,##0_);\(#,##0\);&quot;-  &quot;;&quot; &quot;@&quot; &quot;">
                  <c:v>69.02</c:v>
                </c:pt>
                <c:pt idx="1271" formatCode="#,##0_);\(#,##0\);&quot;-  &quot;;&quot; &quot;@&quot; &quot;">
                  <c:v>65.064999999999998</c:v>
                </c:pt>
                <c:pt idx="1272" formatCode="#,##0_);\(#,##0\);&quot;-  &quot;;&quot; &quot;@&quot; &quot;">
                  <c:v>64.7</c:v>
                </c:pt>
                <c:pt idx="1273" formatCode="#,##0_);\(#,##0\);&quot;-  &quot;;&quot; &quot;@&quot; &quot;">
                  <c:v>65.584999999999994</c:v>
                </c:pt>
                <c:pt idx="1274" formatCode="#,##0_);\(#,##0\);&quot;-  &quot;;&quot; &quot;@&quot; &quot;">
                  <c:v>65.575000000000003</c:v>
                </c:pt>
                <c:pt idx="1275" formatCode="#,##0_);\(#,##0\);&quot;-  &quot;;&quot; &quot;@&quot; &quot;">
                  <c:v>64.47</c:v>
                </c:pt>
                <c:pt idx="1276" formatCode="#,##0_);\(#,##0\);&quot;-  &quot;;&quot; &quot;@&quot; &quot;">
                  <c:v>62.265000000000001</c:v>
                </c:pt>
                <c:pt idx="1277" formatCode="#,##0_);\(#,##0\);&quot;-  &quot;;&quot; &quot;@&quot; &quot;">
                  <c:v>61.88</c:v>
                </c:pt>
                <c:pt idx="1278" formatCode="#,##0_);\(#,##0\);&quot;-  &quot;;&quot; &quot;@&quot; &quot;">
                  <c:v>61.424999999999997</c:v>
                </c:pt>
                <c:pt idx="1279" formatCode="#,##0_);\(#,##0\);&quot;-  &quot;;&quot; &quot;@&quot; &quot;">
                  <c:v>57.655000000000001</c:v>
                </c:pt>
                <c:pt idx="1280" formatCode="#,##0_);\(#,##0\);&quot;-  &quot;;&quot; &quot;@&quot; &quot;">
                  <c:v>59.604999999999997</c:v>
                </c:pt>
                <c:pt idx="1281" formatCode="#,##0_);\(#,##0\);&quot;-  &quot;;&quot; &quot;@&quot; &quot;">
                  <c:v>59.38</c:v>
                </c:pt>
                <c:pt idx="1282" formatCode="#,##0_);\(#,##0\);&quot;-  &quot;;&quot; &quot;@&quot; &quot;">
                  <c:v>58.354999999999997</c:v>
                </c:pt>
                <c:pt idx="1283" formatCode="#,##0_);\(#,##0\);&quot;-  &quot;;&quot; &quot;@&quot; &quot;">
                  <c:v>58.55</c:v>
                </c:pt>
                <c:pt idx="1284" formatCode="#,##0_);\(#,##0\);&quot;-  &quot;;&quot; &quot;@&quot; &quot;">
                  <c:v>57.3</c:v>
                </c:pt>
                <c:pt idx="1285" formatCode="#,##0_);\(#,##0\);&quot;-  &quot;;&quot; &quot;@&quot; &quot;">
                  <c:v>60.344999999999999</c:v>
                </c:pt>
                <c:pt idx="1286" formatCode="#,##0_);\(#,##0\);&quot;-  &quot;;&quot; &quot;@&quot; &quot;">
                  <c:v>61.085000000000001</c:v>
                </c:pt>
                <c:pt idx="1287" formatCode="#,##0_);\(#,##0\);&quot;-  &quot;;&quot; &quot;@&quot; &quot;">
                  <c:v>61.255000000000003</c:v>
                </c:pt>
                <c:pt idx="1288" formatCode="#,##0_);\(#,##0\);&quot;-  &quot;;&quot; &quot;@&quot; &quot;">
                  <c:v>57.344999999999999</c:v>
                </c:pt>
                <c:pt idx="1289" formatCode="#,##0_);\(#,##0\);&quot;-  &quot;;&quot; &quot;@&quot; &quot;">
                  <c:v>61.6</c:v>
                </c:pt>
                <c:pt idx="1290" formatCode="#,##0_);\(#,##0\);&quot;-  &quot;;&quot; &quot;@&quot; &quot;">
                  <c:v>60.064999999999998</c:v>
                </c:pt>
                <c:pt idx="1291" formatCode="#,##0_);\(#,##0\);&quot;-  &quot;;&quot; &quot;@&quot; &quot;">
                  <c:v>59.74</c:v>
                </c:pt>
                <c:pt idx="1292" formatCode="#,##0_);\(#,##0\);&quot;-  &quot;;&quot; &quot;@&quot; &quot;">
                  <c:v>60.23</c:v>
                </c:pt>
                <c:pt idx="1293" formatCode="#,##0_);\(#,##0\);&quot;-  &quot;;&quot; &quot;@&quot; &quot;">
                  <c:v>59.3</c:v>
                </c:pt>
                <c:pt idx="1294" formatCode="#,##0_);\(#,##0\);&quot;-  &quot;;&quot; &quot;@&quot; &quot;">
                  <c:v>59.155000000000001</c:v>
                </c:pt>
                <c:pt idx="1295" formatCode="#,##0_);\(#,##0\);&quot;-  &quot;;&quot; &quot;@&quot; &quot;">
                  <c:v>58.17</c:v>
                </c:pt>
                <c:pt idx="1296" formatCode="#,##0_);\(#,##0\);&quot;-  &quot;;&quot; &quot;@&quot; &quot;">
                  <c:v>55.475000000000001</c:v>
                </c:pt>
                <c:pt idx="1297" formatCode="#,##0_);\(#,##0\);&quot;-  &quot;;&quot; &quot;@&quot; &quot;">
                  <c:v>55.83</c:v>
                </c:pt>
                <c:pt idx="1298" formatCode="#,##0_);\(#,##0\);&quot;-  &quot;;&quot; &quot;@&quot; &quot;">
                  <c:v>52.965000000000003</c:v>
                </c:pt>
                <c:pt idx="1299" formatCode="#,##0_);\(#,##0\);&quot;-  &quot;;&quot; &quot;@&quot; &quot;">
                  <c:v>51.23</c:v>
                </c:pt>
                <c:pt idx="1300" formatCode="#,##0_);\(#,##0\);&quot;-  &quot;;&quot; &quot;@&quot; &quot;">
                  <c:v>51.585000000000001</c:v>
                </c:pt>
                <c:pt idx="1301" formatCode="#,##0_);\(#,##0\);&quot;-  &quot;;&quot; &quot;@&quot; &quot;">
                  <c:v>51.585000000000001</c:v>
                </c:pt>
                <c:pt idx="1302" formatCode="#,##0_);\(#,##0\);&quot;-  &quot;;&quot; &quot;@&quot; &quot;">
                  <c:v>50.21</c:v>
                </c:pt>
                <c:pt idx="1303" formatCode="#,##0_);\(#,##0\);&quot;-  &quot;;&quot; &quot;@&quot; &quot;">
                  <c:v>53.85</c:v>
                </c:pt>
                <c:pt idx="1304" formatCode="#,##0_);\(#,##0\);&quot;-  &quot;;&quot; &quot;@&quot; &quot;">
                  <c:v>53.234999999999999</c:v>
                </c:pt>
                <c:pt idx="1305" formatCode="#,##0_);\(#,##0\);&quot;-  &quot;;&quot; &quot;@&quot; &quot;">
                  <c:v>55.475000000000001</c:v>
                </c:pt>
                <c:pt idx="1306" formatCode="#,##0_);\(#,##0\);&quot;-  &quot;;&quot; &quot;@&quot; &quot;">
                  <c:v>57.034999999999997</c:v>
                </c:pt>
                <c:pt idx="1307" formatCode="#,##0_);\(#,##0\);&quot;-  &quot;;&quot; &quot;@&quot; &quot;">
                  <c:v>56.94</c:v>
                </c:pt>
                <c:pt idx="1308" formatCode="#,##0_);\(#,##0\);&quot;-  &quot;;&quot; &quot;@&quot; &quot;">
                  <c:v>59.56</c:v>
                </c:pt>
                <c:pt idx="1309" formatCode="#,##0_);\(#,##0\);&quot;-  &quot;;&quot; &quot;@&quot; &quot;">
                  <c:v>60.46</c:v>
                </c:pt>
                <c:pt idx="1310" formatCode="#,##0_);\(#,##0\);&quot;-  &quot;;&quot; &quot;@&quot; &quot;">
                  <c:v>59.465000000000003</c:v>
                </c:pt>
                <c:pt idx="1311" formatCode="#,##0_);\(#,##0\);&quot;-  &quot;;&quot; &quot;@&quot; &quot;">
                  <c:v>59.024999999999999</c:v>
                </c:pt>
                <c:pt idx="1312" formatCode="#,##0_);\(#,##0\);&quot;-  &quot;;&quot; &quot;@&quot; &quot;">
                  <c:v>58.74</c:v>
                </c:pt>
                <c:pt idx="1313" formatCode="#,##0_);\(#,##0\);&quot;-  &quot;;&quot; &quot;@&quot; &quot;">
                  <c:v>59.924999999999997</c:v>
                </c:pt>
                <c:pt idx="1314" formatCode="#,##0_);\(#,##0\);&quot;-  &quot;;&quot; &quot;@&quot; &quot;">
                  <c:v>59.85</c:v>
                </c:pt>
                <c:pt idx="1315" formatCode="#,##0_);\(#,##0\);&quot;-  &quot;;&quot; &quot;@&quot; &quot;">
                  <c:v>61.99</c:v>
                </c:pt>
                <c:pt idx="1316" formatCode="#,##0_);\(#,##0\);&quot;-  &quot;;&quot; &quot;@&quot; &quot;">
                  <c:v>62.34</c:v>
                </c:pt>
                <c:pt idx="1317" formatCode="#,##0_);\(#,##0\);&quot;-  &quot;;&quot; &quot;@&quot; &quot;">
                  <c:v>60.975000000000001</c:v>
                </c:pt>
                <c:pt idx="1318" formatCode="#,##0_);\(#,##0\);&quot;-  &quot;;&quot; &quot;@&quot; &quot;">
                  <c:v>60.98</c:v>
                </c:pt>
                <c:pt idx="1319" formatCode="#,##0_);\(#,##0\);&quot;-  &quot;;&quot; &quot;@&quot; &quot;">
                  <c:v>61.115000000000002</c:v>
                </c:pt>
                <c:pt idx="1320" formatCode="#,##0_);\(#,##0\);&quot;-  &quot;;&quot; &quot;@&quot; &quot;">
                  <c:v>61.494999999999997</c:v>
                </c:pt>
                <c:pt idx="1321" formatCode="#,##0_);\(#,##0\);&quot;-  &quot;;&quot; &quot;@&quot; &quot;">
                  <c:v>59.704999999999998</c:v>
                </c:pt>
                <c:pt idx="1322" formatCode="#,##0_);\(#,##0\);&quot;-  &quot;;&quot; &quot;@&quot; &quot;">
                  <c:v>61.4</c:v>
                </c:pt>
                <c:pt idx="1323" formatCode="#,##0_);\(#,##0\);&quot;-  &quot;;&quot; &quot;@&quot; &quot;">
                  <c:v>62.344999999999999</c:v>
                </c:pt>
                <c:pt idx="1324" formatCode="#,##0_);\(#,##0\);&quot;-  &quot;;&quot; &quot;@&quot; &quot;">
                  <c:v>62.195</c:v>
                </c:pt>
                <c:pt idx="1325" formatCode="#,##0_);\(#,##0\);&quot;-  &quot;;&quot; &quot;@&quot; &quot;">
                  <c:v>62.14</c:v>
                </c:pt>
                <c:pt idx="1326" formatCode="#,##0_);\(#,##0\);&quot;-  &quot;;&quot; &quot;@&quot; &quot;">
                  <c:v>62.295000000000002</c:v>
                </c:pt>
                <c:pt idx="1327" formatCode="#,##0_);\(#,##0\);&quot;-  &quot;;&quot; &quot;@&quot; &quot;">
                  <c:v>61.695</c:v>
                </c:pt>
                <c:pt idx="1328" formatCode="#,##0_);\(#,##0\);&quot;-  &quot;;&quot; &quot;@&quot; &quot;">
                  <c:v>62.305</c:v>
                </c:pt>
                <c:pt idx="1329" formatCode="#,##0_);\(#,##0\);&quot;-  &quot;;&quot; &quot;@&quot; &quot;">
                  <c:v>60.965000000000003</c:v>
                </c:pt>
                <c:pt idx="1330" formatCode="#,##0_);\(#,##0\);&quot;-  &quot;;&quot; &quot;@&quot; &quot;">
                  <c:v>61.96</c:v>
                </c:pt>
                <c:pt idx="1331" formatCode="#,##0_);\(#,##0\);&quot;-  &quot;;&quot; &quot;@&quot; &quot;">
                  <c:v>61.31</c:v>
                </c:pt>
                <c:pt idx="1332" formatCode="#,##0_);\(#,##0\);&quot;-  &quot;;&quot; &quot;@&quot; &quot;">
                  <c:v>62.57</c:v>
                </c:pt>
                <c:pt idx="1333" formatCode="#,##0_);\(#,##0\);&quot;-  &quot;;&quot; &quot;@&quot; &quot;">
                  <c:v>63.475000000000001</c:v>
                </c:pt>
                <c:pt idx="1334" formatCode="#,##0_);\(#,##0\);&quot;-  &quot;;&quot; &quot;@&quot; &quot;">
                  <c:v>63.895000000000003</c:v>
                </c:pt>
                <c:pt idx="1335" formatCode="#,##0_);\(#,##0\);&quot;-  &quot;;&quot; &quot;@&quot; &quot;">
                  <c:v>65.784999999999997</c:v>
                </c:pt>
                <c:pt idx="1336" formatCode="#,##0_);\(#,##0\);&quot;-  &quot;;&quot; &quot;@&quot; &quot;">
                  <c:v>66.430000000000007</c:v>
                </c:pt>
                <c:pt idx="1337" formatCode="#,##0_);\(#,##0\);&quot;-  &quot;;&quot; &quot;@&quot; &quot;">
                  <c:v>65.935000000000002</c:v>
                </c:pt>
                <c:pt idx="1338" formatCode="#,##0_);\(#,##0\);&quot;-  &quot;;&quot; &quot;@&quot; &quot;">
                  <c:v>66.864999999999995</c:v>
                </c:pt>
                <c:pt idx="1339" formatCode="#,##0_);\(#,##0\);&quot;-  &quot;;&quot; &quot;@&quot; &quot;">
                  <c:v>66.95</c:v>
                </c:pt>
                <c:pt idx="1340" formatCode="#,##0_);\(#,##0\);&quot;-  &quot;;&quot; &quot;@&quot; &quot;">
                  <c:v>67.064999999999998</c:v>
                </c:pt>
                <c:pt idx="1341" formatCode="#,##0_);\(#,##0\);&quot;-  &quot;;&quot; &quot;@&quot; &quot;">
                  <c:v>64.155000000000001</c:v>
                </c:pt>
                <c:pt idx="1342" formatCode="#,##0_);\(#,##0\);&quot;-  &quot;;&quot; &quot;@&quot; &quot;">
                  <c:v>64.405000000000001</c:v>
                </c:pt>
                <c:pt idx="1343" formatCode="#,##0_);\(#,##0\);&quot;-  &quot;;&quot; &quot;@&quot; &quot;">
                  <c:v>65.375</c:v>
                </c:pt>
                <c:pt idx="1344" formatCode="#,##0_);\(#,##0\);&quot;-  &quot;;&quot; &quot;@&quot; &quot;">
                  <c:v>65.064999999999998</c:v>
                </c:pt>
                <c:pt idx="1345" formatCode="#,##0_);\(#,##0\);&quot;-  &quot;;&quot; &quot;@&quot; &quot;">
                  <c:v>63.905000000000001</c:v>
                </c:pt>
                <c:pt idx="1346" formatCode="#,##0_);\(#,##0\);&quot;-  &quot;;&quot; &quot;@&quot; &quot;">
                  <c:v>64.59</c:v>
                </c:pt>
                <c:pt idx="1347" formatCode="#,##0_);\(#,##0\);&quot;-  &quot;;&quot; &quot;@&quot; &quot;">
                  <c:v>64.400000000000006</c:v>
                </c:pt>
                <c:pt idx="1348" formatCode="#,##0_);\(#,##0\);&quot;-  &quot;;&quot; &quot;@&quot; &quot;">
                  <c:v>64.265000000000001</c:v>
                </c:pt>
                <c:pt idx="1349" formatCode="#,##0_);\(#,##0\);&quot;-  &quot;;&quot; &quot;@&quot; &quot;">
                  <c:v>64.644999999999996</c:v>
                </c:pt>
                <c:pt idx="1350" formatCode="#,##0_);\(#,##0\);&quot;-  &quot;;&quot; &quot;@&quot; &quot;">
                  <c:v>63.51</c:v>
                </c:pt>
                <c:pt idx="1351" formatCode="#,##0_);\(#,##0\);&quot;-  &quot;;&quot; &quot;@&quot; &quot;">
                  <c:v>65.215000000000003</c:v>
                </c:pt>
                <c:pt idx="1352" formatCode="#,##0_);\(#,##0\);&quot;-  &quot;;&quot; &quot;@&quot; &quot;">
                  <c:v>65.540000000000006</c:v>
                </c:pt>
                <c:pt idx="1353" formatCode="#,##0_);\(#,##0\);&quot;-  &quot;;&quot; &quot;@&quot; &quot;">
                  <c:v>66.125</c:v>
                </c:pt>
                <c:pt idx="1354" formatCode="#,##0_);\(#,##0\);&quot;-  &quot;;&quot; &quot;@&quot; &quot;">
                  <c:v>66.275000000000006</c:v>
                </c:pt>
                <c:pt idx="1355" formatCode="#,##0_);\(#,##0\);&quot;-  &quot;;&quot; &quot;@&quot; &quot;">
                  <c:v>66.28</c:v>
                </c:pt>
                <c:pt idx="1356" formatCode="#,##0_);\(#,##0\);&quot;-  &quot;;&quot; &quot;@&quot; &quot;">
                  <c:v>66.86</c:v>
                </c:pt>
                <c:pt idx="1357" formatCode="#,##0_);\(#,##0\);&quot;-  &quot;;&quot; &quot;@&quot; &quot;">
                  <c:v>67.39</c:v>
                </c:pt>
                <c:pt idx="1358" formatCode="#,##0_);\(#,##0\);&quot;-  &quot;;&quot; &quot;@&quot; &quot;">
                  <c:v>68.215000000000003</c:v>
                </c:pt>
                <c:pt idx="1359" formatCode="#,##0_);\(#,##0\);&quot;-  &quot;;&quot; &quot;@&quot; &quot;">
                  <c:v>68.11</c:v>
                </c:pt>
                <c:pt idx="1360" formatCode="#,##0_);\(#,##0\);&quot;-  &quot;;&quot; &quot;@&quot; &quot;">
                  <c:v>66.31</c:v>
                </c:pt>
                <c:pt idx="1361" formatCode="#,##0_);\(#,##0\);&quot;-  &quot;;&quot; &quot;@&quot; &quot;">
                  <c:v>67.004999999999995</c:v>
                </c:pt>
                <c:pt idx="1362" formatCode="#,##0_);\(#,##0\);&quot;-  &quot;;&quot; &quot;@&quot; &quot;">
                  <c:v>67.73</c:v>
                </c:pt>
                <c:pt idx="1363" formatCode="#,##0_);\(#,##0\);&quot;-  &quot;;&quot; &quot;@&quot; &quot;">
                  <c:v>67.680000000000007</c:v>
                </c:pt>
                <c:pt idx="1364" formatCode="#,##0_);\(#,##0\);&quot;-  &quot;;&quot; &quot;@&quot; &quot;">
                  <c:v>66.52</c:v>
                </c:pt>
                <c:pt idx="1365" formatCode="#,##0_);\(#,##0\);&quot;-  &quot;;&quot; &quot;@&quot; &quot;">
                  <c:v>67.989999999999995</c:v>
                </c:pt>
                <c:pt idx="1366" formatCode="#,##0_);\(#,##0\);&quot;-  &quot;;&quot; &quot;@&quot; &quot;">
                  <c:v>69.180000000000007</c:v>
                </c:pt>
                <c:pt idx="1367" formatCode="#,##0_);\(#,##0\);&quot;-  &quot;;&quot; &quot;@&quot; &quot;">
                  <c:v>69.62</c:v>
                </c:pt>
                <c:pt idx="1368" formatCode="#,##0_);\(#,##0\);&quot;-  &quot;;&quot; &quot;@&quot; &quot;">
                  <c:v>69.23</c:v>
                </c:pt>
                <c:pt idx="1369" formatCode="#,##0_);\(#,##0\);&quot;-  &quot;;&quot; &quot;@&quot; &quot;">
                  <c:v>69.739999999999995</c:v>
                </c:pt>
                <c:pt idx="1370" formatCode="#,##0_);\(#,##0\);&quot;-  &quot;;&quot; &quot;@&quot; &quot;">
                  <c:v>70.099999999999994</c:v>
                </c:pt>
                <c:pt idx="1371" formatCode="#,##0_);\(#,##0\);&quot;-  &quot;;&quot; &quot;@&quot; &quot;">
                  <c:v>71.185000000000002</c:v>
                </c:pt>
                <c:pt idx="1372" formatCode="#,##0_);\(#,##0\);&quot;-  &quot;;&quot; &quot;@&quot; &quot;">
                  <c:v>70.819999999999993</c:v>
                </c:pt>
                <c:pt idx="1373" formatCode="#,##0_);\(#,##0\);&quot;-  &quot;;&quot; &quot;@&quot; &quot;">
                  <c:v>71.56</c:v>
                </c:pt>
                <c:pt idx="1374" formatCode="#,##0_);\(#,##0\);&quot;-  &quot;;&quot; &quot;@&quot; &quot;">
                  <c:v>71.194999999999993</c:v>
                </c:pt>
                <c:pt idx="1375" formatCode="#,##0_);\(#,##0\);&quot;-  &quot;;&quot; &quot;@&quot; &quot;">
                  <c:v>71.584999999999994</c:v>
                </c:pt>
                <c:pt idx="1376" formatCode="#,##0_);\(#,##0\);&quot;-  &quot;;&quot; &quot;@&quot; &quot;">
                  <c:v>70.87</c:v>
                </c:pt>
                <c:pt idx="1377" formatCode="#,##0_);\(#,##0\);&quot;-  &quot;;&quot; &quot;@&quot; &quot;">
                  <c:v>70.915000000000006</c:v>
                </c:pt>
                <c:pt idx="1378" formatCode="#,##0_);\(#,##0\);&quot;-  &quot;;&quot; &quot;@&quot; &quot;">
                  <c:v>71.185000000000002</c:v>
                </c:pt>
                <c:pt idx="1379" formatCode="#,##0_);\(#,##0\);&quot;-  &quot;;&quot; &quot;@&quot; &quot;">
                  <c:v>71</c:v>
                </c:pt>
                <c:pt idx="1380" formatCode="#,##0_);\(#,##0\);&quot;-  &quot;;&quot; &quot;@&quot; &quot;">
                  <c:v>73.69</c:v>
                </c:pt>
                <c:pt idx="1381" formatCode="#,##0_);\(#,##0\);&quot;-  &quot;;&quot; &quot;@&quot; &quot;">
                  <c:v>73.69</c:v>
                </c:pt>
                <c:pt idx="1382" formatCode="#,##0_);\(#,##0\);&quot;-  &quot;;&quot; &quot;@&quot; &quot;">
                  <c:v>73.734999999999999</c:v>
                </c:pt>
                <c:pt idx="1383" formatCode="#,##0_);\(#,##0\);&quot;-  &quot;;&quot; &quot;@&quot; &quot;">
                  <c:v>74.31</c:v>
                </c:pt>
                <c:pt idx="1384" formatCode="#,##0_);\(#,##0\);&quot;-  &quot;;&quot; &quot;@&quot; &quot;">
                  <c:v>71.2</c:v>
                </c:pt>
                <c:pt idx="1385" formatCode="#,##0_);\(#,##0\);&quot;-  &quot;;&quot; &quot;@&quot; &quot;">
                  <c:v>71.59</c:v>
                </c:pt>
                <c:pt idx="1386" formatCode="#,##0_);\(#,##0\);&quot;-  &quot;;&quot; &quot;@&quot; &quot;">
                  <c:v>72.45</c:v>
                </c:pt>
                <c:pt idx="1387" formatCode="#,##0_);\(#,##0\);&quot;-  &quot;;&quot; &quot;@&quot; &quot;">
                  <c:v>71.915000000000006</c:v>
                </c:pt>
                <c:pt idx="1388" formatCode="#,##0_);\(#,##0\);&quot;-  &quot;;&quot; &quot;@&quot; &quot;">
                  <c:v>70.355000000000004</c:v>
                </c:pt>
                <c:pt idx="1389" formatCode="#,##0_);\(#,##0\);&quot;-  &quot;;&quot; &quot;@&quot; &quot;">
                  <c:v>71.984999999999999</c:v>
                </c:pt>
                <c:pt idx="1390" formatCode="#,##0_);\(#,##0\);&quot;-  &quot;;&quot; &quot;@&quot; &quot;">
                  <c:v>70.819999999999993</c:v>
                </c:pt>
                <c:pt idx="1391" formatCode="#,##0_);\(#,##0\);&quot;-  &quot;;&quot; &quot;@&quot; &quot;">
                  <c:v>70.819999999999993</c:v>
                </c:pt>
                <c:pt idx="1392" formatCode="#,##0_);\(#,##0\);&quot;-  &quot;;&quot; &quot;@&quot; &quot;">
                  <c:v>71.075000000000003</c:v>
                </c:pt>
                <c:pt idx="1393" formatCode="#,##0_);\(#,##0\);&quot;-  &quot;;&quot; &quot;@&quot; &quot;">
                  <c:v>70.349999999999994</c:v>
                </c:pt>
                <c:pt idx="1394" formatCode="#,##0_);\(#,##0\);&quot;-  &quot;;&quot; &quot;@&quot; &quot;">
                  <c:v>71.86</c:v>
                </c:pt>
                <c:pt idx="1395" formatCode="#,##0_);\(#,##0\);&quot;-  &quot;;&quot; &quot;@&quot; &quot;">
                  <c:v>72.33</c:v>
                </c:pt>
                <c:pt idx="1396" formatCode="#,##0_);\(#,##0\);&quot;-  &quot;;&quot; &quot;@&quot; &quot;">
                  <c:v>72.650000000000006</c:v>
                </c:pt>
                <c:pt idx="1397" formatCode="#,##0_);\(#,##0\);&quot;-  &quot;;&quot; &quot;@&quot; &quot;">
                  <c:v>73.489999999999995</c:v>
                </c:pt>
                <c:pt idx="1398" formatCode="#,##0_);\(#,##0\);&quot;-  &quot;;&quot; &quot;@&quot; &quot;">
                  <c:v>74.69</c:v>
                </c:pt>
                <c:pt idx="1399" formatCode="#,##0_);\(#,##0\);&quot;-  &quot;;&quot; &quot;@&quot; &quot;">
                  <c:v>73.819999999999993</c:v>
                </c:pt>
                <c:pt idx="1400" formatCode="#,##0_);\(#,##0\);&quot;-  &quot;;&quot; &quot;@&quot; &quot;">
                  <c:v>73.2</c:v>
                </c:pt>
                <c:pt idx="1401" formatCode="#,##0_);\(#,##0\);&quot;-  &quot;;&quot; &quot;@&quot; &quot;">
                  <c:v>72.55</c:v>
                </c:pt>
                <c:pt idx="1402" formatCode="#,##0_);\(#,##0\);&quot;-  &quot;;&quot; &quot;@&quot; &quot;">
                  <c:v>71.825000000000003</c:v>
                </c:pt>
                <c:pt idx="1403" formatCode="#,##0_);\(#,##0\);&quot;-  &quot;;&quot; &quot;@&quot; &quot;">
                  <c:v>68.489999999999995</c:v>
                </c:pt>
                <c:pt idx="1404" formatCode="#,##0_);\(#,##0\);&quot;-  &quot;;&quot; &quot;@&quot; &quot;">
                  <c:v>68.495000000000005</c:v>
                </c:pt>
                <c:pt idx="1405" formatCode="#,##0_);\(#,##0\);&quot;-  &quot;;&quot; &quot;@&quot; &quot;">
                  <c:v>70.424999999999997</c:v>
                </c:pt>
                <c:pt idx="1406" formatCode="#,##0_);\(#,##0\);&quot;-  &quot;;&quot; &quot;@&quot; &quot;">
                  <c:v>69.38</c:v>
                </c:pt>
                <c:pt idx="1407" formatCode="#,##0_);\(#,##0\);&quot;-  &quot;;&quot; &quot;@&quot; &quot;">
                  <c:v>68.16</c:v>
                </c:pt>
                <c:pt idx="1408" formatCode="#,##0_);\(#,##0\);&quot;-  &quot;;&quot; &quot;@&quot; &quot;">
                  <c:v>65.61</c:v>
                </c:pt>
                <c:pt idx="1409" formatCode="#,##0_);\(#,##0\);&quot;-  &quot;;&quot; &quot;@&quot; &quot;">
                  <c:v>63.335000000000001</c:v>
                </c:pt>
                <c:pt idx="1410" formatCode="#,##0_);\(#,##0\);&quot;-  &quot;;&quot; &quot;@&quot; &quot;">
                  <c:v>63.704999999999998</c:v>
                </c:pt>
                <c:pt idx="1411" formatCode="#,##0_);\(#,##0\);&quot;-  &quot;;&quot; &quot;@&quot; &quot;">
                  <c:v>62.104999999999997</c:v>
                </c:pt>
                <c:pt idx="1412" formatCode="#,##0_);\(#,##0\);&quot;-  &quot;;&quot; &quot;@&quot; &quot;">
                  <c:v>62.44</c:v>
                </c:pt>
                <c:pt idx="1413" formatCode="#,##0_);\(#,##0\);&quot;-  &quot;;&quot; &quot;@&quot; &quot;">
                  <c:v>64.534999999999997</c:v>
                </c:pt>
                <c:pt idx="1414" formatCode="#,##0_);\(#,##0\);&quot;-  &quot;;&quot; &quot;@&quot; &quot;">
                  <c:v>64.42</c:v>
                </c:pt>
                <c:pt idx="1415" formatCode="#,##0_);\(#,##0\);&quot;-  &quot;;&quot; &quot;@&quot; &quot;">
                  <c:v>64.144999999999996</c:v>
                </c:pt>
                <c:pt idx="1416" formatCode="#,##0_);\(#,##0\);&quot;-  &quot;;&quot; &quot;@&quot; &quot;">
                  <c:v>62.354999999999997</c:v>
                </c:pt>
                <c:pt idx="1417" formatCode="#,##0_);\(#,##0\);&quot;-  &quot;;&quot; &quot;@&quot; &quot;">
                  <c:v>62.865000000000002</c:v>
                </c:pt>
                <c:pt idx="1418" formatCode="#,##0_);\(#,##0\);&quot;-  &quot;;&quot; &quot;@&quot; &quot;">
                  <c:v>63.094999999999999</c:v>
                </c:pt>
                <c:pt idx="1419" formatCode="#,##0_);\(#,##0\);&quot;-  &quot;;&quot; &quot;@&quot; &quot;">
                  <c:v>62.424999999999997</c:v>
                </c:pt>
                <c:pt idx="1420" formatCode="#,##0_);\(#,##0\);&quot;-  &quot;;&quot; &quot;@&quot; &quot;">
                  <c:v>63.075000000000003</c:v>
                </c:pt>
                <c:pt idx="1421" formatCode="#,##0_);\(#,##0\);&quot;-  &quot;;&quot; &quot;@&quot; &quot;">
                  <c:v>62.594999999999999</c:v>
                </c:pt>
                <c:pt idx="1422" formatCode="#,##0_);\(#,##0\);&quot;-  &quot;;&quot; &quot;@&quot; &quot;">
                  <c:v>64.97</c:v>
                </c:pt>
                <c:pt idx="1423" formatCode="#,##0_);\(#,##0\);&quot;-  &quot;;&quot; &quot;@&quot; &quot;">
                  <c:v>66.025000000000006</c:v>
                </c:pt>
                <c:pt idx="1424" formatCode="#,##0_);\(#,##0\);&quot;-  &quot;;&quot; &quot;@&quot; &quot;">
                  <c:v>64.91</c:v>
                </c:pt>
                <c:pt idx="1425" formatCode="#,##0_);\(#,##0\);&quot;-  &quot;;&quot; &quot;@&quot; &quot;">
                  <c:v>65.97</c:v>
                </c:pt>
                <c:pt idx="1426" formatCode="#,##0_);\(#,##0\);&quot;-  &quot;;&quot; &quot;@&quot; &quot;">
                  <c:v>66.685000000000002</c:v>
                </c:pt>
                <c:pt idx="1427" formatCode="#,##0_);\(#,##0\);&quot;-  &quot;;&quot; &quot;@&quot; &quot;">
                  <c:v>66.099999999999994</c:v>
                </c:pt>
                <c:pt idx="1428" formatCode="#,##0_);\(#,##0\);&quot;-  &quot;;&quot; &quot;@&quot; &quot;">
                  <c:v>66.144999999999996</c:v>
                </c:pt>
                <c:pt idx="1429" formatCode="#,##0_);\(#,##0\);&quot;-  &quot;;&quot; &quot;@&quot; &quot;">
                  <c:v>64.930000000000007</c:v>
                </c:pt>
                <c:pt idx="1430" formatCode="#,##0_);\(#,##0\);&quot;-  &quot;;&quot; &quot;@&quot; &quot;">
                  <c:v>62.685000000000002</c:v>
                </c:pt>
                <c:pt idx="1431" formatCode="#,##0_);\(#,##0\);&quot;-  &quot;;&quot; &quot;@&quot; &quot;">
                  <c:v>63.27</c:v>
                </c:pt>
                <c:pt idx="1432" formatCode="#,##0_);\(#,##0\);&quot;-  &quot;;&quot; &quot;@&quot; &quot;">
                  <c:v>63.725000000000001</c:v>
                </c:pt>
                <c:pt idx="1433" formatCode="#,##0_);\(#,##0\);&quot;-  &quot;;&quot; &quot;@&quot; &quot;">
                  <c:v>64.37</c:v>
                </c:pt>
                <c:pt idx="1434" formatCode="#,##0_);\(#,##0\);&quot;-  &quot;;&quot; &quot;@&quot; &quot;">
                  <c:v>65.064999999999998</c:v>
                </c:pt>
                <c:pt idx="1435" formatCode="#,##0_);\(#,##0\);&quot;-  &quot;;&quot; &quot;@&quot; &quot;">
                  <c:v>64.284999999999997</c:v>
                </c:pt>
                <c:pt idx="1436" formatCode="#,##0_);\(#,##0\);&quot;-  &quot;;&quot; &quot;@&quot; &quot;">
                  <c:v>66.655000000000001</c:v>
                </c:pt>
                <c:pt idx="1437" formatCode="#,##0_);\(#,##0\);&quot;-  &quot;;&quot; &quot;@&quot; &quot;">
                  <c:v>67.344999999999999</c:v>
                </c:pt>
                <c:pt idx="1438" formatCode="#,##0_);\(#,##0\);&quot;-  &quot;;&quot; &quot;@&quot; &quot;">
                  <c:v>67.09</c:v>
                </c:pt>
                <c:pt idx="1439" formatCode="#,##0_);\(#,##0\);&quot;-  &quot;;&quot; &quot;@&quot; &quot;">
                  <c:v>66.83</c:v>
                </c:pt>
                <c:pt idx="1440" formatCode="#,##0_);\(#,##0\);&quot;-  &quot;;&quot; &quot;@&quot; &quot;">
                  <c:v>66.02</c:v>
                </c:pt>
                <c:pt idx="1441" formatCode="#,##0_);\(#,##0\);&quot;-  &quot;;&quot; &quot;@&quot; &quot;">
                  <c:v>63.86</c:v>
                </c:pt>
                <c:pt idx="1442" formatCode="#,##0_);\(#,##0\);&quot;-  &quot;;&quot; &quot;@&quot; &quot;">
                  <c:v>61.064999999999998</c:v>
                </c:pt>
                <c:pt idx="1443" formatCode="#,##0_);\(#,##0\);&quot;-  &quot;;&quot; &quot;@&quot; &quot;">
                  <c:v>61.265000000000001</c:v>
                </c:pt>
                <c:pt idx="1444" formatCode="#,##0_);\(#,##0\);&quot;-  &quot;;&quot; &quot;@&quot; &quot;">
                  <c:v>62.71</c:v>
                </c:pt>
                <c:pt idx="1445" formatCode="#,##0_);\(#,##0\);&quot;-  &quot;;&quot; &quot;@&quot; &quot;">
                  <c:v>62.75</c:v>
                </c:pt>
                <c:pt idx="1446" formatCode="#,##0_);\(#,##0\);&quot;-  &quot;;&quot; &quot;@&quot; &quot;">
                  <c:v>63.914999999999999</c:v>
                </c:pt>
                <c:pt idx="1447" formatCode="#,##0_);\(#,##0\);&quot;-  &quot;;&quot; &quot;@&quot; &quot;">
                  <c:v>63.424999999999997</c:v>
                </c:pt>
                <c:pt idx="1448" formatCode="#,##0_);\(#,##0\);&quot;-  &quot;;&quot; &quot;@&quot; &quot;">
                  <c:v>62.28</c:v>
                </c:pt>
                <c:pt idx="1449" formatCode="#,##0_);\(#,##0\);&quot;-  &quot;;&quot; &quot;@&quot; &quot;">
                  <c:v>62.454999999999998</c:v>
                </c:pt>
                <c:pt idx="1450" formatCode="#,##0_);\(#,##0\);&quot;-  &quot;;&quot; &quot;@&quot; &quot;">
                  <c:v>63.05</c:v>
                </c:pt>
                <c:pt idx="1451" formatCode="#,##0_);\(#,##0\);&quot;-  &quot;;&quot; &quot;@&quot; &quot;">
                  <c:v>63.91</c:v>
                </c:pt>
                <c:pt idx="1452" formatCode="#,##0_);\(#,##0\);&quot;-  &quot;;&quot; &quot;@&quot; &quot;">
                  <c:v>62.55</c:v>
                </c:pt>
                <c:pt idx="1453" formatCode="#,##0_);\(#,##0\);&quot;-  &quot;;&quot; &quot;@&quot; &quot;">
                  <c:v>61.25</c:v>
                </c:pt>
                <c:pt idx="1454" formatCode="#,##0_);\(#,##0\);&quot;-  &quot;;&quot; &quot;@&quot; &quot;">
                  <c:v>59.52</c:v>
                </c:pt>
                <c:pt idx="1455" formatCode="#,##0_);\(#,##0\);&quot;-  &quot;;&quot; &quot;@&quot; &quot;">
                  <c:v>58.795000000000002</c:v>
                </c:pt>
                <c:pt idx="1456" formatCode="#,##0_);\(#,##0\);&quot;-  &quot;;&quot; &quot;@&quot; &quot;">
                  <c:v>55.244999999999997</c:v>
                </c:pt>
                <c:pt idx="1457" formatCode="#,##0_);\(#,##0\);&quot;-  &quot;;&quot; &quot;@&quot; &quot;">
                  <c:v>56.515000000000001</c:v>
                </c:pt>
                <c:pt idx="1458" formatCode="#,##0_);\(#,##0\);&quot;-  &quot;;&quot; &quot;@&quot; &quot;">
                  <c:v>57.615000000000002</c:v>
                </c:pt>
                <c:pt idx="1459" formatCode="#,##0_);\(#,##0\);&quot;-  &quot;;&quot; &quot;@&quot; &quot;">
                  <c:v>57.45</c:v>
                </c:pt>
                <c:pt idx="1460" formatCode="#,##0_);\(#,##0\);&quot;-  &quot;;&quot; &quot;@&quot; &quot;">
                  <c:v>60.27</c:v>
                </c:pt>
                <c:pt idx="1461" formatCode="#,##0_);\(#,##0\);&quot;-  &quot;;&quot; &quot;@&quot; &quot;">
                  <c:v>57.954999999999998</c:v>
                </c:pt>
                <c:pt idx="1462" formatCode="#,##0_);\(#,##0\);&quot;-  &quot;;&quot; &quot;@&quot; &quot;">
                  <c:v>57.625</c:v>
                </c:pt>
                <c:pt idx="1463" formatCode="#,##0_);\(#,##0\);&quot;-  &quot;;&quot; &quot;@&quot; &quot;">
                  <c:v>58.225000000000001</c:v>
                </c:pt>
                <c:pt idx="1464" formatCode="#,##0_);\(#,##0\);&quot;-  &quot;;&quot; &quot;@&quot; &quot;">
                  <c:v>59.115000000000002</c:v>
                </c:pt>
                <c:pt idx="1465" formatCode="#,##0_);\(#,##0\);&quot;-  &quot;;&quot; &quot;@&quot; &quot;">
                  <c:v>59.274999999999999</c:v>
                </c:pt>
                <c:pt idx="1466" formatCode="#,##0_);\(#,##0\);&quot;-  &quot;;&quot; &quot;@&quot; &quot;">
                  <c:v>60.64</c:v>
                </c:pt>
                <c:pt idx="1467" formatCode="#,##0_);\(#,##0\);&quot;-  &quot;;&quot; &quot;@&quot; &quot;">
                  <c:v>59.6</c:v>
                </c:pt>
                <c:pt idx="1468" formatCode="#,##0_);\(#,##0\);&quot;-  &quot;;&quot; &quot;@&quot; &quot;">
                  <c:v>58.744999999999997</c:v>
                </c:pt>
                <c:pt idx="1469" formatCode="#,##0_);\(#,##0\);&quot;-  &quot;;&quot; &quot;@&quot; &quot;">
                  <c:v>58.37</c:v>
                </c:pt>
                <c:pt idx="1470" formatCode="#,##0_);\(#,##0\);&quot;-  &quot;;&quot; &quot;@&quot; &quot;">
                  <c:v>58.37</c:v>
                </c:pt>
                <c:pt idx="1471" formatCode="#,##0_);\(#,##0\);&quot;-  &quot;;&quot; &quot;@&quot; &quot;">
                  <c:v>60.454999999999998</c:v>
                </c:pt>
                <c:pt idx="1472" formatCode="#,##0_);\(#,##0\);&quot;-  &quot;;&quot; &quot;@&quot; &quot;">
                  <c:v>60.51</c:v>
                </c:pt>
                <c:pt idx="1473" formatCode="#,##0_);\(#,##0\);&quot;-  &quot;;&quot; &quot;@&quot; &quot;">
                  <c:v>59.17</c:v>
                </c:pt>
                <c:pt idx="1474" formatCode="#,##0_);\(#,##0\);&quot;-  &quot;;&quot; &quot;@&quot; &quot;">
                  <c:v>58.56</c:v>
                </c:pt>
                <c:pt idx="1475" formatCode="#,##0_);\(#,##0\);&quot;-  &quot;;&quot; &quot;@&quot; &quot;">
                  <c:v>58.05</c:v>
                </c:pt>
                <c:pt idx="1476" formatCode="#,##0_);\(#,##0\);&quot;-  &quot;;&quot; &quot;@&quot; &quot;">
                  <c:v>60.74</c:v>
                </c:pt>
                <c:pt idx="1477" formatCode="#,##0_);\(#,##0\);&quot;-  &quot;;&quot; &quot;@&quot; &quot;">
                  <c:v>62.61</c:v>
                </c:pt>
                <c:pt idx="1478" formatCode="#,##0_);\(#,##0\);&quot;-  &quot;;&quot; &quot;@&quot; &quot;">
                  <c:v>61.325000000000003</c:v>
                </c:pt>
                <c:pt idx="1479" formatCode="#,##0_);\(#,##0\);&quot;-  &quot;;&quot; &quot;@&quot; &quot;">
                  <c:v>63.86</c:v>
                </c:pt>
                <c:pt idx="1480" formatCode="#,##0_);\(#,##0\);&quot;-  &quot;;&quot; &quot;@&quot; &quot;">
                  <c:v>64.575000000000003</c:v>
                </c:pt>
                <c:pt idx="1481" formatCode="#,##0_);\(#,##0\);&quot;-  &quot;;&quot; &quot;@&quot; &quot;">
                  <c:v>63.07</c:v>
                </c:pt>
                <c:pt idx="1482" formatCode="#,##0_);\(#,##0\);&quot;-  &quot;;&quot; &quot;@&quot; &quot;">
                  <c:v>60.82</c:v>
                </c:pt>
                <c:pt idx="1483" formatCode="#,##0_);\(#,##0\);&quot;-  &quot;;&quot; &quot;@&quot; &quot;">
                  <c:v>61.09</c:v>
                </c:pt>
                <c:pt idx="1484" formatCode="#,##0_);\(#,##0\);&quot;-  &quot;;&quot; &quot;@&quot; &quot;">
                  <c:v>68.194999999999993</c:v>
                </c:pt>
                <c:pt idx="1485" formatCode="#,##0_);\(#,##0\);&quot;-  &quot;;&quot; &quot;@&quot; &quot;">
                  <c:v>65.685000000000002</c:v>
                </c:pt>
                <c:pt idx="1486" formatCode="#,##0_);\(#,##0\);&quot;-  &quot;;&quot; &quot;@&quot; &quot;">
                  <c:v>64.25</c:v>
                </c:pt>
                <c:pt idx="1487" formatCode="#,##0_);\(#,##0\);&quot;-  &quot;;&quot; &quot;@&quot; &quot;">
                  <c:v>64.495000000000005</c:v>
                </c:pt>
                <c:pt idx="1488" formatCode="#,##0_);\(#,##0\);&quot;-  &quot;;&quot; &quot;@&quot; &quot;">
                  <c:v>64.599999999999994</c:v>
                </c:pt>
                <c:pt idx="1489" formatCode="#,##0_);\(#,##0\);&quot;-  &quot;;&quot; &quot;@&quot; &quot;">
                  <c:v>64.31</c:v>
                </c:pt>
                <c:pt idx="1490" formatCode="#,##0_);\(#,##0\);&quot;-  &quot;;&quot; &quot;@&quot; &quot;">
                  <c:v>64.03</c:v>
                </c:pt>
                <c:pt idx="1491" formatCode="#,##0_);\(#,##0\);&quot;-  &quot;;&quot; &quot;@&quot; &quot;">
                  <c:v>62.284999999999997</c:v>
                </c:pt>
                <c:pt idx="1492" formatCode="#,##0_);\(#,##0\);&quot;-  &quot;;&quot; &quot;@&quot; &quot;">
                  <c:v>62.145000000000003</c:v>
                </c:pt>
                <c:pt idx="1493" formatCode="#,##0_);\(#,##0\);&quot;-  &quot;;&quot; &quot;@&quot; &quot;">
                  <c:v>62.575000000000003</c:v>
                </c:pt>
                <c:pt idx="1494" formatCode="#,##0_);\(#,##0\);&quot;-  &quot;;&quot; &quot;@&quot; &quot;">
                  <c:v>60.91</c:v>
                </c:pt>
                <c:pt idx="1495" formatCode="#,##0_);\(#,##0\);&quot;-  &quot;;&quot; &quot;@&quot; &quot;">
                  <c:v>59.954999999999998</c:v>
                </c:pt>
                <c:pt idx="1496" formatCode="#,##0_);\(#,##0\);&quot;-  &quot;;&quot; &quot;@&quot; &quot;">
                  <c:v>58.05</c:v>
                </c:pt>
                <c:pt idx="1497" formatCode="#,##0_);\(#,##0\);&quot;-  &quot;;&quot; &quot;@&quot; &quot;">
                  <c:v>57.81</c:v>
                </c:pt>
                <c:pt idx="1498" formatCode="#,##0_);\(#,##0\);&quot;-  &quot;;&quot; &quot;@&quot; &quot;">
                  <c:v>58.875</c:v>
                </c:pt>
                <c:pt idx="1499" formatCode="#,##0_);\(#,##0\);&quot;-  &quot;;&quot; &quot;@&quot; &quot;">
                  <c:v>60</c:v>
                </c:pt>
                <c:pt idx="1500" formatCode="#,##0_);\(#,##0\);&quot;-  &quot;;&quot; &quot;@&quot; &quot;">
                  <c:v>58.39</c:v>
                </c:pt>
                <c:pt idx="1501" formatCode="#,##0_);\(#,##0\);&quot;-  &quot;;&quot; &quot;@&quot; &quot;">
                  <c:v>59.765000000000001</c:v>
                </c:pt>
                <c:pt idx="1502" formatCode="#,##0_);\(#,##0\);&quot;-  &quot;;&quot; &quot;@&quot; &quot;">
                  <c:v>59.094999999999999</c:v>
                </c:pt>
                <c:pt idx="1503" formatCode="#,##0_);\(#,##0\);&quot;-  &quot;;&quot; &quot;@&quot; &quot;">
                  <c:v>60.914999999999999</c:v>
                </c:pt>
                <c:pt idx="1504" formatCode="#,##0_);\(#,##0\);&quot;-  &quot;;&quot; &quot;@&quot; &quot;">
                  <c:v>59.09</c:v>
                </c:pt>
                <c:pt idx="1505" formatCode="#,##0_);\(#,##0\);&quot;-  &quot;;&quot; &quot;@&quot; &quot;">
                  <c:v>59.42</c:v>
                </c:pt>
                <c:pt idx="1506" formatCode="#,##0_);\(#,##0\);&quot;-  &quot;;&quot; &quot;@&quot; &quot;">
                  <c:v>59.45</c:v>
                </c:pt>
                <c:pt idx="1507" formatCode="#,##0_);\(#,##0\);&quot;-  &quot;;&quot; &quot;@&quot; &quot;">
                  <c:v>58.98</c:v>
                </c:pt>
                <c:pt idx="1508" formatCode="#,##0_);\(#,##0\);&quot;-  &quot;;&quot; &quot;@&quot; &quot;">
                  <c:v>59.765000000000001</c:v>
                </c:pt>
                <c:pt idx="1509" formatCode="#,##0_);\(#,##0\);&quot;-  &quot;;&quot; &quot;@&quot; &quot;">
                  <c:v>58.854999999999997</c:v>
                </c:pt>
                <c:pt idx="1510" formatCode="#,##0_);\(#,##0\);&quot;-  &quot;;&quot; &quot;@&quot; &quot;">
                  <c:v>60.325000000000003</c:v>
                </c:pt>
                <c:pt idx="1511" formatCode="#,##0_);\(#,##0\);&quot;-  &quot;;&quot; &quot;@&quot; &quot;">
                  <c:v>60.43</c:v>
                </c:pt>
                <c:pt idx="1512" formatCode="#,##0_);\(#,##0\);&quot;-  &quot;;&quot; &quot;@&quot; &quot;">
                  <c:v>61.59</c:v>
                </c:pt>
                <c:pt idx="1513" formatCode="#,##0_);\(#,##0\);&quot;-  &quot;;&quot; &quot;@&quot; &quot;">
                  <c:v>61.88</c:v>
                </c:pt>
                <c:pt idx="1514" formatCode="#,##0_);\(#,##0\);&quot;-  &quot;;&quot; &quot;@&quot; &quot;">
                  <c:v>60.524999999999999</c:v>
                </c:pt>
                <c:pt idx="1515" formatCode="#,##0_);\(#,##0\);&quot;-  &quot;;&quot; &quot;@&quot; &quot;">
                  <c:v>61.094999999999999</c:v>
                </c:pt>
                <c:pt idx="1516" formatCode="#,##0_);\(#,##0\);&quot;-  &quot;;&quot; &quot;@&quot; &quot;">
                  <c:v>60.104999999999997</c:v>
                </c:pt>
                <c:pt idx="1517" formatCode="#,##0_);\(#,##0\);&quot;-  &quot;;&quot; &quot;@&quot; &quot;">
                  <c:v>59.22</c:v>
                </c:pt>
                <c:pt idx="1518" formatCode="#,##0_);\(#,##0\);&quot;-  &quot;;&quot; &quot;@&quot; &quot;">
                  <c:v>60.34</c:v>
                </c:pt>
                <c:pt idx="1519" formatCode="#,##0_);\(#,##0\);&quot;-  &quot;;&quot; &quot;@&quot; &quot;">
                  <c:v>62.515000000000001</c:v>
                </c:pt>
                <c:pt idx="1520" formatCode="#,##0_);\(#,##0\);&quot;-  &quot;;&quot; &quot;@&quot; &quot;">
                  <c:v>62.664999999999999</c:v>
                </c:pt>
                <c:pt idx="1521" formatCode="#,##0_);\(#,##0\);&quot;-  &quot;;&quot; &quot;@&quot; &quot;">
                  <c:v>62.1</c:v>
                </c:pt>
                <c:pt idx="1522" formatCode="#,##0_);\(#,##0\);&quot;-  &quot;;&quot; &quot;@&quot; &quot;">
                  <c:v>62.53</c:v>
                </c:pt>
                <c:pt idx="1523" formatCode="#,##0_);\(#,##0\);&quot;-  &quot;;&quot; &quot;@&quot; &quot;">
                  <c:v>61.67</c:v>
                </c:pt>
                <c:pt idx="1524" formatCode="#,##0_);\(#,##0\);&quot;-  &quot;;&quot; &quot;@&quot; &quot;">
                  <c:v>62.344999999999999</c:v>
                </c:pt>
                <c:pt idx="1525" formatCode="#,##0_);\(#,##0\);&quot;-  &quot;;&quot; &quot;@&quot; &quot;">
                  <c:v>62.31</c:v>
                </c:pt>
                <c:pt idx="1526" formatCode="#,##0_);\(#,##0\);&quot;-  &quot;;&quot; &quot;@&quot; &quot;">
                  <c:v>62.22</c:v>
                </c:pt>
                <c:pt idx="1527" formatCode="#,##0_);\(#,##0\);&quot;-  &quot;;&quot; &quot;@&quot; &quot;">
                  <c:v>62.4</c:v>
                </c:pt>
                <c:pt idx="1528" formatCode="#,##0_);\(#,##0\);&quot;-  &quot;;&quot; &quot;@&quot; &quot;">
                  <c:v>63.185000000000002</c:v>
                </c:pt>
                <c:pt idx="1529" formatCode="#,##0_);\(#,##0\);&quot;-  &quot;;&quot; &quot;@&quot; &quot;">
                  <c:v>62.405000000000001</c:v>
                </c:pt>
                <c:pt idx="1530" formatCode="#,##0_);\(#,##0\);&quot;-  &quot;;&quot; &quot;@&quot; &quot;">
                  <c:v>62.024999999999999</c:v>
                </c:pt>
                <c:pt idx="1531" formatCode="#,##0_);\(#,##0\);&quot;-  &quot;;&quot; &quot;@&quot; &quot;">
                  <c:v>63.51</c:v>
                </c:pt>
                <c:pt idx="1532" formatCode="#,##0_);\(#,##0\);&quot;-  &quot;;&quot; &quot;@&quot; &quot;">
                  <c:v>64.415000000000006</c:v>
                </c:pt>
                <c:pt idx="1533" formatCode="#,##0_);\(#,##0\);&quot;-  &quot;;&quot; &quot;@&quot; &quot;">
                  <c:v>64.364999999999995</c:v>
                </c:pt>
                <c:pt idx="1534" formatCode="#,##0_);\(#,##0\);&quot;-  &quot;;&quot; &quot;@&quot; &quot;">
                  <c:v>64.575000000000003</c:v>
                </c:pt>
                <c:pt idx="1535" formatCode="#,##0_);\(#,##0\);&quot;-  &quot;;&quot; &quot;@&quot; &quot;">
                  <c:v>65.010000000000005</c:v>
                </c:pt>
                <c:pt idx="1536" formatCode="#,##0_);\(#,##0\);&quot;-  &quot;;&quot; &quot;@&quot; &quot;">
                  <c:v>64.974999999999994</c:v>
                </c:pt>
                <c:pt idx="1537" formatCode="#,##0_);\(#,##0\);&quot;-  &quot;;&quot; &quot;@&quot; &quot;">
                  <c:v>64.795000000000002</c:v>
                </c:pt>
                <c:pt idx="1538" formatCode="#,##0_);\(#,##0\);&quot;-  &quot;;&quot; &quot;@&quot; &quot;">
                  <c:v>62.98</c:v>
                </c:pt>
                <c:pt idx="1539" formatCode="#,##0_);\(#,##0\);&quot;-  &quot;;&quot; &quot;@&quot; &quot;">
                  <c:v>63.575000000000003</c:v>
                </c:pt>
                <c:pt idx="1540" formatCode="#,##0_);\(#,##0\);&quot;-  &quot;;&quot; &quot;@&quot; &quot;">
                  <c:v>63.3</c:v>
                </c:pt>
                <c:pt idx="1541" formatCode="#,##0_);\(#,##0\);&quot;-  &quot;;&quot; &quot;@&quot; &quot;">
                  <c:v>65.41</c:v>
                </c:pt>
                <c:pt idx="1542" formatCode="#,##0_);\(#,##0\);&quot;-  &quot;;&quot; &quot;@&quot; &quot;">
                  <c:v>66.11</c:v>
                </c:pt>
                <c:pt idx="1543" formatCode="#,##0_);\(#,##0\);&quot;-  &quot;;&quot; &quot;@&quot; &quot;">
                  <c:v>66.894999999999996</c:v>
                </c:pt>
                <c:pt idx="1544" formatCode="#,##0_);\(#,##0\);&quot;-  &quot;;&quot; &quot;@&quot; &quot;">
                  <c:v>66.875</c:v>
                </c:pt>
                <c:pt idx="1545" formatCode="#,##0_);\(#,##0\);&quot;-  &quot;;&quot; &quot;@&quot; &quot;">
                  <c:v>66.56</c:v>
                </c:pt>
                <c:pt idx="1546" formatCode="#,##0_);\(#,##0\);&quot;-  &quot;;&quot; &quot;@&quot; &quot;">
                  <c:v>65.444999999999993</c:v>
                </c:pt>
                <c:pt idx="1547" formatCode="#,##0_);\(#,##0\);&quot;-  &quot;;&quot; &quot;@&quot; &quot;">
                  <c:v>66.84</c:v>
                </c:pt>
                <c:pt idx="1548" formatCode="#,##0_);\(#,##0\);&quot;-  &quot;;&quot; &quot;@&quot; &quot;">
                  <c:v>67.69</c:v>
                </c:pt>
                <c:pt idx="1549" formatCode="#,##0_);\(#,##0\);&quot;-  &quot;;&quot; &quot;@&quot; &quot;">
                  <c:v>67.954999999999998</c:v>
                </c:pt>
                <c:pt idx="1550" formatCode="#,##0_);\(#,##0\);&quot;-  &quot;;&quot; &quot;@&quot; &quot;">
                  <c:v>68.36</c:v>
                </c:pt>
                <c:pt idx="1551" formatCode="#,##0_);\(#,##0\);&quot;-  &quot;;&quot; &quot;@&quot; &quot;">
                  <c:v>68.564999999999998</c:v>
                </c:pt>
                <c:pt idx="1552" formatCode="#,##0_);\(#,##0\);&quot;-  &quot;;&quot; &quot;@&quot; &quot;">
                  <c:v>68.47</c:v>
                </c:pt>
                <c:pt idx="1553" formatCode="#,##0_);\(#,##0\);&quot;-  &quot;;&quot; &quot;@&quot; &quot;">
                  <c:v>67.474999999999994</c:v>
                </c:pt>
                <c:pt idx="1554" formatCode="#,##0_);\(#,##0\);&quot;-  &quot;;&quot; &quot;@&quot; &quot;">
                  <c:v>67.834999999999994</c:v>
                </c:pt>
                <c:pt idx="1555" formatCode="#,##0_);\(#,##0\);&quot;-  &quot;;&quot; &quot;@&quot; &quot;">
                  <c:v>68.63</c:v>
                </c:pt>
                <c:pt idx="1556" formatCode="#,##0_);\(#,##0\);&quot;-  &quot;;&quot; &quot;@&quot; &quot;">
                  <c:v>69.364999999999995</c:v>
                </c:pt>
                <c:pt idx="1557" formatCode="#,##0_);\(#,##0\);&quot;-  &quot;;&quot; &quot;@&quot; &quot;">
                  <c:v>69.364999999999995</c:v>
                </c:pt>
                <c:pt idx="1558" formatCode="#,##0_);\(#,##0\);&quot;-  &quot;;&quot; &quot;@&quot; &quot;">
                  <c:v>68.37</c:v>
                </c:pt>
                <c:pt idx="1559" formatCode="#,##0_);\(#,##0\);&quot;-  &quot;;&quot; &quot;@&quot; &quot;">
                  <c:v>66.765000000000001</c:v>
                </c:pt>
                <c:pt idx="1560" formatCode="#,##0_);\(#,##0\);&quot;-  &quot;;&quot; &quot;@&quot; &quot;">
                  <c:v>66.09</c:v>
                </c:pt>
                <c:pt idx="1561" formatCode="#,##0_);\(#,##0\);&quot;-  &quot;;&quot; &quot;@&quot; &quot;">
                  <c:v>68.34</c:v>
                </c:pt>
                <c:pt idx="1562" formatCode="#,##0_);\(#,##0\);&quot;-  &quot;;&quot; &quot;@&quot; &quot;">
                  <c:v>69.959999999999994</c:v>
                </c:pt>
                <c:pt idx="1563" formatCode="#,##0_);\(#,##0\);&quot;-  &quot;;&quot; &quot;@&quot; &quot;">
                  <c:v>68.784999999999997</c:v>
                </c:pt>
                <c:pt idx="1564" formatCode="#,##0_);\(#,##0\);&quot;-  &quot;;&quot; &quot;@&quot; &quot;">
                  <c:v>67.510000000000005</c:v>
                </c:pt>
                <c:pt idx="1565" formatCode="#,##0_);\(#,##0\);&quot;-  &quot;;&quot; &quot;@&quot; &quot;">
                  <c:v>66.385000000000005</c:v>
                </c:pt>
                <c:pt idx="1566" formatCode="#,##0_);\(#,##0\);&quot;-  &quot;;&quot; &quot;@&quot; &quot;">
                  <c:v>66.424999999999997</c:v>
                </c:pt>
                <c:pt idx="1567" formatCode="#,##0_);\(#,##0\);&quot;-  &quot;;&quot; &quot;@&quot; &quot;">
                  <c:v>64.155000000000001</c:v>
                </c:pt>
                <c:pt idx="1568" formatCode="#,##0_);\(#,##0\);&quot;-  &quot;;&quot; &quot;@&quot; &quot;">
                  <c:v>64.534999999999997</c:v>
                </c:pt>
                <c:pt idx="1569" formatCode="#,##0_);\(#,##0\);&quot;-  &quot;;&quot; &quot;@&quot; &quot;">
                  <c:v>63.43</c:v>
                </c:pt>
                <c:pt idx="1570" formatCode="#,##0_);\(#,##0\);&quot;-  &quot;;&quot; &quot;@&quot; &quot;">
                  <c:v>64.349999999999994</c:v>
                </c:pt>
                <c:pt idx="1571" formatCode="#,##0_);\(#,##0\);&quot;-  &quot;;&quot; &quot;@&quot; &quot;">
                  <c:v>63.914999999999999</c:v>
                </c:pt>
                <c:pt idx="1572" formatCode="#,##0_);\(#,##0\);&quot;-  &quot;;&quot; &quot;@&quot; &quot;">
                  <c:v>64.42</c:v>
                </c:pt>
                <c:pt idx="1573" formatCode="#,##0_);\(#,##0\);&quot;-  &quot;;&quot; &quot;@&quot; &quot;">
                  <c:v>63.92</c:v>
                </c:pt>
                <c:pt idx="1574" formatCode="#,##0_);\(#,##0\);&quot;-  &quot;;&quot; &quot;@&quot; &quot;">
                  <c:v>62.3</c:v>
                </c:pt>
                <c:pt idx="1575" formatCode="#,##0_);\(#,##0\);&quot;-  &quot;;&quot; &quot;@&quot; &quot;">
                  <c:v>61.265000000000001</c:v>
                </c:pt>
                <c:pt idx="1576" formatCode="#,##0_);\(#,##0\);&quot;-  &quot;;&quot; &quot;@&quot; &quot;">
                  <c:v>59.83</c:v>
                </c:pt>
                <c:pt idx="1577" formatCode="#,##0_);\(#,##0\);&quot;-  &quot;;&quot; &quot;@&quot; &quot;">
                  <c:v>58.35</c:v>
                </c:pt>
                <c:pt idx="1578" formatCode="#,##0_);\(#,##0\);&quot;-  &quot;;&quot; &quot;@&quot; &quot;">
                  <c:v>59.274999999999999</c:v>
                </c:pt>
                <c:pt idx="1579" formatCode="#,##0_);\(#,##0\);&quot;-  &quot;;&quot; &quot;@&quot; &quot;">
                  <c:v>59.43</c:v>
                </c:pt>
                <c:pt idx="1580" formatCode="#,##0_);\(#,##0\);&quot;-  &quot;;&quot; &quot;@&quot; &quot;">
                  <c:v>57.765000000000001</c:v>
                </c:pt>
                <c:pt idx="1581" formatCode="#,##0_);\(#,##0\);&quot;-  &quot;;&quot; &quot;@&quot; &quot;">
                  <c:v>56.67</c:v>
                </c:pt>
                <c:pt idx="1582" formatCode="#,##0_);\(#,##0\);&quot;-  &quot;;&quot; &quot;@&quot; &quot;">
                  <c:v>53.52</c:v>
                </c:pt>
                <c:pt idx="1583" formatCode="#,##0_);\(#,##0\);&quot;-  &quot;;&quot; &quot;@&quot; &quot;">
                  <c:v>53.6</c:v>
                </c:pt>
                <c:pt idx="1584" formatCode="#,##0_);\(#,##0\);&quot;-  &quot;;&quot; &quot;@&quot; &quot;">
                  <c:v>54.86</c:v>
                </c:pt>
                <c:pt idx="1585" formatCode="#,##0_);\(#,##0\);&quot;-  &quot;;&quot; &quot;@&quot; &quot;">
                  <c:v>53.97</c:v>
                </c:pt>
                <c:pt idx="1586" formatCode="#,##0_);\(#,##0\);&quot;-  &quot;;&quot; &quot;@&quot; &quot;">
                  <c:v>53.975000000000001</c:v>
                </c:pt>
                <c:pt idx="1587" formatCode="#,##0_);\(#,##0\);&quot;-  &quot;;&quot; &quot;@&quot; &quot;">
                  <c:v>53.115000000000002</c:v>
                </c:pt>
                <c:pt idx="1588" formatCode="#,##0_);\(#,##0\);&quot;-  &quot;;&quot; &quot;@&quot; &quot;">
                  <c:v>53.74</c:v>
                </c:pt>
                <c:pt idx="1589" formatCode="#,##0_);\(#,##0\);&quot;-  &quot;;&quot; &quot;@&quot; &quot;">
                  <c:v>55.65</c:v>
                </c:pt>
                <c:pt idx="1590" formatCode="#,##0_);\(#,##0\);&quot;-  &quot;;&quot; &quot;@&quot; &quot;">
                  <c:v>56.17</c:v>
                </c:pt>
                <c:pt idx="1591" formatCode="#,##0_);\(#,##0\);&quot;-  &quot;;&quot; &quot;@&quot; &quot;">
                  <c:v>56.96</c:v>
                </c:pt>
                <c:pt idx="1592" formatCode="#,##0_);\(#,##0\);&quot;-  &quot;;&quot; &quot;@&quot; &quot;">
                  <c:v>57.72</c:v>
                </c:pt>
                <c:pt idx="1593" formatCode="#,##0_);\(#,##0\);&quot;-  &quot;;&quot; &quot;@&quot; &quot;">
                  <c:v>57.31</c:v>
                </c:pt>
                <c:pt idx="1594" formatCode="#,##0_);\(#,##0\);&quot;-  &quot;;&quot; &quot;@&quot; &quot;">
                  <c:v>59.61</c:v>
                </c:pt>
                <c:pt idx="1595" formatCode="#,##0_);\(#,##0\);&quot;-  &quot;;&quot; &quot;@&quot; &quot;">
                  <c:v>60.215000000000003</c:v>
                </c:pt>
                <c:pt idx="1596" formatCode="#,##0_);\(#,##0\);&quot;-  &quot;;&quot; &quot;@&quot; &quot;">
                  <c:v>58.564999999999998</c:v>
                </c:pt>
                <c:pt idx="1597" formatCode="#,##0_);\(#,##0\);&quot;-  &quot;;&quot; &quot;@&quot; &quot;">
                  <c:v>55.975000000000001</c:v>
                </c:pt>
                <c:pt idx="1598" formatCode="#,##0_);\(#,##0\);&quot;-  &quot;;&quot; &quot;@&quot; &quot;">
                  <c:v>56.17</c:v>
                </c:pt>
                <c:pt idx="1599" formatCode="#,##0_);\(#,##0\);&quot;-  &quot;;&quot; &quot;@&quot; &quot;">
                  <c:v>54.945</c:v>
                </c:pt>
                <c:pt idx="1600" formatCode="#,##0_);\(#,##0\);&quot;-  &quot;;&quot; &quot;@&quot; &quot;">
                  <c:v>52.265000000000001</c:v>
                </c:pt>
                <c:pt idx="1601" formatCode="#,##0_);\(#,##0\);&quot;-  &quot;;&quot; &quot;@&quot; &quot;">
                  <c:v>50.49</c:v>
                </c:pt>
                <c:pt idx="1602" formatCode="#,##0_);\(#,##0\);&quot;-  &quot;;&quot; &quot;@&quot; &quot;">
                  <c:v>51.674999999999997</c:v>
                </c:pt>
                <c:pt idx="1603" formatCode="#,##0_);\(#,##0\);&quot;-  &quot;;&quot; &quot;@&quot; &quot;">
                  <c:v>52.11</c:v>
                </c:pt>
                <c:pt idx="1604" formatCode="#,##0_);\(#,##0\);&quot;-  &quot;;&quot; &quot;@&quot; &quot;">
                  <c:v>51.72</c:v>
                </c:pt>
                <c:pt idx="1605" formatCode="#,##0_);\(#,##0\);&quot;-  &quot;;&quot; &quot;@&quot; &quot;">
                  <c:v>51.505000000000003</c:v>
                </c:pt>
                <c:pt idx="1606" formatCode="#,##0_);\(#,##0\);&quot;-  &quot;;&quot; &quot;@&quot; &quot;">
                  <c:v>45.51</c:v>
                </c:pt>
                <c:pt idx="1607" formatCode="#,##0_);\(#,##0\);&quot;-  &quot;;&quot; &quot;@&quot; &quot;">
                  <c:v>35.450000000000003</c:v>
                </c:pt>
                <c:pt idx="1608" formatCode="#,##0_);\(#,##0\);&quot;-  &quot;;&quot; &quot;@&quot; &quot;">
                  <c:v>35.564999999999998</c:v>
                </c:pt>
                <c:pt idx="1609" formatCode="#,##0_);\(#,##0\);&quot;-  &quot;;&quot; &quot;@&quot; &quot;">
                  <c:v>34.875</c:v>
                </c:pt>
                <c:pt idx="1610" formatCode="#,##0_);\(#,##0\);&quot;-  &quot;;&quot; &quot;@&quot; &quot;">
                  <c:v>30.805</c:v>
                </c:pt>
                <c:pt idx="1611" formatCode="#,##0_);\(#,##0\);&quot;-  &quot;;&quot; &quot;@&quot; &quot;">
                  <c:v>31.844999999999999</c:v>
                </c:pt>
                <c:pt idx="1612" formatCode="#,##0_);\(#,##0\);&quot;-  &quot;;&quot; &quot;@&quot; &quot;">
                  <c:v>27.945</c:v>
                </c:pt>
                <c:pt idx="1613" formatCode="#,##0_);\(#,##0\);&quot;-  &quot;;&quot; &quot;@&quot; &quot;">
                  <c:v>27.8</c:v>
                </c:pt>
                <c:pt idx="1614" formatCode="#,##0_);\(#,##0\);&quot;-  &quot;;&quot; &quot;@&quot; &quot;">
                  <c:v>22.99</c:v>
                </c:pt>
                <c:pt idx="1615" formatCode="#,##0_);\(#,##0\);&quot;-  &quot;;&quot; &quot;@&quot; &quot;">
                  <c:v>24.12</c:v>
                </c:pt>
                <c:pt idx="1616" formatCode="#,##0_);\(#,##0\);&quot;-  &quot;;&quot; &quot;@&quot; &quot;">
                  <c:v>25.38</c:v>
                </c:pt>
                <c:pt idx="1617" formatCode="#,##0_);\(#,##0\);&quot;-  &quot;;&quot; &quot;@&quot; &quot;">
                  <c:v>22.195</c:v>
                </c:pt>
                <c:pt idx="1618" formatCode="#,##0_);\(#,##0\);&quot;-  &quot;;&quot; &quot;@&quot; &quot;">
                  <c:v>24.594999999999999</c:v>
                </c:pt>
                <c:pt idx="1619" formatCode="#,##0_);\(#,##0\);&quot;-  &quot;;&quot; &quot;@&quot; &quot;">
                  <c:v>24.04</c:v>
                </c:pt>
                <c:pt idx="1620" formatCode="#,##0_);\(#,##0\);&quot;-  &quot;;&quot; &quot;@&quot; &quot;">
                  <c:v>23.55</c:v>
                </c:pt>
                <c:pt idx="1621" formatCode="#,##0_);\(#,##0\);&quot;-  &quot;;&quot; &quot;@&quot; &quot;">
                  <c:v>21.1</c:v>
                </c:pt>
                <c:pt idx="1622" formatCode="#,##0_);\(#,##0\);&quot;-  &quot;;&quot; &quot;@&quot; &quot;">
                  <c:v>17.79</c:v>
                </c:pt>
                <c:pt idx="1623" formatCode="#,##0_);\(#,##0\);&quot;-  &quot;;&quot; &quot;@&quot; &quot;">
                  <c:v>17.675000000000001</c:v>
                </c:pt>
                <c:pt idx="1624" formatCode="#,##0_);\(#,##0\);&quot;-  &quot;;&quot; &quot;@&quot; &quot;">
                  <c:v>15.135</c:v>
                </c:pt>
                <c:pt idx="1625" formatCode="#,##0_);\(#,##0\);&quot;-  &quot;;&quot; &quot;@&quot; &quot;">
                  <c:v>19.125</c:v>
                </c:pt>
                <c:pt idx="1626" formatCode="#,##0_);\(#,##0\);&quot;-  &quot;;&quot; &quot;@&quot; &quot;">
                  <c:v>23.67</c:v>
                </c:pt>
                <c:pt idx="1627" formatCode="#,##0_);\(#,##0\);&quot;-  &quot;;&quot; &quot;@&quot; &quot;">
                  <c:v>22.475000000000001</c:v>
                </c:pt>
                <c:pt idx="1628" formatCode="#,##0_);\(#,##0\);&quot;-  &quot;;&quot; &quot;@&quot; &quot;">
                  <c:v>22.97</c:v>
                </c:pt>
                <c:pt idx="1629" formatCode="#,##0_);\(#,##0\);&quot;-  &quot;;&quot; &quot;@&quot; &quot;">
                  <c:v>22.32</c:v>
                </c:pt>
                <c:pt idx="1630" formatCode="#,##0_);\(#,##0\);&quot;-  &quot;;&quot; &quot;@&quot; &quot;">
                  <c:v>23.73</c:v>
                </c:pt>
                <c:pt idx="1631" formatCode="#,##0_);\(#,##0\);&quot;-  &quot;;&quot; &quot;@&quot; &quot;">
                  <c:v>20.655000000000001</c:v>
                </c:pt>
                <c:pt idx="1632" formatCode="#,##0_);\(#,##0\);&quot;-  &quot;;&quot; &quot;@&quot; &quot;">
                  <c:v>20.655000000000001</c:v>
                </c:pt>
                <c:pt idx="1633" formatCode="#,##0_);\(#,##0\);&quot;-  &quot;;&quot; &quot;@&quot; &quot;">
                  <c:v>18.074999999999999</c:v>
                </c:pt>
                <c:pt idx="1634" formatCode="#,##0_);\(#,##0\);&quot;-  &quot;;&quot; &quot;@&quot; &quot;">
                  <c:v>18.855</c:v>
                </c:pt>
                <c:pt idx="1635" formatCode="#,##0_);\(#,##0\);&quot;-  &quot;;&quot; &quot;@&quot; &quot;">
                  <c:v>20.14</c:v>
                </c:pt>
                <c:pt idx="1636" formatCode="#,##0_);\(#,##0\);&quot;-  &quot;;&quot; &quot;@&quot; &quot;">
                  <c:v>19.094999999999999</c:v>
                </c:pt>
                <c:pt idx="1637" formatCode="#,##0_);\(#,##0\);&quot;-  &quot;;&quot; &quot;@&quot; &quot;">
                  <c:v>13.24</c:v>
                </c:pt>
                <c:pt idx="1638" formatCode="#,##0_);\(#,##0\);&quot;-  &quot;;&quot; &quot;@&quot; &quot;">
                  <c:v>14.21</c:v>
                </c:pt>
                <c:pt idx="1639" formatCode="#,##0_);\(#,##0\);&quot;-  &quot;;&quot; &quot;@&quot; &quot;">
                  <c:v>16.295000000000002</c:v>
                </c:pt>
                <c:pt idx="1640" formatCode="#,##0_);\(#,##0\);&quot;-  &quot;;&quot; &quot;@&quot; &quot;">
                  <c:v>16.010000000000002</c:v>
                </c:pt>
                <c:pt idx="1641" formatCode="#,##0_);\(#,##0\);&quot;-  &quot;;&quot; &quot;@&quot; &quot;">
                  <c:v>13.615</c:v>
                </c:pt>
                <c:pt idx="1642" formatCode="#,##0_);\(#,##0\);&quot;-  &quot;;&quot; &quot;@&quot; &quot;">
                  <c:v>14.675000000000001</c:v>
                </c:pt>
                <c:pt idx="1643" formatCode="#,##0_);\(#,##0\);&quot;-  &quot;;&quot; &quot;@&quot; &quot;">
                  <c:v>16.945</c:v>
                </c:pt>
                <c:pt idx="1644" formatCode="#,##0_);\(#,##0\);&quot;-  &quot;;&quot; &quot;@&quot; &quot;">
                  <c:v>19.670000000000002</c:v>
                </c:pt>
                <c:pt idx="1645" formatCode="#,##0_);\(#,##0\);&quot;-  &quot;;&quot; &quot;@&quot; &quot;">
                  <c:v>19.36</c:v>
                </c:pt>
                <c:pt idx="1646" formatCode="#,##0_);\(#,##0\);&quot;-  &quot;;&quot; &quot;@&quot; &quot;">
                  <c:v>19.32</c:v>
                </c:pt>
                <c:pt idx="1647" formatCode="#,##0_);\(#,##0\);&quot;-  &quot;;&quot; &quot;@&quot; &quot;">
                  <c:v>23.835000000000001</c:v>
                </c:pt>
                <c:pt idx="1648" formatCode="#,##0_);\(#,##0\);&quot;-  &quot;;&quot; &quot;@&quot; &quot;">
                  <c:v>23.02</c:v>
                </c:pt>
                <c:pt idx="1649" formatCode="#,##0_);\(#,##0\);&quot;-  &quot;;&quot; &quot;@&quot; &quot;">
                  <c:v>25.094999999999999</c:v>
                </c:pt>
                <c:pt idx="1650" formatCode="#,##0_);\(#,##0\);&quot;-  &quot;;&quot; &quot;@&quot; &quot;">
                  <c:v>25.465</c:v>
                </c:pt>
                <c:pt idx="1651" formatCode="#,##0_);\(#,##0\);&quot;-  &quot;;&quot; &quot;@&quot; &quot;">
                  <c:v>25.465</c:v>
                </c:pt>
                <c:pt idx="1652" formatCode="#,##0_);\(#,##0\);&quot;-  &quot;;&quot; &quot;@&quot; &quot;">
                  <c:v>26.445</c:v>
                </c:pt>
                <c:pt idx="1653" formatCode="#,##0_);\(#,##0\);&quot;-  &quot;;&quot; &quot;@&quot; &quot;">
                  <c:v>28</c:v>
                </c:pt>
                <c:pt idx="1654" formatCode="#,##0_);\(#,##0\);&quot;-  &quot;;&quot; &quot;@&quot; &quot;">
                  <c:v>28.335000000000001</c:v>
                </c:pt>
                <c:pt idx="1655" formatCode="#,##0_);\(#,##0\);&quot;-  &quot;;&quot; &quot;@&quot; &quot;">
                  <c:v>30.184999999999999</c:v>
                </c:pt>
                <c:pt idx="1656" formatCode="#,##0_);\(#,##0\);&quot;-  &quot;;&quot; &quot;@&quot; &quot;">
                  <c:v>34.064999999999998</c:v>
                </c:pt>
                <c:pt idx="1657" formatCode="#,##0_);\(#,##0\);&quot;-  &quot;;&quot; &quot;@&quot; &quot;">
                  <c:v>32.695</c:v>
                </c:pt>
                <c:pt idx="1658" formatCode="#,##0_);\(#,##0\);&quot;-  &quot;;&quot; &quot;@&quot; &quot;">
                  <c:v>34.134999999999998</c:v>
                </c:pt>
                <c:pt idx="1659" formatCode="#,##0_);\(#,##0\);&quot;-  &quot;;&quot; &quot;@&quot; &quot;">
                  <c:v>34.130000000000003</c:v>
                </c:pt>
                <c:pt idx="1660" formatCode="#,##0_);\(#,##0\);&quot;-  &quot;;&quot; &quot;@&quot; &quot;">
                  <c:v>32.85</c:v>
                </c:pt>
                <c:pt idx="1661" formatCode="#,##0_);\(#,##0\);&quot;-  &quot;;&quot; &quot;@&quot; &quot;">
                  <c:v>33.4</c:v>
                </c:pt>
                <c:pt idx="1662" formatCode="#,##0_);\(#,##0\);&quot;-  &quot;;&quot; &quot;@&quot; &quot;">
                  <c:v>32.61</c:v>
                </c:pt>
                <c:pt idx="1663" formatCode="#,##0_);\(#,##0\);&quot;-  &quot;;&quot; &quot;@&quot; &quot;">
                  <c:v>33.270000000000003</c:v>
                </c:pt>
                <c:pt idx="1664" formatCode="#,##0_);\(#,##0\);&quot;-  &quot;;&quot; &quot;@&quot; &quot;">
                  <c:v>34.380000000000003</c:v>
                </c:pt>
                <c:pt idx="1665" formatCode="#,##0_);\(#,##0\);&quot;-  &quot;;&quot; &quot;@&quot; &quot;">
                  <c:v>35.46</c:v>
                </c:pt>
                <c:pt idx="1666" formatCode="#,##0_);\(#,##0\);&quot;-  &quot;;&quot; &quot;@&quot; &quot;">
                  <c:v>37.49</c:v>
                </c:pt>
                <c:pt idx="1667" formatCode="#,##0_);\(#,##0\);&quot;-  &quot;;&quot; &quot;@&quot; &quot;">
                  <c:v>37.604999999999997</c:v>
                </c:pt>
                <c:pt idx="1668" formatCode="#,##0_);\(#,##0\);&quot;-  &quot;;&quot; &quot;@&quot; &quot;">
                  <c:v>37.71</c:v>
                </c:pt>
                <c:pt idx="1669" formatCode="#,##0_);\(#,##0\);&quot;-  &quot;;&quot; &quot;@&quot; &quot;">
                  <c:v>41</c:v>
                </c:pt>
                <c:pt idx="1670" formatCode="#,##0_);\(#,##0\);&quot;-  &quot;;&quot; &quot;@&quot; &quot;">
                  <c:v>40.270000000000003</c:v>
                </c:pt>
                <c:pt idx="1671" formatCode="#,##0_);\(#,##0\);&quot;-  &quot;;&quot; &quot;@&quot; &quot;">
                  <c:v>39.65</c:v>
                </c:pt>
                <c:pt idx="1672" formatCode="#,##0_);\(#,##0\);&quot;-  &quot;;&quot; &quot;@&quot; &quot;">
                  <c:v>40.07</c:v>
                </c:pt>
                <c:pt idx="1673" formatCode="#,##0_);\(#,##0\);&quot;-  &quot;;&quot; &quot;@&quot; &quot;">
                  <c:v>38.39</c:v>
                </c:pt>
                <c:pt idx="1674" formatCode="#,##0_);\(#,##0\);&quot;-  &quot;;&quot; &quot;@&quot; &quot;">
                  <c:v>38.64</c:v>
                </c:pt>
                <c:pt idx="1675" formatCode="#,##0_);\(#,##0\);&quot;-  &quot;;&quot; &quot;@&quot; &quot;">
                  <c:v>38.76</c:v>
                </c:pt>
                <c:pt idx="1676" formatCode="#,##0_);\(#,##0\);&quot;-  &quot;;&quot; &quot;@&quot; &quot;">
                  <c:v>40.08</c:v>
                </c:pt>
                <c:pt idx="1677" formatCode="#,##0_);\(#,##0\);&quot;-  &quot;;&quot; &quot;@&quot; &quot;">
                  <c:v>40.325000000000003</c:v>
                </c:pt>
                <c:pt idx="1678" formatCode="#,##0_);\(#,##0\);&quot;-  &quot;;&quot; &quot;@&quot; &quot;">
                  <c:v>41.424999999999997</c:v>
                </c:pt>
                <c:pt idx="1679" formatCode="#,##0_);\(#,##0\);&quot;-  &quot;;&quot; &quot;@&quot; &quot;">
                  <c:v>42.695</c:v>
                </c:pt>
                <c:pt idx="1680" formatCode="#,##0_);\(#,##0\);&quot;-  &quot;;&quot; &quot;@&quot; &quot;">
                  <c:v>42.8</c:v>
                </c:pt>
                <c:pt idx="1681" formatCode="#,##0_);\(#,##0\);&quot;-  &quot;;&quot; &quot;@&quot; &quot;">
                  <c:v>43.604999999999997</c:v>
                </c:pt>
                <c:pt idx="1682" formatCode="#,##0_);\(#,##0\);&quot;-  &quot;;&quot; &quot;@&quot; &quot;">
                  <c:v>40.454999999999998</c:v>
                </c:pt>
                <c:pt idx="1683" formatCode="#,##0_);\(#,##0\);&quot;-  &quot;;&quot; &quot;@&quot; &quot;">
                  <c:v>41.01</c:v>
                </c:pt>
                <c:pt idx="1684" formatCode="#,##0_);\(#,##0\);&quot;-  &quot;;&quot; &quot;@&quot; &quot;">
                  <c:v>40.770000000000003</c:v>
                </c:pt>
                <c:pt idx="1685" formatCode="#,##0_);\(#,##0\);&quot;-  &quot;;&quot; &quot;@&quot; &quot;">
                  <c:v>41.39</c:v>
                </c:pt>
                <c:pt idx="1686" formatCode="#,##0_);\(#,##0\);&quot;-  &quot;;&quot; &quot;@&quot; &quot;">
                  <c:v>41.83</c:v>
                </c:pt>
                <c:pt idx="1687" formatCode="#,##0_);\(#,##0\);&quot;-  &quot;;&quot; &quot;@&quot; &quot;">
                  <c:v>42.56</c:v>
                </c:pt>
                <c:pt idx="1688" formatCode="#,##0_);\(#,##0\);&quot;-  &quot;;&quot; &quot;@&quot; &quot;">
                  <c:v>43.12</c:v>
                </c:pt>
                <c:pt idx="1689" formatCode="#,##0_);\(#,##0\);&quot;-  &quot;;&quot; &quot;@&quot; &quot;">
                  <c:v>43.145000000000003</c:v>
                </c:pt>
                <c:pt idx="1690" formatCode="#,##0_);\(#,##0\);&quot;-  &quot;;&quot; &quot;@&quot; &quot;">
                  <c:v>43.424999999999997</c:v>
                </c:pt>
                <c:pt idx="1691" formatCode="#,##0_);\(#,##0\);&quot;-  &quot;;&quot; &quot;@&quot; &quot;">
                  <c:v>43.545000000000002</c:v>
                </c:pt>
                <c:pt idx="1692" formatCode="#,##0_);\(#,##0\);&quot;-  &quot;;&quot; &quot;@&quot; &quot;">
                  <c:v>43.225000000000001</c:v>
                </c:pt>
                <c:pt idx="1693" formatCode="#,##0_);\(#,##0\);&quot;-  &quot;;&quot; &quot;@&quot; &quot;">
                  <c:v>42.625</c:v>
                </c:pt>
                <c:pt idx="1694" formatCode="#,##0_);\(#,##0\);&quot;-  &quot;;&quot; &quot;@&quot; &quot;">
                  <c:v>43.12</c:v>
                </c:pt>
                <c:pt idx="1695" formatCode="#,##0_);\(#,##0\);&quot;-  &quot;;&quot; &quot;@&quot; &quot;">
                  <c:v>43.64</c:v>
                </c:pt>
                <c:pt idx="1696" formatCode="#,##0_);\(#,##0\);&quot;-  &quot;;&quot; &quot;@&quot; &quot;">
                  <c:v>43.67</c:v>
                </c:pt>
                <c:pt idx="1697" formatCode="#,##0_);\(#,##0\);&quot;-  &quot;;&quot; &quot;@&quot; &quot;">
                  <c:v>44.284999999999997</c:v>
                </c:pt>
                <c:pt idx="1698" formatCode="#,##0_);\(#,##0\);&quot;-  &quot;;&quot; &quot;@&quot; &quot;">
                  <c:v>44.42</c:v>
                </c:pt>
                <c:pt idx="1699" formatCode="#,##0_);\(#,##0\);&quot;-  &quot;;&quot; &quot;@&quot; &quot;">
                  <c:v>43.71</c:v>
                </c:pt>
                <c:pt idx="1700" formatCode="#,##0_);\(#,##0\);&quot;-  &quot;;&quot; &quot;@&quot; &quot;">
                  <c:v>43.145000000000003</c:v>
                </c:pt>
                <c:pt idx="1701" formatCode="#,##0_);\(#,##0\);&quot;-  &quot;;&quot; &quot;@&quot; &quot;">
                  <c:v>44.734999999999999</c:v>
                </c:pt>
                <c:pt idx="1702" formatCode="#,##0_);\(#,##0\);&quot;-  &quot;;&quot; &quot;@&quot; &quot;">
                  <c:v>43.465000000000003</c:v>
                </c:pt>
                <c:pt idx="1703" formatCode="#,##0_);\(#,##0\);&quot;-  &quot;;&quot; &quot;@&quot; &quot;">
                  <c:v>44.134999999999998</c:v>
                </c:pt>
                <c:pt idx="1704" formatCode="#,##0_);\(#,##0\);&quot;-  &quot;;&quot; &quot;@&quot; &quot;">
                  <c:v>42.895000000000003</c:v>
                </c:pt>
                <c:pt idx="1705" formatCode="#,##0_);\(#,##0\);&quot;-  &quot;;&quot; &quot;@&quot; &quot;">
                  <c:v>42.1</c:v>
                </c:pt>
                <c:pt idx="1706" formatCode="#,##0_);\(#,##0\);&quot;-  &quot;;&quot; &quot;@&quot; &quot;">
                  <c:v>43.115000000000002</c:v>
                </c:pt>
                <c:pt idx="1707" formatCode="#,##0_);\(#,##0\);&quot;-  &quot;;&quot; &quot;@&quot; &quot;">
                  <c:v>43.74</c:v>
                </c:pt>
                <c:pt idx="1708" formatCode="#,##0_);\(#,##0\);&quot;-  &quot;;&quot; &quot;@&quot; &quot;">
                  <c:v>42.454999999999998</c:v>
                </c:pt>
                <c:pt idx="1709" formatCode="#,##0_);\(#,##0\);&quot;-  &quot;;&quot; &quot;@&quot; &quot;">
                  <c:v>42.884999999999998</c:v>
                </c:pt>
                <c:pt idx="1710" formatCode="#,##0_);\(#,##0\);&quot;-  &quot;;&quot; &quot;@&quot; &quot;">
                  <c:v>44.045000000000002</c:v>
                </c:pt>
                <c:pt idx="1711" formatCode="#,##0_);\(#,##0\);&quot;-  &quot;;&quot; &quot;@&quot; &quot;">
                  <c:v>44.17</c:v>
                </c:pt>
                <c:pt idx="1712" formatCode="#,##0_);\(#,##0\);&quot;-  &quot;;&quot; &quot;@&quot; &quot;">
                  <c:v>45.92</c:v>
                </c:pt>
                <c:pt idx="1713" formatCode="#,##0_);\(#,##0\);&quot;-  &quot;;&quot; &quot;@&quot; &quot;">
                  <c:v>45.255000000000003</c:v>
                </c:pt>
                <c:pt idx="1714" formatCode="#,##0_);\(#,##0\);&quot;-  &quot;;&quot; &quot;@&quot; &quot;">
                  <c:v>44.26</c:v>
                </c:pt>
                <c:pt idx="1715" formatCode="#,##0_);\(#,##0\);&quot;-  &quot;;&quot; &quot;@&quot; &quot;">
                  <c:v>44.484999999999999</c:v>
                </c:pt>
                <c:pt idx="1716" formatCode="#,##0_);\(#,##0\);&quot;-  &quot;;&quot; &quot;@&quot; &quot;">
                  <c:v>44.825000000000003</c:v>
                </c:pt>
                <c:pt idx="1717" formatCode="#,##0_);\(#,##0\);&quot;-  &quot;;&quot; &quot;@&quot; &quot;">
                  <c:v>45.094999999999999</c:v>
                </c:pt>
                <c:pt idx="1718" formatCode="#,##0_);\(#,##0\);&quot;-  &quot;;&quot; &quot;@&quot; &quot;">
                  <c:v>45.06</c:v>
                </c:pt>
                <c:pt idx="1719" formatCode="#,##0_);\(#,##0\);&quot;-  &quot;;&quot; &quot;@&quot; &quot;">
                  <c:v>44.515000000000001</c:v>
                </c:pt>
                <c:pt idx="1720" formatCode="#,##0_);\(#,##0\);&quot;-  &quot;;&quot; &quot;@&quot; &quot;">
                  <c:v>44.765000000000001</c:v>
                </c:pt>
                <c:pt idx="1721" formatCode="#,##0_);\(#,##0\);&quot;-  &quot;;&quot; &quot;@&quot; &quot;">
                  <c:v>45.125</c:v>
                </c:pt>
                <c:pt idx="1722" formatCode="#,##0_);\(#,##0\);&quot;-  &quot;;&quot; &quot;@&quot; &quot;">
                  <c:v>45.034999999999997</c:v>
                </c:pt>
                <c:pt idx="1723" formatCode="#,##0_);\(#,##0\);&quot;-  &quot;;&quot; &quot;@&quot; &quot;">
                  <c:v>44.375</c:v>
                </c:pt>
                <c:pt idx="1724" formatCode="#,##0_);\(#,##0\);&quot;-  &quot;;&quot; &quot;@&quot; &quot;">
                  <c:v>43.57</c:v>
                </c:pt>
                <c:pt idx="1725" formatCode="#,##0_);\(#,##0\);&quot;-  &quot;;&quot; &quot;@&quot; &quot;">
                  <c:v>44.805</c:v>
                </c:pt>
                <c:pt idx="1726" formatCode="#,##0_);\(#,##0\);&quot;-  &quot;;&quot; &quot;@&quot; &quot;">
                  <c:v>45.984999999999999</c:v>
                </c:pt>
                <c:pt idx="1727" formatCode="#,##0_);\(#,##0\);&quot;-  &quot;;&quot; &quot;@&quot; &quot;">
                  <c:v>45.5</c:v>
                </c:pt>
                <c:pt idx="1728" formatCode="#,##0_);\(#,##0\);&quot;-  &quot;;&quot; &quot;@&quot; &quot;">
                  <c:v>44.814999999999998</c:v>
                </c:pt>
                <c:pt idx="1729" formatCode="#,##0_);\(#,##0\);&quot;-  &quot;;&quot; &quot;@&quot; &quot;">
                  <c:v>44.875</c:v>
                </c:pt>
                <c:pt idx="1730" formatCode="#,##0_);\(#,##0\);&quot;-  &quot;;&quot; &quot;@&quot; &quot;">
                  <c:v>44.305</c:v>
                </c:pt>
                <c:pt idx="1731" formatCode="#,##0_);\(#,##0\);&quot;-  &quot;;&quot; &quot;@&quot; &quot;">
                  <c:v>44.305</c:v>
                </c:pt>
                <c:pt idx="1732" formatCode="#,##0_);\(#,##0\);&quot;-  &quot;;&quot; &quot;@&quot; &quot;">
                  <c:v>43.034999999999997</c:v>
                </c:pt>
                <c:pt idx="1733" formatCode="#,##0_);\(#,##0\);&quot;-  &quot;;&quot; &quot;@&quot; &quot;">
                  <c:v>41.57</c:v>
                </c:pt>
                <c:pt idx="1734" formatCode="#,##0_);\(#,##0\);&quot;-  &quot;;&quot; &quot;@&quot; &quot;">
                  <c:v>41.21</c:v>
                </c:pt>
                <c:pt idx="1735" formatCode="#,##0_);\(#,##0\);&quot;-  &quot;;&quot; &quot;@&quot; &quot;">
                  <c:v>40.5</c:v>
                </c:pt>
                <c:pt idx="1736" formatCode="#,##0_);\(#,##0\);&quot;-  &quot;;&quot; &quot;@&quot; &quot;">
                  <c:v>38.505000000000003</c:v>
                </c:pt>
                <c:pt idx="1737" formatCode="#,##0_);\(#,##0\);&quot;-  &quot;;&quot; &quot;@&quot; &quot;">
                  <c:v>39.75</c:v>
                </c:pt>
                <c:pt idx="1738" formatCode="#,##0_);\(#,##0\);&quot;-  &quot;;&quot; &quot;@&quot; &quot;">
                  <c:v>39.435000000000002</c:v>
                </c:pt>
                <c:pt idx="1739" formatCode="#,##0_);\(#,##0\);&quot;-  &quot;;&quot; &quot;@&quot; &quot;">
                  <c:v>39.045000000000002</c:v>
                </c:pt>
                <c:pt idx="1740" formatCode="#,##0_);\(#,##0\);&quot;-  &quot;;&quot; &quot;@&quot; &quot;">
                  <c:v>38.395000000000003</c:v>
                </c:pt>
                <c:pt idx="1741" formatCode="#,##0_);\(#,##0\);&quot;-  &quot;;&quot; &quot;@&quot; &quot;">
                  <c:v>39.119999999999997</c:v>
                </c:pt>
                <c:pt idx="1742" formatCode="#,##0_);\(#,##0\);&quot;-  &quot;;&quot; &quot;@&quot; &quot;">
                  <c:v>40.914999999999999</c:v>
                </c:pt>
                <c:pt idx="1743" formatCode="#,##0_);\(#,##0\);&quot;-  &quot;;&quot; &quot;@&quot; &quot;">
                  <c:v>42.42</c:v>
                </c:pt>
                <c:pt idx="1744" formatCode="#,##0_);\(#,##0\);&quot;-  &quot;;&quot; &quot;@&quot; &quot;">
                  <c:v>42.49</c:v>
                </c:pt>
                <c:pt idx="1745" formatCode="#,##0_);\(#,##0\);&quot;-  &quot;;&quot; &quot;@&quot; &quot;">
                  <c:v>40.314999999999998</c:v>
                </c:pt>
                <c:pt idx="1746" formatCode="#,##0_);\(#,##0\);&quot;-  &quot;;&quot; &quot;@&quot; &quot;">
                  <c:v>41.064999999999998</c:v>
                </c:pt>
                <c:pt idx="1747" formatCode="#,##0_);\(#,##0\);&quot;-  &quot;;&quot; &quot;@&quot; &quot;">
                  <c:v>41.44</c:v>
                </c:pt>
                <c:pt idx="1748" formatCode="#,##0_);\(#,##0\);&quot;-  &quot;;&quot; &quot;@&quot; &quot;">
                  <c:v>40.865000000000002</c:v>
                </c:pt>
                <c:pt idx="1749" formatCode="#,##0_);\(#,##0\);&quot;-  &quot;;&quot; &quot;@&quot; &quot;">
                  <c:v>41.055</c:v>
                </c:pt>
                <c:pt idx="1750" formatCode="#,##0_);\(#,##0\);&quot;-  &quot;;&quot; &quot;@&quot; &quot;">
                  <c:v>41.53</c:v>
                </c:pt>
                <c:pt idx="1751" formatCode="#,##0_);\(#,##0\);&quot;-  &quot;;&quot; &quot;@&quot; &quot;">
                  <c:v>40.15</c:v>
                </c:pt>
                <c:pt idx="1752" formatCode="#,##0_);\(#,##0\);&quot;-  &quot;;&quot; &quot;@&quot; &quot;">
                  <c:v>40.664999999999999</c:v>
                </c:pt>
                <c:pt idx="1753" formatCode="#,##0_);\(#,##0\);&quot;-  &quot;;&quot; &quot;@&quot; &quot;">
                  <c:v>38.914999999999999</c:v>
                </c:pt>
                <c:pt idx="1754" formatCode="#,##0_);\(#,##0\);&quot;-  &quot;;&quot; &quot;@&quot; &quot;">
                  <c:v>38.61</c:v>
                </c:pt>
                <c:pt idx="1755" formatCode="#,##0_);\(#,##0\);&quot;-  &quot;;&quot; &quot;@&quot; &quot;">
                  <c:v>39.975000000000001</c:v>
                </c:pt>
                <c:pt idx="1756" formatCode="#,##0_);\(#,##0\);&quot;-  &quot;;&quot; &quot;@&quot; &quot;">
                  <c:v>41.064999999999998</c:v>
                </c:pt>
                <c:pt idx="1757" formatCode="#,##0_);\(#,##0\);&quot;-  &quot;;&quot; &quot;@&quot; &quot;">
                  <c:v>40.185000000000002</c:v>
                </c:pt>
                <c:pt idx="1758" formatCode="#,##0_);\(#,##0\);&quot;-  &quot;;&quot; &quot;@&quot; &quot;">
                  <c:v>41.555</c:v>
                </c:pt>
                <c:pt idx="1759" formatCode="#,##0_);\(#,##0\);&quot;-  &quot;;&quot; &quot;@&quot; &quot;">
                  <c:v>41.954999999999998</c:v>
                </c:pt>
                <c:pt idx="1760" formatCode="#,##0_);\(#,##0\);&quot;-  &quot;;&quot; &quot;@&quot; &quot;">
                  <c:v>40.19</c:v>
                </c:pt>
                <c:pt idx="1761" formatCode="#,##0_);\(#,##0\);&quot;-  &quot;;&quot; &quot;@&quot; &quot;">
                  <c:v>41.005000000000003</c:v>
                </c:pt>
                <c:pt idx="1762" formatCode="#,##0_);\(#,##0\);&quot;-  &quot;;&quot; &quot;@&quot; &quot;">
                  <c:v>41.75</c:v>
                </c:pt>
                <c:pt idx="1763" formatCode="#,##0_);\(#,##0\);&quot;-  &quot;;&quot; &quot;@&quot; &quot;">
                  <c:v>41.075000000000003</c:v>
                </c:pt>
                <c:pt idx="1764" formatCode="#,##0_);\(#,##0\);&quot;-  &quot;;&quot; &quot;@&quot; &quot;">
                  <c:v>41.65</c:v>
                </c:pt>
                <c:pt idx="1765" formatCode="#,##0_);\(#,##0\);&quot;-  &quot;;&quot; &quot;@&quot; &quot;">
                  <c:v>41.78</c:v>
                </c:pt>
                <c:pt idx="1766" formatCode="#,##0_);\(#,##0\);&quot;-  &quot;;&quot; &quot;@&quot; &quot;">
                  <c:v>41.14</c:v>
                </c:pt>
                <c:pt idx="1767" formatCode="#,##0_);\(#,##0\);&quot;-  &quot;;&quot; &quot;@&quot; &quot;">
                  <c:v>40.465000000000003</c:v>
                </c:pt>
                <c:pt idx="1768" formatCode="#,##0_);\(#,##0\);&quot;-  &quot;;&quot; &quot;@&quot; &quot;">
                  <c:v>41.515000000000001</c:v>
                </c:pt>
                <c:pt idx="1769" formatCode="#,##0_);\(#,##0\);&quot;-  &quot;;&quot; &quot;@&quot; &quot;">
                  <c:v>41.234999999999999</c:v>
                </c:pt>
                <c:pt idx="1770" formatCode="#,##0_);\(#,##0\);&quot;-  &quot;;&quot; &quot;@&quot; &quot;">
                  <c:v>39.115000000000002</c:v>
                </c:pt>
                <c:pt idx="1771" formatCode="#,##0_);\(#,##0\);&quot;-  &quot;;&quot; &quot;@&quot; &quot;">
                  <c:v>40.01</c:v>
                </c:pt>
                <c:pt idx="1772" formatCode="#,##0_);\(#,##0\);&quot;-  &quot;;&quot; &quot;@&quot; &quot;">
                  <c:v>37.770000000000003</c:v>
                </c:pt>
                <c:pt idx="1773" formatCode="#,##0_);\(#,##0\);&quot;-  &quot;;&quot; &quot;@&quot; &quot;">
                  <c:v>36.215000000000003</c:v>
                </c:pt>
                <c:pt idx="1774" formatCode="#,##0_);\(#,##0\);&quot;-  &quot;;&quot; &quot;@&quot; &quot;">
                  <c:v>36.204999999999998</c:v>
                </c:pt>
                <c:pt idx="1775" formatCode="#,##0_);\(#,##0\);&quot;-  &quot;;&quot; &quot;@&quot; &quot;">
                  <c:v>36.524999999999999</c:v>
                </c:pt>
                <c:pt idx="1776" formatCode="#,##0_);\(#,##0\);&quot;-  &quot;;&quot; &quot;@&quot; &quot;">
                  <c:v>38.01</c:v>
                </c:pt>
                <c:pt idx="1777" formatCode="#,##0_);\(#,##0\);&quot;-  &quot;;&quot; &quot;@&quot; &quot;">
                  <c:v>39.435000000000002</c:v>
                </c:pt>
                <c:pt idx="1778" formatCode="#,##0_);\(#,##0\);&quot;-  &quot;;&quot; &quot;@&quot; &quot;">
                  <c:v>39.494999999999997</c:v>
                </c:pt>
                <c:pt idx="1779" formatCode="#,##0_);\(#,##0\);&quot;-  &quot;;&quot; &quot;@&quot; &quot;">
                  <c:v>38.299999999999997</c:v>
                </c:pt>
                <c:pt idx="1780" formatCode="#,##0_);\(#,##0\);&quot;-  &quot;;&quot; &quot;@&quot; &quot;">
                  <c:v>41.31</c:v>
                </c:pt>
                <c:pt idx="1781" formatCode="#,##0_);\(#,##0\);&quot;-  &quot;;&quot; &quot;@&quot; &quot;">
                  <c:v>41.715000000000003</c:v>
                </c:pt>
                <c:pt idx="1782" formatCode="#,##0_);\(#,##0\);&quot;-  &quot;;&quot; &quot;@&quot; &quot;">
                  <c:v>43.195</c:v>
                </c:pt>
                <c:pt idx="1783" formatCode="#,##0_);\(#,##0\);&quot;-  &quot;;&quot; &quot;@&quot; &quot;">
                  <c:v>42.87</c:v>
                </c:pt>
                <c:pt idx="1784" formatCode="#,##0_);\(#,##0\);&quot;-  &quot;;&quot; &quot;@&quot; &quot;">
                  <c:v>41.784999999999997</c:v>
                </c:pt>
                <c:pt idx="1785" formatCode="#,##0_);\(#,##0\);&quot;-  &quot;;&quot; &quot;@&quot; &quot;">
                  <c:v>43.115000000000002</c:v>
                </c:pt>
                <c:pt idx="1786" formatCode="#,##0_);\(#,##0\);&quot;-  &quot;;&quot; &quot;@&quot; &quot;">
                  <c:v>42.045000000000002</c:v>
                </c:pt>
                <c:pt idx="1787" formatCode="#,##0_);\(#,##0\);&quot;-  &quot;;&quot; &quot;@&quot; &quot;">
                  <c:v>43.395000000000003</c:v>
                </c:pt>
                <c:pt idx="1788" formatCode="#,##0_);\(#,##0\);&quot;-  &quot;;&quot; &quot;@&quot; &quot;">
                  <c:v>42.865000000000002</c:v>
                </c:pt>
                <c:pt idx="1789" formatCode="#,##0_);\(#,##0\);&quot;-  &quot;;&quot; &quot;@&quot; &quot;">
                  <c:v>43.435000000000002</c:v>
                </c:pt>
                <c:pt idx="1790" formatCode="#,##0_);\(#,##0\);&quot;-  &quot;;&quot; &quot;@&quot; &quot;">
                  <c:v>44.94</c:v>
                </c:pt>
                <c:pt idx="1791" formatCode="#,##0_);\(#,##0\);&quot;-  &quot;;&quot; &quot;@&quot; &quot;">
                  <c:v>46.774999999999999</c:v>
                </c:pt>
                <c:pt idx="1792" formatCode="#,##0_);\(#,##0\);&quot;-  &quot;;&quot; &quot;@&quot; &quot;">
                  <c:v>46.74</c:v>
                </c:pt>
                <c:pt idx="1793" formatCode="#,##0_);\(#,##0\);&quot;-  &quot;;&quot; &quot;@&quot; &quot;">
                  <c:v>46.57</c:v>
                </c:pt>
                <c:pt idx="1794" formatCode="#,##0_);\(#,##0\);&quot;-  &quot;;&quot; &quot;@&quot; &quot;">
                  <c:v>47.024999999999999</c:v>
                </c:pt>
                <c:pt idx="1795" formatCode="#,##0_);\(#,##0\);&quot;-  &quot;;&quot; &quot;@&quot; &quot;">
                  <c:v>46.39</c:v>
                </c:pt>
                <c:pt idx="1796" formatCode="#,##0_);\(#,##0\);&quot;-  &quot;;&quot; &quot;@&quot; &quot;">
                  <c:v>47.015000000000001</c:v>
                </c:pt>
                <c:pt idx="1797" formatCode="#,##0_);\(#,##0\);&quot;-  &quot;;&quot; &quot;@&quot; &quot;">
                  <c:v>47.73</c:v>
                </c:pt>
                <c:pt idx="1798" formatCode="#,##0_);\(#,##0\);&quot;-  &quot;;&quot; &quot;@&quot; &quot;">
                  <c:v>48.41</c:v>
                </c:pt>
                <c:pt idx="1799" formatCode="#,##0_);\(#,##0\);&quot;-  &quot;;&quot; &quot;@&quot; &quot;">
                  <c:v>48.875</c:v>
                </c:pt>
                <c:pt idx="1800" formatCode="#,##0_);\(#,##0\);&quot;-  &quot;;&quot; &quot;@&quot; &quot;">
                  <c:v>48.83</c:v>
                </c:pt>
                <c:pt idx="1801" formatCode="#,##0_);\(#,##0\);&quot;-  &quot;;&quot; &quot;@&quot; &quot;">
                  <c:v>48.685000000000002</c:v>
                </c:pt>
                <c:pt idx="1802" formatCode="#,##0_);\(#,##0\);&quot;-  &quot;;&quot; &quot;@&quot; &quot;">
                  <c:v>48.44</c:v>
                </c:pt>
                <c:pt idx="1803" formatCode="#,##0_);\(#,##0\);&quot;-  &quot;;&quot; &quot;@&quot; &quot;">
                  <c:v>50.92</c:v>
                </c:pt>
                <c:pt idx="1804" formatCode="#,##0_);\(#,##0\);&quot;-  &quot;;&quot; &quot;@&quot; &quot;">
                  <c:v>50.03</c:v>
                </c:pt>
                <c:pt idx="1805" formatCode="#,##0_);\(#,##0\);&quot;-  &quot;;&quot; &quot;@&quot; &quot;">
                  <c:v>49.59</c:v>
                </c:pt>
                <c:pt idx="1806" formatCode="#,##0_);\(#,##0\);&quot;-  &quot;;&quot; &quot;@&quot; &quot;">
                  <c:v>50.674999999999997</c:v>
                </c:pt>
                <c:pt idx="1807" formatCode="#,##0_);\(#,##0\);&quot;-  &quot;;&quot; &quot;@&quot; &quot;">
                  <c:v>50.645000000000003</c:v>
                </c:pt>
                <c:pt idx="1808" formatCode="#,##0_);\(#,##0\);&quot;-  &quot;;&quot; &quot;@&quot; &quot;">
                  <c:v>51.354999999999997</c:v>
                </c:pt>
                <c:pt idx="1809" formatCode="#,##0_);\(#,##0\);&quot;-  &quot;;&quot; &quot;@&quot; &quot;">
                  <c:v>51.97</c:v>
                </c:pt>
                <c:pt idx="1810" formatCode="#,##0_);\(#,##0\);&quot;-  &quot;;&quot; &quot;@&quot; &quot;">
                  <c:v>50.064999999999998</c:v>
                </c:pt>
                <c:pt idx="1811" formatCode="#,##0_);\(#,##0\);&quot;-  &quot;;&quot; &quot;@&quot; &quot;">
                  <c:v>50.295000000000002</c:v>
                </c:pt>
                <c:pt idx="1812" formatCode="#,##0_);\(#,##0\);&quot;-  &quot;;&quot; &quot;@&quot; &quot;">
                  <c:v>51.27</c:v>
                </c:pt>
                <c:pt idx="1813" formatCode="#,##0_);\(#,##0\);&quot;-  &quot;;&quot; &quot;@&quot; &quot;">
                  <c:v>50.395000000000003</c:v>
                </c:pt>
                <c:pt idx="1814" formatCode="#,##0_);\(#,##0\);&quot;-  &quot;;&quot; &quot;@&quot; &quot;">
                  <c:v>50.66</c:v>
                </c:pt>
                <c:pt idx="1815" formatCode="#,##0_);\(#,##0\);&quot;-  &quot;;&quot; &quot;@&quot; &quot;">
                  <c:v>50.66</c:v>
                </c:pt>
                <c:pt idx="1816" formatCode="#,##0_);\(#,##0\);&quot;-  &quot;;&quot; &quot;@&quot; &quot;">
                  <c:v>50.765000000000001</c:v>
                </c:pt>
                <c:pt idx="1817" formatCode="#,##0_);\(#,##0\);&quot;-  &quot;;&quot; &quot;@&quot; &quot;">
                  <c:v>50.484999999999999</c:v>
                </c:pt>
                <c:pt idx="1818" formatCode="#,##0_);\(#,##0\);&quot;-  &quot;;&quot; &quot;@&quot; &quot;">
                  <c:v>50.335000000000001</c:v>
                </c:pt>
                <c:pt idx="1819" formatCode="#,##0_);\(#,##0\);&quot;-  &quot;;&quot; &quot;@&quot; &quot;">
                  <c:v>52.41</c:v>
                </c:pt>
                <c:pt idx="1820" formatCode="#,##0_);\(#,##0\);&quot;-  &quot;;&quot; &quot;@&quot; &quot;">
                  <c:v>54.23</c:v>
                </c:pt>
                <c:pt idx="1821" formatCode="#,##0_);\(#,##0\);&quot;-  &quot;;&quot; &quot;@&quot; &quot;">
                  <c:v>54.145000000000003</c:v>
                </c:pt>
                <c:pt idx="1822" formatCode="#,##0_);\(#,##0\);&quot;-  &quot;;&quot; &quot;@&quot; &quot;">
                  <c:v>55.29</c:v>
                </c:pt>
                <c:pt idx="1823" formatCode="#,##0_);\(#,##0\);&quot;-  &quot;;&quot; &quot;@&quot; &quot;">
                  <c:v>54.98</c:v>
                </c:pt>
                <c:pt idx="1824" formatCode="#,##0_);\(#,##0\);&quot;-  &quot;;&quot; &quot;@&quot; &quot;">
                  <c:v>56.115000000000002</c:v>
                </c:pt>
                <c:pt idx="1825" formatCode="#,##0_);\(#,##0\);&quot;-  &quot;;&quot; &quot;@&quot; &quot;">
                  <c:v>55.86</c:v>
                </c:pt>
                <c:pt idx="1826" formatCode="#,##0_);\(#,##0\);&quot;-  &quot;;&quot; &quot;@&quot; &quot;">
                  <c:v>55.284999999999997</c:v>
                </c:pt>
                <c:pt idx="1827" formatCode="#,##0_);\(#,##0\);&quot;-  &quot;;&quot; &quot;@&quot; &quot;">
                  <c:v>54.515000000000001</c:v>
                </c:pt>
                <c:pt idx="1828" formatCode="#,##0_);\(#,##0\);&quot;-  &quot;;&quot; &quot;@&quot; &quot;">
                  <c:v>54.62</c:v>
                </c:pt>
                <c:pt idx="1829" formatCode="#,##0_);\(#,##0\);&quot;-  &quot;;&quot; &quot;@&quot; &quot;">
                  <c:v>55.63</c:v>
                </c:pt>
                <c:pt idx="1830" formatCode="#,##0_);\(#,##0\);&quot;-  &quot;;&quot; &quot;@&quot; &quot;">
                  <c:v>56.125</c:v>
                </c:pt>
                <c:pt idx="1831" formatCode="#,##0_);\(#,##0\);&quot;-  &quot;;&quot; &quot;@&quot; &quot;">
                  <c:v>55.755000000000003</c:v>
                </c:pt>
                <c:pt idx="1832" formatCode="#,##0_);\(#,##0\);&quot;-  &quot;;&quot; &quot;@&quot; &quot;">
                  <c:v>55.22</c:v>
                </c:pt>
                <c:pt idx="1833" formatCode="#,##0_);\(#,##0\);&quot;-  &quot;;&quot; &quot;@&quot; &quot;">
                  <c:v>54.98</c:v>
                </c:pt>
                <c:pt idx="1834" formatCode="#,##0_);\(#,##0\);&quot;-  &quot;;&quot; &quot;@&quot; &quot;">
                  <c:v>55.38</c:v>
                </c:pt>
                <c:pt idx="1835" formatCode="#,##0_);\(#,##0\);&quot;-  &quot;;&quot; &quot;@&quot; &quot;">
                  <c:v>55.73</c:v>
                </c:pt>
                <c:pt idx="1836" formatCode="#,##0_);\(#,##0\);&quot;-  &quot;;&quot; &quot;@&quot; &quot;">
                  <c:v>55.134999999999998</c:v>
                </c:pt>
                <c:pt idx="1837" formatCode="#,##0_);\(#,##0\);&quot;-  &quot;;&quot; &quot;@&quot; &quot;">
                  <c:v>55.125</c:v>
                </c:pt>
                <c:pt idx="1838" formatCode="#,##0_);\(#,##0\);&quot;-  &quot;;&quot; &quot;@&quot; &quot;">
                  <c:v>55.814999999999998</c:v>
                </c:pt>
                <c:pt idx="1839" formatCode="#,##0_);\(#,##0\);&quot;-  &quot;;&quot; &quot;@&quot; &quot;">
                  <c:v>57.74</c:v>
                </c:pt>
                <c:pt idx="1840" formatCode="#,##0_);\(#,##0\);&quot;-  &quot;;&quot; &quot;@&quot; &quot;">
                  <c:v>58.77</c:v>
                </c:pt>
                <c:pt idx="1841" formatCode="#,##0_);\(#,##0\);&quot;-  &quot;;&quot; &quot;@&quot; &quot;">
                  <c:v>58.634999999999998</c:v>
                </c:pt>
                <c:pt idx="1842" formatCode="#,##0_);\(#,##0\);&quot;-  &quot;;&quot; &quot;@&quot; &quot;">
                  <c:v>59.765000000000001</c:v>
                </c:pt>
                <c:pt idx="1843" formatCode="#,##0_);\(#,##0\);&quot;-  &quot;;&quot; &quot;@&quot; &quot;">
                  <c:v>59.905000000000001</c:v>
                </c:pt>
                <c:pt idx="1844" formatCode="#,##0_);\(#,##0\);&quot;-  &quot;;&quot; &quot;@&quot; &quot;">
                  <c:v>60.594999999999999</c:v>
                </c:pt>
                <c:pt idx="1845" formatCode="#,##0_);\(#,##0\);&quot;-  &quot;;&quot; &quot;@&quot; &quot;">
                  <c:v>61.234999999999999</c:v>
                </c:pt>
                <c:pt idx="1846" formatCode="#,##0_);\(#,##0\);&quot;-  &quot;;&quot; &quot;@&quot; &quot;">
                  <c:v>61.314999999999998</c:v>
                </c:pt>
                <c:pt idx="1847" formatCode="#,##0_);\(#,##0\);&quot;-  &quot;;&quot; &quot;@&quot; &quot;">
                  <c:v>62.045000000000002</c:v>
                </c:pt>
                <c:pt idx="1848" formatCode="#,##0_);\(#,##0\);&quot;-  &quot;;&quot; &quot;@&quot; &quot;">
                  <c:v>64.064999999999998</c:v>
                </c:pt>
                <c:pt idx="1849" formatCode="#,##0_);\(#,##0\);&quot;-  &quot;;&quot; &quot;@&quot; &quot;">
                  <c:v>63.564999999999998</c:v>
                </c:pt>
                <c:pt idx="1850" formatCode="#,##0_);\(#,##0\);&quot;-  &quot;;&quot; &quot;@&quot; &quot;">
                  <c:v>64.155000000000001</c:v>
                </c:pt>
                <c:pt idx="1851" formatCode="#,##0_);\(#,##0\);&quot;-  &quot;;&quot; &quot;@&quot; &quot;">
                  <c:v>64.66</c:v>
                </c:pt>
                <c:pt idx="1852" formatCode="#,##0_);\(#,##0\);&quot;-  &quot;;&quot; &quot;@&quot; &quot;">
                  <c:v>63.44</c:v>
                </c:pt>
                <c:pt idx="1853" formatCode="#,##0_);\(#,##0\);&quot;-  &quot;;&quot; &quot;@&quot; &quot;">
                  <c:v>64.25</c:v>
                </c:pt>
                <c:pt idx="1854" formatCode="#,##0_);\(#,##0\);&quot;-  &quot;;&quot; &quot;@&quot; &quot;">
                  <c:v>65.08</c:v>
                </c:pt>
                <c:pt idx="1855" formatCode="#,##0_);\(#,##0\);&quot;-  &quot;;&quot; &quot;@&quot; &quot;">
                  <c:v>66.680000000000007</c:v>
                </c:pt>
                <c:pt idx="1856" formatCode="#,##0_);\(#,##0\);&quot;-  &quot;;&quot; &quot;@&quot; &quot;">
                  <c:v>66.805000000000007</c:v>
                </c:pt>
                <c:pt idx="1857" formatCode="#,##0_);\(#,##0\);&quot;-  &quot;;&quot; &quot;@&quot; &quot;">
                  <c:v>65.92</c:v>
                </c:pt>
                <c:pt idx="1858" formatCode="#,##0_);\(#,##0\);&quot;-  &quot;;&quot; &quot;@&quot; &quot;">
                  <c:v>65.625</c:v>
                </c:pt>
                <c:pt idx="1859" formatCode="#,##0_);\(#,##0\);&quot;-  &quot;;&quot; &quot;@&quot; &quot;">
                  <c:v>64.055000000000007</c:v>
                </c:pt>
                <c:pt idx="1860" formatCode="#,##0_);\(#,##0\);&quot;-  &quot;;&quot; &quot;@&quot; &quot;">
                  <c:v>64.555000000000007</c:v>
                </c:pt>
                <c:pt idx="1861" formatCode="#,##0_);\(#,##0\);&quot;-  &quot;;&quot; &quot;@&quot; &quot;">
                  <c:v>67.474999999999994</c:v>
                </c:pt>
                <c:pt idx="1862" formatCode="#,##0_);\(#,##0\);&quot;-  &quot;;&quot; &quot;@&quot; &quot;">
                  <c:v>69.004999999999995</c:v>
                </c:pt>
                <c:pt idx="1863" formatCode="#,##0_);\(#,##0\);&quot;-  &quot;;&quot; &quot;@&quot; &quot;">
                  <c:v>68.734999999999999</c:v>
                </c:pt>
                <c:pt idx="1864" formatCode="#,##0_);\(#,##0\);&quot;-  &quot;;&quot; &quot;@&quot; &quot;">
                  <c:v>67.254999999999995</c:v>
                </c:pt>
                <c:pt idx="1865" formatCode="#,##0_);\(#,##0\);&quot;-  &quot;;&quot; &quot;@&quot; &quot;">
                  <c:v>66.760000000000005</c:v>
                </c:pt>
                <c:pt idx="1866" formatCode="#,##0_);\(#,##0\);&quot;-  &quot;;&quot; &quot;@&quot; &quot;">
                  <c:v>69.16</c:v>
                </c:pt>
                <c:pt idx="1867" formatCode="#,##0_);\(#,##0\);&quot;-  &quot;;&quot; &quot;@&quot; &quot;">
                  <c:v>69.284999999999997</c:v>
                </c:pt>
                <c:pt idx="1868" formatCode="#,##0_);\(#,##0\);&quot;-  &quot;;&quot; &quot;@&quot; &quot;">
                  <c:v>68.510000000000005</c:v>
                </c:pt>
                <c:pt idx="1869" formatCode="#,##0_);\(#,##0\);&quot;-  &quot;;&quot; &quot;@&quot; &quot;">
                  <c:v>67.965000000000003</c:v>
                </c:pt>
                <c:pt idx="1870" formatCode="#,##0_);\(#,##0\);&quot;-  &quot;;&quot; &quot;@&quot; &quot;">
                  <c:v>67.45</c:v>
                </c:pt>
                <c:pt idx="1871" formatCode="#,##0_);\(#,##0\);&quot;-  &quot;;&quot; &quot;@&quot; &quot;">
                  <c:v>64.92</c:v>
                </c:pt>
                <c:pt idx="1872" formatCode="#,##0_);\(#,##0\);&quot;-  &quot;;&quot; &quot;@&quot; &quot;">
                  <c:v>63.72</c:v>
                </c:pt>
                <c:pt idx="1873" formatCode="#,##0_);\(#,##0\);&quot;-  &quot;;&quot; &quot;@&quot; &quot;">
                  <c:v>63.805</c:v>
                </c:pt>
                <c:pt idx="1874" formatCode="#,##0_);\(#,##0\);&quot;-  &quot;;&quot; &quot;@&quot; &quot;">
                  <c:v>61.884999999999998</c:v>
                </c:pt>
                <c:pt idx="1875" formatCode="#,##0_);\(#,##0\);&quot;-  &quot;;&quot; &quot;@&quot; &quot;">
                  <c:v>63.634999999999998</c:v>
                </c:pt>
                <c:pt idx="1876" formatCode="#,##0_);\(#,##0\);&quot;-  &quot;;&quot; &quot;@&quot; &quot;">
                  <c:v>61.255000000000003</c:v>
                </c:pt>
                <c:pt idx="1877" formatCode="#,##0_);\(#,##0\);&quot;-  &quot;;&quot; &quot;@&quot; &quot;">
                  <c:v>63.8</c:v>
                </c:pt>
                <c:pt idx="1878" formatCode="#,##0_);\(#,##0\);&quot;-  &quot;;&quot; &quot;@&quot; &quot;">
                  <c:v>63.265000000000001</c:v>
                </c:pt>
                <c:pt idx="1879" formatCode="#,##0_);\(#,##0\);&quot;-  &quot;;&quot; &quot;@&quot; &quot;">
                  <c:v>63.534999999999997</c:v>
                </c:pt>
                <c:pt idx="1880" formatCode="#,##0_);\(#,##0\);&quot;-  &quot;;&quot; &quot;@&quot; &quot;">
                  <c:v>63.744999999999997</c:v>
                </c:pt>
                <c:pt idx="1881" formatCode="#,##0_);\(#,##0\);&quot;-  &quot;;&quot; &quot;@&quot; &quot;">
                  <c:v>62.19</c:v>
                </c:pt>
                <c:pt idx="1882" formatCode="#,##0_);\(#,##0\);&quot;-  &quot;;&quot; &quot;@&quot; &quot;">
                  <c:v>62.365000000000002</c:v>
                </c:pt>
                <c:pt idx="1883" formatCode="#,##0_);\(#,##0\);&quot;-  &quot;;&quot; &quot;@&quot; &quot;">
                  <c:v>62.365000000000002</c:v>
                </c:pt>
                <c:pt idx="1884" formatCode="#,##0_);\(#,##0\);&quot;-  &quot;;&quot; &quot;@&quot; &quot;">
                  <c:v>61.024999999999999</c:v>
                </c:pt>
                <c:pt idx="1885" formatCode="#,##0_);\(#,##0\);&quot;-  &quot;;&quot; &quot;@&quot; &quot;">
                  <c:v>62</c:v>
                </c:pt>
                <c:pt idx="1886" formatCode="#,##0_);\(#,##0\);&quot;-  &quot;;&quot; &quot;@&quot; &quot;">
                  <c:v>62.27</c:v>
                </c:pt>
                <c:pt idx="1887" formatCode="#,##0_);\(#,##0\);&quot;-  &quot;;&quot; &quot;@&quot; &quot;">
                  <c:v>62.57</c:v>
                </c:pt>
                <c:pt idx="1888" formatCode="#,##0_);\(#,##0\);&quot;-  &quot;;&quot; &quot;@&quot; &quot;">
                  <c:v>63.09</c:v>
                </c:pt>
                <c:pt idx="1889" formatCode="#,##0_);\(#,##0\);&quot;-  &quot;;&quot; &quot;@&quot; &quot;">
                  <c:v>65.665000000000006</c:v>
                </c:pt>
                <c:pt idx="1890" formatCode="#,##0_);\(#,##0\);&quot;-  &quot;;&quot; &quot;@&quot; &quot;">
                  <c:v>65.534999999999997</c:v>
                </c:pt>
                <c:pt idx="1891" formatCode="#,##0_);\(#,##0\);&quot;-  &quot;;&quot; &quot;@&quot; &quot;">
                  <c:v>65.91</c:v>
                </c:pt>
                <c:pt idx="1892" formatCode="#,##0_);\(#,##0\);&quot;-  &quot;;&quot; &quot;@&quot; &quot;">
                  <c:v>66.254999999999995</c:v>
                </c:pt>
                <c:pt idx="1893" formatCode="#,##0_);\(#,##0\);&quot;-  &quot;;&quot; &quot;@&quot; &quot;">
                  <c:v>65.064999999999998</c:v>
                </c:pt>
                <c:pt idx="1894" formatCode="#,##0_);\(#,##0\);&quot;-  &quot;;&quot; &quot;@&quot; &quot;">
                  <c:v>65.33</c:v>
                </c:pt>
                <c:pt idx="1895" formatCode="#,##0_);\(#,##0\);&quot;-  &quot;;&quot; &quot;@&quot; &quot;">
                  <c:v>65.165000000000006</c:v>
                </c:pt>
                <c:pt idx="1896" formatCode="#,##0_);\(#,##0\);&quot;-  &quot;;&quot; &quot;@&quot; &quot;">
                  <c:v>65.564999999999998</c:v>
                </c:pt>
                <c:pt idx="1897" formatCode="#,##0_);\(#,##0\);&quot;-  &quot;;&quot; &quot;@&quot; &quot;">
                  <c:v>65.56</c:v>
                </c:pt>
                <c:pt idx="1898" formatCode="#,##0_);\(#,##0\);&quot;-  &quot;;&quot; &quot;@&quot; &quot;">
                  <c:v>65.680000000000007</c:v>
                </c:pt>
                <c:pt idx="1899" formatCode="#,##0_);\(#,##0\);&quot;-  &quot;;&quot; &quot;@&quot; &quot;">
                  <c:v>67.5</c:v>
                </c:pt>
                <c:pt idx="1900" formatCode="#,##0_);\(#,##0\);&quot;-  &quot;;&quot; &quot;@&quot; &quot;">
                  <c:v>68.150000000000006</c:v>
                </c:pt>
                <c:pt idx="1901" formatCode="#,##0_);\(#,##0\);&quot;-  &quot;;&quot; &quot;@&quot; &quot;">
                  <c:v>67.025000000000006</c:v>
                </c:pt>
                <c:pt idx="1902" formatCode="#,##0_);\(#,##0\);&quot;-  &quot;;&quot; &quot;@&quot; &quot;">
                  <c:v>69.234999999999999</c:v>
                </c:pt>
                <c:pt idx="1903" formatCode="#,##0_);\(#,##0\);&quot;-  &quot;;&quot; &quot;@&quot; &quot;">
                  <c:v>69.234999999999999</c:v>
                </c:pt>
                <c:pt idx="1904" formatCode="#,##0_);\(#,##0\);&quot;-  &quot;;&quot; &quot;@&quot; &quot;">
                  <c:v>70.3</c:v>
                </c:pt>
                <c:pt idx="1905" formatCode="#,##0_);\(#,##0\);&quot;-  &quot;;&quot; &quot;@&quot; &quot;">
                  <c:v>69.09</c:v>
                </c:pt>
                <c:pt idx="1906" formatCode="#,##0_);\(#,##0\);&quot;-  &quot;;&quot; &quot;@&quot; &quot;">
                  <c:v>68.8</c:v>
                </c:pt>
                <c:pt idx="1907" formatCode="#,##0_);\(#,##0\);&quot;-  &quot;;&quot; &quot;@&quot; &quot;">
                  <c:v>68.644999999999996</c:v>
                </c:pt>
                <c:pt idx="1908" formatCode="#,##0_);\(#,##0\);&quot;-  &quot;;&quot; &quot;@&quot; &quot;">
                  <c:v>68.905000000000001</c:v>
                </c:pt>
                <c:pt idx="1909" formatCode="#,##0_);\(#,##0\);&quot;-  &quot;;&quot; &quot;@&quot; &quot;">
                  <c:v>70.209999999999994</c:v>
                </c:pt>
                <c:pt idx="1910" formatCode="#,##0_);\(#,##0\);&quot;-  &quot;;&quot; &quot;@&quot; &quot;">
                  <c:v>68.004999999999995</c:v>
                </c:pt>
                <c:pt idx="1911" formatCode="#,##0_);\(#,##0\);&quot;-  &quot;;&quot; &quot;@&quot; &quot;">
                  <c:v>69.034999999999997</c:v>
                </c:pt>
                <c:pt idx="1912" formatCode="#,##0_);\(#,##0\);&quot;-  &quot;;&quot; &quot;@&quot; &quot;">
                  <c:v>69.72</c:v>
                </c:pt>
                <c:pt idx="1913" formatCode="#,##0_);\(#,##0\);&quot;-  &quot;;&quot; &quot;@&quot; &quot;">
                  <c:v>69.67</c:v>
                </c:pt>
                <c:pt idx="1914" formatCode="#,##0_);\(#,##0\);&quot;-  &quot;;&quot; &quot;@&quot; &quot;">
                  <c:v>66.44</c:v>
                </c:pt>
                <c:pt idx="1915" formatCode="#,##0_);\(#,##0\);&quot;-  &quot;;&quot; &quot;@&quot; &quot;">
                  <c:v>66.599999999999994</c:v>
                </c:pt>
                <c:pt idx="1916" formatCode="#,##0_);\(#,##0\);&quot;-  &quot;;&quot; &quot;@&quot; &quot;">
                  <c:v>66.885000000000005</c:v>
                </c:pt>
                <c:pt idx="1917" formatCode="#,##0_);\(#,##0\);&quot;-  &quot;;&quot; &quot;@&quot; &quot;">
                  <c:v>68.364999999999995</c:v>
                </c:pt>
                <c:pt idx="1918" formatCode="#,##0_);\(#,##0\);&quot;-  &quot;;&quot; &quot;@&quot; &quot;">
                  <c:v>68.75</c:v>
                </c:pt>
                <c:pt idx="1919" formatCode="#,##0_);\(#,##0\);&quot;-  &quot;;&quot; &quot;@&quot; &quot;">
                  <c:v>68.930000000000007</c:v>
                </c:pt>
                <c:pt idx="1920" formatCode="#,##0_);\(#,##0\);&quot;-  &quot;;&quot; &quot;@&quot; &quot;">
                  <c:v>69.08</c:v>
                </c:pt>
                <c:pt idx="1921" formatCode="#,##0_);\(#,##0\);&quot;-  &quot;;&quot; &quot;@&quot; &quot;">
                  <c:v>69.504999999999995</c:v>
                </c:pt>
                <c:pt idx="1922" formatCode="#,##0_);\(#,##0\);&quot;-  &quot;;&quot; &quot;@&quot; &quot;">
                  <c:v>69.319999999999993</c:v>
                </c:pt>
                <c:pt idx="1923" formatCode="#,##0_);\(#,##0\);&quot;-  &quot;;&quot; &quot;@&quot; &quot;">
                  <c:v>69.87</c:v>
                </c:pt>
                <c:pt idx="1924" formatCode="#,##0_);\(#,##0\);&quot;-  &quot;;&quot; &quot;@&quot; &quot;">
                  <c:v>69.885000000000005</c:v>
                </c:pt>
                <c:pt idx="1925" formatCode="#,##0_);\(#,##0\);&quot;-  &quot;;&quot; &quot;@&quot; &quot;">
                  <c:v>70.680000000000007</c:v>
                </c:pt>
                <c:pt idx="1926" formatCode="#,##0_);\(#,##0\);&quot;-  &quot;;&quot; &quot;@&quot; &quot;">
                  <c:v>70.515000000000001</c:v>
                </c:pt>
                <c:pt idx="1927" formatCode="#,##0_);\(#,##0\);&quot;-  &quot;;&quot; &quot;@&quot; &quot;">
                  <c:v>70.92</c:v>
                </c:pt>
                <c:pt idx="1928" formatCode="#,##0_);\(#,##0\);&quot;-  &quot;;&quot; &quot;@&quot; &quot;">
                  <c:v>71.39</c:v>
                </c:pt>
                <c:pt idx="1929" formatCode="#,##0_);\(#,##0\);&quot;-  &quot;;&quot; &quot;@&quot; &quot;">
                  <c:v>71.709999999999994</c:v>
                </c:pt>
                <c:pt idx="1930" formatCode="#,##0_);\(#,##0\);&quot;-  &quot;;&quot; &quot;@&quot; &quot;">
                  <c:v>72.045000000000002</c:v>
                </c:pt>
                <c:pt idx="1931" formatCode="#,##0_);\(#,##0\);&quot;-  &quot;;&quot; &quot;@&quot; &quot;">
                  <c:v>72.534999999999997</c:v>
                </c:pt>
                <c:pt idx="1932" formatCode="#,##0_);\(#,##0\);&quot;-  &quot;;&quot; &quot;@&quot; &quot;">
                  <c:v>73.135000000000005</c:v>
                </c:pt>
                <c:pt idx="1933" formatCode="#,##0_);\(#,##0\);&quot;-  &quot;;&quot; &quot;@&quot; &quot;">
                  <c:v>74.465000000000003</c:v>
                </c:pt>
                <c:pt idx="1934" formatCode="#,##0_);\(#,##0\);&quot;-  &quot;;&quot; &quot;@&quot; &quot;">
                  <c:v>72.575000000000003</c:v>
                </c:pt>
                <c:pt idx="1935" formatCode="#,##0_);\(#,##0\);&quot;-  &quot;;&quot; &quot;@&quot; &quot;">
                  <c:v>73.375</c:v>
                </c:pt>
                <c:pt idx="1936" formatCode="#,##0_);\(#,##0\);&quot;-  &quot;;&quot; &quot;@&quot; &quot;">
                  <c:v>74.284999999999997</c:v>
                </c:pt>
                <c:pt idx="1937" formatCode="#,##0_);\(#,##0\);&quot;-  &quot;;&quot; &quot;@&quot; &quot;">
                  <c:v>74.844999999999999</c:v>
                </c:pt>
                <c:pt idx="1938" formatCode="#,##0_);\(#,##0\);&quot;-  &quot;;&quot; &quot;@&quot; &quot;">
                  <c:v>75.87</c:v>
                </c:pt>
                <c:pt idx="1939" formatCode="#,##0_);\(#,##0\);&quot;-  &quot;;&quot; &quot;@&quot; &quot;">
                  <c:v>75.77</c:v>
                </c:pt>
                <c:pt idx="1940" formatCode="#,##0_);\(#,##0\);&quot;-  &quot;;&quot; &quot;@&quot; &quot;">
                  <c:v>76.435000000000002</c:v>
                </c:pt>
                <c:pt idx="1941" formatCode="#,##0_);\(#,##0\);&quot;-  &quot;;&quot; &quot;@&quot; &quot;">
                  <c:v>75.165000000000006</c:v>
                </c:pt>
                <c:pt idx="1942" formatCode="#,##0_);\(#,##0\);&quot;-  &quot;;&quot; &quot;@&quot; &quot;">
                  <c:v>75.95</c:v>
                </c:pt>
                <c:pt idx="1943" formatCode="#,##0_);\(#,##0\);&quot;-  &quot;;&quot; &quot;@&quot; &quot;">
                  <c:v>76.19</c:v>
                </c:pt>
                <c:pt idx="1944" formatCode="#,##0_);\(#,##0\);&quot;-  &quot;;&quot; &quot;@&quot; &quot;">
                  <c:v>77.254999999999995</c:v>
                </c:pt>
                <c:pt idx="1945" formatCode="#,##0_);\(#,##0\);&quot;-  &quot;;&quot; &quot;@&quot; &quot;">
                  <c:v>77.614999999999995</c:v>
                </c:pt>
                <c:pt idx="1946" formatCode="#,##0_);\(#,##0\);&quot;-  &quot;;&quot; &quot;@&quot; &quot;">
                  <c:v>78.385000000000005</c:v>
                </c:pt>
                <c:pt idx="1947" formatCode="#,##0_);\(#,##0\);&quot;-  &quot;;&quot; &quot;@&quot; &quot;">
                  <c:v>76.114999999999995</c:v>
                </c:pt>
                <c:pt idx="1948" formatCode="#,##0_);\(#,##0\);&quot;-  &quot;;&quot; &quot;@&quot; &quot;">
                  <c:v>74.194999999999993</c:v>
                </c:pt>
                <c:pt idx="1949" formatCode="#,##0_);\(#,##0\);&quot;-  &quot;;&quot; &quot;@&quot; &quot;">
                  <c:v>74.885000000000005</c:v>
                </c:pt>
                <c:pt idx="1950" formatCode="#,##0_);\(#,##0\);&quot;-  &quot;;&quot; &quot;@&quot; &quot;">
                  <c:v>77.010000000000005</c:v>
                </c:pt>
                <c:pt idx="1951" formatCode="#,##0_);\(#,##0\);&quot;-  &quot;;&quot; &quot;@&quot; &quot;">
                  <c:v>76.27</c:v>
                </c:pt>
                <c:pt idx="1952" formatCode="#,##0_);\(#,##0\);&quot;-  &quot;;&quot; &quot;@&quot; &quot;">
                  <c:v>76.78</c:v>
                </c:pt>
                <c:pt idx="1953" formatCode="#,##0_);\(#,##0\);&quot;-  &quot;;&quot; &quot;@&quot; &quot;">
                  <c:v>76.97</c:v>
                </c:pt>
                <c:pt idx="1954" formatCode="#,##0_);\(#,##0\);&quot;-  &quot;;&quot; &quot;@&quot; &quot;">
                  <c:v>75.415000000000006</c:v>
                </c:pt>
                <c:pt idx="1955" formatCode="#,##0_);\(#,##0\);&quot;-  &quot;;&quot; &quot;@&quot; &quot;">
                  <c:v>74.515000000000001</c:v>
                </c:pt>
                <c:pt idx="1956" formatCode="#,##0_);\(#,##0\);&quot;-  &quot;;&quot; &quot;@&quot; &quot;">
                  <c:v>69.75</c:v>
                </c:pt>
                <c:pt idx="1957" formatCode="#,##0_);\(#,##0\);&quot;-  &quot;;&quot; &quot;@&quot; &quot;">
                  <c:v>69.62</c:v>
                </c:pt>
                <c:pt idx="1958" formatCode="#,##0_);\(#,##0\);&quot;-  &quot;;&quot; &quot;@&quot; &quot;">
                  <c:v>72.265000000000001</c:v>
                </c:pt>
                <c:pt idx="1959" formatCode="#,##0_);\(#,##0\);&quot;-  &quot;;&quot; &quot;@&quot; &quot;">
                  <c:v>73.2</c:v>
                </c:pt>
                <c:pt idx="1960" formatCode="#,##0_);\(#,##0\);&quot;-  &quot;;&quot; &quot;@&quot; &quot;">
                  <c:v>74.194999999999993</c:v>
                </c:pt>
                <c:pt idx="1961" formatCode="#,##0_);\(#,##0\);&quot;-  &quot;;&quot; &quot;@&quot; &quot;">
                  <c:v>74.66</c:v>
                </c:pt>
                <c:pt idx="1962" formatCode="#,##0_);\(#,##0\);&quot;-  &quot;;&quot; &quot;@&quot; &quot;">
                  <c:v>74.790000000000006</c:v>
                </c:pt>
                <c:pt idx="1963" formatCode="#,##0_);\(#,##0\);&quot;-  &quot;;&quot; &quot;@&quot; &quot;">
                  <c:v>74.83</c:v>
                </c:pt>
                <c:pt idx="1964" formatCode="#,##0_);\(#,##0\);&quot;-  &quot;;&quot; &quot;@&quot; &quot;">
                  <c:v>75.625</c:v>
                </c:pt>
                <c:pt idx="1965" formatCode="#,##0_);\(#,##0\);&quot;-  &quot;;&quot; &quot;@&quot; &quot;">
                  <c:v>76.305000000000007</c:v>
                </c:pt>
                <c:pt idx="1966" formatCode="#,##0_);\(#,##0\);&quot;-  &quot;;&quot; &quot;@&quot; &quot;">
                  <c:v>73.95</c:v>
                </c:pt>
                <c:pt idx="1967" formatCode="#,##0_);\(#,##0\);&quot;-  &quot;;&quot; &quot;@&quot; &quot;">
                  <c:v>73.394999999999996</c:v>
                </c:pt>
                <c:pt idx="1968" formatCode="#,##0_);\(#,##0\);&quot;-  &quot;;&quot; &quot;@&quot; &quot;">
                  <c:v>71.92</c:v>
                </c:pt>
                <c:pt idx="1969" formatCode="#,##0_);\(#,##0\);&quot;-  &quot;;&quot; &quot;@&quot; &quot;">
                  <c:v>72.135000000000005</c:v>
                </c:pt>
                <c:pt idx="1970" formatCode="#,##0_);\(#,##0\);&quot;-  &quot;;&quot; &quot;@&quot; &quot;">
                  <c:v>71.265000000000001</c:v>
                </c:pt>
                <c:pt idx="1971" formatCode="#,##0_);\(#,##0\);&quot;-  &quot;;&quot; &quot;@&quot; &quot;">
                  <c:v>69.605000000000004</c:v>
                </c:pt>
                <c:pt idx="1972" formatCode="#,##0_);\(#,##0\);&quot;-  &quot;;&quot; &quot;@&quot; &quot;">
                  <c:v>71.69</c:v>
                </c:pt>
                <c:pt idx="1973" formatCode="#,##0_);\(#,##0\);&quot;-  &quot;;&quot; &quot;@&quot; &quot;">
                  <c:v>70.69</c:v>
                </c:pt>
                <c:pt idx="1974" formatCode="#,##0_);\(#,##0\);&quot;-  &quot;;&quot; &quot;@&quot; &quot;">
                  <c:v>71.62</c:v>
                </c:pt>
                <c:pt idx="1975" formatCode="#,##0_);\(#,##0\);&quot;-  &quot;;&quot; &quot;@&quot; &quot;">
                  <c:v>71.58</c:v>
                </c:pt>
                <c:pt idx="1976" formatCode="#,##0_);\(#,##0\);&quot;-  &quot;;&quot; &quot;@&quot; &quot;">
                  <c:v>70.150000000000006</c:v>
                </c:pt>
                <c:pt idx="1977" formatCode="#,##0_);\(#,##0\);&quot;-  &quot;;&quot; &quot;@&quot; &quot;">
                  <c:v>70.375</c:v>
                </c:pt>
                <c:pt idx="1978" formatCode="#,##0_);\(#,##0\);&quot;-  &quot;;&quot; &quot;@&quot; &quot;">
                  <c:v>69.75</c:v>
                </c:pt>
                <c:pt idx="1979" formatCode="#,##0_);\(#,##0\);&quot;-  &quot;;&quot; &quot;@&quot; &quot;">
                  <c:v>66.165000000000006</c:v>
                </c:pt>
                <c:pt idx="1980" formatCode="#,##0_);\(#,##0\);&quot;-  &quot;;&quot; &quot;@&quot; &quot;">
                  <c:v>66.44</c:v>
                </c:pt>
                <c:pt idx="1981" formatCode="#,##0_);\(#,##0\);&quot;-  &quot;;&quot; &quot;@&quot; &quot;">
                  <c:v>68.94</c:v>
                </c:pt>
                <c:pt idx="1982" formatCode="#,##0_);\(#,##0\);&quot;-  &quot;;&quot; &quot;@&quot; &quot;">
                  <c:v>70.89</c:v>
                </c:pt>
                <c:pt idx="1983" formatCode="#,##0_);\(#,##0\);&quot;-  &quot;;&quot; &quot;@&quot; &quot;">
                  <c:v>71.325000000000003</c:v>
                </c:pt>
                <c:pt idx="1984" formatCode="#,##0_);\(#,##0\);&quot;-  &quot;;&quot; &quot;@&quot; &quot;">
                  <c:v>70.935000000000002</c:v>
                </c:pt>
                <c:pt idx="1985" formatCode="#,##0_);\(#,##0\);&quot;-  &quot;;&quot; &quot;@&quot; &quot;">
                  <c:v>71.805000000000007</c:v>
                </c:pt>
                <c:pt idx="1986" formatCode="#,##0_);\(#,##0\);&quot;-  &quot;;&quot; &quot;@&quot; &quot;">
                  <c:v>72.405000000000001</c:v>
                </c:pt>
                <c:pt idx="1987" formatCode="#,##0_);\(#,##0\);&quot;-  &quot;;&quot; &quot;@&quot; &quot;">
                  <c:v>72.405000000000001</c:v>
                </c:pt>
                <c:pt idx="1988" formatCode="#,##0_);\(#,##0\);&quot;-  &quot;;&quot; &quot;@&quot; &quot;">
                  <c:v>71.36</c:v>
                </c:pt>
                <c:pt idx="1989" formatCode="#,##0_);\(#,##0\);&quot;-  &quot;;&quot; &quot;@&quot; &quot;">
                  <c:v>73.97</c:v>
                </c:pt>
                <c:pt idx="1990" formatCode="#,##0_);\(#,##0\);&quot;-  &quot;;&quot; &quot;@&quot; &quot;">
                  <c:v>73.474999999999994</c:v>
                </c:pt>
                <c:pt idx="1991" formatCode="#,##0_);\(#,##0\);&quot;-  &quot;;&quot; &quot;@&quot; &quot;">
                  <c:v>72.3</c:v>
                </c:pt>
                <c:pt idx="1992" formatCode="#,##0_);\(#,##0\);&quot;-  &quot;;&quot; &quot;@&quot; &quot;">
                  <c:v>71.754999999999995</c:v>
                </c:pt>
                <c:pt idx="1993" formatCode="#,##0_);\(#,##0\);&quot;-  &quot;;&quot; &quot;@&quot; &quot;">
                  <c:v>72.334999999999994</c:v>
                </c:pt>
                <c:pt idx="1994" formatCode="#,##0_);\(#,##0\);&quot;-  &quot;;&quot; &quot;@&quot; &quot;">
                  <c:v>72.504999999999995</c:v>
                </c:pt>
                <c:pt idx="1995" formatCode="#,##0_);\(#,##0\);&quot;-  &quot;;&quot; &quot;@&quot; &quot;">
                  <c:v>72.385000000000005</c:v>
                </c:pt>
                <c:pt idx="1996" formatCode="#,##0_);\(#,##0\);&quot;-  &quot;;&quot; &quot;@&quot; &quot;">
                  <c:v>72.834999999999994</c:v>
                </c:pt>
                <c:pt idx="1997" formatCode="#,##0_);\(#,##0\);&quot;-  &quot;;&quot; &quot;@&quot; &quot;">
                  <c:v>73.099999999999994</c:v>
                </c:pt>
                <c:pt idx="1998" formatCode="#,##0_);\(#,##0\);&quot;-  &quot;;&quot; &quot;@&quot; &quot;">
                  <c:v>75.17</c:v>
                </c:pt>
                <c:pt idx="1999" formatCode="#,##0_);\(#,##0\);&quot;-  &quot;;&quot; &quot;@&quot; &quot;">
                  <c:v>74.055000000000007</c:v>
                </c:pt>
                <c:pt idx="2000" formatCode="#,##0_);\(#,##0\);&quot;-  &quot;;&quot; &quot;@&quot; &quot;">
                  <c:v>74.245000000000005</c:v>
                </c:pt>
                <c:pt idx="2001" formatCode="#,##0_);\(#,##0\);&quot;-  &quot;;&quot; &quot;@&quot; &quot;">
                  <c:v>74.105000000000004</c:v>
                </c:pt>
                <c:pt idx="2002" formatCode="#,##0_);\(#,##0\);&quot;-  &quot;;&quot; &quot;@&quot; &quot;">
                  <c:v>73.185000000000002</c:v>
                </c:pt>
                <c:pt idx="2003" formatCode="#,##0_);\(#,##0\);&quot;-  &quot;;&quot; &quot;@&quot; &quot;">
                  <c:v>75.02</c:v>
                </c:pt>
                <c:pt idx="2004" formatCode="#,##0_);\(#,##0\);&quot;-  &quot;;&quot; &quot;@&quot; &quot;">
                  <c:v>76.64</c:v>
                </c:pt>
                <c:pt idx="2005" formatCode="#,##0_);\(#,##0\);&quot;-  &quot;;&quot; &quot;@&quot; &quot;">
                  <c:v>77.334999999999994</c:v>
                </c:pt>
                <c:pt idx="2006" formatCode="#,##0_);\(#,##0\);&quot;-  &quot;;&quot; &quot;@&quot; &quot;">
                  <c:v>79.114999999999995</c:v>
                </c:pt>
                <c:pt idx="2007" formatCode="#,##0_);\(#,##0\);&quot;-  &quot;;&quot; &quot;@&quot; &quot;">
                  <c:v>78.545000000000002</c:v>
                </c:pt>
                <c:pt idx="2008" formatCode="#,##0_);\(#,##0\);&quot;-  &quot;;&quot; &quot;@&quot; &quot;">
                  <c:v>78.415000000000006</c:v>
                </c:pt>
                <c:pt idx="2009" formatCode="#,##0_);\(#,##0\);&quot;-  &quot;;&quot; &quot;@&quot; &quot;">
                  <c:v>78.814999999999998</c:v>
                </c:pt>
                <c:pt idx="2010" formatCode="#,##0_);\(#,##0\);&quot;-  &quot;;&quot; &quot;@&quot; &quot;">
                  <c:v>78.715000000000003</c:v>
                </c:pt>
                <c:pt idx="2011" formatCode="#,##0_);\(#,##0\);&quot;-  &quot;;&quot; &quot;@&quot; &quot;">
                  <c:v>81.765000000000001</c:v>
                </c:pt>
                <c:pt idx="2012" formatCode="#,##0_);\(#,##0\);&quot;-  &quot;;&quot; &quot;@&quot; &quot;">
                  <c:v>83.454999999999998</c:v>
                </c:pt>
                <c:pt idx="2013" formatCode="#,##0_);\(#,##0\);&quot;-  &quot;;&quot; &quot;@&quot; &quot;">
                  <c:v>81.41</c:v>
                </c:pt>
                <c:pt idx="2014" formatCode="#,##0_);\(#,##0\);&quot;-  &quot;;&quot; &quot;@&quot; &quot;">
                  <c:v>81.99</c:v>
                </c:pt>
                <c:pt idx="2015" formatCode="#,##0_);\(#,##0\);&quot;-  &quot;;&quot; &quot;@&quot; &quot;">
                  <c:v>82.974999999999994</c:v>
                </c:pt>
                <c:pt idx="2016" formatCode="#,##0_);\(#,##0\);&quot;-  &quot;;&quot; &quot;@&quot; &quot;">
                  <c:v>84.43</c:v>
                </c:pt>
                <c:pt idx="2017" formatCode="#,##0_);\(#,##0\);&quot;-  &quot;;&quot; &quot;@&quot; &quot;">
                  <c:v>83.64</c:v>
                </c:pt>
                <c:pt idx="2018" formatCode="#,##0_);\(#,##0\);&quot;-  &quot;;&quot; &quot;@&quot; &quot;">
                  <c:v>83.325000000000003</c:v>
                </c:pt>
                <c:pt idx="2019" formatCode="#,##0_);\(#,##0\);&quot;-  &quot;;&quot; &quot;@&quot; &quot;">
                  <c:v>83.334999999999994</c:v>
                </c:pt>
                <c:pt idx="2020" formatCode="#,##0_);\(#,##0\);&quot;-  &quot;;&quot; &quot;@&quot; &quot;">
                  <c:v>84.96</c:v>
                </c:pt>
                <c:pt idx="2021" formatCode="#,##0_);\(#,##0\);&quot;-  &quot;;&quot; &quot;@&quot; &quot;">
                  <c:v>84.63</c:v>
                </c:pt>
                <c:pt idx="2022" formatCode="#,##0_);\(#,##0\);&quot;-  &quot;;&quot; &quot;@&quot; &quot;">
                  <c:v>85.03</c:v>
                </c:pt>
                <c:pt idx="2023" formatCode="#,##0_);\(#,##0\);&quot;-  &quot;;&quot; &quot;@&quot; &quot;">
                  <c:v>85.12</c:v>
                </c:pt>
                <c:pt idx="2024" formatCode="#,##0_);\(#,##0\);&quot;-  &quot;;&quot; &quot;@&quot; &quot;">
                  <c:v>83.7</c:v>
                </c:pt>
                <c:pt idx="2025" formatCode="#,##0_);\(#,##0\);&quot;-  &quot;;&quot; &quot;@&quot; &quot;">
                  <c:v>84.97</c:v>
                </c:pt>
                <c:pt idx="2026" formatCode="#,##0_);\(#,##0\);&quot;-  &quot;;&quot; &quot;@&quot; &quot;">
                  <c:v>86.114999999999995</c:v>
                </c:pt>
                <c:pt idx="2027" formatCode="#,##0_);\(#,##0\);&quot;-  &quot;;&quot; &quot;@&quot; &quot;">
                  <c:v>85.844999999999999</c:v>
                </c:pt>
                <c:pt idx="2028" formatCode="#,##0_);\(#,##0\);&quot;-  &quot;;&quot; &quot;@&quot; &quot;">
                  <c:v>84.474999999999994</c:v>
                </c:pt>
                <c:pt idx="2029" formatCode="#,##0_);\(#,##0\);&quot;-  &quot;;&quot; &quot;@&quot; &quot;">
                  <c:v>83.41</c:v>
                </c:pt>
                <c:pt idx="2030" formatCode="#,##0_);\(#,##0\);&quot;-  &quot;;&quot; &quot;@&quot; &quot;">
                  <c:v>83.63</c:v>
                </c:pt>
                <c:pt idx="2031" formatCode="#,##0_);\(#,##0\);&quot;-  &quot;;&quot; &quot;@&quot; &quot;">
                  <c:v>84.694999999999993</c:v>
                </c:pt>
                <c:pt idx="2032" formatCode="#,##0_);\(#,##0\);&quot;-  &quot;;&quot; &quot;@&quot; &quot;">
                  <c:v>84.52</c:v>
                </c:pt>
                <c:pt idx="2033" formatCode="#,##0_);\(#,##0\);&quot;-  &quot;;&quot; &quot;@&quot; &quot;">
                  <c:v>82.215000000000003</c:v>
                </c:pt>
                <c:pt idx="2034" formatCode="#,##0_);\(#,##0\);&quot;-  &quot;;&quot; &quot;@&quot; &quot;">
                  <c:v>81.885000000000005</c:v>
                </c:pt>
                <c:pt idx="2035" formatCode="#,##0_);\(#,##0\);&quot;-  &quot;;&quot; &quot;@&quot; &quot;">
                  <c:v>82.75</c:v>
                </c:pt>
                <c:pt idx="2036" formatCode="#,##0_);\(#,##0\);&quot;-  &quot;;&quot; &quot;@&quot; &quot;">
                  <c:v>84.084999999999994</c:v>
                </c:pt>
                <c:pt idx="2037" formatCode="#,##0_);\(#,##0\);&quot;-  &quot;;&quot; &quot;@&quot; &quot;">
                  <c:v>84.564999999999998</c:v>
                </c:pt>
                <c:pt idx="2038" formatCode="#,##0_);\(#,##0\);&quot;-  &quot;;&quot; &quot;@&quot; &quot;">
                  <c:v>84.3</c:v>
                </c:pt>
                <c:pt idx="2039" formatCode="#,##0_);\(#,##0\);&quot;-  &quot;;&quot; &quot;@&quot; &quot;">
                  <c:v>83.02</c:v>
                </c:pt>
                <c:pt idx="2040" formatCode="#,##0_);\(#,##0\);&quot;-  &quot;;&quot; &quot;@&quot; &quot;">
                  <c:v>82.65</c:v>
                </c:pt>
                <c:pt idx="2041" formatCode="#,##0_);\(#,##0\);&quot;-  &quot;;&quot; &quot;@&quot; &quot;">
                  <c:v>81.53</c:v>
                </c:pt>
                <c:pt idx="2042" formatCode="#,##0_);\(#,##0\);&quot;-  &quot;;&quot; &quot;@&quot; &quot;">
                  <c:v>82.76</c:v>
                </c:pt>
                <c:pt idx="2043" formatCode="#,##0_);\(#,##0\);&quot;-  &quot;;&quot; &quot;@&quot; &quot;">
                  <c:v>82.394999999999996</c:v>
                </c:pt>
                <c:pt idx="2044" formatCode="#,##0_);\(#,##0\);&quot;-  &quot;;&quot; &quot;@&quot; &quot;">
                  <c:v>82.15</c:v>
                </c:pt>
                <c:pt idx="2045" formatCode="#,##0_);\(#,##0\);&quot;-  &quot;;&quot; &quot;@&quot; &quot;">
                  <c:v>79.694999999999993</c:v>
                </c:pt>
                <c:pt idx="2046" formatCode="#,##0_);\(#,##0\);&quot;-  &quot;;&quot; &quot;@&quot; &quot;">
                  <c:v>81.105000000000004</c:v>
                </c:pt>
                <c:pt idx="2047" formatCode="#,##0_);\(#,##0\);&quot;-  &quot;;&quot; &quot;@&quot; &quot;">
                  <c:v>82.825000000000003</c:v>
                </c:pt>
                <c:pt idx="2048" formatCode="#,##0_);\(#,##0\);&quot;-  &quot;;&quot; &quot;@&quot; &quot;">
                  <c:v>83.125</c:v>
                </c:pt>
                <c:pt idx="2049" formatCode="#,##0_);\(#,##0\);&quot;-  &quot;;&quot; &quot;@&quot; &quot;">
                  <c:v>82.26</c:v>
                </c:pt>
                <c:pt idx="2050" formatCode="#,##0_);\(#,##0\);&quot;-  &quot;;&quot; &quot;@&quot; &quot;">
                  <c:v>73.27</c:v>
                </c:pt>
                <c:pt idx="2051" formatCode="#,##0_);\(#,##0\);&quot;-  &quot;;&quot; &quot;@&quot; &quot;">
                  <c:v>74.95</c:v>
                </c:pt>
                <c:pt idx="2052" formatCode="#,##0_);\(#,##0\);&quot;-  &quot;;&quot; &quot;@&quot; &quot;">
                  <c:v>70.959999999999994</c:v>
                </c:pt>
                <c:pt idx="2053" formatCode="#,##0_);\(#,##0\);&quot;-  &quot;;&quot; &quot;@&quot; &quot;">
                  <c:v>71.944999999999993</c:v>
                </c:pt>
                <c:pt idx="2054" formatCode="#,##0_);\(#,##0\);&quot;-  &quot;;&quot; &quot;@&quot; &quot;">
                  <c:v>70.704999999999998</c:v>
                </c:pt>
                <c:pt idx="2055" formatCode="#,##0_);\(#,##0\);&quot;-  &quot;;&quot; &quot;@&quot; &quot;">
                  <c:v>71.92</c:v>
                </c:pt>
                <c:pt idx="2056" formatCode="#,##0_);\(#,##0\);&quot;-  &quot;;&quot; &quot;@&quot; &quot;">
                  <c:v>72.19</c:v>
                </c:pt>
                <c:pt idx="2057" formatCode="#,##0_);\(#,##0\);&quot;-  &quot;;&quot; &quot;@&quot; &quot;">
                  <c:v>75.81</c:v>
                </c:pt>
                <c:pt idx="2058" formatCode="#,##0_);\(#,##0\);&quot;-  &quot;;&quot; &quot;@&quot; &quot;">
                  <c:v>75.734999999999999</c:v>
                </c:pt>
                <c:pt idx="2059" formatCode="#,##0_);\(#,##0\);&quot;-  &quot;;&quot; &quot;@&quot; &quot;">
                  <c:v>75.25</c:v>
                </c:pt>
                <c:pt idx="2060" formatCode="#,##0_);\(#,##0\);&quot;-  &quot;;&quot; &quot;@&quot; &quot;">
                  <c:v>74.314999999999998</c:v>
                </c:pt>
                <c:pt idx="2061" formatCode="#,##0_);\(#,##0\);&quot;-  &quot;;&quot; &quot;@&quot; &quot;">
                  <c:v>74.25</c:v>
                </c:pt>
                <c:pt idx="2062" formatCode="#,##0_);\(#,##0\);&quot;-  &quot;;&quot; &quot;@&quot; &quot;">
                  <c:v>73.540000000000006</c:v>
                </c:pt>
                <c:pt idx="2063" formatCode="#,##0_);\(#,##0\);&quot;-  &quot;;&quot; &quot;@&quot; &quot;">
                  <c:v>72.83</c:v>
                </c:pt>
                <c:pt idx="2064" formatCode="#,##0_);\(#,##0\);&quot;-  &quot;;&quot; &quot;@&quot; &quot;">
                  <c:v>74.760000000000005</c:v>
                </c:pt>
                <c:pt idx="2065" formatCode="#,##0_);\(#,##0\);&quot;-  &quot;;&quot; &quot;@&quot; &quot;">
                  <c:v>72.995000000000005</c:v>
                </c:pt>
                <c:pt idx="2066" formatCode="#,##0_);\(#,##0\);&quot;-  &quot;;&quot; &quot;@&quot; &quot;">
                  <c:v>69.03</c:v>
                </c:pt>
                <c:pt idx="2067" formatCode="#,##0_);\(#,##0\);&quot;-  &quot;;&quot; &quot;@&quot; &quot;">
                  <c:v>72.72</c:v>
                </c:pt>
                <c:pt idx="2068" formatCode="#,##0_);\(#,##0\);&quot;-  &quot;;&quot; &quot;@&quot; &quot;">
                  <c:v>74.11</c:v>
                </c:pt>
                <c:pt idx="2069" formatCode="#,##0_);\(#,##0\);&quot;-  &quot;;&quot; &quot;@&quot; &quot;">
                  <c:v>75.674999999999997</c:v>
                </c:pt>
                <c:pt idx="2070" formatCode="#,##0_);\(#,##0\);&quot;-  &quot;;&quot; &quot;@&quot; &quot;">
                  <c:v>75.364999999999995</c:v>
                </c:pt>
                <c:pt idx="2071" formatCode="#,##0_);\(#,##0\);&quot;-  &quot;;&quot; &quot;@&quot; &quot;">
                  <c:v>77.53</c:v>
                </c:pt>
                <c:pt idx="2072" formatCode="#,##0_);\(#,##0\);&quot;-  &quot;;&quot; &quot;@&quot; &quot;">
                  <c:v>77.53</c:v>
                </c:pt>
                <c:pt idx="2073" formatCode="#,##0_);\(#,##0\);&quot;-  &quot;;&quot; &quot;@&quot; &quot;">
                  <c:v>77.53</c:v>
                </c:pt>
                <c:pt idx="2074" formatCode="#,##0_);\(#,##0\);&quot;-  &quot;;&quot; &quot;@&quot; &quot;">
                  <c:v>78.314999999999998</c:v>
                </c:pt>
                <c:pt idx="2075" formatCode="#,##0_);\(#,##0\);&quot;-  &quot;;&quot; &quot;@&quot; &quot;">
                  <c:v>77.02</c:v>
                </c:pt>
                <c:pt idx="2076" formatCode="#,##0_);\(#,##0\);&quot;-  &quot;;&quot; &quot;@&quot; &quot;">
                  <c:v>78.989999999999995</c:v>
                </c:pt>
                <c:pt idx="2077" formatCode="#,##0_);\(#,##0\);&quot;-  &quot;;&quot; &quot;@&quot; &quot;">
                  <c:v>78.989999999999995</c:v>
                </c:pt>
                <c:pt idx="2078" formatCode="#,##0_);\(#,##0\);&quot;-  &quot;;&quot; &quot;@&quot; &quot;">
                  <c:v>80.900000000000006</c:v>
                </c:pt>
                <c:pt idx="2079" formatCode="#,##0_);\(#,##0\);&quot;-  &quot;;&quot; &quot;@&quot; &quot;">
                  <c:v>82.305000000000007</c:v>
                </c:pt>
                <c:pt idx="2080" formatCode="#,##0_);\(#,##0\);&quot;-  &quot;;&quot; &quot;@&quot; &quot;">
                  <c:v>82.48</c:v>
                </c:pt>
                <c:pt idx="2081" formatCode="#,##0_);\(#,##0\);&quot;-  &quot;;&quot; &quot;@&quot; &quot;">
                  <c:v>82.245000000000005</c:v>
                </c:pt>
                <c:pt idx="2082" formatCode="#,##0_);\(#,##0\);&quot;-  &quot;;&quot; &quot;@&quot; &quot;">
                  <c:v>84.65</c:v>
                </c:pt>
                <c:pt idx="2083" formatCode="#,##0_);\(#,##0\);&quot;-  &quot;;&quot; &quot;@&quot; &quot;">
                  <c:v>86.53</c:v>
                </c:pt>
                <c:pt idx="2084" formatCode="#,##0_);\(#,##0\);&quot;-  &quot;;&quot; &quot;@&quot; &quot;">
                  <c:v>86.194999999999993</c:v>
                </c:pt>
                <c:pt idx="2085" formatCode="#,##0_);\(#,##0\);&quot;-  &quot;;&quot; &quot;@&quot; &quot;">
                  <c:v>86.965000000000003</c:v>
                </c:pt>
                <c:pt idx="2086" formatCode="#,##0_);\(#,##0\);&quot;-  &quot;;&quot; &quot;@&quot; &quot;">
                  <c:v>87.72</c:v>
                </c:pt>
                <c:pt idx="2087" formatCode="#,##0_);\(#,##0\);&quot;-  &quot;;&quot; &quot;@&quot; &quot;">
                  <c:v>88.525000000000006</c:v>
                </c:pt>
                <c:pt idx="2088" formatCode="#,##0_);\(#,##0\);&quot;-  &quot;;&quot; &quot;@&quot; &quot;">
                  <c:v>90.51</c:v>
                </c:pt>
                <c:pt idx="2089" formatCode="#,##0_);\(#,##0\);&quot;-  &quot;;&quot; &quot;@&quot; &quot;">
                  <c:v>90.915000000000006</c:v>
                </c:pt>
                <c:pt idx="2090" formatCode="#,##0_);\(#,##0\);&quot;-  &quot;;&quot; &quot;@&quot; &quot;">
                  <c:v>89.805000000000007</c:v>
                </c:pt>
                <c:pt idx="2091" formatCode="#,##0_);\(#,##0\);&quot;-  &quot;;&quot; &quot;@&quot; &quot;">
                  <c:v>87.52</c:v>
                </c:pt>
                <c:pt idx="2092" formatCode="#,##0_);\(#,##0\);&quot;-  &quot;;&quot; &quot;@&quot; &quot;">
                  <c:v>89.45</c:v>
                </c:pt>
                <c:pt idx="2093" formatCode="#,##0_);\(#,##0\);&quot;-  &quot;;&quot; &quot;@&quot; &quot;">
                  <c:v>92.015000000000001</c:v>
                </c:pt>
                <c:pt idx="2094" formatCode="#,##0_);\(#,##0\);&quot;-  &quot;;&quot; &quot;@&quot; &quot;">
                  <c:v>91.284999999999997</c:v>
                </c:pt>
                <c:pt idx="2095" formatCode="#,##0_);\(#,##0\);&quot;-  &quot;;&quot; &quot;@&quot; &quot;">
                  <c:v>92.86</c:v>
                </c:pt>
                <c:pt idx="2096" formatCode="#,##0_);\(#,##0\);&quot;-  &quot;;&quot; &quot;@&quot; &quot;">
                  <c:v>92.52</c:v>
                </c:pt>
                <c:pt idx="2097" formatCode="#,##0_);\(#,##0\);&quot;-  &quot;;&quot; &quot;@&quot; &quot;">
                  <c:v>93.265000000000001</c:v>
                </c:pt>
                <c:pt idx="2098" formatCode="#,##0_);\(#,##0\);&quot;-  &quot;;&quot; &quot;@&quot; &quot;">
                  <c:v>91.935000000000002</c:v>
                </c:pt>
                <c:pt idx="2099" formatCode="#,##0_);\(#,##0\);&quot;-  &quot;;&quot; &quot;@&quot; &quot;">
                  <c:v>93.46</c:v>
                </c:pt>
                <c:pt idx="2100" formatCode="#,##0_);\(#,##0\);&quot;-  &quot;;&quot; &quot;@&quot; &quot;">
                  <c:v>97.66</c:v>
                </c:pt>
                <c:pt idx="2101" formatCode="#,##0_);\(#,##0\);&quot;-  &quot;;&quot; &quot;@&quot; &quot;">
                  <c:v>98.2</c:v>
                </c:pt>
                <c:pt idx="2102" formatCode="#,##0_);\(#,##0\);&quot;-  &quot;;&quot; &quot;@&quot; &quot;">
                  <c:v>95.34</c:v>
                </c:pt>
                <c:pt idx="2103" formatCode="#,##0_);\(#,##0\);&quot;-  &quot;;&quot; &quot;@&quot; &quot;">
                  <c:v>96.745000000000005</c:v>
                </c:pt>
                <c:pt idx="2104" formatCode="#,##0_);\(#,##0\);&quot;-  &quot;;&quot; &quot;@&quot; &quot;">
                  <c:v>97.424999999999997</c:v>
                </c:pt>
                <c:pt idx="2105" formatCode="#,##0_);\(#,##0\);&quot;-  &quot;;&quot; &quot;@&quot; &quot;">
                  <c:v>97.834999999999994</c:v>
                </c:pt>
                <c:pt idx="2106" formatCode="#,##0_);\(#,##0\);&quot;-  &quot;;&quot; &quot;@&quot; &quot;">
                  <c:v>99.715000000000003</c:v>
                </c:pt>
                <c:pt idx="2107" formatCode="#,##0_);\(#,##0\);&quot;-  &quot;;&quot; &quot;@&quot; &quot;">
                  <c:v>97.655000000000001</c:v>
                </c:pt>
                <c:pt idx="2108" formatCode="#,##0_);\(#,##0\);&quot;-  &quot;;&quot; &quot;@&quot; &quot;">
                  <c:v>100.795</c:v>
                </c:pt>
                <c:pt idx="2109" formatCode="#,##0_);\(#,##0\);&quot;-  &quot;;&quot; &quot;@&quot; &quot;">
                  <c:v>97.305000000000007</c:v>
                </c:pt>
                <c:pt idx="2110" formatCode="#,##0_);\(#,##0\);&quot;-  &quot;;&quot; &quot;@&quot; &quot;">
                  <c:v>97.35</c:v>
                </c:pt>
                <c:pt idx="2111" formatCode="#,##0_);\(#,##0\);&quot;-  &quot;;&quot; &quot;@&quot; &quot;">
                  <c:v>98.98</c:v>
                </c:pt>
                <c:pt idx="2112" formatCode="#,##0_);\(#,##0\);&quot;-  &quot;;&quot; &quot;@&quot; &quot;">
                  <c:v>100.33499999999999</c:v>
                </c:pt>
                <c:pt idx="2113" formatCode="#,##0_);\(#,##0\);&quot;-  &quot;;&quot; &quot;@&quot; &quot;">
                  <c:v>100.485</c:v>
                </c:pt>
                <c:pt idx="2114" formatCode="#,##0_);\(#,##0\);&quot;-  &quot;;&quot; &quot;@&quot; &quot;">
                  <c:v>106.52</c:v>
                </c:pt>
                <c:pt idx="2115" formatCode="#,##0_);\(#,##0\);&quot;-  &quot;;&quot; &quot;@&quot; &quot;">
                  <c:v>99.5</c:v>
                </c:pt>
                <c:pt idx="2116" formatCode="#,##0_);\(#,##0\);&quot;-  &quot;;&quot; &quot;@&quot; &quot;">
                  <c:v>103.2</c:v>
                </c:pt>
                <c:pt idx="2117" formatCode="#,##0_);\(#,##0\);&quot;-  &quot;;&quot; &quot;@&quot; &quot;">
                  <c:v>112.92</c:v>
                </c:pt>
                <c:pt idx="2118" formatCode="#,##0_);\(#,##0\);&quot;-  &quot;;&quot; &quot;@&quot; &quot;">
                  <c:v>117.3</c:v>
                </c:pt>
                <c:pt idx="2119" formatCode="#,##0_);\(#,##0\);&quot;-  &quot;;&quot; &quot;@&quot; &quot;">
                  <c:v>119.80500000000001</c:v>
                </c:pt>
                <c:pt idx="2120" formatCode="#,##0_);\(#,##0\);&quot;-  &quot;;&quot; &quot;@&quot; &quot;">
                  <c:v>120.23</c:v>
                </c:pt>
                <c:pt idx="2121" formatCode="#,##0_);\(#,##0\);&quot;-  &quot;;&quot; &quot;@&quot; &quot;">
                  <c:v>130.04499999999999</c:v>
                </c:pt>
                <c:pt idx="2122" formatCode="#,##0_);\(#,##0\);&quot;-  &quot;;&quot; &quot;@&quot; &quot;">
                  <c:v>137.63999999999999</c:v>
                </c:pt>
                <c:pt idx="2123" formatCode="#,##0_);\(#,##0\);&quot;-  &quot;;&quot; &quot;@&quot; &quot;">
                  <c:v>129.51499999999999</c:v>
                </c:pt>
                <c:pt idx="2124" formatCode="#,##0_);\(#,##0\);&quot;-  &quot;;&quot; &quot;@&quot; &quot;">
                  <c:v>121.105</c:v>
                </c:pt>
                <c:pt idx="2125" formatCode="#,##0_);\(#,##0\);&quot;-  &quot;;&quot; &quot;@&quot; &quot;">
                  <c:v>118.97499999999999</c:v>
                </c:pt>
                <c:pt idx="2126" formatCode="#,##0_);\(#,##0\);&quot;-  &quot;;&quot; &quot;@&quot; &quot;">
                  <c:v>111.625</c:v>
                </c:pt>
                <c:pt idx="2127" formatCode="#,##0_);\(#,##0\);&quot;-  &quot;;&quot; &quot;@&quot; &quot;">
                  <c:v>107.955</c:v>
                </c:pt>
                <c:pt idx="2128" formatCode="#,##0_);\(#,##0\);&quot;-  &quot;;&quot; &quot;@&quot; &quot;">
                  <c:v>106.48</c:v>
                </c:pt>
                <c:pt idx="2129" formatCode="#,##0_);\(#,##0\);&quot;-  &quot;;&quot; &quot;@&quot; &quot;">
                  <c:v>113.71</c:v>
                </c:pt>
                <c:pt idx="2130" formatCode="#,##0_);\(#,##0\);&quot;-  &quot;;&quot; &quot;@&quot; &quot;">
                  <c:v>113.27500000000001</c:v>
                </c:pt>
                <c:pt idx="2131" formatCode="#,##0_);\(#,##0\);&quot;-  &quot;;&quot; &quot;@&quot; &quot;">
                  <c:v>120.875</c:v>
                </c:pt>
                <c:pt idx="2132" formatCode="#,##0_);\(#,##0\);&quot;-  &quot;;&quot; &quot;@&quot; &quot;">
                  <c:v>120.33</c:v>
                </c:pt>
                <c:pt idx="2133" formatCode="#,##0_);\(#,##0\);&quot;-  &quot;;&quot; &quot;@&quot; &quot;">
                  <c:v>126.495</c:v>
                </c:pt>
                <c:pt idx="2134" formatCode="#,##0_);\(#,##0\);&quot;-  &quot;;&quot; &quot;@&quot; &quot;">
                  <c:v>124.04</c:v>
                </c:pt>
                <c:pt idx="2135" formatCode="#,##0_);\(#,##0\);&quot;-  &quot;;&quot; &quot;@&quot; &quot;">
                  <c:v>124.35</c:v>
                </c:pt>
                <c:pt idx="2136" formatCode="#,##0_);\(#,##0\);&quot;-  &quot;;&quot; &quot;@&quot; &quot;">
                  <c:v>117.56</c:v>
                </c:pt>
                <c:pt idx="2137" formatCode="#,##0_);\(#,##0\);&quot;-  &quot;;&quot; &quot;@&quot; &quot;">
                  <c:v>112.37</c:v>
                </c:pt>
                <c:pt idx="2138" formatCode="#,##0_);\(#,##0\);&quot;-  &quot;;&quot; &quot;@&quot; &quot;">
                  <c:v>115.935</c:v>
                </c:pt>
                <c:pt idx="2139" formatCode="#,##0_);\(#,##0\);&quot;-  &quot;;&quot; &quot;@&quot; &quot;">
                  <c:v>110.08499999999999</c:v>
                </c:pt>
                <c:pt idx="2140" formatCode="#,##0_);\(#,##0\);&quot;-  &quot;;&quot; &quot;@&quot; &quot;">
                  <c:v>107.425</c:v>
                </c:pt>
                <c:pt idx="2141" formatCode="#,##0_);\(#,##0\);&quot;-  &quot;;&quot; &quot;@&quot; &quot;">
                  <c:v>108.72499999999999</c:v>
                </c:pt>
                <c:pt idx="2142" formatCode="#,##0_);\(#,##0\);&quot;-  &quot;;&quot; &quot;@&quot; &quot;">
                  <c:v>107.675</c:v>
                </c:pt>
                <c:pt idx="2143" formatCode="#,##0_);\(#,##0\);&quot;-  &quot;;&quot; &quot;@&quot; &quot;">
                  <c:v>104.515</c:v>
                </c:pt>
                <c:pt idx="2144" formatCode="#,##0_);\(#,##0\);&quot;-  &quot;;&quot; &quot;@&quot; &quot;">
                  <c:v>98.275000000000006</c:v>
                </c:pt>
                <c:pt idx="2145" formatCode="#,##0_);\(#,##0\);&quot;-  &quot;;&quot; &quot;@&quot; &quot;">
                  <c:v>100.43</c:v>
                </c:pt>
                <c:pt idx="2146" formatCode="#,##0_);\(#,##0\);&quot;-  &quot;;&quot; &quot;@&quot; &quot;">
                  <c:v>98.495000000000005</c:v>
                </c:pt>
                <c:pt idx="2147" formatCode="#,##0_);\(#,##0\);&quot;-  &quot;;&quot; &quot;@&quot; &quot;">
                  <c:v>105.325</c:v>
                </c:pt>
                <c:pt idx="2148" formatCode="#,##0_);\(#,##0\);&quot;-  &quot;;&quot; &quot;@&quot; &quot;">
                  <c:v>106.63500000000001</c:v>
                </c:pt>
                <c:pt idx="2149" formatCode="#,##0_);\(#,##0\);&quot;-  &quot;;&quot; &quot;@&quot; &quot;">
                  <c:v>106.57</c:v>
                </c:pt>
                <c:pt idx="2150" formatCode="#,##0_);\(#,##0\);&quot;-  &quot;;&quot; &quot;@&quot; &quot;">
                  <c:v>105.65</c:v>
                </c:pt>
                <c:pt idx="2151" formatCode="#,##0_);\(#,##0\);&quot;-  &quot;;&quot; &quot;@&quot; &quot;">
                  <c:v>105.65</c:v>
                </c:pt>
                <c:pt idx="2152" formatCode="#,##0_);\(#,##0\);&quot;-  &quot;;&quot; &quot;@&quot; &quot;">
                  <c:v>105.51</c:v>
                </c:pt>
                <c:pt idx="2153" formatCode="#,##0_);\(#,##0\);&quot;-  &quot;;&quot; &quot;@&quot; &quot;">
                  <c:v>106.23</c:v>
                </c:pt>
                <c:pt idx="2154" formatCode="#,##0_);\(#,##0\);&quot;-  &quot;;&quot; &quot;@&quot; &quot;">
                  <c:v>105.36499999999999</c:v>
                </c:pt>
                <c:pt idx="2155" formatCode="#,##0_);\(#,##0\);&quot;-  &quot;;&quot; &quot;@&quot; &quot;">
                  <c:v>97.545000000000002</c:v>
                </c:pt>
                <c:pt idx="2156" formatCode="#,##0_);\(#,##0\);&quot;-  &quot;;&quot; &quot;@&quot; &quot;">
                  <c:v>102.23</c:v>
                </c:pt>
                <c:pt idx="2157" formatCode="#,##0_);\(#,##0\);&quot;-  &quot;;&quot; &quot;@&quot; &quot;">
                  <c:v>102.9</c:v>
                </c:pt>
                <c:pt idx="2158" formatCode="#,##0_);\(#,##0\);&quot;-  &quot;;&quot; &quot;@&quot; &quot;">
                  <c:v>105.73</c:v>
                </c:pt>
                <c:pt idx="2159" formatCode="#,##0_);\(#,##0\);&quot;-  &quot;;&quot; &quot;@&quot; &quot;">
                  <c:v>108.16</c:v>
                </c:pt>
                <c:pt idx="2160" formatCode="#,##0_);\(#,##0\);&quot;-  &quot;;&quot; &quot;@&quot; &quot;">
                  <c:v>106.125</c:v>
                </c:pt>
                <c:pt idx="2161" formatCode="#,##0_);\(#,##0\);&quot;-  &quot;;&quot; &quot;@&quot; &quot;">
                  <c:v>106.125</c:v>
                </c:pt>
                <c:pt idx="2162" formatCode="#,##0_);\(#,##0\);&quot;-  &quot;;&quot; &quot;@&quot; &quot;">
                  <c:v>109.02</c:v>
                </c:pt>
                <c:pt idx="2163" formatCode="#,##0_);\(#,##0\);&quot;-  &quot;;&quot; &quot;@&quot; &quot;">
                  <c:v>112.41</c:v>
                </c:pt>
                <c:pt idx="2164" formatCode="#,##0_);\(#,##0\);&quot;-  &quot;;&quot; &quot;@&quot; &quot;">
                  <c:v>114.325</c:v>
                </c:pt>
                <c:pt idx="2165" formatCode="#,##0_);\(#,##0\);&quot;-  &quot;;&quot; &quot;@&quot; &quot;">
                  <c:v>106.74</c:v>
                </c:pt>
                <c:pt idx="2166" formatCode="#,##0_);\(#,##0\);&quot;-  &quot;;&quot; &quot;@&quot; &quot;">
                  <c:v>103.86499999999999</c:v>
                </c:pt>
                <c:pt idx="2167" formatCode="#,##0_);\(#,##0\);&quot;-  &quot;;&quot; &quot;@&quot; &quot;">
                  <c:v>107.48</c:v>
                </c:pt>
                <c:pt idx="2168" formatCode="#,##0_);\(#,##0\);&quot;-  &quot;;&quot; &quot;@&quot; &quot;">
                  <c:v>108.69499999999999</c:v>
                </c:pt>
                <c:pt idx="2169" formatCode="#,##0_);\(#,##0\);&quot;-  &quot;;&quot; &quot;@&quot; &quot;">
                  <c:v>111.35</c:v>
                </c:pt>
                <c:pt idx="2170" formatCode="#,##0_);\(#,##0\);&quot;-  &quot;;&quot; &quot;@&quot; &quot;">
                  <c:v>113.13500000000001</c:v>
                </c:pt>
                <c:pt idx="2171" formatCode="#,##0_);\(#,##0\);&quot;-  &quot;;&quot; &quot;@&quot; &quot;">
                  <c:v>116.51</c:v>
                </c:pt>
                <c:pt idx="2172" formatCode="#,##0_);\(#,##0\);&quot;-  &quot;;&quot; &quot;@&quot; &quot;">
                  <c:v>111.325</c:v>
                </c:pt>
                <c:pt idx="2173" formatCode="#,##0_);\(#,##0\);&quot;-  &quot;;&quot; &quot;@&quot; &quot;">
                  <c:v>111.35</c:v>
                </c:pt>
                <c:pt idx="2174" formatCode="#,##0_);\(#,##0\);&quot;-  &quot;;&quot; &quot;@&quot; &quot;">
                  <c:v>113.815</c:v>
                </c:pt>
                <c:pt idx="2175" formatCode="#,##0_);\(#,##0\);&quot;-  &quot;;&quot; &quot;@&quot; &quot;">
                  <c:v>115.52500000000001</c:v>
                </c:pt>
                <c:pt idx="2176" formatCode="#,##0_);\(#,##0\);&quot;-  &quot;;&quot; &quot;@&quot; &quot;">
                  <c:v>115.815</c:v>
                </c:pt>
                <c:pt idx="2177" formatCode="#,##0_);\(#,##0\);&quot;-  &quot;;&quot; &quot;@&quot; &quot;">
                  <c:v>115.74</c:v>
                </c:pt>
                <c:pt idx="2178" formatCode="#,##0_);\(#,##0\);&quot;-  &quot;;&quot; &quot;@&quot; &quot;">
                  <c:v>118.685</c:v>
                </c:pt>
                <c:pt idx="2179" formatCode="#,##0_);\(#,##0\);&quot;-  &quot;;&quot; &quot;@&quot; &quot;">
                  <c:v>119.66500000000001</c:v>
                </c:pt>
                <c:pt idx="2180" formatCode="#,##0_);\(#,##0\);&quot;-  &quot;;&quot; &quot;@&quot; &quot;">
                  <c:v>122.33499999999999</c:v>
                </c:pt>
                <c:pt idx="2181" formatCode="#,##0_);\(#,##0\);&quot;-  &quot;;&quot; &quot;@&quot; &quot;">
                  <c:v>124.375</c:v>
                </c:pt>
                <c:pt idx="2182" formatCode="#,##0_);\(#,##0\);&quot;-  &quot;;&quot; &quot;@&quot; &quot;">
                  <c:v>122.96</c:v>
                </c:pt>
                <c:pt idx="2183" formatCode="#,##0_);\(#,##0\);&quot;-  &quot;;&quot; &quot;@&quot; &quot;">
                  <c:v>124.68</c:v>
                </c:pt>
                <c:pt idx="2184" formatCode="#,##0_);\(#,##0\);&quot;-  &quot;;&quot; &quot;@&quot; &quot;">
                  <c:v>124.68</c:v>
                </c:pt>
                <c:pt idx="2185" formatCode="#,##0_);\(#,##0\);&quot;-  &quot;;&quot; &quot;@&quot; &quot;">
                  <c:v>124.68</c:v>
                </c:pt>
                <c:pt idx="2186" formatCode="#,##0_);\(#,##0\);&quot;-  &quot;;&quot; &quot;@&quot; &quot;">
                  <c:v>125.795</c:v>
                </c:pt>
                <c:pt idx="2187" formatCode="#,##0_);\(#,##0\);&quot;-  &quot;;&quot; &quot;@&quot; &quot;">
                  <c:v>128.29</c:v>
                </c:pt>
                <c:pt idx="2188" formatCode="#,##0_);\(#,##0\);&quot;-  &quot;;&quot; &quot;@&quot; &quot;">
                  <c:v>128.92500000000001</c:v>
                </c:pt>
                <c:pt idx="2189" formatCode="#,##0_);\(#,##0\);&quot;-  &quot;;&quot; &quot;@&quot; &quot;">
                  <c:v>127.55</c:v>
                </c:pt>
                <c:pt idx="2190" formatCode="#,##0_);\(#,##0\);&quot;-  &quot;;&quot; &quot;@&quot; &quot;">
                  <c:v>127.965</c:v>
                </c:pt>
                <c:pt idx="2191" formatCode="#,##0_);\(#,##0\);&quot;-  &quot;;&quot; &quot;@&quot; &quot;">
                  <c:v>132.06</c:v>
                </c:pt>
                <c:pt idx="2192" formatCode="#,##0_);\(#,##0\);&quot;-  &quot;;&quot; &quot;@&quot; &quot;">
                  <c:v>128.16</c:v>
                </c:pt>
                <c:pt idx="2193" formatCode="#,##0_);\(#,##0\);&quot;-  &quot;;&quot; &quot;@&quot; &quot;">
                  <c:v>124.27500000000001</c:v>
                </c:pt>
                <c:pt idx="2194" formatCode="#,##0_);\(#,##0\);&quot;-  &quot;;&quot; &quot;@&quot; &quot;">
                  <c:v>120.575</c:v>
                </c:pt>
                <c:pt idx="2195" formatCode="#,##0_);\(#,##0\);&quot;-  &quot;;&quot; &quot;@&quot; &quot;">
                  <c:v>119.74</c:v>
                </c:pt>
                <c:pt idx="2196" formatCode="#,##0_);\(#,##0\);&quot;-  &quot;;&quot; &quot;@&quot; &quot;">
                  <c:v>120.54</c:v>
                </c:pt>
                <c:pt idx="2197" formatCode="#,##0_);\(#,##0\);&quot;-  &quot;;&quot; &quot;@&quot; &quot;">
                  <c:v>116.59</c:v>
                </c:pt>
                <c:pt idx="2198" formatCode="#,##0_);\(#,##0\);&quot;-  &quot;;&quot; &quot;@&quot; &quot;">
                  <c:v>117.325</c:v>
                </c:pt>
                <c:pt idx="2199" formatCode="#,##0_);\(#,##0\);&quot;-  &quot;;&quot; &quot;@&quot; &quot;">
                  <c:v>119.94499999999999</c:v>
                </c:pt>
                <c:pt idx="2200" formatCode="#,##0_);\(#,##0\);&quot;-  &quot;;&quot; &quot;@&quot; &quot;">
                  <c:v>120.65</c:v>
                </c:pt>
                <c:pt idx="2201" formatCode="#,##0_);\(#,##0\);&quot;-  &quot;;&quot; &quot;@&quot; &quot;">
                  <c:v>122.94</c:v>
                </c:pt>
                <c:pt idx="2202" formatCode="#,##0_);\(#,##0\);&quot;-  &quot;;&quot; &quot;@&quot; &quot;">
                  <c:v>124.58499999999999</c:v>
                </c:pt>
                <c:pt idx="2203" formatCode="#,##0_);\(#,##0\);&quot;-  &quot;;&quot; &quot;@&quot; &quot;">
                  <c:v>120.485</c:v>
                </c:pt>
                <c:pt idx="2204" formatCode="#,##0_);\(#,##0\);&quot;-  &quot;;&quot; &quot;@&quot; &quot;">
                  <c:v>121.54</c:v>
                </c:pt>
                <c:pt idx="2205" formatCode="#,##0_);\(#,##0\);&quot;-  &quot;;&quot; &quot;@&quot; &quot;">
                  <c:v>124.785</c:v>
                </c:pt>
                <c:pt idx="2206" formatCode="#,##0_);\(#,##0\);&quot;-  &quot;;&quot; &quot;@&quot; &quot;">
                  <c:v>113.15</c:v>
                </c:pt>
                <c:pt idx="2207" formatCode="#,##0_);\(#,##0\);&quot;-  &quot;;&quot; &quot;@&quot; &quot;">
                  <c:v>109.94499999999999</c:v>
                </c:pt>
                <c:pt idx="2208" formatCode="#,##0_);\(#,##0\);&quot;-  &quot;;&quot; &quot;@&quot; &quot;">
                  <c:v>114.625</c:v>
                </c:pt>
                <c:pt idx="2209" formatCode="#,##0_);\(#,##0\);&quot;-  &quot;;&quot; &quot;@&quot; &quot;">
                  <c:v>115.61499999999999</c:v>
                </c:pt>
                <c:pt idx="2210" formatCode="#,##0_);\(#,##0\);&quot;-  &quot;;&quot; &quot;@&quot; &quot;">
                  <c:v>114.605</c:v>
                </c:pt>
                <c:pt idx="2211" formatCode="#,##0_);\(#,##0\);&quot;-  &quot;;&quot; &quot;@&quot; &quot;">
                  <c:v>108.905</c:v>
                </c:pt>
                <c:pt idx="2212" formatCode="#,##0_);\(#,##0\);&quot;-  &quot;;&quot; &quot;@&quot; &quot;">
                  <c:v>108.53</c:v>
                </c:pt>
                <c:pt idx="2213" formatCode="#,##0_);\(#,##0\);&quot;-  &quot;;&quot; &quot;@&quot; &quot;">
                  <c:v>105.93</c:v>
                </c:pt>
                <c:pt idx="2214" formatCode="#,##0_);\(#,##0\);&quot;-  &quot;;&quot; &quot;@&quot; &quot;">
                  <c:v>111.065</c:v>
                </c:pt>
                <c:pt idx="2215" formatCode="#,##0_);\(#,##0\);&quot;-  &quot;;&quot; &quot;@&quot; &quot;">
                  <c:v>115.08</c:v>
                </c:pt>
                <c:pt idx="2216" formatCode="#,##0_);\(#,##0\);&quot;-  &quot;;&quot; &quot;@&quot; &quot;">
                  <c:v>113.46</c:v>
                </c:pt>
                <c:pt idx="2217" formatCode="#,##0_);\(#,##0\);&quot;-  &quot;;&quot; &quot;@&quot; &quot;">
                  <c:v>113.735</c:v>
                </c:pt>
                <c:pt idx="2218" formatCode="#,##0_);\(#,##0\);&quot;-  &quot;;&quot; &quot;@&quot; &quot;">
                  <c:v>110.62</c:v>
                </c:pt>
                <c:pt idx="2219" formatCode="#,##0_);\(#,##0\);&quot;-  &quot;;&quot; &quot;@&quot; &quot;">
                  <c:v>110.22</c:v>
                </c:pt>
                <c:pt idx="2220" formatCode="#,##0_);\(#,##0\);&quot;-  &quot;;&quot; &quot;@&quot; &quot;">
                  <c:v>108.605</c:v>
                </c:pt>
                <c:pt idx="2221" formatCode="#,##0_);\(#,##0\);&quot;-  &quot;;&quot; &quot;@&quot; &quot;">
                  <c:v>109.53</c:v>
                </c:pt>
                <c:pt idx="2222" formatCode="#,##0_);\(#,##0\);&quot;-  &quot;;&quot; &quot;@&quot; &quot;">
                  <c:v>110.63500000000001</c:v>
                </c:pt>
                <c:pt idx="2223" formatCode="#,##0_);\(#,##0\);&quot;-  &quot;;&quot; &quot;@&quot; &quot;">
                  <c:v>111.89</c:v>
                </c:pt>
                <c:pt idx="2224" formatCode="#,##0_);\(#,##0\);&quot;-  &quot;;&quot; &quot;@&quot; &quot;">
                  <c:v>114.13500000000001</c:v>
                </c:pt>
                <c:pt idx="2225" formatCode="#,##0_);\(#,##0\);&quot;-  &quot;;&quot; &quot;@&quot; &quot;">
                  <c:v>107.07</c:v>
                </c:pt>
                <c:pt idx="2226" formatCode="#,##0_);\(#,##0\);&quot;-  &quot;;&quot; &quot;@&quot; &quot;">
                  <c:v>106.55500000000001</c:v>
                </c:pt>
                <c:pt idx="2227" formatCode="#,##0_);\(#,##0\);&quot;-  &quot;;&quot; &quot;@&quot; &quot;">
                  <c:v>103.15</c:v>
                </c:pt>
                <c:pt idx="2228" formatCode="#,##0_);\(#,##0\);&quot;-  &quot;;&quot; &quot;@&quot; &quot;">
                  <c:v>97.765000000000001</c:v>
                </c:pt>
                <c:pt idx="2229" formatCode="#,##0_);\(#,##0\);&quot;-  &quot;;&quot; &quot;@&quot; &quot;">
                  <c:v>101.41</c:v>
                </c:pt>
                <c:pt idx="2230" formatCode="#,##0_);\(#,##0\);&quot;-  &quot;;&quot; &quot;@&quot; &quot;">
                  <c:v>103.47</c:v>
                </c:pt>
                <c:pt idx="2231" formatCode="#,##0_);\(#,##0\);&quot;-  &quot;;&quot; &quot;@&quot; &quot;">
                  <c:v>103.905</c:v>
                </c:pt>
                <c:pt idx="2232" formatCode="#,##0_);\(#,##0\);&quot;-  &quot;;&quot; &quot;@&quot; &quot;">
                  <c:v>101.44499999999999</c:v>
                </c:pt>
                <c:pt idx="2233" formatCode="#,##0_);\(#,##0\);&quot;-  &quot;;&quot; &quot;@&quot; &quot;">
                  <c:v>104.63</c:v>
                </c:pt>
                <c:pt idx="2234" formatCode="#,##0_);\(#,##0\);&quot;-  &quot;;&quot; &quot;@&quot; &quot;">
                  <c:v>102.875</c:v>
                </c:pt>
                <c:pt idx="2235" formatCode="#,##0_);\(#,##0\);&quot;-  &quot;;&quot; &quot;@&quot; &quot;">
                  <c:v>97.62</c:v>
                </c:pt>
                <c:pt idx="2236" formatCode="#,##0_);\(#,##0\);&quot;-  &quot;;&quot; &quot;@&quot; &quot;">
                  <c:v>96.254999999999995</c:v>
                </c:pt>
                <c:pt idx="2237" formatCode="#,##0_);\(#,##0\);&quot;-  &quot;;&quot; &quot;@&quot; &quot;">
                  <c:v>93.27</c:v>
                </c:pt>
                <c:pt idx="2238" formatCode="#,##0_);\(#,##0\);&quot;-  &quot;;&quot; &quot;@&quot; &quot;">
                  <c:v>96.295000000000002</c:v>
                </c:pt>
                <c:pt idx="2239" formatCode="#,##0_);\(#,##0\);&quot;-  &quot;;&quot; &quot;@&quot; &quot;">
                  <c:v>97.16</c:v>
                </c:pt>
                <c:pt idx="2240" formatCode="#,##0_);\(#,##0\);&quot;-  &quot;;&quot; &quot;@&quot; &quot;">
                  <c:v>93.834999999999994</c:v>
                </c:pt>
                <c:pt idx="2241" formatCode="#,##0_);\(#,##0\);&quot;-  &quot;;&quot; &quot;@&quot; &quot;">
                  <c:v>98.43</c:v>
                </c:pt>
                <c:pt idx="2242" formatCode="#,##0_);\(#,##0\);&quot;-  &quot;;&quot; &quot;@&quot; &quot;">
                  <c:v>98.89</c:v>
                </c:pt>
                <c:pt idx="2243" formatCode="#,##0_);\(#,##0\);&quot;-  &quot;;&quot; &quot;@&quot; &quot;">
                  <c:v>100.035</c:v>
                </c:pt>
                <c:pt idx="2244" formatCode="#,##0_);\(#,##0\);&quot;-  &quot;;&quot; &quot;@&quot; &quot;">
                  <c:v>99.454999999999998</c:v>
                </c:pt>
                <c:pt idx="2245" formatCode="#,##0_);\(#,##0\);&quot;-  &quot;;&quot; &quot;@&quot; &quot;">
                  <c:v>99.665000000000006</c:v>
                </c:pt>
                <c:pt idx="2246" formatCode="#,##0_);\(#,##0\);&quot;-  &quot;;&quot; &quot;@&quot; &quot;">
                  <c:v>99.665000000000006</c:v>
                </c:pt>
                <c:pt idx="2247" formatCode="#,##0_);\(#,##0\);&quot;-  &quot;;&quot; &quot;@&quot; &quot;">
                  <c:v>96.674999999999997</c:v>
                </c:pt>
                <c:pt idx="2248" formatCode="#,##0_);\(#,##0\);&quot;-  &quot;;&quot; &quot;@&quot; &quot;">
                  <c:v>92.58</c:v>
                </c:pt>
                <c:pt idx="2249" formatCode="#,##0_);\(#,##0\);&quot;-  &quot;;&quot; &quot;@&quot; &quot;">
                  <c:v>94.17</c:v>
                </c:pt>
                <c:pt idx="2250" formatCode="#,##0_);\(#,##0\);&quot;-  &quot;;&quot; &quot;@&quot; &quot;">
                  <c:v>94.784999999999997</c:v>
                </c:pt>
                <c:pt idx="2251" formatCode="#,##0_);\(#,##0\);&quot;-  &quot;;&quot; &quot;@&quot; &quot;">
                  <c:v>92.165000000000006</c:v>
                </c:pt>
                <c:pt idx="2252" formatCode="#,##0_);\(#,##0\);&quot;-  &quot;;&quot; &quot;@&quot; &quot;">
                  <c:v>88.18</c:v>
                </c:pt>
                <c:pt idx="2253" formatCode="#,##0_);\(#,##0\);&quot;-  &quot;;&quot; &quot;@&quot; &quot;">
                  <c:v>87.775000000000006</c:v>
                </c:pt>
                <c:pt idx="2254" formatCode="#,##0_);\(#,##0\);&quot;-  &quot;;&quot; &quot;@&quot; &quot;">
                  <c:v>90.644999999999996</c:v>
                </c:pt>
                <c:pt idx="2255" formatCode="#,##0_);\(#,##0\);&quot;-  &quot;;&quot; &quot;@&quot; &quot;">
                  <c:v>93.21</c:v>
                </c:pt>
                <c:pt idx="2256" formatCode="#,##0_);\(#,##0\);&quot;-  &quot;;&quot; &quot;@&quot; &quot;">
                  <c:v>91.444999999999993</c:v>
                </c:pt>
                <c:pt idx="2257" formatCode="#,##0_);\(#,##0\);&quot;-  &quot;;&quot; &quot;@&quot; &quot;">
                  <c:v>93.125</c:v>
                </c:pt>
                <c:pt idx="2258" formatCode="#,##0_);\(#,##0\);&quot;-  &quot;;&quot; &quot;@&quot; &quot;">
                  <c:v>89.224999999999994</c:v>
                </c:pt>
                <c:pt idx="2259" formatCode="#,##0_);\(#,##0\);&quot;-  &quot;;&quot; &quot;@&quot; &quot;">
                  <c:v>91.02</c:v>
                </c:pt>
                <c:pt idx="2260" formatCode="#,##0_);\(#,##0\);&quot;-  &quot;;&quot; &quot;@&quot; &quot;">
                  <c:v>89.295000000000002</c:v>
                </c:pt>
                <c:pt idx="2261" formatCode="#,##0_);\(#,##0\);&quot;-  &quot;;&quot; &quot;@&quot; &quot;">
                  <c:v>89.295000000000002</c:v>
                </c:pt>
                <c:pt idx="2262" formatCode="#,##0_);\(#,##0\);&quot;-  &quot;;&quot; &quot;@&quot; &quot;">
                  <c:v>88.12</c:v>
                </c:pt>
                <c:pt idx="2263" formatCode="#,##0_);\(#,##0\);&quot;-  &quot;;&quot; &quot;@&quot; &quot;">
                  <c:v>89.174999999999997</c:v>
                </c:pt>
                <c:pt idx="2264" formatCode="#,##0_);\(#,##0\);&quot;-  &quot;;&quot; &quot;@&quot; &quot;">
                  <c:v>85.284999999999997</c:v>
                </c:pt>
                <c:pt idx="2265" formatCode="#,##0_);\(#,##0\);&quot;-  &quot;;&quot; &quot;@&quot; &quot;">
                  <c:v>84.625</c:v>
                </c:pt>
                <c:pt idx="2266" formatCode="#,##0_);\(#,##0\);&quot;-  &quot;;&quot; &quot;@&quot; &quot;">
                  <c:v>86.39</c:v>
                </c:pt>
                <c:pt idx="2267" formatCode="#,##0_);\(#,##0\);&quot;-  &quot;;&quot; &quot;@&quot; &quot;">
                  <c:v>88.27</c:v>
                </c:pt>
                <c:pt idx="2268" formatCode="#,##0_);\(#,##0\);&quot;-  &quot;;&quot; &quot;@&quot; &quot;">
                  <c:v>89.805000000000007</c:v>
                </c:pt>
                <c:pt idx="2269" formatCode="#,##0_);\(#,##0\);&quot;-  &quot;;&quot; &quot;@&quot; &quot;">
                  <c:v>87.92</c:v>
                </c:pt>
                <c:pt idx="2270" formatCode="#,##0_);\(#,##0\);&quot;-  &quot;;&quot; &quot;@&quot; &quot;">
                  <c:v>90.09</c:v>
                </c:pt>
                <c:pt idx="2271" formatCode="#,##0_);\(#,##0\);&quot;-  &quot;;&quot; &quot;@&quot; &quot;">
                  <c:v>93.73</c:v>
                </c:pt>
                <c:pt idx="2272" formatCode="#,##0_);\(#,##0\);&quot;-  &quot;;&quot; &quot;@&quot; &quot;">
                  <c:v>95.24</c:v>
                </c:pt>
                <c:pt idx="2273" formatCode="#,##0_);\(#,##0\);&quot;-  &quot;;&quot; &quot;@&quot; &quot;">
                  <c:v>96.055000000000007</c:v>
                </c:pt>
                <c:pt idx="2274" formatCode="#,##0_);\(#,##0\);&quot;-  &quot;;&quot; &quot;@&quot; &quot;">
                  <c:v>98.775000000000006</c:v>
                </c:pt>
                <c:pt idx="2275" formatCode="#,##0_);\(#,##0\);&quot;-  &quot;;&quot; &quot;@&quot; &quot;">
                  <c:v>98.394999999999996</c:v>
                </c:pt>
                <c:pt idx="2276" formatCode="#,##0_);\(#,##0\);&quot;-  &quot;;&quot; &quot;@&quot; &quot;">
                  <c:v>95.334999999999994</c:v>
                </c:pt>
                <c:pt idx="2277" formatCode="#,##0_);\(#,##0\);&quot;-  &quot;;&quot; &quot;@&quot; &quot;">
                  <c:v>93.08</c:v>
                </c:pt>
                <c:pt idx="2278" formatCode="#,##0_);\(#,##0\);&quot;-  &quot;;&quot; &quot;@&quot; &quot;">
                  <c:v>93.98</c:v>
                </c:pt>
                <c:pt idx="2279" formatCode="#,##0_);\(#,##0\);&quot;-  &quot;;&quot; &quot;@&quot; &quot;">
                  <c:v>92.875</c:v>
                </c:pt>
                <c:pt idx="2280" formatCode="#,##0_);\(#,##0\);&quot;-  &quot;;&quot; &quot;@&quot; &quot;">
                  <c:v>91.444999999999993</c:v>
                </c:pt>
                <c:pt idx="2281" formatCode="#,##0_);\(#,##0\);&quot;-  &quot;;&quot; &quot;@&quot; &quot;">
                  <c:v>88.24</c:v>
                </c:pt>
                <c:pt idx="2282" formatCode="#,##0_);\(#,##0\);&quot;-  &quot;;&quot; &quot;@&quot; &quot;">
                  <c:v>89.935000000000002</c:v>
                </c:pt>
                <c:pt idx="2283" formatCode="#,##0_);\(#,##0\);&quot;-  &quot;;&quot; &quot;@&quot; &quot;">
                  <c:v>92.685000000000002</c:v>
                </c:pt>
                <c:pt idx="2284" formatCode="#,##0_);\(#,##0\);&quot;-  &quot;;&quot; &quot;@&quot; &quot;">
                  <c:v>91.444999999999993</c:v>
                </c:pt>
                <c:pt idx="2285" formatCode="#,##0_);\(#,##0\);&quot;-  &quot;;&quot; &quot;@&quot; &quot;">
                  <c:v>91.405000000000001</c:v>
                </c:pt>
                <c:pt idx="2286" formatCode="#,##0_);\(#,##0\);&quot;-  &quot;;&quot; &quot;@&quot; &quot;">
                  <c:v>91.555000000000007</c:v>
                </c:pt>
                <c:pt idx="2287" formatCode="#,##0_);\(#,##0\);&quot;-  &quot;;&quot; &quot;@&quot; &quot;">
                  <c:v>93.814999999999998</c:v>
                </c:pt>
                <c:pt idx="2288" formatCode="#,##0_);\(#,##0\);&quot;-  &quot;;&quot; &quot;@&quot; &quot;">
                  <c:v>95.004999999999995</c:v>
                </c:pt>
                <c:pt idx="2289" formatCode="#,##0_);\(#,##0\);&quot;-  &quot;;&quot; &quot;@&quot; &quot;">
                  <c:v>94.03</c:v>
                </c:pt>
                <c:pt idx="2290" formatCode="#,##0_);\(#,##0\);&quot;-  &quot;;&quot; &quot;@&quot; &quot;">
                  <c:v>92.85</c:v>
                </c:pt>
                <c:pt idx="2291" formatCode="#,##0_);\(#,##0\);&quot;-  &quot;;&quot; &quot;@&quot; &quot;">
                  <c:v>94.93</c:v>
                </c:pt>
                <c:pt idx="2292" formatCode="#,##0_);\(#,##0\);&quot;-  &quot;;&quot; &quot;@&quot; &quot;">
                  <c:v>96.995000000000005</c:v>
                </c:pt>
                <c:pt idx="2293" formatCode="#,##0_);\(#,##0\);&quot;-  &quot;;&quot; &quot;@&quot; &quot;">
                  <c:v>95.805000000000007</c:v>
                </c:pt>
                <c:pt idx="2294" formatCode="#,##0_);\(#,##0\);&quot;-  &quot;;&quot; &quot;@&quot; &quot;">
                  <c:v>98.73</c:v>
                </c:pt>
                <c:pt idx="2295" formatCode="#,##0_);\(#,##0\);&quot;-  &quot;;&quot; &quot;@&quot; &quot;">
                  <c:v>101.715</c:v>
                </c:pt>
                <c:pt idx="2296" formatCode="#,##0_);\(#,##0\);&quot;-  &quot;;&quot; &quot;@&quot; &quot;">
                  <c:v>98.915000000000006</c:v>
                </c:pt>
                <c:pt idx="2297" formatCode="#,##0_);\(#,##0\);&quot;-  &quot;;&quot; &quot;@&quot; &quot;">
                  <c:v>94.78</c:v>
                </c:pt>
                <c:pt idx="2298" formatCode="#,##0_);\(#,##0\);&quot;-  &quot;;&quot; &quot;@&quot; &quot;">
                  <c:v>94.56</c:v>
                </c:pt>
                <c:pt idx="2299" formatCode="#,##0_);\(#,##0\);&quot;-  &quot;;&quot; &quot;@&quot; &quot;">
                  <c:v>96.775000000000006</c:v>
                </c:pt>
                <c:pt idx="2300" formatCode="#,##0_);\(#,##0\);&quot;-  &quot;;&quot; &quot;@&quot; &quot;">
                  <c:v>95.504999999999995</c:v>
                </c:pt>
                <c:pt idx="2301" formatCode="#,##0_);\(#,##0\);&quot;-  &quot;;&quot; &quot;@&quot; &quot;">
                  <c:v>93.944999999999993</c:v>
                </c:pt>
                <c:pt idx="2302" formatCode="#,##0_);\(#,##0\);&quot;-  &quot;;&quot; &quot;@&quot; &quot;">
                  <c:v>92.375</c:v>
                </c:pt>
                <c:pt idx="2303" formatCode="#,##0_);\(#,##0\);&quot;-  &quot;;&quot; &quot;@&quot; &quot;">
                  <c:v>91.364999999999995</c:v>
                </c:pt>
                <c:pt idx="2304" formatCode="#,##0_);\(#,##0\);&quot;-  &quot;;&quot; &quot;@&quot; &quot;">
                  <c:v>88.41</c:v>
                </c:pt>
                <c:pt idx="2305" formatCode="#,##0_);\(#,##0\);&quot;-  &quot;;&quot; &quot;@&quot; &quot;">
                  <c:v>83.194999999999993</c:v>
                </c:pt>
                <c:pt idx="2306" formatCode="#,##0_);\(#,##0\);&quot;-  &quot;;&quot; &quot;@&quot; &quot;">
                  <c:v>89.4</c:v>
                </c:pt>
                <c:pt idx="2307" formatCode="#,##0_);\(#,##0\);&quot;-  &quot;;&quot; &quot;@&quot; &quot;">
                  <c:v>85.314999999999998</c:v>
                </c:pt>
                <c:pt idx="2308" formatCode="#,##0_);\(#,##0\);&quot;-  &quot;;&quot; &quot;@&quot; &quot;">
                  <c:v>85.484999999999999</c:v>
                </c:pt>
                <c:pt idx="2309" formatCode="#,##0_);\(#,##0\);&quot;-  &quot;;&quot; &quot;@&quot; &quot;">
                  <c:v>85.474999999999994</c:v>
                </c:pt>
                <c:pt idx="2310" formatCode="#,##0_);\(#,##0\);&quot;-  &quot;;&quot; &quot;@&quot; &quot;">
                  <c:v>82.65</c:v>
                </c:pt>
                <c:pt idx="2311" formatCode="#,##0_);\(#,##0\);&quot;-  &quot;;&quot; &quot;@&quot; &quot;">
                  <c:v>83.94</c:v>
                </c:pt>
                <c:pt idx="2312" formatCode="#,##0_);\(#,##0\);&quot;-  &quot;;&quot; &quot;@&quot; &quot;">
                  <c:v>86.54</c:v>
                </c:pt>
                <c:pt idx="2313" formatCode="#,##0_);\(#,##0\);&quot;-  &quot;;&quot; &quot;@&quot; &quot;">
                  <c:v>89.08</c:v>
                </c:pt>
                <c:pt idx="2314" formatCode="#,##0_);\(#,##0\);&quot;-  &quot;;&quot; &quot;@&quot; &quot;">
                  <c:v>86.944999999999993</c:v>
                </c:pt>
                <c:pt idx="2315" formatCode="#,##0_);\(#,##0\);&quot;-  &quot;;&quot; &quot;@&quot; &quot;">
                  <c:v>85.59</c:v>
                </c:pt>
                <c:pt idx="2316" formatCode="#,##0_);\(#,##0\);&quot;-  &quot;;&quot; &quot;@&quot; &quot;">
                  <c:v>80.53</c:v>
                </c:pt>
                <c:pt idx="2317" formatCode="#,##0_);\(#,##0\);&quot;-  &quot;;&quot; &quot;@&quot; &quot;">
                  <c:v>78.56</c:v>
                </c:pt>
                <c:pt idx="2318" formatCode="#,##0_);\(#,##0\);&quot;-  &quot;;&quot; &quot;@&quot; &quot;">
                  <c:v>76.355000000000004</c:v>
                </c:pt>
                <c:pt idx="2319" formatCode="#,##0_);\(#,##0\);&quot;-  &quot;;&quot; &quot;@&quot; &quot;">
                  <c:v>77.63</c:v>
                </c:pt>
                <c:pt idx="2320" formatCode="#,##0_);\(#,##0\);&quot;-  &quot;;&quot; &quot;@&quot; &quot;">
                  <c:v>78.734999999999999</c:v>
                </c:pt>
                <c:pt idx="2321" formatCode="#,##0_);\(#,##0\);&quot;-  &quot;;&quot; &quot;@&quot; &quot;">
                  <c:v>80.97</c:v>
                </c:pt>
                <c:pt idx="2322" formatCode="#,##0_);\(#,##0\);&quot;-  &quot;;&quot; &quot;@&quot; &quot;">
                  <c:v>83.605000000000004</c:v>
                </c:pt>
                <c:pt idx="2323" formatCode="#,##0_);\(#,##0\);&quot;-  &quot;;&quot; &quot;@&quot; &quot;">
                  <c:v>81.83</c:v>
                </c:pt>
                <c:pt idx="2324" formatCode="#,##0_);\(#,##0\);&quot;-  &quot;;&quot; &quot;@&quot; &quot;">
                  <c:v>79.12</c:v>
                </c:pt>
                <c:pt idx="2325" formatCode="#,##0_);\(#,##0\);&quot;-  &quot;;&quot; &quot;@&quot; &quot;">
                  <c:v>79.650000000000006</c:v>
                </c:pt>
                <c:pt idx="2326" formatCode="#,##0_);\(#,##0\);&quot;-  &quot;;&quot; &quot;@&quot; &quot;">
                  <c:v>78.584999999999994</c:v>
                </c:pt>
                <c:pt idx="2327" formatCode="#,##0_);\(#,##0\);&quot;-  &quot;;&quot; &quot;@&quot; &quot;">
                  <c:v>80.295000000000002</c:v>
                </c:pt>
                <c:pt idx="2328" formatCode="#,##0_);\(#,##0\);&quot;-  &quot;;&quot; &quot;@&quot; &quot;">
                  <c:v>80.790000000000006</c:v>
                </c:pt>
                <c:pt idx="2329" formatCode="#,##0_);\(#,##0\);&quot;-  &quot;;&quot; &quot;@&quot; &quot;">
                  <c:v>80.885000000000005</c:v>
                </c:pt>
                <c:pt idx="2330" formatCode="#,##0_);\(#,##0\);&quot;-  &quot;;&quot; &quot;@&quot; &quot;">
                  <c:v>81.14</c:v>
                </c:pt>
                <c:pt idx="2331" formatCode="#,##0_);\(#,##0\);&quot;-  &quot;;&quot; &quot;@&quot; &quot;">
                  <c:v>81.14</c:v>
                </c:pt>
                <c:pt idx="2332" formatCode="#,##0_);\(#,##0\);&quot;-  &quot;;&quot; &quot;@&quot; &quot;">
                  <c:v>80.685000000000002</c:v>
                </c:pt>
                <c:pt idx="2333" formatCode="#,##0_);\(#,##0\);&quot;-  &quot;;&quot; &quot;@&quot; &quot;">
                  <c:v>81.325000000000003</c:v>
                </c:pt>
                <c:pt idx="2334" formatCode="#,##0_);\(#,##0\);&quot;-  &quot;;&quot; &quot;@&quot; &quot;">
                  <c:v>81.23</c:v>
                </c:pt>
                <c:pt idx="2335" formatCode="#,##0_);\(#,##0\);&quot;-  &quot;;&quot; &quot;@&quot; &quot;">
                  <c:v>75.52</c:v>
                </c:pt>
                <c:pt idx="2336" formatCode="#,##0_);\(#,##0\);&quot;-  &quot;;&quot; &quot;@&quot; &quot;">
                  <c:v>76.89</c:v>
                </c:pt>
                <c:pt idx="2337" formatCode="#,##0_);\(#,##0\);&quot;-  &quot;;&quot; &quot;@&quot; &quot;">
                  <c:v>77.385000000000005</c:v>
                </c:pt>
                <c:pt idx="2338" formatCode="#,##0_);\(#,##0\);&quot;-  &quot;;&quot; &quot;@&quot; &quot;">
                  <c:v>77.435000000000002</c:v>
                </c:pt>
                <c:pt idx="2339" formatCode="#,##0_);\(#,##0\);&quot;-  &quot;;&quot; &quot;@&quot; &quot;">
                  <c:v>77.8</c:v>
                </c:pt>
                <c:pt idx="2340" formatCode="#,##0_);\(#,##0\);&quot;-  &quot;;&quot; &quot;@&quot; &quot;">
                  <c:v>80.435000000000002</c:v>
                </c:pt>
                <c:pt idx="2341" formatCode="#,##0_);\(#,##0\);&quot;-  &quot;;&quot; &quot;@&quot; &quot;">
                  <c:v>82.825000000000003</c:v>
                </c:pt>
                <c:pt idx="2342" formatCode="#,##0_);\(#,##0\);&quot;-  &quot;;&quot; &quot;@&quot; &quot;">
                  <c:v>83.325000000000003</c:v>
                </c:pt>
                <c:pt idx="2343" formatCode="#,##0_);\(#,##0\);&quot;-  &quot;;&quot; &quot;@&quot; &quot;">
                  <c:v>82.84</c:v>
                </c:pt>
                <c:pt idx="2344" formatCode="#,##0_);\(#,##0\);&quot;-  &quot;;&quot; &quot;@&quot; &quot;">
                  <c:v>84.35</c:v>
                </c:pt>
                <c:pt idx="2345" formatCode="#,##0_);\(#,##0\);&quot;-  &quot;;&quot; &quot;@&quot; &quot;">
                  <c:v>85.924999999999997</c:v>
                </c:pt>
                <c:pt idx="2346" formatCode="#,##0_);\(#,##0\);&quot;-  &quot;;&quot; &quot;@&quot; &quot;">
                  <c:v>84.5</c:v>
                </c:pt>
                <c:pt idx="2347" formatCode="#,##0_);\(#,##0\);&quot;-  &quot;;&quot; &quot;@&quot; &quot;">
                  <c:v>85.9</c:v>
                </c:pt>
                <c:pt idx="2348" formatCode="#,##0_);\(#,##0\);&quot;-  &quot;;&quot; &quot;@&quot; &quot;">
                  <c:v>88.21</c:v>
                </c:pt>
                <c:pt idx="2349" formatCode="#,##0_);\(#,##0\);&quot;-  &quot;;&quot; &quot;@&quot; &quot;">
                  <c:v>86.13</c:v>
                </c:pt>
                <c:pt idx="2350" formatCode="#,##0_);\(#,##0\);&quot;-  &quot;;&quot; &quot;@&quot; &quot;">
                  <c:v>85.885000000000005</c:v>
                </c:pt>
                <c:pt idx="2351" formatCode="#,##0_);\(#,##0\);&quot;-  &quot;;&quot; &quot;@&quot; &quot;">
                  <c:v>86.9</c:v>
                </c:pt>
                <c:pt idx="2352" formatCode="#,##0_);\(#,##0\);&quot;-  &quot;;&quot; &quot;@&quot; &quot;">
                  <c:v>85.984999999999999</c:v>
                </c:pt>
                <c:pt idx="2353" formatCode="#,##0_);\(#,##0\);&quot;-  &quot;;&quot; &quot;@&quot; &quot;">
                  <c:v>84.63</c:v>
                </c:pt>
                <c:pt idx="2354" formatCode="#,##0_);\(#,##0\);&quot;-  &quot;;&quot; &quot;@&quot; &quot;">
                  <c:v>84.215000000000003</c:v>
                </c:pt>
                <c:pt idx="2355" formatCode="#,##0_);\(#,##0\);&quot;-  &quot;;&quot; &quot;@&quot; &quot;">
                  <c:v>82.98</c:v>
                </c:pt>
                <c:pt idx="2356" formatCode="#,##0_);\(#,##0\);&quot;-  &quot;;&quot; &quot;@&quot; &quot;">
                  <c:v>80.739999999999995</c:v>
                </c:pt>
                <c:pt idx="2357" formatCode="#,##0_);\(#,##0\);&quot;-  &quot;;&quot; &quot;@&quot; &quot;">
                  <c:v>80.62</c:v>
                </c:pt>
                <c:pt idx="2358" formatCode="#,##0_);\(#,##0\);&quot;-  &quot;;&quot; &quot;@&quot; &quot;">
                  <c:v>79.594999999999999</c:v>
                </c:pt>
                <c:pt idx="2359" formatCode="#,##0_);\(#,##0\);&quot;-  &quot;;&quot; &quot;@&quot; &quot;">
                  <c:v>82.11</c:v>
                </c:pt>
                <c:pt idx="2360" formatCode="#,##0_);\(#,##0\);&quot;-  &quot;;&quot; &quot;@&quot; &quot;">
                  <c:v>83.144999999999996</c:v>
                </c:pt>
                <c:pt idx="2361" formatCode="#,##0_);\(#,##0\);&quot;-  &quot;;&quot; &quot;@&quot; &quot;">
                  <c:v>83.224999999999994</c:v>
                </c:pt>
                <c:pt idx="2362" formatCode="#,##0_);\(#,##0\);&quot;-  &quot;;&quot; &quot;@&quot; &quot;">
                  <c:v>85.605000000000004</c:v>
                </c:pt>
                <c:pt idx="2363" formatCode="#,##0_);\(#,##0\);&quot;-  &quot;;&quot; &quot;@&quot; &quot;">
                  <c:v>85.49</c:v>
                </c:pt>
                <c:pt idx="2364" formatCode="#,##0_);\(#,##0\);&quot;-  &quot;;&quot; &quot;@&quot; &quot;">
                  <c:v>84.52</c:v>
                </c:pt>
                <c:pt idx="2365" formatCode="#,##0_);\(#,##0\);&quot;-  &quot;;&quot; &quot;@&quot; &quot;">
                  <c:v>83.49</c:v>
                </c:pt>
                <c:pt idx="2366" formatCode="#,##0_);\(#,##0\);&quot;-  &quot;;&quot; &quot;@&quot; &quot;">
                  <c:v>84.14</c:v>
                </c:pt>
                <c:pt idx="2367" formatCode="#,##0_);\(#,##0\);&quot;-  &quot;;&quot; &quot;@&quot; &quot;">
                  <c:v>82.075000000000003</c:v>
                </c:pt>
                <c:pt idx="2368" formatCode="#,##0_);\(#,##0\);&quot;-  &quot;;&quot; &quot;@&quot; &quot;">
                  <c:v>82.34</c:v>
                </c:pt>
                <c:pt idx="2369" formatCode="#,##0_);\(#,##0\);&quot;-  &quot;;&quot; &quot;@&quot; &quot;">
                  <c:v>82</c:v>
                </c:pt>
                <c:pt idx="2370" formatCode="#,##0_);\(#,##0\);&quot;-  &quot;;&quot; &quot;@&quot; &quot;">
                  <c:v>80.25</c:v>
                </c:pt>
                <c:pt idx="2371" formatCode="#,##0_);\(#,##0\);&quot;-  &quot;;&quot; &quot;@&quot; &quot;">
                  <c:v>80.94</c:v>
                </c:pt>
                <c:pt idx="2372" formatCode="#,##0_);\(#,##0\);&quot;-  &quot;;&quot; &quot;@&quot; &quot;">
                  <c:v>81.849999999999994</c:v>
                </c:pt>
                <c:pt idx="2373" formatCode="#,##0_);\(#,##0\);&quot;-  &quot;;&quot; &quot;@&quot; &quot;">
                  <c:v>81.47</c:v>
                </c:pt>
                <c:pt idx="2374" formatCode="#,##0_);\(#,##0\);&quot;-  &quot;;&quot; &quot;@&quot; &quot;">
                  <c:v>83.135000000000005</c:v>
                </c:pt>
                <c:pt idx="2375" formatCode="#,##0_);\(#,##0\);&quot;-  &quot;;&quot; &quot;@&quot; &quot;">
                  <c:v>83.5</c:v>
                </c:pt>
                <c:pt idx="2376" formatCode="#,##0_);\(#,##0\);&quot;-  &quot;;&quot; &quot;@&quot; &quot;">
                  <c:v>85.075000000000003</c:v>
                </c:pt>
                <c:pt idx="2377" formatCode="#,##0_);\(#,##0\);&quot;-  &quot;;&quot; &quot;@&quot; &quot;">
                  <c:v>85.17</c:v>
                </c:pt>
                <c:pt idx="2378" formatCode="#,##0_);\(#,##0\);&quot;-  &quot;;&quot; &quot;@&quot; &quot;">
                  <c:v>85.855000000000004</c:v>
                </c:pt>
                <c:pt idx="2379" formatCode="#,##0_);\(#,##0\);&quot;-  &quot;;&quot; &quot;@&quot; &quot;">
                  <c:v>84.004999999999995</c:v>
                </c:pt>
                <c:pt idx="2380" formatCode="#,##0_);\(#,##0\);&quot;-  &quot;;&quot; &quot;@&quot; &quot;">
                  <c:v>82.36</c:v>
                </c:pt>
                <c:pt idx="2381" formatCode="#,##0_);\(#,##0\);&quot;-  &quot;;&quot; &quot;@&quot; &quot;">
                  <c:v>83.07</c:v>
                </c:pt>
                <c:pt idx="2382" formatCode="#,##0_);\(#,##0\);&quot;-  &quot;;&quot; &quot;@&quot; &quot;">
                  <c:v>82.394999999999996</c:v>
                </c:pt>
                <c:pt idx="2383" formatCode="#,##0_);\(#,##0\);&quot;-  &quot;;&quot; &quot;@&quot; &quot;">
                  <c:v>81.174999999999997</c:v>
                </c:pt>
                <c:pt idx="2384" formatCode="#,##0_);\(#,##0\);&quot;-  &quot;;&quot; &quot;@&quot; &quot;">
                  <c:v>78.84</c:v>
                </c:pt>
                <c:pt idx="2385" formatCode="#,##0_);\(#,##0\);&quot;-  &quot;;&quot; &quot;@&quot; &quot;">
                  <c:v>71.84</c:v>
                </c:pt>
                <c:pt idx="2386" formatCode="#,##0_);\(#,##0\);&quot;-  &quot;;&quot; &quot;@&quot; &quot;">
                  <c:v>73.135000000000005</c:v>
                </c:pt>
                <c:pt idx="2387" formatCode="#,##0_);\(#,##0\);&quot;-  &quot;;&quot; &quot;@&quot; &quot;">
                  <c:v>72.28</c:v>
                </c:pt>
                <c:pt idx="2388" formatCode="#,##0_);\(#,##0\);&quot;-  &quot;;&quot; &quot;@&quot; &quot;">
                  <c:v>71.704999999999998</c:v>
                </c:pt>
                <c:pt idx="2389" formatCode="#,##0_);\(#,##0\);&quot;-  &quot;;&quot; &quot;@&quot; &quot;">
                  <c:v>73.775000000000006</c:v>
                </c:pt>
                <c:pt idx="2390" formatCode="#,##0_);\(#,##0\);&quot;-  &quot;;&quot; &quot;@&quot; &quot;">
                  <c:v>75.36</c:v>
                </c:pt>
                <c:pt idx="2391" formatCode="#,##0_);\(#,##0\);&quot;-  &quot;;&quot; &quot;@&quot; &quot;">
                  <c:v>75.88</c:v>
                </c:pt>
                <c:pt idx="2392" formatCode="#,##0_);\(#,##0\);&quot;-  &quot;;&quot; &quot;@&quot; &quot;">
                  <c:v>73.245000000000005</c:v>
                </c:pt>
                <c:pt idx="2393" formatCode="#,##0_);\(#,##0\);&quot;-  &quot;;&quot; &quot;@&quot; &quot;">
                  <c:v>75.254999999999995</c:v>
                </c:pt>
                <c:pt idx="2394" formatCode="#,##0_);\(#,##0\);&quot;-  &quot;;&quot; &quot;@&quot; &quot;">
                  <c:v>77.84</c:v>
                </c:pt>
                <c:pt idx="2395" formatCode="#,##0_);\(#,##0\);&quot;-  &quot;;&quot; &quot;@&quot; &quot;">
                  <c:v>78.03</c:v>
                </c:pt>
                <c:pt idx="2396" formatCode="#,##0_);\(#,##0\);&quot;-  &quot;;&quot; &quot;@&quot; &quot;">
                  <c:v>78.025000000000006</c:v>
                </c:pt>
                <c:pt idx="2397" formatCode="#,##0_);\(#,##0\);&quot;-  &quot;;&quot; &quot;@&quot; &quot;">
                  <c:v>79.06</c:v>
                </c:pt>
                <c:pt idx="2398" formatCode="#,##0_);\(#,##0\);&quot;-  &quot;;&quot; &quot;@&quot; &quot;">
                  <c:v>85.51</c:v>
                </c:pt>
                <c:pt idx="2399" formatCode="#,##0_);\(#,##0\);&quot;-  &quot;;&quot; &quot;@&quot; &quot;">
                  <c:v>85.325000000000003</c:v>
                </c:pt>
                <c:pt idx="2400" formatCode="#,##0_);\(#,##0\);&quot;-  &quot;;&quot; &quot;@&quot; &quot;">
                  <c:v>85.594999999999999</c:v>
                </c:pt>
                <c:pt idx="2401" formatCode="#,##0_);\(#,##0\);&quot;-  &quot;;&quot; &quot;@&quot; &quot;">
                  <c:v>86.17</c:v>
                </c:pt>
                <c:pt idx="2402" formatCode="#,##0_);\(#,##0\);&quot;-  &quot;;&quot; &quot;@&quot; &quot;">
                  <c:v>86.08</c:v>
                </c:pt>
                <c:pt idx="2403" formatCode="#,##0_);\(#,##0\);&quot;-  &quot;;&quot; &quot;@&quot; &quot;">
                  <c:v>86.08</c:v>
                </c:pt>
                <c:pt idx="2404" formatCode="#,##0_);\(#,##0\);&quot;-  &quot;;&quot; &quot;@&quot; &quot;">
                  <c:v>88.204999999999998</c:v>
                </c:pt>
                <c:pt idx="2405" formatCode="#,##0_);\(#,##0\);&quot;-  &quot;;&quot; &quot;@&quot; &quot;">
                  <c:v>87.87</c:v>
                </c:pt>
                <c:pt idx="2406" formatCode="#,##0_);\(#,##0\);&quot;-  &quot;;&quot; &quot;@&quot; &quot;">
                  <c:v>87.885000000000005</c:v>
                </c:pt>
                <c:pt idx="2407" formatCode="#,##0_);\(#,##0\);&quot;-  &quot;;&quot; &quot;@&quot; &quot;">
                  <c:v>86.555000000000007</c:v>
                </c:pt>
                <c:pt idx="2408" formatCode="#,##0_);\(#,##0\);&quot;-  &quot;;&quot; &quot;@&quot; &quot;">
                  <c:v>86.63</c:v>
                </c:pt>
                <c:pt idx="2409" formatCode="#,##0_);\(#,##0\);&quot;-  &quot;;&quot; &quot;@&quot; &quot;">
                  <c:v>85.55</c:v>
                </c:pt>
                <c:pt idx="2410" formatCode="#,##0_);\(#,##0\);&quot;-  &quot;;&quot; &quot;@&quot; &quot;">
                  <c:v>83.14</c:v>
                </c:pt>
                <c:pt idx="2411" formatCode="#,##0_);\(#,##0\);&quot;-  &quot;;&quot; &quot;@&quot; &quot;">
                  <c:v>83.394999999999996</c:v>
                </c:pt>
                <c:pt idx="2412" formatCode="#,##0_);\(#,##0\);&quot;-  &quot;;&quot; &quot;@&quot; &quot;">
                  <c:v>84.26</c:v>
                </c:pt>
                <c:pt idx="2413" formatCode="#,##0_);\(#,##0\);&quot;-  &quot;;&quot; &quot;@&quot; &quot;">
                  <c:v>82.465000000000003</c:v>
                </c:pt>
                <c:pt idx="2414" formatCode="#,##0_);\(#,##0\);&quot;-  &quot;;&quot; &quot;@&quot; &quot;">
                  <c:v>82.185000000000002</c:v>
                </c:pt>
                <c:pt idx="2415" formatCode="#,##0_);\(#,##0\);&quot;-  &quot;;&quot; &quot;@&quot; &quot;">
                  <c:v>80.010000000000005</c:v>
                </c:pt>
                <c:pt idx="2416" formatCode="#,##0_);\(#,##0\);&quot;-  &quot;;&quot; &quot;@&quot; &quot;">
                  <c:v>82.01</c:v>
                </c:pt>
                <c:pt idx="2417" formatCode="#,##0_);\(#,##0\);&quot;-  &quot;;&quot; &quot;@&quot; &quot;">
                  <c:v>77.180000000000007</c:v>
                </c:pt>
                <c:pt idx="2418" formatCode="#,##0_);\(#,##0\);&quot;-  &quot;;&quot; &quot;@&quot; &quot;">
                  <c:v>77.180000000000007</c:v>
                </c:pt>
                <c:pt idx="2419" formatCode="#,##0_);\(#,##0\);&quot;-  &quot;;&quot; &quot;@&quot; &quot;">
                  <c:v>72.510000000000005</c:v>
                </c:pt>
                <c:pt idx="2420" formatCode="#,##0_);\(#,##0\);&quot;-  &quot;;&quot; &quot;@&quot; &quot;">
                  <c:v>73.11</c:v>
                </c:pt>
                <c:pt idx="2421" formatCode="#,##0_);\(#,##0\);&quot;-  &quot;;&quot; &quot;@&quot; &quot;">
                  <c:v>75.78</c:v>
                </c:pt>
                <c:pt idx="2422" formatCode="#,##0_);\(#,##0\);&quot;-  &quot;;&quot; &quot;@&quot; &quot;">
                  <c:v>75.665000000000006</c:v>
                </c:pt>
                <c:pt idx="2423" formatCode="#,##0_);\(#,##0\);&quot;-  &quot;;&quot; &quot;@&quot; &quot;">
                  <c:v>75.665000000000006</c:v>
                </c:pt>
                <c:pt idx="2424" formatCode="#,##0_);\(#,##0\);&quot;-  &quot;;&quot; &quot;@&quot; &quot;">
                  <c:v>77.325000000000003</c:v>
                </c:pt>
                <c:pt idx="2425" formatCode="#,##0_);\(#,##0\);&quot;-  &quot;;&quot; &quot;@&quot; &quot;">
                  <c:v>76.185000000000002</c:v>
                </c:pt>
                <c:pt idx="2426" formatCode="#,##0_);\(#,##0\);&quot;-  &quot;;&quot; &quot;@&quot; &quot;">
                  <c:v>75.31</c:v>
                </c:pt>
                <c:pt idx="2427" formatCode="#,##0_);\(#,##0\);&quot;-  &quot;;&quot; &quot;@&quot; &quot;">
                  <c:v>75.44</c:v>
                </c:pt>
                <c:pt idx="2428" formatCode="#,##0_);\(#,##0\);&quot;-  &quot;;&quot; &quot;@&quot; &quot;">
                  <c:v>75.144999999999996</c:v>
                </c:pt>
                <c:pt idx="2429" formatCode="#,##0_);\(#,##0\);&quot;-  &quot;;&quot; &quot;@&quot; &quot;">
                  <c:v>76.33</c:v>
                </c:pt>
                <c:pt idx="2430" formatCode="#,##0_);\(#,##0\);&quot;-  &quot;;&quot; &quot;@&quot; &quot;">
                  <c:v>75.95</c:v>
                </c:pt>
                <c:pt idx="2431" formatCode="#,##0_);\(#,##0\);&quot;-  &quot;;&quot; &quot;@&quot; &quot;">
                  <c:v>75.930000000000007</c:v>
                </c:pt>
                <c:pt idx="2432" formatCode="#,##0_);\(#,##0\);&quot;-  &quot;;&quot; &quot;@&quot; &quot;">
                  <c:v>75.81</c:v>
                </c:pt>
                <c:pt idx="2433" formatCode="#,##0_);\(#,##0\);&quot;-  &quot;;&quot; &quot;@&quot; &quot;">
                  <c:v>76.900000000000006</c:v>
                </c:pt>
                <c:pt idx="2434" formatCode="#,##0_);\(#,##0\);&quot;-  &quot;;&quot; &quot;@&quot; &quot;">
                  <c:v>77.59</c:v>
                </c:pt>
                <c:pt idx="2435" formatCode="#,##0_);\(#,##0\);&quot;-  &quot;;&quot; &quot;@&quot; &quot;">
                  <c:v>75.564999999999998</c:v>
                </c:pt>
                <c:pt idx="2436" formatCode="#,##0_);\(#,##0\);&quot;-  &quot;;&quot; &quot;@&quot; &quot;">
                  <c:v>76.435000000000002</c:v>
                </c:pt>
                <c:pt idx="2437" formatCode="#,##0_);\(#,##0\);&quot;-  &quot;;&quot; &quot;@&quot; &quot;">
                  <c:v>73.98</c:v>
                </c:pt>
                <c:pt idx="2438" formatCode="#,##0_);\(#,##0\);&quot;-  &quot;;&quot; &quot;@&quot; &quot;">
                  <c:v>73.98</c:v>
                </c:pt>
                <c:pt idx="2439" formatCode="#,##0_);\(#,##0\);&quot;-  &quot;;&quot; &quot;@&quot; &quot;">
                  <c:v>72.885000000000005</c:v>
                </c:pt>
                <c:pt idx="2440" formatCode="#,##0_);\(#,##0\);&quot;-  &quot;;&quot; &quot;@&quot; &quot;">
                  <c:v>74.605000000000004</c:v>
                </c:pt>
                <c:pt idx="2441" formatCode="#,##0_);\(#,##0\);&quot;-  &quot;;&quot; &quot;@&quot; &quot;">
                  <c:v>76.06</c:v>
                </c:pt>
                <c:pt idx="2442" formatCode="#,##0_);\(#,##0\);&quot;-  &quot;;&quot; &quot;@&quot; &quot;">
                  <c:v>77.305000000000007</c:v>
                </c:pt>
                <c:pt idx="2443" formatCode="#,##0_);\(#,##0\);&quot;-  &quot;;&quot; &quot;@&quot; &quot;">
                  <c:v>76.290000000000006</c:v>
                </c:pt>
                <c:pt idx="2444" formatCode="#,##0_);\(#,##0\);&quot;-  &quot;;&quot; &quot;@&quot; &quot;">
                  <c:v>76.704999999999998</c:v>
                </c:pt>
                <c:pt idx="2445" formatCode="#,##0_);\(#,##0\);&quot;-  &quot;;&quot; &quot;@&quot; &quot;">
                  <c:v>75.650000000000006</c:v>
                </c:pt>
                <c:pt idx="2446" formatCode="#,##0_);\(#,##0\);&quot;-  &quot;;&quot; &quot;@&quot; &quot;">
                  <c:v>75.680000000000007</c:v>
                </c:pt>
                <c:pt idx="2447" formatCode="#,##0_);\(#,##0\);&quot;-  &quot;;&quot; &quot;@&quot; &quot;">
                  <c:v>72.459999999999994</c:v>
                </c:pt>
                <c:pt idx="2448" formatCode="#,##0_);\(#,##0\);&quot;-  &quot;;&quot; &quot;@&quot; &quot;">
                  <c:v>73.944999999999993</c:v>
                </c:pt>
                <c:pt idx="2449" formatCode="#,##0_);\(#,##0\);&quot;-  &quot;;&quot; &quot;@&quot; &quot;">
                  <c:v>73.864999999999995</c:v>
                </c:pt>
                <c:pt idx="2450" formatCode="#,##0_);\(#,##0\);&quot;-  &quot;;&quot; &quot;@&quot; &quot;">
                  <c:v>74.510000000000005</c:v>
                </c:pt>
                <c:pt idx="2451" formatCode="#,##0_);\(#,##0\);&quot;-  &quot;;&quot; &quot;@&quot; &quot;">
                  <c:v>75.254999999999995</c:v>
                </c:pt>
                <c:pt idx="2452" formatCode="#,##0_);\(#,##0\);&quot;-  &quot;;&quot; &quot;@&quot; &quot;">
                  <c:v>75.47</c:v>
                </c:pt>
                <c:pt idx="2453" formatCode="#,##0_);\(#,##0\);&quot;-  &quot;;&quot; &quot;@&quot; &quot;">
                  <c:v>74.495000000000005</c:v>
                </c:pt>
                <c:pt idx="2454" formatCode="#,##0_);\(#,##0\);&quot;-  &quot;;&quot; &quot;@&quot; &quot;">
                  <c:v>76.45</c:v>
                </c:pt>
                <c:pt idx="2455" formatCode="#,##0_);\(#,##0\);&quot;-  &quot;;&quot; &quot;@&quot; &quot;">
                  <c:v>73.784999999999997</c:v>
                </c:pt>
                <c:pt idx="2456" formatCode="#,##0_);\(#,##0\);&quot;-  &quot;;&quot; &quot;@&quot; &quot;">
                  <c:v>73.114999999999995</c:v>
                </c:pt>
                <c:pt idx="2457" formatCode="#,##0_);\(#,##0\);&quot;-  &quot;;&quot; &quot;@&quot; &quot;">
                  <c:v>73.55</c:v>
                </c:pt>
                <c:pt idx="2458" formatCode="#,##0_);\(#,##0\);&quot;-  &quot;;&quot; &quot;@&quot; &quot;">
                  <c:v>72.790000000000006</c:v>
                </c:pt>
                <c:pt idx="2459" formatCode="#,##0_);\(#,##0\);&quot;-  &quot;;&quot; &quot;@&quot; &quot;">
                  <c:v>73.325000000000003</c:v>
                </c:pt>
                <c:pt idx="2460" formatCode="#,##0_);\(#,##0\);&quot;-  &quot;;&quot; &quot;@&quot; &quot;">
                  <c:v>73.034999999999997</c:v>
                </c:pt>
                <c:pt idx="2461" formatCode="#,##0_);\(#,##0\);&quot;-  &quot;;&quot; &quot;@&quot; &quot;">
                  <c:v>74.965000000000003</c:v>
                </c:pt>
                <c:pt idx="2462" formatCode="#,##0_);\(#,##0\);&quot;-  &quot;;&quot; &quot;@&quot; &quot;">
                  <c:v>75.53</c:v>
                </c:pt>
                <c:pt idx="2463" formatCode="#,##0_);\(#,##0\);&quot;-  &quot;;&quot; &quot;@&quot; &quot;">
                  <c:v>75.995000000000005</c:v>
                </c:pt>
                <c:pt idx="2464" formatCode="#,##0_);\(#,##0\);&quot;-  &quot;;&quot; &quot;@&quot; &quot;">
                  <c:v>76.855000000000004</c:v>
                </c:pt>
                <c:pt idx="2465" formatCode="#,##0_);\(#,##0\);&quot;-  &quot;;&quot; &quot;@&quot; &quot;">
                  <c:v>75.584999999999994</c:v>
                </c:pt>
                <c:pt idx="2466" formatCode="#,##0_);\(#,##0\);&quot;-  &quot;;&quot; &quot;@&quot; &quot;">
                  <c:v>77.94</c:v>
                </c:pt>
                <c:pt idx="2467" formatCode="#,##0_);\(#,##0\);&quot;-  &quot;;&quot; &quot;@&quot; &quot;">
                  <c:v>78.790000000000006</c:v>
                </c:pt>
                <c:pt idx="2468" formatCode="#,##0_);\(#,##0\);&quot;-  &quot;;&quot; &quot;@&quot; &quot;">
                  <c:v>79.53</c:v>
                </c:pt>
                <c:pt idx="2469" formatCode="#,##0_);\(#,##0\);&quot;-  &quot;;&quot; &quot;@&quot; &quot;">
                  <c:v>80.25</c:v>
                </c:pt>
                <c:pt idx="2470" formatCode="#,##0_);\(#,##0\);&quot;-  &quot;;&quot; &quot;@&quot; &quot;">
                  <c:v>80.37</c:v>
                </c:pt>
                <c:pt idx="2471" formatCode="#,##0_);\(#,##0\);&quot;-  &quot;;&quot; &quot;@&quot; &quot;">
                  <c:v>79.795000000000002</c:v>
                </c:pt>
                <c:pt idx="2472" formatCode="#,##0_);\(#,##0\);&quot;-  &quot;;&quot; &quot;@&quot; &quot;">
                  <c:v>78.635000000000005</c:v>
                </c:pt>
                <c:pt idx="2473" formatCode="#,##0_);\(#,##0\);&quot;-  &quot;;&quot; &quot;@&quot; &quot;">
                  <c:v>79.41</c:v>
                </c:pt>
                <c:pt idx="2474" formatCode="#,##0_);\(#,##0\);&quot;-  &quot;;&quot; &quot;@&quot; &quot;">
                  <c:v>80.209999999999994</c:v>
                </c:pt>
                <c:pt idx="2475" formatCode="#,##0_);\(#,##0\);&quot;-  &quot;;&quot; &quot;@&quot; &quot;">
                  <c:v>79.114999999999995</c:v>
                </c:pt>
                <c:pt idx="2476" formatCode="#,##0_);\(#,##0\);&quot;-  &quot;;&quot; &quot;@&quot; &quot;">
                  <c:v>80.364999999999995</c:v>
                </c:pt>
                <c:pt idx="2477" formatCode="#,##0_);\(#,##0\);&quot;-  &quot;;&quot; &quot;@&quot; &quot;">
                  <c:v>82.465000000000003</c:v>
                </c:pt>
                <c:pt idx="2478" formatCode="#,##0_);\(#,##0\);&quot;-  &quot;;&quot; &quot;@&quot; &quot;">
                  <c:v>82.935000000000002</c:v>
                </c:pt>
                <c:pt idx="2479" formatCode="#,##0_);\(#,##0\);&quot;-  &quot;;&quot; &quot;@&quot; &quot;">
                  <c:v>83.82</c:v>
                </c:pt>
                <c:pt idx="2480" formatCode="#,##0_);\(#,##0\);&quot;-  &quot;;&quot; &quot;@&quot; &quot;">
                  <c:v>83.834999999999994</c:v>
                </c:pt>
                <c:pt idx="2481" formatCode="#,##0_);\(#,##0\);&quot;-  &quot;;&quot; &quot;@&quot; &quot;">
                  <c:v>83.995000000000005</c:v>
                </c:pt>
                <c:pt idx="2482" formatCode="#,##0_);\(#,##0\);&quot;-  &quot;;&quot; &quot;@&quot; &quot;">
                  <c:v>85.655000000000001</c:v>
                </c:pt>
                <c:pt idx="2483" formatCode="#,##0_);\(#,##0\);&quot;-  &quot;;&quot; &quot;@&quot; &quot;">
                  <c:v>85.275000000000006</c:v>
                </c:pt>
                <c:pt idx="2484" formatCode="#,##0_);\(#,##0\);&quot;-  &quot;;&quot; &quot;@&quot; &quot;">
                  <c:v>84.174999999999997</c:v>
                </c:pt>
                <c:pt idx="2485" formatCode="#,##0_);\(#,##0\);&quot;-  &quot;;&quot; &quot;@&quot; &quot;">
                  <c:v>85.8</c:v>
                </c:pt>
                <c:pt idx="2486" formatCode="#,##0_);\(#,##0\);&quot;-  &quot;;&quot; &quot;@&quot; &quot;">
                  <c:v>86.86</c:v>
                </c:pt>
                <c:pt idx="2487" formatCode="#,##0_);\(#,##0\);&quot;-  &quot;;&quot; &quot;@&quot; &quot;">
                  <c:v>86.55</c:v>
                </c:pt>
                <c:pt idx="2488" formatCode="#,##0_);\(#,##0\);&quot;-  &quot;;&quot; &quot;@&quot; &quot;">
                  <c:v>86.655000000000001</c:v>
                </c:pt>
                <c:pt idx="2489" formatCode="#,##0_);\(#,##0\);&quot;-  &quot;;&quot; &quot;@&quot; &quot;">
                  <c:v>88.454999999999998</c:v>
                </c:pt>
                <c:pt idx="2490" formatCode="#,##0_);\(#,##0\);&quot;-  &quot;;&quot; &quot;@&quot; &quot;">
                  <c:v>88.27</c:v>
                </c:pt>
                <c:pt idx="2491" formatCode="#,##0_);\(#,##0\);&quot;-  &quot;;&quot; &quot;@&quot; &quot;">
                  <c:v>88.424999999999997</c:v>
                </c:pt>
                <c:pt idx="2492" formatCode="#,##0_);\(#,##0\);&quot;-  &quot;;&quot; &quot;@&quot; &quot;">
                  <c:v>87.814999999999998</c:v>
                </c:pt>
                <c:pt idx="2493" formatCode="#,##0_);\(#,##0\);&quot;-  &quot;;&quot; &quot;@&quot; &quot;">
                  <c:v>86.194999999999993</c:v>
                </c:pt>
                <c:pt idx="2494" formatCode="#,##0_);\(#,##0\);&quot;-  &quot;;&quot; &quot;@&quot; &quot;">
                  <c:v>86.11</c:v>
                </c:pt>
                <c:pt idx="2495" formatCode="#,##0_);\(#,##0\);&quot;-  &quot;;&quot; &quot;@&quot; &quot;">
                  <c:v>86.03</c:v>
                </c:pt>
                <c:pt idx="2496" formatCode="#,##0_);\(#,##0\);&quot;-  &quot;;&quot; &quot;@&quot; &quot;">
                  <c:v>85.76</c:v>
                </c:pt>
                <c:pt idx="2497" formatCode="#,##0_);\(#,##0\);&quot;-  &quot;;&quot; &quot;@&quot; &quot;">
                  <c:v>86.4</c:v>
                </c:pt>
                <c:pt idx="2498" formatCode="#,##0_);\(#,##0\);&quot;-  &quot;;&quot; &quot;@&quot; &quot;">
                  <c:v>85.32</c:v>
                </c:pt>
                <c:pt idx="2499" formatCode="#,##0_);\(#,##0\);&quot;-  &quot;;&quot; &quot;@&quot; &quot;">
                  <c:v>84.14</c:v>
                </c:pt>
                <c:pt idx="2500" formatCode="#,##0_);\(#,##0\);&quot;-  &quot;;&quot; &quot;@&quot; &quot;">
                  <c:v>83.974999999999994</c:v>
                </c:pt>
                <c:pt idx="2501" formatCode="#,##0_);\(#,##0\);&quot;-  &quot;;&quot; &quot;@&quot; &quot;">
                  <c:v>85.234999999999999</c:v>
                </c:pt>
                <c:pt idx="2502" formatCode="#,##0_);\(#,##0\);&quot;-  &quot;;&quot; &quot;@&quot; &quot;">
                  <c:v>85.864999999999995</c:v>
                </c:pt>
                <c:pt idx="2503" formatCode="#,##0_);\(#,##0\);&quot;-  &quot;;&quot; &quot;@&quot; &quot;">
                  <c:v>85.864999999999995</c:v>
                </c:pt>
                <c:pt idx="2504" formatCode="#,##0_);\(#,##0\);&quot;-  &quot;;&quot; &quot;@&quot; &quot;">
                  <c:v>86.094999999999999</c:v>
                </c:pt>
                <c:pt idx="2505" formatCode="#,##0_);\(#,##0\);&quot;-  &quot;;&quot; &quot;@&quot; &quot;">
                  <c:v>87.36</c:v>
                </c:pt>
                <c:pt idx="2506" formatCode="#,##0_);\(#,##0\);&quot;-  &quot;;&quot; &quot;@&quot; &quot;">
                  <c:v>89.44</c:v>
                </c:pt>
                <c:pt idx="2507" formatCode="#,##0_);\(#,##0\);&quot;-  &quot;;&quot; &quot;@&quot; &quot;">
                  <c:v>90.605000000000004</c:v>
                </c:pt>
                <c:pt idx="2508" formatCode="#,##0_);\(#,##0\);&quot;-  &quot;;&quot; &quot;@&quot; &quot;">
                  <c:v>91.935000000000002</c:v>
                </c:pt>
                <c:pt idx="2509" formatCode="#,##0_);\(#,##0\);&quot;-  &quot;;&quot; &quot;@&quot; &quot;">
                  <c:v>91.41</c:v>
                </c:pt>
                <c:pt idx="2510" formatCode="#,##0_);\(#,##0\);&quot;-  &quot;;&quot; &quot;@&quot; &quot;">
                  <c:v>91.9</c:v>
                </c:pt>
                <c:pt idx="2511" formatCode="#,##0_);\(#,##0\);&quot;-  &quot;;&quot; &quot;@&quot; &quot;">
                  <c:v>92.394999999999996</c:v>
                </c:pt>
                <c:pt idx="2512" formatCode="#,##0_);\(#,##0\);&quot;-  &quot;;&quot; &quot;@&quot; &quot;">
                  <c:v>92.02</c:v>
                </c:pt>
                <c:pt idx="2513" formatCode="#,##0_);\(#,##0\);&quot;-  &quot;;&quot; &quot;@&quot; &quot;">
                  <c:v>93.6</c:v>
                </c:pt>
                <c:pt idx="2514" formatCode="#,##0_);\(#,##0\);&quot;-  &quot;;&quot; &quot;@&quot; &quot;">
                  <c:v>93.385000000000005</c:v>
                </c:pt>
                <c:pt idx="2515" formatCode="#,##0_);\(#,##0\);&quot;-  &quot;;&quot; &quot;@&quot; &quot;">
                  <c:v>95.105000000000004</c:v>
                </c:pt>
                <c:pt idx="2516" formatCode="#,##0_);\(#,##0\);&quot;-  &quot;;&quot; &quot;@&quot; &quot;">
                  <c:v>95.14</c:v>
                </c:pt>
                <c:pt idx="2517" formatCode="#,##0_);\(#,##0\);&quot;-  &quot;;&quot; &quot;@&quot; &quot;">
                  <c:v>96.24</c:v>
                </c:pt>
                <c:pt idx="2518" formatCode="#,##0_);\(#,##0\);&quot;-  &quot;;&quot; &quot;@&quot; &quot;">
                  <c:v>96.864999999999995</c:v>
                </c:pt>
                <c:pt idx="2519" formatCode="#,##0_);\(#,##0\);&quot;-  &quot;;&quot; &quot;@&quot; &quot;">
                  <c:v>95.724999999999994</c:v>
                </c:pt>
                <c:pt idx="2520" formatCode="#,##0_);\(#,##0\);&quot;-  &quot;;&quot; &quot;@&quot; &quot;">
                  <c:v>94.5</c:v>
                </c:pt>
                <c:pt idx="2521" formatCode="#,##0_);\(#,##0\);&quot;-  &quot;;&quot; &quot;@&quot; &quot;">
                  <c:v>94.224999999999994</c:v>
                </c:pt>
                <c:pt idx="2522" formatCode="#,##0_);\(#,##0\);&quot;-  &quot;;&quot; &quot;@&quot; &quot;">
                  <c:v>93.4</c:v>
                </c:pt>
                <c:pt idx="2523" formatCode="#,##0_);\(#,##0\);&quot;-  &quot;;&quot; &quot;@&quot; &quot;">
                  <c:v>94.135000000000005</c:v>
                </c:pt>
                <c:pt idx="2524" formatCode="#,##0_);\(#,##0\);&quot;-  &quot;;&quot; &quot;@&quot; &quot;">
                  <c:v>97.915000000000006</c:v>
                </c:pt>
                <c:pt idx="2525" formatCode="#,##0_);\(#,##0\);&quot;-  &quot;;&quot; &quot;@&quot; &quot;">
                  <c:v>97.77</c:v>
                </c:pt>
                <c:pt idx="2526" formatCode="#,##0_);\(#,##0\);&quot;-  &quot;;&quot; &quot;@&quot; &quot;">
                  <c:v>96.325000000000003</c:v>
                </c:pt>
                <c:pt idx="2527" formatCode="#,##0_);\(#,##0\);&quot;-  &quot;;&quot; &quot;@&quot; &quot;">
                  <c:v>94.555000000000007</c:v>
                </c:pt>
                <c:pt idx="2528" formatCode="#,##0_);\(#,##0\);&quot;-  &quot;;&quot; &quot;@&quot; &quot;">
                  <c:v>94.68</c:v>
                </c:pt>
                <c:pt idx="2529" formatCode="#,##0_);\(#,##0\);&quot;-  &quot;;&quot; &quot;@&quot; &quot;">
                  <c:v>91.674999999999997</c:v>
                </c:pt>
                <c:pt idx="2530" formatCode="#,##0_);\(#,##0\);&quot;-  &quot;;&quot; &quot;@&quot; &quot;">
                  <c:v>88.48</c:v>
                </c:pt>
                <c:pt idx="2531" formatCode="#,##0_);\(#,##0\);&quot;-  &quot;;&quot; &quot;@&quot; &quot;">
                  <c:v>88.2</c:v>
                </c:pt>
                <c:pt idx="2532" formatCode="#,##0_);\(#,##0\);&quot;-  &quot;;&quot; &quot;@&quot; &quot;">
                  <c:v>91.334999999999994</c:v>
                </c:pt>
                <c:pt idx="2533" formatCode="#,##0_);\(#,##0\);&quot;-  &quot;;&quot; &quot;@&quot; &quot;">
                  <c:v>90.71</c:v>
                </c:pt>
                <c:pt idx="2534" formatCode="#,##0_);\(#,##0\);&quot;-  &quot;;&quot; &quot;@&quot; &quot;">
                  <c:v>88.04</c:v>
                </c:pt>
                <c:pt idx="2535" formatCode="#,##0_);\(#,##0\);&quot;-  &quot;;&quot; &quot;@&quot; &quot;">
                  <c:v>89.37</c:v>
                </c:pt>
                <c:pt idx="2536" formatCode="#,##0_);\(#,##0\);&quot;-  &quot;;&quot; &quot;@&quot; &quot;">
                  <c:v>92.734999999999999</c:v>
                </c:pt>
                <c:pt idx="2537" formatCode="#,##0_);\(#,##0\);&quot;-  &quot;;&quot; &quot;@&quot; &quot;">
                  <c:v>93.05</c:v>
                </c:pt>
                <c:pt idx="2538" formatCode="#,##0_);\(#,##0\);&quot;-  &quot;;&quot; &quot;@&quot; &quot;">
                  <c:v>91.76</c:v>
                </c:pt>
                <c:pt idx="2539" formatCode="#,##0_);\(#,##0\);&quot;-  &quot;;&quot; &quot;@&quot; &quot;">
                  <c:v>93.055000000000007</c:v>
                </c:pt>
                <c:pt idx="2540" formatCode="#,##0_);\(#,##0\);&quot;-  &quot;;&quot; &quot;@&quot; &quot;">
                  <c:v>93.2</c:v>
                </c:pt>
                <c:pt idx="2541" formatCode="#,##0_);\(#,##0\);&quot;-  &quot;;&quot; &quot;@&quot; &quot;">
                  <c:v>95</c:v>
                </c:pt>
                <c:pt idx="2542" formatCode="#,##0_);\(#,##0\);&quot;-  &quot;;&quot; &quot;@&quot; &quot;">
                  <c:v>93.084999999999994</c:v>
                </c:pt>
                <c:pt idx="2543" formatCode="#,##0_);\(#,##0\);&quot;-  &quot;;&quot; &quot;@&quot; &quot;">
                  <c:v>88.46</c:v>
                </c:pt>
                <c:pt idx="2544" formatCode="#,##0_);\(#,##0\);&quot;-  &quot;;&quot; &quot;@&quot; &quot;">
                  <c:v>89.04</c:v>
                </c:pt>
                <c:pt idx="2545" formatCode="#,##0_);\(#,##0\);&quot;-  &quot;;&quot; &quot;@&quot; &quot;">
                  <c:v>89.694999999999993</c:v>
                </c:pt>
                <c:pt idx="2546" formatCode="#,##0_);\(#,##0\);&quot;-  &quot;;&quot; &quot;@&quot; &quot;">
                  <c:v>89.23</c:v>
                </c:pt>
                <c:pt idx="2547" formatCode="#,##0_);\(#,##0\);&quot;-  &quot;;&quot; &quot;@&quot; &quot;">
                  <c:v>89</c:v>
                </c:pt>
                <c:pt idx="2548" formatCode="#,##0_);\(#,##0\);&quot;-  &quot;;&quot; &quot;@&quot; &quot;">
                  <c:v>88.674999999999997</c:v>
                </c:pt>
                <c:pt idx="2549" formatCode="#,##0_);\(#,##0\);&quot;-  &quot;;&quot; &quot;@&quot; &quot;">
                  <c:v>88.614999999999995</c:v>
                </c:pt>
                <c:pt idx="2550" formatCode="#,##0_);\(#,##0\);&quot;-  &quot;;&quot; &quot;@&quot; &quot;">
                  <c:v>88.525000000000006</c:v>
                </c:pt>
                <c:pt idx="2551" formatCode="#,##0_);\(#,##0\);&quot;-  &quot;;&quot; &quot;@&quot; &quot;">
                  <c:v>88.015000000000001</c:v>
                </c:pt>
                <c:pt idx="2552" formatCode="#,##0_);\(#,##0\);&quot;-  &quot;;&quot; &quot;@&quot; &quot;">
                  <c:v>88.094999999999999</c:v>
                </c:pt>
                <c:pt idx="2553" formatCode="#,##0_);\(#,##0\);&quot;-  &quot;;&quot; &quot;@&quot; &quot;">
                  <c:v>84.71</c:v>
                </c:pt>
                <c:pt idx="2554" formatCode="#,##0_);\(#,##0\);&quot;-  &quot;;&quot; &quot;@&quot; &quot;">
                  <c:v>82.31</c:v>
                </c:pt>
                <c:pt idx="2555" formatCode="#,##0_);\(#,##0\);&quot;-  &quot;;&quot; &quot;@&quot; &quot;">
                  <c:v>82.7</c:v>
                </c:pt>
                <c:pt idx="2556" formatCode="#,##0_);\(#,##0\);&quot;-  &quot;;&quot; &quot;@&quot; &quot;">
                  <c:v>83.58</c:v>
                </c:pt>
                <c:pt idx="2557" formatCode="#,##0_);\(#,##0\);&quot;-  &quot;;&quot; &quot;@&quot; &quot;">
                  <c:v>84.465000000000003</c:v>
                </c:pt>
                <c:pt idx="2558" formatCode="#,##0_);\(#,##0\);&quot;-  &quot;;&quot; &quot;@&quot; &quot;">
                  <c:v>85.185000000000002</c:v>
                </c:pt>
                <c:pt idx="2559" formatCode="#,##0_);\(#,##0\);&quot;-  &quot;;&quot; &quot;@&quot; &quot;">
                  <c:v>82.61</c:v>
                </c:pt>
                <c:pt idx="2560" formatCode="#,##0_);\(#,##0\);&quot;-  &quot;;&quot; &quot;@&quot; &quot;">
                  <c:v>78.144999999999996</c:v>
                </c:pt>
                <c:pt idx="2561" formatCode="#,##0_);\(#,##0\);&quot;-  &quot;;&quot; &quot;@&quot; &quot;">
                  <c:v>80.08</c:v>
                </c:pt>
                <c:pt idx="2562" formatCode="#,##0_);\(#,##0\);&quot;-  &quot;;&quot; &quot;@&quot; &quot;">
                  <c:v>83.33</c:v>
                </c:pt>
                <c:pt idx="2563" formatCode="#,##0_);\(#,##0\);&quot;-  &quot;;&quot; &quot;@&quot; &quot;">
                  <c:v>82.2</c:v>
                </c:pt>
                <c:pt idx="2564" formatCode="#,##0_);\(#,##0\);&quot;-  &quot;;&quot; &quot;@&quot; &quot;">
                  <c:v>79.48</c:v>
                </c:pt>
                <c:pt idx="2565" formatCode="#,##0_);\(#,##0\);&quot;-  &quot;;&quot; &quot;@&quot; &quot;">
                  <c:v>80.95</c:v>
                </c:pt>
                <c:pt idx="2566" formatCode="#,##0_);\(#,##0\);&quot;-  &quot;;&quot; &quot;@&quot; &quot;">
                  <c:v>81.91</c:v>
                </c:pt>
                <c:pt idx="2567" formatCode="#,##0_);\(#,##0\);&quot;-  &quot;;&quot; &quot;@&quot; &quot;">
                  <c:v>80.135000000000005</c:v>
                </c:pt>
                <c:pt idx="2568" formatCode="#,##0_);\(#,##0\);&quot;-  &quot;;&quot; &quot;@&quot; &quot;">
                  <c:v>81.99</c:v>
                </c:pt>
                <c:pt idx="2569" formatCode="#,##0_);\(#,##0\);&quot;-  &quot;;&quot; &quot;@&quot; &quot;">
                  <c:v>82.28</c:v>
                </c:pt>
                <c:pt idx="2570" formatCode="#,##0_);\(#,##0\);&quot;-  &quot;;&quot; &quot;@&quot; &quot;">
                  <c:v>80.599999999999994</c:v>
                </c:pt>
                <c:pt idx="2571" formatCode="#,##0_);\(#,##0\);&quot;-  &quot;;&quot; &quot;@&quot; &quot;">
                  <c:v>81.099999999999994</c:v>
                </c:pt>
                <c:pt idx="2572" formatCode="#,##0_);\(#,##0\);&quot;-  &quot;;&quot; &quot;@&quot; &quot;">
                  <c:v>78.25</c:v>
                </c:pt>
                <c:pt idx="2573" formatCode="#,##0_);\(#,##0\);&quot;-  &quot;;&quot; &quot;@&quot; &quot;">
                  <c:v>78.125</c:v>
                </c:pt>
                <c:pt idx="2574" formatCode="#,##0_);\(#,##0\);&quot;-  &quot;;&quot; &quot;@&quot; &quot;">
                  <c:v>74.66</c:v>
                </c:pt>
                <c:pt idx="2575" formatCode="#,##0_);\(#,##0\);&quot;-  &quot;;&quot; &quot;@&quot; &quot;">
                  <c:v>74.295000000000002</c:v>
                </c:pt>
                <c:pt idx="2576" formatCode="#,##0_);\(#,##0\);&quot;-  &quot;;&quot; &quot;@&quot; &quot;">
                  <c:v>75.81</c:v>
                </c:pt>
                <c:pt idx="2577" formatCode="#,##0_);\(#,##0\);&quot;-  &quot;;&quot; &quot;@&quot; &quot;">
                  <c:v>75.944999999999993</c:v>
                </c:pt>
                <c:pt idx="2578" formatCode="#,##0_);\(#,##0\);&quot;-  &quot;;&quot; &quot;@&quot; &quot;">
                  <c:v>73.555000000000007</c:v>
                </c:pt>
                <c:pt idx="2579" formatCode="#,##0_);\(#,##0\);&quot;-  &quot;;&quot; &quot;@&quot; &quot;">
                  <c:v>74.09</c:v>
                </c:pt>
                <c:pt idx="2580" formatCode="#,##0_);\(#,##0\);&quot;-  &quot;;&quot; &quot;@&quot; &quot;">
                  <c:v>77.275000000000006</c:v>
                </c:pt>
                <c:pt idx="2581" formatCode="#,##0_);\(#,##0\);&quot;-  &quot;;&quot; &quot;@&quot; &quot;">
                  <c:v>77.084999999999994</c:v>
                </c:pt>
                <c:pt idx="2582" formatCode="#,##0_);\(#,##0\);&quot;-  &quot;;&quot; &quot;@&quot; &quot;">
                  <c:v>79.180000000000007</c:v>
                </c:pt>
                <c:pt idx="2583" formatCode="#,##0_);\(#,##0\);&quot;-  &quot;;&quot; &quot;@&quot; &quot;">
                  <c:v>80.165000000000006</c:v>
                </c:pt>
                <c:pt idx="2584" formatCode="#,##0_);\(#,##0\);&quot;-  &quot;;&quot; &quot;@&quot; &quot;">
                  <c:v>81.87</c:v>
                </c:pt>
                <c:pt idx="2585" formatCode="#,##0_);\(#,##0\);&quot;-  &quot;;&quot; &quot;@&quot; &quot;">
                  <c:v>80.58</c:v>
                </c:pt>
                <c:pt idx="2586" formatCode="#,##0_);\(#,##0\);&quot;-  &quot;;&quot; &quot;@&quot; &quot;">
                  <c:v>80.775000000000006</c:v>
                </c:pt>
                <c:pt idx="2587" formatCode="#,##0_);\(#,##0\);&quot;-  &quot;;&quot; &quot;@&quot; &quot;">
                  <c:v>80.844999999999999</c:v>
                </c:pt>
                <c:pt idx="2588" formatCode="#,##0_);\(#,##0\);&quot;-  &quot;;&quot; &quot;@&quot; &quot;">
                  <c:v>79.12</c:v>
                </c:pt>
                <c:pt idx="2589" formatCode="#,##0_);\(#,##0\);&quot;-  &quot;;&quot; &quot;@&quot; &quot;">
                  <c:v>77.584999999999994</c:v>
                </c:pt>
                <c:pt idx="2590" formatCode="#,##0_);\(#,##0\);&quot;-  &quot;;&quot; &quot;@&quot; &quot;">
                  <c:v>75.7</c:v>
                </c:pt>
                <c:pt idx="2591" formatCode="#,##0_);\(#,##0\);&quot;-  &quot;;&quot; &quot;@&quot; &quot;">
                  <c:v>77.33</c:v>
                </c:pt>
                <c:pt idx="2592" formatCode="#,##0_);\(#,##0\);&quot;-  &quot;;&quot; &quot;@&quot; &quot;">
                  <c:v>76.015000000000001</c:v>
                </c:pt>
                <c:pt idx="2593" formatCode="#,##0_);\(#,##0\);&quot;-  &quot;;&quot; &quot;@&quot; &quot;">
                  <c:v>78.75</c:v>
                </c:pt>
                <c:pt idx="2594" formatCode="#,##0_);\(#,##0\);&quot;-  &quot;;&quot; &quot;@&quot; &quot;">
                  <c:v>75.825000000000003</c:v>
                </c:pt>
                <c:pt idx="2595" formatCode="#,##0_);\(#,##0\);&quot;-  &quot;;&quot; &quot;@&quot; &quot;">
                  <c:v>78.905000000000001</c:v>
                </c:pt>
                <c:pt idx="2596" formatCode="#,##0_);\(#,##0\);&quot;-  &quot;;&quot; &quot;@&quot; &quot;">
                  <c:v>78.739999999999995</c:v>
                </c:pt>
                <c:pt idx="2597" formatCode="#,##0_);\(#,##0\);&quot;-  &quot;;&quot; &quot;@&quot; &quot;">
                  <c:v>80.575000000000003</c:v>
                </c:pt>
                <c:pt idx="2598" formatCode="#,##0_);\(#,##0\);&quot;-  &quot;;&quot; &quot;@&quot; &quot;">
                  <c:v>80.105000000000004</c:v>
                </c:pt>
                <c:pt idx="2599" formatCode="#,##0_);\(#,##0\);&quot;-  &quot;;&quot; &quot;@&quot; &quot;">
                  <c:v>79.55</c:v>
                </c:pt>
                <c:pt idx="2600" formatCode="#,##0_);\(#,##0\);&quot;-  &quot;;&quot; &quot;@&quot; &quot;">
                  <c:v>79.885000000000005</c:v>
                </c:pt>
                <c:pt idx="2601" formatCode="#,##0_);\(#,##0\);&quot;-  &quot;;&quot; &quot;@&quot; &quot;">
                  <c:v>79.47</c:v>
                </c:pt>
                <c:pt idx="2602" formatCode="#,##0_);\(#,##0\);&quot;-  &quot;;&quot; &quot;@&quot; &quot;">
                  <c:v>80.94</c:v>
                </c:pt>
                <c:pt idx="2603" formatCode="#,##0_);\(#,##0\);&quot;-  &quot;;&quot; &quot;@&quot; &quot;">
                  <c:v>81.19</c:v>
                </c:pt>
                <c:pt idx="2604" formatCode="#,##0_);\(#,##0\);&quot;-  &quot;;&quot; &quot;@&quot; &quot;">
                  <c:v>82.165000000000006</c:v>
                </c:pt>
                <c:pt idx="2605" formatCode="#,##0_);\(#,##0\);&quot;-  &quot;;&quot; &quot;@&quot; &quot;">
                  <c:v>82.29</c:v>
                </c:pt>
                <c:pt idx="2606" formatCode="#,##0_);\(#,##0\);&quot;-  &quot;;&quot; &quot;@&quot; &quot;">
                  <c:v>82.13</c:v>
                </c:pt>
                <c:pt idx="2607" formatCode="#,##0_);\(#,##0\);&quot;-  &quot;;&quot; &quot;@&quot; &quot;">
                  <c:v>83.18</c:v>
                </c:pt>
                <c:pt idx="2608" formatCode="#,##0_);\(#,##0\);&quot;-  &quot;;&quot; &quot;@&quot; &quot;">
                  <c:v>83.37</c:v>
                </c:pt>
                <c:pt idx="2609" formatCode="#,##0_);\(#,##0\);&quot;-  &quot;;&quot; &quot;@&quot; &quot;">
                  <c:v>83.984999999999999</c:v>
                </c:pt>
                <c:pt idx="2610" formatCode="#,##0_);\(#,##0\);&quot;-  &quot;;&quot; &quot;@&quot; &quot;">
                  <c:v>84.105000000000004</c:v>
                </c:pt>
                <c:pt idx="2611" formatCode="#,##0_);\(#,##0\);&quot;-  &quot;;&quot; &quot;@&quot; &quot;">
                  <c:v>82.78</c:v>
                </c:pt>
                <c:pt idx="2612" formatCode="#,##0_);\(#,##0\);&quot;-  &quot;;&quot; &quot;@&quot; &quot;">
                  <c:v>83.314999999999998</c:v>
                </c:pt>
                <c:pt idx="2613" formatCode="#,##0_);\(#,##0\);&quot;-  &quot;;&quot; &quot;@&quot; &quot;">
                  <c:v>79.08</c:v>
                </c:pt>
                <c:pt idx="2614" formatCode="#,##0_);\(#,##0\);&quot;-  &quot;;&quot; &quot;@&quot; &quot;">
                  <c:v>79.23</c:v>
                </c:pt>
                <c:pt idx="2615" formatCode="#,##0_);\(#,##0\);&quot;-  &quot;;&quot; &quot;@&quot; &quot;">
                  <c:v>80.905000000000001</c:v>
                </c:pt>
                <c:pt idx="2616" formatCode="#,##0_);\(#,##0\);&quot;-  &quot;;&quot; &quot;@&quot; &quot;">
                  <c:v>81.69</c:v>
                </c:pt>
                <c:pt idx="2617" formatCode="#,##0_);\(#,##0\);&quot;-  &quot;;&quot; &quot;@&quot; &quot;">
                  <c:v>84.474999999999994</c:v>
                </c:pt>
                <c:pt idx="2618" formatCode="#,##0_);\(#,##0\);&quot;-  &quot;;&quot; &quot;@&quot; &quot;">
                  <c:v>84.75</c:v>
                </c:pt>
                <c:pt idx="2619" formatCode="#,##0_);\(#,##0\);&quot;-  &quot;;&quot; &quot;@&quot; &quot;">
                  <c:v>84.614999999999995</c:v>
                </c:pt>
                <c:pt idx="2620" formatCode="#,##0_);\(#,##0\);&quot;-  &quot;;&quot; &quot;@&quot; &quot;">
                  <c:v>86</c:v>
                </c:pt>
                <c:pt idx="2621" formatCode="#,##0_);\(#,##0\);&quot;-  &quot;;&quot; &quot;@&quot; &quot;">
                  <c:v>85.045000000000002</c:v>
                </c:pt>
                <c:pt idx="2622" formatCode="#,##0_);\(#,##0\);&quot;-  &quot;;&quot; &quot;@&quot; &quot;">
                  <c:v>85.534999999999997</c:v>
                </c:pt>
                <c:pt idx="2623" formatCode="#,##0_);\(#,##0\);&quot;-  &quot;;&quot; &quot;@&quot; &quot;">
                  <c:v>86.12</c:v>
                </c:pt>
                <c:pt idx="2624" formatCode="#,##0_);\(#,##0\);&quot;-  &quot;;&quot; &quot;@&quot; &quot;">
                  <c:v>86.51</c:v>
                </c:pt>
                <c:pt idx="2625" formatCode="#,##0_);\(#,##0\);&quot;-  &quot;;&quot; &quot;@&quot; &quot;">
                  <c:v>84.89</c:v>
                </c:pt>
                <c:pt idx="2626" formatCode="#,##0_);\(#,##0\);&quot;-  &quot;;&quot; &quot;@&quot; &quot;">
                  <c:v>85.444999999999993</c:v>
                </c:pt>
                <c:pt idx="2627" formatCode="#,##0_);\(#,##0\);&quot;-  &quot;;&quot; &quot;@&quot; &quot;">
                  <c:v>85.52</c:v>
                </c:pt>
                <c:pt idx="2628" formatCode="#,##0_);\(#,##0\);&quot;-  &quot;;&quot; &quot;@&quot; &quot;">
                  <c:v>83.715000000000003</c:v>
                </c:pt>
                <c:pt idx="2629" formatCode="#,##0_);\(#,##0\);&quot;-  &quot;;&quot; &quot;@&quot; &quot;">
                  <c:v>83.204999999999998</c:v>
                </c:pt>
                <c:pt idx="2630" formatCode="#,##0_);\(#,##0\);&quot;-  &quot;;&quot; &quot;@&quot; &quot;">
                  <c:v>84.14</c:v>
                </c:pt>
                <c:pt idx="2631" formatCode="#,##0_);\(#,##0\);&quot;-  &quot;;&quot; &quot;@&quot; &quot;">
                  <c:v>83.685000000000002</c:v>
                </c:pt>
                <c:pt idx="2632" formatCode="#,##0_);\(#,##0\);&quot;-  &quot;;&quot; &quot;@&quot; &quot;">
                  <c:v>84.6</c:v>
                </c:pt>
                <c:pt idx="2633" formatCode="#,##0_);\(#,##0\);&quot;-  &quot;;&quot; &quot;@&quot; &quot;">
                  <c:v>87.495000000000005</c:v>
                </c:pt>
                <c:pt idx="2634" formatCode="#,##0_);\(#,##0\);&quot;-  &quot;;&quot; &quot;@&quot; &quot;">
                  <c:v>86.265000000000001</c:v>
                </c:pt>
                <c:pt idx="2635" formatCode="#,##0_);\(#,##0\);&quot;-  &quot;;&quot; &quot;@&quot; &quot;">
                  <c:v>85.36</c:v>
                </c:pt>
                <c:pt idx="2636" formatCode="#,##0_);\(#,##0\);&quot;-  &quot;;&quot; &quot;@&quot; &quot;">
                  <c:v>86.405000000000001</c:v>
                </c:pt>
                <c:pt idx="2637" formatCode="#,##0_);\(#,##0\);&quot;-  &quot;;&quot; &quot;@&quot; &quot;">
                  <c:v>84.915000000000006</c:v>
                </c:pt>
                <c:pt idx="2638" formatCode="#,##0_);\(#,##0\);&quot;-  &quot;;&quot; &quot;@&quot; &quot;">
                  <c:v>83.62</c:v>
                </c:pt>
                <c:pt idx="2639" formatCode="#,##0_);\(#,##0\);&quot;-  &quot;;&quot; &quot;@&quot; &quot;">
                  <c:v>83.795000000000002</c:v>
                </c:pt>
                <c:pt idx="2640" formatCode="#,##0_);\(#,##0\);&quot;-  &quot;;&quot; &quot;@&quot; &quot;">
                  <c:v>83.23</c:v>
                </c:pt>
                <c:pt idx="2641" formatCode="#,##0_);\(#,##0\);&quot;-  &quot;;&quot; &quot;@&quot; &quot;">
                  <c:v>84.265000000000001</c:v>
                </c:pt>
                <c:pt idx="2642" formatCode="#,##0_);\(#,##0\);&quot;-  &quot;;&quot; &quot;@&quot; &quot;">
                  <c:v>85.55</c:v>
                </c:pt>
                <c:pt idx="2643" formatCode="#,##0_);\(#,##0\);&quot;-  &quot;;&quot; &quot;@&quot; &quot;">
                  <c:v>85.364999999999995</c:v>
                </c:pt>
                <c:pt idx="2644" formatCode="#,##0_);\(#,##0\);&quot;-  &quot;;&quot; &quot;@&quot; &quot;">
                  <c:v>86.234999999999999</c:v>
                </c:pt>
                <c:pt idx="2645" formatCode="#,##0_);\(#,##0\);&quot;-  &quot;;&quot; &quot;@&quot; &quot;">
                  <c:v>87.234999999999999</c:v>
                </c:pt>
                <c:pt idx="2646" formatCode="#,##0_);\(#,##0\);&quot;-  &quot;;&quot; &quot;@&quot; &quot;">
                  <c:v>85.545000000000002</c:v>
                </c:pt>
                <c:pt idx="2647" formatCode="#,##0_);\(#,##0\);&quot;-  &quot;;&quot; &quot;@&quot; &quot;">
                  <c:v>85.174999999999997</c:v>
                </c:pt>
                <c:pt idx="2648" formatCode="#,##0_);\(#,##0\);&quot;-  &quot;;&quot; &quot;@&quot; &quot;">
                  <c:v>84.894999999999996</c:v>
                </c:pt>
                <c:pt idx="2649" formatCode="#,##0_);\(#,##0\);&quot;-  &quot;;&quot; &quot;@&quot; &quot;">
                  <c:v>86.364999999999995</c:v>
                </c:pt>
                <c:pt idx="2650" formatCode="#,##0_);\(#,##0\);&quot;-  &quot;;&quot; &quot;@&quot; &quot;">
                  <c:v>86</c:v>
                </c:pt>
                <c:pt idx="2651" formatCode="#,##0_);\(#,##0\);&quot;-  &quot;;&quot; &quot;@&quot; &quot;">
                  <c:v>85.09</c:v>
                </c:pt>
                <c:pt idx="2652" formatCode="#,##0_);\(#,##0\);&quot;-  &quot;;&quot; &quot;@&quot; &quot;">
                  <c:v>86.885000000000005</c:v>
                </c:pt>
                <c:pt idx="2653" formatCode="#,##0_);\(#,##0\);&quot;-  &quot;;&quot; &quot;@&quot; &quot;">
                  <c:v>89.95</c:v>
                </c:pt>
                <c:pt idx="2654" formatCode="#,##0_);\(#,##0\);&quot;-  &quot;;&quot; &quot;@&quot; &quot;">
                  <c:v>89.95</c:v>
                </c:pt>
                <c:pt idx="2655" formatCode="#,##0_);\(#,##0\);&quot;-  &quot;;&quot; &quot;@&quot; &quot;">
                  <c:v>91.105000000000004</c:v>
                </c:pt>
                <c:pt idx="2656" formatCode="#,##0_);\(#,##0\);&quot;-  &quot;;&quot; &quot;@&quot; &quot;">
                  <c:v>90.435000000000002</c:v>
                </c:pt>
                <c:pt idx="2657" formatCode="#,##0_);\(#,##0\);&quot;-  &quot;;&quot; &quot;@&quot; &quot;">
                  <c:v>93.305000000000007</c:v>
                </c:pt>
                <c:pt idx="2658" formatCode="#,##0_);\(#,##0\);&quot;-  &quot;;&quot; &quot;@&quot; &quot;">
                  <c:v>92.2</c:v>
                </c:pt>
                <c:pt idx="2659" formatCode="#,##0_);\(#,##0\);&quot;-  &quot;;&quot; &quot;@&quot; &quot;">
                  <c:v>91.93</c:v>
                </c:pt>
                <c:pt idx="2660" formatCode="#,##0_);\(#,##0\);&quot;-  &quot;;&quot; &quot;@&quot; &quot;">
                  <c:v>91.19</c:v>
                </c:pt>
                <c:pt idx="2661" formatCode="#,##0_);\(#,##0\);&quot;-  &quot;;&quot; &quot;@&quot; &quot;">
                  <c:v>91.81</c:v>
                </c:pt>
                <c:pt idx="2662" formatCode="#,##0_);\(#,##0\);&quot;-  &quot;;&quot; &quot;@&quot; &quot;">
                  <c:v>93.344999999999999</c:v>
                </c:pt>
                <c:pt idx="2663" formatCode="#,##0_);\(#,##0\);&quot;-  &quot;;&quot; &quot;@&quot; &quot;">
                  <c:v>90.525000000000006</c:v>
                </c:pt>
                <c:pt idx="2664" formatCode="#,##0_);\(#,##0\);&quot;-  &quot;;&quot; &quot;@&quot; &quot;">
                  <c:v>91.29</c:v>
                </c:pt>
                <c:pt idx="2665" formatCode="#,##0_);\(#,##0\);&quot;-  &quot;;&quot; &quot;@&quot; &quot;">
                  <c:v>89.66</c:v>
                </c:pt>
                <c:pt idx="2666" formatCode="#,##0_);\(#,##0\);&quot;-  &quot;;&quot; &quot;@&quot; &quot;">
                  <c:v>88.09</c:v>
                </c:pt>
                <c:pt idx="2667" formatCode="#,##0_);\(#,##0\);&quot;-  &quot;;&quot; &quot;@&quot; &quot;">
                  <c:v>88.02</c:v>
                </c:pt>
                <c:pt idx="2668" formatCode="#,##0_);\(#,##0\);&quot;-  &quot;;&quot; &quot;@&quot; &quot;">
                  <c:v>87.555000000000007</c:v>
                </c:pt>
                <c:pt idx="2669" formatCode="#,##0_);\(#,##0\);&quot;-  &quot;;&quot; &quot;@&quot; &quot;">
                  <c:v>88.73</c:v>
                </c:pt>
                <c:pt idx="2670" formatCode="#,##0_);\(#,##0\);&quot;-  &quot;;&quot; &quot;@&quot; &quot;">
                  <c:v>88.9</c:v>
                </c:pt>
                <c:pt idx="2671" formatCode="#,##0_);\(#,##0\);&quot;-  &quot;;&quot; &quot;@&quot; &quot;">
                  <c:v>88.35</c:v>
                </c:pt>
                <c:pt idx="2672" formatCode="#,##0_);\(#,##0\);&quot;-  &quot;;&quot; &quot;@&quot; &quot;">
                  <c:v>89.935000000000002</c:v>
                </c:pt>
                <c:pt idx="2673" formatCode="#,##0_);\(#,##0\);&quot;-  &quot;;&quot; &quot;@&quot; &quot;">
                  <c:v>88.86</c:v>
                </c:pt>
                <c:pt idx="2674" formatCode="#,##0_);\(#,##0\);&quot;-  &quot;;&quot; &quot;@&quot; &quot;">
                  <c:v>87.97</c:v>
                </c:pt>
                <c:pt idx="2675" formatCode="#,##0_);\(#,##0\);&quot;-  &quot;;&quot; &quot;@&quot; &quot;">
                  <c:v>84.92</c:v>
                </c:pt>
                <c:pt idx="2676" formatCode="#,##0_);\(#,##0\);&quot;-  &quot;;&quot; &quot;@&quot; &quot;">
                  <c:v>83.93</c:v>
                </c:pt>
                <c:pt idx="2677" formatCode="#,##0_);\(#,##0\);&quot;-  &quot;;&quot; &quot;@&quot; &quot;">
                  <c:v>83.3</c:v>
                </c:pt>
                <c:pt idx="2678" formatCode="#,##0_);\(#,##0\);&quot;-  &quot;;&quot; &quot;@&quot; &quot;">
                  <c:v>82.11</c:v>
                </c:pt>
                <c:pt idx="2679" formatCode="#,##0_);\(#,##0\);&quot;-  &quot;;&quot; &quot;@&quot; &quot;">
                  <c:v>82.11</c:v>
                </c:pt>
                <c:pt idx="2680" formatCode="#,##0_);\(#,##0\);&quot;-  &quot;;&quot; &quot;@&quot; &quot;">
                  <c:v>83.32</c:v>
                </c:pt>
                <c:pt idx="2681" formatCode="#,##0_);\(#,##0\);&quot;-  &quot;;&quot; &quot;@&quot; &quot;">
                  <c:v>83.444999999999993</c:v>
                </c:pt>
                <c:pt idx="2682" formatCode="#,##0_);\(#,##0\);&quot;-  &quot;;&quot; &quot;@&quot; &quot;">
                  <c:v>83.075000000000003</c:v>
                </c:pt>
                <c:pt idx="2683" formatCode="#,##0_);\(#,##0\);&quot;-  &quot;;&quot; &quot;@&quot; &quot;">
                  <c:v>82.114999999999995</c:v>
                </c:pt>
                <c:pt idx="2684" formatCode="#,##0_);\(#,##0\);&quot;-  &quot;;&quot; &quot;@&quot; &quot;">
                  <c:v>80.56</c:v>
                </c:pt>
                <c:pt idx="2685" formatCode="#,##0_);\(#,##0\);&quot;-  &quot;;&quot; &quot;@&quot; &quot;">
                  <c:v>81.45</c:v>
                </c:pt>
                <c:pt idx="2686" formatCode="#,##0_);\(#,##0\);&quot;-  &quot;;&quot; &quot;@&quot; &quot;">
                  <c:v>81.825000000000003</c:v>
                </c:pt>
                <c:pt idx="2687" formatCode="#,##0_);\(#,##0\);&quot;-  &quot;;&quot; &quot;@&quot; &quot;">
                  <c:v>82.44</c:v>
                </c:pt>
                <c:pt idx="2688" formatCode="#,##0_);\(#,##0\);&quot;-  &quot;;&quot; &quot;@&quot; &quot;">
                  <c:v>82.33</c:v>
                </c:pt>
                <c:pt idx="2689" formatCode="#,##0_);\(#,##0\);&quot;-  &quot;;&quot; &quot;@&quot; &quot;">
                  <c:v>81.5</c:v>
                </c:pt>
                <c:pt idx="2690" formatCode="#,##0_);\(#,##0\);&quot;-  &quot;;&quot; &quot;@&quot; &quot;">
                  <c:v>80.724999999999994</c:v>
                </c:pt>
                <c:pt idx="2691" formatCode="#,##0_);\(#,##0\);&quot;-  &quot;;&quot; &quot;@&quot; &quot;">
                  <c:v>79.72</c:v>
                </c:pt>
                <c:pt idx="2692" formatCode="#,##0_);\(#,##0\);&quot;-  &quot;;&quot; &quot;@&quot; &quot;">
                  <c:v>80.004999999999995</c:v>
                </c:pt>
                <c:pt idx="2693" formatCode="#,##0_);\(#,##0\);&quot;-  &quot;;&quot; &quot;@&quot; &quot;">
                  <c:v>82.52</c:v>
                </c:pt>
                <c:pt idx="2694" formatCode="#,##0_);\(#,##0\);&quot;-  &quot;;&quot; &quot;@&quot; &quot;">
                  <c:v>82.344999999999999</c:v>
                </c:pt>
                <c:pt idx="2695" formatCode="#,##0_);\(#,##0\);&quot;-  &quot;;&quot; &quot;@&quot; &quot;">
                  <c:v>81.19</c:v>
                </c:pt>
                <c:pt idx="2696" formatCode="#,##0_);\(#,##0\);&quot;-  &quot;;&quot; &quot;@&quot; &quot;">
                  <c:v>80.180000000000007</c:v>
                </c:pt>
                <c:pt idx="2697" formatCode="#,##0_);\(#,##0\);&quot;-  &quot;;&quot; &quot;@&quot; &quot;">
                  <c:v>76.77</c:v>
                </c:pt>
                <c:pt idx="2698" formatCode="#,##0_);\(#,##0\);&quot;-  &quot;;&quot; &quot;@&quot; &quot;">
                  <c:v>76.05</c:v>
                </c:pt>
                <c:pt idx="2699" formatCode="#,##0_);\(#,##0\);&quot;-  &quot;;&quot; &quot;@&quot; &quot;">
                  <c:v>75.92</c:v>
                </c:pt>
                <c:pt idx="2700" formatCode="#,##0_);\(#,##0\);&quot;-  &quot;;&quot; &quot;@&quot; &quot;">
                  <c:v>78.540000000000006</c:v>
                </c:pt>
                <c:pt idx="2701" formatCode="#,##0_);\(#,##0\);&quot;-  &quot;;&quot; &quot;@&quot; &quot;">
                  <c:v>78.314999999999998</c:v>
                </c:pt>
                <c:pt idx="2702" formatCode="#,##0_);\(#,##0\);&quot;-  &quot;;&quot; &quot;@&quot; &quot;">
                  <c:v>80.004999999999995</c:v>
                </c:pt>
                <c:pt idx="2703" formatCode="#,##0_);\(#,##0\);&quot;-  &quot;;&quot; &quot;@&quot; &quot;">
                  <c:v>80.739999999999995</c:v>
                </c:pt>
                <c:pt idx="2704" formatCode="#,##0_);\(#,##0\);&quot;-  &quot;;&quot; &quot;@&quot; &quot;">
                  <c:v>81.245000000000005</c:v>
                </c:pt>
                <c:pt idx="2705" formatCode="#,##0_);\(#,##0\);&quot;-  &quot;;&quot; &quot;@&quot; &quot;">
                  <c:v>81.64</c:v>
                </c:pt>
                <c:pt idx="2706" formatCode="#,##0_);\(#,##0\);&quot;-  &quot;;&quot; &quot;@&quot; &quot;">
                  <c:v>81.73</c:v>
                </c:pt>
                <c:pt idx="2707" formatCode="#,##0_);\(#,##0\);&quot;-  &quot;;&quot; &quot;@&quot; &quot;">
                  <c:v>83.36</c:v>
                </c:pt>
                <c:pt idx="2708" formatCode="#,##0_);\(#,##0\);&quot;-  &quot;;&quot; &quot;@&quot; &quot;">
                  <c:v>85.28</c:v>
                </c:pt>
                <c:pt idx="2709" formatCode="#,##0_);\(#,##0\);&quot;-  &quot;;&quot; &quot;@&quot; &quot;">
                  <c:v>86.185000000000002</c:v>
                </c:pt>
                <c:pt idx="2710" formatCode="#,##0_);\(#,##0\);&quot;-  &quot;;&quot; &quot;@&quot; &quot;">
                  <c:v>86.114999999999995</c:v>
                </c:pt>
                <c:pt idx="2711" formatCode="#,##0_);\(#,##0\);&quot;-  &quot;;&quot; &quot;@&quot; &quot;">
                  <c:v>87.015000000000001</c:v>
                </c:pt>
                <c:pt idx="2712" formatCode="#,##0_);\(#,##0\);&quot;-  &quot;;&quot; &quot;@&quot; &quot;">
                  <c:v>87.114999999999995</c:v>
                </c:pt>
                <c:pt idx="2713" formatCode="#,##0_);\(#,##0\);&quot;-  &quot;;&quot; &quot;@&quot; &quot;">
                  <c:v>86.775000000000006</c:v>
                </c:pt>
                <c:pt idx="2714" formatCode="#,##0_);\(#,##0\);&quot;-  &quot;;&quot; &quot;@&quot; &quot;">
                  <c:v>85.27</c:v>
                </c:pt>
                <c:pt idx="2715" formatCode="#,##0_);\(#,##0\);&quot;-  &quot;;&quot; &quot;@&quot; &quot;">
                  <c:v>87.254999999999995</c:v>
                </c:pt>
                <c:pt idx="2716" formatCode="#,##0_);\(#,##0\);&quot;-  &quot;;&quot; &quot;@&quot; &quot;">
                  <c:v>86.83</c:v>
                </c:pt>
                <c:pt idx="2717" formatCode="#,##0_);\(#,##0\);&quot;-  &quot;;&quot; &quot;@&quot; &quot;">
                  <c:v>88.01</c:v>
                </c:pt>
                <c:pt idx="2718" formatCode="#,##0_);\(#,##0\);&quot;-  &quot;;&quot; &quot;@&quot; &quot;">
                  <c:v>88.59</c:v>
                </c:pt>
                <c:pt idx="2719" formatCode="#,##0_);\(#,##0\);&quot;-  &quot;;&quot; &quot;@&quot; &quot;">
                  <c:v>87.68</c:v>
                </c:pt>
                <c:pt idx="2720" formatCode="#,##0_);\(#,##0\);&quot;-  &quot;;&quot; &quot;@&quot; &quot;">
                  <c:v>88.96</c:v>
                </c:pt>
                <c:pt idx="2721" formatCode="#,##0_);\(#,##0\);&quot;-  &quot;;&quot; &quot;@&quot; &quot;">
                  <c:v>89.094999999999999</c:v>
                </c:pt>
                <c:pt idx="2722" formatCode="#,##0_);\(#,##0\);&quot;-  &quot;;&quot; &quot;@&quot; &quot;">
                  <c:v>87.73</c:v>
                </c:pt>
                <c:pt idx="2723" formatCode="#,##0_);\(#,##0\);&quot;-  &quot;;&quot; &quot;@&quot; &quot;">
                  <c:v>86.094999999999999</c:v>
                </c:pt>
                <c:pt idx="2724" formatCode="#,##0_);\(#,##0\);&quot;-  &quot;;&quot; &quot;@&quot; &quot;">
                  <c:v>87.075000000000003</c:v>
                </c:pt>
                <c:pt idx="2725" formatCode="#,##0_);\(#,##0\);&quot;-  &quot;;&quot; &quot;@&quot; &quot;">
                  <c:v>87.314999999999998</c:v>
                </c:pt>
                <c:pt idx="2726" formatCode="#,##0_);\(#,##0\);&quot;-  &quot;;&quot; &quot;@&quot; &quot;">
                  <c:v>87.715000000000003</c:v>
                </c:pt>
                <c:pt idx="2727" formatCode="#,##0_);\(#,##0\);&quot;-  &quot;;&quot; &quot;@&quot; &quot;">
                  <c:v>86.67</c:v>
                </c:pt>
                <c:pt idx="2728" formatCode="#,##0_);\(#,##0\);&quot;-  &quot;;&quot; &quot;@&quot; &quot;">
                  <c:v>85.63</c:v>
                </c:pt>
                <c:pt idx="2729" formatCode="#,##0_);\(#,##0\);&quot;-  &quot;;&quot; &quot;@&quot; &quot;">
                  <c:v>86.2</c:v>
                </c:pt>
                <c:pt idx="2730" formatCode="#,##0_);\(#,##0\);&quot;-  &quot;;&quot; &quot;@&quot; &quot;">
                  <c:v>86.49</c:v>
                </c:pt>
                <c:pt idx="2731" formatCode="#,##0_);\(#,##0\);&quot;-  &quot;;&quot; &quot;@&quot; &quot;">
                  <c:v>85.275000000000006</c:v>
                </c:pt>
                <c:pt idx="2732" formatCode="#,##0_);\(#,##0\);&quot;-  &quot;;&quot; &quot;@&quot; &quot;">
                  <c:v>83.064999999999998</c:v>
                </c:pt>
                <c:pt idx="2733" formatCode="#,##0_);\(#,##0\);&quot;-  &quot;;&quot; &quot;@&quot; &quot;">
                  <c:v>82.09</c:v>
                </c:pt>
                <c:pt idx="2734" formatCode="#,##0_);\(#,##0\);&quot;-  &quot;;&quot; &quot;@&quot; &quot;">
                  <c:v>82.995000000000005</c:v>
                </c:pt>
                <c:pt idx="2735" formatCode="#,##0_);\(#,##0\);&quot;-  &quot;;&quot; &quot;@&quot; &quot;">
                  <c:v>82.655000000000001</c:v>
                </c:pt>
                <c:pt idx="2736" formatCode="#,##0_);\(#,##0\);&quot;-  &quot;;&quot; &quot;@&quot; &quot;">
                  <c:v>81.245000000000005</c:v>
                </c:pt>
                <c:pt idx="2737" formatCode="#,##0_);\(#,##0\);&quot;-  &quot;;&quot; &quot;@&quot; &quot;">
                  <c:v>80.864999999999995</c:v>
                </c:pt>
                <c:pt idx="2738" formatCode="#,##0_);\(#,##0\);&quot;-  &quot;;&quot; &quot;@&quot; &quot;">
                  <c:v>79.14</c:v>
                </c:pt>
                <c:pt idx="2739" formatCode="#,##0_);\(#,##0\);&quot;-  &quot;;&quot; &quot;@&quot; &quot;">
                  <c:v>81.45</c:v>
                </c:pt>
                <c:pt idx="2740" formatCode="#,##0_);\(#,##0\);&quot;-  &quot;;&quot; &quot;@&quot; &quot;">
                  <c:v>81.825000000000003</c:v>
                </c:pt>
                <c:pt idx="2741" formatCode="#,##0_);\(#,##0\);&quot;-  &quot;;&quot; &quot;@&quot; &quot;">
                  <c:v>78.265000000000001</c:v>
                </c:pt>
                <c:pt idx="2742" formatCode="#,##0_);\(#,##0\);&quot;-  &quot;;&quot; &quot;@&quot; &quot;">
                  <c:v>76.7</c:v>
                </c:pt>
                <c:pt idx="2743" formatCode="#,##0_);\(#,##0\);&quot;-  &quot;;&quot; &quot;@&quot; &quot;">
                  <c:v>76.275000000000006</c:v>
                </c:pt>
                <c:pt idx="2744" formatCode="#,##0_);\(#,##0\);&quot;-  &quot;;&quot; &quot;@&quot; &quot;">
                  <c:v>79.91</c:v>
                </c:pt>
                <c:pt idx="2745" formatCode="#,##0_);\(#,##0\);&quot;-  &quot;;&quot; &quot;@&quot; &quot;">
                  <c:v>81.099999999999994</c:v>
                </c:pt>
                <c:pt idx="2746" formatCode="#,##0_);\(#,##0\);&quot;-  &quot;;&quot; &quot;@&quot; &quot;">
                  <c:v>81.614999999999995</c:v>
                </c:pt>
                <c:pt idx="2747" formatCode="#,##0_);\(#,##0\);&quot;-  &quot;;&quot; &quot;@&quot; &quot;">
                  <c:v>83.31</c:v>
                </c:pt>
                <c:pt idx="2748" formatCode="#,##0_);\(#,##0\);&quot;-  &quot;;&quot; &quot;@&quot; &quot;">
                  <c:v>83.295000000000002</c:v>
                </c:pt>
                <c:pt idx="2749" formatCode="#,##0_);\(#,##0\);&quot;-  &quot;;&quot; &quot;@&quot; &quot;">
                  <c:v>82.894999999999996</c:v>
                </c:pt>
                <c:pt idx="2750" formatCode="#,##0_);\(#,##0\);&quot;-  &quot;;&quot; &quot;@&quot; &quot;">
                  <c:v>84.17</c:v>
                </c:pt>
                <c:pt idx="2751" formatCode="#,##0_);\(#,##0\);&quot;-  &quot;;&quot; &quot;@&quot; &quot;">
                  <c:v>82.245000000000005</c:v>
                </c:pt>
                <c:pt idx="2752" formatCode="#,##0_);\(#,##0\);&quot;-  &quot;;&quot; &quot;@&quot; &quot;">
                  <c:v>81.754999999999995</c:v>
                </c:pt>
                <c:pt idx="2753" formatCode="#,##0_);\(#,##0\);&quot;-  &quot;;&quot; &quot;@&quot; &quot;">
                  <c:v>79.495000000000005</c:v>
                </c:pt>
                <c:pt idx="2754" formatCode="#,##0_);\(#,##0\);&quot;-  &quot;;&quot; &quot;@&quot; &quot;">
                  <c:v>79.665000000000006</c:v>
                </c:pt>
                <c:pt idx="2755" formatCode="#,##0_);\(#,##0\);&quot;-  &quot;;&quot; &quot;@&quot; &quot;">
                  <c:v>79.625</c:v>
                </c:pt>
                <c:pt idx="2756" formatCode="#,##0_);\(#,##0\);&quot;-  &quot;;&quot; &quot;@&quot; &quot;">
                  <c:v>81.064999999999998</c:v>
                </c:pt>
                <c:pt idx="2757" formatCode="#,##0_);\(#,##0\);&quot;-  &quot;;&quot; &quot;@&quot; &quot;">
                  <c:v>82.35</c:v>
                </c:pt>
                <c:pt idx="2758" formatCode="#,##0_);\(#,##0\);&quot;-  &quot;;&quot; &quot;@&quot; &quot;">
                  <c:v>82.35</c:v>
                </c:pt>
                <c:pt idx="2759" formatCode="#,##0_);\(#,##0\);&quot;-  &quot;;&quot; &quot;@&quot; &quot;">
                  <c:v>81.064999999999998</c:v>
                </c:pt>
                <c:pt idx="2760" formatCode="#,##0_);\(#,##0\);&quot;-  &quot;;&quot; &quot;@&quot; &quot;">
                  <c:v>82.424999999999997</c:v>
                </c:pt>
                <c:pt idx="2761" formatCode="#,##0_);\(#,##0\);&quot;-  &quot;;&quot; &quot;@&quot; &quot;">
                  <c:v>79.984999999999999</c:v>
                </c:pt>
                <c:pt idx="2762" formatCode="#,##0_);\(#,##0\);&quot;-  &quot;;&quot; &quot;@&quot; &quot;">
                  <c:v>79.62</c:v>
                </c:pt>
                <c:pt idx="2763" formatCode="#,##0_);\(#,##0\);&quot;-  &quot;;&quot; &quot;@&quot; &quot;">
                  <c:v>75.83</c:v>
                </c:pt>
                <c:pt idx="2764" formatCode="#,##0_);\(#,##0\);&quot;-  &quot;;&quot; &quot;@&quot; &quot;">
                  <c:v>75.224999999999994</c:v>
                </c:pt>
                <c:pt idx="2765" formatCode="#,##0_);\(#,##0\);&quot;-  &quot;;&quot; &quot;@&quot; &quot;">
                  <c:v>75.040000000000006</c:v>
                </c:pt>
                <c:pt idx="2766" formatCode="#,##0_);\(#,##0\);&quot;-  &quot;;&quot; &quot;@&quot; &quot;">
                  <c:v>73.025000000000006</c:v>
                </c:pt>
                <c:pt idx="2767" formatCode="#,##0_);\(#,##0\);&quot;-  &quot;;&quot; &quot;@&quot; &quot;">
                  <c:v>72.125</c:v>
                </c:pt>
                <c:pt idx="2768" formatCode="#,##0_);\(#,##0\);&quot;-  &quot;;&quot; &quot;@&quot; &quot;">
                  <c:v>70.56</c:v>
                </c:pt>
                <c:pt idx="2769" formatCode="#,##0_);\(#,##0\);&quot;-  &quot;;&quot; &quot;@&quot; &quot;">
                  <c:v>71.075000000000003</c:v>
                </c:pt>
                <c:pt idx="2770" formatCode="#,##0_);\(#,##0\);&quot;-  &quot;;&quot; &quot;@&quot; &quot;">
                  <c:v>74.55</c:v>
                </c:pt>
                <c:pt idx="2771" formatCode="#,##0_);\(#,##0\);&quot;-  &quot;;&quot; &quot;@&quot; &quot;">
                  <c:v>73.995000000000005</c:v>
                </c:pt>
                <c:pt idx="2772" formatCode="#,##0_);\(#,##0\);&quot;-  &quot;;&quot; &quot;@&quot; &quot;">
                  <c:v>73.864999999999995</c:v>
                </c:pt>
                <c:pt idx="2773" formatCode="#,##0_);\(#,##0\);&quot;-  &quot;;&quot; &quot;@&quot; &quot;">
                  <c:v>74.715000000000003</c:v>
                </c:pt>
                <c:pt idx="2774" formatCode="#,##0_);\(#,##0\);&quot;-  &quot;;&quot; &quot;@&quot; &quot;">
                  <c:v>75.08</c:v>
                </c:pt>
                <c:pt idx="2775" formatCode="#,##0_);\(#,##0\);&quot;-  &quot;;&quot; &quot;@&quot; &quot;">
                  <c:v>76.58</c:v>
                </c:pt>
                <c:pt idx="2776" formatCode="#,##0_);\(#,##0\);&quot;-  &quot;;&quot; &quot;@&quot; &quot;">
                  <c:v>76.010000000000005</c:v>
                </c:pt>
                <c:pt idx="2777" formatCode="#,##0_);\(#,##0\);&quot;-  &quot;;&quot; &quot;@&quot; &quot;">
                  <c:v>75.17</c:v>
                </c:pt>
                <c:pt idx="2778" formatCode="#,##0_);\(#,##0\);&quot;-  &quot;;&quot; &quot;@&quot; &quot;">
                  <c:v>75.819999999999993</c:v>
                </c:pt>
                <c:pt idx="2779" formatCode="#,##0_);\(#,##0\);&quot;-  &quot;;&quot; &quot;@&quot; &quot;">
                  <c:v>75.265000000000001</c:v>
                </c:pt>
                <c:pt idx="2780" formatCode="#,##0_);\(#,##0\);&quot;-  &quot;;&quot; &quot;@&quot; &quot;">
                  <c:v>72.5</c:v>
                </c:pt>
                <c:pt idx="2781" formatCode="#,##0_);\(#,##0\);&quot;-  &quot;;&quot; &quot;@&quot; &quot;">
                  <c:v>71.974999999999994</c:v>
                </c:pt>
                <c:pt idx="2782" formatCode="#,##0_);\(#,##0\);&quot;-  &quot;;&quot; &quot;@&quot; &quot;">
                  <c:v>72.894999999999996</c:v>
                </c:pt>
                <c:pt idx="2783" formatCode="#,##0_);\(#,##0\);&quot;-  &quot;;&quot; &quot;@&quot; &quot;">
                  <c:v>75.38</c:v>
                </c:pt>
                <c:pt idx="2784" formatCode="#,##0_);\(#,##0\);&quot;-  &quot;;&quot; &quot;@&quot; &quot;">
                  <c:v>74.775000000000006</c:v>
                </c:pt>
                <c:pt idx="2785" formatCode="#,##0_);\(#,##0\);&quot;-  &quot;;&quot; &quot;@&quot; &quot;">
                  <c:v>77.944999999999993</c:v>
                </c:pt>
                <c:pt idx="2786" formatCode="#,##0_);\(#,##0\);&quot;-  &quot;;&quot; &quot;@&quot; &quot;">
                  <c:v>79.39</c:v>
                </c:pt>
                <c:pt idx="2787" formatCode="#,##0_);\(#,##0\);&quot;-  &quot;;&quot; &quot;@&quot; &quot;">
                  <c:v>81.2</c:v>
                </c:pt>
                <c:pt idx="2788" formatCode="#,##0_);\(#,##0\);&quot;-  &quot;;&quot; &quot;@&quot; &quot;">
                  <c:v>77.844999999999999</c:v>
                </c:pt>
                <c:pt idx="2789" formatCode="#,##0_);\(#,##0\);&quot;-  &quot;;&quot; &quot;@&quot; &quot;">
                  <c:v>77.665000000000006</c:v>
                </c:pt>
                <c:pt idx="2790" formatCode="#,##0_);\(#,##0\);&quot;-  &quot;;&quot; &quot;@&quot; &quot;">
                  <c:v>79.334999999999994</c:v>
                </c:pt>
                <c:pt idx="2791" formatCode="#,##0_);\(#,##0\);&quot;-  &quot;;&quot; &quot;@&quot; &quot;">
                  <c:v>80.144999999999996</c:v>
                </c:pt>
                <c:pt idx="2792" formatCode="#,##0_);\(#,##0\);&quot;-  &quot;;&quot; &quot;@&quot; &quot;">
                  <c:v>77.81</c:v>
                </c:pt>
                <c:pt idx="2793" formatCode="#,##0_);\(#,##0\);&quot;-  &quot;;&quot; &quot;@&quot; &quot;">
                  <c:v>73.525000000000006</c:v>
                </c:pt>
                <c:pt idx="2794" formatCode="#,##0_);\(#,##0\);&quot;-  &quot;;&quot; &quot;@&quot; &quot;">
                  <c:v>73.94</c:v>
                </c:pt>
                <c:pt idx="2795" formatCode="#,##0_);\(#,##0\);&quot;-  &quot;;&quot; &quot;@&quot; &quot;">
                  <c:v>74.075000000000003</c:v>
                </c:pt>
                <c:pt idx="2796" formatCode="#,##0_);\(#,##0\);&quot;-  &quot;;&quot; &quot;@&quot; &quot;">
                  <c:v>72.55</c:v>
                </c:pt>
                <c:pt idx="2797" formatCode="#,##0_);\(#,##0\);&quot;-  &quot;;&quot; &quot;@&quot; &quot;">
                  <c:v>73.569999999999993</c:v>
                </c:pt>
                <c:pt idx="2798" formatCode="#,##0_);\(#,##0\);&quot;-  &quot;;&quot; &quot;@&quot; &quot;">
                  <c:v>75.77</c:v>
                </c:pt>
                <c:pt idx="2799" formatCode="#,##0_);\(#,##0\);&quot;-  &quot;;&quot; &quot;@&quot; &quot;">
                  <c:v>74.739999999999995</c:v>
                </c:pt>
                <c:pt idx="2800" formatCode="#,##0_);\(#,##0\);&quot;-  &quot;;&quot; &quot;@&quot; &quot;">
                  <c:v>74.515000000000001</c:v>
                </c:pt>
                <c:pt idx="2801" formatCode="#,##0_);\(#,##0\);&quot;-  &quot;;&quot; &quot;@&quot; &quot;">
                  <c:v>75.834999999999994</c:v>
                </c:pt>
                <c:pt idx="2802" formatCode="#,##0_);\(#,##0\);&quot;-  &quot;;&quot; &quot;@&quot; &quot;">
                  <c:v>72.2</c:v>
                </c:pt>
                <c:pt idx="2803" formatCode="#,##0_);\(#,##0\);&quot;-  &quot;;&quot; &quot;@&quot; &quot;">
                  <c:v>71.400000000000006</c:v>
                </c:pt>
                <c:pt idx="2804" formatCode="#,##0_);\(#,##0\);&quot;-  &quot;;&quot; &quot;@&quot; &quot;">
                  <c:v>73.185000000000002</c:v>
                </c:pt>
                <c:pt idx="2805" formatCode="#,##0_);\(#,##0\);&quot;-  &quot;;&quot; &quot;@&quot; &quot;">
                  <c:v>73.355000000000004</c:v>
                </c:pt>
                <c:pt idx="2806" formatCode="#,##0_);\(#,##0\);&quot;-  &quot;;&quot; &quot;@&quot; &quot;">
                  <c:v>74.165000000000006</c:v>
                </c:pt>
                <c:pt idx="2807" formatCode="#,##0_);\(#,##0\);&quot;-  &quot;;&quot; &quot;@&quot; &quot;">
                  <c:v>75.569999999999993</c:v>
                </c:pt>
                <c:pt idx="2808" formatCode="#,##0_);\(#,##0\);&quot;-  &quot;;&quot; &quot;@&quot; &quot;">
                  <c:v>76.94</c:v>
                </c:pt>
                <c:pt idx="2809" formatCode="#,##0_);\(#,##0\);&quot;-  &quot;;&quot; &quot;@&quot; &quot;">
                  <c:v>76.114999999999995</c:v>
                </c:pt>
                <c:pt idx="2810" formatCode="#,##0_);\(#,##0\);&quot;-  &quot;;&quot; &quot;@&quot; &quot;">
                  <c:v>75.64</c:v>
                </c:pt>
                <c:pt idx="2811" formatCode="#,##0_);\(#,##0\);&quot;-  &quot;;&quot; &quot;@&quot; &quot;">
                  <c:v>74.064999999999998</c:v>
                </c:pt>
                <c:pt idx="2812" formatCode="#,##0_);\(#,##0\);&quot;-  &quot;;&quot; &quot;@&quot; &quot;">
                  <c:v>72.37</c:v>
                </c:pt>
                <c:pt idx="2813" formatCode="#,##0_);\(#,##0\);&quot;-  &quot;;&quot; &quot;@&quot; &quot;">
                  <c:v>72.915000000000006</c:v>
                </c:pt>
                <c:pt idx="2814" formatCode="#,##0_);\(#,##0\);&quot;-  &quot;;&quot; &quot;@&quot; &quot;">
                  <c:v>73.555000000000007</c:v>
                </c:pt>
                <c:pt idx="2815" formatCode="#,##0_);\(#,##0\);&quot;-  &quot;;&quot; &quot;@&quot; &quot;">
                  <c:v>73.67</c:v>
                </c:pt>
                <c:pt idx="2816" formatCode="#,##0_);\(#,##0\);&quot;-  &quot;;&quot; &quot;@&quot; &quot;">
                  <c:v>73.489999999999995</c:v>
                </c:pt>
                <c:pt idx="2817" formatCode="#,##0_);\(#,##0\);&quot;-  &quot;;&quot; &quot;@&quot; &quot;">
                  <c:v>74.534999999999997</c:v>
                </c:pt>
                <c:pt idx="2818" formatCode="#,##0_);\(#,##0\);&quot;-  &quot;;&quot; &quot;@&quot; &quot;">
                  <c:v>74.05</c:v>
                </c:pt>
                <c:pt idx="2819" formatCode="#,##0_);\(#,##0\);&quot;-  &quot;;&quot; &quot;@&quot; &quot;">
                  <c:v>74.52</c:v>
                </c:pt>
                <c:pt idx="2820" formatCode="#,##0_);\(#,##0\);&quot;-  &quot;;&quot; &quot;@&quot; &quot;">
                  <c:v>75.209999999999994</c:v>
                </c:pt>
                <c:pt idx="2821" formatCode="#,##0_);\(#,##0\);&quot;-  &quot;;&quot; &quot;@&quot; &quot;">
                  <c:v>76.114999999999995</c:v>
                </c:pt>
                <c:pt idx="2822" formatCode="#,##0_);\(#,##0\);&quot;-  &quot;;&quot; &quot;@&quot; &quot;">
                  <c:v>74.290000000000006</c:v>
                </c:pt>
                <c:pt idx="2823" formatCode="#,##0_);\(#,##0\);&quot;-  &quot;;&quot; &quot;@&quot; &quot;">
                  <c:v>74.584999999999994</c:v>
                </c:pt>
                <c:pt idx="2824" formatCode="#,##0_);\(#,##0\);&quot;-  &quot;;&quot; &quot;@&quot; &quot;">
                  <c:v>73.930000000000007</c:v>
                </c:pt>
                <c:pt idx="2825" formatCode="#,##0_);\(#,##0\);&quot;-  &quot;;&quot; &quot;@&quot; &quot;">
                  <c:v>73.864999999999995</c:v>
                </c:pt>
                <c:pt idx="2826" formatCode="#,##0_);\(#,##0\);&quot;-  &quot;;&quot; &quot;@&quot; &quot;">
                  <c:v>74.31</c:v>
                </c:pt>
                <c:pt idx="2827" formatCode="#,##0_);\(#,##0\);&quot;-  &quot;;&quot; &quot;@&quot; &quot;">
                  <c:v>73.05</c:v>
                </c:pt>
                <c:pt idx="2828" formatCode="#,##0_);\(#,##0\);&quot;-  &quot;;&quot; &quot;@&quot; &quot;">
                  <c:v>75.02</c:v>
                </c:pt>
                <c:pt idx="2829" formatCode="#,##0_);\(#,##0\);&quot;-  &quot;;&quot; &quot;@&quot; &quot;">
                  <c:v>74.94</c:v>
                </c:pt>
                <c:pt idx="2830" formatCode="#,##0_);\(#,##0\);&quot;-  &quot;;&quot; &quot;@&quot; &quot;">
                  <c:v>73.885000000000005</c:v>
                </c:pt>
                <c:pt idx="2831" formatCode="#,##0_);\(#,##0\);&quot;-  &quot;;&quot; &quot;@&quot; &quot;">
                  <c:v>72.739999999999995</c:v>
                </c:pt>
                <c:pt idx="2832" formatCode="#,##0_);\(#,##0\);&quot;-  &quot;;&quot; &quot;@&quot; &quot;">
                  <c:v>73.760000000000005</c:v>
                </c:pt>
                <c:pt idx="2833" formatCode="#,##0_);\(#,##0\);&quot;-  &quot;;&quot; &quot;@&quot; &quot;">
                  <c:v>73.894999999999996</c:v>
                </c:pt>
                <c:pt idx="2834" formatCode="#,##0_);\(#,##0\);&quot;-  &quot;;&quot; &quot;@&quot; &quot;">
                  <c:v>74.319999999999993</c:v>
                </c:pt>
                <c:pt idx="2835" formatCode="#,##0_);\(#,##0\);&quot;-  &quot;;&quot; &quot;@&quot; &quot;">
                  <c:v>73.61</c:v>
                </c:pt>
                <c:pt idx="2836" formatCode="#,##0_);\(#,##0\);&quot;-  &quot;;&quot; &quot;@&quot; &quot;">
                  <c:v>75.084999999999994</c:v>
                </c:pt>
                <c:pt idx="2837" formatCode="#,##0_);\(#,##0\);&quot;-  &quot;;&quot; &quot;@&quot; &quot;">
                  <c:v>74.739999999999995</c:v>
                </c:pt>
                <c:pt idx="2838" formatCode="#,##0_);\(#,##0\);&quot;-  &quot;;&quot; &quot;@&quot; &quot;">
                  <c:v>73.680000000000007</c:v>
                </c:pt>
                <c:pt idx="2839" formatCode="#,##0_);\(#,##0\);&quot;-  &quot;;&quot; &quot;@&quot; &quot;">
                  <c:v>74.995000000000005</c:v>
                </c:pt>
                <c:pt idx="2840" formatCode="#,##0_);\(#,##0\);&quot;-  &quot;;&quot; &quot;@&quot; &quot;">
                  <c:v>73.715000000000003</c:v>
                </c:pt>
                <c:pt idx="2841" formatCode="#,##0_);\(#,##0\);&quot;-  &quot;;&quot; &quot;@&quot; &quot;">
                  <c:v>73.540000000000006</c:v>
                </c:pt>
                <c:pt idx="2842" formatCode="#,##0_);\(#,##0\);&quot;-  &quot;;&quot; &quot;@&quot; &quot;">
                  <c:v>71.92</c:v>
                </c:pt>
                <c:pt idx="2843" formatCode="#,##0_);\(#,##0\);&quot;-  &quot;;&quot; &quot;@&quot; &quot;">
                  <c:v>73.165000000000006</c:v>
                </c:pt>
                <c:pt idx="2844" formatCode="#,##0_);\(#,##0\);&quot;-  &quot;;&quot; &quot;@&quot; &quot;">
                  <c:v>74.09</c:v>
                </c:pt>
                <c:pt idx="2845" formatCode="#,##0_);\(#,##0\);&quot;-  &quot;;&quot; &quot;@&quot; &quot;">
                  <c:v>74.09</c:v>
                </c:pt>
                <c:pt idx="2846" formatCode="#,##0_);\(#,##0\);&quot;-  &quot;;&quot; &quot;@&quot; &quot;">
                  <c:v>74.08</c:v>
                </c:pt>
                <c:pt idx="2847" formatCode="#,##0_);\(#,##0\);&quot;-  &quot;;&quot; &quot;@&quot; &quot;">
                  <c:v>74.644999999999996</c:v>
                </c:pt>
                <c:pt idx="2848" formatCode="#,##0_);\(#,##0\);&quot;-  &quot;;&quot; &quot;@&quot; &quot;">
                  <c:v>76.53</c:v>
                </c:pt>
                <c:pt idx="2849" formatCode="#,##0_);\(#,##0\);&quot;-  &quot;;&quot; &quot;@&quot; &quot;">
                  <c:v>76.760000000000005</c:v>
                </c:pt>
                <c:pt idx="2850" formatCode="#,##0_);\(#,##0\);&quot;-  &quot;;&quot; &quot;@&quot; &quot;">
                  <c:v>77.569999999999993</c:v>
                </c:pt>
                <c:pt idx="2851" formatCode="#,##0_);\(#,##0\);&quot;-  &quot;;&quot; &quot;@&quot; &quot;">
                  <c:v>77.89</c:v>
                </c:pt>
                <c:pt idx="2852" formatCode="#,##0_);\(#,##0\);&quot;-  &quot;;&quot; &quot;@&quot; &quot;">
                  <c:v>77.234999999999999</c:v>
                </c:pt>
                <c:pt idx="2853" formatCode="#,##0_);\(#,##0\);&quot;-  &quot;;&quot; &quot;@&quot; &quot;">
                  <c:v>78.05</c:v>
                </c:pt>
                <c:pt idx="2854" formatCode="#,##0_);\(#,##0\);&quot;-  &quot;;&quot; &quot;@&quot; &quot;">
                  <c:v>80.375</c:v>
                </c:pt>
                <c:pt idx="2855" formatCode="#,##0_);\(#,##0\);&quot;-  &quot;;&quot; &quot;@&quot; &quot;">
                  <c:v>82.974999999999994</c:v>
                </c:pt>
                <c:pt idx="2856" formatCode="#,##0_);\(#,##0\);&quot;-  &quot;;&quot; &quot;@&quot; &quot;">
                  <c:v>81.894999999999996</c:v>
                </c:pt>
                <c:pt idx="2857" formatCode="#,##0_);\(#,##0\);&quot;-  &quot;;&quot; &quot;@&quot; &quot;">
                  <c:v>83.06</c:v>
                </c:pt>
                <c:pt idx="2858" formatCode="#,##0_);\(#,##0\);&quot;-  &quot;;&quot; &quot;@&quot; &quot;">
                  <c:v>82.18</c:v>
                </c:pt>
                <c:pt idx="2859" formatCode="#,##0_);\(#,##0\);&quot;-  &quot;;&quot; &quot;@&quot; &quot;">
                  <c:v>82.254999999999995</c:v>
                </c:pt>
                <c:pt idx="2860" formatCode="#,##0_);\(#,##0\);&quot;-  &quot;;&quot; &quot;@&quot; &quot;">
                  <c:v>80.75</c:v>
                </c:pt>
                <c:pt idx="2861" formatCode="#,##0_);\(#,##0\);&quot;-  &quot;;&quot; &quot;@&quot; &quot;">
                  <c:v>80.319999999999993</c:v>
                </c:pt>
                <c:pt idx="2862" formatCode="#,##0_);\(#,##0\);&quot;-  &quot;;&quot; &quot;@&quot; &quot;">
                  <c:v>79.814999999999998</c:v>
                </c:pt>
                <c:pt idx="2863" formatCode="#,##0_);\(#,##0\);&quot;-  &quot;;&quot; &quot;@&quot; &quot;">
                  <c:v>78.78</c:v>
                </c:pt>
                <c:pt idx="2864" formatCode="#,##0_);\(#,##0\);&quot;-  &quot;;&quot; &quot;@&quot; &quot;">
                  <c:v>78.75</c:v>
                </c:pt>
                <c:pt idx="2865" formatCode="#,##0_);\(#,##0\);&quot;-  &quot;;&quot; &quot;@&quot; &quot;">
                  <c:v>77.91</c:v>
                </c:pt>
                <c:pt idx="2866" formatCode="#,##0_);\(#,##0\);&quot;-  &quot;;&quot; &quot;@&quot; &quot;">
                  <c:v>77.704999999999998</c:v>
                </c:pt>
                <c:pt idx="2867" formatCode="#,##0_);\(#,##0\);&quot;-  &quot;;&quot; &quot;@&quot; &quot;">
                  <c:v>77.825000000000003</c:v>
                </c:pt>
                <c:pt idx="2868" formatCode="#,##0_);\(#,##0\);&quot;-  &quot;;&quot; &quot;@&quot; &quot;">
                  <c:v>77.474999999999994</c:v>
                </c:pt>
                <c:pt idx="2869" formatCode="#,##0_);\(#,##0\);&quot;-  &quot;;&quot; &quot;@&quot; &quot;">
                  <c:v>77.05</c:v>
                </c:pt>
                <c:pt idx="2870" formatCode="#,##0_);\(#,##0\);&quot;-  &quot;;&quot; &quot;@&quot; &quot;">
                  <c:v>76.08</c:v>
                </c:pt>
                <c:pt idx="2871" formatCode="#,##0_);\(#,##0\);&quot;-  &quot;;&quot; &quot;@&quot; &quot;">
                  <c:v>76.364999999999995</c:v>
                </c:pt>
                <c:pt idx="2872" formatCode="#,##0_);\(#,##0\);&quot;-  &quot;;&quot; &quot;@&quot; &quot;">
                  <c:v>74.83</c:v>
                </c:pt>
                <c:pt idx="2873" formatCode="#,##0_);\(#,##0\);&quot;-  &quot;;&quot; &quot;@&quot; &quot;">
                  <c:v>75.025000000000006</c:v>
                </c:pt>
                <c:pt idx="2874" formatCode="#,##0_);\(#,##0\);&quot;-  &quot;;&quot; &quot;@&quot; &quot;">
                  <c:v>74.53</c:v>
                </c:pt>
                <c:pt idx="2875" formatCode="#,##0_);\(#,##0\);&quot;-  &quot;;&quot; &quot;@&quot; &quot;">
                  <c:v>76.125</c:v>
                </c:pt>
                <c:pt idx="2876" formatCode="#,##0_);\(#,##0\);&quot;-  &quot;;&quot; &quot;@&quot; &quot;">
                  <c:v>77.025000000000006</c:v>
                </c:pt>
                <c:pt idx="2877" formatCode="#,##0_);\(#,##0\);&quot;-  &quot;;&quot; &quot;@&quot; &quot;">
                  <c:v>75.844999999999999</c:v>
                </c:pt>
                <c:pt idx="2878" formatCode="#,##0_);\(#,##0\);&quot;-  &quot;;&quot; &quot;@&quot; &quot;">
                  <c:v>75.12</c:v>
                </c:pt>
                <c:pt idx="2879" formatCode="#,##0_);\(#,##0\);&quot;-  &quot;;&quot; &quot;@&quot; &quot;">
                  <c:v>74.864999999999995</c:v>
                </c:pt>
                <c:pt idx="2880" formatCode="#,##0_);\(#,##0\);&quot;-  &quot;;&quot; &quot;@&quot; &quot;">
                  <c:v>75.25</c:v>
                </c:pt>
                <c:pt idx="2881" formatCode="#,##0_);\(#,##0\);&quot;-  &quot;;&quot; &quot;@&quot; &quot;">
                  <c:v>75.709999999999994</c:v>
                </c:pt>
                <c:pt idx="2882" formatCode="#,##0_);\(#,##0\);&quot;-  &quot;;&quot; &quot;@&quot; &quot;">
                  <c:v>76.540000000000006</c:v>
                </c:pt>
                <c:pt idx="2883" formatCode="#,##0_);\(#,##0\);&quot;-  &quot;;&quot; &quot;@&quot; &quot;">
                  <c:v>76.98</c:v>
                </c:pt>
                <c:pt idx="2884" formatCode="#,##0_);\(#,##0\);&quot;-  &quot;;&quot; &quot;@&quot; &quot;">
                  <c:v>75.015000000000001</c:v>
                </c:pt>
                <c:pt idx="2885" formatCode="#,##0_);\(#,##0\);&quot;-  &quot;;&quot; &quot;@&quot; &quot;">
                  <c:v>74.564999999999998</c:v>
                </c:pt>
                <c:pt idx="2886" formatCode="#,##0_);\(#,##0\);&quot;-  &quot;;&quot; &quot;@&quot; &quot;">
                  <c:v>72.900000000000006</c:v>
                </c:pt>
                <c:pt idx="2887" formatCode="#,##0_);\(#,##0\);&quot;-  &quot;;&quot; &quot;@&quot; &quot;">
                  <c:v>72.86</c:v>
                </c:pt>
                <c:pt idx="2888" formatCode="#,##0_);\(#,##0\);&quot;-  &quot;;&quot; &quot;@&quot; &quot;">
                  <c:v>73.995000000000005</c:v>
                </c:pt>
                <c:pt idx="2889" formatCode="#,##0_);\(#,##0\);&quot;-  &quot;;&quot; &quot;@&quot; &quot;">
                  <c:v>73.474999999999994</c:v>
                </c:pt>
                <c:pt idx="2890" formatCode="#,##0_);\(#,##0\);&quot;-  &quot;;&quot; &quot;@&quot; &quot;">
                  <c:v>73.92</c:v>
                </c:pt>
                <c:pt idx="2891" formatCode="#,##0_);\(#,##0\);&quot;-  &quot;;&quot; &quot;@&quot; &quot;">
                  <c:v>71.784999999999997</c:v>
                </c:pt>
                <c:pt idx="2892" formatCode="#,##0_);\(#,##0\);&quot;-  &quot;;&quot; &quot;@&quot; &quot;">
                  <c:v>69.83</c:v>
                </c:pt>
                <c:pt idx="2893" formatCode="#,##0_);\(#,##0\);&quot;-  &quot;;&quot; &quot;@&quot; &quot;">
                  <c:v>70.305000000000007</c:v>
                </c:pt>
                <c:pt idx="2894" formatCode="#,##0_);\(#,##0\);&quot;-  &quot;;&quot; &quot;@&quot; &quot;">
                  <c:v>72.064999999999998</c:v>
                </c:pt>
                <c:pt idx="2895" formatCode="#,##0_);\(#,##0\);&quot;-  &quot;;&quot; &quot;@&quot; &quot;">
                  <c:v>71.034999999999997</c:v>
                </c:pt>
                <c:pt idx="2896" formatCode="#,##0_);\(#,##0\);&quot;-  &quot;;&quot; &quot;@&quot; &quot;">
                  <c:v>71.144999999999996</c:v>
                </c:pt>
                <c:pt idx="2897" formatCode="#,##0_);\(#,##0\);&quot;-  &quot;;&quot; &quot;@&quot; &quot;">
                  <c:v>72.23</c:v>
                </c:pt>
                <c:pt idx="2898" formatCode="#,##0_);\(#,##0\);&quot;-  &quot;;&quot; &quot;@&quot; &quot;">
                  <c:v>71.39</c:v>
                </c:pt>
                <c:pt idx="2899" formatCode="#,##0_);\(#,##0\);&quot;-  &quot;;&quot; &quot;@&quot; &quot;">
                  <c:v>71.66</c:v>
                </c:pt>
                <c:pt idx="2900" formatCode="#,##0_);\(#,##0\);&quot;-  &quot;;&quot; &quot;@&quot; &quot;">
                  <c:v>72.254999999999995</c:v>
                </c:pt>
                <c:pt idx="2901" formatCode="#,##0_);\(#,##0\);&quot;-  &quot;;&quot; &quot;@&quot; &quot;">
                  <c:v>71.73</c:v>
                </c:pt>
                <c:pt idx="2902" formatCode="#,##0_);\(#,##0\);&quot;-  &quot;;&quot; &quot;@&quot; &quot;">
                  <c:v>71.515000000000001</c:v>
                </c:pt>
                <c:pt idx="2903" formatCode="#,##0_);\(#,##0\);&quot;-  &quot;;&quot; &quot;@&quot; &quot;">
                  <c:v>72.540000000000006</c:v>
                </c:pt>
                <c:pt idx="2904" formatCode="#,##0_);\(#,##0\);&quot;-  &quot;;&quot; &quot;@&quot; &quot;">
                  <c:v>72.55</c:v>
                </c:pt>
                <c:pt idx="2905" formatCode="#,##0_);\(#,##0\);&quot;-  &quot;;&quot; &quot;@&quot; &quot;">
                  <c:v>73.924999999999997</c:v>
                </c:pt>
                <c:pt idx="2906" formatCode="#,##0_);\(#,##0\);&quot;-  &quot;;&quot; &quot;@&quot; &quot;">
                  <c:v>73.62</c:v>
                </c:pt>
                <c:pt idx="2907" formatCode="#,##0_);\(#,##0\);&quot;-  &quot;;&quot; &quot;@&quot; &quot;">
                  <c:v>74.875</c:v>
                </c:pt>
                <c:pt idx="2908" formatCode="#,##0_);\(#,##0\);&quot;-  &quot;;&quot; &quot;@&quot; &quot;">
                  <c:v>74.484999999999999</c:v>
                </c:pt>
                <c:pt idx="2909" formatCode="#,##0_);\(#,##0\);&quot;-  &quot;;&quot; &quot;@&quot; &quot;">
                  <c:v>74.489999999999995</c:v>
                </c:pt>
                <c:pt idx="2910" formatCode="#,##0_);\(#,##0\);&quot;-  &quot;;&quot; &quot;@&quot; &quot;">
                  <c:v>77.27</c:v>
                </c:pt>
                <c:pt idx="2911" formatCode="#,##0_);\(#,##0\);&quot;-  &quot;;&quot; &quot;@&quot; &quot;">
                  <c:v>77.680000000000007</c:v>
                </c:pt>
                <c:pt idx="2912" formatCode="#,##0_);\(#,##0\);&quot;-  &quot;;&quot; &quot;@&quot; &quot;">
                  <c:v>77.39</c:v>
                </c:pt>
                <c:pt idx="2913" formatCode="#,##0_);\(#,##0\);&quot;-  &quot;;&quot; &quot;@&quot; &quot;">
                  <c:v>72.489999999999995</c:v>
                </c:pt>
                <c:pt idx="2914" formatCode="#,##0_);\(#,##0\);&quot;-  &quot;;&quot; &quot;@&quot; &quot;">
                  <c:v>67.894999999999996</c:v>
                </c:pt>
                <c:pt idx="2915" formatCode="#,##0_);\(#,##0\);&quot;-  &quot;;&quot; &quot;@&quot; &quot;">
                  <c:v>66.680000000000007</c:v>
                </c:pt>
                <c:pt idx="2916" formatCode="#,##0_);\(#,##0\);&quot;-  &quot;;&quot; &quot;@&quot; &quot;">
                  <c:v>66.185000000000002</c:v>
                </c:pt>
                <c:pt idx="2917" formatCode="#,##0_);\(#,##0\);&quot;-  &quot;;&quot; &quot;@&quot; &quot;">
                  <c:v>62.685000000000002</c:v>
                </c:pt>
                <c:pt idx="2918" formatCode="#,##0_);\(#,##0\);&quot;-  &quot;;&quot; &quot;@&quot; &quot;">
                  <c:v>65.435000000000002</c:v>
                </c:pt>
                <c:pt idx="2919" formatCode="#,##0_);\(#,##0\);&quot;-  &quot;;&quot; &quot;@&quot; &quot;">
                  <c:v>65.97</c:v>
                </c:pt>
                <c:pt idx="2920" formatCode="#,##0_);\(#,##0\);&quot;-  &quot;;&quot; &quot;@&quot; &quot;">
                  <c:v>66.844999999999999</c:v>
                </c:pt>
                <c:pt idx="2921" formatCode="#,##0_);\(#,##0\);&quot;-  &quot;;&quot; &quot;@&quot; &quot;">
                  <c:v>66.415000000000006</c:v>
                </c:pt>
                <c:pt idx="2922" formatCode="#,##0_);\(#,##0\);&quot;-  &quot;;&quot; &quot;@&quot; &quot;">
                  <c:v>67.635000000000005</c:v>
                </c:pt>
                <c:pt idx="2923" formatCode="#,##0_);\(#,##0\);&quot;-  &quot;;&quot; &quot;@&quot; &quot;">
                  <c:v>68.45</c:v>
                </c:pt>
                <c:pt idx="2924" formatCode="#,##0_);\(#,##0\);&quot;-  &quot;;&quot; &quot;@&quot; &quot;">
                  <c:v>68.989999999999995</c:v>
                </c:pt>
                <c:pt idx="2925" formatCode="#,##0_);\(#,##0\);&quot;-  &quot;;&quot; &quot;@&quot; &quot;">
                  <c:v>68.989999999999995</c:v>
                </c:pt>
                <c:pt idx="2926" formatCode="#,##0_);\(#,##0\);&quot;-  &quot;;&quot; &quot;@&quot; &quot;">
                  <c:v>66.94</c:v>
                </c:pt>
                <c:pt idx="2927" formatCode="#,##0_);\(#,##0\);&quot;-  &quot;;&quot; &quot;@&quot; &quot;">
                  <c:v>67.234999999999999</c:v>
                </c:pt>
                <c:pt idx="2928" formatCode="#,##0_);\(#,##0\);&quot;-  &quot;;&quot; &quot;@&quot; &quot;">
                  <c:v>67.495000000000005</c:v>
                </c:pt>
                <c:pt idx="2929" formatCode="#,##0_);\(#,##0\);&quot;-  &quot;;&quot; &quot;@&quot; &quot;">
                  <c:v>65.674999999999997</c:v>
                </c:pt>
                <c:pt idx="2930" formatCode="#,##0_);\(#,##0\);&quot;-  &quot;;&quot; &quot;@&quot; &quot;">
                  <c:v>64.349999999999994</c:v>
                </c:pt>
                <c:pt idx="2931" formatCode="#,##0_);\(#,##0\);&quot;-  &quot;;&quot; &quot;@&quot; &quot;">
                  <c:v>63.274999999999999</c:v>
                </c:pt>
                <c:pt idx="2932" formatCode="#,##0_);\(#,##0\);&quot;-  &quot;;&quot; &quot;@&quot; &quot;">
                  <c:v>61.534999999999997</c:v>
                </c:pt>
                <c:pt idx="2933" formatCode="#,##0_);\(#,##0\);&quot;-  &quot;;&quot; &quot;@&quot; &quot;">
                  <c:v>61.405000000000001</c:v>
                </c:pt>
                <c:pt idx="2934" formatCode="#,##0_);\(#,##0\);&quot;-  &quot;;&quot; &quot;@&quot; &quot;">
                  <c:v>61.405000000000001</c:v>
                </c:pt>
                <c:pt idx="2935" formatCode="#,##0_);\(#,##0\);&quot;-  &quot;;&quot; &quot;@&quot; &quot;">
                  <c:v>62.74</c:v>
                </c:pt>
                <c:pt idx="2936" formatCode="#,##0_);\(#,##0\);&quot;-  &quot;;&quot; &quot;@&quot; &quot;">
                  <c:v>61.09</c:v>
                </c:pt>
                <c:pt idx="2937" formatCode="#,##0_);\(#,##0\);&quot;-  &quot;;&quot; &quot;@&quot; &quot;">
                  <c:v>62.314999999999998</c:v>
                </c:pt>
                <c:pt idx="2938" formatCode="#,##0_);\(#,##0\);&quot;-  &quot;;&quot; &quot;@&quot; &quot;">
                  <c:v>63.59</c:v>
                </c:pt>
                <c:pt idx="2939" formatCode="#,##0_);\(#,##0\);&quot;-  &quot;;&quot; &quot;@&quot; &quot;">
                  <c:v>65.064999999999998</c:v>
                </c:pt>
                <c:pt idx="2940" formatCode="#,##0_);\(#,##0\);&quot;-  &quot;;&quot; &quot;@&quot; &quot;">
                  <c:v>66.08</c:v>
                </c:pt>
                <c:pt idx="2941" formatCode="#,##0_);\(#,##0\);&quot;-  &quot;;&quot; &quot;@&quot; &quot;">
                  <c:v>65.935000000000002</c:v>
                </c:pt>
                <c:pt idx="2942" formatCode="#,##0_);\(#,##0\);&quot;-  &quot;;&quot; &quot;@&quot; &quot;">
                  <c:v>64.040000000000006</c:v>
                </c:pt>
                <c:pt idx="2943" formatCode="#,##0_);\(#,##0\);&quot;-  &quot;;&quot; &quot;@&quot; &quot;">
                  <c:v>65.094999999999999</c:v>
                </c:pt>
                <c:pt idx="2944" formatCode="#,##0_);\(#,##0\);&quot;-  &quot;;&quot; &quot;@&quot; &quot;">
                  <c:v>0</c:v>
                </c:pt>
                <c:pt idx="2945" formatCode="#,##0_);\(#,##0\);&quot;-  &quot;;&quot; &quot;@&quot; &quot;">
                  <c:v>0</c:v>
                </c:pt>
                <c:pt idx="2946" formatCode="#,##0_);\(#,##0\);&quot;-  &quot;;&quot; &quot;@&quot; &quot;">
                  <c:v>0</c:v>
                </c:pt>
                <c:pt idx="2947" formatCode="#,##0_);\(#,##0\);&quot;-  &quot;;&quot; &quot;@&quot; &quot;">
                  <c:v>0</c:v>
                </c:pt>
                <c:pt idx="2948" formatCode="#,##0_);\(#,##0\);&quot;-  &quot;;&quot; &quot;@&quot; &quot;">
                  <c:v>0</c:v>
                </c:pt>
                <c:pt idx="2949" formatCode="#,##0_);\(#,##0\);&quot;-  &quot;;&quot; &quot;@&quot; &quot;">
                  <c:v>0</c:v>
                </c:pt>
                <c:pt idx="2950" formatCode="#,##0_);\(#,##0\);&quot;-  &quot;;&quot; &quot;@&quot; &quot;">
                  <c:v>0</c:v>
                </c:pt>
                <c:pt idx="2951" formatCode="#,##0_);\(#,##0\);&quot;-  &quot;;&quot; &quot;@&quot; &quot;">
                  <c:v>0</c:v>
                </c:pt>
                <c:pt idx="2952" formatCode="#,##0_);\(#,##0\);&quot;-  &quot;;&quot; &quot;@&quot; &quot;">
                  <c:v>0</c:v>
                </c:pt>
                <c:pt idx="2953" formatCode="#,##0_);\(#,##0\);&quot;-  &quot;;&quot; &quot;@&quot; &quot;">
                  <c:v>0</c:v>
                </c:pt>
                <c:pt idx="2954" formatCode="#,##0_);\(#,##0\);&quot;-  &quot;;&quot; &quot;@&quot; &quot;">
                  <c:v>0</c:v>
                </c:pt>
                <c:pt idx="2955" formatCode="#,##0_);\(#,##0\);&quot;-  &quot;;&quot; &quot;@&quot; &quot;">
                  <c:v>0</c:v>
                </c:pt>
                <c:pt idx="2956" formatCode="#,##0_);\(#,##0\);&quot;-  &quot;;&quot; &quot;@&quot; &quot;">
                  <c:v>0</c:v>
                </c:pt>
                <c:pt idx="2957" formatCode="#,##0_);\(#,##0\);&quot;-  &quot;;&quot; &quot;@&quot; &quot;">
                  <c:v>0</c:v>
                </c:pt>
                <c:pt idx="2958" formatCode="#,##0_);\(#,##0\);&quot;-  &quot;;&quot; &quot;@&quot; &quot;">
                  <c:v>0</c:v>
                </c:pt>
                <c:pt idx="2959" formatCode="#,##0_);\(#,##0\);&quot;-  &quot;;&quot; &quot;@&quot; &quot;">
                  <c:v>0</c:v>
                </c:pt>
                <c:pt idx="2960" formatCode="#,##0_);\(#,##0\);&quot;-  &quot;;&quot; &quot;@&quot; &quot;">
                  <c:v>0</c:v>
                </c:pt>
                <c:pt idx="2961" formatCode="#,##0_);\(#,##0\);&quot;-  &quot;;&quot; &quot;@&quot; &quot;">
                  <c:v>0</c:v>
                </c:pt>
                <c:pt idx="2962" formatCode="#,##0_);\(#,##0\);&quot;-  &quot;;&quot; &quot;@&quot; &quot;">
                  <c:v>0</c:v>
                </c:pt>
                <c:pt idx="2963" formatCode="#,##0_);\(#,##0\);&quot;-  &quot;;&quot; &quot;@&quot; &quot;">
                  <c:v>0</c:v>
                </c:pt>
                <c:pt idx="2964" formatCode="#,##0_);\(#,##0\);&quot;-  &quot;;&quot; &quot;@&quot; &quot;">
                  <c:v>0</c:v>
                </c:pt>
                <c:pt idx="2965" formatCode="#,##0_);\(#,##0\);&quot;-  &quot;;&quot; &quot;@&quot; &quot;">
                  <c:v>0</c:v>
                </c:pt>
                <c:pt idx="2966" formatCode="#,##0_);\(#,##0\);&quot;-  &quot;;&quot; &quot;@&quot; &quot;">
                  <c:v>0</c:v>
                </c:pt>
                <c:pt idx="2967" formatCode="#,##0_);\(#,##0\);&quot;-  &quot;;&quot; &quot;@&quot; &quot;">
                  <c:v>0</c:v>
                </c:pt>
                <c:pt idx="2968" formatCode="#,##0_);\(#,##0\);&quot;-  &quot;;&quot; &quot;@&quot; &quot;">
                  <c:v>0</c:v>
                </c:pt>
                <c:pt idx="2969" formatCode="#,##0_);\(#,##0\);&quot;-  &quot;;&quot; &quot;@&quot; &quot;">
                  <c:v>0</c:v>
                </c:pt>
                <c:pt idx="2970" formatCode="#,##0_);\(#,##0\);&quot;-  &quot;;&quot; &quot;@&quot; &quot;">
                  <c:v>0</c:v>
                </c:pt>
                <c:pt idx="2971" formatCode="#,##0_);\(#,##0\);&quot;-  &quot;;&quot; &quot;@&quot; &quot;">
                  <c:v>0</c:v>
                </c:pt>
                <c:pt idx="2972" formatCode="#,##0_);\(#,##0\);&quot;-  &quot;;&quot; &quot;@&quot; &quot;">
                  <c:v>0</c:v>
                </c:pt>
                <c:pt idx="2973" formatCode="#,##0_);\(#,##0\);&quot;-  &quot;;&quot; &quot;@&quot; &quot;">
                  <c:v>0</c:v>
                </c:pt>
                <c:pt idx="2974" formatCode="#,##0_);\(#,##0\);&quot;-  &quot;;&quot; &quot;@&quot; &quot;">
                  <c:v>0</c:v>
                </c:pt>
                <c:pt idx="2975" formatCode="#,##0_);\(#,##0\);&quot;-  &quot;;&quot; &quot;@&quot; &quot;">
                  <c:v>0</c:v>
                </c:pt>
                <c:pt idx="2976" formatCode="#,##0_);\(#,##0\);&quot;-  &quot;;&quot; &quot;@&quot; &quot;">
                  <c:v>0</c:v>
                </c:pt>
                <c:pt idx="2977" formatCode="#,##0_);\(#,##0\);&quot;-  &quot;;&quot; &quot;@&quot; &quot;">
                  <c:v>0</c:v>
                </c:pt>
                <c:pt idx="2978" formatCode="#,##0_);\(#,##0\);&quot;-  &quot;;&quot; &quot;@&quot; &quot;">
                  <c:v>0</c:v>
                </c:pt>
                <c:pt idx="2979" formatCode="#,##0_);\(#,##0\);&quot;-  &quot;;&quot; &quot;@&quot; &quot;">
                  <c:v>0</c:v>
                </c:pt>
                <c:pt idx="2980" formatCode="#,##0_);\(#,##0\);&quot;-  &quot;;&quot; &quot;@&quot; &quot;">
                  <c:v>0</c:v>
                </c:pt>
                <c:pt idx="2981" formatCode="#,##0_);\(#,##0\);&quot;-  &quot;;&quot; &quot;@&quot; &quot;">
                  <c:v>0</c:v>
                </c:pt>
                <c:pt idx="2982" formatCode="#,##0_);\(#,##0\);&quot;-  &quot;;&quot; &quot;@&quot; &quot;">
                  <c:v>0</c:v>
                </c:pt>
                <c:pt idx="2983" formatCode="#,##0_);\(#,##0\);&quot;-  &quot;;&quot; &quot;@&quot; &quot;">
                  <c:v>0</c:v>
                </c:pt>
                <c:pt idx="2984" formatCode="#,##0_);\(#,##0\);&quot;-  &quot;;&quot; &quot;@&quot; &quot;">
                  <c:v>0</c:v>
                </c:pt>
                <c:pt idx="2985" formatCode="#,##0_);\(#,##0\);&quot;-  &quot;;&quot; &quot;@&quot; &quot;">
                  <c:v>0</c:v>
                </c:pt>
                <c:pt idx="2986" formatCode="#,##0_);\(#,##0\);&quot;-  &quot;;&quot; &quot;@&quot; &quot;">
                  <c:v>0</c:v>
                </c:pt>
                <c:pt idx="2987" formatCode="#,##0_);\(#,##0\);&quot;-  &quot;;&quot; &quot;@&quot; &quot;">
                  <c:v>0</c:v>
                </c:pt>
                <c:pt idx="2988" formatCode="#,##0_);\(#,##0\);&quot;-  &quot;;&quot; &quot;@&quot; &quot;">
                  <c:v>0</c:v>
                </c:pt>
                <c:pt idx="2989" formatCode="#,##0_);\(#,##0\);&quot;-  &quot;;&quot; &quot;@&quot; &quot;">
                  <c:v>0</c:v>
                </c:pt>
                <c:pt idx="2990" formatCode="#,##0_);\(#,##0\);&quot;-  &quot;;&quot; &quot;@&quot; &quot;">
                  <c:v>0</c:v>
                </c:pt>
                <c:pt idx="2991" formatCode="#,##0_);\(#,##0\);&quot;-  &quot;;&quot; &quot;@&quot; &quot;">
                  <c:v>0</c:v>
                </c:pt>
                <c:pt idx="2992" formatCode="#,##0_);\(#,##0\);&quot;-  &quot;;&quot; &quot;@&quot; &quot;">
                  <c:v>0</c:v>
                </c:pt>
                <c:pt idx="2993" formatCode="#,##0_);\(#,##0\);&quot;-  &quot;;&quot; &quot;@&quot; &quot;">
                  <c:v>0</c:v>
                </c:pt>
                <c:pt idx="2994" formatCode="#,##0_);\(#,##0\);&quot;-  &quot;;&quot; &quot;@&quot; &quot;">
                  <c:v>0</c:v>
                </c:pt>
                <c:pt idx="2995" formatCode="#,##0_);\(#,##0\);&quot;-  &quot;;&quot; &quot;@&quot; &quot;">
                  <c:v>0</c:v>
                </c:pt>
                <c:pt idx="2996" formatCode="#,##0_);\(#,##0\);&quot;-  &quot;;&quot; &quot;@&quot; &quot;">
                  <c:v>0</c:v>
                </c:pt>
                <c:pt idx="2997" formatCode="#,##0_);\(#,##0\);&quot;-  &quot;;&quot; &quot;@&quot; &quot;">
                  <c:v>0</c:v>
                </c:pt>
                <c:pt idx="2998" formatCode="#,##0_);\(#,##0\);&quot;-  &quot;;&quot; &quot;@&quot; &quot;">
                  <c:v>0</c:v>
                </c:pt>
                <c:pt idx="2999" formatCode="#,##0_);\(#,##0\);&quot;-  &quot;;&quot; &quot;@&quot; &quot;">
                  <c:v>0</c:v>
                </c:pt>
                <c:pt idx="3000" formatCode="#,##0_);\(#,##0\);&quot;-  &quot;;&quot; &quot;@&quot; &quot;">
                  <c:v>0</c:v>
                </c:pt>
                <c:pt idx="3001" formatCode="#,##0_);\(#,##0\);&quot;-  &quot;;&quot; &quot;@&quot; &quot;">
                  <c:v>0</c:v>
                </c:pt>
                <c:pt idx="3002" formatCode="#,##0_);\(#,##0\);&quot;-  &quot;;&quot; &quot;@&quot; &quot;">
                  <c:v>0</c:v>
                </c:pt>
                <c:pt idx="3003" formatCode="#,##0_);\(#,##0\);&quot;-  &quot;;&quot; &quot;@&quot; &quot;">
                  <c:v>0</c:v>
                </c:pt>
                <c:pt idx="3004" formatCode="#,##0_);\(#,##0\);&quot;-  &quot;;&quot; &quot;@&quot; &quot;">
                  <c:v>0</c:v>
                </c:pt>
                <c:pt idx="3005" formatCode="#,##0_);\(#,##0\);&quot;-  &quot;;&quot; &quot;@&quot; &quot;">
                  <c:v>0</c:v>
                </c:pt>
                <c:pt idx="3006" formatCode="#,##0_);\(#,##0\);&quot;-  &quot;;&quot; &quot;@&quot; &quot;">
                  <c:v>0</c:v>
                </c:pt>
                <c:pt idx="3007" formatCode="#,##0_);\(#,##0\);&quot;-  &quot;;&quot; &quot;@&quot; &quot;">
                  <c:v>0</c:v>
                </c:pt>
                <c:pt idx="3008" formatCode="#,##0_);\(#,##0\);&quot;-  &quot;;&quot; &quot;@&quot; &quot;">
                  <c:v>0</c:v>
                </c:pt>
                <c:pt idx="3009" formatCode="#,##0_);\(#,##0\);&quot;-  &quot;;&quot; &quot;@&quot; &quot;">
                  <c:v>0</c:v>
                </c:pt>
                <c:pt idx="3010" formatCode="#,##0_);\(#,##0\);&quot;-  &quot;;&quot; &quot;@&quot; &quot;">
                  <c:v>0</c:v>
                </c:pt>
                <c:pt idx="3011" formatCode="#,##0_);\(#,##0\);&quot;-  &quot;;&quot; &quot;@&quot; &quot;">
                  <c:v>0</c:v>
                </c:pt>
                <c:pt idx="3012" formatCode="#,##0_);\(#,##0\);&quot;-  &quot;;&quot; &quot;@&quot; &quot;">
                  <c:v>0</c:v>
                </c:pt>
                <c:pt idx="3013" formatCode="#,##0_);\(#,##0\);&quot;-  &quot;;&quot; &quot;@&quot; &quot;">
                  <c:v>0</c:v>
                </c:pt>
                <c:pt idx="3014" formatCode="#,##0_);\(#,##0\);&quot;-  &quot;;&quot; &quot;@&quot; &quot;">
                  <c:v>0</c:v>
                </c:pt>
                <c:pt idx="3015" formatCode="#,##0_);\(#,##0\);&quot;-  &quot;;&quot; &quot;@&quot; &quot;">
                  <c:v>0</c:v>
                </c:pt>
                <c:pt idx="3016" formatCode="#,##0_);\(#,##0\);&quot;-  &quot;;&quot; &quot;@&quot; &quot;">
                  <c:v>0</c:v>
                </c:pt>
                <c:pt idx="3017" formatCode="#,##0_);\(#,##0\);&quot;-  &quot;;&quot; &quot;@&quot; &quot;">
                  <c:v>0</c:v>
                </c:pt>
                <c:pt idx="3018" formatCode="#,##0_);\(#,##0\);&quot;-  &quot;;&quot; &quot;@&quot; &quot;">
                  <c:v>0</c:v>
                </c:pt>
                <c:pt idx="3019" formatCode="#,##0_);\(#,##0\);&quot;-  &quot;;&quot; &quot;@&quot; &quot;">
                  <c:v>0</c:v>
                </c:pt>
                <c:pt idx="3020" formatCode="#,##0_);\(#,##0\);&quot;-  &quot;;&quot; &quot;@&quot; &quot;">
                  <c:v>0</c:v>
                </c:pt>
                <c:pt idx="3021" formatCode="#,##0_);\(#,##0\);&quot;-  &quot;;&quot; &quot;@&quot; &quot;">
                  <c:v>0</c:v>
                </c:pt>
                <c:pt idx="3022" formatCode="#,##0_);\(#,##0\);&quot;-  &quot;;&quot; &quot;@&quot; &quot;">
                  <c:v>0</c:v>
                </c:pt>
                <c:pt idx="3023" formatCode="#,##0_);\(#,##0\);&quot;-  &quot;;&quot; &quot;@&quot; &quot;">
                  <c:v>0</c:v>
                </c:pt>
                <c:pt idx="3024" formatCode="#,##0_);\(#,##0\);&quot;-  &quot;;&quot; &quot;@&quot; &quot;">
                  <c:v>0</c:v>
                </c:pt>
                <c:pt idx="3025" formatCode="#,##0_);\(#,##0\);&quot;-  &quot;;&quot; &quot;@&quot; &quot;">
                  <c:v>0</c:v>
                </c:pt>
                <c:pt idx="3026" formatCode="#,##0_);\(#,##0\);&quot;-  &quot;;&quot; &quot;@&quot; &quot;">
                  <c:v>0</c:v>
                </c:pt>
                <c:pt idx="3027" formatCode="#,##0_);\(#,##0\);&quot;-  &quot;;&quot; &quot;@&quot; &quot;">
                  <c:v>0</c:v>
                </c:pt>
                <c:pt idx="3028" formatCode="#,##0_);\(#,##0\);&quot;-  &quot;;&quot; &quot;@&quot; &quot;">
                  <c:v>0</c:v>
                </c:pt>
                <c:pt idx="3029" formatCode="#,##0_);\(#,##0\);&quot;-  &quot;;&quot; &quot;@&quot; &quot;">
                  <c:v>0</c:v>
                </c:pt>
                <c:pt idx="3030" formatCode="#,##0_);\(#,##0\);&quot;-  &quot;;&quot; &quot;@&quot; &quot;">
                  <c:v>0</c:v>
                </c:pt>
                <c:pt idx="3031" formatCode="#,##0_);\(#,##0\);&quot;-  &quot;;&quot; &quot;@&quot; &quot;">
                  <c:v>0</c:v>
                </c:pt>
                <c:pt idx="3032" formatCode="#,##0_);\(#,##0\);&quot;-  &quot;;&quot; &quot;@&quot; &quot;">
                  <c:v>0</c:v>
                </c:pt>
                <c:pt idx="3033" formatCode="#,##0_);\(#,##0\);&quot;-  &quot;;&quot; &quot;@&quot; &quot;">
                  <c:v>0</c:v>
                </c:pt>
                <c:pt idx="3034" formatCode="#,##0_);\(#,##0\);&quot;-  &quot;;&quot; &quot;@&quot; &quot;">
                  <c:v>0</c:v>
                </c:pt>
                <c:pt idx="3035" formatCode="#,##0_);\(#,##0\);&quot;-  &quot;;&quot; &quot;@&quot; &quot;">
                  <c:v>0</c:v>
                </c:pt>
                <c:pt idx="3036" formatCode="#,##0_);\(#,##0\);&quot;-  &quot;;&quot; &quot;@&quot; &quot;">
                  <c:v>0</c:v>
                </c:pt>
                <c:pt idx="3037" formatCode="#,##0_);\(#,##0\);&quot;-  &quot;;&quot; &quot;@&quot; &quot;">
                  <c:v>0</c:v>
                </c:pt>
                <c:pt idx="3038" formatCode="#,##0_);\(#,##0\);&quot;-  &quot;;&quot; &quot;@&quot; &quot;">
                  <c:v>0</c:v>
                </c:pt>
                <c:pt idx="3039" formatCode="#,##0_);\(#,##0\);&quot;-  &quot;;&quot; &quot;@&quot; &quot;">
                  <c:v>0</c:v>
                </c:pt>
                <c:pt idx="3040" formatCode="#,##0_);\(#,##0\);&quot;-  &quot;;&quot; &quot;@&quot; &quot;">
                  <c:v>0</c:v>
                </c:pt>
                <c:pt idx="3041" formatCode="#,##0_);\(#,##0\);&quot;-  &quot;;&quot; &quot;@&quot; &quot;">
                  <c:v>0</c:v>
                </c:pt>
                <c:pt idx="3042" formatCode="#,##0_);\(#,##0\);&quot;-  &quot;;&quot; &quot;@&quot; &quot;">
                  <c:v>0</c:v>
                </c:pt>
                <c:pt idx="3043" formatCode="#,##0_);\(#,##0\);&quot;-  &quot;;&quot; &quot;@&quot; &quot;">
                  <c:v>0</c:v>
                </c:pt>
                <c:pt idx="3044" formatCode="#,##0_);\(#,##0\);&quot;-  &quot;;&quot; &quot;@&quot; &quot;">
                  <c:v>0</c:v>
                </c:pt>
                <c:pt idx="3045" formatCode="#,##0_);\(#,##0\);&quot;-  &quot;;&quot; &quot;@&quot; &quot;">
                  <c:v>0</c:v>
                </c:pt>
                <c:pt idx="3046" formatCode="#,##0_);\(#,##0\);&quot;-  &quot;;&quot; &quot;@&quot; &quot;">
                  <c:v>0</c:v>
                </c:pt>
                <c:pt idx="3047" formatCode="#,##0_);\(#,##0\);&quot;-  &quot;;&quot; &quot;@&quot; &quot;">
                  <c:v>0</c:v>
                </c:pt>
                <c:pt idx="3048" formatCode="#,##0_);\(#,##0\);&quot;-  &quot;;&quot; &quot;@&quot; &quot;">
                  <c:v>0</c:v>
                </c:pt>
                <c:pt idx="3049" formatCode="#,##0_);\(#,##0\);&quot;-  &quot;;&quot; &quot;@&quot; &quot;">
                  <c:v>0</c:v>
                </c:pt>
                <c:pt idx="3050" formatCode="#,##0_);\(#,##0\);&quot;-  &quot;;&quot; &quot;@&quot; &quot;">
                  <c:v>0</c:v>
                </c:pt>
                <c:pt idx="3051" formatCode="#,##0_);\(#,##0\);&quot;-  &quot;;&quot; &quot;@&quot; &quot;">
                  <c:v>0</c:v>
                </c:pt>
                <c:pt idx="3052" formatCode="#,##0_);\(#,##0\);&quot;-  &quot;;&quot; &quot;@&quot; &quot;">
                  <c:v>0</c:v>
                </c:pt>
                <c:pt idx="3053" formatCode="#,##0_);\(#,##0\);&quot;-  &quot;;&quot; &quot;@&quot; &quot;">
                  <c:v>0</c:v>
                </c:pt>
                <c:pt idx="3054" formatCode="#,##0_);\(#,##0\);&quot;-  &quot;;&quot; &quot;@&quot; &quot;">
                  <c:v>0</c:v>
                </c:pt>
                <c:pt idx="3055" formatCode="#,##0_);\(#,##0\);&quot;-  &quot;;&quot; &quot;@&quot; &quot;">
                  <c:v>0</c:v>
                </c:pt>
                <c:pt idx="3056" formatCode="#,##0_);\(#,##0\);&quot;-  &quot;;&quot; &quot;@&quot; &quot;">
                  <c:v>0</c:v>
                </c:pt>
                <c:pt idx="3057" formatCode="#,##0_);\(#,##0\);&quot;-  &quot;;&quot; &quot;@&quot; &quot;">
                  <c:v>0</c:v>
                </c:pt>
                <c:pt idx="3058" formatCode="#,##0_);\(#,##0\);&quot;-  &quot;;&quot; &quot;@&quot; &quot;">
                  <c:v>0</c:v>
                </c:pt>
                <c:pt idx="3059" formatCode="#,##0_);\(#,##0\);&quot;-  &quot;;&quot; &quot;@&quot; &quot;">
                  <c:v>0</c:v>
                </c:pt>
                <c:pt idx="3060" formatCode="#,##0_);\(#,##0\);&quot;-  &quot;;&quot; &quot;@&quot; &quot;">
                  <c:v>0</c:v>
                </c:pt>
                <c:pt idx="3061" formatCode="#,##0_);\(#,##0\);&quot;-  &quot;;&quot; &quot;@&quot; &quot;">
                  <c:v>0</c:v>
                </c:pt>
                <c:pt idx="3062" formatCode="#,##0_);\(#,##0\);&quot;-  &quot;;&quot; &quot;@&quot; &quot;">
                  <c:v>0</c:v>
                </c:pt>
                <c:pt idx="3063" formatCode="#,##0_);\(#,##0\);&quot;-  &quot;;&quot; &quot;@&quot; &quot;">
                  <c:v>0</c:v>
                </c:pt>
                <c:pt idx="3064" formatCode="#,##0_);\(#,##0\);&quot;-  &quot;;&quot; &quot;@&quot; &quot;">
                  <c:v>0</c:v>
                </c:pt>
                <c:pt idx="3065" formatCode="#,##0_);\(#,##0\);&quot;-  &quot;;&quot; &quot;@&quot; &quot;">
                  <c:v>0</c:v>
                </c:pt>
                <c:pt idx="3066" formatCode="#,##0_);\(#,##0\);&quot;-  &quot;;&quot; &quot;@&quot; &quot;">
                  <c:v>0</c:v>
                </c:pt>
                <c:pt idx="3067" formatCode="#,##0_);\(#,##0\);&quot;-  &quot;;&quot; &quot;@&quot; &quot;">
                  <c:v>0</c:v>
                </c:pt>
                <c:pt idx="3068" formatCode="#,##0_);\(#,##0\);&quot;-  &quot;;&quot; &quot;@&quot; &quot;">
                  <c:v>0</c:v>
                </c:pt>
                <c:pt idx="3069" formatCode="#,##0_);\(#,##0\);&quot;-  &quot;;&quot; &quot;@&quot; &quot;">
                  <c:v>0</c:v>
                </c:pt>
                <c:pt idx="3070" formatCode="#,##0_);\(#,##0\);&quot;-  &quot;;&quot; &quot;@&quot; &quot;">
                  <c:v>0</c:v>
                </c:pt>
                <c:pt idx="3071" formatCode="#,##0_);\(#,##0\);&quot;-  &quot;;&quot; &quot;@&quot; &quot;">
                  <c:v>0</c:v>
                </c:pt>
                <c:pt idx="3072" formatCode="#,##0_);\(#,##0\);&quot;-  &quot;;&quot; &quot;@&quot; &quot;">
                  <c:v>0</c:v>
                </c:pt>
                <c:pt idx="3073" formatCode="#,##0_);\(#,##0\);&quot;-  &quot;;&quot; &quot;@&quot; &quot;">
                  <c:v>0</c:v>
                </c:pt>
                <c:pt idx="3074" formatCode="#,##0_);\(#,##0\);&quot;-  &quot;;&quot; &quot;@&quot; &quot;">
                  <c:v>0</c:v>
                </c:pt>
                <c:pt idx="3075" formatCode="#,##0_);\(#,##0\);&quot;-  &quot;;&quot; &quot;@&quot; &quot;">
                  <c:v>0</c:v>
                </c:pt>
                <c:pt idx="3076" formatCode="#,##0_);\(#,##0\);&quot;-  &quot;;&quot; &quot;@&quot; &quot;">
                  <c:v>0</c:v>
                </c:pt>
                <c:pt idx="3077" formatCode="#,##0_);\(#,##0\);&quot;-  &quot;;&quot; &quot;@&quot; &quot;">
                  <c:v>0</c:v>
                </c:pt>
                <c:pt idx="3078" formatCode="#,##0_);\(#,##0\);&quot;-  &quot;;&quot; &quot;@&quot; &quot;">
                  <c:v>0</c:v>
                </c:pt>
                <c:pt idx="3079" formatCode="#,##0_);\(#,##0\);&quot;-  &quot;;&quot; &quot;@&quot; &quot;">
                  <c:v>0</c:v>
                </c:pt>
                <c:pt idx="3080" formatCode="#,##0_);\(#,##0\);&quot;-  &quot;;&quot; &quot;@&quot; &quot;">
                  <c:v>0</c:v>
                </c:pt>
                <c:pt idx="3081" formatCode="#,##0_);\(#,##0\);&quot;-  &quot;;&quot; &quot;@&quot; &quot;">
                  <c:v>0</c:v>
                </c:pt>
                <c:pt idx="3082" formatCode="#,##0_);\(#,##0\);&quot;-  &quot;;&quot; &quot;@&quot; &quot;">
                  <c:v>0</c:v>
                </c:pt>
                <c:pt idx="3083" formatCode="#,##0_);\(#,##0\);&quot;-  &quot;;&quot; &quot;@&quot; &quot;">
                  <c:v>0</c:v>
                </c:pt>
                <c:pt idx="3084" formatCode="#,##0_);\(#,##0\);&quot;-  &quot;;&quot; &quot;@&quot; &quot;">
                  <c:v>0</c:v>
                </c:pt>
                <c:pt idx="3085" formatCode="#,##0_);\(#,##0\);&quot;-  &quot;;&quot; &quot;@&quot; &quot;">
                  <c:v>0</c:v>
                </c:pt>
                <c:pt idx="3086" formatCode="#,##0_);\(#,##0\);&quot;-  &quot;;&quot; &quot;@&quot; &quot;">
                  <c:v>0</c:v>
                </c:pt>
                <c:pt idx="3087" formatCode="#,##0_);\(#,##0\);&quot;-  &quot;;&quot; &quot;@&quot; &quot;">
                  <c:v>0</c:v>
                </c:pt>
                <c:pt idx="3088" formatCode="#,##0_);\(#,##0\);&quot;-  &quot;;&quot; &quot;@&quot; &quot;">
                  <c:v>0</c:v>
                </c:pt>
                <c:pt idx="3089" formatCode="#,##0_);\(#,##0\);&quot;-  &quot;;&quot; &quot;@&quot; &quot;">
                  <c:v>0</c:v>
                </c:pt>
                <c:pt idx="3090" formatCode="#,##0_);\(#,##0\);&quot;-  &quot;;&quot; &quot;@&quot; &quot;">
                  <c:v>0</c:v>
                </c:pt>
                <c:pt idx="3091" formatCode="#,##0_);\(#,##0\);&quot;-  &quot;;&quot; &quot;@&quot; &quot;">
                  <c:v>0</c:v>
                </c:pt>
                <c:pt idx="3092" formatCode="#,##0_);\(#,##0\);&quot;-  &quot;;&quot; &quot;@&quot; &quot;">
                  <c:v>0</c:v>
                </c:pt>
                <c:pt idx="3093" formatCode="#,##0_);\(#,##0\);&quot;-  &quot;;&quot; &quot;@&quot; &quot;">
                  <c:v>0</c:v>
                </c:pt>
                <c:pt idx="3094" formatCode="#,##0_);\(#,##0\);&quot;-  &quot;;&quot; &quot;@&quot; &quot;">
                  <c:v>0</c:v>
                </c:pt>
                <c:pt idx="3095" formatCode="#,##0_);\(#,##0\);&quot;-  &quot;;&quot; &quot;@&quot; &quot;">
                  <c:v>0</c:v>
                </c:pt>
                <c:pt idx="3096" formatCode="#,##0_);\(#,##0\);&quot;-  &quot;;&quot; &quot;@&quot; &quot;">
                  <c:v>0</c:v>
                </c:pt>
                <c:pt idx="3097" formatCode="#,##0_);\(#,##0\);&quot;-  &quot;;&quot; &quot;@&quot; &quot;">
                  <c:v>0</c:v>
                </c:pt>
                <c:pt idx="3098" formatCode="#,##0_);\(#,##0\);&quot;-  &quot;;&quot; &quot;@&quot; &quot;">
                  <c:v>0</c:v>
                </c:pt>
                <c:pt idx="3099" formatCode="#,##0_);\(#,##0\);&quot;-  &quot;;&quot; &quot;@&quot; &quot;">
                  <c:v>0</c:v>
                </c:pt>
                <c:pt idx="3100" formatCode="#,##0_);\(#,##0\);&quot;-  &quot;;&quot; &quot;@&quot; &quot;">
                  <c:v>0</c:v>
                </c:pt>
                <c:pt idx="3101" formatCode="#,##0_);\(#,##0\);&quot;-  &quot;;&quot; &quot;@&quot; &quot;">
                  <c:v>0</c:v>
                </c:pt>
                <c:pt idx="3102" formatCode="#,##0_);\(#,##0\);&quot;-  &quot;;&quot; &quot;@&quot; &quot;">
                  <c:v>0</c:v>
                </c:pt>
                <c:pt idx="3103" formatCode="#,##0_);\(#,##0\);&quot;-  &quot;;&quot; &quot;@&quot; &quot;">
                  <c:v>0</c:v>
                </c:pt>
                <c:pt idx="3104" formatCode="#,##0_);\(#,##0\);&quot;-  &quot;;&quot; &quot;@&quot; &quot;">
                  <c:v>0</c:v>
                </c:pt>
                <c:pt idx="3105" formatCode="#,##0_);\(#,##0\);&quot;-  &quot;;&quot; &quot;@&quot; &quot;">
                  <c:v>0</c:v>
                </c:pt>
                <c:pt idx="3106" formatCode="#,##0_);\(#,##0\);&quot;-  &quot;;&quot; &quot;@&quot; &quot;">
                  <c:v>0</c:v>
                </c:pt>
                <c:pt idx="3107" formatCode="#,##0_);\(#,##0\);&quot;-  &quot;;&quot; &quot;@&quot; &quot;">
                  <c:v>0</c:v>
                </c:pt>
                <c:pt idx="3108" formatCode="#,##0_);\(#,##0\);&quot;-  &quot;;&quot; &quot;@&quot; &quot;">
                  <c:v>0</c:v>
                </c:pt>
                <c:pt idx="3109" formatCode="#,##0_);\(#,##0\);&quot;-  &quot;;&quot; &quot;@&quot; &quot;">
                  <c:v>0</c:v>
                </c:pt>
                <c:pt idx="3110" formatCode="#,##0_);\(#,##0\);&quot;-  &quot;;&quot; &quot;@&quot; &quot;">
                  <c:v>0</c:v>
                </c:pt>
                <c:pt idx="3111" formatCode="#,##0_);\(#,##0\);&quot;-  &quot;;&quot; &quot;@&quot; &quot;">
                  <c:v>0</c:v>
                </c:pt>
                <c:pt idx="3112" formatCode="#,##0_);\(#,##0\);&quot;-  &quot;;&quot; &quot;@&quot; &quot;">
                  <c:v>0</c:v>
                </c:pt>
                <c:pt idx="3113" formatCode="#,##0_);\(#,##0\);&quot;-  &quot;;&quot; &quot;@&quot; &quot;">
                  <c:v>0</c:v>
                </c:pt>
                <c:pt idx="3114" formatCode="#,##0_);\(#,##0\);&quot;-  &quot;;&quot; &quot;@&quot; &quot;">
                  <c:v>0</c:v>
                </c:pt>
                <c:pt idx="3115" formatCode="#,##0_);\(#,##0\);&quot;-  &quot;;&quot; &quot;@&quot; &quot;">
                  <c:v>0</c:v>
                </c:pt>
                <c:pt idx="3116" formatCode="#,##0_);\(#,##0\);&quot;-  &quot;;&quot; &quot;@&quot; &quot;">
                  <c:v>0</c:v>
                </c:pt>
                <c:pt idx="3117" formatCode="#,##0_);\(#,##0\);&quot;-  &quot;;&quot; &quot;@&quot; &quot;">
                  <c:v>0</c:v>
                </c:pt>
                <c:pt idx="3118" formatCode="#,##0_);\(#,##0\);&quot;-  &quot;;&quot; &quot;@&quot; &quot;">
                  <c:v>0</c:v>
                </c:pt>
                <c:pt idx="3119" formatCode="#,##0_);\(#,##0\);&quot;-  &quot;;&quot; &quot;@&quot; &quot;">
                  <c:v>0</c:v>
                </c:pt>
                <c:pt idx="3120" formatCode="#,##0_);\(#,##0\);&quot;-  &quot;;&quot; &quot;@&quot; &quot;">
                  <c:v>0</c:v>
                </c:pt>
                <c:pt idx="3121" formatCode="#,##0_);\(#,##0\);&quot;-  &quot;;&quot; &quot;@&quot; &quot;">
                  <c:v>0</c:v>
                </c:pt>
                <c:pt idx="3122" formatCode="#,##0_);\(#,##0\);&quot;-  &quot;;&quot; &quot;@&quot; &quot;">
                  <c:v>0</c:v>
                </c:pt>
                <c:pt idx="3123" formatCode="#,##0_);\(#,##0\);&quot;-  &quot;;&quot; &quot;@&quot; &quot;">
                  <c:v>0</c:v>
                </c:pt>
                <c:pt idx="3124" formatCode="#,##0_);\(#,##0\);&quot;-  &quot;;&quot; &quot;@&quot; &quot;">
                  <c:v>0</c:v>
                </c:pt>
                <c:pt idx="3125" formatCode="#,##0_);\(#,##0\);&quot;-  &quot;;&quot; &quot;@&quot; &quot;">
                  <c:v>0</c:v>
                </c:pt>
                <c:pt idx="3126" formatCode="#,##0_);\(#,##0\);&quot;-  &quot;;&quot; &quot;@&quot; &quot;">
                  <c:v>0</c:v>
                </c:pt>
                <c:pt idx="3127" formatCode="#,##0_);\(#,##0\);&quot;-  &quot;;&quot; &quot;@&quot; &quot;">
                  <c:v>0</c:v>
                </c:pt>
                <c:pt idx="3128" formatCode="#,##0_);\(#,##0\);&quot;-  &quot;;&quot; &quot;@&quot; &quot;">
                  <c:v>0</c:v>
                </c:pt>
                <c:pt idx="3129" formatCode="#,##0_);\(#,##0\);&quot;-  &quot;;&quot; &quot;@&quot; &quot;">
                  <c:v>0</c:v>
                </c:pt>
                <c:pt idx="3130" formatCode="#,##0_);\(#,##0\);&quot;-  &quot;;&quot; &quot;@&quot; &quot;">
                  <c:v>0</c:v>
                </c:pt>
                <c:pt idx="3131" formatCode="#,##0_);\(#,##0\);&quot;-  &quot;;&quot; &quot;@&quot; &quot;">
                  <c:v>0</c:v>
                </c:pt>
                <c:pt idx="3132" formatCode="#,##0_);\(#,##0\);&quot;-  &quot;;&quot; &quot;@&quot; &quot;">
                  <c:v>0</c:v>
                </c:pt>
                <c:pt idx="3133" formatCode="#,##0_);\(#,##0\);&quot;-  &quot;;&quot; &quot;@&quot; &quot;">
                  <c:v>0</c:v>
                </c:pt>
                <c:pt idx="3134" formatCode="#,##0_);\(#,##0\);&quot;-  &quot;;&quot; &quot;@&quot; &quot;">
                  <c:v>0</c:v>
                </c:pt>
                <c:pt idx="3135" formatCode="#,##0_);\(#,##0\);&quot;-  &quot;;&quot; &quot;@&quot; &quot;">
                  <c:v>0</c:v>
                </c:pt>
                <c:pt idx="3136" formatCode="#,##0_);\(#,##0\);&quot;-  &quot;;&quot; &quot;@&quot; &quot;">
                  <c:v>0</c:v>
                </c:pt>
                <c:pt idx="3137" formatCode="#,##0_);\(#,##0\);&quot;-  &quot;;&quot; &quot;@&quot; &quot;">
                  <c:v>0</c:v>
                </c:pt>
                <c:pt idx="3138" formatCode="#,##0_);\(#,##0\);&quot;-  &quot;;&quot; &quot;@&quot; &quot;">
                  <c:v>0</c:v>
                </c:pt>
                <c:pt idx="3139" formatCode="#,##0_);\(#,##0\);&quot;-  &quot;;&quot; &quot;@&quot; &quot;">
                  <c:v>0</c:v>
                </c:pt>
                <c:pt idx="3140" formatCode="#,##0_);\(#,##0\);&quot;-  &quot;;&quot; &quot;@&quot; &quot;">
                  <c:v>0</c:v>
                </c:pt>
                <c:pt idx="3141" formatCode="#,##0_);\(#,##0\);&quot;-  &quot;;&quot; &quot;@&quot; &quot;">
                  <c:v>0</c:v>
                </c:pt>
                <c:pt idx="3142" formatCode="#,##0_);\(#,##0\);&quot;-  &quot;;&quot; &quot;@&quot; &quot;">
                  <c:v>0</c:v>
                </c:pt>
                <c:pt idx="3143" formatCode="#,##0_);\(#,##0\);&quot;-  &quot;;&quot; &quot;@&quot; &quot;">
                  <c:v>0</c:v>
                </c:pt>
                <c:pt idx="3144" formatCode="#,##0_);\(#,##0\);&quot;-  &quot;;&quot; &quot;@&quot; &quot;">
                  <c:v>0</c:v>
                </c:pt>
                <c:pt idx="3145" formatCode="#,##0_);\(#,##0\);&quot;-  &quot;;&quot; &quot;@&quot; &quot;">
                  <c:v>0</c:v>
                </c:pt>
                <c:pt idx="3146" formatCode="#,##0_);\(#,##0\);&quot;-  &quot;;&quot; &quot;@&quot; &quot;">
                  <c:v>0</c:v>
                </c:pt>
                <c:pt idx="3147" formatCode="#,##0_);\(#,##0\);&quot;-  &quot;;&quot; &quot;@&quot; &quot;">
                  <c:v>0</c:v>
                </c:pt>
                <c:pt idx="3148" formatCode="#,##0_);\(#,##0\);&quot;-  &quot;;&quot; &quot;@&quot; &quot;">
                  <c:v>0</c:v>
                </c:pt>
                <c:pt idx="3149" formatCode="#,##0_);\(#,##0\);&quot;-  &quot;;&quot; &quot;@&quot; &quot;">
                  <c:v>0</c:v>
                </c:pt>
                <c:pt idx="3150" formatCode="#,##0_);\(#,##0\);&quot;-  &quot;;&quot; &quot;@&quot; &quot;">
                  <c:v>0</c:v>
                </c:pt>
                <c:pt idx="3151" formatCode="#,##0_);\(#,##0\);&quot;-  &quot;;&quot; &quot;@&quot; &quot;">
                  <c:v>0</c:v>
                </c:pt>
                <c:pt idx="3152" formatCode="#,##0_);\(#,##0\);&quot;-  &quot;;&quot; &quot;@&quot; &quot;">
                  <c:v>0</c:v>
                </c:pt>
                <c:pt idx="3153" formatCode="#,##0_);\(#,##0\);&quot;-  &quot;;&quot; &quot;@&quot; &quot;">
                  <c:v>0</c:v>
                </c:pt>
                <c:pt idx="3154" formatCode="#,##0_);\(#,##0\);&quot;-  &quot;;&quot; &quot;@&quot; &quot;">
                  <c:v>0</c:v>
                </c:pt>
                <c:pt idx="3155" formatCode="#,##0_);\(#,##0\);&quot;-  &quot;;&quot; &quot;@&quot; &quot;">
                  <c:v>0</c:v>
                </c:pt>
                <c:pt idx="3156" formatCode="#,##0_);\(#,##0\);&quot;-  &quot;;&quot; &quot;@&quot; &quot;">
                  <c:v>0</c:v>
                </c:pt>
                <c:pt idx="3157" formatCode="#,##0_);\(#,##0\);&quot;-  &quot;;&quot; &quot;@&quot; &quot;">
                  <c:v>0</c:v>
                </c:pt>
                <c:pt idx="3158" formatCode="#,##0_);\(#,##0\);&quot;-  &quot;;&quot; &quot;@&quot; &quot;">
                  <c:v>0</c:v>
                </c:pt>
                <c:pt idx="3159" formatCode="#,##0_);\(#,##0\);&quot;-  &quot;;&quot; &quot;@&quot; &quot;">
                  <c:v>0</c:v>
                </c:pt>
                <c:pt idx="3160" formatCode="#,##0_);\(#,##0\);&quot;-  &quot;;&quot; &quot;@&quot; &quot;">
                  <c:v>0</c:v>
                </c:pt>
                <c:pt idx="3161" formatCode="#,##0_);\(#,##0\);&quot;-  &quot;;&quot; &quot;@&quot; &quot;">
                  <c:v>0</c:v>
                </c:pt>
                <c:pt idx="3162" formatCode="#,##0_);\(#,##0\);&quot;-  &quot;;&quot; &quot;@&quot; &quot;">
                  <c:v>0</c:v>
                </c:pt>
                <c:pt idx="3163" formatCode="#,##0_);\(#,##0\);&quot;-  &quot;;&quot; &quot;@&quot; &quot;">
                  <c:v>0</c:v>
                </c:pt>
                <c:pt idx="3164" formatCode="#,##0_);\(#,##0\);&quot;-  &quot;;&quot; &quot;@&quot; &quot;">
                  <c:v>0</c:v>
                </c:pt>
                <c:pt idx="3165" formatCode="#,##0_);\(#,##0\);&quot;-  &quot;;&quot; &quot;@&quot; &quot;">
                  <c:v>0</c:v>
                </c:pt>
                <c:pt idx="3166" formatCode="#,##0_);\(#,##0\);&quot;-  &quot;;&quot; &quot;@&quot; &quot;">
                  <c:v>0</c:v>
                </c:pt>
                <c:pt idx="3167" formatCode="#,##0_);\(#,##0\);&quot;-  &quot;;&quot; &quot;@&quot; &quot;">
                  <c:v>0</c:v>
                </c:pt>
                <c:pt idx="3168" formatCode="#,##0_);\(#,##0\);&quot;-  &quot;;&quot; &quot;@&quot; &quot;">
                  <c:v>0</c:v>
                </c:pt>
                <c:pt idx="3169" formatCode="#,##0_);\(#,##0\);&quot;-  &quot;;&quot; &quot;@&quot; &quot;">
                  <c:v>0</c:v>
                </c:pt>
                <c:pt idx="3170" formatCode="#,##0_);\(#,##0\);&quot;-  &quot;;&quot; &quot;@&quot; &quot;">
                  <c:v>0</c:v>
                </c:pt>
                <c:pt idx="3171" formatCode="#,##0_);\(#,##0\);&quot;-  &quot;;&quot; &quot;@&quot; &quot;">
                  <c:v>0</c:v>
                </c:pt>
                <c:pt idx="3172" formatCode="#,##0_);\(#,##0\);&quot;-  &quot;;&quot; &quot;@&quot; &quot;">
                  <c:v>0</c:v>
                </c:pt>
                <c:pt idx="3173" formatCode="#,##0_);\(#,##0\);&quot;-  &quot;;&quot; &quot;@&quot; &quot;">
                  <c:v>0</c:v>
                </c:pt>
                <c:pt idx="3174" formatCode="#,##0_);\(#,##0\);&quot;-  &quot;;&quot; &quot;@&quot; &quot;">
                  <c:v>0</c:v>
                </c:pt>
                <c:pt idx="3175" formatCode="#,##0_);\(#,##0\);&quot;-  &quot;;&quot; &quot;@&quot; &quot;">
                  <c:v>0</c:v>
                </c:pt>
                <c:pt idx="3176" formatCode="#,##0_);\(#,##0\);&quot;-  &quot;;&quot; &quot;@&quot; &quot;">
                  <c:v>0</c:v>
                </c:pt>
                <c:pt idx="3177" formatCode="#,##0_);\(#,##0\);&quot;-  &quot;;&quot; &quot;@&quot; &quot;">
                  <c:v>0</c:v>
                </c:pt>
                <c:pt idx="3178" formatCode="#,##0_);\(#,##0\);&quot;-  &quot;;&quot; &quot;@&quot; &quot;">
                  <c:v>0</c:v>
                </c:pt>
                <c:pt idx="3179" formatCode="#,##0_);\(#,##0\);&quot;-  &quot;;&quot; &quot;@&quot; &quot;">
                  <c:v>0</c:v>
                </c:pt>
                <c:pt idx="3180" formatCode="#,##0_);\(#,##0\);&quot;-  &quot;;&quot; &quot;@&quot; &quot;">
                  <c:v>0</c:v>
                </c:pt>
                <c:pt idx="3181" formatCode="#,##0_);\(#,##0\);&quot;-  &quot;;&quot; &quot;@&quot; &quot;">
                  <c:v>0</c:v>
                </c:pt>
                <c:pt idx="3182" formatCode="#,##0_);\(#,##0\);&quot;-  &quot;;&quot; &quot;@&quot; &quot;">
                  <c:v>0</c:v>
                </c:pt>
                <c:pt idx="3183" formatCode="#,##0_);\(#,##0\);&quot;-  &quot;;&quot; &quot;@&quot; &quot;">
                  <c:v>0</c:v>
                </c:pt>
                <c:pt idx="3184" formatCode="#,##0_);\(#,##0\);&quot;-  &quot;;&quot; &quot;@&quot; &quot;">
                  <c:v>0</c:v>
                </c:pt>
                <c:pt idx="3185" formatCode="#,##0_);\(#,##0\);&quot;-  &quot;;&quot; &quot;@&quot; &quot;">
                  <c:v>0</c:v>
                </c:pt>
                <c:pt idx="3186" formatCode="#,##0_);\(#,##0\);&quot;-  &quot;;&quot; &quot;@&quot; &quot;">
                  <c:v>0</c:v>
                </c:pt>
                <c:pt idx="3187" formatCode="#,##0_);\(#,##0\);&quot;-  &quot;;&quot; &quot;@&quot; &quot;">
                  <c:v>0</c:v>
                </c:pt>
                <c:pt idx="3188" formatCode="#,##0_);\(#,##0\);&quot;-  &quot;;&quot; &quot;@&quot; &quot;">
                  <c:v>0</c:v>
                </c:pt>
                <c:pt idx="3189" formatCode="#,##0_);\(#,##0\);&quot;-  &quot;;&quot; &quot;@&quot; &quot;">
                  <c:v>0</c:v>
                </c:pt>
                <c:pt idx="3190" formatCode="#,##0_);\(#,##0\);&quot;-  &quot;;&quot; &quot;@&quot; &quot;">
                  <c:v>0</c:v>
                </c:pt>
                <c:pt idx="3191" formatCode="#,##0_);\(#,##0\);&quot;-  &quot;;&quot; &quot;@&quot; &quot;">
                  <c:v>0</c:v>
                </c:pt>
                <c:pt idx="3192" formatCode="#,##0_);\(#,##0\);&quot;-  &quot;;&quot; &quot;@&quot; &quot;">
                  <c:v>0</c:v>
                </c:pt>
                <c:pt idx="3193" formatCode="#,##0_);\(#,##0\);&quot;-  &quot;;&quot; &quot;@&quot; &quot;">
                  <c:v>0</c:v>
                </c:pt>
                <c:pt idx="3194" formatCode="#,##0_);\(#,##0\);&quot;-  &quot;;&quot; &quot;@&quot; &quot;">
                  <c:v>0</c:v>
                </c:pt>
                <c:pt idx="3195" formatCode="#,##0_);\(#,##0\);&quot;-  &quot;;&quot; &quot;@&quot; &quot;">
                  <c:v>0</c:v>
                </c:pt>
                <c:pt idx="3196" formatCode="#,##0_);\(#,##0\);&quot;-  &quot;;&quot; &quot;@&quot; &quot;">
                  <c:v>0</c:v>
                </c:pt>
                <c:pt idx="3197" formatCode="#,##0_);\(#,##0\);&quot;-  &quot;;&quot; &quot;@&quot; &quot;">
                  <c:v>0</c:v>
                </c:pt>
                <c:pt idx="3198" formatCode="#,##0_);\(#,##0\);&quot;-  &quot;;&quot; &quot;@&quot; &quot;">
                  <c:v>0</c:v>
                </c:pt>
                <c:pt idx="3199" formatCode="#,##0_);\(#,##0\);&quot;-  &quot;;&quot; &quot;@&quot; &quot;">
                  <c:v>0</c:v>
                </c:pt>
                <c:pt idx="3200" formatCode="#,##0_);\(#,##0\);&quot;-  &quot;;&quot; &quot;@&quot; &quot;">
                  <c:v>0</c:v>
                </c:pt>
                <c:pt idx="3201" formatCode="#,##0_);\(#,##0\);&quot;-  &quot;;&quot; &quot;@&quot; &quot;">
                  <c:v>0</c:v>
                </c:pt>
                <c:pt idx="3202" formatCode="#,##0_);\(#,##0\);&quot;-  &quot;;&quot; &quot;@&quot; &quot;">
                  <c:v>0</c:v>
                </c:pt>
                <c:pt idx="3203" formatCode="#,##0_);\(#,##0\);&quot;-  &quot;;&quot; &quot;@&quot; &quot;">
                  <c:v>0</c:v>
                </c:pt>
                <c:pt idx="3204" formatCode="#,##0_);\(#,##0\);&quot;-  &quot;;&quot; &quot;@&quot; &quot;">
                  <c:v>0</c:v>
                </c:pt>
                <c:pt idx="3205" formatCode="#,##0_);\(#,##0\);&quot;-  &quot;;&quot; &quot;@&quot; &quot;">
                  <c:v>0</c:v>
                </c:pt>
                <c:pt idx="3206" formatCode="#,##0_);\(#,##0\);&quot;-  &quot;;&quot; &quot;@&quot; &quot;">
                  <c:v>0</c:v>
                </c:pt>
                <c:pt idx="3207" formatCode="#,##0_);\(#,##0\);&quot;-  &quot;;&quot; &quot;@&quot; &quot;">
                  <c:v>0</c:v>
                </c:pt>
                <c:pt idx="3208" formatCode="#,##0_);\(#,##0\);&quot;-  &quot;;&quot; &quot;@&quot; &quot;">
                  <c:v>0</c:v>
                </c:pt>
                <c:pt idx="3209" formatCode="#,##0_);\(#,##0\);&quot;-  &quot;;&quot; &quot;@&quot; &quot;">
                  <c:v>0</c:v>
                </c:pt>
                <c:pt idx="3210" formatCode="#,##0_);\(#,##0\);&quot;-  &quot;;&quot; &quot;@&quot; &quot;">
                  <c:v>0</c:v>
                </c:pt>
                <c:pt idx="3211" formatCode="#,##0_);\(#,##0\);&quot;-  &quot;;&quot; &quot;@&quot; &quot;">
                  <c:v>0</c:v>
                </c:pt>
                <c:pt idx="3212" formatCode="#,##0_);\(#,##0\);&quot;-  &quot;;&quot; &quot;@&quot; &quot;">
                  <c:v>0</c:v>
                </c:pt>
                <c:pt idx="3213" formatCode="#,##0_);\(#,##0\);&quot;-  &quot;;&quot; &quot;@&quot; &quot;">
                  <c:v>0</c:v>
                </c:pt>
                <c:pt idx="3214" formatCode="#,##0_);\(#,##0\);&quot;-  &quot;;&quot; &quot;@&quot; &quot;">
                  <c:v>0</c:v>
                </c:pt>
                <c:pt idx="3215" formatCode="#,##0_);\(#,##0\);&quot;-  &quot;;&quot; &quot;@&quot; &quot;">
                  <c:v>0</c:v>
                </c:pt>
                <c:pt idx="3216" formatCode="#,##0_);\(#,##0\);&quot;-  &quot;;&quot; &quot;@&quot; &quot;">
                  <c:v>0</c:v>
                </c:pt>
                <c:pt idx="3217" formatCode="#,##0_);\(#,##0\);&quot;-  &quot;;&quot; &quot;@&quot; &quot;">
                  <c:v>0</c:v>
                </c:pt>
                <c:pt idx="3218" formatCode="#,##0_);\(#,##0\);&quot;-  &quot;;&quot; &quot;@&quot; &quot;">
                  <c:v>0</c:v>
                </c:pt>
                <c:pt idx="3219" formatCode="#,##0_);\(#,##0\);&quot;-  &quot;;&quot; &quot;@&quot; &quot;">
                  <c:v>0</c:v>
                </c:pt>
                <c:pt idx="3220" formatCode="#,##0_);\(#,##0\);&quot;-  &quot;;&quot; &quot;@&quot; &quot;">
                  <c:v>0</c:v>
                </c:pt>
                <c:pt idx="3221" formatCode="#,##0_);\(#,##0\);&quot;-  &quot;;&quot; &quot;@&quot; &quot;">
                  <c:v>0</c:v>
                </c:pt>
                <c:pt idx="3222" formatCode="#,##0_);\(#,##0\);&quot;-  &quot;;&quot; &quot;@&quot; &quot;">
                  <c:v>0</c:v>
                </c:pt>
                <c:pt idx="3223" formatCode="#,##0_);\(#,##0\);&quot;-  &quot;;&quot; &quot;@&quot; &quot;">
                  <c:v>0</c:v>
                </c:pt>
                <c:pt idx="3224" formatCode="#,##0_);\(#,##0\);&quot;-  &quot;;&quot; &quot;@&quot; &quot;">
                  <c:v>0</c:v>
                </c:pt>
                <c:pt idx="3225" formatCode="#,##0_);\(#,##0\);&quot;-  &quot;;&quot; &quot;@&quot; &quot;">
                  <c:v>0</c:v>
                </c:pt>
                <c:pt idx="3226" formatCode="#,##0_);\(#,##0\);&quot;-  &quot;;&quot; &quot;@&quot; &quot;">
                  <c:v>0</c:v>
                </c:pt>
                <c:pt idx="3227" formatCode="#,##0_);\(#,##0\);&quot;-  &quot;;&quot; &quot;@&quot; &quot;">
                  <c:v>0</c:v>
                </c:pt>
                <c:pt idx="3228" formatCode="#,##0_);\(#,##0\);&quot;-  &quot;;&quot; &quot;@&quot; &quot;">
                  <c:v>0</c:v>
                </c:pt>
                <c:pt idx="3229" formatCode="#,##0_);\(#,##0\);&quot;-  &quot;;&quot; &quot;@&quot; &quot;">
                  <c:v>0</c:v>
                </c:pt>
                <c:pt idx="3230" formatCode="#,##0_);\(#,##0\);&quot;-  &quot;;&quot; &quot;@&quot; &quot;">
                  <c:v>0</c:v>
                </c:pt>
                <c:pt idx="3231" formatCode="#,##0_);\(#,##0\);&quot;-  &quot;;&quot; &quot;@&quot; &quot;">
                  <c:v>0</c:v>
                </c:pt>
                <c:pt idx="3232" formatCode="#,##0_);\(#,##0\);&quot;-  &quot;;&quot; &quot;@&quot; &quot;">
                  <c:v>0</c:v>
                </c:pt>
                <c:pt idx="3233" formatCode="#,##0_);\(#,##0\);&quot;-  &quot;;&quot; &quot;@&quot; &quot;">
                  <c:v>0</c:v>
                </c:pt>
                <c:pt idx="3234" formatCode="#,##0_);\(#,##0\);&quot;-  &quot;;&quot; &quot;@&quot; &quot;">
                  <c:v>0</c:v>
                </c:pt>
                <c:pt idx="3235" formatCode="#,##0_);\(#,##0\);&quot;-  &quot;;&quot; &quot;@&quot; &quot;">
                  <c:v>0</c:v>
                </c:pt>
                <c:pt idx="3236" formatCode="#,##0_);\(#,##0\);&quot;-  &quot;;&quot; &quot;@&quot; &quot;">
                  <c:v>0</c:v>
                </c:pt>
                <c:pt idx="3237" formatCode="#,##0_);\(#,##0\);&quot;-  &quot;;&quot; &quot;@&quot; &quot;">
                  <c:v>0</c:v>
                </c:pt>
                <c:pt idx="3238" formatCode="#,##0_);\(#,##0\);&quot;-  &quot;;&quot; &quot;@&quot; &quot;">
                  <c:v>0</c:v>
                </c:pt>
                <c:pt idx="3239" formatCode="#,##0_);\(#,##0\);&quot;-  &quot;;&quot; &quot;@&quot; &quot;">
                  <c:v>0</c:v>
                </c:pt>
                <c:pt idx="3240" formatCode="#,##0_);\(#,##0\);&quot;-  &quot;;&quot; &quot;@&quot; &quot;">
                  <c:v>0</c:v>
                </c:pt>
                <c:pt idx="3241" formatCode="#,##0_);\(#,##0\);&quot;-  &quot;;&quot; &quot;@&quot; &quot;">
                  <c:v>0</c:v>
                </c:pt>
                <c:pt idx="3242" formatCode="#,##0_);\(#,##0\);&quot;-  &quot;;&quot; &quot;@&quot; &quot;">
                  <c:v>0</c:v>
                </c:pt>
                <c:pt idx="3243" formatCode="#,##0_);\(#,##0\);&quot;-  &quot;;&quot; &quot;@&quot; &quot;">
                  <c:v>0</c:v>
                </c:pt>
                <c:pt idx="3244" formatCode="#,##0_);\(#,##0\);&quot;-  &quot;;&quot; &quot;@&quot; &quot;">
                  <c:v>0</c:v>
                </c:pt>
                <c:pt idx="3245" formatCode="#,##0_);\(#,##0\);&quot;-  &quot;;&quot; &quot;@&quot; &quot;">
                  <c:v>0</c:v>
                </c:pt>
                <c:pt idx="3246" formatCode="#,##0_);\(#,##0\);&quot;-  &quot;;&quot; &quot;@&quot; &quot;">
                  <c:v>0</c:v>
                </c:pt>
                <c:pt idx="3247" formatCode="#,##0_);\(#,##0\);&quot;-  &quot;;&quot; &quot;@&quot; &quot;">
                  <c:v>0</c:v>
                </c:pt>
                <c:pt idx="3248" formatCode="#,##0_);\(#,##0\);&quot;-  &quot;;&quot; &quot;@&quot; &quot;">
                  <c:v>0</c:v>
                </c:pt>
                <c:pt idx="3249" formatCode="#,##0_);\(#,##0\);&quot;-  &quot;;&quot; &quot;@&quot; &quot;">
                  <c:v>0</c:v>
                </c:pt>
                <c:pt idx="3250" formatCode="#,##0_);\(#,##0\);&quot;-  &quot;;&quot; &quot;@&quot; &quot;">
                  <c:v>0</c:v>
                </c:pt>
                <c:pt idx="3251" formatCode="#,##0_);\(#,##0\);&quot;-  &quot;;&quot; &quot;@&quot; &quot;">
                  <c:v>0</c:v>
                </c:pt>
                <c:pt idx="3252" formatCode="#,##0_);\(#,##0\);&quot;-  &quot;;&quot; &quot;@&quot; &quot;">
                  <c:v>0</c:v>
                </c:pt>
                <c:pt idx="3253" formatCode="#,##0_);\(#,##0\);&quot;-  &quot;;&quot; &quot;@&quot; &quot;">
                  <c:v>0</c:v>
                </c:pt>
                <c:pt idx="3254" formatCode="#,##0_);\(#,##0\);&quot;-  &quot;;&quot; &quot;@&quot; &quot;">
                  <c:v>0</c:v>
                </c:pt>
                <c:pt idx="3255" formatCode="#,##0_);\(#,##0\);&quot;-  &quot;;&quot; &quot;@&quot; &quot;">
                  <c:v>0</c:v>
                </c:pt>
                <c:pt idx="3256" formatCode="#,##0_);\(#,##0\);&quot;-  &quot;;&quot; &quot;@&quot; &quot;">
                  <c:v>0</c:v>
                </c:pt>
                <c:pt idx="3257" formatCode="#,##0_);\(#,##0\);&quot;-  &quot;;&quot; &quot;@&quot; &quot;">
                  <c:v>0</c:v>
                </c:pt>
                <c:pt idx="3258" formatCode="#,##0_);\(#,##0\);&quot;-  &quot;;&quot; &quot;@&quot; &quot;">
                  <c:v>0</c:v>
                </c:pt>
                <c:pt idx="3259" formatCode="#,##0_);\(#,##0\);&quot;-  &quot;;&quot; &quot;@&quot; &quot;">
                  <c:v>0</c:v>
                </c:pt>
                <c:pt idx="3260" formatCode="#,##0_);\(#,##0\);&quot;-  &quot;;&quot; &quot;@&quot; &quot;">
                  <c:v>0</c:v>
                </c:pt>
                <c:pt idx="3261" formatCode="#,##0_);\(#,##0\);&quot;-  &quot;;&quot; &quot;@&quot; &quot;">
                  <c:v>0</c:v>
                </c:pt>
                <c:pt idx="3262" formatCode="#,##0_);\(#,##0\);&quot;-  &quot;;&quot; &quot;@&quot; &quot;">
                  <c:v>0</c:v>
                </c:pt>
                <c:pt idx="3263" formatCode="#,##0_);\(#,##0\);&quot;-  &quot;;&quot; &quot;@&quot; &quot;">
                  <c:v>0</c:v>
                </c:pt>
                <c:pt idx="3264" formatCode="#,##0_);\(#,##0\);&quot;-  &quot;;&quot; &quot;@&quot; &quot;">
                  <c:v>0</c:v>
                </c:pt>
                <c:pt idx="3265" formatCode="#,##0_);\(#,##0\);&quot;-  &quot;;&quot; &quot;@&quot; &quot;">
                  <c:v>0</c:v>
                </c:pt>
                <c:pt idx="3266" formatCode="#,##0_);\(#,##0\);&quot;-  &quot;;&quot; &quot;@&quot; &quot;">
                  <c:v>0</c:v>
                </c:pt>
                <c:pt idx="3267" formatCode="#,##0_);\(#,##0\);&quot;-  &quot;;&quot; &quot;@&quot; &quot;">
                  <c:v>0</c:v>
                </c:pt>
                <c:pt idx="3268" formatCode="#,##0_);\(#,##0\);&quot;-  &quot;;&quot; &quot;@&quot; &quot;">
                  <c:v>0</c:v>
                </c:pt>
                <c:pt idx="3269" formatCode="#,##0_);\(#,##0\);&quot;-  &quot;;&quot; &quot;@&quot; &quot;">
                  <c:v>0</c:v>
                </c:pt>
                <c:pt idx="3270" formatCode="#,##0_);\(#,##0\);&quot;-  &quot;;&quot; &quot;@&quot; &quot;">
                  <c:v>0</c:v>
                </c:pt>
                <c:pt idx="3271" formatCode="#,##0_);\(#,##0\);&quot;-  &quot;;&quot; &quot;@&quot; &quot;">
                  <c:v>0</c:v>
                </c:pt>
                <c:pt idx="3272" formatCode="#,##0_);\(#,##0\);&quot;-  &quot;;&quot; &quot;@&quot; &quot;">
                  <c:v>0</c:v>
                </c:pt>
                <c:pt idx="3273" formatCode="#,##0_);\(#,##0\);&quot;-  &quot;;&quot; &quot;@&quot; &quot;">
                  <c:v>0</c:v>
                </c:pt>
                <c:pt idx="3274" formatCode="#,##0_);\(#,##0\);&quot;-  &quot;;&quot; &quot;@&quot; &quot;">
                  <c:v>0</c:v>
                </c:pt>
                <c:pt idx="3275" formatCode="#,##0_);\(#,##0\);&quot;-  &quot;;&quot; &quot;@&quot; &quot;">
                  <c:v>0</c:v>
                </c:pt>
                <c:pt idx="3276" formatCode="#,##0_);\(#,##0\);&quot;-  &quot;;&quot; &quot;@&quot; &quot;">
                  <c:v>0</c:v>
                </c:pt>
                <c:pt idx="3277" formatCode="#,##0_);\(#,##0\);&quot;-  &quot;;&quot; &quot;@&quot; &quot;">
                  <c:v>0</c:v>
                </c:pt>
                <c:pt idx="3278" formatCode="#,##0_);\(#,##0\);&quot;-  &quot;;&quot; &quot;@&quot; &quot;">
                  <c:v>0</c:v>
                </c:pt>
                <c:pt idx="3279" formatCode="#,##0_);\(#,##0\);&quot;-  &quot;;&quot; &quot;@&quot; &quot;">
                  <c:v>0</c:v>
                </c:pt>
                <c:pt idx="3280" formatCode="#,##0_);\(#,##0\);&quot;-  &quot;;&quot; &quot;@&quot; &quot;">
                  <c:v>0</c:v>
                </c:pt>
                <c:pt idx="3281" formatCode="#,##0_);\(#,##0\);&quot;-  &quot;;&quot; &quot;@&quot; &quot;">
                  <c:v>0</c:v>
                </c:pt>
                <c:pt idx="3282" formatCode="#,##0_);\(#,##0\);&quot;-  &quot;;&quot; &quot;@&quot; &quot;">
                  <c:v>0</c:v>
                </c:pt>
                <c:pt idx="3283" formatCode="#,##0_);\(#,##0\);&quot;-  &quot;;&quot; &quot;@&quot; &quot;">
                  <c:v>0</c:v>
                </c:pt>
                <c:pt idx="3284" formatCode="#,##0_);\(#,##0\);&quot;-  &quot;;&quot; &quot;@&quot; &quot;">
                  <c:v>0</c:v>
                </c:pt>
                <c:pt idx="3285" formatCode="#,##0_);\(#,##0\);&quot;-  &quot;;&quot; &quot;@&quot; &quot;">
                  <c:v>0</c:v>
                </c:pt>
                <c:pt idx="3286" formatCode="#,##0_);\(#,##0\);&quot;-  &quot;;&quot; &quot;@&quot; &quot;">
                  <c:v>0</c:v>
                </c:pt>
                <c:pt idx="3287" formatCode="#,##0_);\(#,##0\);&quot;-  &quot;;&quot; &quot;@&quot; &quot;">
                  <c:v>0</c:v>
                </c:pt>
                <c:pt idx="3288" formatCode="#,##0_);\(#,##0\);&quot;-  &quot;;&quot; &quot;@&quot; &quot;">
                  <c:v>0</c:v>
                </c:pt>
                <c:pt idx="3289" formatCode="#,##0_);\(#,##0\);&quot;-  &quot;;&quot; &quot;@&quot; &quot;">
                  <c:v>0</c:v>
                </c:pt>
                <c:pt idx="3290" formatCode="#,##0_);\(#,##0\);&quot;-  &quot;;&quot; &quot;@&quot; &quot;">
                  <c:v>0</c:v>
                </c:pt>
                <c:pt idx="3291" formatCode="#,##0_);\(#,##0\);&quot;-  &quot;;&quot; &quot;@&quot; &quot;">
                  <c:v>0</c:v>
                </c:pt>
                <c:pt idx="3292" formatCode="#,##0_);\(#,##0\);&quot;-  &quot;;&quot; &quot;@&quot; &quot;">
                  <c:v>0</c:v>
                </c:pt>
                <c:pt idx="3293" formatCode="#,##0_);\(#,##0\);&quot;-  &quot;;&quot; &quot;@&quot; &quot;">
                  <c:v>0</c:v>
                </c:pt>
                <c:pt idx="3294" formatCode="#,##0_);\(#,##0\);&quot;-  &quot;;&quot; &quot;@&quot; &quot;">
                  <c:v>0</c:v>
                </c:pt>
                <c:pt idx="3295" formatCode="#,##0_);\(#,##0\);&quot;-  &quot;;&quot; &quot;@&quot; &quot;">
                  <c:v>0</c:v>
                </c:pt>
                <c:pt idx="3296" formatCode="#,##0_);\(#,##0\);&quot;-  &quot;;&quot; &quot;@&quot; &quot;">
                  <c:v>0</c:v>
                </c:pt>
                <c:pt idx="3297" formatCode="#,##0_);\(#,##0\);&quot;-  &quot;;&quot; &quot;@&quot; &quot;">
                  <c:v>0</c:v>
                </c:pt>
                <c:pt idx="3298" formatCode="#,##0_);\(#,##0\);&quot;-  &quot;;&quot; &quot;@&quot; &quot;">
                  <c:v>0</c:v>
                </c:pt>
                <c:pt idx="3299" formatCode="#,##0_);\(#,##0\);&quot;-  &quot;;&quot; &quot;@&quot; &quot;">
                  <c:v>0</c:v>
                </c:pt>
                <c:pt idx="3300" formatCode="#,##0_);\(#,##0\);&quot;-  &quot;;&quot; &quot;@&quot; &quot;">
                  <c:v>0</c:v>
                </c:pt>
                <c:pt idx="3301" formatCode="#,##0_);\(#,##0\);&quot;-  &quot;;&quot; &quot;@&quot; &quot;">
                  <c:v>0</c:v>
                </c:pt>
                <c:pt idx="3302" formatCode="#,##0_);\(#,##0\);&quot;-  &quot;;&quot; &quot;@&quot; &quot;">
                  <c:v>0</c:v>
                </c:pt>
                <c:pt idx="3303" formatCode="#,##0_);\(#,##0\);&quot;-  &quot;;&quot; &quot;@&quot; &quot;">
                  <c:v>0</c:v>
                </c:pt>
                <c:pt idx="3304" formatCode="#,##0_);\(#,##0\);&quot;-  &quot;;&quot; &quot;@&quot; &quot;">
                  <c:v>0</c:v>
                </c:pt>
                <c:pt idx="3305" formatCode="#,##0_);\(#,##0\);&quot;-  &quot;;&quot; &quot;@&quot; &quot;">
                  <c:v>0</c:v>
                </c:pt>
                <c:pt idx="3306" formatCode="#,##0_);\(#,##0\);&quot;-  &quot;;&quot; &quot;@&quot; &quot;">
                  <c:v>0</c:v>
                </c:pt>
                <c:pt idx="3307" formatCode="#,##0_);\(#,##0\);&quot;-  &quot;;&quot; &quot;@&quot; &quot;">
                  <c:v>0</c:v>
                </c:pt>
                <c:pt idx="3308" formatCode="#,##0_);\(#,##0\);&quot;-  &quot;;&quot; &quot;@&quot; &quot;">
                  <c:v>0</c:v>
                </c:pt>
                <c:pt idx="3309" formatCode="#,##0_);\(#,##0\);&quot;-  &quot;;&quot; &quot;@&quot; &quot;">
                  <c:v>0</c:v>
                </c:pt>
                <c:pt idx="3310" formatCode="#,##0_);\(#,##0\);&quot;-  &quot;;&quot; &quot;@&quot; &quot;">
                  <c:v>0</c:v>
                </c:pt>
                <c:pt idx="3311" formatCode="#,##0_);\(#,##0\);&quot;-  &quot;;&quot; &quot;@&quot; &quot;">
                  <c:v>0</c:v>
                </c:pt>
                <c:pt idx="3312" formatCode="#,##0_);\(#,##0\);&quot;-  &quot;;&quot; &quot;@&quot; &quot;">
                  <c:v>0</c:v>
                </c:pt>
                <c:pt idx="3313" formatCode="#,##0_);\(#,##0\);&quot;-  &quot;;&quot; &quot;@&quot; &quot;">
                  <c:v>0</c:v>
                </c:pt>
                <c:pt idx="3314" formatCode="#,##0_);\(#,##0\);&quot;-  &quot;;&quot; &quot;@&quot; &quot;">
                  <c:v>0</c:v>
                </c:pt>
                <c:pt idx="3315" formatCode="#,##0_);\(#,##0\);&quot;-  &quot;;&quot; &quot;@&quot; &quot;">
                  <c:v>0</c:v>
                </c:pt>
                <c:pt idx="3316" formatCode="#,##0_);\(#,##0\);&quot;-  &quot;;&quot; &quot;@&quot; &quot;">
                  <c:v>0</c:v>
                </c:pt>
                <c:pt idx="3317" formatCode="#,##0_);\(#,##0\);&quot;-  &quot;;&quot; &quot;@&quot; &quot;">
                  <c:v>0</c:v>
                </c:pt>
                <c:pt idx="3318" formatCode="#,##0_);\(#,##0\);&quot;-  &quot;;&quot; &quot;@&quot; &quot;">
                  <c:v>0</c:v>
                </c:pt>
                <c:pt idx="3319" formatCode="#,##0_);\(#,##0\);&quot;-  &quot;;&quot; &quot;@&quot; &quot;">
                  <c:v>0</c:v>
                </c:pt>
                <c:pt idx="3320" formatCode="#,##0_);\(#,##0\);&quot;-  &quot;;&quot; &quot;@&quot; &quot;">
                  <c:v>0</c:v>
                </c:pt>
                <c:pt idx="3321" formatCode="#,##0_);\(#,##0\);&quot;-  &quot;;&quot; &quot;@&quot; &quot;">
                  <c:v>0</c:v>
                </c:pt>
                <c:pt idx="3322" formatCode="#,##0_);\(#,##0\);&quot;-  &quot;;&quot; &quot;@&quot; &quot;">
                  <c:v>0</c:v>
                </c:pt>
                <c:pt idx="3323" formatCode="#,##0_);\(#,##0\);&quot;-  &quot;;&quot; &quot;@&quot; &quot;">
                  <c:v>0</c:v>
                </c:pt>
                <c:pt idx="3324" formatCode="#,##0_);\(#,##0\);&quot;-  &quot;;&quot; &quot;@&quot; &quot;">
                  <c:v>0</c:v>
                </c:pt>
                <c:pt idx="3325" formatCode="#,##0_);\(#,##0\);&quot;-  &quot;;&quot; &quot;@&quot; &quot;">
                  <c:v>0</c:v>
                </c:pt>
                <c:pt idx="3326" formatCode="#,##0_);\(#,##0\);&quot;-  &quot;;&quot; &quot;@&quot; &quot;">
                  <c:v>0</c:v>
                </c:pt>
                <c:pt idx="3327" formatCode="#,##0_);\(#,##0\);&quot;-  &quot;;&quot; &quot;@&quot; &quot;">
                  <c:v>0</c:v>
                </c:pt>
                <c:pt idx="3328" formatCode="#,##0_);\(#,##0\);&quot;-  &quot;;&quot; &quot;@&quot; &quot;">
                  <c:v>0</c:v>
                </c:pt>
                <c:pt idx="3329" formatCode="#,##0_);\(#,##0\);&quot;-  &quot;;&quot; &quot;@&quot; &quot;">
                  <c:v>0</c:v>
                </c:pt>
                <c:pt idx="3330" formatCode="#,##0_);\(#,##0\);&quot;-  &quot;;&quot; &quot;@&quot; &quot;">
                  <c:v>0</c:v>
                </c:pt>
                <c:pt idx="3331" formatCode="#,##0_);\(#,##0\);&quot;-  &quot;;&quot; &quot;@&quot; &quot;">
                  <c:v>0</c:v>
                </c:pt>
                <c:pt idx="3332" formatCode="#,##0_);\(#,##0\);&quot;-  &quot;;&quot; &quot;@&quot; &quot;">
                  <c:v>0</c:v>
                </c:pt>
                <c:pt idx="3333" formatCode="#,##0_);\(#,##0\);&quot;-  &quot;;&quot; &quot;@&quot; &quot;">
                  <c:v>0</c:v>
                </c:pt>
                <c:pt idx="3334" formatCode="#,##0_);\(#,##0\);&quot;-  &quot;;&quot; &quot;@&quot; &quot;">
                  <c:v>0</c:v>
                </c:pt>
                <c:pt idx="3335" formatCode="#,##0_);\(#,##0\);&quot;-  &quot;;&quot; &quot;@&quot; &quot;">
                  <c:v>0</c:v>
                </c:pt>
                <c:pt idx="3336" formatCode="#,##0_);\(#,##0\);&quot;-  &quot;;&quot; &quot;@&quot; &quot;">
                  <c:v>0</c:v>
                </c:pt>
                <c:pt idx="3337" formatCode="#,##0_);\(#,##0\);&quot;-  &quot;;&quot; &quot;@&quot; &quot;">
                  <c:v>0</c:v>
                </c:pt>
                <c:pt idx="3338" formatCode="#,##0_);\(#,##0\);&quot;-  &quot;;&quot; &quot;@&quot; &quot;">
                  <c:v>0</c:v>
                </c:pt>
                <c:pt idx="3339" formatCode="#,##0_);\(#,##0\);&quot;-  &quot;;&quot; &quot;@&quot; &quot;">
                  <c:v>0</c:v>
                </c:pt>
                <c:pt idx="3340" formatCode="#,##0_);\(#,##0\);&quot;-  &quot;;&quot; &quot;@&quot; &quot;">
                  <c:v>0</c:v>
                </c:pt>
                <c:pt idx="3341" formatCode="#,##0_);\(#,##0\);&quot;-  &quot;;&quot; &quot;@&quot; &quot;">
                  <c:v>0</c:v>
                </c:pt>
                <c:pt idx="3342" formatCode="#,##0_);\(#,##0\);&quot;-  &quot;;&quot; &quot;@&quot; &quot;">
                  <c:v>0</c:v>
                </c:pt>
                <c:pt idx="3343" formatCode="#,##0_);\(#,##0\);&quot;-  &quot;;&quot; &quot;@&quot; &quot;">
                  <c:v>0</c:v>
                </c:pt>
                <c:pt idx="3344" formatCode="#,##0_);\(#,##0\);&quot;-  &quot;;&quot; &quot;@&quot; &quot;">
                  <c:v>0</c:v>
                </c:pt>
                <c:pt idx="3345" formatCode="#,##0_);\(#,##0\);&quot;-  &quot;;&quot; &quot;@&quot; &quot;">
                  <c:v>0</c:v>
                </c:pt>
                <c:pt idx="3346" formatCode="#,##0_);\(#,##0\);&quot;-  &quot;;&quot; &quot;@&quot; &quot;">
                  <c:v>0</c:v>
                </c:pt>
                <c:pt idx="3347" formatCode="#,##0_);\(#,##0\);&quot;-  &quot;;&quot; &quot;@&quot; &quot;">
                  <c:v>0</c:v>
                </c:pt>
                <c:pt idx="3348" formatCode="#,##0_);\(#,##0\);&quot;-  &quot;;&quot; &quot;@&quot; &quot;">
                  <c:v>0</c:v>
                </c:pt>
                <c:pt idx="3349" formatCode="#,##0_);\(#,##0\);&quot;-  &quot;;&quot; &quot;@&quot; &quot;">
                  <c:v>0</c:v>
                </c:pt>
                <c:pt idx="3350" formatCode="#,##0_);\(#,##0\);&quot;-  &quot;;&quot; &quot;@&quot; &quot;">
                  <c:v>0</c:v>
                </c:pt>
                <c:pt idx="3351" formatCode="#,##0_);\(#,##0\);&quot;-  &quot;;&quot; &quot;@&quot; &quot;">
                  <c:v>0</c:v>
                </c:pt>
                <c:pt idx="3352" formatCode="#,##0_);\(#,##0\);&quot;-  &quot;;&quot; &quot;@&quot; &quot;">
                  <c:v>0</c:v>
                </c:pt>
                <c:pt idx="3353" formatCode="#,##0_);\(#,##0\);&quot;-  &quot;;&quot; &quot;@&quot; &quot;">
                  <c:v>0</c:v>
                </c:pt>
                <c:pt idx="3354" formatCode="#,##0_);\(#,##0\);&quot;-  &quot;;&quot; &quot;@&quot; &quot;">
                  <c:v>0</c:v>
                </c:pt>
                <c:pt idx="3355" formatCode="#,##0_);\(#,##0\);&quot;-  &quot;;&quot; &quot;@&quot; &quot;">
                  <c:v>0</c:v>
                </c:pt>
                <c:pt idx="3356" formatCode="#,##0_);\(#,##0\);&quot;-  &quot;;&quot; &quot;@&quot; &quot;">
                  <c:v>0</c:v>
                </c:pt>
                <c:pt idx="3357" formatCode="#,##0_);\(#,##0\);&quot;-  &quot;;&quot; &quot;@&quot; &quot;">
                  <c:v>0</c:v>
                </c:pt>
                <c:pt idx="3358" formatCode="#,##0_);\(#,##0\);&quot;-  &quot;;&quot; &quot;@&quot; &quot;">
                  <c:v>0</c:v>
                </c:pt>
                <c:pt idx="3359" formatCode="#,##0_);\(#,##0\);&quot;-  &quot;;&quot; &quot;@&quot; &quot;">
                  <c:v>0</c:v>
                </c:pt>
                <c:pt idx="3360" formatCode="#,##0_);\(#,##0\);&quot;-  &quot;;&quot; &quot;@&quot; &quot;">
                  <c:v>0</c:v>
                </c:pt>
                <c:pt idx="3361" formatCode="#,##0_);\(#,##0\);&quot;-  &quot;;&quot; &quot;@&quot; &quot;">
                  <c:v>0</c:v>
                </c:pt>
                <c:pt idx="3362" formatCode="#,##0_);\(#,##0\);&quot;-  &quot;;&quot; &quot;@&quot; &quot;">
                  <c:v>0</c:v>
                </c:pt>
                <c:pt idx="3363" formatCode="#,##0_);\(#,##0\);&quot;-  &quot;;&quot; &quot;@&quot; &quot;">
                  <c:v>0</c:v>
                </c:pt>
                <c:pt idx="3364" formatCode="#,##0_);\(#,##0\);&quot;-  &quot;;&quot; &quot;@&quot; &quot;">
                  <c:v>0</c:v>
                </c:pt>
                <c:pt idx="3365" formatCode="#,##0_);\(#,##0\);&quot;-  &quot;;&quot; &quot;@&quot; &quot;">
                  <c:v>0</c:v>
                </c:pt>
                <c:pt idx="3366" formatCode="#,##0_);\(#,##0\);&quot;-  &quot;;&quot; &quot;@&quot; &quot;">
                  <c:v>0</c:v>
                </c:pt>
                <c:pt idx="3367" formatCode="#,##0_);\(#,##0\);&quot;-  &quot;;&quot; &quot;@&quot; &quot;">
                  <c:v>0</c:v>
                </c:pt>
                <c:pt idx="3368" formatCode="#,##0_);\(#,##0\);&quot;-  &quot;;&quot; &quot;@&quot; &quot;">
                  <c:v>0</c:v>
                </c:pt>
                <c:pt idx="3369" formatCode="#,##0_);\(#,##0\);&quot;-  &quot;;&quot; &quot;@&quot; &quot;">
                  <c:v>0</c:v>
                </c:pt>
                <c:pt idx="3370" formatCode="#,##0_);\(#,##0\);&quot;-  &quot;;&quot; &quot;@&quot; &quot;">
                  <c:v>0</c:v>
                </c:pt>
                <c:pt idx="3371" formatCode="#,##0_);\(#,##0\);&quot;-  &quot;;&quot; &quot;@&quot; &quot;">
                  <c:v>0</c:v>
                </c:pt>
                <c:pt idx="3372" formatCode="#,##0_);\(#,##0\);&quot;-  &quot;;&quot; &quot;@&quot; &quot;">
                  <c:v>0</c:v>
                </c:pt>
                <c:pt idx="3373" formatCode="#,##0_);\(#,##0\);&quot;-  &quot;;&quot; &quot;@&quot; &quot;">
                  <c:v>0</c:v>
                </c:pt>
                <c:pt idx="3374" formatCode="#,##0_);\(#,##0\);&quot;-  &quot;;&quot; &quot;@&quot; &quot;">
                  <c:v>0</c:v>
                </c:pt>
                <c:pt idx="3375" formatCode="#,##0_);\(#,##0\);&quot;-  &quot;;&quot; &quot;@&quot; &quot;">
                  <c:v>0</c:v>
                </c:pt>
                <c:pt idx="3376" formatCode="#,##0_);\(#,##0\);&quot;-  &quot;;&quot; &quot;@&quot; &quot;">
                  <c:v>0</c:v>
                </c:pt>
                <c:pt idx="3377" formatCode="#,##0_);\(#,##0\);&quot;-  &quot;;&quot; &quot;@&quot; &quot;">
                  <c:v>0</c:v>
                </c:pt>
                <c:pt idx="3378" formatCode="#,##0_);\(#,##0\);&quot;-  &quot;;&quot; &quot;@&quot; &quot;">
                  <c:v>0</c:v>
                </c:pt>
                <c:pt idx="3379" formatCode="#,##0_);\(#,##0\);&quot;-  &quot;;&quot; &quot;@&quot; &quot;">
                  <c:v>0</c:v>
                </c:pt>
                <c:pt idx="3380" formatCode="#,##0_);\(#,##0\);&quot;-  &quot;;&quot; &quot;@&quot; &quot;">
                  <c:v>0</c:v>
                </c:pt>
                <c:pt idx="3381" formatCode="#,##0_);\(#,##0\);&quot;-  &quot;;&quot; &quot;@&quot; &quot;">
                  <c:v>0</c:v>
                </c:pt>
                <c:pt idx="3382" formatCode="#,##0_);\(#,##0\);&quot;-  &quot;;&quot; &quot;@&quot; &quot;">
                  <c:v>0</c:v>
                </c:pt>
                <c:pt idx="3383" formatCode="#,##0_);\(#,##0\);&quot;-  &quot;;&quot; &quot;@&quot; &quot;">
                  <c:v>0</c:v>
                </c:pt>
                <c:pt idx="3384" formatCode="#,##0_);\(#,##0\);&quot;-  &quot;;&quot; &quot;@&quot; &quot;">
                  <c:v>0</c:v>
                </c:pt>
                <c:pt idx="3385" formatCode="#,##0_);\(#,##0\);&quot;-  &quot;;&quot; &quot;@&quot; &quot;">
                  <c:v>0</c:v>
                </c:pt>
                <c:pt idx="3386" formatCode="#,##0_);\(#,##0\);&quot;-  &quot;;&quot; &quot;@&quot; &quot;">
                  <c:v>0</c:v>
                </c:pt>
                <c:pt idx="3387" formatCode="#,##0_);\(#,##0\);&quot;-  &quot;;&quot; &quot;@&quot; &quot;">
                  <c:v>0</c:v>
                </c:pt>
                <c:pt idx="3388" formatCode="#,##0_);\(#,##0\);&quot;-  &quot;;&quot; &quot;@&quot; &quot;">
                  <c:v>0</c:v>
                </c:pt>
                <c:pt idx="3389" formatCode="#,##0_);\(#,##0\);&quot;-  &quot;;&quot; &quot;@&quot; &quot;">
                  <c:v>0</c:v>
                </c:pt>
                <c:pt idx="3390" formatCode="#,##0_);\(#,##0\);&quot;-  &quot;;&quot; &quot;@&quot; &quot;">
                  <c:v>0</c:v>
                </c:pt>
                <c:pt idx="3391" formatCode="#,##0_);\(#,##0\);&quot;-  &quot;;&quot; &quot;@&quot; &quot;">
                  <c:v>0</c:v>
                </c:pt>
                <c:pt idx="3392" formatCode="#,##0_);\(#,##0\);&quot;-  &quot;;&quot; &quot;@&quot; &quot;">
                  <c:v>0</c:v>
                </c:pt>
                <c:pt idx="3393" formatCode="#,##0_);\(#,##0\);&quot;-  &quot;;&quot; &quot;@&quot; &quot;">
                  <c:v>0</c:v>
                </c:pt>
                <c:pt idx="3394" formatCode="#,##0_);\(#,##0\);&quot;-  &quot;;&quot; &quot;@&quot; &quot;">
                  <c:v>0</c:v>
                </c:pt>
                <c:pt idx="3395" formatCode="#,##0_);\(#,##0\);&quot;-  &quot;;&quot; &quot;@&quot; &quot;">
                  <c:v>0</c:v>
                </c:pt>
                <c:pt idx="3396" formatCode="#,##0_);\(#,##0\);&quot;-  &quot;;&quot; &quot;@&quot; &quot;">
                  <c:v>0</c:v>
                </c:pt>
                <c:pt idx="3397" formatCode="#,##0_);\(#,##0\);&quot;-  &quot;;&quot; &quot;@&quot; &quot;">
                  <c:v>0</c:v>
                </c:pt>
                <c:pt idx="3398" formatCode="#,##0_);\(#,##0\);&quot;-  &quot;;&quot; &quot;@&quot; &quot;">
                  <c:v>0</c:v>
                </c:pt>
                <c:pt idx="3399" formatCode="#,##0_);\(#,##0\);&quot;-  &quot;;&quot; &quot;@&quot; &quot;">
                  <c:v>0</c:v>
                </c:pt>
                <c:pt idx="3400" formatCode="#,##0_);\(#,##0\);&quot;-  &quot;;&quot; &quot;@&quot; &quot;">
                  <c:v>0</c:v>
                </c:pt>
                <c:pt idx="3401" formatCode="#,##0_);\(#,##0\);&quot;-  &quot;;&quot; &quot;@&quot; &quot;">
                  <c:v>0</c:v>
                </c:pt>
                <c:pt idx="3402" formatCode="#,##0_);\(#,##0\);&quot;-  &quot;;&quot; &quot;@&quot; &quot;">
                  <c:v>0</c:v>
                </c:pt>
                <c:pt idx="3403" formatCode="#,##0_);\(#,##0\);&quot;-  &quot;;&quot; &quot;@&quot; &quot;">
                  <c:v>0</c:v>
                </c:pt>
                <c:pt idx="3404" formatCode="#,##0_);\(#,##0\);&quot;-  &quot;;&quot; &quot;@&quot; &quot;">
                  <c:v>0</c:v>
                </c:pt>
                <c:pt idx="3405" formatCode="#,##0_);\(#,##0\);&quot;-  &quot;;&quot; &quot;@&quot; &quot;">
                  <c:v>0</c:v>
                </c:pt>
                <c:pt idx="3406" formatCode="#,##0_);\(#,##0\);&quot;-  &quot;;&quot; &quot;@&quot; &quot;">
                  <c:v>0</c:v>
                </c:pt>
                <c:pt idx="3407" formatCode="#,##0_);\(#,##0\);&quot;-  &quot;;&quot; &quot;@&quot; &quot;">
                  <c:v>0</c:v>
                </c:pt>
                <c:pt idx="3408" formatCode="#,##0_);\(#,##0\);&quot;-  &quot;;&quot; &quot;@&quot; &quot;">
                  <c:v>0</c:v>
                </c:pt>
                <c:pt idx="3409" formatCode="#,##0_);\(#,##0\);&quot;-  &quot;;&quot; &quot;@&quot; &quot;">
                  <c:v>0</c:v>
                </c:pt>
                <c:pt idx="3410" formatCode="#,##0_);\(#,##0\);&quot;-  &quot;;&quot; &quot;@&quot; &quot;">
                  <c:v>0</c:v>
                </c:pt>
                <c:pt idx="3411" formatCode="#,##0_);\(#,##0\);&quot;-  &quot;;&quot; &quot;@&quot; &quot;">
                  <c:v>0</c:v>
                </c:pt>
                <c:pt idx="3412" formatCode="#,##0_);\(#,##0\);&quot;-  &quot;;&quot; &quot;@&quot; &quot;">
                  <c:v>0</c:v>
                </c:pt>
                <c:pt idx="3413" formatCode="#,##0_);\(#,##0\);&quot;-  &quot;;&quot; &quot;@&quot; &quot;">
                  <c:v>0</c:v>
                </c:pt>
                <c:pt idx="3414" formatCode="#,##0_);\(#,##0\);&quot;-  &quot;;&quot; &quot;@&quot; &quot;">
                  <c:v>0</c:v>
                </c:pt>
                <c:pt idx="3415" formatCode="#,##0_);\(#,##0\);&quot;-  &quot;;&quot; &quot;@&quot; &quot;">
                  <c:v>0</c:v>
                </c:pt>
                <c:pt idx="3416" formatCode="#,##0_);\(#,##0\);&quot;-  &quot;;&quot; &quot;@&quot; &quot;">
                  <c:v>0</c:v>
                </c:pt>
                <c:pt idx="3417" formatCode="#,##0_);\(#,##0\);&quot;-  &quot;;&quot; &quot;@&quot; &quot;">
                  <c:v>0</c:v>
                </c:pt>
                <c:pt idx="3418" formatCode="#,##0_);\(#,##0\);&quot;-  &quot;;&quot; &quot;@&quot; &quot;">
                  <c:v>0</c:v>
                </c:pt>
                <c:pt idx="3419" formatCode="#,##0_);\(#,##0\);&quot;-  &quot;;&quot; &quot;@&quot; &quot;">
                  <c:v>0</c:v>
                </c:pt>
                <c:pt idx="3420" formatCode="#,##0_);\(#,##0\);&quot;-  &quot;;&quot; &quot;@&quot; &quot;">
                  <c:v>0</c:v>
                </c:pt>
                <c:pt idx="3421" formatCode="#,##0_);\(#,##0\);&quot;-  &quot;;&quot; &quot;@&quot; &quot;">
                  <c:v>0</c:v>
                </c:pt>
                <c:pt idx="3422" formatCode="#,##0_);\(#,##0\);&quot;-  &quot;;&quot; &quot;@&quot; &quot;">
                  <c:v>0</c:v>
                </c:pt>
                <c:pt idx="3423" formatCode="#,##0_);\(#,##0\);&quot;-  &quot;;&quot; &quot;@&quot; &quot;">
                  <c:v>0</c:v>
                </c:pt>
                <c:pt idx="3424" formatCode="#,##0_);\(#,##0\);&quot;-  &quot;;&quot; &quot;@&quot; &quot;">
                  <c:v>0</c:v>
                </c:pt>
                <c:pt idx="3425" formatCode="#,##0_);\(#,##0\);&quot;-  &quot;;&quot; &quot;@&quot; &quot;">
                  <c:v>0</c:v>
                </c:pt>
                <c:pt idx="3426" formatCode="#,##0_);\(#,##0\);&quot;-  &quot;;&quot; &quot;@&quot; &quot;">
                  <c:v>0</c:v>
                </c:pt>
                <c:pt idx="3427" formatCode="#,##0_);\(#,##0\);&quot;-  &quot;;&quot; &quot;@&quot; &quot;">
                  <c:v>0</c:v>
                </c:pt>
                <c:pt idx="3428" formatCode="#,##0_);\(#,##0\);&quot;-  &quot;;&quot; &quot;@&quot; &quot;">
                  <c:v>0</c:v>
                </c:pt>
                <c:pt idx="3429" formatCode="#,##0_);\(#,##0\);&quot;-  &quot;;&quot; &quot;@&quot; &quot;">
                  <c:v>0</c:v>
                </c:pt>
                <c:pt idx="3430" formatCode="#,##0_);\(#,##0\);&quot;-  &quot;;&quot; &quot;@&quot; &quot;">
                  <c:v>0</c:v>
                </c:pt>
                <c:pt idx="3431" formatCode="#,##0_);\(#,##0\);&quot;-  &quot;;&quot; &quot;@&quot; &quot;">
                  <c:v>0</c:v>
                </c:pt>
                <c:pt idx="3432" formatCode="#,##0_);\(#,##0\);&quot;-  &quot;;&quot; &quot;@&quot; &quot;">
                  <c:v>0</c:v>
                </c:pt>
                <c:pt idx="3433" formatCode="#,##0_);\(#,##0\);&quot;-  &quot;;&quot; &quot;@&quot; &quot;">
                  <c:v>0</c:v>
                </c:pt>
                <c:pt idx="3434" formatCode="#,##0_);\(#,##0\);&quot;-  &quot;;&quot; &quot;@&quot; &quot;">
                  <c:v>0</c:v>
                </c:pt>
                <c:pt idx="3435" formatCode="#,##0_);\(#,##0\);&quot;-  &quot;;&quot; &quot;@&quot; &quot;">
                  <c:v>0</c:v>
                </c:pt>
                <c:pt idx="3436" formatCode="#,##0_);\(#,##0\);&quot;-  &quot;;&quot; &quot;@&quot; &quot;">
                  <c:v>0</c:v>
                </c:pt>
                <c:pt idx="3437" formatCode="#,##0_);\(#,##0\);&quot;-  &quot;;&quot; &quot;@&quot; &quot;">
                  <c:v>0</c:v>
                </c:pt>
                <c:pt idx="3438" formatCode="#,##0_);\(#,##0\);&quot;-  &quot;;&quot; &quot;@&quot; &quot;">
                  <c:v>0</c:v>
                </c:pt>
                <c:pt idx="3439" formatCode="#,##0_);\(#,##0\);&quot;-  &quot;;&quot; &quot;@&quot; &quot;">
                  <c:v>0</c:v>
                </c:pt>
                <c:pt idx="3440" formatCode="#,##0_);\(#,##0\);&quot;-  &quot;;&quot; &quot;@&quot; &quot;">
                  <c:v>0</c:v>
                </c:pt>
                <c:pt idx="3441" formatCode="#,##0_);\(#,##0\);&quot;-  &quot;;&quot; &quot;@&quot; &quot;">
                  <c:v>0</c:v>
                </c:pt>
                <c:pt idx="3442" formatCode="#,##0_);\(#,##0\);&quot;-  &quot;;&quot; &quot;@&quot; &quot;">
                  <c:v>0</c:v>
                </c:pt>
                <c:pt idx="3443" formatCode="#,##0_);\(#,##0\);&quot;-  &quot;;&quot; &quot;@&quot; &quot;">
                  <c:v>0</c:v>
                </c:pt>
                <c:pt idx="3444" formatCode="#,##0_);\(#,##0\);&quot;-  &quot;;&quot; &quot;@&quot; &quot;">
                  <c:v>0</c:v>
                </c:pt>
                <c:pt idx="3445" formatCode="#,##0_);\(#,##0\);&quot;-  &quot;;&quot; &quot;@&quot; &quot;">
                  <c:v>0</c:v>
                </c:pt>
                <c:pt idx="3446" formatCode="#,##0_);\(#,##0\);&quot;-  &quot;;&quot; &quot;@&quot; &quot;">
                  <c:v>0</c:v>
                </c:pt>
                <c:pt idx="3447" formatCode="#,##0_);\(#,##0\);&quot;-  &quot;;&quot; &quot;@&quot; &quot;">
                  <c:v>0</c:v>
                </c:pt>
                <c:pt idx="3448" formatCode="#,##0_);\(#,##0\);&quot;-  &quot;;&quot; &quot;@&quot; &quot;">
                  <c:v>0</c:v>
                </c:pt>
                <c:pt idx="3449" formatCode="#,##0_);\(#,##0\);&quot;-  &quot;;&quot; &quot;@&quot; &quot;">
                  <c:v>0</c:v>
                </c:pt>
                <c:pt idx="3450" formatCode="#,##0_);\(#,##0\);&quot;-  &quot;;&quot; &quot;@&quot; &quot;">
                  <c:v>0</c:v>
                </c:pt>
                <c:pt idx="3451" formatCode="#,##0_);\(#,##0\);&quot;-  &quot;;&quot; &quot;@&quot; &quot;">
                  <c:v>0</c:v>
                </c:pt>
                <c:pt idx="3452" formatCode="#,##0_);\(#,##0\);&quot;-  &quot;;&quot; &quot;@&quot; &quot;">
                  <c:v>0</c:v>
                </c:pt>
                <c:pt idx="3453" formatCode="#,##0_);\(#,##0\);&quot;-  &quot;;&quot; &quot;@&quot; &quot;">
                  <c:v>0</c:v>
                </c:pt>
                <c:pt idx="3454" formatCode="#,##0_);\(#,##0\);&quot;-  &quot;;&quot; &quot;@&quot; &quot;">
                  <c:v>0</c:v>
                </c:pt>
                <c:pt idx="3455" formatCode="#,##0_);\(#,##0\);&quot;-  &quot;;&quot; &quot;@&quot; &quot;">
                  <c:v>0</c:v>
                </c:pt>
                <c:pt idx="3456" formatCode="#,##0_);\(#,##0\);&quot;-  &quot;;&quot; &quot;@&quot; &quot;">
                  <c:v>0</c:v>
                </c:pt>
                <c:pt idx="3457" formatCode="#,##0_);\(#,##0\);&quot;-  &quot;;&quot; &quot;@&quot; &quot;">
                  <c:v>0</c:v>
                </c:pt>
                <c:pt idx="3458" formatCode="#,##0_);\(#,##0\);&quot;-  &quot;;&quot; &quot;@&quot; &quot;">
                  <c:v>0</c:v>
                </c:pt>
                <c:pt idx="3459" formatCode="#,##0_);\(#,##0\);&quot;-  &quot;;&quot; &quot;@&quot; &quot;">
                  <c:v>0</c:v>
                </c:pt>
                <c:pt idx="3460" formatCode="#,##0_);\(#,##0\);&quot;-  &quot;;&quot; &quot;@&quot; &quot;">
                  <c:v>0</c:v>
                </c:pt>
                <c:pt idx="3461" formatCode="#,##0_);\(#,##0\);&quot;-  &quot;;&quot; &quot;@&quot; &quot;">
                  <c:v>0</c:v>
                </c:pt>
                <c:pt idx="3462" formatCode="#,##0_);\(#,##0\);&quot;-  &quot;;&quot; &quot;@&quot; &quot;">
                  <c:v>0</c:v>
                </c:pt>
                <c:pt idx="3463" formatCode="#,##0_);\(#,##0\);&quot;-  &quot;;&quot; &quot;@&quot; &quot;">
                  <c:v>0</c:v>
                </c:pt>
                <c:pt idx="3464" formatCode="#,##0_);\(#,##0\);&quot;-  &quot;;&quot; &quot;@&quot; &quot;">
                  <c:v>0</c:v>
                </c:pt>
                <c:pt idx="3465" formatCode="#,##0_);\(#,##0\);&quot;-  &quot;;&quot; &quot;@&quot; &quot;">
                  <c:v>0</c:v>
                </c:pt>
                <c:pt idx="3466" formatCode="#,##0_);\(#,##0\);&quot;-  &quot;;&quot; &quot;@&quot; &quot;">
                  <c:v>0</c:v>
                </c:pt>
                <c:pt idx="3467" formatCode="#,##0_);\(#,##0\);&quot;-  &quot;;&quot; &quot;@&quot; &quot;">
                  <c:v>0</c:v>
                </c:pt>
                <c:pt idx="3468" formatCode="#,##0_);\(#,##0\);&quot;-  &quot;;&quot; &quot;@&quot; &quot;">
                  <c:v>0</c:v>
                </c:pt>
                <c:pt idx="3469" formatCode="#,##0_);\(#,##0\);&quot;-  &quot;;&quot; &quot;@&quot; &quot;">
                  <c:v>0</c:v>
                </c:pt>
                <c:pt idx="3470" formatCode="#,##0_);\(#,##0\);&quot;-  &quot;;&quot; &quot;@&quot; &quot;">
                  <c:v>0</c:v>
                </c:pt>
                <c:pt idx="3471" formatCode="#,##0_);\(#,##0\);&quot;-  &quot;;&quot; &quot;@&quot; &quot;">
                  <c:v>0</c:v>
                </c:pt>
                <c:pt idx="3472" formatCode="#,##0_);\(#,##0\);&quot;-  &quot;;&quot; &quot;@&quot; &quot;">
                  <c:v>0</c:v>
                </c:pt>
                <c:pt idx="3473" formatCode="#,##0_);\(#,##0\);&quot;-  &quot;;&quot; &quot;@&quot; &quot;">
                  <c:v>0</c:v>
                </c:pt>
                <c:pt idx="3474" formatCode="#,##0_);\(#,##0\);&quot;-  &quot;;&quot; &quot;@&quot; &quot;">
                  <c:v>0</c:v>
                </c:pt>
                <c:pt idx="3475" formatCode="#,##0_);\(#,##0\);&quot;-  &quot;;&quot; &quot;@&quot; &quot;">
                  <c:v>0</c:v>
                </c:pt>
                <c:pt idx="3476" formatCode="#,##0_);\(#,##0\);&quot;-  &quot;;&quot; &quot;@&quot; &quot;">
                  <c:v>0</c:v>
                </c:pt>
                <c:pt idx="3477" formatCode="#,##0_);\(#,##0\);&quot;-  &quot;;&quot; &quot;@&quot; &quot;">
                  <c:v>0</c:v>
                </c:pt>
                <c:pt idx="3478" formatCode="#,##0_);\(#,##0\);&quot;-  &quot;;&quot; &quot;@&quot; &quot;">
                  <c:v>0</c:v>
                </c:pt>
                <c:pt idx="3479" formatCode="#,##0_);\(#,##0\);&quot;-  &quot;;&quot; &quot;@&quot; &quot;">
                  <c:v>0</c:v>
                </c:pt>
                <c:pt idx="3480" formatCode="#,##0_);\(#,##0\);&quot;-  &quot;;&quot; &quot;@&quot; &quot;">
                  <c:v>0</c:v>
                </c:pt>
                <c:pt idx="3481" formatCode="#,##0_);\(#,##0\);&quot;-  &quot;;&quot; &quot;@&quot; &quot;">
                  <c:v>0</c:v>
                </c:pt>
                <c:pt idx="3482" formatCode="#,##0_);\(#,##0\);&quot;-  &quot;;&quot; &quot;@&quot; &quot;">
                  <c:v>0</c:v>
                </c:pt>
                <c:pt idx="3483" formatCode="#,##0_);\(#,##0\);&quot;-  &quot;;&quot; &quot;@&quot; &quot;">
                  <c:v>0</c:v>
                </c:pt>
                <c:pt idx="3484" formatCode="#,##0_);\(#,##0\);&quot;-  &quot;;&quot; &quot;@&quot; &quot;">
                  <c:v>0</c:v>
                </c:pt>
                <c:pt idx="3485" formatCode="#,##0_);\(#,##0\);&quot;-  &quot;;&quot; &quot;@&quot; &quot;">
                  <c:v>0</c:v>
                </c:pt>
                <c:pt idx="3486" formatCode="#,##0_);\(#,##0\);&quot;-  &quot;;&quot; &quot;@&quot; &quot;">
                  <c:v>0</c:v>
                </c:pt>
                <c:pt idx="3487" formatCode="#,##0_);\(#,##0\);&quot;-  &quot;;&quot; &quot;@&quot; &quot;">
                  <c:v>0</c:v>
                </c:pt>
                <c:pt idx="3488" formatCode="#,##0_);\(#,##0\);&quot;-  &quot;;&quot; &quot;@&quot; &quot;">
                  <c:v>0</c:v>
                </c:pt>
                <c:pt idx="3489" formatCode="#,##0_);\(#,##0\);&quot;-  &quot;;&quot; &quot;@&quot; &quot;">
                  <c:v>0</c:v>
                </c:pt>
                <c:pt idx="3490" formatCode="#,##0_);\(#,##0\);&quot;-  &quot;;&quot; &quot;@&quot; &quot;">
                  <c:v>0</c:v>
                </c:pt>
                <c:pt idx="3491" formatCode="#,##0_);\(#,##0\);&quot;-  &quot;;&quot; &quot;@&quot; &quot;">
                  <c:v>0</c:v>
                </c:pt>
                <c:pt idx="3492" formatCode="#,##0_);\(#,##0\);&quot;-  &quot;;&quot; &quot;@&quot; &quot;">
                  <c:v>0</c:v>
                </c:pt>
                <c:pt idx="3493" formatCode="#,##0_);\(#,##0\);&quot;-  &quot;;&quot; &quot;@&quot; &quot;">
                  <c:v>0</c:v>
                </c:pt>
                <c:pt idx="3494" formatCode="#,##0_);\(#,##0\);&quot;-  &quot;;&quot; &quot;@&quot; &quot;">
                  <c:v>0</c:v>
                </c:pt>
                <c:pt idx="3495" formatCode="#,##0_);\(#,##0\);&quot;-  &quot;;&quot; &quot;@&quot; &quot;">
                  <c:v>0</c:v>
                </c:pt>
                <c:pt idx="3496" formatCode="#,##0_);\(#,##0\);&quot;-  &quot;;&quot; &quot;@&quot; &quot;">
                  <c:v>0</c:v>
                </c:pt>
                <c:pt idx="3497" formatCode="#,##0_);\(#,##0\);&quot;-  &quot;;&quot; &quot;@&quot; &quot;">
                  <c:v>0</c:v>
                </c:pt>
                <c:pt idx="3498" formatCode="#,##0_);\(#,##0\);&quot;-  &quot;;&quot; &quot;@&quot; &quot;">
                  <c:v>0</c:v>
                </c:pt>
                <c:pt idx="3499" formatCode="#,##0_);\(#,##0\);&quot;-  &quot;;&quot; &quot;@&quot; &quot;">
                  <c:v>0</c:v>
                </c:pt>
                <c:pt idx="3500" formatCode="#,##0_);\(#,##0\);&quot;-  &quot;;&quot; &quot;@&quot; &quot;">
                  <c:v>0</c:v>
                </c:pt>
                <c:pt idx="3501" formatCode="#,##0_);\(#,##0\);&quot;-  &quot;;&quot; &quot;@&quot; &quot;">
                  <c:v>0</c:v>
                </c:pt>
                <c:pt idx="3502" formatCode="#,##0_);\(#,##0\);&quot;-  &quot;;&quot; &quot;@&quot; &quot;">
                  <c:v>0</c:v>
                </c:pt>
                <c:pt idx="3503" formatCode="#,##0_);\(#,##0\);&quot;-  &quot;;&quot; &quot;@&quot; &quot;">
                  <c:v>0</c:v>
                </c:pt>
                <c:pt idx="3504" formatCode="#,##0_);\(#,##0\);&quot;-  &quot;;&quot; &quot;@&quot; &quot;">
                  <c:v>0</c:v>
                </c:pt>
                <c:pt idx="3505" formatCode="#,##0_);\(#,##0\);&quot;-  &quot;;&quot; &quot;@&quot; &quot;">
                  <c:v>0</c:v>
                </c:pt>
                <c:pt idx="3506" formatCode="#,##0_);\(#,##0\);&quot;-  &quot;;&quot; &quot;@&quot; &quot;">
                  <c:v>0</c:v>
                </c:pt>
                <c:pt idx="3507" formatCode="#,##0_);\(#,##0\);&quot;-  &quot;;&quot; &quot;@&quot; &quot;">
                  <c:v>0</c:v>
                </c:pt>
                <c:pt idx="3508" formatCode="#,##0_);\(#,##0\);&quot;-  &quot;;&quot; &quot;@&quot; &quot;">
                  <c:v>0</c:v>
                </c:pt>
                <c:pt idx="3509" formatCode="#,##0_);\(#,##0\);&quot;-  &quot;;&quot; &quot;@&quot; &quot;">
                  <c:v>0</c:v>
                </c:pt>
                <c:pt idx="3510" formatCode="#,##0_);\(#,##0\);&quot;-  &quot;;&quot; &quot;@&quot; &quot;">
                  <c:v>0</c:v>
                </c:pt>
                <c:pt idx="3511" formatCode="#,##0_);\(#,##0\);&quot;-  &quot;;&quot; &quot;@&quot; &quot;">
                  <c:v>0</c:v>
                </c:pt>
                <c:pt idx="3512" formatCode="#,##0_);\(#,##0\);&quot;-  &quot;;&quot; &quot;@&quot; &quot;">
                  <c:v>0</c:v>
                </c:pt>
                <c:pt idx="3513" formatCode="#,##0_);\(#,##0\);&quot;-  &quot;;&quot; &quot;@&quot; &quot;">
                  <c:v>0</c:v>
                </c:pt>
                <c:pt idx="3514" formatCode="#,##0_);\(#,##0\);&quot;-  &quot;;&quot; &quot;@&quot; &quot;">
                  <c:v>0</c:v>
                </c:pt>
                <c:pt idx="3515" formatCode="#,##0_);\(#,##0\);&quot;-  &quot;;&quot; &quot;@&quot; &quot;">
                  <c:v>0</c:v>
                </c:pt>
                <c:pt idx="3516" formatCode="#,##0_);\(#,##0\);&quot;-  &quot;;&quot; &quot;@&quot; &quot;">
                  <c:v>0</c:v>
                </c:pt>
                <c:pt idx="3517" formatCode="#,##0_);\(#,##0\);&quot;-  &quot;;&quot; &quot;@&quot; &quot;">
                  <c:v>0</c:v>
                </c:pt>
                <c:pt idx="3518" formatCode="#,##0_);\(#,##0\);&quot;-  &quot;;&quot; &quot;@&quot; &quot;">
                  <c:v>0</c:v>
                </c:pt>
                <c:pt idx="3519" formatCode="#,##0_);\(#,##0\);&quot;-  &quot;;&quot; &quot;@&quot; &quot;">
                  <c:v>0</c:v>
                </c:pt>
                <c:pt idx="3520" formatCode="#,##0_);\(#,##0\);&quot;-  &quot;;&quot; &quot;@&quot; &quot;">
                  <c:v>0</c:v>
                </c:pt>
                <c:pt idx="3521" formatCode="#,##0_);\(#,##0\);&quot;-  &quot;;&quot; &quot;@&quot; &quot;">
                  <c:v>0</c:v>
                </c:pt>
                <c:pt idx="3522" formatCode="#,##0_);\(#,##0\);&quot;-  &quot;;&quot; &quot;@&quot; &quot;">
                  <c:v>0</c:v>
                </c:pt>
                <c:pt idx="3523" formatCode="#,##0_);\(#,##0\);&quot;-  &quot;;&quot; &quot;@&quot; &quot;">
                  <c:v>0</c:v>
                </c:pt>
                <c:pt idx="3524" formatCode="#,##0_);\(#,##0\);&quot;-  &quot;;&quot; &quot;@&quot; &quot;">
                  <c:v>0</c:v>
                </c:pt>
                <c:pt idx="3525" formatCode="#,##0_);\(#,##0\);&quot;-  &quot;;&quot; &quot;@&quot; &quot;">
                  <c:v>0</c:v>
                </c:pt>
                <c:pt idx="3526" formatCode="#,##0_);\(#,##0\);&quot;-  &quot;;&quot; &quot;@&quot; &quot;">
                  <c:v>0</c:v>
                </c:pt>
                <c:pt idx="3527" formatCode="#,##0_);\(#,##0\);&quot;-  &quot;;&quot; &quot;@&quot; &quot;">
                  <c:v>0</c:v>
                </c:pt>
                <c:pt idx="3528" formatCode="#,##0_);\(#,##0\);&quot;-  &quot;;&quot; &quot;@&quot; &quot;">
                  <c:v>0</c:v>
                </c:pt>
                <c:pt idx="3529" formatCode="#,##0_);\(#,##0\);&quot;-  &quot;;&quot; &quot;@&quot; &quot;">
                  <c:v>0</c:v>
                </c:pt>
                <c:pt idx="3530" formatCode="#,##0_);\(#,##0\);&quot;-  &quot;;&quot; &quot;@&quot; &quot;">
                  <c:v>0</c:v>
                </c:pt>
                <c:pt idx="3531" formatCode="#,##0_);\(#,##0\);&quot;-  &quot;;&quot; &quot;@&quot; &quot;">
                  <c:v>0</c:v>
                </c:pt>
                <c:pt idx="3532" formatCode="#,##0_);\(#,##0\);&quot;-  &quot;;&quot; &quot;@&quot; &quot;">
                  <c:v>0</c:v>
                </c:pt>
                <c:pt idx="3533" formatCode="#,##0_);\(#,##0\);&quot;-  &quot;;&quot; &quot;@&quot; &quot;">
                  <c:v>0</c:v>
                </c:pt>
                <c:pt idx="3534" formatCode="#,##0_);\(#,##0\);&quot;-  &quot;;&quot; &quot;@&quot; &quot;">
                  <c:v>0</c:v>
                </c:pt>
                <c:pt idx="3535" formatCode="#,##0_);\(#,##0\);&quot;-  &quot;;&quot; &quot;@&quot; &quot;">
                  <c:v>0</c:v>
                </c:pt>
                <c:pt idx="3536" formatCode="#,##0_);\(#,##0\);&quot;-  &quot;;&quot; &quot;@&quot; &quot;">
                  <c:v>0</c:v>
                </c:pt>
                <c:pt idx="3537" formatCode="#,##0_);\(#,##0\);&quot;-  &quot;;&quot; &quot;@&quot; &quot;">
                  <c:v>0</c:v>
                </c:pt>
                <c:pt idx="3538" formatCode="#,##0_);\(#,##0\);&quot;-  &quot;;&quot; &quot;@&quot; &quot;">
                  <c:v>0</c:v>
                </c:pt>
                <c:pt idx="3539" formatCode="#,##0_);\(#,##0\);&quot;-  &quot;;&quot; &quot;@&quot; &quot;">
                  <c:v>0</c:v>
                </c:pt>
                <c:pt idx="3540" formatCode="#,##0_);\(#,##0\);&quot;-  &quot;;&quot; &quot;@&quot; &quot;">
                  <c:v>0</c:v>
                </c:pt>
                <c:pt idx="3541" formatCode="#,##0_);\(#,##0\);&quot;-  &quot;;&quot; &quot;@&quot; &quot;">
                  <c:v>0</c:v>
                </c:pt>
                <c:pt idx="3542" formatCode="#,##0_);\(#,##0\);&quot;-  &quot;;&quot; &quot;@&quot; &quot;">
                  <c:v>0</c:v>
                </c:pt>
                <c:pt idx="3543" formatCode="#,##0_);\(#,##0\);&quot;-  &quot;;&quot; &quot;@&quot; &quot;">
                  <c:v>0</c:v>
                </c:pt>
                <c:pt idx="3544" formatCode="#,##0_);\(#,##0\);&quot;-  &quot;;&quot; &quot;@&quot; &quot;">
                  <c:v>0</c:v>
                </c:pt>
                <c:pt idx="3545" formatCode="#,##0_);\(#,##0\);&quot;-  &quot;;&quot; &quot;@&quot; &quot;">
                  <c:v>0</c:v>
                </c:pt>
                <c:pt idx="3546" formatCode="#,##0_);\(#,##0\);&quot;-  &quot;;&quot; &quot;@&quot; &quot;">
                  <c:v>0</c:v>
                </c:pt>
                <c:pt idx="3547" formatCode="#,##0_);\(#,##0\);&quot;-  &quot;;&quot; &quot;@&quot; &quot;">
                  <c:v>0</c:v>
                </c:pt>
                <c:pt idx="3548" formatCode="#,##0_);\(#,##0\);&quot;-  &quot;;&quot; &quot;@&quot; &quot;">
                  <c:v>0</c:v>
                </c:pt>
                <c:pt idx="3549" formatCode="#,##0_);\(#,##0\);&quot;-  &quot;;&quot; &quot;@&quot; &quot;">
                  <c:v>0</c:v>
                </c:pt>
                <c:pt idx="3550" formatCode="#,##0_);\(#,##0\);&quot;-  &quot;;&quot; &quot;@&quot; &quot;">
                  <c:v>0</c:v>
                </c:pt>
                <c:pt idx="3551" formatCode="#,##0_);\(#,##0\);&quot;-  &quot;;&quot; &quot;@&quot; &quot;">
                  <c:v>0</c:v>
                </c:pt>
                <c:pt idx="3552" formatCode="#,##0_);\(#,##0\);&quot;-  &quot;;&quot; &quot;@&quot; &quot;">
                  <c:v>0</c:v>
                </c:pt>
                <c:pt idx="3553" formatCode="#,##0_);\(#,##0\);&quot;-  &quot;;&quot; &quot;@&quot; &quot;">
                  <c:v>0</c:v>
                </c:pt>
                <c:pt idx="3554" formatCode="#,##0_);\(#,##0\);&quot;-  &quot;;&quot; &quot;@&quot; &quot;">
                  <c:v>0</c:v>
                </c:pt>
                <c:pt idx="3555" formatCode="#,##0_);\(#,##0\);&quot;-  &quot;;&quot; &quot;@&quot; &quot;">
                  <c:v>0</c:v>
                </c:pt>
                <c:pt idx="3556" formatCode="#,##0_);\(#,##0\);&quot;-  &quot;;&quot; &quot;@&quot; &quot;">
                  <c:v>0</c:v>
                </c:pt>
                <c:pt idx="3557" formatCode="#,##0_);\(#,##0\);&quot;-  &quot;;&quot; &quot;@&quot; &quot;">
                  <c:v>0</c:v>
                </c:pt>
                <c:pt idx="3558" formatCode="#,##0_);\(#,##0\);&quot;-  &quot;;&quot; &quot;@&quot; &quot;">
                  <c:v>0</c:v>
                </c:pt>
                <c:pt idx="3559" formatCode="#,##0_);\(#,##0\);&quot;-  &quot;;&quot; &quot;@&quot; &quot;">
                  <c:v>0</c:v>
                </c:pt>
                <c:pt idx="3560" formatCode="#,##0_);\(#,##0\);&quot;-  &quot;;&quot; &quot;@&quot; &quot;">
                  <c:v>0</c:v>
                </c:pt>
                <c:pt idx="3561" formatCode="#,##0_);\(#,##0\);&quot;-  &quot;;&quot; &quot;@&quot; &quot;">
                  <c:v>0</c:v>
                </c:pt>
                <c:pt idx="3562" formatCode="#,##0_);\(#,##0\);&quot;-  &quot;;&quot; &quot;@&quot; &quot;">
                  <c:v>0</c:v>
                </c:pt>
                <c:pt idx="3563" formatCode="#,##0_);\(#,##0\);&quot;-  &quot;;&quot; &quot;@&quot; &quot;">
                  <c:v>0</c:v>
                </c:pt>
                <c:pt idx="3564" formatCode="#,##0_);\(#,##0\);&quot;-  &quot;;&quot; &quot;@&quot; &quot;">
                  <c:v>0</c:v>
                </c:pt>
                <c:pt idx="3565" formatCode="#,##0_);\(#,##0\);&quot;-  &quot;;&quot; &quot;@&quot; &quot;">
                  <c:v>0</c:v>
                </c:pt>
                <c:pt idx="3566" formatCode="#,##0_);\(#,##0\);&quot;-  &quot;;&quot; &quot;@&quot; &quot;">
                  <c:v>0</c:v>
                </c:pt>
                <c:pt idx="3567" formatCode="#,##0_);\(#,##0\);&quot;-  &quot;;&quot; &quot;@&quot; &quot;">
                  <c:v>0</c:v>
                </c:pt>
                <c:pt idx="3568" formatCode="#,##0_);\(#,##0\);&quot;-  &quot;;&quot; &quot;@&quot; &quot;">
                  <c:v>0</c:v>
                </c:pt>
                <c:pt idx="3569" formatCode="#,##0_);\(#,##0\);&quot;-  &quot;;&quot; &quot;@&quot; &quot;">
                  <c:v>0</c:v>
                </c:pt>
                <c:pt idx="3570" formatCode="#,##0_);\(#,##0\);&quot;-  &quot;;&quot; &quot;@&quot; &quot;">
                  <c:v>0</c:v>
                </c:pt>
                <c:pt idx="3571" formatCode="#,##0_);\(#,##0\);&quot;-  &quot;;&quot; &quot;@&quot; &quot;">
                  <c:v>0</c:v>
                </c:pt>
                <c:pt idx="3572" formatCode="#,##0_);\(#,##0\);&quot;-  &quot;;&quot; &quot;@&quot; &quot;">
                  <c:v>0</c:v>
                </c:pt>
                <c:pt idx="3573" formatCode="#,##0_);\(#,##0\);&quot;-  &quot;;&quot; &quot;@&quot; &quot;">
                  <c:v>0</c:v>
                </c:pt>
                <c:pt idx="3574" formatCode="#,##0_);\(#,##0\);&quot;-  &quot;;&quot; &quot;@&quot; &quot;">
                  <c:v>0</c:v>
                </c:pt>
                <c:pt idx="3575" formatCode="#,##0_);\(#,##0\);&quot;-  &quot;;&quot; &quot;@&quot; &quot;">
                  <c:v>0</c:v>
                </c:pt>
                <c:pt idx="3576" formatCode="#,##0_);\(#,##0\);&quot;-  &quot;;&quot; &quot;@&quot; &quot;">
                  <c:v>0</c:v>
                </c:pt>
                <c:pt idx="3577" formatCode="#,##0_);\(#,##0\);&quot;-  &quot;;&quot; &quot;@&quot; &quot;">
                  <c:v>0</c:v>
                </c:pt>
                <c:pt idx="3578" formatCode="#,##0_);\(#,##0\);&quot;-  &quot;;&quot; &quot;@&quot; &quot;">
                  <c:v>0</c:v>
                </c:pt>
                <c:pt idx="3579" formatCode="#,##0_);\(#,##0\);&quot;-  &quot;;&quot; &quot;@&quot; &quot;">
                  <c:v>0</c:v>
                </c:pt>
                <c:pt idx="3580" formatCode="#,##0_);\(#,##0\);&quot;-  &quot;;&quot; &quot;@&quot; &quot;">
                  <c:v>0</c:v>
                </c:pt>
                <c:pt idx="3581" formatCode="#,##0_);\(#,##0\);&quot;-  &quot;;&quot; &quot;@&quot; &quot;">
                  <c:v>0</c:v>
                </c:pt>
                <c:pt idx="3582" formatCode="#,##0_);\(#,##0\);&quot;-  &quot;;&quot; &quot;@&quot; &quot;">
                  <c:v>0</c:v>
                </c:pt>
                <c:pt idx="3583" formatCode="#,##0_);\(#,##0\);&quot;-  &quot;;&quot; &quot;@&quot; &quot;">
                  <c:v>0</c:v>
                </c:pt>
                <c:pt idx="3584" formatCode="#,##0_);\(#,##0\);&quot;-  &quot;;&quot; &quot;@&quot; &quot;">
                  <c:v>0</c:v>
                </c:pt>
                <c:pt idx="3585" formatCode="#,##0_);\(#,##0\);&quot;-  &quot;;&quot; &quot;@&quot; &quot;">
                  <c:v>0</c:v>
                </c:pt>
                <c:pt idx="3586" formatCode="#,##0_);\(#,##0\);&quot;-  &quot;;&quot; &quot;@&quot; &quot;">
                  <c:v>0</c:v>
                </c:pt>
                <c:pt idx="3587" formatCode="#,##0_);\(#,##0\);&quot;-  &quot;;&quot; &quot;@&quot; &quot;">
                  <c:v>0</c:v>
                </c:pt>
                <c:pt idx="3588" formatCode="#,##0_);\(#,##0\);&quot;-  &quot;;&quot; &quot;@&quot; &quot;">
                  <c:v>0</c:v>
                </c:pt>
                <c:pt idx="3589" formatCode="#,##0_);\(#,##0\);&quot;-  &quot;;&quot; &quot;@&quot; &quot;">
                  <c:v>0</c:v>
                </c:pt>
                <c:pt idx="3590" formatCode="#,##0_);\(#,##0\);&quot;-  &quot;;&quot; &quot;@&quot; &quot;">
                  <c:v>0</c:v>
                </c:pt>
                <c:pt idx="3591" formatCode="#,##0_);\(#,##0\);&quot;-  &quot;;&quot; &quot;@&quot; &quot;">
                  <c:v>0</c:v>
                </c:pt>
                <c:pt idx="3592" formatCode="#,##0_);\(#,##0\);&quot;-  &quot;;&quot; &quot;@&quot; &quot;">
                  <c:v>0</c:v>
                </c:pt>
                <c:pt idx="3593" formatCode="#,##0_);\(#,##0\);&quot;-  &quot;;&quot; &quot;@&quot; &quot;">
                  <c:v>0</c:v>
                </c:pt>
                <c:pt idx="3594" formatCode="#,##0_);\(#,##0\);&quot;-  &quot;;&quot; &quot;@&quot; &quot;">
                  <c:v>0</c:v>
                </c:pt>
                <c:pt idx="3595" formatCode="#,##0_);\(#,##0\);&quot;-  &quot;;&quot; &quot;@&quot; &quot;">
                  <c:v>0</c:v>
                </c:pt>
                <c:pt idx="3596" formatCode="#,##0_);\(#,##0\);&quot;-  &quot;;&quot; &quot;@&quot; &quot;">
                  <c:v>0</c:v>
                </c:pt>
                <c:pt idx="3597" formatCode="#,##0_);\(#,##0\);&quot;-  &quot;;&quot; &quot;@&quot; &quot;">
                  <c:v>0</c:v>
                </c:pt>
                <c:pt idx="3598" formatCode="#,##0_);\(#,##0\);&quot;-  &quot;;&quot; &quot;@&quot; &quot;">
                  <c:v>0</c:v>
                </c:pt>
                <c:pt idx="3599" formatCode="#,##0_);\(#,##0\);&quot;-  &quot;;&quot; &quot;@&quot; &quot;">
                  <c:v>0</c:v>
                </c:pt>
                <c:pt idx="3600" formatCode="#,##0_);\(#,##0\);&quot;-  &quot;;&quot; &quot;@&quot; &quot;">
                  <c:v>0</c:v>
                </c:pt>
                <c:pt idx="3601" formatCode="#,##0_);\(#,##0\);&quot;-  &quot;;&quot; &quot;@&quot; &quot;">
                  <c:v>0</c:v>
                </c:pt>
                <c:pt idx="3602" formatCode="#,##0_);\(#,##0\);&quot;-  &quot;;&quot; &quot;@&quot; &quot;">
                  <c:v>0</c:v>
                </c:pt>
                <c:pt idx="3603" formatCode="#,##0_);\(#,##0\);&quot;-  &quot;;&quot; &quot;@&quot; &quot;">
                  <c:v>0</c:v>
                </c:pt>
                <c:pt idx="3604" formatCode="#,##0_);\(#,##0\);&quot;-  &quot;;&quot; &quot;@&quot; &quot;">
                  <c:v>0</c:v>
                </c:pt>
                <c:pt idx="3605" formatCode="#,##0_);\(#,##0\);&quot;-  &quot;;&quot; &quot;@&quot; &quot;">
                  <c:v>0</c:v>
                </c:pt>
                <c:pt idx="3606" formatCode="#,##0_);\(#,##0\);&quot;-  &quot;;&quot; &quot;@&quot; &quot;">
                  <c:v>0</c:v>
                </c:pt>
                <c:pt idx="3607" formatCode="#,##0_);\(#,##0\);&quot;-  &quot;;&quot; &quot;@&quot; &quot;">
                  <c:v>0</c:v>
                </c:pt>
                <c:pt idx="3608" formatCode="#,##0_);\(#,##0\);&quot;-  &quot;;&quot; &quot;@&quot; &quot;">
                  <c:v>0</c:v>
                </c:pt>
                <c:pt idx="3609" formatCode="#,##0_);\(#,##0\);&quot;-  &quot;;&quot; &quot;@&quot; &quot;">
                  <c:v>0</c:v>
                </c:pt>
                <c:pt idx="3610" formatCode="#,##0_);\(#,##0\);&quot;-  &quot;;&quot; &quot;@&quot; &quot;">
                  <c:v>0</c:v>
                </c:pt>
                <c:pt idx="3611" formatCode="#,##0_);\(#,##0\);&quot;-  &quot;;&quot; &quot;@&quot; &quot;">
                  <c:v>0</c:v>
                </c:pt>
                <c:pt idx="3612" formatCode="#,##0_);\(#,##0\);&quot;-  &quot;;&quot; &quot;@&quot; &quot;">
                  <c:v>0</c:v>
                </c:pt>
                <c:pt idx="3613" formatCode="#,##0_);\(#,##0\);&quot;-  &quot;;&quot; &quot;@&quot; &quot;">
                  <c:v>0</c:v>
                </c:pt>
                <c:pt idx="3614" formatCode="#,##0_);\(#,##0\);&quot;-  &quot;;&quot; &quot;@&quot; &quot;">
                  <c:v>0</c:v>
                </c:pt>
                <c:pt idx="3615" formatCode="#,##0_);\(#,##0\);&quot;-  &quot;;&quot; &quot;@&quot; &quot;">
                  <c:v>0</c:v>
                </c:pt>
                <c:pt idx="3616" formatCode="#,##0_);\(#,##0\);&quot;-  &quot;;&quot; &quot;@&quot; &quot;">
                  <c:v>0</c:v>
                </c:pt>
                <c:pt idx="3617" formatCode="#,##0_);\(#,##0\);&quot;-  &quot;;&quot; &quot;@&quot; &quot;">
                  <c:v>0</c:v>
                </c:pt>
                <c:pt idx="3618" formatCode="#,##0_);\(#,##0\);&quot;-  &quot;;&quot; &quot;@&quot; &quot;">
                  <c:v>0</c:v>
                </c:pt>
                <c:pt idx="3619" formatCode="#,##0_);\(#,##0\);&quot;-  &quot;;&quot; &quot;@&quot; &quot;">
                  <c:v>0</c:v>
                </c:pt>
                <c:pt idx="3620" formatCode="#,##0_);\(#,##0\);&quot;-  &quot;;&quot; &quot;@&quot; &quot;">
                  <c:v>0</c:v>
                </c:pt>
                <c:pt idx="3621" formatCode="#,##0_);\(#,##0\);&quot;-  &quot;;&quot; &quot;@&quot; &quot;">
                  <c:v>0</c:v>
                </c:pt>
                <c:pt idx="3622" formatCode="#,##0_);\(#,##0\);&quot;-  &quot;;&quot; &quot;@&quot; &quot;">
                  <c:v>0</c:v>
                </c:pt>
                <c:pt idx="3623" formatCode="#,##0_);\(#,##0\);&quot;-  &quot;;&quot; &quot;@&quot; &quot;">
                  <c:v>0</c:v>
                </c:pt>
                <c:pt idx="3624" formatCode="#,##0_);\(#,##0\);&quot;-  &quot;;&quot; &quot;@&quot; &quot;">
                  <c:v>0</c:v>
                </c:pt>
                <c:pt idx="3625" formatCode="#,##0_);\(#,##0\);&quot;-  &quot;;&quot; &quot;@&quot; &quot;">
                  <c:v>0</c:v>
                </c:pt>
                <c:pt idx="3626" formatCode="#,##0_);\(#,##0\);&quot;-  &quot;;&quot; &quot;@&quot; &quot;">
                  <c:v>0</c:v>
                </c:pt>
                <c:pt idx="3627" formatCode="#,##0_);\(#,##0\);&quot;-  &quot;;&quot; &quot;@&quot; &quot;">
                  <c:v>0</c:v>
                </c:pt>
                <c:pt idx="3628" formatCode="#,##0_);\(#,##0\);&quot;-  &quot;;&quot; &quot;@&quot; &quot;">
                  <c:v>0</c:v>
                </c:pt>
                <c:pt idx="3629" formatCode="#,##0_);\(#,##0\);&quot;-  &quot;;&quot; &quot;@&quot; &quot;">
                  <c:v>0</c:v>
                </c:pt>
                <c:pt idx="3630" formatCode="#,##0_);\(#,##0\);&quot;-  &quot;;&quot; &quot;@&quot; &quot;">
                  <c:v>0</c:v>
                </c:pt>
                <c:pt idx="3631" formatCode="#,##0_);\(#,##0\);&quot;-  &quot;;&quot; &quot;@&quot; &quot;">
                  <c:v>0</c:v>
                </c:pt>
                <c:pt idx="3632" formatCode="#,##0_);\(#,##0\);&quot;-  &quot;;&quot; &quot;@&quot; &quot;">
                  <c:v>0</c:v>
                </c:pt>
                <c:pt idx="3633" formatCode="#,##0_);\(#,##0\);&quot;-  &quot;;&quot; &quot;@&quot; &quot;">
                  <c:v>0</c:v>
                </c:pt>
                <c:pt idx="3634" formatCode="#,##0_);\(#,##0\);&quot;-  &quot;;&quot; &quot;@&quot; &quot;">
                  <c:v>0</c:v>
                </c:pt>
                <c:pt idx="3635" formatCode="#,##0_);\(#,##0\);&quot;-  &quot;;&quot; &quot;@&quot; &quot;">
                  <c:v>0</c:v>
                </c:pt>
                <c:pt idx="3636" formatCode="#,##0_);\(#,##0\);&quot;-  &quot;;&quot; &quot;@&quot; &quot;">
                  <c:v>0</c:v>
                </c:pt>
                <c:pt idx="3637" formatCode="#,##0_);\(#,##0\);&quot;-  &quot;;&quot; &quot;@&quot; &quot;">
                  <c:v>0</c:v>
                </c:pt>
                <c:pt idx="3638" formatCode="#,##0_);\(#,##0\);&quot;-  &quot;;&quot; &quot;@&quot; &quot;">
                  <c:v>0</c:v>
                </c:pt>
                <c:pt idx="3639" formatCode="#,##0_);\(#,##0\);&quot;-  &quot;;&quot; &quot;@&quot; &quot;">
                  <c:v>0</c:v>
                </c:pt>
                <c:pt idx="3640" formatCode="#,##0_);\(#,##0\);&quot;-  &quot;;&quot; &quot;@&quot; &quot;">
                  <c:v>0</c:v>
                </c:pt>
                <c:pt idx="3641" formatCode="#,##0_);\(#,##0\);&quot;-  &quot;;&quot; &quot;@&quot; &quot;">
                  <c:v>0</c:v>
                </c:pt>
                <c:pt idx="3642" formatCode="#,##0_);\(#,##0\);&quot;-  &quot;;&quot; &quot;@&quot; &quot;">
                  <c:v>0</c:v>
                </c:pt>
                <c:pt idx="3643" formatCode="#,##0_);\(#,##0\);&quot;-  &quot;;&quot; &quot;@&quot; &quot;">
                  <c:v>0</c:v>
                </c:pt>
                <c:pt idx="3644" formatCode="#,##0_);\(#,##0\);&quot;-  &quot;;&quot; &quot;@&quot; &quot;">
                  <c:v>0</c:v>
                </c:pt>
                <c:pt idx="3645" formatCode="#,##0_);\(#,##0\);&quot;-  &quot;;&quot; &quot;@&quot; &quot;">
                  <c:v>0</c:v>
                </c:pt>
                <c:pt idx="3646" formatCode="#,##0_);\(#,##0\);&quot;-  &quot;;&quot; &quot;@&quot; &quot;">
                  <c:v>0</c:v>
                </c:pt>
                <c:pt idx="3647" formatCode="#,##0_);\(#,##0\);&quot;-  &quot;;&quot; &quot;@&quot; &quot;">
                  <c:v>0</c:v>
                </c:pt>
                <c:pt idx="3648" formatCode="#,##0_);\(#,##0\);&quot;-  &quot;;&quot; &quot;@&quot; &quot;">
                  <c:v>0</c:v>
                </c:pt>
                <c:pt idx="3649" formatCode="#,##0_);\(#,##0\);&quot;-  &quot;;&quot; &quot;@&quot; &quot;">
                  <c:v>0</c:v>
                </c:pt>
                <c:pt idx="3650" formatCode="#,##0_);\(#,##0\);&quot;-  &quot;;&quot; &quot;@&quot; &quot;">
                  <c:v>0</c:v>
                </c:pt>
                <c:pt idx="3651" formatCode="#,##0_);\(#,##0\);&quot;-  &quot;;&quot; &quot;@&quot; &quot;">
                  <c:v>0</c:v>
                </c:pt>
                <c:pt idx="3652" formatCode="#,##0_);\(#,##0\);&quot;-  &quot;;&quot; &quot;@&quot; &quot;">
                  <c:v>0</c:v>
                </c:pt>
                <c:pt idx="3653" formatCode="#,##0_);\(#,##0\);&quot;-  &quot;;&quot; &quot;@&quot; &quot;">
                  <c:v>0</c:v>
                </c:pt>
                <c:pt idx="3654" formatCode="#,##0_);\(#,##0\);&quot;-  &quot;;&quot; &quot;@&quot; &quot;">
                  <c:v>0</c:v>
                </c:pt>
                <c:pt idx="3655" formatCode="#,##0_);\(#,##0\);&quot;-  &quot;;&quot; &quot;@&quot; &quot;">
                  <c:v>0</c:v>
                </c:pt>
                <c:pt idx="3656" formatCode="#,##0_);\(#,##0\);&quot;-  &quot;;&quot; &quot;@&quot; &quot;">
                  <c:v>0</c:v>
                </c:pt>
                <c:pt idx="3657" formatCode="#,##0_);\(#,##0\);&quot;-  &quot;;&quot; &quot;@&quot; &quot;">
                  <c:v>0</c:v>
                </c:pt>
                <c:pt idx="3658" formatCode="#,##0_);\(#,##0\);&quot;-  &quot;;&quot; &quot;@&quot; &quot;">
                  <c:v>0</c:v>
                </c:pt>
                <c:pt idx="3659" formatCode="#,##0_);\(#,##0\);&quot;-  &quot;;&quot; &quot;@&quot; &quot;">
                  <c:v>0</c:v>
                </c:pt>
                <c:pt idx="3660" formatCode="#,##0_);\(#,##0\);&quot;-  &quot;;&quot; &quot;@&quot; &quot;">
                  <c:v>0</c:v>
                </c:pt>
                <c:pt idx="3661" formatCode="#,##0_);\(#,##0\);&quot;-  &quot;;&quot; &quot;@&quot; &quot;">
                  <c:v>0</c:v>
                </c:pt>
                <c:pt idx="3662" formatCode="#,##0_);\(#,##0\);&quot;-  &quot;;&quot; &quot;@&quot; &quot;">
                  <c:v>0</c:v>
                </c:pt>
                <c:pt idx="3663" formatCode="#,##0_);\(#,##0\);&quot;-  &quot;;&quot; &quot;@&quot; &quot;">
                  <c:v>0</c:v>
                </c:pt>
                <c:pt idx="3664" formatCode="#,##0_);\(#,##0\);&quot;-  &quot;;&quot; &quot;@&quot; &quot;">
                  <c:v>0</c:v>
                </c:pt>
                <c:pt idx="3665" formatCode="#,##0_);\(#,##0\);&quot;-  &quot;;&quot; &quot;@&quot; &quot;">
                  <c:v>0</c:v>
                </c:pt>
                <c:pt idx="3666" formatCode="#,##0_);\(#,##0\);&quot;-  &quot;;&quot; &quot;@&quot; &quot;">
                  <c:v>0</c:v>
                </c:pt>
                <c:pt idx="3667" formatCode="#,##0_);\(#,##0\);&quot;-  &quot;;&quot; &quot;@&quot; &quot;">
                  <c:v>0</c:v>
                </c:pt>
                <c:pt idx="3668" formatCode="#,##0_);\(#,##0\);&quot;-  &quot;;&quot; &quot;@&quot; &quot;">
                  <c:v>0</c:v>
                </c:pt>
                <c:pt idx="3669" formatCode="#,##0_);\(#,##0\);&quot;-  &quot;;&quot; &quot;@&quot; &quot;">
                  <c:v>0</c:v>
                </c:pt>
                <c:pt idx="3670" formatCode="#,##0_);\(#,##0\);&quot;-  &quot;;&quot; &quot;@&quot; &quot;">
                  <c:v>0</c:v>
                </c:pt>
                <c:pt idx="3671" formatCode="#,##0_);\(#,##0\);&quot;-  &quot;;&quot; &quot;@&quot; &quot;">
                  <c:v>0</c:v>
                </c:pt>
                <c:pt idx="3672" formatCode="#,##0_);\(#,##0\);&quot;-  &quot;;&quot; &quot;@&quot; &quot;">
                  <c:v>0</c:v>
                </c:pt>
                <c:pt idx="3673" formatCode="#,##0_);\(#,##0\);&quot;-  &quot;;&quot; &quot;@&quot; &quot;">
                  <c:v>0</c:v>
                </c:pt>
                <c:pt idx="3674" formatCode="#,##0_);\(#,##0\);&quot;-  &quot;;&quot; &quot;@&quot; &quot;">
                  <c:v>0</c:v>
                </c:pt>
                <c:pt idx="3675" formatCode="#,##0_);\(#,##0\);&quot;-  &quot;;&quot; &quot;@&quot; &quot;">
                  <c:v>0</c:v>
                </c:pt>
                <c:pt idx="3676" formatCode="#,##0_);\(#,##0\);&quot;-  &quot;;&quot; &quot;@&quot; &quot;">
                  <c:v>0</c:v>
                </c:pt>
                <c:pt idx="3677" formatCode="#,##0_);\(#,##0\);&quot;-  &quot;;&quot; &quot;@&quot; &quot;">
                  <c:v>0</c:v>
                </c:pt>
                <c:pt idx="3678" formatCode="#,##0_);\(#,##0\);&quot;-  &quot;;&quot; &quot;@&quot; &quot;">
                  <c:v>0</c:v>
                </c:pt>
                <c:pt idx="3679" formatCode="#,##0_);\(#,##0\);&quot;-  &quot;;&quot; &quot;@&quot; &quot;">
                  <c:v>0</c:v>
                </c:pt>
                <c:pt idx="3680" formatCode="#,##0_);\(#,##0\);&quot;-  &quot;;&quot; &quot;@&quot; &quot;">
                  <c:v>0</c:v>
                </c:pt>
                <c:pt idx="3681" formatCode="#,##0_);\(#,##0\);&quot;-  &quot;;&quot; &quot;@&quot; &quot;">
                  <c:v>0</c:v>
                </c:pt>
                <c:pt idx="3682" formatCode="#,##0_);\(#,##0\);&quot;-  &quot;;&quot; &quot;@&quot; &quot;">
                  <c:v>0</c:v>
                </c:pt>
                <c:pt idx="3683" formatCode="#,##0_);\(#,##0\);&quot;-  &quot;;&quot; &quot;@&quot; &quot;">
                  <c:v>0</c:v>
                </c:pt>
                <c:pt idx="3684" formatCode="#,##0_);\(#,##0\);&quot;-  &quot;;&quot; &quot;@&quot; &quot;">
                  <c:v>0</c:v>
                </c:pt>
                <c:pt idx="3685" formatCode="#,##0_);\(#,##0\);&quot;-  &quot;;&quot; &quot;@&quot; &quot;">
                  <c:v>0</c:v>
                </c:pt>
                <c:pt idx="3686" formatCode="#,##0_);\(#,##0\);&quot;-  &quot;;&quot; &quot;@&quot; &quot;">
                  <c:v>0</c:v>
                </c:pt>
                <c:pt idx="3687" formatCode="#,##0_);\(#,##0\);&quot;-  &quot;;&quot; &quot;@&quot; &quot;">
                  <c:v>0</c:v>
                </c:pt>
                <c:pt idx="3688" formatCode="#,##0_);\(#,##0\);&quot;-  &quot;;&quot; &quot;@&quot; &quot;">
                  <c:v>0</c:v>
                </c:pt>
                <c:pt idx="3689" formatCode="#,##0_);\(#,##0\);&quot;-  &quot;;&quot; &quot;@&quot; &quot;">
                  <c:v>0</c:v>
                </c:pt>
                <c:pt idx="3690" formatCode="#,##0_);\(#,##0\);&quot;-  &quot;;&quot; &quot;@&quot; &quot;">
                  <c:v>0</c:v>
                </c:pt>
                <c:pt idx="3691" formatCode="#,##0_);\(#,##0\);&quot;-  &quot;;&quot; &quot;@&quot; &quot;">
                  <c:v>0</c:v>
                </c:pt>
                <c:pt idx="3692" formatCode="#,##0_);\(#,##0\);&quot;-  &quot;;&quot; &quot;@&quot; &quot;">
                  <c:v>0</c:v>
                </c:pt>
                <c:pt idx="3693" formatCode="#,##0_);\(#,##0\);&quot;-  &quot;;&quot; &quot;@&quot; &quot;">
                  <c:v>0</c:v>
                </c:pt>
                <c:pt idx="3694" formatCode="#,##0_);\(#,##0\);&quot;-  &quot;;&quot; &quot;@&quot; &quot;">
                  <c:v>0</c:v>
                </c:pt>
                <c:pt idx="3695" formatCode="#,##0_);\(#,##0\);&quot;-  &quot;;&quot; &quot;@&quot; &quot;">
                  <c:v>0</c:v>
                </c:pt>
                <c:pt idx="3696" formatCode="#,##0_);\(#,##0\);&quot;-  &quot;;&quot; &quot;@&quot; &quot;">
                  <c:v>0</c:v>
                </c:pt>
                <c:pt idx="3697" formatCode="#,##0_);\(#,##0\);&quot;-  &quot;;&quot; &quot;@&quot; &quot;">
                  <c:v>0</c:v>
                </c:pt>
                <c:pt idx="3698" formatCode="#,##0_);\(#,##0\);&quot;-  &quot;;&quot; &quot;@&quot; &quot;">
                  <c:v>0</c:v>
                </c:pt>
                <c:pt idx="3699" formatCode="#,##0_);\(#,##0\);&quot;-  &quot;;&quot; &quot;@&quot; &quot;">
                  <c:v>0</c:v>
                </c:pt>
                <c:pt idx="3700" formatCode="#,##0_);\(#,##0\);&quot;-  &quot;;&quot; &quot;@&quot; &quot;">
                  <c:v>0</c:v>
                </c:pt>
                <c:pt idx="3701" formatCode="#,##0_);\(#,##0\);&quot;-  &quot;;&quot; &quot;@&quot; &quot;">
                  <c:v>0</c:v>
                </c:pt>
                <c:pt idx="3702" formatCode="#,##0_);\(#,##0\);&quot;-  &quot;;&quot; &quot;@&quot; &quot;">
                  <c:v>0</c:v>
                </c:pt>
                <c:pt idx="3703" formatCode="#,##0_);\(#,##0\);&quot;-  &quot;;&quot; &quot;@&quot; &quot;">
                  <c:v>0</c:v>
                </c:pt>
                <c:pt idx="3704" formatCode="#,##0_);\(#,##0\);&quot;-  &quot;;&quot; &quot;@&quot; &quot;">
                  <c:v>0</c:v>
                </c:pt>
                <c:pt idx="3705" formatCode="#,##0_);\(#,##0\);&quot;-  &quot;;&quot; &quot;@&quot; &quot;">
                  <c:v>0</c:v>
                </c:pt>
                <c:pt idx="3706" formatCode="#,##0_);\(#,##0\);&quot;-  &quot;;&quot; &quot;@&quot; &quot;">
                  <c:v>0</c:v>
                </c:pt>
                <c:pt idx="3707" formatCode="#,##0_);\(#,##0\);&quot;-  &quot;;&quot; &quot;@&quot; &quot;">
                  <c:v>0</c:v>
                </c:pt>
                <c:pt idx="3708" formatCode="#,##0_);\(#,##0\);&quot;-  &quot;;&quot; &quot;@&quot; &quot;">
                  <c:v>0</c:v>
                </c:pt>
                <c:pt idx="3709" formatCode="#,##0_);\(#,##0\);&quot;-  &quot;;&quot; &quot;@&quot; &quot;">
                  <c:v>0</c:v>
                </c:pt>
                <c:pt idx="3710" formatCode="#,##0_);\(#,##0\);&quot;-  &quot;;&quot; &quot;@&quot; &quot;">
                  <c:v>0</c:v>
                </c:pt>
                <c:pt idx="3711" formatCode="#,##0_);\(#,##0\);&quot;-  &quot;;&quot; &quot;@&quot; &quot;">
                  <c:v>0</c:v>
                </c:pt>
                <c:pt idx="3712" formatCode="#,##0_);\(#,##0\);&quot;-  &quot;;&quot; &quot;@&quot; &quot;">
                  <c:v>0</c:v>
                </c:pt>
                <c:pt idx="3713" formatCode="#,##0_);\(#,##0\);&quot;-  &quot;;&quot; &quot;@&quot; &quot;">
                  <c:v>0</c:v>
                </c:pt>
                <c:pt idx="3714" formatCode="#,##0_);\(#,##0\);&quot;-  &quot;;&quot; &quot;@&quot; &quot;">
                  <c:v>0</c:v>
                </c:pt>
                <c:pt idx="3715" formatCode="#,##0_);\(#,##0\);&quot;-  &quot;;&quot; &quot;@&quot; &quot;">
                  <c:v>0</c:v>
                </c:pt>
                <c:pt idx="3716" formatCode="#,##0_);\(#,##0\);&quot;-  &quot;;&quot; &quot;@&quot; &quot;">
                  <c:v>0</c:v>
                </c:pt>
                <c:pt idx="3717" formatCode="#,##0_);\(#,##0\);&quot;-  &quot;;&quot; &quot;@&quot; &quot;">
                  <c:v>0</c:v>
                </c:pt>
                <c:pt idx="3718" formatCode="#,##0_);\(#,##0\);&quot;-  &quot;;&quot; &quot;@&quot; &quot;">
                  <c:v>0</c:v>
                </c:pt>
                <c:pt idx="3719" formatCode="#,##0_);\(#,##0\);&quot;-  &quot;;&quot; &quot;@&quot; &quot;">
                  <c:v>0</c:v>
                </c:pt>
                <c:pt idx="3720" formatCode="#,##0_);\(#,##0\);&quot;-  &quot;;&quot; &quot;@&quot; &quot;">
                  <c:v>0</c:v>
                </c:pt>
                <c:pt idx="3721" formatCode="#,##0_);\(#,##0\);&quot;-  &quot;;&quot; &quot;@&quot; &quot;">
                  <c:v>0</c:v>
                </c:pt>
                <c:pt idx="3722" formatCode="#,##0_);\(#,##0\);&quot;-  &quot;;&quot; &quot;@&quot; &quot;">
                  <c:v>0</c:v>
                </c:pt>
                <c:pt idx="3723" formatCode="#,##0_);\(#,##0\);&quot;-  &quot;;&quot; &quot;@&quot; &quot;">
                  <c:v>0</c:v>
                </c:pt>
                <c:pt idx="3724" formatCode="#,##0_);\(#,##0\);&quot;-  &quot;;&quot; &quot;@&quot; &quot;">
                  <c:v>0</c:v>
                </c:pt>
                <c:pt idx="3725" formatCode="#,##0_);\(#,##0\);&quot;-  &quot;;&quot; &quot;@&quot; &quot;">
                  <c:v>0</c:v>
                </c:pt>
                <c:pt idx="3726" formatCode="#,##0_);\(#,##0\);&quot;-  &quot;;&quot; &quot;@&quot; &quot;">
                  <c:v>0</c:v>
                </c:pt>
                <c:pt idx="3727" formatCode="#,##0_);\(#,##0\);&quot;-  &quot;;&quot; &quot;@&quot; &quot;">
                  <c:v>0</c:v>
                </c:pt>
                <c:pt idx="3728" formatCode="#,##0_);\(#,##0\);&quot;-  &quot;;&quot; &quot;@&quot; &quot;">
                  <c:v>0</c:v>
                </c:pt>
                <c:pt idx="3729" formatCode="#,##0_);\(#,##0\);&quot;-  &quot;;&quot; &quot;@&quot; &quot;">
                  <c:v>0</c:v>
                </c:pt>
                <c:pt idx="3730" formatCode="#,##0_);\(#,##0\);&quot;-  &quot;;&quot; &quot;@&quot; &quot;">
                  <c:v>0</c:v>
                </c:pt>
                <c:pt idx="3731" formatCode="#,##0_);\(#,##0\);&quot;-  &quot;;&quot; &quot;@&quot; &quot;">
                  <c:v>0</c:v>
                </c:pt>
                <c:pt idx="3732" formatCode="#,##0_);\(#,##0\);&quot;-  &quot;;&quot; &quot;@&quot; &quot;">
                  <c:v>0</c:v>
                </c:pt>
                <c:pt idx="3733" formatCode="#,##0_);\(#,##0\);&quot;-  &quot;;&quot; &quot;@&quot; &quot;">
                  <c:v>0</c:v>
                </c:pt>
                <c:pt idx="3734" formatCode="#,##0_);\(#,##0\);&quot;-  &quot;;&quot; &quot;@&quot; &quot;">
                  <c:v>0</c:v>
                </c:pt>
                <c:pt idx="3735" formatCode="#,##0_);\(#,##0\);&quot;-  &quot;;&quot; &quot;@&quot; &quot;">
                  <c:v>0</c:v>
                </c:pt>
                <c:pt idx="3736" formatCode="#,##0_);\(#,##0\);&quot;-  &quot;;&quot; &quot;@&quot; &quot;">
                  <c:v>0</c:v>
                </c:pt>
                <c:pt idx="3737" formatCode="#,##0_);\(#,##0\);&quot;-  &quot;;&quot; &quot;@&quot; &quot;">
                  <c:v>0</c:v>
                </c:pt>
                <c:pt idx="3738" formatCode="#,##0_);\(#,##0\);&quot;-  &quot;;&quot; &quot;@&quot; &quot;">
                  <c:v>0</c:v>
                </c:pt>
                <c:pt idx="3739" formatCode="#,##0_);\(#,##0\);&quot;-  &quot;;&quot; &quot;@&quot; &quot;">
                  <c:v>0</c:v>
                </c:pt>
                <c:pt idx="3740" formatCode="#,##0_);\(#,##0\);&quot;-  &quot;;&quot; &quot;@&quot; &quot;">
                  <c:v>0</c:v>
                </c:pt>
                <c:pt idx="3741" formatCode="#,##0_);\(#,##0\);&quot;-  &quot;;&quot; &quot;@&quot; &quot;">
                  <c:v>0</c:v>
                </c:pt>
                <c:pt idx="3742" formatCode="#,##0_);\(#,##0\);&quot;-  &quot;;&quot; &quot;@&quot; &quot;">
                  <c:v>0</c:v>
                </c:pt>
                <c:pt idx="3743" formatCode="#,##0_);\(#,##0\);&quot;-  &quot;;&quot; &quot;@&quot; &quot;">
                  <c:v>0</c:v>
                </c:pt>
                <c:pt idx="3744" formatCode="#,##0_);\(#,##0\);&quot;-  &quot;;&quot; &quot;@&quot; &quot;">
                  <c:v>0</c:v>
                </c:pt>
                <c:pt idx="3745" formatCode="#,##0_);\(#,##0\);&quot;-  &quot;;&quot; &quot;@&quot; &quot;">
                  <c:v>0</c:v>
                </c:pt>
                <c:pt idx="3746" formatCode="#,##0_);\(#,##0\);&quot;-  &quot;;&quot; &quot;@&quot; &quot;">
                  <c:v>0</c:v>
                </c:pt>
                <c:pt idx="3747" formatCode="#,##0_);\(#,##0\);&quot;-  &quot;;&quot; &quot;@&quot; &quot;">
                  <c:v>0</c:v>
                </c:pt>
                <c:pt idx="3748" formatCode="#,##0_);\(#,##0\);&quot;-  &quot;;&quot; &quot;@&quot; &quot;">
                  <c:v>0</c:v>
                </c:pt>
                <c:pt idx="3749" formatCode="#,##0_);\(#,##0\);&quot;-  &quot;;&quot; &quot;@&quot; &quot;">
                  <c:v>0</c:v>
                </c:pt>
                <c:pt idx="3750" formatCode="#,##0_);\(#,##0\);&quot;-  &quot;;&quot; &quot;@&quot; &quot;">
                  <c:v>0</c:v>
                </c:pt>
                <c:pt idx="3751" formatCode="#,##0_);\(#,##0\);&quot;-  &quot;;&quot; &quot;@&quot; &quot;">
                  <c:v>0</c:v>
                </c:pt>
                <c:pt idx="3752" formatCode="#,##0_);\(#,##0\);&quot;-  &quot;;&quot; &quot;@&quot; &quot;">
                  <c:v>0</c:v>
                </c:pt>
                <c:pt idx="3753" formatCode="#,##0_);\(#,##0\);&quot;-  &quot;;&quot; &quot;@&quot; &quot;">
                  <c:v>0</c:v>
                </c:pt>
                <c:pt idx="3754" formatCode="#,##0_);\(#,##0\);&quot;-  &quot;;&quot; &quot;@&quot; &quot;">
                  <c:v>0</c:v>
                </c:pt>
                <c:pt idx="3755" formatCode="#,##0_);\(#,##0\);&quot;-  &quot;;&quot; &quot;@&quot; &quot;">
                  <c:v>0</c:v>
                </c:pt>
                <c:pt idx="3756" formatCode="#,##0_);\(#,##0\);&quot;-  &quot;;&quot; &quot;@&quot; &quot;">
                  <c:v>0</c:v>
                </c:pt>
                <c:pt idx="3757" formatCode="#,##0_);\(#,##0\);&quot;-  &quot;;&quot; &quot;@&quot; &quot;">
                  <c:v>0</c:v>
                </c:pt>
                <c:pt idx="3758" formatCode="#,##0_);\(#,##0\);&quot;-  &quot;;&quot; &quot;@&quot; &quot;">
                  <c:v>0</c:v>
                </c:pt>
                <c:pt idx="3759" formatCode="#,##0_);\(#,##0\);&quot;-  &quot;;&quot; &quot;@&quot; &quot;">
                  <c:v>0</c:v>
                </c:pt>
                <c:pt idx="3760" formatCode="#,##0_);\(#,##0\);&quot;-  &quot;;&quot; &quot;@&quot; &quot;">
                  <c:v>0</c:v>
                </c:pt>
                <c:pt idx="3761" formatCode="#,##0_);\(#,##0\);&quot;-  &quot;;&quot; &quot;@&quot; &quot;">
                  <c:v>0</c:v>
                </c:pt>
                <c:pt idx="3762" formatCode="#,##0_);\(#,##0\);&quot;-  &quot;;&quot; &quot;@&quot; &quot;">
                  <c:v>0</c:v>
                </c:pt>
                <c:pt idx="3763" formatCode="#,##0_);\(#,##0\);&quot;-  &quot;;&quot; &quot;@&quot; &quot;">
                  <c:v>0</c:v>
                </c:pt>
                <c:pt idx="3764" formatCode="#,##0_);\(#,##0\);&quot;-  &quot;;&quot; &quot;@&quot; &quot;">
                  <c:v>0</c:v>
                </c:pt>
                <c:pt idx="3765" formatCode="#,##0_);\(#,##0\);&quot;-  &quot;;&quot; &quot;@&quot; &quot;">
                  <c:v>0</c:v>
                </c:pt>
                <c:pt idx="3766" formatCode="#,##0_);\(#,##0\);&quot;-  &quot;;&quot; &quot;@&quot; &quot;">
                  <c:v>0</c:v>
                </c:pt>
                <c:pt idx="3767" formatCode="#,##0_);\(#,##0\);&quot;-  &quot;;&quot; &quot;@&quot; &quot;">
                  <c:v>0</c:v>
                </c:pt>
                <c:pt idx="3768" formatCode="#,##0_);\(#,##0\);&quot;-  &quot;;&quot; &quot;@&quot; &quot;">
                  <c:v>0</c:v>
                </c:pt>
                <c:pt idx="3769" formatCode="#,##0_);\(#,##0\);&quot;-  &quot;;&quot; &quot;@&quot; &quot;">
                  <c:v>0</c:v>
                </c:pt>
                <c:pt idx="3770" formatCode="#,##0_);\(#,##0\);&quot;-  &quot;;&quot; &quot;@&quot; &quot;">
                  <c:v>0</c:v>
                </c:pt>
                <c:pt idx="3771" formatCode="#,##0_);\(#,##0\);&quot;-  &quot;;&quot; &quot;@&quot; &quot;">
                  <c:v>0</c:v>
                </c:pt>
                <c:pt idx="3772" formatCode="#,##0_);\(#,##0\);&quot;-  &quot;;&quot; &quot;@&quot; &quot;">
                  <c:v>0</c:v>
                </c:pt>
                <c:pt idx="3773" formatCode="#,##0_);\(#,##0\);&quot;-  &quot;;&quot; &quot;@&quot; &quot;">
                  <c:v>0</c:v>
                </c:pt>
                <c:pt idx="3774" formatCode="#,##0_);\(#,##0\);&quot;-  &quot;;&quot; &quot;@&quot; &quot;">
                  <c:v>0</c:v>
                </c:pt>
                <c:pt idx="3775" formatCode="#,##0_);\(#,##0\);&quot;-  &quot;;&quot; &quot;@&quot; &quot;">
                  <c:v>0</c:v>
                </c:pt>
                <c:pt idx="3776" formatCode="#,##0_);\(#,##0\);&quot;-  &quot;;&quot; &quot;@&quot; &quot;">
                  <c:v>0</c:v>
                </c:pt>
                <c:pt idx="3777" formatCode="#,##0_);\(#,##0\);&quot;-  &quot;;&quot; &quot;@&quot; &quot;">
                  <c:v>0</c:v>
                </c:pt>
                <c:pt idx="3778" formatCode="#,##0_);\(#,##0\);&quot;-  &quot;;&quot; &quot;@&quot; &quot;">
                  <c:v>0</c:v>
                </c:pt>
                <c:pt idx="3779" formatCode="#,##0_);\(#,##0\);&quot;-  &quot;;&quot; &quot;@&quot; &quot;">
                  <c:v>0</c:v>
                </c:pt>
                <c:pt idx="3780" formatCode="#,##0_);\(#,##0\);&quot;-  &quot;;&quot; &quot;@&quot; &quot;">
                  <c:v>0</c:v>
                </c:pt>
                <c:pt idx="3781" formatCode="#,##0_);\(#,##0\);&quot;-  &quot;;&quot; &quot;@&quot; &quot;">
                  <c:v>0</c:v>
                </c:pt>
                <c:pt idx="3782" formatCode="#,##0_);\(#,##0\);&quot;-  &quot;;&quot; &quot;@&quot; &quot;">
                  <c:v>0</c:v>
                </c:pt>
                <c:pt idx="3783" formatCode="#,##0_);\(#,##0\);&quot;-  &quot;;&quot; &quot;@&quot; &quot;">
                  <c:v>0</c:v>
                </c:pt>
                <c:pt idx="3784" formatCode="#,##0_);\(#,##0\);&quot;-  &quot;;&quot; &quot;@&quot; &quot;">
                  <c:v>0</c:v>
                </c:pt>
                <c:pt idx="3785" formatCode="#,##0_);\(#,##0\);&quot;-  &quot;;&quot; &quot;@&quot; &quot;">
                  <c:v>0</c:v>
                </c:pt>
                <c:pt idx="3786" formatCode="#,##0_);\(#,##0\);&quot;-  &quot;;&quot; &quot;@&quot; &quot;">
                  <c:v>0</c:v>
                </c:pt>
                <c:pt idx="3787" formatCode="#,##0_);\(#,##0\);&quot;-  &quot;;&quot; &quot;@&quot; &quot;">
                  <c:v>0</c:v>
                </c:pt>
                <c:pt idx="3788" formatCode="#,##0_);\(#,##0\);&quot;-  &quot;;&quot; &quot;@&quot; &quot;">
                  <c:v>0</c:v>
                </c:pt>
                <c:pt idx="3789" formatCode="#,##0_);\(#,##0\);&quot;-  &quot;;&quot; &quot;@&quot; &quot;">
                  <c:v>0</c:v>
                </c:pt>
                <c:pt idx="3790" formatCode="#,##0_);\(#,##0\);&quot;-  &quot;;&quot; &quot;@&quot; &quot;">
                  <c:v>0</c:v>
                </c:pt>
                <c:pt idx="3791" formatCode="#,##0_);\(#,##0\);&quot;-  &quot;;&quot; &quot;@&quot; &quot;">
                  <c:v>0</c:v>
                </c:pt>
                <c:pt idx="3792" formatCode="#,##0_);\(#,##0\);&quot;-  &quot;;&quot; &quot;@&quot; &quot;">
                  <c:v>0</c:v>
                </c:pt>
                <c:pt idx="3793" formatCode="#,##0_);\(#,##0\);&quot;-  &quot;;&quot; &quot;@&quot; &quot;">
                  <c:v>0</c:v>
                </c:pt>
                <c:pt idx="3794" formatCode="#,##0_);\(#,##0\);&quot;-  &quot;;&quot; &quot;@&quot; &quot;">
                  <c:v>0</c:v>
                </c:pt>
                <c:pt idx="3795" formatCode="#,##0_);\(#,##0\);&quot;-  &quot;;&quot; &quot;@&quot; &quot;">
                  <c:v>0</c:v>
                </c:pt>
                <c:pt idx="3796" formatCode="#,##0_);\(#,##0\);&quot;-  &quot;;&quot; &quot;@&quot; &quot;">
                  <c:v>0</c:v>
                </c:pt>
                <c:pt idx="3797" formatCode="#,##0_);\(#,##0\);&quot;-  &quot;;&quot; &quot;@&quot; &quot;">
                  <c:v>0</c:v>
                </c:pt>
                <c:pt idx="3798" formatCode="#,##0_);\(#,##0\);&quot;-  &quot;;&quot; &quot;@&quot; &quot;">
                  <c:v>0</c:v>
                </c:pt>
                <c:pt idx="3799" formatCode="#,##0_);\(#,##0\);&quot;-  &quot;;&quot; &quot;@&quot; &quot;">
                  <c:v>0</c:v>
                </c:pt>
                <c:pt idx="3800" formatCode="#,##0_);\(#,##0\);&quot;-  &quot;;&quot; &quot;@&quot; &quot;">
                  <c:v>0</c:v>
                </c:pt>
                <c:pt idx="3801" formatCode="#,##0_);\(#,##0\);&quot;-  &quot;;&quot; &quot;@&quot; &quot;">
                  <c:v>0</c:v>
                </c:pt>
                <c:pt idx="3802" formatCode="#,##0_);\(#,##0\);&quot;-  &quot;;&quot; &quot;@&quot; &quot;">
                  <c:v>0</c:v>
                </c:pt>
                <c:pt idx="3803" formatCode="#,##0_);\(#,##0\);&quot;-  &quot;;&quot; &quot;@&quot; &quot;">
                  <c:v>0</c:v>
                </c:pt>
                <c:pt idx="3804" formatCode="#,##0_);\(#,##0\);&quot;-  &quot;;&quot; &quot;@&quot; &quot;">
                  <c:v>0</c:v>
                </c:pt>
                <c:pt idx="3805" formatCode="#,##0_);\(#,##0\);&quot;-  &quot;;&quot; &quot;@&quot; &quot;">
                  <c:v>0</c:v>
                </c:pt>
                <c:pt idx="3806" formatCode="#,##0_);\(#,##0\);&quot;-  &quot;;&quot; &quot;@&quot; &quot;">
                  <c:v>0</c:v>
                </c:pt>
                <c:pt idx="3807" formatCode="#,##0_);\(#,##0\);&quot;-  &quot;;&quot; &quot;@&quot; &quot;">
                  <c:v>0</c:v>
                </c:pt>
                <c:pt idx="3808" formatCode="#,##0_);\(#,##0\);&quot;-  &quot;;&quot; &quot;@&quot; &quot;">
                  <c:v>0</c:v>
                </c:pt>
                <c:pt idx="3809" formatCode="#,##0_);\(#,##0\);&quot;-  &quot;;&quot; &quot;@&quot; &quot;">
                  <c:v>0</c:v>
                </c:pt>
                <c:pt idx="3810" formatCode="#,##0_);\(#,##0\);&quot;-  &quot;;&quot; &quot;@&quot; &quot;">
                  <c:v>0</c:v>
                </c:pt>
                <c:pt idx="3811" formatCode="#,##0_);\(#,##0\);&quot;-  &quot;;&quot; &quot;@&quot; &quot;">
                  <c:v>0</c:v>
                </c:pt>
                <c:pt idx="3812" formatCode="#,##0_);\(#,##0\);&quot;-  &quot;;&quot; &quot;@&quot; &quot;">
                  <c:v>0</c:v>
                </c:pt>
                <c:pt idx="3813" formatCode="#,##0_);\(#,##0\);&quot;-  &quot;;&quot; &quot;@&quot; &quot;">
                  <c:v>0</c:v>
                </c:pt>
                <c:pt idx="3814" formatCode="#,##0_);\(#,##0\);&quot;-  &quot;;&quot; &quot;@&quot; &quot;">
                  <c:v>0</c:v>
                </c:pt>
                <c:pt idx="3815" formatCode="#,##0_);\(#,##0\);&quot;-  &quot;;&quot; &quot;@&quot; &quot;">
                  <c:v>0</c:v>
                </c:pt>
                <c:pt idx="3816" formatCode="#,##0_);\(#,##0\);&quot;-  &quot;;&quot; &quot;@&quot; &quot;">
                  <c:v>0</c:v>
                </c:pt>
                <c:pt idx="3817" formatCode="#,##0_);\(#,##0\);&quot;-  &quot;;&quot; &quot;@&quot; &quot;">
                  <c:v>0</c:v>
                </c:pt>
                <c:pt idx="3818" formatCode="#,##0_);\(#,##0\);&quot;-  &quot;;&quot; &quot;@&quot; &quot;">
                  <c:v>0</c:v>
                </c:pt>
                <c:pt idx="3819" formatCode="#,##0_);\(#,##0\);&quot;-  &quot;;&quot; &quot;@&quot; &quot;">
                  <c:v>0</c:v>
                </c:pt>
                <c:pt idx="3820" formatCode="#,##0_);\(#,##0\);&quot;-  &quot;;&quot; &quot;@&quot; &quot;">
                  <c:v>0</c:v>
                </c:pt>
                <c:pt idx="3821" formatCode="#,##0_);\(#,##0\);&quot;-  &quot;;&quot; &quot;@&quot; &quot;">
                  <c:v>0</c:v>
                </c:pt>
                <c:pt idx="3822" formatCode="#,##0_);\(#,##0\);&quot;-  &quot;;&quot; &quot;@&quot; &quot;">
                  <c:v>0</c:v>
                </c:pt>
                <c:pt idx="3823" formatCode="#,##0_);\(#,##0\);&quot;-  &quot;;&quot; &quot;@&quot; &quot;">
                  <c:v>0</c:v>
                </c:pt>
                <c:pt idx="3824" formatCode="#,##0_);\(#,##0\);&quot;-  &quot;;&quot; &quot;@&quot; &quot;">
                  <c:v>0</c:v>
                </c:pt>
                <c:pt idx="3825" formatCode="#,##0_);\(#,##0\);&quot;-  &quot;;&quot; &quot;@&quot; &quot;">
                  <c:v>0</c:v>
                </c:pt>
                <c:pt idx="3826" formatCode="#,##0_);\(#,##0\);&quot;-  &quot;;&quot; &quot;@&quot; &quot;">
                  <c:v>0</c:v>
                </c:pt>
                <c:pt idx="3827" formatCode="#,##0_);\(#,##0\);&quot;-  &quot;;&quot; &quot;@&quot; &quot;">
                  <c:v>0</c:v>
                </c:pt>
                <c:pt idx="3828" formatCode="#,##0_);\(#,##0\);&quot;-  &quot;;&quot; &quot;@&quot; &quot;">
                  <c:v>0</c:v>
                </c:pt>
                <c:pt idx="3829" formatCode="#,##0_);\(#,##0\);&quot;-  &quot;;&quot; &quot;@&quot; &quot;">
                  <c:v>0</c:v>
                </c:pt>
                <c:pt idx="3830" formatCode="#,##0_);\(#,##0\);&quot;-  &quot;;&quot; &quot;@&quot; &quot;">
                  <c:v>0</c:v>
                </c:pt>
                <c:pt idx="3831" formatCode="#,##0_);\(#,##0\);&quot;-  &quot;;&quot; &quot;@&quot; &quot;">
                  <c:v>0</c:v>
                </c:pt>
                <c:pt idx="3832" formatCode="#,##0_);\(#,##0\);&quot;-  &quot;;&quot; &quot;@&quot; &quot;">
                  <c:v>0</c:v>
                </c:pt>
                <c:pt idx="3833" formatCode="#,##0_);\(#,##0\);&quot;-  &quot;;&quot; &quot;@&quot; &quot;">
                  <c:v>0</c:v>
                </c:pt>
                <c:pt idx="3834" formatCode="#,##0_);\(#,##0\);&quot;-  &quot;;&quot; &quot;@&quot; &quot;">
                  <c:v>0</c:v>
                </c:pt>
                <c:pt idx="3835" formatCode="#,##0_);\(#,##0\);&quot;-  &quot;;&quot; &quot;@&quot; &quot;">
                  <c:v>0</c:v>
                </c:pt>
                <c:pt idx="3836" formatCode="#,##0_);\(#,##0\);&quot;-  &quot;;&quot; &quot;@&quot; &quot;">
                  <c:v>0</c:v>
                </c:pt>
                <c:pt idx="3837" formatCode="#,##0_);\(#,##0\);&quot;-  &quot;;&quot; &quot;@&quot; &quot;">
                  <c:v>0</c:v>
                </c:pt>
                <c:pt idx="3838" formatCode="#,##0_);\(#,##0\);&quot;-  &quot;;&quot; &quot;@&quot; &quot;">
                  <c:v>0</c:v>
                </c:pt>
                <c:pt idx="3839" formatCode="#,##0_);\(#,##0\);&quot;-  &quot;;&quot; &quot;@&quot; &quot;">
                  <c:v>0</c:v>
                </c:pt>
                <c:pt idx="3840" formatCode="#,##0_);\(#,##0\);&quot;-  &quot;;&quot; &quot;@&quot; &quot;">
                  <c:v>0</c:v>
                </c:pt>
                <c:pt idx="3841" formatCode="#,##0_);\(#,##0\);&quot;-  &quot;;&quot; &quot;@&quot; &quot;">
                  <c:v>0</c:v>
                </c:pt>
                <c:pt idx="3842" formatCode="#,##0_);\(#,##0\);&quot;-  &quot;;&quot; &quot;@&quot; &quot;">
                  <c:v>0</c:v>
                </c:pt>
                <c:pt idx="3843" formatCode="#,##0_);\(#,##0\);&quot;-  &quot;;&quot; &quot;@&quot; &quot;">
                  <c:v>0</c:v>
                </c:pt>
                <c:pt idx="3844" formatCode="#,##0_);\(#,##0\);&quot;-  &quot;;&quot; &quot;@&quot; &quot;">
                  <c:v>0</c:v>
                </c:pt>
                <c:pt idx="3845" formatCode="#,##0_);\(#,##0\);&quot;-  &quot;;&quot; &quot;@&quot; &quot;">
                  <c:v>0</c:v>
                </c:pt>
                <c:pt idx="3846" formatCode="#,##0_);\(#,##0\);&quot;-  &quot;;&quot; &quot;@&quot; &quot;">
                  <c:v>0</c:v>
                </c:pt>
                <c:pt idx="3847" formatCode="#,##0_);\(#,##0\);&quot;-  &quot;;&quot; &quot;@&quot; &quot;">
                  <c:v>0</c:v>
                </c:pt>
                <c:pt idx="3848" formatCode="#,##0_);\(#,##0\);&quot;-  &quot;;&quot; &quot;@&quot; &quot;">
                  <c:v>0</c:v>
                </c:pt>
                <c:pt idx="3849" formatCode="#,##0_);\(#,##0\);&quot;-  &quot;;&quot; &quot;@&quot; &quot;">
                  <c:v>0</c:v>
                </c:pt>
                <c:pt idx="3850" formatCode="#,##0_);\(#,##0\);&quot;-  &quot;;&quot; &quot;@&quot; &quot;">
                  <c:v>0</c:v>
                </c:pt>
                <c:pt idx="3851" formatCode="#,##0_);\(#,##0\);&quot;-  &quot;;&quot; &quot;@&quot; &quot;">
                  <c:v>0</c:v>
                </c:pt>
                <c:pt idx="3852" formatCode="#,##0_);\(#,##0\);&quot;-  &quot;;&quot; &quot;@&quot; &quot;">
                  <c:v>0</c:v>
                </c:pt>
                <c:pt idx="3853" formatCode="#,##0_);\(#,##0\);&quot;-  &quot;;&quot; &quot;@&quot; &quot;">
                  <c:v>0</c:v>
                </c:pt>
                <c:pt idx="3854" formatCode="#,##0_);\(#,##0\);&quot;-  &quot;;&quot; &quot;@&quot; &quot;">
                  <c:v>0</c:v>
                </c:pt>
                <c:pt idx="3855" formatCode="#,##0_);\(#,##0\);&quot;-  &quot;;&quot; &quot;@&quot; &quot;">
                  <c:v>0</c:v>
                </c:pt>
                <c:pt idx="3856" formatCode="#,##0_);\(#,##0\);&quot;-  &quot;;&quot; &quot;@&quot; &quot;">
                  <c:v>0</c:v>
                </c:pt>
                <c:pt idx="3857" formatCode="#,##0_);\(#,##0\);&quot;-  &quot;;&quot; &quot;@&quot; &quot;">
                  <c:v>0</c:v>
                </c:pt>
                <c:pt idx="3858" formatCode="#,##0_);\(#,##0\);&quot;-  &quot;;&quot; &quot;@&quot; &quot;">
                  <c:v>0</c:v>
                </c:pt>
                <c:pt idx="3859" formatCode="#,##0_);\(#,##0\);&quot;-  &quot;;&quot; &quot;@&quot; &quot;">
                  <c:v>0</c:v>
                </c:pt>
                <c:pt idx="3860" formatCode="#,##0_);\(#,##0\);&quot;-  &quot;;&quot; &quot;@&quot; &quot;">
                  <c:v>0</c:v>
                </c:pt>
                <c:pt idx="3861" formatCode="#,##0_);\(#,##0\);&quot;-  &quot;;&quot; &quot;@&quot; &quot;">
                  <c:v>0</c:v>
                </c:pt>
                <c:pt idx="3862" formatCode="#,##0_);\(#,##0\);&quot;-  &quot;;&quot; &quot;@&quot; &quot;">
                  <c:v>0</c:v>
                </c:pt>
                <c:pt idx="3863" formatCode="#,##0_);\(#,##0\);&quot;-  &quot;;&quot; &quot;@&quot; &quot;">
                  <c:v>0</c:v>
                </c:pt>
                <c:pt idx="3864" formatCode="#,##0_);\(#,##0\);&quot;-  &quot;;&quot; &quot;@&quot; &quot;">
                  <c:v>0</c:v>
                </c:pt>
                <c:pt idx="3865" formatCode="#,##0_);\(#,##0\);&quot;-  &quot;;&quot; &quot;@&quot; &quot;">
                  <c:v>0</c:v>
                </c:pt>
                <c:pt idx="3866" formatCode="#,##0_);\(#,##0\);&quot;-  &quot;;&quot; &quot;@&quot; &quot;">
                  <c:v>0</c:v>
                </c:pt>
                <c:pt idx="3867" formatCode="#,##0_);\(#,##0\);&quot;-  &quot;;&quot; &quot;@&quot; &quot;">
                  <c:v>0</c:v>
                </c:pt>
                <c:pt idx="3868" formatCode="#,##0_);\(#,##0\);&quot;-  &quot;;&quot; &quot;@&quot; &quot;">
                  <c:v>0</c:v>
                </c:pt>
                <c:pt idx="3869" formatCode="#,##0_);\(#,##0\);&quot;-  &quot;;&quot; &quot;@&quot; &quot;">
                  <c:v>0</c:v>
                </c:pt>
                <c:pt idx="3870" formatCode="#,##0_);\(#,##0\);&quot;-  &quot;;&quot; &quot;@&quot; &quot;">
                  <c:v>0</c:v>
                </c:pt>
                <c:pt idx="3871" formatCode="#,##0_);\(#,##0\);&quot;-  &quot;;&quot; &quot;@&quot; &quot;">
                  <c:v>0</c:v>
                </c:pt>
                <c:pt idx="3872" formatCode="#,##0_);\(#,##0\);&quot;-  &quot;;&quot; &quot;@&quot; &quot;">
                  <c:v>0</c:v>
                </c:pt>
                <c:pt idx="3873" formatCode="#,##0_);\(#,##0\);&quot;-  &quot;;&quot; &quot;@&quot; &quot;">
                  <c:v>0</c:v>
                </c:pt>
                <c:pt idx="3874" formatCode="#,##0_);\(#,##0\);&quot;-  &quot;;&quot; &quot;@&quot; &quot;">
                  <c:v>0</c:v>
                </c:pt>
                <c:pt idx="3875" formatCode="#,##0_);\(#,##0\);&quot;-  &quot;;&quot; &quot;@&quot; &quot;">
                  <c:v>0</c:v>
                </c:pt>
                <c:pt idx="3876" formatCode="#,##0_);\(#,##0\);&quot;-  &quot;;&quot; &quot;@&quot; &quot;">
                  <c:v>0</c:v>
                </c:pt>
                <c:pt idx="3877" formatCode="#,##0_);\(#,##0\);&quot;-  &quot;;&quot; &quot;@&quot; &quot;">
                  <c:v>0</c:v>
                </c:pt>
                <c:pt idx="3878" formatCode="#,##0_);\(#,##0\);&quot;-  &quot;;&quot; &quot;@&quot; &quot;">
                  <c:v>0</c:v>
                </c:pt>
                <c:pt idx="3879" formatCode="#,##0_);\(#,##0\);&quot;-  &quot;;&quot; &quot;@&quot; &quot;">
                  <c:v>0</c:v>
                </c:pt>
                <c:pt idx="3880" formatCode="#,##0_);\(#,##0\);&quot;-  &quot;;&quot; &quot;@&quot; &quot;">
                  <c:v>0</c:v>
                </c:pt>
                <c:pt idx="3881" formatCode="#,##0_);\(#,##0\);&quot;-  &quot;;&quot; &quot;@&quot; &quot;">
                  <c:v>0</c:v>
                </c:pt>
                <c:pt idx="3882" formatCode="#,##0_);\(#,##0\);&quot;-  &quot;;&quot; &quot;@&quot; &quot;">
                  <c:v>0</c:v>
                </c:pt>
                <c:pt idx="3883" formatCode="#,##0_);\(#,##0\);&quot;-  &quot;;&quot; &quot;@&quot; &quot;">
                  <c:v>0</c:v>
                </c:pt>
                <c:pt idx="3884" formatCode="#,##0_);\(#,##0\);&quot;-  &quot;;&quot; &quot;@&quot; &quot;">
                  <c:v>0</c:v>
                </c:pt>
                <c:pt idx="3885" formatCode="#,##0_);\(#,##0\);&quot;-  &quot;;&quot; &quot;@&quot; &quot;">
                  <c:v>0</c:v>
                </c:pt>
                <c:pt idx="3886" formatCode="#,##0_);\(#,##0\);&quot;-  &quot;;&quot; &quot;@&quot; &quot;">
                  <c:v>0</c:v>
                </c:pt>
                <c:pt idx="3887" formatCode="#,##0_);\(#,##0\);&quot;-  &quot;;&quot; &quot;@&quot; &quot;">
                  <c:v>0</c:v>
                </c:pt>
                <c:pt idx="3888" formatCode="#,##0_);\(#,##0\);&quot;-  &quot;;&quot; &quot;@&quot; &quot;">
                  <c:v>0</c:v>
                </c:pt>
                <c:pt idx="3889" formatCode="#,##0_);\(#,##0\);&quot;-  &quot;;&quot; &quot;@&quot; &quot;">
                  <c:v>0</c:v>
                </c:pt>
                <c:pt idx="3890" formatCode="#,##0_);\(#,##0\);&quot;-  &quot;;&quot; &quot;@&quot; &quot;">
                  <c:v>0</c:v>
                </c:pt>
                <c:pt idx="3891" formatCode="#,##0_);\(#,##0\);&quot;-  &quot;;&quot; &quot;@&quot; &quot;">
                  <c:v>0</c:v>
                </c:pt>
                <c:pt idx="3892" formatCode="#,##0_);\(#,##0\);&quot;-  &quot;;&quot; &quot;@&quot; &quot;">
                  <c:v>0</c:v>
                </c:pt>
                <c:pt idx="3893" formatCode="#,##0_);\(#,##0\);&quot;-  &quot;;&quot; &quot;@&quot; &quot;">
                  <c:v>0</c:v>
                </c:pt>
                <c:pt idx="3894" formatCode="#,##0_);\(#,##0\);&quot;-  &quot;;&quot; &quot;@&quot; &quot;">
                  <c:v>0</c:v>
                </c:pt>
                <c:pt idx="3895" formatCode="#,##0_);\(#,##0\);&quot;-  &quot;;&quot; &quot;@&quot; &quot;">
                  <c:v>0</c:v>
                </c:pt>
                <c:pt idx="3896" formatCode="#,##0_);\(#,##0\);&quot;-  &quot;;&quot; &quot;@&quot; &quot;">
                  <c:v>0</c:v>
                </c:pt>
                <c:pt idx="3897" formatCode="#,##0_);\(#,##0\);&quot;-  &quot;;&quot; &quot;@&quot; &quot;">
                  <c:v>0</c:v>
                </c:pt>
                <c:pt idx="3898" formatCode="#,##0_);\(#,##0\);&quot;-  &quot;;&quot; &quot;@&quot; &quot;">
                  <c:v>0</c:v>
                </c:pt>
                <c:pt idx="3899" formatCode="#,##0_);\(#,##0\);&quot;-  &quot;;&quot; &quot;@&quot; &quot;">
                  <c:v>0</c:v>
                </c:pt>
                <c:pt idx="3900" formatCode="#,##0_);\(#,##0\);&quot;-  &quot;;&quot; &quot;@&quot; &quot;">
                  <c:v>0</c:v>
                </c:pt>
                <c:pt idx="3901" formatCode="#,##0_);\(#,##0\);&quot;-  &quot;;&quot; &quot;@&quot; &quot;">
                  <c:v>0</c:v>
                </c:pt>
                <c:pt idx="3902" formatCode="#,##0_);\(#,##0\);&quot;-  &quot;;&quot; &quot;@&quot; &quot;">
                  <c:v>0</c:v>
                </c:pt>
                <c:pt idx="3903" formatCode="#,##0_);\(#,##0\);&quot;-  &quot;;&quot; &quot;@&quot; &quot;">
                  <c:v>0</c:v>
                </c:pt>
                <c:pt idx="3904" formatCode="#,##0_);\(#,##0\);&quot;-  &quot;;&quot; &quot;@&quot; &quot;">
                  <c:v>0</c:v>
                </c:pt>
                <c:pt idx="3905" formatCode="#,##0_);\(#,##0\);&quot;-  &quot;;&quot; &quot;@&quot; &quot;">
                  <c:v>0</c:v>
                </c:pt>
                <c:pt idx="3906" formatCode="#,##0_);\(#,##0\);&quot;-  &quot;;&quot; &quot;@&quot; &quot;">
                  <c:v>0</c:v>
                </c:pt>
                <c:pt idx="3907" formatCode="#,##0_);\(#,##0\);&quot;-  &quot;;&quot; &quot;@&quot; &quot;">
                  <c:v>0</c:v>
                </c:pt>
                <c:pt idx="3908" formatCode="#,##0_);\(#,##0\);&quot;-  &quot;;&quot; &quot;@&quot; &quot;">
                  <c:v>0</c:v>
                </c:pt>
                <c:pt idx="3909" formatCode="#,##0_);\(#,##0\);&quot;-  &quot;;&quot; &quot;@&quot; &quot;">
                  <c:v>0</c:v>
                </c:pt>
                <c:pt idx="3910" formatCode="#,##0_);\(#,##0\);&quot;-  &quot;;&quot; &quot;@&quot; &quot;">
                  <c:v>0</c:v>
                </c:pt>
                <c:pt idx="3911" formatCode="#,##0_);\(#,##0\);&quot;-  &quot;;&quot; &quot;@&quot; &quot;">
                  <c:v>0</c:v>
                </c:pt>
                <c:pt idx="3912" formatCode="#,##0_);\(#,##0\);&quot;-  &quot;;&quot; &quot;@&quot; &quot;">
                  <c:v>0</c:v>
                </c:pt>
                <c:pt idx="3913" formatCode="#,##0_);\(#,##0\);&quot;-  &quot;;&quot; &quot;@&quot; &quot;">
                  <c:v>0</c:v>
                </c:pt>
                <c:pt idx="3914" formatCode="#,##0_);\(#,##0\);&quot;-  &quot;;&quot; &quot;@&quot; &quot;">
                  <c:v>0</c:v>
                </c:pt>
                <c:pt idx="3915" formatCode="#,##0_);\(#,##0\);&quot;-  &quot;;&quot; &quot;@&quot; &quot;">
                  <c:v>0</c:v>
                </c:pt>
                <c:pt idx="3916" formatCode="#,##0_);\(#,##0\);&quot;-  &quot;;&quot; &quot;@&quot; &quot;">
                  <c:v>0</c:v>
                </c:pt>
                <c:pt idx="3917" formatCode="#,##0_);\(#,##0\);&quot;-  &quot;;&quot; &quot;@&quot; &quot;">
                  <c:v>0</c:v>
                </c:pt>
                <c:pt idx="3918" formatCode="#,##0_);\(#,##0\);&quot;-  &quot;;&quot; &quot;@&quot; &quot;">
                  <c:v>0</c:v>
                </c:pt>
                <c:pt idx="3919" formatCode="#,##0_);\(#,##0\);&quot;-  &quot;;&quot; &quot;@&quot; &quot;">
                  <c:v>0</c:v>
                </c:pt>
                <c:pt idx="3920" formatCode="#,##0_);\(#,##0\);&quot;-  &quot;;&quot; &quot;@&quot; &quot;">
                  <c:v>0</c:v>
                </c:pt>
                <c:pt idx="3921" formatCode="#,##0_);\(#,##0\);&quot;-  &quot;;&quot; &quot;@&quot; &quot;">
                  <c:v>0</c:v>
                </c:pt>
                <c:pt idx="3922" formatCode="#,##0_);\(#,##0\);&quot;-  &quot;;&quot; &quot;@&quot; &quot;">
                  <c:v>0</c:v>
                </c:pt>
                <c:pt idx="3923" formatCode="#,##0_);\(#,##0\);&quot;-  &quot;;&quot; &quot;@&quot; &quot;">
                  <c:v>0</c:v>
                </c:pt>
                <c:pt idx="3924" formatCode="#,##0_);\(#,##0\);&quot;-  &quot;;&quot; &quot;@&quot; &quot;">
                  <c:v>0</c:v>
                </c:pt>
                <c:pt idx="3925" formatCode="#,##0_);\(#,##0\);&quot;-  &quot;;&quot; &quot;@&quot; &quot;">
                  <c:v>0</c:v>
                </c:pt>
                <c:pt idx="3926" formatCode="#,##0_);\(#,##0\);&quot;-  &quot;;&quot; &quot;@&quot; &quot;">
                  <c:v>0</c:v>
                </c:pt>
                <c:pt idx="3927" formatCode="#,##0_);\(#,##0\);&quot;-  &quot;;&quot; &quot;@&quot; &quot;">
                  <c:v>0</c:v>
                </c:pt>
                <c:pt idx="3928" formatCode="#,##0_);\(#,##0\);&quot;-  &quot;;&quot; &quot;@&quot; &quot;">
                  <c:v>0</c:v>
                </c:pt>
                <c:pt idx="3929" formatCode="#,##0_);\(#,##0\);&quot;-  &quot;;&quot; &quot;@&quot; &quot;">
                  <c:v>0</c:v>
                </c:pt>
                <c:pt idx="3930" formatCode="#,##0_);\(#,##0\);&quot;-  &quot;;&quot; &quot;@&quot; &quot;">
                  <c:v>0</c:v>
                </c:pt>
                <c:pt idx="3931" formatCode="#,##0_);\(#,##0\);&quot;-  &quot;;&quot; &quot;@&quot; &quot;">
                  <c:v>0</c:v>
                </c:pt>
                <c:pt idx="3932" formatCode="#,##0_);\(#,##0\);&quot;-  &quot;;&quot; &quot;@&quot; &quot;">
                  <c:v>0</c:v>
                </c:pt>
                <c:pt idx="3933" formatCode="#,##0_);\(#,##0\);&quot;-  &quot;;&quot; &quot;@&quot; &quot;">
                  <c:v>0</c:v>
                </c:pt>
                <c:pt idx="3934" formatCode="#,##0_);\(#,##0\);&quot;-  &quot;;&quot; &quot;@&quot; &quot;">
                  <c:v>0</c:v>
                </c:pt>
                <c:pt idx="3935" formatCode="#,##0_);\(#,##0\);&quot;-  &quot;;&quot; &quot;@&quot; &quot;">
                  <c:v>0</c:v>
                </c:pt>
                <c:pt idx="3936" formatCode="#,##0_);\(#,##0\);&quot;-  &quot;;&quot; &quot;@&quot; &quot;">
                  <c:v>0</c:v>
                </c:pt>
                <c:pt idx="3937" formatCode="#,##0_);\(#,##0\);&quot;-  &quot;;&quot; &quot;@&quot; &quot;">
                  <c:v>0</c:v>
                </c:pt>
                <c:pt idx="3938" formatCode="#,##0_);\(#,##0\);&quot;-  &quot;;&quot; &quot;@&quot; &quot;">
                  <c:v>0</c:v>
                </c:pt>
                <c:pt idx="3939" formatCode="#,##0_);\(#,##0\);&quot;-  &quot;;&quot; &quot;@&quot; &quot;">
                  <c:v>0</c:v>
                </c:pt>
                <c:pt idx="3940" formatCode="#,##0_);\(#,##0\);&quot;-  &quot;;&quot; &quot;@&quot; &quot;">
                  <c:v>0</c:v>
                </c:pt>
                <c:pt idx="3941" formatCode="#,##0_);\(#,##0\);&quot;-  &quot;;&quot; &quot;@&quot; &quot;">
                  <c:v>0</c:v>
                </c:pt>
                <c:pt idx="3942" formatCode="#,##0_);\(#,##0\);&quot;-  &quot;;&quot; &quot;@&quot; &quot;">
                  <c:v>0</c:v>
                </c:pt>
                <c:pt idx="3943" formatCode="#,##0_);\(#,##0\);&quot;-  &quot;;&quot; &quot;@&quot; &quot;">
                  <c:v>0</c:v>
                </c:pt>
                <c:pt idx="3944" formatCode="#,##0_);\(#,##0\);&quot;-  &quot;;&quot; &quot;@&quot; &quot;">
                  <c:v>0</c:v>
                </c:pt>
                <c:pt idx="3945" formatCode="#,##0_);\(#,##0\);&quot;-  &quot;;&quot; &quot;@&quot; &quot;">
                  <c:v>0</c:v>
                </c:pt>
                <c:pt idx="3946" formatCode="#,##0_);\(#,##0\);&quot;-  &quot;;&quot; &quot;@&quot; &quot;">
                  <c:v>0</c:v>
                </c:pt>
                <c:pt idx="3947" formatCode="#,##0_);\(#,##0\);&quot;-  &quot;;&quot; &quot;@&quot; &quot;">
                  <c:v>0</c:v>
                </c:pt>
                <c:pt idx="3948" formatCode="#,##0_);\(#,##0\);&quot;-  &quot;;&quot; &quot;@&quot; &quot;">
                  <c:v>0</c:v>
                </c:pt>
                <c:pt idx="3949" formatCode="#,##0_);\(#,##0\);&quot;-  &quot;;&quot; &quot;@&quot; &quot;">
                  <c:v>0</c:v>
                </c:pt>
                <c:pt idx="3950" formatCode="#,##0_);\(#,##0\);&quot;-  &quot;;&quot; &quot;@&quot; &quot;">
                  <c:v>0</c:v>
                </c:pt>
                <c:pt idx="3951" formatCode="#,##0_);\(#,##0\);&quot;-  &quot;;&quot; &quot;@&quot; &quot;">
                  <c:v>0</c:v>
                </c:pt>
                <c:pt idx="3952" formatCode="#,##0_);\(#,##0\);&quot;-  &quot;;&quot; &quot;@&quot; &quot;">
                  <c:v>0</c:v>
                </c:pt>
                <c:pt idx="3953" formatCode="#,##0_);\(#,##0\);&quot;-  &quot;;&quot; &quot;@&quot; &quot;">
                  <c:v>0</c:v>
                </c:pt>
                <c:pt idx="3954" formatCode="#,##0_);\(#,##0\);&quot;-  &quot;;&quot; &quot;@&quot; &quot;">
                  <c:v>0</c:v>
                </c:pt>
                <c:pt idx="3955" formatCode="#,##0_);\(#,##0\);&quot;-  &quot;;&quot; &quot;@&quot; &quot;">
                  <c:v>0</c:v>
                </c:pt>
                <c:pt idx="3956" formatCode="#,##0_);\(#,##0\);&quot;-  &quot;;&quot; &quot;@&quot; &quot;">
                  <c:v>0</c:v>
                </c:pt>
                <c:pt idx="3957" formatCode="#,##0_);\(#,##0\);&quot;-  &quot;;&quot; &quot;@&quot; &quot;">
                  <c:v>0</c:v>
                </c:pt>
                <c:pt idx="3958" formatCode="#,##0_);\(#,##0\);&quot;-  &quot;;&quot; &quot;@&quot; &quot;">
                  <c:v>0</c:v>
                </c:pt>
                <c:pt idx="3959" formatCode="#,##0_);\(#,##0\);&quot;-  &quot;;&quot; &quot;@&quot; &quot;">
                  <c:v>0</c:v>
                </c:pt>
                <c:pt idx="3960" formatCode="#,##0_);\(#,##0\);&quot;-  &quot;;&quot; &quot;@&quot; &quot;">
                  <c:v>0</c:v>
                </c:pt>
                <c:pt idx="3961" formatCode="#,##0_);\(#,##0\);&quot;-  &quot;;&quot; &quot;@&quot; &quot;">
                  <c:v>0</c:v>
                </c:pt>
                <c:pt idx="3962" formatCode="#,##0_);\(#,##0\);&quot;-  &quot;;&quot; &quot;@&quot; &quot;">
                  <c:v>0</c:v>
                </c:pt>
                <c:pt idx="3963" formatCode="#,##0_);\(#,##0\);&quot;-  &quot;;&quot; &quot;@&quot; &quot;">
                  <c:v>0</c:v>
                </c:pt>
                <c:pt idx="3964" formatCode="#,##0_);\(#,##0\);&quot;-  &quot;;&quot; &quot;@&quot; &quot;">
                  <c:v>0</c:v>
                </c:pt>
                <c:pt idx="3965" formatCode="#,##0_);\(#,##0\);&quot;-  &quot;;&quot; &quot;@&quot; &quot;">
                  <c:v>0</c:v>
                </c:pt>
                <c:pt idx="3966" formatCode="#,##0_);\(#,##0\);&quot;-  &quot;;&quot; &quot;@&quot; &quot;">
                  <c:v>0</c:v>
                </c:pt>
                <c:pt idx="3967" formatCode="#,##0_);\(#,##0\);&quot;-  &quot;;&quot; &quot;@&quot; &quot;">
                  <c:v>0</c:v>
                </c:pt>
                <c:pt idx="3968" formatCode="#,##0_);\(#,##0\);&quot;-  &quot;;&quot; &quot;@&quot; &quot;">
                  <c:v>0</c:v>
                </c:pt>
                <c:pt idx="3969" formatCode="#,##0_);\(#,##0\);&quot;-  &quot;;&quot; &quot;@&quot; &quot;">
                  <c:v>0</c:v>
                </c:pt>
                <c:pt idx="3970" formatCode="#,##0_);\(#,##0\);&quot;-  &quot;;&quot; &quot;@&quot; &quot;">
                  <c:v>0</c:v>
                </c:pt>
                <c:pt idx="3971" formatCode="#,##0_);\(#,##0\);&quot;-  &quot;;&quot; &quot;@&quot; &quot;">
                  <c:v>0</c:v>
                </c:pt>
                <c:pt idx="3972" formatCode="#,##0_);\(#,##0\);&quot;-  &quot;;&quot; &quot;@&quot; &quot;">
                  <c:v>0</c:v>
                </c:pt>
                <c:pt idx="3973" formatCode="#,##0_);\(#,##0\);&quot;-  &quot;;&quot; &quot;@&quot; &quot;">
                  <c:v>0</c:v>
                </c:pt>
                <c:pt idx="3974" formatCode="#,##0_);\(#,##0\);&quot;-  &quot;;&quot; &quot;@&quot; &quot;">
                  <c:v>0</c:v>
                </c:pt>
                <c:pt idx="3975" formatCode="#,##0_);\(#,##0\);&quot;-  &quot;;&quot; &quot;@&quot; &quot;">
                  <c:v>0</c:v>
                </c:pt>
                <c:pt idx="3976" formatCode="#,##0_);\(#,##0\);&quot;-  &quot;;&quot; &quot;@&quot; &quot;">
                  <c:v>0</c:v>
                </c:pt>
                <c:pt idx="3977" formatCode="#,##0_);\(#,##0\);&quot;-  &quot;;&quot; &quot;@&quot; &quot;">
                  <c:v>0</c:v>
                </c:pt>
                <c:pt idx="3978" formatCode="#,##0_);\(#,##0\);&quot;-  &quot;;&quot; &quot;@&quot; &quot;">
                  <c:v>0</c:v>
                </c:pt>
                <c:pt idx="3979" formatCode="#,##0_);\(#,##0\);&quot;-  &quot;;&quot; &quot;@&quot; &quot;">
                  <c:v>0</c:v>
                </c:pt>
                <c:pt idx="3980" formatCode="#,##0_);\(#,##0\);&quot;-  &quot;;&quot; &quot;@&quot; &quot;">
                  <c:v>0</c:v>
                </c:pt>
                <c:pt idx="3981" formatCode="#,##0_);\(#,##0\);&quot;-  &quot;;&quot; &quot;@&quot; &quot;">
                  <c:v>0</c:v>
                </c:pt>
                <c:pt idx="3982" formatCode="#,##0_);\(#,##0\);&quot;-  &quot;;&quot; &quot;@&quot; &quot;">
                  <c:v>0</c:v>
                </c:pt>
                <c:pt idx="3983" formatCode="#,##0_);\(#,##0\);&quot;-  &quot;;&quot; &quot;@&quot; &quot;">
                  <c:v>0</c:v>
                </c:pt>
                <c:pt idx="3984" formatCode="#,##0_);\(#,##0\);&quot;-  &quot;;&quot; &quot;@&quot; &quot;">
                  <c:v>0</c:v>
                </c:pt>
                <c:pt idx="3985" formatCode="#,##0_);\(#,##0\);&quot;-  &quot;;&quot; &quot;@&quot; &quot;">
                  <c:v>0</c:v>
                </c:pt>
                <c:pt idx="3986" formatCode="#,##0_);\(#,##0\);&quot;-  &quot;;&quot; &quot;@&quot; &quot;">
                  <c:v>0</c:v>
                </c:pt>
                <c:pt idx="3987" formatCode="#,##0_);\(#,##0\);&quot;-  &quot;;&quot; &quot;@&quot; &quot;">
                  <c:v>0</c:v>
                </c:pt>
                <c:pt idx="3988" formatCode="#,##0_);\(#,##0\);&quot;-  &quot;;&quot; &quot;@&quot; &quot;">
                  <c:v>0</c:v>
                </c:pt>
                <c:pt idx="3989" formatCode="#,##0_);\(#,##0\);&quot;-  &quot;;&quot; &quot;@&quot; &quot;">
                  <c:v>0</c:v>
                </c:pt>
                <c:pt idx="3990" formatCode="#,##0_);\(#,##0\);&quot;-  &quot;;&quot; &quot;@&quot; &quot;">
                  <c:v>0</c:v>
                </c:pt>
                <c:pt idx="3991" formatCode="#,##0_);\(#,##0\);&quot;-  &quot;;&quot; &quot;@&quot; &quot;">
                  <c:v>0</c:v>
                </c:pt>
                <c:pt idx="3992" formatCode="#,##0_);\(#,##0\);&quot;-  &quot;;&quot; &quot;@&quot; &quot;">
                  <c:v>0</c:v>
                </c:pt>
                <c:pt idx="3993" formatCode="#,##0_);\(#,##0\);&quot;-  &quot;;&quot; &quot;@&quot; &quot;">
                  <c:v>0</c:v>
                </c:pt>
                <c:pt idx="3994" formatCode="#,##0_);\(#,##0\);&quot;-  &quot;;&quot; &quot;@&quot; &quot;">
                  <c:v>0</c:v>
                </c:pt>
                <c:pt idx="3995" formatCode="#,##0_);\(#,##0\);&quot;-  &quot;;&quot; &quot;@&quot; &quot;">
                  <c:v>0</c:v>
                </c:pt>
                <c:pt idx="3996" formatCode="#,##0_);\(#,##0\);&quot;-  &quot;;&quot; &quot;@&quot; &quot;">
                  <c:v>0</c:v>
                </c:pt>
                <c:pt idx="3997" formatCode="#,##0_);\(#,##0\);&quot;-  &quot;;&quot; &quot;@&quot; &quot;">
                  <c:v>0</c:v>
                </c:pt>
                <c:pt idx="3998" formatCode="#,##0_);\(#,##0\);&quot;-  &quot;;&quot; &quot;@&quot; &quot;">
                  <c:v>0</c:v>
                </c:pt>
                <c:pt idx="3999" formatCode="#,##0_);\(#,##0\);&quot;-  &quot;;&quot; &quot;@&quot; &quot;">
                  <c:v>0</c:v>
                </c:pt>
                <c:pt idx="4000" formatCode="#,##0_);\(#,##0\);&quot;-  &quot;;&quot; &quot;@&quot; &quot;">
                  <c:v>0</c:v>
                </c:pt>
                <c:pt idx="4001" formatCode="#,##0_);\(#,##0\);&quot;-  &quot;;&quot; &quot;@&quot; &quot;">
                  <c:v>0</c:v>
                </c:pt>
                <c:pt idx="4002" formatCode="#,##0_);\(#,##0\);&quot;-  &quot;;&quot; &quot;@&quot; &quot;">
                  <c:v>0</c:v>
                </c:pt>
                <c:pt idx="4003" formatCode="#,##0_);\(#,##0\);&quot;-  &quot;;&quot; &quot;@&quot; &quot;">
                  <c:v>0</c:v>
                </c:pt>
                <c:pt idx="4004" formatCode="#,##0_);\(#,##0\);&quot;-  &quot;;&quot; &quot;@&quot; &quot;">
                  <c:v>0</c:v>
                </c:pt>
                <c:pt idx="4005" formatCode="#,##0_);\(#,##0\);&quot;-  &quot;;&quot; &quot;@&quot; &quot;">
                  <c:v>0</c:v>
                </c:pt>
                <c:pt idx="4006" formatCode="#,##0_);\(#,##0\);&quot;-  &quot;;&quot; &quot;@&quot; &quot;">
                  <c:v>0</c:v>
                </c:pt>
                <c:pt idx="4007" formatCode="#,##0_);\(#,##0\);&quot;-  &quot;;&quot; &quot;@&quot; &quot;">
                  <c:v>0</c:v>
                </c:pt>
                <c:pt idx="4008" formatCode="#,##0_);\(#,##0\);&quot;-  &quot;;&quot; &quot;@&quot; &quot;">
                  <c:v>0</c:v>
                </c:pt>
                <c:pt idx="4009" formatCode="#,##0_);\(#,##0\);&quot;-  &quot;;&quot; &quot;@&quot; &quot;">
                  <c:v>0</c:v>
                </c:pt>
                <c:pt idx="4010" formatCode="#,##0_);\(#,##0\);&quot;-  &quot;;&quot; &quot;@&quot; &quot;">
                  <c:v>0</c:v>
                </c:pt>
                <c:pt idx="4011" formatCode="#,##0_);\(#,##0\);&quot;-  &quot;;&quot; &quot;@&quot; &quot;">
                  <c:v>0</c:v>
                </c:pt>
                <c:pt idx="4012" formatCode="#,##0_);\(#,##0\);&quot;-  &quot;;&quot; &quot;@&quot; &quot;">
                  <c:v>0</c:v>
                </c:pt>
                <c:pt idx="4013" formatCode="#,##0_);\(#,##0\);&quot;-  &quot;;&quot; &quot;@&quot; &quot;">
                  <c:v>0</c:v>
                </c:pt>
                <c:pt idx="4014" formatCode="#,##0_);\(#,##0\);&quot;-  &quot;;&quot; &quot;@&quot; &quot;">
                  <c:v>0</c:v>
                </c:pt>
                <c:pt idx="4015" formatCode="#,##0_);\(#,##0\);&quot;-  &quot;;&quot; &quot;@&quot; &quot;">
                  <c:v>0</c:v>
                </c:pt>
                <c:pt idx="4016" formatCode="#,##0_);\(#,##0\);&quot;-  &quot;;&quot; &quot;@&quot; &quot;">
                  <c:v>0</c:v>
                </c:pt>
                <c:pt idx="4017" formatCode="#,##0_);\(#,##0\);&quot;-  &quot;;&quot; &quot;@&quot; &quot;">
                  <c:v>0</c:v>
                </c:pt>
                <c:pt idx="4018" formatCode="#,##0_);\(#,##0\);&quot;-  &quot;;&quot; &quot;@&quot; &quot;">
                  <c:v>0</c:v>
                </c:pt>
                <c:pt idx="4019" formatCode="#,##0_);\(#,##0\);&quot;-  &quot;;&quot; &quot;@&quot; &quot;">
                  <c:v>0</c:v>
                </c:pt>
                <c:pt idx="4020" formatCode="#,##0_);\(#,##0\);&quot;-  &quot;;&quot; &quot;@&quot; &quot;">
                  <c:v>0</c:v>
                </c:pt>
                <c:pt idx="4021" formatCode="#,##0_);\(#,##0\);&quot;-  &quot;;&quot; &quot;@&quot; &quot;">
                  <c:v>0</c:v>
                </c:pt>
                <c:pt idx="4022" formatCode="#,##0_);\(#,##0\);&quot;-  &quot;;&quot; &quot;@&quot; &quot;">
                  <c:v>0</c:v>
                </c:pt>
                <c:pt idx="4023" formatCode="#,##0_);\(#,##0\);&quot;-  &quot;;&quot; &quot;@&quot; &quot;">
                  <c:v>0</c:v>
                </c:pt>
                <c:pt idx="4024" formatCode="#,##0_);\(#,##0\);&quot;-  &quot;;&quot; &quot;@&quot; &quot;">
                  <c:v>0</c:v>
                </c:pt>
                <c:pt idx="4025" formatCode="#,##0_);\(#,##0\);&quot;-  &quot;;&quot; &quot;@&quot; &quot;">
                  <c:v>0</c:v>
                </c:pt>
                <c:pt idx="4026" formatCode="#,##0_);\(#,##0\);&quot;-  &quot;;&quot; &quot;@&quot; &quot;">
                  <c:v>0</c:v>
                </c:pt>
                <c:pt idx="4027" formatCode="#,##0_);\(#,##0\);&quot;-  &quot;;&quot; &quot;@&quot; &quot;">
                  <c:v>0</c:v>
                </c:pt>
                <c:pt idx="4028" formatCode="#,##0_);\(#,##0\);&quot;-  &quot;;&quot; &quot;@&quot; &quot;">
                  <c:v>0</c:v>
                </c:pt>
                <c:pt idx="4029" formatCode="#,##0_);\(#,##0\);&quot;-  &quot;;&quot; &quot;@&quot; &quot;">
                  <c:v>0</c:v>
                </c:pt>
                <c:pt idx="4030" formatCode="#,##0_);\(#,##0\);&quot;-  &quot;;&quot; &quot;@&quot; &quot;">
                  <c:v>0</c:v>
                </c:pt>
                <c:pt idx="4031" formatCode="#,##0_);\(#,##0\);&quot;-  &quot;;&quot; &quot;@&quot; &quot;">
                  <c:v>0</c:v>
                </c:pt>
                <c:pt idx="4032" formatCode="#,##0_);\(#,##0\);&quot;-  &quot;;&quot; &quot;@&quot; &quot;">
                  <c:v>0</c:v>
                </c:pt>
                <c:pt idx="4033" formatCode="#,##0_);\(#,##0\);&quot;-  &quot;;&quot; &quot;@&quot; &quot;">
                  <c:v>0</c:v>
                </c:pt>
                <c:pt idx="4034" formatCode="#,##0_);\(#,##0\);&quot;-  &quot;;&quot; &quot;@&quot; &quot;">
                  <c:v>0</c:v>
                </c:pt>
                <c:pt idx="4035" formatCode="#,##0_);\(#,##0\);&quot;-  &quot;;&quot; &quot;@&quot; &quot;">
                  <c:v>0</c:v>
                </c:pt>
                <c:pt idx="4036" formatCode="#,##0_);\(#,##0\);&quot;-  &quot;;&quot; &quot;@&quot; &quot;">
                  <c:v>0</c:v>
                </c:pt>
                <c:pt idx="4037" formatCode="#,##0_);\(#,##0\);&quot;-  &quot;;&quot; &quot;@&quot; &quot;">
                  <c:v>0</c:v>
                </c:pt>
                <c:pt idx="4038" formatCode="#,##0_);\(#,##0\);&quot;-  &quot;;&quot; &quot;@&quot; &quot;">
                  <c:v>0</c:v>
                </c:pt>
                <c:pt idx="4039" formatCode="#,##0_);\(#,##0\);&quot;-  &quot;;&quot; &quot;@&quot; &quot;">
                  <c:v>0</c:v>
                </c:pt>
                <c:pt idx="4040" formatCode="#,##0_);\(#,##0\);&quot;-  &quot;;&quot; &quot;@&quot; &quot;">
                  <c:v>0</c:v>
                </c:pt>
                <c:pt idx="4041" formatCode="#,##0_);\(#,##0\);&quot;-  &quot;;&quot; &quot;@&quot; &quot;">
                  <c:v>0</c:v>
                </c:pt>
                <c:pt idx="4042" formatCode="#,##0_);\(#,##0\);&quot;-  &quot;;&quot; &quot;@&quot; &quot;">
                  <c:v>0</c:v>
                </c:pt>
                <c:pt idx="4043" formatCode="#,##0_);\(#,##0\);&quot;-  &quot;;&quot; &quot;@&quot; &quot;">
                  <c:v>0</c:v>
                </c:pt>
                <c:pt idx="4044" formatCode="#,##0_);\(#,##0\);&quot;-  &quot;;&quot; &quot;@&quot; &quot;">
                  <c:v>0</c:v>
                </c:pt>
                <c:pt idx="4045" formatCode="#,##0_);\(#,##0\);&quot;-  &quot;;&quot; &quot;@&quot; &quot;">
                  <c:v>0</c:v>
                </c:pt>
                <c:pt idx="4046" formatCode="#,##0_);\(#,##0\);&quot;-  &quot;;&quot; &quot;@&quot; &quot;">
                  <c:v>0</c:v>
                </c:pt>
                <c:pt idx="4047" formatCode="#,##0_);\(#,##0\);&quot;-  &quot;;&quot; &quot;@&quot; &quot;">
                  <c:v>0</c:v>
                </c:pt>
                <c:pt idx="4048" formatCode="#,##0_);\(#,##0\);&quot;-  &quot;;&quot; &quot;@&quot; &quot;">
                  <c:v>0</c:v>
                </c:pt>
                <c:pt idx="4049" formatCode="#,##0_);\(#,##0\);&quot;-  &quot;;&quot; &quot;@&quot; &quot;">
                  <c:v>0</c:v>
                </c:pt>
                <c:pt idx="4050" formatCode="#,##0_);\(#,##0\);&quot;-  &quot;;&quot; &quot;@&quot; &quot;">
                  <c:v>0</c:v>
                </c:pt>
                <c:pt idx="4051" formatCode="#,##0_);\(#,##0\);&quot;-  &quot;;&quot; &quot;@&quot; &quot;">
                  <c:v>0</c:v>
                </c:pt>
                <c:pt idx="4052" formatCode="#,##0_);\(#,##0\);&quot;-  &quot;;&quot; &quot;@&quot; &quot;">
                  <c:v>0</c:v>
                </c:pt>
                <c:pt idx="4053" formatCode="#,##0_);\(#,##0\);&quot;-  &quot;;&quot; &quot;@&quot; &quot;">
                  <c:v>0</c:v>
                </c:pt>
                <c:pt idx="4054" formatCode="#,##0_);\(#,##0\);&quot;-  &quot;;&quot; &quot;@&quot; &quot;">
                  <c:v>0</c:v>
                </c:pt>
                <c:pt idx="4055" formatCode="#,##0_);\(#,##0\);&quot;-  &quot;;&quot; &quot;@&quot; &quot;">
                  <c:v>0</c:v>
                </c:pt>
                <c:pt idx="4056" formatCode="#,##0_);\(#,##0\);&quot;-  &quot;;&quot; &quot;@&quot; &quot;">
                  <c:v>0</c:v>
                </c:pt>
                <c:pt idx="4057" formatCode="#,##0_);\(#,##0\);&quot;-  &quot;;&quot; &quot;@&quot; &quot;">
                  <c:v>0</c:v>
                </c:pt>
                <c:pt idx="4058" formatCode="#,##0_);\(#,##0\);&quot;-  &quot;;&quot; &quot;@&quot; &quot;">
                  <c:v>0</c:v>
                </c:pt>
                <c:pt idx="4059" formatCode="#,##0_);\(#,##0\);&quot;-  &quot;;&quot; &quot;@&quot; &quot;">
                  <c:v>0</c:v>
                </c:pt>
                <c:pt idx="4060" formatCode="#,##0_);\(#,##0\);&quot;-  &quot;;&quot; &quot;@&quot; &quot;">
                  <c:v>0</c:v>
                </c:pt>
                <c:pt idx="4061" formatCode="#,##0_);\(#,##0\);&quot;-  &quot;;&quot; &quot;@&quot; &quot;">
                  <c:v>0</c:v>
                </c:pt>
                <c:pt idx="4062" formatCode="#,##0_);\(#,##0\);&quot;-  &quot;;&quot; &quot;@&quot; &quot;">
                  <c:v>0</c:v>
                </c:pt>
                <c:pt idx="4063" formatCode="#,##0_);\(#,##0\);&quot;-  &quot;;&quot; &quot;@&quot; &quot;">
                  <c:v>0</c:v>
                </c:pt>
                <c:pt idx="4064" formatCode="#,##0_);\(#,##0\);&quot;-  &quot;;&quot; &quot;@&quot; &quot;">
                  <c:v>0</c:v>
                </c:pt>
                <c:pt idx="4065" formatCode="#,##0_);\(#,##0\);&quot;-  &quot;;&quot; &quot;@&quot; &quot;">
                  <c:v>0</c:v>
                </c:pt>
                <c:pt idx="4066" formatCode="#,##0_);\(#,##0\);&quot;-  &quot;;&quot; &quot;@&quot; &quot;">
                  <c:v>0</c:v>
                </c:pt>
                <c:pt idx="4067" formatCode="#,##0_);\(#,##0\);&quot;-  &quot;;&quot; &quot;@&quot; &quot;">
                  <c:v>0</c:v>
                </c:pt>
                <c:pt idx="4068" formatCode="#,##0_);\(#,##0\);&quot;-  &quot;;&quot; &quot;@&quot; &quot;">
                  <c:v>0</c:v>
                </c:pt>
                <c:pt idx="4069" formatCode="#,##0_);\(#,##0\);&quot;-  &quot;;&quot; &quot;@&quot; &quot;">
                  <c:v>0</c:v>
                </c:pt>
                <c:pt idx="4070" formatCode="#,##0_);\(#,##0\);&quot;-  &quot;;&quot; &quot;@&quot; &quot;">
                  <c:v>0</c:v>
                </c:pt>
                <c:pt idx="4071" formatCode="#,##0_);\(#,##0\);&quot;-  &quot;;&quot; &quot;@&quot; &quot;">
                  <c:v>0</c:v>
                </c:pt>
                <c:pt idx="4072" formatCode="#,##0_);\(#,##0\);&quot;-  &quot;;&quot; &quot;@&quot; &quot;">
                  <c:v>0</c:v>
                </c:pt>
                <c:pt idx="4073" formatCode="#,##0_);\(#,##0\);&quot;-  &quot;;&quot; &quot;@&quot; &quot;">
                  <c:v>0</c:v>
                </c:pt>
                <c:pt idx="4074" formatCode="#,##0_);\(#,##0\);&quot;-  &quot;;&quot; &quot;@&quot; &quot;">
                  <c:v>0</c:v>
                </c:pt>
                <c:pt idx="4075" formatCode="#,##0_);\(#,##0\);&quot;-  &quot;;&quot; &quot;@&quot; &quot;">
                  <c:v>0</c:v>
                </c:pt>
                <c:pt idx="4076" formatCode="#,##0_);\(#,##0\);&quot;-  &quot;;&quot; &quot;@&quot; &quot;">
                  <c:v>0</c:v>
                </c:pt>
                <c:pt idx="4077" formatCode="#,##0_);\(#,##0\);&quot;-  &quot;;&quot; &quot;@&quot; &quot;">
                  <c:v>0</c:v>
                </c:pt>
                <c:pt idx="4078" formatCode="#,##0_);\(#,##0\);&quot;-  &quot;;&quot; &quot;@&quot; &quot;">
                  <c:v>0</c:v>
                </c:pt>
                <c:pt idx="4079" formatCode="#,##0_);\(#,##0\);&quot;-  &quot;;&quot; &quot;@&quot; &quot;">
                  <c:v>0</c:v>
                </c:pt>
                <c:pt idx="4080" formatCode="#,##0_);\(#,##0\);&quot;-  &quot;;&quot; &quot;@&quot; &quot;">
                  <c:v>0</c:v>
                </c:pt>
                <c:pt idx="4081" formatCode="#,##0_);\(#,##0\);&quot;-  &quot;;&quot; &quot;@&quot; &quot;">
                  <c:v>0</c:v>
                </c:pt>
                <c:pt idx="4082" formatCode="#,##0_);\(#,##0\);&quot;-  &quot;;&quot; &quot;@&quot; &quot;">
                  <c:v>0</c:v>
                </c:pt>
                <c:pt idx="4083" formatCode="#,##0_);\(#,##0\);&quot;-  &quot;;&quot; &quot;@&quot; &quot;">
                  <c:v>0</c:v>
                </c:pt>
                <c:pt idx="4084" formatCode="#,##0_);\(#,##0\);&quot;-  &quot;;&quot; &quot;@&quot; &quot;">
                  <c:v>0</c:v>
                </c:pt>
                <c:pt idx="4085" formatCode="#,##0_);\(#,##0\);&quot;-  &quot;;&quot; &quot;@&quot; &quot;">
                  <c:v>0</c:v>
                </c:pt>
                <c:pt idx="4086" formatCode="#,##0_);\(#,##0\);&quot;-  &quot;;&quot; &quot;@&quot; &quot;">
                  <c:v>0</c:v>
                </c:pt>
                <c:pt idx="4087" formatCode="#,##0_);\(#,##0\);&quot;-  &quot;;&quot; &quot;@&quot; &quot;">
                  <c:v>0</c:v>
                </c:pt>
                <c:pt idx="4088" formatCode="#,##0_);\(#,##0\);&quot;-  &quot;;&quot; &quot;@&quot; &quot;">
                  <c:v>0</c:v>
                </c:pt>
                <c:pt idx="4089" formatCode="#,##0_);\(#,##0\);&quot;-  &quot;;&quot; &quot;@&quot; &quot;">
                  <c:v>0</c:v>
                </c:pt>
                <c:pt idx="4090" formatCode="#,##0_);\(#,##0\);&quot;-  &quot;;&quot; &quot;@&quot; &quot;">
                  <c:v>0</c:v>
                </c:pt>
                <c:pt idx="4091" formatCode="#,##0_);\(#,##0\);&quot;-  &quot;;&quot; &quot;@&quot; &quot;">
                  <c:v>0</c:v>
                </c:pt>
                <c:pt idx="4092" formatCode="#,##0_);\(#,##0\);&quot;-  &quot;;&quot; &quot;@&quot; &quot;">
                  <c:v>0</c:v>
                </c:pt>
                <c:pt idx="4093" formatCode="#,##0_);\(#,##0\);&quot;-  &quot;;&quot; &quot;@&quot; &quot;">
                  <c:v>0</c:v>
                </c:pt>
                <c:pt idx="4094" formatCode="#,##0_);\(#,##0\);&quot;-  &quot;;&quot; &quot;@&quot; &quot;">
                  <c:v>0</c:v>
                </c:pt>
                <c:pt idx="4095" formatCode="#,##0_);\(#,##0\);&quot;-  &quot;;&quot; &quot;@&quot; &quot;">
                  <c:v>0</c:v>
                </c:pt>
                <c:pt idx="4096" formatCode="#,##0_);\(#,##0\);&quot;-  &quot;;&quot; &quot;@&quot; &quot;">
                  <c:v>0</c:v>
                </c:pt>
                <c:pt idx="4097" formatCode="#,##0_);\(#,##0\);&quot;-  &quot;;&quot; &quot;@&quot; &quot;">
                  <c:v>0</c:v>
                </c:pt>
                <c:pt idx="4098" formatCode="#,##0_);\(#,##0\);&quot;-  &quot;;&quot; &quot;@&quot; &quot;">
                  <c:v>0</c:v>
                </c:pt>
                <c:pt idx="4099" formatCode="#,##0_);\(#,##0\);&quot;-  &quot;;&quot; &quot;@&quot; &quot;">
                  <c:v>0</c:v>
                </c:pt>
                <c:pt idx="4100" formatCode="#,##0_);\(#,##0\);&quot;-  &quot;;&quot; &quot;@&quot; &quot;">
                  <c:v>0</c:v>
                </c:pt>
                <c:pt idx="4101" formatCode="#,##0_);\(#,##0\);&quot;-  &quot;;&quot; &quot;@&quot; &quot;">
                  <c:v>0</c:v>
                </c:pt>
                <c:pt idx="4102" formatCode="#,##0_);\(#,##0\);&quot;-  &quot;;&quot; &quot;@&quot; &quot;">
                  <c:v>0</c:v>
                </c:pt>
                <c:pt idx="4103" formatCode="#,##0_);\(#,##0\);&quot;-  &quot;;&quot; &quot;@&quot; &quot;">
                  <c:v>0</c:v>
                </c:pt>
                <c:pt idx="4104" formatCode="#,##0_);\(#,##0\);&quot;-  &quot;;&quot; &quot;@&quot; &quot;">
                  <c:v>0</c:v>
                </c:pt>
                <c:pt idx="4105" formatCode="#,##0_);\(#,##0\);&quot;-  &quot;;&quot; &quot;@&quot; &quot;">
                  <c:v>0</c:v>
                </c:pt>
                <c:pt idx="4106" formatCode="#,##0_);\(#,##0\);&quot;-  &quot;;&quot; &quot;@&quot; &quot;">
                  <c:v>0</c:v>
                </c:pt>
                <c:pt idx="4107" formatCode="#,##0_);\(#,##0\);&quot;-  &quot;;&quot; &quot;@&quot; &quot;">
                  <c:v>0</c:v>
                </c:pt>
                <c:pt idx="4108" formatCode="#,##0_);\(#,##0\);&quot;-  &quot;;&quot; &quot;@&quot; &quot;">
                  <c:v>0</c:v>
                </c:pt>
                <c:pt idx="4109" formatCode="#,##0_);\(#,##0\);&quot;-  &quot;;&quot; &quot;@&quot; &quot;">
                  <c:v>0</c:v>
                </c:pt>
                <c:pt idx="4110" formatCode="#,##0_);\(#,##0\);&quot;-  &quot;;&quot; &quot;@&quot; &quot;">
                  <c:v>0</c:v>
                </c:pt>
                <c:pt idx="4111" formatCode="#,##0_);\(#,##0\);&quot;-  &quot;;&quot; &quot;@&quot; &quot;">
                  <c:v>0</c:v>
                </c:pt>
                <c:pt idx="4112" formatCode="#,##0_);\(#,##0\);&quot;-  &quot;;&quot; &quot;@&quot; &quot;">
                  <c:v>0</c:v>
                </c:pt>
                <c:pt idx="4113" formatCode="#,##0_);\(#,##0\);&quot;-  &quot;;&quot; &quot;@&quot; &quot;">
                  <c:v>0</c:v>
                </c:pt>
                <c:pt idx="4114" formatCode="#,##0_);\(#,##0\);&quot;-  &quot;;&quot; &quot;@&quot; &quot;">
                  <c:v>0</c:v>
                </c:pt>
                <c:pt idx="4115" formatCode="#,##0_);\(#,##0\);&quot;-  &quot;;&quot; &quot;@&quot; &quot;">
                  <c:v>0</c:v>
                </c:pt>
                <c:pt idx="4116" formatCode="#,##0_);\(#,##0\);&quot;-  &quot;;&quot; &quot;@&quot; &quot;">
                  <c:v>0</c:v>
                </c:pt>
                <c:pt idx="4117" formatCode="#,##0_);\(#,##0\);&quot;-  &quot;;&quot; &quot;@&quot; &quot;">
                  <c:v>0</c:v>
                </c:pt>
                <c:pt idx="4118" formatCode="#,##0_);\(#,##0\);&quot;-  &quot;;&quot; &quot;@&quot; &quot;">
                  <c:v>0</c:v>
                </c:pt>
                <c:pt idx="4119" formatCode="#,##0_);\(#,##0\);&quot;-  &quot;;&quot; &quot;@&quot; &quot;">
                  <c:v>0</c:v>
                </c:pt>
                <c:pt idx="4120" formatCode="#,##0_);\(#,##0\);&quot;-  &quot;;&quot; &quot;@&quot; &quot;">
                  <c:v>0</c:v>
                </c:pt>
                <c:pt idx="4121" formatCode="#,##0_);\(#,##0\);&quot;-  &quot;;&quot; &quot;@&quot; &quot;">
                  <c:v>0</c:v>
                </c:pt>
                <c:pt idx="4122" formatCode="#,##0_);\(#,##0\);&quot;-  &quot;;&quot; &quot;@&quot; &quot;">
                  <c:v>0</c:v>
                </c:pt>
                <c:pt idx="4123" formatCode="#,##0_);\(#,##0\);&quot;-  &quot;;&quot; &quot;@&quot; &quot;">
                  <c:v>0</c:v>
                </c:pt>
                <c:pt idx="4124" formatCode="#,##0_);\(#,##0\);&quot;-  &quot;;&quot; &quot;@&quot; &quot;">
                  <c:v>0</c:v>
                </c:pt>
                <c:pt idx="4125" formatCode="#,##0_);\(#,##0\);&quot;-  &quot;;&quot; &quot;@&quot; &quot;">
                  <c:v>0</c:v>
                </c:pt>
                <c:pt idx="4126" formatCode="#,##0_);\(#,##0\);&quot;-  &quot;;&quot; &quot;@&quot; &quot;">
                  <c:v>0</c:v>
                </c:pt>
                <c:pt idx="4127" formatCode="#,##0_);\(#,##0\);&quot;-  &quot;;&quot; &quot;@&quot; &quot;">
                  <c:v>0</c:v>
                </c:pt>
                <c:pt idx="4128" formatCode="#,##0_);\(#,##0\);&quot;-  &quot;;&quot; &quot;@&quot; &quot;">
                  <c:v>0</c:v>
                </c:pt>
                <c:pt idx="4129" formatCode="#,##0_);\(#,##0\);&quot;-  &quot;;&quot; &quot;@&quot; &quot;">
                  <c:v>0</c:v>
                </c:pt>
                <c:pt idx="4130" formatCode="#,##0_);\(#,##0\);&quot;-  &quot;;&quot; &quot;@&quot; &quot;">
                  <c:v>0</c:v>
                </c:pt>
                <c:pt idx="4131" formatCode="#,##0_);\(#,##0\);&quot;-  &quot;;&quot; &quot;@&quot; &quot;">
                  <c:v>0</c:v>
                </c:pt>
                <c:pt idx="4132" formatCode="#,##0_);\(#,##0\);&quot;-  &quot;;&quot; &quot;@&quot; &quot;">
                  <c:v>0</c:v>
                </c:pt>
                <c:pt idx="4133" formatCode="#,##0_);\(#,##0\);&quot;-  &quot;;&quot; &quot;@&quot; &quot;">
                  <c:v>0</c:v>
                </c:pt>
                <c:pt idx="4134" formatCode="#,##0_);\(#,##0\);&quot;-  &quot;;&quot; &quot;@&quot; &quot;">
                  <c:v>0</c:v>
                </c:pt>
                <c:pt idx="4135" formatCode="#,##0_);\(#,##0\);&quot;-  &quot;;&quot; &quot;@&quot; &quot;">
                  <c:v>0</c:v>
                </c:pt>
                <c:pt idx="4136" formatCode="#,##0_);\(#,##0\);&quot;-  &quot;;&quot; &quot;@&quot; &quot;">
                  <c:v>0</c:v>
                </c:pt>
                <c:pt idx="4137" formatCode="#,##0_);\(#,##0\);&quot;-  &quot;;&quot; &quot;@&quot; &quot;">
                  <c:v>0</c:v>
                </c:pt>
                <c:pt idx="4138" formatCode="#,##0_);\(#,##0\);&quot;-  &quot;;&quot; &quot;@&quot; &quot;">
                  <c:v>0</c:v>
                </c:pt>
                <c:pt idx="4139" formatCode="#,##0_);\(#,##0\);&quot;-  &quot;;&quot; &quot;@&quot; &quot;">
                  <c:v>0</c:v>
                </c:pt>
                <c:pt idx="4140" formatCode="#,##0_);\(#,##0\);&quot;-  &quot;;&quot; &quot;@&quot; &quot;">
                  <c:v>0</c:v>
                </c:pt>
                <c:pt idx="4141" formatCode="#,##0_);\(#,##0\);&quot;-  &quot;;&quot; &quot;@&quot; &quot;">
                  <c:v>0</c:v>
                </c:pt>
                <c:pt idx="4142" formatCode="#,##0_);\(#,##0\);&quot;-  &quot;;&quot; &quot;@&quot; &quot;">
                  <c:v>0</c:v>
                </c:pt>
                <c:pt idx="4143" formatCode="#,##0_);\(#,##0\);&quot;-  &quot;;&quot; &quot;@&quot; &quot;">
                  <c:v>0</c:v>
                </c:pt>
                <c:pt idx="4144" formatCode="#,##0_);\(#,##0\);&quot;-  &quot;;&quot; &quot;@&quot; &quot;">
                  <c:v>0</c:v>
                </c:pt>
                <c:pt idx="4145" formatCode="#,##0_);\(#,##0\);&quot;-  &quot;;&quot; &quot;@&quot; &quot;">
                  <c:v>0</c:v>
                </c:pt>
                <c:pt idx="4146" formatCode="#,##0_);\(#,##0\);&quot;-  &quot;;&quot; &quot;@&quot; &quot;">
                  <c:v>0</c:v>
                </c:pt>
                <c:pt idx="4147" formatCode="#,##0_);\(#,##0\);&quot;-  &quot;;&quot; &quot;@&quot; &quot;">
                  <c:v>0</c:v>
                </c:pt>
                <c:pt idx="4148" formatCode="#,##0_);\(#,##0\);&quot;-  &quot;;&quot; &quot;@&quot; &quot;">
                  <c:v>0</c:v>
                </c:pt>
                <c:pt idx="4149" formatCode="#,##0_);\(#,##0\);&quot;-  &quot;;&quot; &quot;@&quot; &quot;">
                  <c:v>0</c:v>
                </c:pt>
                <c:pt idx="4150" formatCode="#,##0_);\(#,##0\);&quot;-  &quot;;&quot; &quot;@&quot; &quot;">
                  <c:v>0</c:v>
                </c:pt>
                <c:pt idx="4151" formatCode="#,##0_);\(#,##0\);&quot;-  &quot;;&quot; &quot;@&quot; &quot;">
                  <c:v>0</c:v>
                </c:pt>
                <c:pt idx="4152" formatCode="#,##0_);\(#,##0\);&quot;-  &quot;;&quot; &quot;@&quot; &quot;">
                  <c:v>0</c:v>
                </c:pt>
                <c:pt idx="4153" formatCode="#,##0_);\(#,##0\);&quot;-  &quot;;&quot; &quot;@&quot; &quot;">
                  <c:v>0</c:v>
                </c:pt>
                <c:pt idx="4154" formatCode="#,##0_);\(#,##0\);&quot;-  &quot;;&quot; &quot;@&quot; &quot;">
                  <c:v>0</c:v>
                </c:pt>
                <c:pt idx="4155" formatCode="#,##0_);\(#,##0\);&quot;-  &quot;;&quot; &quot;@&quot; &quot;">
                  <c:v>0</c:v>
                </c:pt>
                <c:pt idx="4156" formatCode="#,##0_);\(#,##0\);&quot;-  &quot;;&quot; &quot;@&quot; &quot;">
                  <c:v>0</c:v>
                </c:pt>
                <c:pt idx="4157" formatCode="#,##0_);\(#,##0\);&quot;-  &quot;;&quot; &quot;@&quot; &quot;">
                  <c:v>0</c:v>
                </c:pt>
                <c:pt idx="4158" formatCode="#,##0_);\(#,##0\);&quot;-  &quot;;&quot; &quot;@&quot; &quot;">
                  <c:v>0</c:v>
                </c:pt>
                <c:pt idx="4159" formatCode="#,##0_);\(#,##0\);&quot;-  &quot;;&quot; &quot;@&quot; &quot;">
                  <c:v>0</c:v>
                </c:pt>
                <c:pt idx="4160" formatCode="#,##0_);\(#,##0\);&quot;-  &quot;;&quot; &quot;@&quot; &quot;">
                  <c:v>0</c:v>
                </c:pt>
                <c:pt idx="4161" formatCode="#,##0_);\(#,##0\);&quot;-  &quot;;&quot; &quot;@&quot; &quot;">
                  <c:v>0</c:v>
                </c:pt>
                <c:pt idx="4162" formatCode="#,##0_);\(#,##0\);&quot;-  &quot;;&quot; &quot;@&quot; &quot;">
                  <c:v>0</c:v>
                </c:pt>
                <c:pt idx="4163" formatCode="#,##0_);\(#,##0\);&quot;-  &quot;;&quot; &quot;@&quot; &quot;">
                  <c:v>0</c:v>
                </c:pt>
                <c:pt idx="4164" formatCode="#,##0_);\(#,##0\);&quot;-  &quot;;&quot; &quot;@&quot; &quot;">
                  <c:v>0</c:v>
                </c:pt>
                <c:pt idx="4165" formatCode="#,##0_);\(#,##0\);&quot;-  &quot;;&quot; &quot;@&quot; &quot;">
                  <c:v>0</c:v>
                </c:pt>
                <c:pt idx="4166" formatCode="#,##0_);\(#,##0\);&quot;-  &quot;;&quot; &quot;@&quot; &quot;">
                  <c:v>0</c:v>
                </c:pt>
                <c:pt idx="4167" formatCode="#,##0_);\(#,##0\);&quot;-  &quot;;&quot; &quot;@&quot; &quot;">
                  <c:v>0</c:v>
                </c:pt>
                <c:pt idx="4168" formatCode="#,##0_);\(#,##0\);&quot;-  &quot;;&quot; &quot;@&quot; &quot;">
                  <c:v>0</c:v>
                </c:pt>
                <c:pt idx="4169" formatCode="#,##0_);\(#,##0\);&quot;-  &quot;;&quot; &quot;@&quot; &quot;">
                  <c:v>0</c:v>
                </c:pt>
                <c:pt idx="4170" formatCode="#,##0_);\(#,##0\);&quot;-  &quot;;&quot; &quot;@&quot; &quot;">
                  <c:v>0</c:v>
                </c:pt>
                <c:pt idx="4171" formatCode="#,##0_);\(#,##0\);&quot;-  &quot;;&quot; &quot;@&quot; &quot;">
                  <c:v>0</c:v>
                </c:pt>
                <c:pt idx="4172" formatCode="#,##0_);\(#,##0\);&quot;-  &quot;;&quot; &quot;@&quot; &quot;">
                  <c:v>0</c:v>
                </c:pt>
                <c:pt idx="4173" formatCode="#,##0_);\(#,##0\);&quot;-  &quot;;&quot; &quot;@&quot; &quot;">
                  <c:v>0</c:v>
                </c:pt>
                <c:pt idx="4174" formatCode="#,##0_);\(#,##0\);&quot;-  &quot;;&quot; &quot;@&quot; &quot;">
                  <c:v>0</c:v>
                </c:pt>
                <c:pt idx="4175" formatCode="#,##0_);\(#,##0\);&quot;-  &quot;;&quot; &quot;@&quot; &quot;">
                  <c:v>0</c:v>
                </c:pt>
                <c:pt idx="4176" formatCode="#,##0_);\(#,##0\);&quot;-  &quot;;&quot; &quot;@&quot; &quot;">
                  <c:v>0</c:v>
                </c:pt>
                <c:pt idx="4177" formatCode="#,##0_);\(#,##0\);&quot;-  &quot;;&quot; &quot;@&quot; &quot;">
                  <c:v>0</c:v>
                </c:pt>
                <c:pt idx="4178" formatCode="#,##0_);\(#,##0\);&quot;-  &quot;;&quot; &quot;@&quot; &quot;">
                  <c:v>0</c:v>
                </c:pt>
                <c:pt idx="4179" formatCode="#,##0_);\(#,##0\);&quot;-  &quot;;&quot; &quot;@&quot; &quot;">
                  <c:v>0</c:v>
                </c:pt>
                <c:pt idx="4180" formatCode="#,##0_);\(#,##0\);&quot;-  &quot;;&quot; &quot;@&quot; &quot;">
                  <c:v>0</c:v>
                </c:pt>
                <c:pt idx="4181" formatCode="#,##0_);\(#,##0\);&quot;-  &quot;;&quot; &quot;@&quot; &quot;">
                  <c:v>0</c:v>
                </c:pt>
                <c:pt idx="4182" formatCode="#,##0_);\(#,##0\);&quot;-  &quot;;&quot; &quot;@&quot; &quot;">
                  <c:v>0</c:v>
                </c:pt>
                <c:pt idx="4183" formatCode="#,##0_);\(#,##0\);&quot;-  &quot;;&quot; &quot;@&quot; &quot;">
                  <c:v>0</c:v>
                </c:pt>
                <c:pt idx="4184" formatCode="#,##0_);\(#,##0\);&quot;-  &quot;;&quot; &quot;@&quot; &quot;">
                  <c:v>0</c:v>
                </c:pt>
                <c:pt idx="4185" formatCode="#,##0_);\(#,##0\);&quot;-  &quot;;&quot; &quot;@&quot; &quot;">
                  <c:v>0</c:v>
                </c:pt>
                <c:pt idx="4186" formatCode="#,##0_);\(#,##0\);&quot;-  &quot;;&quot; &quot;@&quot; &quot;">
                  <c:v>0</c:v>
                </c:pt>
                <c:pt idx="4187" formatCode="#,##0_);\(#,##0\);&quot;-  &quot;;&quot; &quot;@&quot; &quot;">
                  <c:v>0</c:v>
                </c:pt>
                <c:pt idx="4188" formatCode="#,##0_);\(#,##0\);&quot;-  &quot;;&quot; &quot;@&quot; &quot;">
                  <c:v>0</c:v>
                </c:pt>
                <c:pt idx="4189" formatCode="#,##0_);\(#,##0\);&quot;-  &quot;;&quot; &quot;@&quot; &quot;">
                  <c:v>0</c:v>
                </c:pt>
                <c:pt idx="4190" formatCode="#,##0_);\(#,##0\);&quot;-  &quot;;&quot; &quot;@&quot; &quot;">
                  <c:v>0</c:v>
                </c:pt>
                <c:pt idx="4191" formatCode="#,##0_);\(#,##0\);&quot;-  &quot;;&quot; &quot;@&quot; &quot;">
                  <c:v>0</c:v>
                </c:pt>
                <c:pt idx="4192" formatCode="#,##0_);\(#,##0\);&quot;-  &quot;;&quot; &quot;@&quot; &quot;">
                  <c:v>0</c:v>
                </c:pt>
                <c:pt idx="4193" formatCode="#,##0_);\(#,##0\);&quot;-  &quot;;&quot; &quot;@&quot; &quot;">
                  <c:v>0</c:v>
                </c:pt>
                <c:pt idx="4194" formatCode="#,##0_);\(#,##0\);&quot;-  &quot;;&quot; &quot;@&quot; &quot;">
                  <c:v>0</c:v>
                </c:pt>
                <c:pt idx="4195" formatCode="#,##0_);\(#,##0\);&quot;-  &quot;;&quot; &quot;@&quot; &quot;">
                  <c:v>0</c:v>
                </c:pt>
                <c:pt idx="4196" formatCode="#,##0_);\(#,##0\);&quot;-  &quot;;&quot; &quot;@&quot; &quot;">
                  <c:v>0</c:v>
                </c:pt>
                <c:pt idx="4197" formatCode="#,##0_);\(#,##0\);&quot;-  &quot;;&quot; &quot;@&quot; &quot;">
                  <c:v>0</c:v>
                </c:pt>
                <c:pt idx="4198" formatCode="#,##0_);\(#,##0\);&quot;-  &quot;;&quot; &quot;@&quot; &quot;">
                  <c:v>0</c:v>
                </c:pt>
                <c:pt idx="4199" formatCode="#,##0_);\(#,##0\);&quot;-  &quot;;&quot; &quot;@&quot; &quot;">
                  <c:v>0</c:v>
                </c:pt>
                <c:pt idx="4200" formatCode="#,##0_);\(#,##0\);&quot;-  &quot;;&quot; &quot;@&quot; &quot;">
                  <c:v>0</c:v>
                </c:pt>
                <c:pt idx="4201" formatCode="#,##0_);\(#,##0\);&quot;-  &quot;;&quot; &quot;@&quot; &quot;">
                  <c:v>0</c:v>
                </c:pt>
                <c:pt idx="4202" formatCode="#,##0_);\(#,##0\);&quot;-  &quot;;&quot; &quot;@&quot; &quot;">
                  <c:v>0</c:v>
                </c:pt>
                <c:pt idx="4203" formatCode="#,##0_);\(#,##0\);&quot;-  &quot;;&quot; &quot;@&quot; &quot;">
                  <c:v>0</c:v>
                </c:pt>
                <c:pt idx="4204" formatCode="#,##0_);\(#,##0\);&quot;-  &quot;;&quot; &quot;@&quot; &quot;">
                  <c:v>0</c:v>
                </c:pt>
                <c:pt idx="4205" formatCode="#,##0_);\(#,##0\);&quot;-  &quot;;&quot; &quot;@&quot; &quot;">
                  <c:v>0</c:v>
                </c:pt>
                <c:pt idx="4206" formatCode="#,##0_);\(#,##0\);&quot;-  &quot;;&quot; &quot;@&quot; &quot;">
                  <c:v>0</c:v>
                </c:pt>
                <c:pt idx="4207" formatCode="#,##0_);\(#,##0\);&quot;-  &quot;;&quot; &quot;@&quot; &quot;">
                  <c:v>0</c:v>
                </c:pt>
                <c:pt idx="4208" formatCode="#,##0_);\(#,##0\);&quot;-  &quot;;&quot; &quot;@&quot; &quot;">
                  <c:v>0</c:v>
                </c:pt>
                <c:pt idx="4209" formatCode="#,##0_);\(#,##0\);&quot;-  &quot;;&quot; &quot;@&quot; &quot;">
                  <c:v>0</c:v>
                </c:pt>
                <c:pt idx="4210" formatCode="#,##0_);\(#,##0\);&quot;-  &quot;;&quot; &quot;@&quot; &quot;">
                  <c:v>0</c:v>
                </c:pt>
                <c:pt idx="4211" formatCode="#,##0_);\(#,##0\);&quot;-  &quot;;&quot; &quot;@&quot; &quot;">
                  <c:v>0</c:v>
                </c:pt>
                <c:pt idx="4212" formatCode="#,##0_);\(#,##0\);&quot;-  &quot;;&quot; &quot;@&quot; &quot;">
                  <c:v>0</c:v>
                </c:pt>
                <c:pt idx="4213" formatCode="#,##0_);\(#,##0\);&quot;-  &quot;;&quot; &quot;@&quot; &quot;">
                  <c:v>0</c:v>
                </c:pt>
                <c:pt idx="4214" formatCode="#,##0_);\(#,##0\);&quot;-  &quot;;&quot; &quot;@&quot; &quot;">
                  <c:v>0</c:v>
                </c:pt>
                <c:pt idx="4215" formatCode="#,##0_);\(#,##0\);&quot;-  &quot;;&quot; &quot;@&quot; &quot;">
                  <c:v>0</c:v>
                </c:pt>
                <c:pt idx="4216" formatCode="#,##0_);\(#,##0\);&quot;-  &quot;;&quot; &quot;@&quot; &quot;">
                  <c:v>0</c:v>
                </c:pt>
                <c:pt idx="4217" formatCode="#,##0_);\(#,##0\);&quot;-  &quot;;&quot; &quot;@&quot; &quot;">
                  <c:v>0</c:v>
                </c:pt>
                <c:pt idx="4218" formatCode="#,##0_);\(#,##0\);&quot;-  &quot;;&quot; &quot;@&quot; &quot;">
                  <c:v>0</c:v>
                </c:pt>
                <c:pt idx="4219" formatCode="#,##0_);\(#,##0\);&quot;-  &quot;;&quot; &quot;@&quot; &quot;">
                  <c:v>0</c:v>
                </c:pt>
                <c:pt idx="4220" formatCode="#,##0_);\(#,##0\);&quot;-  &quot;;&quot; &quot;@&quot; &quot;">
                  <c:v>0</c:v>
                </c:pt>
                <c:pt idx="4221" formatCode="#,##0_);\(#,##0\);&quot;-  &quot;;&quot; &quot;@&quot; &quot;">
                  <c:v>0</c:v>
                </c:pt>
                <c:pt idx="4222" formatCode="#,##0_);\(#,##0\);&quot;-  &quot;;&quot; &quot;@&quot; &quot;">
                  <c:v>0</c:v>
                </c:pt>
                <c:pt idx="4223" formatCode="#,##0_);\(#,##0\);&quot;-  &quot;;&quot; &quot;@&quot; &quot;">
                  <c:v>0</c:v>
                </c:pt>
                <c:pt idx="4224" formatCode="#,##0_);\(#,##0\);&quot;-  &quot;;&quot; &quot;@&quot; &quot;">
                  <c:v>0</c:v>
                </c:pt>
                <c:pt idx="4225" formatCode="#,##0_);\(#,##0\);&quot;-  &quot;;&quot; &quot;@&quot; &quot;">
                  <c:v>0</c:v>
                </c:pt>
                <c:pt idx="4226" formatCode="#,##0_);\(#,##0\);&quot;-  &quot;;&quot; &quot;@&quot; &quot;">
                  <c:v>0</c:v>
                </c:pt>
                <c:pt idx="4227" formatCode="#,##0_);\(#,##0\);&quot;-  &quot;;&quot; &quot;@&quot; &quot;">
                  <c:v>0</c:v>
                </c:pt>
                <c:pt idx="4228" formatCode="#,##0_);\(#,##0\);&quot;-  &quot;;&quot; &quot;@&quot; &quot;">
                  <c:v>0</c:v>
                </c:pt>
                <c:pt idx="4229" formatCode="#,##0_);\(#,##0\);&quot;-  &quot;;&quot; &quot;@&quot; &quot;">
                  <c:v>0</c:v>
                </c:pt>
                <c:pt idx="4230" formatCode="#,##0_);\(#,##0\);&quot;-  &quot;;&quot; &quot;@&quot; &quot;">
                  <c:v>0</c:v>
                </c:pt>
                <c:pt idx="4231" formatCode="#,##0_);\(#,##0\);&quot;-  &quot;;&quot; &quot;@&quot; &quot;">
                  <c:v>0</c:v>
                </c:pt>
                <c:pt idx="4232" formatCode="#,##0_);\(#,##0\);&quot;-  &quot;;&quot; &quot;@&quot; &quot;">
                  <c:v>0</c:v>
                </c:pt>
                <c:pt idx="4233" formatCode="#,##0_);\(#,##0\);&quot;-  &quot;;&quot; &quot;@&quot; &quot;">
                  <c:v>0</c:v>
                </c:pt>
                <c:pt idx="4234" formatCode="#,##0_);\(#,##0\);&quot;-  &quot;;&quot; &quot;@&quot; &quot;">
                  <c:v>0</c:v>
                </c:pt>
                <c:pt idx="4235" formatCode="#,##0_);\(#,##0\);&quot;-  &quot;;&quot; &quot;@&quot; &quot;">
                  <c:v>0</c:v>
                </c:pt>
                <c:pt idx="4236" formatCode="#,##0_);\(#,##0\);&quot;-  &quot;;&quot; &quot;@&quot; &quot;">
                  <c:v>0</c:v>
                </c:pt>
                <c:pt idx="4237" formatCode="#,##0_);\(#,##0\);&quot;-  &quot;;&quot; &quot;@&quot; &quot;">
                  <c:v>0</c:v>
                </c:pt>
                <c:pt idx="4238" formatCode="#,##0_);\(#,##0\);&quot;-  &quot;;&quot; &quot;@&quot; &quot;">
                  <c:v>0</c:v>
                </c:pt>
                <c:pt idx="4239" formatCode="#,##0_);\(#,##0\);&quot;-  &quot;;&quot; &quot;@&quot; &quot;">
                  <c:v>0</c:v>
                </c:pt>
                <c:pt idx="4240" formatCode="#,##0_);\(#,##0\);&quot;-  &quot;;&quot; &quot;@&quot; &quot;">
                  <c:v>0</c:v>
                </c:pt>
                <c:pt idx="4241" formatCode="#,##0_);\(#,##0\);&quot;-  &quot;;&quot; &quot;@&quot; &quot;">
                  <c:v>0</c:v>
                </c:pt>
                <c:pt idx="4242" formatCode="#,##0_);\(#,##0\);&quot;-  &quot;;&quot; &quot;@&quot; &quot;">
                  <c:v>0</c:v>
                </c:pt>
                <c:pt idx="4243" formatCode="#,##0_);\(#,##0\);&quot;-  &quot;;&quot; &quot;@&quot; &quot;">
                  <c:v>0</c:v>
                </c:pt>
                <c:pt idx="4244" formatCode="#,##0_);\(#,##0\);&quot;-  &quot;;&quot; &quot;@&quot; &quot;">
                  <c:v>0</c:v>
                </c:pt>
                <c:pt idx="4245" formatCode="#,##0_);\(#,##0\);&quot;-  &quot;;&quot; &quot;@&quot; &quot;">
                  <c:v>0</c:v>
                </c:pt>
                <c:pt idx="4246" formatCode="#,##0_);\(#,##0\);&quot;-  &quot;;&quot; &quot;@&quot; &quot;">
                  <c:v>0</c:v>
                </c:pt>
                <c:pt idx="4247" formatCode="#,##0_);\(#,##0\);&quot;-  &quot;;&quot; &quot;@&quot; &quot;">
                  <c:v>0</c:v>
                </c:pt>
                <c:pt idx="4248" formatCode="#,##0_);\(#,##0\);&quot;-  &quot;;&quot; &quot;@&quot; &quot;">
                  <c:v>0</c:v>
                </c:pt>
                <c:pt idx="4249" formatCode="#,##0_);\(#,##0\);&quot;-  &quot;;&quot; &quot;@&quot; &quot;">
                  <c:v>0</c:v>
                </c:pt>
                <c:pt idx="4250" formatCode="#,##0_);\(#,##0\);&quot;-  &quot;;&quot; &quot;@&quot; &quot;">
                  <c:v>0</c:v>
                </c:pt>
                <c:pt idx="4251" formatCode="#,##0_);\(#,##0\);&quot;-  &quot;;&quot; &quot;@&quot; &quot;">
                  <c:v>0</c:v>
                </c:pt>
                <c:pt idx="4252" formatCode="#,##0_);\(#,##0\);&quot;-  &quot;;&quot; &quot;@&quot; &quot;">
                  <c:v>0</c:v>
                </c:pt>
                <c:pt idx="4253" formatCode="#,##0_);\(#,##0\);&quot;-  &quot;;&quot; &quot;@&quot; &quot;">
                  <c:v>0</c:v>
                </c:pt>
                <c:pt idx="4254" formatCode="#,##0_);\(#,##0\);&quot;-  &quot;;&quot; &quot;@&quot; &quot;">
                  <c:v>0</c:v>
                </c:pt>
                <c:pt idx="4255" formatCode="#,##0_);\(#,##0\);&quot;-  &quot;;&quot; &quot;@&quot; &quot;">
                  <c:v>0</c:v>
                </c:pt>
                <c:pt idx="4256" formatCode="#,##0_);\(#,##0\);&quot;-  &quot;;&quot; &quot;@&quot; &quot;">
                  <c:v>0</c:v>
                </c:pt>
                <c:pt idx="4257" formatCode="#,##0_);\(#,##0\);&quot;-  &quot;;&quot; &quot;@&quot; &quot;">
                  <c:v>0</c:v>
                </c:pt>
                <c:pt idx="4258" formatCode="#,##0_);\(#,##0\);&quot;-  &quot;;&quot; &quot;@&quot; &quot;">
                  <c:v>0</c:v>
                </c:pt>
                <c:pt idx="4259" formatCode="#,##0_);\(#,##0\);&quot;-  &quot;;&quot; &quot;@&quot; &quot;">
                  <c:v>0</c:v>
                </c:pt>
                <c:pt idx="4260" formatCode="#,##0_);\(#,##0\);&quot;-  &quot;;&quot; &quot;@&quot; &quot;">
                  <c:v>0</c:v>
                </c:pt>
                <c:pt idx="4261" formatCode="#,##0_);\(#,##0\);&quot;-  &quot;;&quot; &quot;@&quot; &quot;">
                  <c:v>0</c:v>
                </c:pt>
                <c:pt idx="4262" formatCode="#,##0_);\(#,##0\);&quot;-  &quot;;&quot; &quot;@&quot; &quot;">
                  <c:v>0</c:v>
                </c:pt>
                <c:pt idx="4263" formatCode="#,##0_);\(#,##0\);&quot;-  &quot;;&quot; &quot;@&quot; &quot;">
                  <c:v>0</c:v>
                </c:pt>
                <c:pt idx="4264" formatCode="#,##0_);\(#,##0\);&quot;-  &quot;;&quot; &quot;@&quot; &quot;">
                  <c:v>0</c:v>
                </c:pt>
                <c:pt idx="4265" formatCode="#,##0_);\(#,##0\);&quot;-  &quot;;&quot; &quot;@&quot; &quot;">
                  <c:v>0</c:v>
                </c:pt>
                <c:pt idx="4266" formatCode="#,##0_);\(#,##0\);&quot;-  &quot;;&quot; &quot;@&quot; &quot;">
                  <c:v>0</c:v>
                </c:pt>
                <c:pt idx="4267" formatCode="#,##0_);\(#,##0\);&quot;-  &quot;;&quot; &quot;@&quot; &quot;">
                  <c:v>0</c:v>
                </c:pt>
                <c:pt idx="4268" formatCode="#,##0_);\(#,##0\);&quot;-  &quot;;&quot; &quot;@&quot; &quot;">
                  <c:v>0</c:v>
                </c:pt>
                <c:pt idx="4269" formatCode="#,##0_);\(#,##0\);&quot;-  &quot;;&quot; &quot;@&quot; &quot;">
                  <c:v>0</c:v>
                </c:pt>
                <c:pt idx="4270" formatCode="#,##0_);\(#,##0\);&quot;-  &quot;;&quot; &quot;@&quot; &quot;">
                  <c:v>0</c:v>
                </c:pt>
                <c:pt idx="4271" formatCode="#,##0_);\(#,##0\);&quot;-  &quot;;&quot; &quot;@&quot; &quot;">
                  <c:v>0</c:v>
                </c:pt>
                <c:pt idx="4272" formatCode="#,##0_);\(#,##0\);&quot;-  &quot;;&quot; &quot;@&quot; &quot;">
                  <c:v>0</c:v>
                </c:pt>
                <c:pt idx="4273" formatCode="#,##0_);\(#,##0\);&quot;-  &quot;;&quot; &quot;@&quot; &quot;">
                  <c:v>0</c:v>
                </c:pt>
                <c:pt idx="4274" formatCode="#,##0_);\(#,##0\);&quot;-  &quot;;&quot; &quot;@&quot; &quot;">
                  <c:v>0</c:v>
                </c:pt>
                <c:pt idx="4275" formatCode="#,##0_);\(#,##0\);&quot;-  &quot;;&quot; &quot;@&quot; &quot;">
                  <c:v>0</c:v>
                </c:pt>
                <c:pt idx="4276" formatCode="#,##0_);\(#,##0\);&quot;-  &quot;;&quot; &quot;@&quot; &quot;">
                  <c:v>0</c:v>
                </c:pt>
                <c:pt idx="4277" formatCode="#,##0_);\(#,##0\);&quot;-  &quot;;&quot; &quot;@&quot; &quot;">
                  <c:v>0</c:v>
                </c:pt>
                <c:pt idx="4278" formatCode="#,##0_);\(#,##0\);&quot;-  &quot;;&quot; &quot;@&quot; &quot;">
                  <c:v>0</c:v>
                </c:pt>
                <c:pt idx="4279" formatCode="#,##0_);\(#,##0\);&quot;-  &quot;;&quot; &quot;@&quot; &quot;">
                  <c:v>0</c:v>
                </c:pt>
                <c:pt idx="4280" formatCode="#,##0_);\(#,##0\);&quot;-  &quot;;&quot; &quot;@&quot; &quot;">
                  <c:v>0</c:v>
                </c:pt>
                <c:pt idx="4281" formatCode="#,##0_);\(#,##0\);&quot;-  &quot;;&quot; &quot;@&quot; &quot;">
                  <c:v>0</c:v>
                </c:pt>
                <c:pt idx="4282" formatCode="#,##0_);\(#,##0\);&quot;-  &quot;;&quot; &quot;@&quot; &quot;">
                  <c:v>0</c:v>
                </c:pt>
                <c:pt idx="4283" formatCode="#,##0_);\(#,##0\);&quot;-  &quot;;&quot; &quot;@&quot; &quot;">
                  <c:v>0</c:v>
                </c:pt>
                <c:pt idx="4284" formatCode="#,##0_);\(#,##0\);&quot;-  &quot;;&quot; &quot;@&quot; &quot;">
                  <c:v>0</c:v>
                </c:pt>
                <c:pt idx="4285" formatCode="#,##0_);\(#,##0\);&quot;-  &quot;;&quot; &quot;@&quot; &quot;">
                  <c:v>0</c:v>
                </c:pt>
                <c:pt idx="4286" formatCode="#,##0_);\(#,##0\);&quot;-  &quot;;&quot; &quot;@&quot; &quot;">
                  <c:v>0</c:v>
                </c:pt>
                <c:pt idx="4287" formatCode="#,##0_);\(#,##0\);&quot;-  &quot;;&quot; &quot;@&quot; &quot;">
                  <c:v>0</c:v>
                </c:pt>
                <c:pt idx="4288" formatCode="#,##0_);\(#,##0\);&quot;-  &quot;;&quot; &quot;@&quot; &quot;">
                  <c:v>0</c:v>
                </c:pt>
                <c:pt idx="4289" formatCode="#,##0_);\(#,##0\);&quot;-  &quot;;&quot; &quot;@&quot; &quot;">
                  <c:v>0</c:v>
                </c:pt>
                <c:pt idx="4290" formatCode="#,##0_);\(#,##0\);&quot;-  &quot;;&quot; &quot;@&quot; &quot;">
                  <c:v>0</c:v>
                </c:pt>
                <c:pt idx="4291" formatCode="#,##0_);\(#,##0\);&quot;-  &quot;;&quot; &quot;@&quot; &quot;">
                  <c:v>0</c:v>
                </c:pt>
                <c:pt idx="4292" formatCode="#,##0_);\(#,##0\);&quot;-  &quot;;&quot; &quot;@&quot; &quot;">
                  <c:v>0</c:v>
                </c:pt>
                <c:pt idx="4293" formatCode="#,##0_);\(#,##0\);&quot;-  &quot;;&quot; &quot;@&quot; &quot;">
                  <c:v>0</c:v>
                </c:pt>
                <c:pt idx="4294" formatCode="#,##0_);\(#,##0\);&quot;-  &quot;;&quot; &quot;@&quot; &quot;">
                  <c:v>0</c:v>
                </c:pt>
                <c:pt idx="4295" formatCode="#,##0_);\(#,##0\);&quot;-  &quot;;&quot; &quot;@&quot; &quot;">
                  <c:v>0</c:v>
                </c:pt>
                <c:pt idx="4296" formatCode="#,##0_);\(#,##0\);&quot;-  &quot;;&quot; &quot;@&quot; &quot;">
                  <c:v>0</c:v>
                </c:pt>
                <c:pt idx="4297" formatCode="#,##0_);\(#,##0\);&quot;-  &quot;;&quot; &quot;@&quot; &quot;">
                  <c:v>0</c:v>
                </c:pt>
                <c:pt idx="4298" formatCode="#,##0_);\(#,##0\);&quot;-  &quot;;&quot; &quot;@&quot; &quot;">
                  <c:v>0</c:v>
                </c:pt>
                <c:pt idx="4299" formatCode="#,##0_);\(#,##0\);&quot;-  &quot;;&quot; &quot;@&quot; &quot;">
                  <c:v>0</c:v>
                </c:pt>
                <c:pt idx="4300" formatCode="#,##0_);\(#,##0\);&quot;-  &quot;;&quot; &quot;@&quot; &quot;">
                  <c:v>0</c:v>
                </c:pt>
                <c:pt idx="4301" formatCode="#,##0_);\(#,##0\);&quot;-  &quot;;&quot; &quot;@&quot; &quot;">
                  <c:v>0</c:v>
                </c:pt>
                <c:pt idx="4302" formatCode="#,##0_);\(#,##0\);&quot;-  &quot;;&quot; &quot;@&quot; &quot;">
                  <c:v>0</c:v>
                </c:pt>
                <c:pt idx="4303" formatCode="#,##0_);\(#,##0\);&quot;-  &quot;;&quot; &quot;@&quot; &quot;">
                  <c:v>0</c:v>
                </c:pt>
                <c:pt idx="4304" formatCode="#,##0_);\(#,##0\);&quot;-  &quot;;&quot; &quot;@&quot; &quot;">
                  <c:v>0</c:v>
                </c:pt>
                <c:pt idx="4305" formatCode="#,##0_);\(#,##0\);&quot;-  &quot;;&quot; &quot;@&quot; &quot;">
                  <c:v>0</c:v>
                </c:pt>
                <c:pt idx="4306" formatCode="#,##0_);\(#,##0\);&quot;-  &quot;;&quot; &quot;@&quot; &quot;">
                  <c:v>0</c:v>
                </c:pt>
                <c:pt idx="4307" formatCode="#,##0_);\(#,##0\);&quot;-  &quot;;&quot; &quot;@&quot; &quot;">
                  <c:v>0</c:v>
                </c:pt>
                <c:pt idx="4308" formatCode="#,##0_);\(#,##0\);&quot;-  &quot;;&quot; &quot;@&quot; &quot;">
                  <c:v>0</c:v>
                </c:pt>
                <c:pt idx="4309" formatCode="#,##0_);\(#,##0\);&quot;-  &quot;;&quot; &quot;@&quot; &quot;">
                  <c:v>0</c:v>
                </c:pt>
                <c:pt idx="4310" formatCode="#,##0_);\(#,##0\);&quot;-  &quot;;&quot; &quot;@&quot; &quot;">
                  <c:v>0</c:v>
                </c:pt>
                <c:pt idx="4311" formatCode="#,##0_);\(#,##0\);&quot;-  &quot;;&quot; &quot;@&quot; &quot;">
                  <c:v>0</c:v>
                </c:pt>
                <c:pt idx="4312" formatCode="#,##0_);\(#,##0\);&quot;-  &quot;;&quot; &quot;@&quot; &quot;">
                  <c:v>0</c:v>
                </c:pt>
                <c:pt idx="4313" formatCode="#,##0_);\(#,##0\);&quot;-  &quot;;&quot; &quot;@&quot; &quot;">
                  <c:v>0</c:v>
                </c:pt>
                <c:pt idx="4314" formatCode="#,##0_);\(#,##0\);&quot;-  &quot;;&quot; &quot;@&quot; &quot;">
                  <c:v>0</c:v>
                </c:pt>
                <c:pt idx="4315" formatCode="#,##0_);\(#,##0\);&quot;-  &quot;;&quot; &quot;@&quot; &quot;">
                  <c:v>0</c:v>
                </c:pt>
                <c:pt idx="4316" formatCode="#,##0_);\(#,##0\);&quot;-  &quot;;&quot; &quot;@&quot; &quot;">
                  <c:v>0</c:v>
                </c:pt>
                <c:pt idx="4317" formatCode="#,##0_);\(#,##0\);&quot;-  &quot;;&quot; &quot;@&quot; &quot;">
                  <c:v>0</c:v>
                </c:pt>
                <c:pt idx="4318" formatCode="#,##0_);\(#,##0\);&quot;-  &quot;;&quot; &quot;@&quot; &quot;">
                  <c:v>0</c:v>
                </c:pt>
                <c:pt idx="4319" formatCode="#,##0_);\(#,##0\);&quot;-  &quot;;&quot; &quot;@&quot; &quot;">
                  <c:v>0</c:v>
                </c:pt>
                <c:pt idx="4320" formatCode="#,##0_);\(#,##0\);&quot;-  &quot;;&quot; &quot;@&quot; &quot;">
                  <c:v>0</c:v>
                </c:pt>
                <c:pt idx="4321" formatCode="#,##0_);\(#,##0\);&quot;-  &quot;;&quot; &quot;@&quot; &quot;">
                  <c:v>0</c:v>
                </c:pt>
                <c:pt idx="4322" formatCode="#,##0_);\(#,##0\);&quot;-  &quot;;&quot; &quot;@&quot; &quot;">
                  <c:v>0</c:v>
                </c:pt>
                <c:pt idx="4323" formatCode="#,##0_);\(#,##0\);&quot;-  &quot;;&quot; &quot;@&quot; &quot;">
                  <c:v>0</c:v>
                </c:pt>
                <c:pt idx="4324" formatCode="#,##0_);\(#,##0\);&quot;-  &quot;;&quot; &quot;@&quot; &quot;">
                  <c:v>0</c:v>
                </c:pt>
                <c:pt idx="4325" formatCode="#,##0_);\(#,##0\);&quot;-  &quot;;&quot; &quot;@&quot; &quot;">
                  <c:v>0</c:v>
                </c:pt>
                <c:pt idx="4326" formatCode="#,##0_);\(#,##0\);&quot;-  &quot;;&quot; &quot;@&quot; &quot;">
                  <c:v>0</c:v>
                </c:pt>
                <c:pt idx="4327" formatCode="#,##0_);\(#,##0\);&quot;-  &quot;;&quot; &quot;@&quot; &quot;">
                  <c:v>0</c:v>
                </c:pt>
                <c:pt idx="4328" formatCode="#,##0_);\(#,##0\);&quot;-  &quot;;&quot; &quot;@&quot; &quot;">
                  <c:v>0</c:v>
                </c:pt>
                <c:pt idx="4329" formatCode="#,##0_);\(#,##0\);&quot;-  &quot;;&quot; &quot;@&quot; &quot;">
                  <c:v>0</c:v>
                </c:pt>
                <c:pt idx="4330" formatCode="#,##0_);\(#,##0\);&quot;-  &quot;;&quot; &quot;@&quot; &quot;">
                  <c:v>0</c:v>
                </c:pt>
                <c:pt idx="4331" formatCode="#,##0_);\(#,##0\);&quot;-  &quot;;&quot; &quot;@&quot; &quot;">
                  <c:v>0</c:v>
                </c:pt>
                <c:pt idx="4332" formatCode="#,##0_);\(#,##0\);&quot;-  &quot;;&quot; &quot;@&quot; &quot;">
                  <c:v>0</c:v>
                </c:pt>
                <c:pt idx="4333" formatCode="#,##0_);\(#,##0\);&quot;-  &quot;;&quot; &quot;@&quot; &quot;">
                  <c:v>0</c:v>
                </c:pt>
                <c:pt idx="4334" formatCode="#,##0_);\(#,##0\);&quot;-  &quot;;&quot; &quot;@&quot; &quot;">
                  <c:v>0</c:v>
                </c:pt>
                <c:pt idx="4335" formatCode="#,##0_);\(#,##0\);&quot;-  &quot;;&quot; &quot;@&quot; &quot;">
                  <c:v>0</c:v>
                </c:pt>
                <c:pt idx="4336" formatCode="#,##0_);\(#,##0\);&quot;-  &quot;;&quot; &quot;@&quot; &quot;">
                  <c:v>0</c:v>
                </c:pt>
                <c:pt idx="4337" formatCode="#,##0_);\(#,##0\);&quot;-  &quot;;&quot; &quot;@&quot; &quot;">
                  <c:v>0</c:v>
                </c:pt>
                <c:pt idx="4338" formatCode="#,##0_);\(#,##0\);&quot;-  &quot;;&quot; &quot;@&quot; &quot;">
                  <c:v>0</c:v>
                </c:pt>
                <c:pt idx="4339" formatCode="#,##0_);\(#,##0\);&quot;-  &quot;;&quot; &quot;@&quot; &quot;">
                  <c:v>0</c:v>
                </c:pt>
                <c:pt idx="4340" formatCode="#,##0_);\(#,##0\);&quot;-  &quot;;&quot; &quot;@&quot; &quot;">
                  <c:v>0</c:v>
                </c:pt>
                <c:pt idx="4341" formatCode="#,##0_);\(#,##0\);&quot;-  &quot;;&quot; &quot;@&quot; &quot;">
                  <c:v>0</c:v>
                </c:pt>
                <c:pt idx="4342" formatCode="#,##0_);\(#,##0\);&quot;-  &quot;;&quot; &quot;@&quot; &quot;">
                  <c:v>0</c:v>
                </c:pt>
                <c:pt idx="4343" formatCode="#,##0_);\(#,##0\);&quot;-  &quot;;&quot; &quot;@&quot; &quot;">
                  <c:v>0</c:v>
                </c:pt>
                <c:pt idx="4344" formatCode="#,##0_);\(#,##0\);&quot;-  &quot;;&quot; &quot;@&quot; &quot;">
                  <c:v>0</c:v>
                </c:pt>
                <c:pt idx="4345" formatCode="#,##0_);\(#,##0\);&quot;-  &quot;;&quot; &quot;@&quot; &quot;">
                  <c:v>0</c:v>
                </c:pt>
                <c:pt idx="4346" formatCode="#,##0_);\(#,##0\);&quot;-  &quot;;&quot; &quot;@&quot; &quot;">
                  <c:v>0</c:v>
                </c:pt>
                <c:pt idx="4347" formatCode="#,##0_);\(#,##0\);&quot;-  &quot;;&quot; &quot;@&quot; &quot;">
                  <c:v>0</c:v>
                </c:pt>
                <c:pt idx="4348" formatCode="#,##0_);\(#,##0\);&quot;-  &quot;;&quot; &quot;@&quot; &quot;">
                  <c:v>0</c:v>
                </c:pt>
                <c:pt idx="4349" formatCode="#,##0_);\(#,##0\);&quot;-  &quot;;&quot; &quot;@&quot; &quot;">
                  <c:v>0</c:v>
                </c:pt>
                <c:pt idx="4350" formatCode="#,##0_);\(#,##0\);&quot;-  &quot;;&quot; &quot;@&quot; &quot;">
                  <c:v>0</c:v>
                </c:pt>
                <c:pt idx="4351" formatCode="#,##0_);\(#,##0\);&quot;-  &quot;;&quot; &quot;@&quot; &quot;">
                  <c:v>0</c:v>
                </c:pt>
                <c:pt idx="4352" formatCode="#,##0_);\(#,##0\);&quot;-  &quot;;&quot; &quot;@&quot; &quot;">
                  <c:v>0</c:v>
                </c:pt>
                <c:pt idx="4353" formatCode="#,##0_);\(#,##0\);&quot;-  &quot;;&quot; &quot;@&quot; &quot;">
                  <c:v>0</c:v>
                </c:pt>
                <c:pt idx="4354" formatCode="#,##0_);\(#,##0\);&quot;-  &quot;;&quot; &quot;@&quot; &quot;">
                  <c:v>0</c:v>
                </c:pt>
                <c:pt idx="4355" formatCode="#,##0_);\(#,##0\);&quot;-  &quot;;&quot; &quot;@&quot; &quot;">
                  <c:v>0</c:v>
                </c:pt>
                <c:pt idx="4356" formatCode="#,##0_);\(#,##0\);&quot;-  &quot;;&quot; &quot;@&quot; &quot;">
                  <c:v>0</c:v>
                </c:pt>
                <c:pt idx="4357" formatCode="#,##0_);\(#,##0\);&quot;-  &quot;;&quot; &quot;@&quot; &quot;">
                  <c:v>0</c:v>
                </c:pt>
                <c:pt idx="4358" formatCode="#,##0_);\(#,##0\);&quot;-  &quot;;&quot; &quot;@&quot; &quot;">
                  <c:v>0</c:v>
                </c:pt>
                <c:pt idx="4359" formatCode="#,##0_);\(#,##0\);&quot;-  &quot;;&quot; &quot;@&quot; &quot;">
                  <c:v>0</c:v>
                </c:pt>
                <c:pt idx="4360" formatCode="#,##0_);\(#,##0\);&quot;-  &quot;;&quot; &quot;@&quot; &quot;">
                  <c:v>0</c:v>
                </c:pt>
                <c:pt idx="4361" formatCode="#,##0_);\(#,##0\);&quot;-  &quot;;&quot; &quot;@&quot; &quot;">
                  <c:v>0</c:v>
                </c:pt>
                <c:pt idx="4362" formatCode="#,##0_);\(#,##0\);&quot;-  &quot;;&quot; &quot;@&quot; &quot;">
                  <c:v>0</c:v>
                </c:pt>
                <c:pt idx="4363" formatCode="#,##0_);\(#,##0\);&quot;-  &quot;;&quot; &quot;@&quot; &quot;">
                  <c:v>0</c:v>
                </c:pt>
                <c:pt idx="4364" formatCode="#,##0_);\(#,##0\);&quot;-  &quot;;&quot; &quot;@&quot; &quot;">
                  <c:v>0</c:v>
                </c:pt>
                <c:pt idx="4365" formatCode="#,##0_);\(#,##0\);&quot;-  &quot;;&quot; &quot;@&quot; &quot;">
                  <c:v>0</c:v>
                </c:pt>
                <c:pt idx="4366" formatCode="#,##0_);\(#,##0\);&quot;-  &quot;;&quot; &quot;@&quot; &quot;">
                  <c:v>0</c:v>
                </c:pt>
                <c:pt idx="4367" formatCode="#,##0_);\(#,##0\);&quot;-  &quot;;&quot; &quot;@&quot; &quot;">
                  <c:v>0</c:v>
                </c:pt>
                <c:pt idx="4368" formatCode="#,##0_);\(#,##0\);&quot;-  &quot;;&quot; &quot;@&quot; &quot;">
                  <c:v>0</c:v>
                </c:pt>
                <c:pt idx="4369" formatCode="#,##0_);\(#,##0\);&quot;-  &quot;;&quot; &quot;@&quot; &quot;">
                  <c:v>0</c:v>
                </c:pt>
                <c:pt idx="4370" formatCode="#,##0_);\(#,##0\);&quot;-  &quot;;&quot; &quot;@&quot; &quot;">
                  <c:v>0</c:v>
                </c:pt>
                <c:pt idx="4371" formatCode="#,##0_);\(#,##0\);&quot;-  &quot;;&quot; &quot;@&quot; &quot;">
                  <c:v>0</c:v>
                </c:pt>
                <c:pt idx="4372" formatCode="#,##0_);\(#,##0\);&quot;-  &quot;;&quot; &quot;@&quot; &quot;">
                  <c:v>0</c:v>
                </c:pt>
                <c:pt idx="4373" formatCode="#,##0_);\(#,##0\);&quot;-  &quot;;&quot; &quot;@&quot; &quot;">
                  <c:v>0</c:v>
                </c:pt>
                <c:pt idx="4374" formatCode="#,##0_);\(#,##0\);&quot;-  &quot;;&quot; &quot;@&quot; &quot;">
                  <c:v>0</c:v>
                </c:pt>
                <c:pt idx="4375" formatCode="#,##0_);\(#,##0\);&quot;-  &quot;;&quot; &quot;@&quot; &quot;">
                  <c:v>0</c:v>
                </c:pt>
                <c:pt idx="4376" formatCode="#,##0_);\(#,##0\);&quot;-  &quot;;&quot; &quot;@&quot; &quot;">
                  <c:v>0</c:v>
                </c:pt>
                <c:pt idx="4377" formatCode="#,##0_);\(#,##0\);&quot;-  &quot;;&quot; &quot;@&quot; &quot;">
                  <c:v>0</c:v>
                </c:pt>
                <c:pt idx="4378" formatCode="#,##0_);\(#,##0\);&quot;-  &quot;;&quot; &quot;@&quot; &quot;">
                  <c:v>0</c:v>
                </c:pt>
                <c:pt idx="4379" formatCode="#,##0_);\(#,##0\);&quot;-  &quot;;&quot; &quot;@&quot; &quot;">
                  <c:v>0</c:v>
                </c:pt>
                <c:pt idx="4380" formatCode="#,##0_);\(#,##0\);&quot;-  &quot;;&quot; &quot;@&quot; &quot;">
                  <c:v>0</c:v>
                </c:pt>
                <c:pt idx="4381" formatCode="#,##0_);\(#,##0\);&quot;-  &quot;;&quot; &quot;@&quot; &quot;">
                  <c:v>0</c:v>
                </c:pt>
                <c:pt idx="4382" formatCode="#,##0_);\(#,##0\);&quot;-  &quot;;&quot; &quot;@&quot; &quot;">
                  <c:v>0</c:v>
                </c:pt>
                <c:pt idx="4383" formatCode="#,##0_);\(#,##0\);&quot;-  &quot;;&quot; &quot;@&quot; &quot;">
                  <c:v>0</c:v>
                </c:pt>
                <c:pt idx="4384" formatCode="#,##0_);\(#,##0\);&quot;-  &quot;;&quot; &quot;@&quot; &quot;">
                  <c:v>0</c:v>
                </c:pt>
                <c:pt idx="4385" formatCode="#,##0_);\(#,##0\);&quot;-  &quot;;&quot; &quot;@&quot; &quot;">
                  <c:v>0</c:v>
                </c:pt>
                <c:pt idx="4386" formatCode="#,##0_);\(#,##0\);&quot;-  &quot;;&quot; &quot;@&quot; &quot;">
                  <c:v>0</c:v>
                </c:pt>
                <c:pt idx="4387" formatCode="#,##0_);\(#,##0\);&quot;-  &quot;;&quot; &quot;@&quot; &quot;">
                  <c:v>0</c:v>
                </c:pt>
                <c:pt idx="4388" formatCode="#,##0_);\(#,##0\);&quot;-  &quot;;&quot; &quot;@&quot; &quot;">
                  <c:v>0</c:v>
                </c:pt>
                <c:pt idx="4389" formatCode="#,##0_);\(#,##0\);&quot;-  &quot;;&quot; &quot;@&quot; &quot;">
                  <c:v>0</c:v>
                </c:pt>
                <c:pt idx="4390" formatCode="#,##0_);\(#,##0\);&quot;-  &quot;;&quot; &quot;@&quot; &quot;">
                  <c:v>0</c:v>
                </c:pt>
                <c:pt idx="4391" formatCode="#,##0_);\(#,##0\);&quot;-  &quot;;&quot; &quot;@&quot; &quot;">
                  <c:v>0</c:v>
                </c:pt>
                <c:pt idx="4392" formatCode="#,##0_);\(#,##0\);&quot;-  &quot;;&quot; &quot;@&quot; &quot;">
                  <c:v>0</c:v>
                </c:pt>
                <c:pt idx="4393" formatCode="#,##0_);\(#,##0\);&quot;-  &quot;;&quot; &quot;@&quot; &quot;">
                  <c:v>0</c:v>
                </c:pt>
                <c:pt idx="4394" formatCode="#,##0_);\(#,##0\);&quot;-  &quot;;&quot; &quot;@&quot; &quot;">
                  <c:v>0</c:v>
                </c:pt>
                <c:pt idx="4395" formatCode="#,##0_);\(#,##0\);&quot;-  &quot;;&quot; &quot;@&quot; &quot;">
                  <c:v>0</c:v>
                </c:pt>
                <c:pt idx="4396" formatCode="#,##0_);\(#,##0\);&quot;-  &quot;;&quot; &quot;@&quot; &quot;">
                  <c:v>0</c:v>
                </c:pt>
                <c:pt idx="4397" formatCode="#,##0_);\(#,##0\);&quot;-  &quot;;&quot; &quot;@&quot; &quot;">
                  <c:v>0</c:v>
                </c:pt>
                <c:pt idx="4398" formatCode="#,##0_);\(#,##0\);&quot;-  &quot;;&quot; &quot;@&quot; &quot;">
                  <c:v>0</c:v>
                </c:pt>
                <c:pt idx="4399" formatCode="#,##0_);\(#,##0\);&quot;-  &quot;;&quot; &quot;@&quot; &quot;">
                  <c:v>0</c:v>
                </c:pt>
                <c:pt idx="4400" formatCode="#,##0_);\(#,##0\);&quot;-  &quot;;&quot; &quot;@&quot; &quot;">
                  <c:v>0</c:v>
                </c:pt>
                <c:pt idx="4401" formatCode="#,##0_);\(#,##0\);&quot;-  &quot;;&quot; &quot;@&quot; &quot;">
                  <c:v>0</c:v>
                </c:pt>
                <c:pt idx="4402" formatCode="#,##0_);\(#,##0\);&quot;-  &quot;;&quot; &quot;@&quot; &quot;">
                  <c:v>0</c:v>
                </c:pt>
                <c:pt idx="4403" formatCode="#,##0_);\(#,##0\);&quot;-  &quot;;&quot; &quot;@&quot; &quot;">
                  <c:v>0</c:v>
                </c:pt>
                <c:pt idx="4404" formatCode="#,##0_);\(#,##0\);&quot;-  &quot;;&quot; &quot;@&quot; &quot;">
                  <c:v>0</c:v>
                </c:pt>
                <c:pt idx="4405" formatCode="#,##0_);\(#,##0\);&quot;-  &quot;;&quot; &quot;@&quot; &quot;">
                  <c:v>0</c:v>
                </c:pt>
                <c:pt idx="4406" formatCode="#,##0_);\(#,##0\);&quot;-  &quot;;&quot; &quot;@&quot; &quot;">
                  <c:v>0</c:v>
                </c:pt>
                <c:pt idx="4407" formatCode="#,##0_);\(#,##0\);&quot;-  &quot;;&quot; &quot;@&quot; &quot;">
                  <c:v>0</c:v>
                </c:pt>
                <c:pt idx="4408" formatCode="#,##0_);\(#,##0\);&quot;-  &quot;;&quot; &quot;@&quot; &quot;">
                  <c:v>0</c:v>
                </c:pt>
                <c:pt idx="4409" formatCode="#,##0_);\(#,##0\);&quot;-  &quot;;&quot; &quot;@&quot; &quot;">
                  <c:v>0</c:v>
                </c:pt>
                <c:pt idx="4410" formatCode="#,##0_);\(#,##0\);&quot;-  &quot;;&quot; &quot;@&quot; &quot;">
                  <c:v>0</c:v>
                </c:pt>
                <c:pt idx="4411" formatCode="#,##0_);\(#,##0\);&quot;-  &quot;;&quot; &quot;@&quot; &quot;">
                  <c:v>0</c:v>
                </c:pt>
                <c:pt idx="4412" formatCode="#,##0_);\(#,##0\);&quot;-  &quot;;&quot; &quot;@&quot; &quot;">
                  <c:v>0</c:v>
                </c:pt>
                <c:pt idx="4413" formatCode="#,##0_);\(#,##0\);&quot;-  &quot;;&quot; &quot;@&quot; &quot;">
                  <c:v>0</c:v>
                </c:pt>
                <c:pt idx="4414" formatCode="#,##0_);\(#,##0\);&quot;-  &quot;;&quot; &quot;@&quot; &quot;">
                  <c:v>0</c:v>
                </c:pt>
                <c:pt idx="4415" formatCode="#,##0_);\(#,##0\);&quot;-  &quot;;&quot; &quot;@&quot; &quot;">
                  <c:v>0</c:v>
                </c:pt>
                <c:pt idx="4416" formatCode="#,##0_);\(#,##0\);&quot;-  &quot;;&quot; &quot;@&quot; &quot;">
                  <c:v>0</c:v>
                </c:pt>
                <c:pt idx="4417" formatCode="#,##0_);\(#,##0\);&quot;-  &quot;;&quot; &quot;@&quot; &quot;">
                  <c:v>0</c:v>
                </c:pt>
                <c:pt idx="4418" formatCode="#,##0_);\(#,##0\);&quot;-  &quot;;&quot; &quot;@&quot; &quot;">
                  <c:v>0</c:v>
                </c:pt>
                <c:pt idx="4419" formatCode="#,##0_);\(#,##0\);&quot;-  &quot;;&quot; &quot;@&quot; &quot;">
                  <c:v>0</c:v>
                </c:pt>
                <c:pt idx="4420" formatCode="#,##0_);\(#,##0\);&quot;-  &quot;;&quot; &quot;@&quot; &quot;">
                  <c:v>0</c:v>
                </c:pt>
                <c:pt idx="4421" formatCode="#,##0_);\(#,##0\);&quot;-  &quot;;&quot; &quot;@&quot; &quot;">
                  <c:v>0</c:v>
                </c:pt>
                <c:pt idx="4422" formatCode="#,##0_);\(#,##0\);&quot;-  &quot;;&quot; &quot;@&quot; &quot;">
                  <c:v>0</c:v>
                </c:pt>
                <c:pt idx="4423" formatCode="#,##0_);\(#,##0\);&quot;-  &quot;;&quot; &quot;@&quot; &quot;">
                  <c:v>0</c:v>
                </c:pt>
                <c:pt idx="4424" formatCode="#,##0_);\(#,##0\);&quot;-  &quot;;&quot; &quot;@&quot; &quot;">
                  <c:v>0</c:v>
                </c:pt>
                <c:pt idx="4425" formatCode="#,##0_);\(#,##0\);&quot;-  &quot;;&quot; &quot;@&quot; &quot;">
                  <c:v>0</c:v>
                </c:pt>
                <c:pt idx="4426" formatCode="#,##0_);\(#,##0\);&quot;-  &quot;;&quot; &quot;@&quot; &quot;">
                  <c:v>0</c:v>
                </c:pt>
                <c:pt idx="4427" formatCode="#,##0_);\(#,##0\);&quot;-  &quot;;&quot; &quot;@&quot; &quot;">
                  <c:v>0</c:v>
                </c:pt>
                <c:pt idx="4428" formatCode="#,##0_);\(#,##0\);&quot;-  &quot;;&quot; &quot;@&quot; &quot;">
                  <c:v>0</c:v>
                </c:pt>
                <c:pt idx="4429" formatCode="#,##0_);\(#,##0\);&quot;-  &quot;;&quot; &quot;@&quot; &quot;">
                  <c:v>0</c:v>
                </c:pt>
                <c:pt idx="4430" formatCode="#,##0_);\(#,##0\);&quot;-  &quot;;&quot; &quot;@&quot; &quot;">
                  <c:v>0</c:v>
                </c:pt>
                <c:pt idx="4431" formatCode="#,##0_);\(#,##0\);&quot;-  &quot;;&quot; &quot;@&quot; &quot;">
                  <c:v>0</c:v>
                </c:pt>
                <c:pt idx="4432" formatCode="#,##0_);\(#,##0\);&quot;-  &quot;;&quot; &quot;@&quot; &quot;">
                  <c:v>0</c:v>
                </c:pt>
                <c:pt idx="4433" formatCode="#,##0_);\(#,##0\);&quot;-  &quot;;&quot; &quot;@&quot; &quot;">
                  <c:v>0</c:v>
                </c:pt>
                <c:pt idx="4434" formatCode="#,##0_);\(#,##0\);&quot;-  &quot;;&quot; &quot;@&quot; &quot;">
                  <c:v>0</c:v>
                </c:pt>
                <c:pt idx="4435" formatCode="#,##0_);\(#,##0\);&quot;-  &quot;;&quot; &quot;@&quot; &quot;">
                  <c:v>0</c:v>
                </c:pt>
                <c:pt idx="4436" formatCode="#,##0_);\(#,##0\);&quot;-  &quot;;&quot; &quot;@&quot; &quot;">
                  <c:v>0</c:v>
                </c:pt>
                <c:pt idx="4437" formatCode="#,##0_);\(#,##0\);&quot;-  &quot;;&quot; &quot;@&quot; &quot;">
                  <c:v>0</c:v>
                </c:pt>
                <c:pt idx="4438" formatCode="#,##0_);\(#,##0\);&quot;-  &quot;;&quot; &quot;@&quot; &quot;">
                  <c:v>0</c:v>
                </c:pt>
                <c:pt idx="4439" formatCode="#,##0_);\(#,##0\);&quot;-  &quot;;&quot; &quot;@&quot; &quot;">
                  <c:v>0</c:v>
                </c:pt>
                <c:pt idx="4440" formatCode="#,##0_);\(#,##0\);&quot;-  &quot;;&quot; &quot;@&quot; &quot;">
                  <c:v>0</c:v>
                </c:pt>
                <c:pt idx="4441" formatCode="#,##0_);\(#,##0\);&quot;-  &quot;;&quot; &quot;@&quot; &quot;">
                  <c:v>0</c:v>
                </c:pt>
                <c:pt idx="4442" formatCode="#,##0_);\(#,##0\);&quot;-  &quot;;&quot; &quot;@&quot; &quot;">
                  <c:v>0</c:v>
                </c:pt>
                <c:pt idx="4443" formatCode="#,##0_);\(#,##0\);&quot;-  &quot;;&quot; &quot;@&quot; &quot;">
                  <c:v>0</c:v>
                </c:pt>
                <c:pt idx="4444" formatCode="#,##0_);\(#,##0\);&quot;-  &quot;;&quot; &quot;@&quot; &quot;">
                  <c:v>0</c:v>
                </c:pt>
                <c:pt idx="4445" formatCode="#,##0_);\(#,##0\);&quot;-  &quot;;&quot; &quot;@&quot; &quot;">
                  <c:v>0</c:v>
                </c:pt>
                <c:pt idx="4446" formatCode="#,##0_);\(#,##0\);&quot;-  &quot;;&quot; &quot;@&quot; &quot;">
                  <c:v>0</c:v>
                </c:pt>
                <c:pt idx="4447" formatCode="#,##0_);\(#,##0\);&quot;-  &quot;;&quot; &quot;@&quot; &quot;">
                  <c:v>0</c:v>
                </c:pt>
                <c:pt idx="4448" formatCode="#,##0_);\(#,##0\);&quot;-  &quot;;&quot; &quot;@&quot; &quot;">
                  <c:v>0</c:v>
                </c:pt>
                <c:pt idx="4449" formatCode="#,##0_);\(#,##0\);&quot;-  &quot;;&quot; &quot;@&quot; &quot;">
                  <c:v>0</c:v>
                </c:pt>
                <c:pt idx="4450" formatCode="#,##0_);\(#,##0\);&quot;-  &quot;;&quot; &quot;@&quot; &quot;">
                  <c:v>0</c:v>
                </c:pt>
                <c:pt idx="4451" formatCode="#,##0_);\(#,##0\);&quot;-  &quot;;&quot; &quot;@&quot; &quot;">
                  <c:v>0</c:v>
                </c:pt>
                <c:pt idx="4452" formatCode="#,##0_);\(#,##0\);&quot;-  &quot;;&quot; &quot;@&quot; &quot;">
                  <c:v>0</c:v>
                </c:pt>
                <c:pt idx="4453" formatCode="#,##0_);\(#,##0\);&quot;-  &quot;;&quot; &quot;@&quot; &quot;">
                  <c:v>0</c:v>
                </c:pt>
                <c:pt idx="4454" formatCode="#,##0_);\(#,##0\);&quot;-  &quot;;&quot; &quot;@&quot; &quot;">
                  <c:v>0</c:v>
                </c:pt>
                <c:pt idx="4455" formatCode="#,##0_);\(#,##0\);&quot;-  &quot;;&quot; &quot;@&quot; &quot;">
                  <c:v>0</c:v>
                </c:pt>
                <c:pt idx="4456" formatCode="#,##0_);\(#,##0\);&quot;-  &quot;;&quot; &quot;@&quot; &quot;">
                  <c:v>0</c:v>
                </c:pt>
                <c:pt idx="4457" formatCode="#,##0_);\(#,##0\);&quot;-  &quot;;&quot; &quot;@&quot; &quot;">
                  <c:v>0</c:v>
                </c:pt>
                <c:pt idx="4458" formatCode="#,##0_);\(#,##0\);&quot;-  &quot;;&quot; &quot;@&quot; &quot;">
                  <c:v>0</c:v>
                </c:pt>
                <c:pt idx="4459" formatCode="#,##0_);\(#,##0\);&quot;-  &quot;;&quot; &quot;@&quot; &quot;">
                  <c:v>0</c:v>
                </c:pt>
                <c:pt idx="4460" formatCode="#,##0_);\(#,##0\);&quot;-  &quot;;&quot; &quot;@&quot; &quot;">
                  <c:v>0</c:v>
                </c:pt>
                <c:pt idx="4461" formatCode="#,##0_);\(#,##0\);&quot;-  &quot;;&quot; &quot;@&quot; &quot;">
                  <c:v>0</c:v>
                </c:pt>
                <c:pt idx="4462" formatCode="#,##0_);\(#,##0\);&quot;-  &quot;;&quot; &quot;@&quot; &quot;">
                  <c:v>0</c:v>
                </c:pt>
                <c:pt idx="4463" formatCode="#,##0_);\(#,##0\);&quot;-  &quot;;&quot; &quot;@&quot; &quot;">
                  <c:v>0</c:v>
                </c:pt>
                <c:pt idx="4464" formatCode="#,##0_);\(#,##0\);&quot;-  &quot;;&quot; &quot;@&quot; &quot;">
                  <c:v>0</c:v>
                </c:pt>
                <c:pt idx="4465" formatCode="#,##0_);\(#,##0\);&quot;-  &quot;;&quot; &quot;@&quot; &quot;">
                  <c:v>0</c:v>
                </c:pt>
                <c:pt idx="4466" formatCode="#,##0_);\(#,##0\);&quot;-  &quot;;&quot; &quot;@&quot; &quot;">
                  <c:v>0</c:v>
                </c:pt>
                <c:pt idx="4467" formatCode="#,##0_);\(#,##0\);&quot;-  &quot;;&quot; &quot;@&quot; &quot;">
                  <c:v>0</c:v>
                </c:pt>
                <c:pt idx="4468" formatCode="#,##0_);\(#,##0\);&quot;-  &quot;;&quot; &quot;@&quot; &quot;">
                  <c:v>0</c:v>
                </c:pt>
                <c:pt idx="4469" formatCode="#,##0_);\(#,##0\);&quot;-  &quot;;&quot; &quot;@&quot; &quot;">
                  <c:v>0</c:v>
                </c:pt>
                <c:pt idx="4470" formatCode="#,##0_);\(#,##0\);&quot;-  &quot;;&quot; &quot;@&quot; &quot;">
                  <c:v>0</c:v>
                </c:pt>
                <c:pt idx="4471" formatCode="#,##0_);\(#,##0\);&quot;-  &quot;;&quot; &quot;@&quot; &quot;">
                  <c:v>0</c:v>
                </c:pt>
                <c:pt idx="4472" formatCode="#,##0_);\(#,##0\);&quot;-  &quot;;&quot; &quot;@&quot; &quot;">
                  <c:v>0</c:v>
                </c:pt>
                <c:pt idx="4473" formatCode="#,##0_);\(#,##0\);&quot;-  &quot;;&quot; &quot;@&quot; &quot;">
                  <c:v>0</c:v>
                </c:pt>
                <c:pt idx="4474" formatCode="#,##0_);\(#,##0\);&quot;-  &quot;;&quot; &quot;@&quot; &quot;">
                  <c:v>0</c:v>
                </c:pt>
                <c:pt idx="4475" formatCode="#,##0_);\(#,##0\);&quot;-  &quot;;&quot; &quot;@&quot; &quot;">
                  <c:v>0</c:v>
                </c:pt>
                <c:pt idx="4476" formatCode="#,##0_);\(#,##0\);&quot;-  &quot;;&quot; &quot;@&quot; &quot;">
                  <c:v>0</c:v>
                </c:pt>
                <c:pt idx="4477" formatCode="#,##0_);\(#,##0\);&quot;-  &quot;;&quot; &quot;@&quot; &quot;">
                  <c:v>0</c:v>
                </c:pt>
                <c:pt idx="4478" formatCode="#,##0_);\(#,##0\);&quot;-  &quot;;&quot; &quot;@&quot; &quot;">
                  <c:v>0</c:v>
                </c:pt>
                <c:pt idx="4479" formatCode="#,##0_);\(#,##0\);&quot;-  &quot;;&quot; &quot;@&quot; &quot;">
                  <c:v>0</c:v>
                </c:pt>
                <c:pt idx="4480" formatCode="#,##0_);\(#,##0\);&quot;-  &quot;;&quot; &quot;@&quot; &quot;">
                  <c:v>0</c:v>
                </c:pt>
                <c:pt idx="4481" formatCode="#,##0_);\(#,##0\);&quot;-  &quot;;&quot; &quot;@&quot; &quot;">
                  <c:v>0</c:v>
                </c:pt>
                <c:pt idx="4482" formatCode="#,##0_);\(#,##0\);&quot;-  &quot;;&quot; &quot;@&quot; &quot;">
                  <c:v>0</c:v>
                </c:pt>
                <c:pt idx="4483" formatCode="#,##0_);\(#,##0\);&quot;-  &quot;;&quot; &quot;@&quot; &quot;">
                  <c:v>0</c:v>
                </c:pt>
                <c:pt idx="4484" formatCode="#,##0_);\(#,##0\);&quot;-  &quot;;&quot; &quot;@&quot; &quot;">
                  <c:v>0</c:v>
                </c:pt>
                <c:pt idx="4485" formatCode="#,##0_);\(#,##0\);&quot;-  &quot;;&quot; &quot;@&quot; &quot;">
                  <c:v>0</c:v>
                </c:pt>
                <c:pt idx="4486" formatCode="#,##0_);\(#,##0\);&quot;-  &quot;;&quot; &quot;@&quot; &quot;">
                  <c:v>0</c:v>
                </c:pt>
                <c:pt idx="4487" formatCode="#,##0_);\(#,##0\);&quot;-  &quot;;&quot; &quot;@&quot; &quot;">
                  <c:v>0</c:v>
                </c:pt>
                <c:pt idx="4488" formatCode="#,##0_);\(#,##0\);&quot;-  &quot;;&quot; &quot;@&quot; &quot;">
                  <c:v>0</c:v>
                </c:pt>
                <c:pt idx="4489" formatCode="#,##0_);\(#,##0\);&quot;-  &quot;;&quot; &quot;@&quot; &quot;">
                  <c:v>0</c:v>
                </c:pt>
                <c:pt idx="4490" formatCode="#,##0_);\(#,##0\);&quot;-  &quot;;&quot; &quot;@&quot; &quot;">
                  <c:v>0</c:v>
                </c:pt>
                <c:pt idx="4491" formatCode="#,##0_);\(#,##0\);&quot;-  &quot;;&quot; &quot;@&quot; &quot;">
                  <c:v>0</c:v>
                </c:pt>
                <c:pt idx="4492" formatCode="#,##0_);\(#,##0\);&quot;-  &quot;;&quot; &quot;@&quot; &quot;">
                  <c:v>0</c:v>
                </c:pt>
                <c:pt idx="4493" formatCode="#,##0_);\(#,##0\);&quot;-  &quot;;&quot; &quot;@&quot; &quot;">
                  <c:v>0</c:v>
                </c:pt>
                <c:pt idx="4494" formatCode="#,##0_);\(#,##0\);&quot;-  &quot;;&quot; &quot;@&quot; &quot;">
                  <c:v>0</c:v>
                </c:pt>
                <c:pt idx="4495" formatCode="#,##0_);\(#,##0\);&quot;-  &quot;;&quot; &quot;@&quot; &quot;">
                  <c:v>0</c:v>
                </c:pt>
                <c:pt idx="4496" formatCode="#,##0_);\(#,##0\);&quot;-  &quot;;&quot; &quot;@&quot; &quot;">
                  <c:v>0</c:v>
                </c:pt>
                <c:pt idx="4497" formatCode="#,##0_);\(#,##0\);&quot;-  &quot;;&quot; &quot;@&quot; &quot;">
                  <c:v>0</c:v>
                </c:pt>
                <c:pt idx="4498" formatCode="#,##0_);\(#,##0\);&quot;-  &quot;;&quot; &quot;@&quot; &quot;">
                  <c:v>0</c:v>
                </c:pt>
                <c:pt idx="4499" formatCode="#,##0_);\(#,##0\);&quot;-  &quot;;&quot; &quot;@&quot; &quot;">
                  <c:v>0</c:v>
                </c:pt>
                <c:pt idx="4500" formatCode="#,##0_);\(#,##0\);&quot;-  &quot;;&quot; &quot;@&quot; &quot;">
                  <c:v>0</c:v>
                </c:pt>
                <c:pt idx="4501" formatCode="#,##0_);\(#,##0\);&quot;-  &quot;;&quot; &quot;@&quot; &quot;">
                  <c:v>0</c:v>
                </c:pt>
                <c:pt idx="4502" formatCode="#,##0_);\(#,##0\);&quot;-  &quot;;&quot; &quot;@&quot; &quot;">
                  <c:v>0</c:v>
                </c:pt>
                <c:pt idx="4503" formatCode="#,##0_);\(#,##0\);&quot;-  &quot;;&quot; &quot;@&quot; &quot;">
                  <c:v>0</c:v>
                </c:pt>
                <c:pt idx="4504" formatCode="#,##0_);\(#,##0\);&quot;-  &quot;;&quot; &quot;@&quot; &quot;">
                  <c:v>0</c:v>
                </c:pt>
                <c:pt idx="4505" formatCode="#,##0_);\(#,##0\);&quot;-  &quot;;&quot; &quot;@&quot; &quot;">
                  <c:v>0</c:v>
                </c:pt>
                <c:pt idx="4506" formatCode="#,##0_);\(#,##0\);&quot;-  &quot;;&quot; &quot;@&quot; &quot;">
                  <c:v>0</c:v>
                </c:pt>
                <c:pt idx="4507" formatCode="#,##0_);\(#,##0\);&quot;-  &quot;;&quot; &quot;@&quot; &quot;">
                  <c:v>0</c:v>
                </c:pt>
                <c:pt idx="4508" formatCode="#,##0_);\(#,##0\);&quot;-  &quot;;&quot; &quot;@&quot; &quot;">
                  <c:v>0</c:v>
                </c:pt>
                <c:pt idx="4509" formatCode="#,##0_);\(#,##0\);&quot;-  &quot;;&quot; &quot;@&quot; &quot;">
                  <c:v>0</c:v>
                </c:pt>
                <c:pt idx="4510" formatCode="#,##0_);\(#,##0\);&quot;-  &quot;;&quot; &quot;@&quot; &quot;">
                  <c:v>0</c:v>
                </c:pt>
                <c:pt idx="4511" formatCode="#,##0_);\(#,##0\);&quot;-  &quot;;&quot; &quot;@&quot; &quot;">
                  <c:v>0</c:v>
                </c:pt>
                <c:pt idx="4512" formatCode="#,##0_);\(#,##0\);&quot;-  &quot;;&quot; &quot;@&quot; &quot;">
                  <c:v>0</c:v>
                </c:pt>
                <c:pt idx="4513" formatCode="#,##0_);\(#,##0\);&quot;-  &quot;;&quot; &quot;@&quot; &quot;">
                  <c:v>0</c:v>
                </c:pt>
                <c:pt idx="4514" formatCode="#,##0_);\(#,##0\);&quot;-  &quot;;&quot; &quot;@&quot; &quot;">
                  <c:v>0</c:v>
                </c:pt>
                <c:pt idx="4515" formatCode="#,##0_);\(#,##0\);&quot;-  &quot;;&quot; &quot;@&quot; &quot;">
                  <c:v>0</c:v>
                </c:pt>
                <c:pt idx="4516" formatCode="#,##0_);\(#,##0\);&quot;-  &quot;;&quot; &quot;@&quot; &quot;">
                  <c:v>0</c:v>
                </c:pt>
                <c:pt idx="4517" formatCode="#,##0_);\(#,##0\);&quot;-  &quot;;&quot; &quot;@&quot; &quot;">
                  <c:v>0</c:v>
                </c:pt>
                <c:pt idx="4518" formatCode="#,##0_);\(#,##0\);&quot;-  &quot;;&quot; &quot;@&quot; &quot;">
                  <c:v>0</c:v>
                </c:pt>
                <c:pt idx="4519" formatCode="#,##0_);\(#,##0\);&quot;-  &quot;;&quot; &quot;@&quot; &quot;">
                  <c:v>0</c:v>
                </c:pt>
                <c:pt idx="4520" formatCode="#,##0_);\(#,##0\);&quot;-  &quot;;&quot; &quot;@&quot; &quot;">
                  <c:v>0</c:v>
                </c:pt>
                <c:pt idx="4521" formatCode="#,##0_);\(#,##0\);&quot;-  &quot;;&quot; &quot;@&quot; &quot;">
                  <c:v>0</c:v>
                </c:pt>
                <c:pt idx="4522" formatCode="#,##0_);\(#,##0\);&quot;-  &quot;;&quot; &quot;@&quot; &quot;">
                  <c:v>0</c:v>
                </c:pt>
                <c:pt idx="4523" formatCode="#,##0_);\(#,##0\);&quot;-  &quot;;&quot; &quot;@&quot; &quot;">
                  <c:v>0</c:v>
                </c:pt>
                <c:pt idx="4524" formatCode="#,##0_);\(#,##0\);&quot;-  &quot;;&quot; &quot;@&quot; &quot;">
                  <c:v>0</c:v>
                </c:pt>
                <c:pt idx="4525" formatCode="#,##0_);\(#,##0\);&quot;-  &quot;;&quot; &quot;@&quot; &quot;">
                  <c:v>0</c:v>
                </c:pt>
                <c:pt idx="4526" formatCode="#,##0_);\(#,##0\);&quot;-  &quot;;&quot; &quot;@&quot; &quot;">
                  <c:v>0</c:v>
                </c:pt>
                <c:pt idx="4527" formatCode="#,##0_);\(#,##0\);&quot;-  &quot;;&quot; &quot;@&quot; &quot;">
                  <c:v>0</c:v>
                </c:pt>
                <c:pt idx="4528" formatCode="#,##0_);\(#,##0\);&quot;-  &quot;;&quot; &quot;@&quot; &quot;">
                  <c:v>0</c:v>
                </c:pt>
                <c:pt idx="4529" formatCode="#,##0_);\(#,##0\);&quot;-  &quot;;&quot; &quot;@&quot; &quot;">
                  <c:v>0</c:v>
                </c:pt>
                <c:pt idx="4530" formatCode="#,##0_);\(#,##0\);&quot;-  &quot;;&quot; &quot;@&quot; &quot;">
                  <c:v>0</c:v>
                </c:pt>
                <c:pt idx="4531" formatCode="#,##0_);\(#,##0\);&quot;-  &quot;;&quot; &quot;@&quot; &quot;">
                  <c:v>0</c:v>
                </c:pt>
                <c:pt idx="4532" formatCode="#,##0_);\(#,##0\);&quot;-  &quot;;&quot; &quot;@&quot; &quot;">
                  <c:v>0</c:v>
                </c:pt>
                <c:pt idx="4533" formatCode="#,##0_);\(#,##0\);&quot;-  &quot;;&quot; &quot;@&quot; &quot;">
                  <c:v>0</c:v>
                </c:pt>
                <c:pt idx="4534" formatCode="#,##0_);\(#,##0\);&quot;-  &quot;;&quot; &quot;@&quot; &quot;">
                  <c:v>0</c:v>
                </c:pt>
                <c:pt idx="4535" formatCode="#,##0_);\(#,##0\);&quot;-  &quot;;&quot; &quot;@&quot; &quot;">
                  <c:v>0</c:v>
                </c:pt>
                <c:pt idx="4536" formatCode="#,##0_);\(#,##0\);&quot;-  &quot;;&quot; &quot;@&quot; &quot;">
                  <c:v>0</c:v>
                </c:pt>
                <c:pt idx="4537" formatCode="#,##0_);\(#,##0\);&quot;-  &quot;;&quot; &quot;@&quot; &quot;">
                  <c:v>0</c:v>
                </c:pt>
                <c:pt idx="4538" formatCode="#,##0_);\(#,##0\);&quot;-  &quot;;&quot; &quot;@&quot; &quot;">
                  <c:v>0</c:v>
                </c:pt>
                <c:pt idx="4539" formatCode="#,##0_);\(#,##0\);&quot;-  &quot;;&quot; &quot;@&quot; &quot;">
                  <c:v>0</c:v>
                </c:pt>
                <c:pt idx="4540" formatCode="#,##0_);\(#,##0\);&quot;-  &quot;;&quot; &quot;@&quot; &quot;">
                  <c:v>0</c:v>
                </c:pt>
                <c:pt idx="4541" formatCode="#,##0_);\(#,##0\);&quot;-  &quot;;&quot; &quot;@&quot; &quot;">
                  <c:v>0</c:v>
                </c:pt>
                <c:pt idx="4542" formatCode="#,##0_);\(#,##0\);&quot;-  &quot;;&quot; &quot;@&quot; &quot;">
                  <c:v>0</c:v>
                </c:pt>
                <c:pt idx="4543" formatCode="#,##0_);\(#,##0\);&quot;-  &quot;;&quot; &quot;@&quot; &quot;">
                  <c:v>0</c:v>
                </c:pt>
                <c:pt idx="4544" formatCode="#,##0_);\(#,##0\);&quot;-  &quot;;&quot; &quot;@&quot; &quot;">
                  <c:v>0</c:v>
                </c:pt>
                <c:pt idx="4545" formatCode="#,##0_);\(#,##0\);&quot;-  &quot;;&quot; &quot;@&quot; &quot;">
                  <c:v>0</c:v>
                </c:pt>
                <c:pt idx="4546" formatCode="#,##0_);\(#,##0\);&quot;-  &quot;;&quot; &quot;@&quot; &quot;">
                  <c:v>0</c:v>
                </c:pt>
                <c:pt idx="4547" formatCode="#,##0_);\(#,##0\);&quot;-  &quot;;&quot; &quot;@&quot; &quot;">
                  <c:v>0</c:v>
                </c:pt>
                <c:pt idx="4548" formatCode="#,##0_);\(#,##0\);&quot;-  &quot;;&quot; &quot;@&quot; &quot;">
                  <c:v>0</c:v>
                </c:pt>
                <c:pt idx="4549" formatCode="#,##0_);\(#,##0\);&quot;-  &quot;;&quot; &quot;@&quot; &quot;">
                  <c:v>0</c:v>
                </c:pt>
                <c:pt idx="4550" formatCode="#,##0_);\(#,##0\);&quot;-  &quot;;&quot; &quot;@&quot; &quot;">
                  <c:v>0</c:v>
                </c:pt>
                <c:pt idx="4551" formatCode="#,##0_);\(#,##0\);&quot;-  &quot;;&quot; &quot;@&quot; &quot;">
                  <c:v>0</c:v>
                </c:pt>
                <c:pt idx="4552" formatCode="#,##0_);\(#,##0\);&quot;-  &quot;;&quot; &quot;@&quot; &quot;">
                  <c:v>0</c:v>
                </c:pt>
                <c:pt idx="4553" formatCode="#,##0_);\(#,##0\);&quot;-  &quot;;&quot; &quot;@&quot; &quot;">
                  <c:v>0</c:v>
                </c:pt>
                <c:pt idx="4554" formatCode="#,##0_);\(#,##0\);&quot;-  &quot;;&quot; &quot;@&quot; &quot;">
                  <c:v>0</c:v>
                </c:pt>
                <c:pt idx="4555" formatCode="#,##0_);\(#,##0\);&quot;-  &quot;;&quot; &quot;@&quot; &quot;">
                  <c:v>0</c:v>
                </c:pt>
                <c:pt idx="4556" formatCode="#,##0_);\(#,##0\);&quot;-  &quot;;&quot; &quot;@&quot; &quot;">
                  <c:v>0</c:v>
                </c:pt>
                <c:pt idx="4557" formatCode="#,##0_);\(#,##0\);&quot;-  &quot;;&quot; &quot;@&quot; &quot;">
                  <c:v>0</c:v>
                </c:pt>
                <c:pt idx="4558" formatCode="#,##0_);\(#,##0\);&quot;-  &quot;;&quot; &quot;@&quot; &quot;">
                  <c:v>0</c:v>
                </c:pt>
                <c:pt idx="4559" formatCode="#,##0_);\(#,##0\);&quot;-  &quot;;&quot; &quot;@&quot; &quot;">
                  <c:v>0</c:v>
                </c:pt>
                <c:pt idx="4560" formatCode="#,##0_);\(#,##0\);&quot;-  &quot;;&quot; &quot;@&quot; &quot;">
                  <c:v>0</c:v>
                </c:pt>
                <c:pt idx="4561" formatCode="#,##0_);\(#,##0\);&quot;-  &quot;;&quot; &quot;@&quot; &quot;">
                  <c:v>0</c:v>
                </c:pt>
                <c:pt idx="4562" formatCode="#,##0_);\(#,##0\);&quot;-  &quot;;&quot; &quot;@&quot; &quot;">
                  <c:v>0</c:v>
                </c:pt>
                <c:pt idx="4563" formatCode="#,##0_);\(#,##0\);&quot;-  &quot;;&quot; &quot;@&quot; &quot;">
                  <c:v>0</c:v>
                </c:pt>
                <c:pt idx="4564" formatCode="#,##0_);\(#,##0\);&quot;-  &quot;;&quot; &quot;@&quot; &quot;">
                  <c:v>0</c:v>
                </c:pt>
                <c:pt idx="4565" formatCode="#,##0_);\(#,##0\);&quot;-  &quot;;&quot; &quot;@&quot; &quot;">
                  <c:v>0</c:v>
                </c:pt>
                <c:pt idx="4566" formatCode="#,##0_);\(#,##0\);&quot;-  &quot;;&quot; &quot;@&quot; &quot;">
                  <c:v>0</c:v>
                </c:pt>
                <c:pt idx="4567" formatCode="#,##0_);\(#,##0\);&quot;-  &quot;;&quot; &quot;@&quot; &quot;">
                  <c:v>0</c:v>
                </c:pt>
                <c:pt idx="4568" formatCode="#,##0_);\(#,##0\);&quot;-  &quot;;&quot; &quot;@&quot; &quot;">
                  <c:v>0</c:v>
                </c:pt>
                <c:pt idx="4569" formatCode="#,##0_);\(#,##0\);&quot;-  &quot;;&quot; &quot;@&quot; &quot;">
                  <c:v>0</c:v>
                </c:pt>
                <c:pt idx="4570" formatCode="#,##0_);\(#,##0\);&quot;-  &quot;;&quot; &quot;@&quot; &quot;">
                  <c:v>0</c:v>
                </c:pt>
                <c:pt idx="4571" formatCode="#,##0_);\(#,##0\);&quot;-  &quot;;&quot; &quot;@&quot; &quot;">
                  <c:v>0</c:v>
                </c:pt>
                <c:pt idx="4572" formatCode="#,##0_);\(#,##0\);&quot;-  &quot;;&quot; &quot;@&quot; &quot;">
                  <c:v>0</c:v>
                </c:pt>
                <c:pt idx="4573" formatCode="#,##0_);\(#,##0\);&quot;-  &quot;;&quot; &quot;@&quot; &quot;">
                  <c:v>0</c:v>
                </c:pt>
                <c:pt idx="4574" formatCode="#,##0_);\(#,##0\);&quot;-  &quot;;&quot; &quot;@&quot; &quot;">
                  <c:v>0</c:v>
                </c:pt>
                <c:pt idx="4575" formatCode="#,##0_);\(#,##0\);&quot;-  &quot;;&quot; &quot;@&quot; &quot;">
                  <c:v>0</c:v>
                </c:pt>
                <c:pt idx="4576" formatCode="#,##0_);\(#,##0\);&quot;-  &quot;;&quot; &quot;@&quot; &quot;">
                  <c:v>0</c:v>
                </c:pt>
                <c:pt idx="4577" formatCode="#,##0_);\(#,##0\);&quot;-  &quot;;&quot; &quot;@&quot; &quot;">
                  <c:v>0</c:v>
                </c:pt>
                <c:pt idx="4578" formatCode="#,##0_);\(#,##0\);&quot;-  &quot;;&quot; &quot;@&quot; &quot;">
                  <c:v>0</c:v>
                </c:pt>
                <c:pt idx="4579" formatCode="#,##0_);\(#,##0\);&quot;-  &quot;;&quot; &quot;@&quot; &quot;">
                  <c:v>0</c:v>
                </c:pt>
                <c:pt idx="4580" formatCode="#,##0_);\(#,##0\);&quot;-  &quot;;&quot; &quot;@&quot; &quot;">
                  <c:v>0</c:v>
                </c:pt>
                <c:pt idx="4581" formatCode="#,##0_);\(#,##0\);&quot;-  &quot;;&quot; &quot;@&quot; &quot;">
                  <c:v>0</c:v>
                </c:pt>
                <c:pt idx="4582" formatCode="#,##0_);\(#,##0\);&quot;-  &quot;;&quot; &quot;@&quot; &quot;">
                  <c:v>0</c:v>
                </c:pt>
                <c:pt idx="4583" formatCode="#,##0_);\(#,##0\);&quot;-  &quot;;&quot; &quot;@&quot; &quot;">
                  <c:v>0</c:v>
                </c:pt>
                <c:pt idx="4584" formatCode="#,##0_);\(#,##0\);&quot;-  &quot;;&quot; &quot;@&quot; &quot;">
                  <c:v>0</c:v>
                </c:pt>
                <c:pt idx="4585" formatCode="#,##0_);\(#,##0\);&quot;-  &quot;;&quot; &quot;@&quot; &quot;">
                  <c:v>0</c:v>
                </c:pt>
                <c:pt idx="4586" formatCode="#,##0_);\(#,##0\);&quot;-  &quot;;&quot; &quot;@&quot; &quot;">
                  <c:v>0</c:v>
                </c:pt>
                <c:pt idx="4587" formatCode="#,##0_);\(#,##0\);&quot;-  &quot;;&quot; &quot;@&quot; &quot;">
                  <c:v>0</c:v>
                </c:pt>
                <c:pt idx="4588" formatCode="#,##0_);\(#,##0\);&quot;-  &quot;;&quot; &quot;@&quot; &quot;">
                  <c:v>0</c:v>
                </c:pt>
                <c:pt idx="4589" formatCode="#,##0_);\(#,##0\);&quot;-  &quot;;&quot; &quot;@&quot; &quot;">
                  <c:v>0</c:v>
                </c:pt>
                <c:pt idx="4590" formatCode="#,##0_);\(#,##0\);&quot;-  &quot;;&quot; &quot;@&quot; &quot;">
                  <c:v>0</c:v>
                </c:pt>
                <c:pt idx="4591" formatCode="#,##0_);\(#,##0\);&quot;-  &quot;;&quot; &quot;@&quot; &quot;">
                  <c:v>0</c:v>
                </c:pt>
                <c:pt idx="4592" formatCode="#,##0_);\(#,##0\);&quot;-  &quot;;&quot; &quot;@&quot; &quot;">
                  <c:v>0</c:v>
                </c:pt>
                <c:pt idx="4593" formatCode="#,##0_);\(#,##0\);&quot;-  &quot;;&quot; &quot;@&quot; &quot;">
                  <c:v>0</c:v>
                </c:pt>
                <c:pt idx="4594" formatCode="#,##0_);\(#,##0\);&quot;-  &quot;;&quot; &quot;@&quot; &quot;">
                  <c:v>0</c:v>
                </c:pt>
                <c:pt idx="4595" formatCode="#,##0_);\(#,##0\);&quot;-  &quot;;&quot; &quot;@&quot; &quot;">
                  <c:v>0</c:v>
                </c:pt>
                <c:pt idx="4596" formatCode="#,##0_);\(#,##0\);&quot;-  &quot;;&quot; &quot;@&quot; &quot;">
                  <c:v>0</c:v>
                </c:pt>
                <c:pt idx="4597" formatCode="#,##0_);\(#,##0\);&quot;-  &quot;;&quot; &quot;@&quot; &quot;">
                  <c:v>0</c:v>
                </c:pt>
                <c:pt idx="4598" formatCode="#,##0_);\(#,##0\);&quot;-  &quot;;&quot; &quot;@&quot; &quot;">
                  <c:v>0</c:v>
                </c:pt>
                <c:pt idx="4599" formatCode="#,##0_);\(#,##0\);&quot;-  &quot;;&quot; &quot;@&quot; &quot;">
                  <c:v>0</c:v>
                </c:pt>
                <c:pt idx="4600" formatCode="#,##0_);\(#,##0\);&quot;-  &quot;;&quot; &quot;@&quot; &quot;">
                  <c:v>0</c:v>
                </c:pt>
                <c:pt idx="4601" formatCode="#,##0_);\(#,##0\);&quot;-  &quot;;&quot; &quot;@&quot; &quot;">
                  <c:v>0</c:v>
                </c:pt>
                <c:pt idx="4602" formatCode="#,##0_);\(#,##0\);&quot;-  &quot;;&quot; &quot;@&quot; &quot;">
                  <c:v>0</c:v>
                </c:pt>
                <c:pt idx="4603" formatCode="#,##0_);\(#,##0\);&quot;-  &quot;;&quot; &quot;@&quot; &quot;">
                  <c:v>0</c:v>
                </c:pt>
                <c:pt idx="4604" formatCode="#,##0_);\(#,##0\);&quot;-  &quot;;&quot; &quot;@&quot; &quot;">
                  <c:v>0</c:v>
                </c:pt>
                <c:pt idx="4605" formatCode="#,##0_);\(#,##0\);&quot;-  &quot;;&quot; &quot;@&quot; &quot;">
                  <c:v>0</c:v>
                </c:pt>
                <c:pt idx="4606" formatCode="#,##0_);\(#,##0\);&quot;-  &quot;;&quot; &quot;@&quot; &quot;">
                  <c:v>0</c:v>
                </c:pt>
                <c:pt idx="4607" formatCode="#,##0_);\(#,##0\);&quot;-  &quot;;&quot; &quot;@&quot; &quot;">
                  <c:v>0</c:v>
                </c:pt>
                <c:pt idx="4608" formatCode="#,##0_);\(#,##0\);&quot;-  &quot;;&quot; &quot;@&quot; &quot;">
                  <c:v>0</c:v>
                </c:pt>
                <c:pt idx="4609" formatCode="#,##0_);\(#,##0\);&quot;-  &quot;;&quot; &quot;@&quot; &quot;">
                  <c:v>0</c:v>
                </c:pt>
                <c:pt idx="4610" formatCode="#,##0_);\(#,##0\);&quot;-  &quot;;&quot; &quot;@&quot; &quot;">
                  <c:v>0</c:v>
                </c:pt>
                <c:pt idx="4611" formatCode="#,##0_);\(#,##0\);&quot;-  &quot;;&quot; &quot;@&quot; &quot;">
                  <c:v>0</c:v>
                </c:pt>
                <c:pt idx="4612" formatCode="#,##0_);\(#,##0\);&quot;-  &quot;;&quot; &quot;@&quot; &quot;">
                  <c:v>0</c:v>
                </c:pt>
                <c:pt idx="4613" formatCode="#,##0_);\(#,##0\);&quot;-  &quot;;&quot; &quot;@&quot; &quot;">
                  <c:v>0</c:v>
                </c:pt>
                <c:pt idx="4614" formatCode="#,##0_);\(#,##0\);&quot;-  &quot;;&quot; &quot;@&quot; &quot;">
                  <c:v>0</c:v>
                </c:pt>
                <c:pt idx="4615" formatCode="#,##0_);\(#,##0\);&quot;-  &quot;;&quot; &quot;@&quot; &quot;">
                  <c:v>0</c:v>
                </c:pt>
                <c:pt idx="4616" formatCode="#,##0_);\(#,##0\);&quot;-  &quot;;&quot; &quot;@&quot; &quot;">
                  <c:v>0</c:v>
                </c:pt>
                <c:pt idx="4617" formatCode="#,##0_);\(#,##0\);&quot;-  &quot;;&quot; &quot;@&quot; &quot;">
                  <c:v>0</c:v>
                </c:pt>
                <c:pt idx="4618" formatCode="#,##0_);\(#,##0\);&quot;-  &quot;;&quot; &quot;@&quot; &quot;">
                  <c:v>0</c:v>
                </c:pt>
                <c:pt idx="4619" formatCode="#,##0_);\(#,##0\);&quot;-  &quot;;&quot; &quot;@&quot; &quot;">
                  <c:v>0</c:v>
                </c:pt>
                <c:pt idx="4620" formatCode="#,##0_);\(#,##0\);&quot;-  &quot;;&quot; &quot;@&quot; &quot;">
                  <c:v>0</c:v>
                </c:pt>
                <c:pt idx="4621" formatCode="#,##0_);\(#,##0\);&quot;-  &quot;;&quot; &quot;@&quot; &quot;">
                  <c:v>0</c:v>
                </c:pt>
                <c:pt idx="4622" formatCode="#,##0_);\(#,##0\);&quot;-  &quot;;&quot; &quot;@&quot; &quot;">
                  <c:v>0</c:v>
                </c:pt>
                <c:pt idx="4623" formatCode="#,##0_);\(#,##0\);&quot;-  &quot;;&quot; &quot;@&quot; &quot;">
                  <c:v>0</c:v>
                </c:pt>
                <c:pt idx="4624" formatCode="#,##0_);\(#,##0\);&quot;-  &quot;;&quot; &quot;@&quot; &quot;">
                  <c:v>0</c:v>
                </c:pt>
                <c:pt idx="4625" formatCode="#,##0_);\(#,##0\);&quot;-  &quot;;&quot; &quot;@&quot; &quot;">
                  <c:v>0</c:v>
                </c:pt>
                <c:pt idx="4626" formatCode="#,##0_);\(#,##0\);&quot;-  &quot;;&quot; &quot;@&quot; &quot;">
                  <c:v>0</c:v>
                </c:pt>
                <c:pt idx="4627" formatCode="#,##0_);\(#,##0\);&quot;-  &quot;;&quot; &quot;@&quot; &quot;">
                  <c:v>0</c:v>
                </c:pt>
                <c:pt idx="4628" formatCode="#,##0_);\(#,##0\);&quot;-  &quot;;&quot; &quot;@&quot; &quot;">
                  <c:v>0</c:v>
                </c:pt>
                <c:pt idx="4629" formatCode="#,##0_);\(#,##0\);&quot;-  &quot;;&quot; &quot;@&quot; &quot;">
                  <c:v>0</c:v>
                </c:pt>
                <c:pt idx="4630" formatCode="#,##0_);\(#,##0\);&quot;-  &quot;;&quot; &quot;@&quot; &quot;">
                  <c:v>0</c:v>
                </c:pt>
                <c:pt idx="4631" formatCode="#,##0_);\(#,##0\);&quot;-  &quot;;&quot; &quot;@&quot; &quot;">
                  <c:v>0</c:v>
                </c:pt>
                <c:pt idx="4632" formatCode="#,##0_);\(#,##0\);&quot;-  &quot;;&quot; &quot;@&quot; &quot;">
                  <c:v>0</c:v>
                </c:pt>
                <c:pt idx="4633" formatCode="#,##0_);\(#,##0\);&quot;-  &quot;;&quot; &quot;@&quot; &quot;">
                  <c:v>0</c:v>
                </c:pt>
                <c:pt idx="4634" formatCode="#,##0_);\(#,##0\);&quot;-  &quot;;&quot; &quot;@&quot; &quot;">
                  <c:v>0</c:v>
                </c:pt>
                <c:pt idx="4635" formatCode="#,##0_);\(#,##0\);&quot;-  &quot;;&quot; &quot;@&quot; &quot;">
                  <c:v>0</c:v>
                </c:pt>
                <c:pt idx="4636" formatCode="#,##0_);\(#,##0\);&quot;-  &quot;;&quot; &quot;@&quot; &quot;">
                  <c:v>0</c:v>
                </c:pt>
                <c:pt idx="4637" formatCode="#,##0_);\(#,##0\);&quot;-  &quot;;&quot; &quot;@&quot; &quot;">
                  <c:v>0</c:v>
                </c:pt>
                <c:pt idx="4638" formatCode="#,##0_);\(#,##0\);&quot;-  &quot;;&quot; &quot;@&quot; &quot;">
                  <c:v>0</c:v>
                </c:pt>
                <c:pt idx="4639" formatCode="#,##0_);\(#,##0\);&quot;-  &quot;;&quot; &quot;@&quot; &quot;">
                  <c:v>0</c:v>
                </c:pt>
                <c:pt idx="4640" formatCode="#,##0_);\(#,##0\);&quot;-  &quot;;&quot; &quot;@&quot; &quot;">
                  <c:v>0</c:v>
                </c:pt>
                <c:pt idx="4641" formatCode="#,##0_);\(#,##0\);&quot;-  &quot;;&quot; &quot;@&quot; &quot;">
                  <c:v>0</c:v>
                </c:pt>
                <c:pt idx="4642" formatCode="#,##0_);\(#,##0\);&quot;-  &quot;;&quot; &quot;@&quot; &quot;">
                  <c:v>0</c:v>
                </c:pt>
                <c:pt idx="4643" formatCode="#,##0_);\(#,##0\);&quot;-  &quot;;&quot; &quot;@&quot; &quot;">
                  <c:v>0</c:v>
                </c:pt>
                <c:pt idx="4644" formatCode="#,##0_);\(#,##0\);&quot;-  &quot;;&quot; &quot;@&quot; &quot;">
                  <c:v>0</c:v>
                </c:pt>
                <c:pt idx="4645" formatCode="#,##0_);\(#,##0\);&quot;-  &quot;;&quot; &quot;@&quot; &quot;">
                  <c:v>0</c:v>
                </c:pt>
                <c:pt idx="4646" formatCode="#,##0_);\(#,##0\);&quot;-  &quot;;&quot; &quot;@&quot; &quot;">
                  <c:v>0</c:v>
                </c:pt>
                <c:pt idx="4647" formatCode="#,##0_);\(#,##0\);&quot;-  &quot;;&quot; &quot;@&quot; &quot;">
                  <c:v>0</c:v>
                </c:pt>
                <c:pt idx="4648" formatCode="#,##0_);\(#,##0\);&quot;-  &quot;;&quot; &quot;@&quot; &quot;">
                  <c:v>0</c:v>
                </c:pt>
                <c:pt idx="4649" formatCode="#,##0_);\(#,##0\);&quot;-  &quot;;&quot; &quot;@&quot; &quot;">
                  <c:v>0</c:v>
                </c:pt>
                <c:pt idx="4650" formatCode="#,##0_);\(#,##0\);&quot;-  &quot;;&quot; &quot;@&quot; &quot;">
                  <c:v>0</c:v>
                </c:pt>
                <c:pt idx="4651" formatCode="#,##0_);\(#,##0\);&quot;-  &quot;;&quot; &quot;@&quot; &quot;">
                  <c:v>0</c:v>
                </c:pt>
                <c:pt idx="4652" formatCode="#,##0_);\(#,##0\);&quot;-  &quot;;&quot; &quot;@&quot; &quot;">
                  <c:v>0</c:v>
                </c:pt>
                <c:pt idx="4653" formatCode="#,##0_);\(#,##0\);&quot;-  &quot;;&quot; &quot;@&quot; &quot;">
                  <c:v>0</c:v>
                </c:pt>
                <c:pt idx="4654" formatCode="#,##0_);\(#,##0\);&quot;-  &quot;;&quot; &quot;@&quot; &quot;">
                  <c:v>0</c:v>
                </c:pt>
                <c:pt idx="4655" formatCode="#,##0_);\(#,##0\);&quot;-  &quot;;&quot; &quot;@&quot; &quot;">
                  <c:v>0</c:v>
                </c:pt>
                <c:pt idx="4656" formatCode="#,##0_);\(#,##0\);&quot;-  &quot;;&quot; &quot;@&quot; &quot;">
                  <c:v>0</c:v>
                </c:pt>
                <c:pt idx="4657" formatCode="#,##0_);\(#,##0\);&quot;-  &quot;;&quot; &quot;@&quot; &quot;">
                  <c:v>0</c:v>
                </c:pt>
                <c:pt idx="4658" formatCode="#,##0_);\(#,##0\);&quot;-  &quot;;&quot; &quot;@&quot; &quot;">
                  <c:v>0</c:v>
                </c:pt>
                <c:pt idx="4659" formatCode="#,##0_);\(#,##0\);&quot;-  &quot;;&quot; &quot;@&quot; &quot;">
                  <c:v>0</c:v>
                </c:pt>
                <c:pt idx="4660" formatCode="#,##0_);\(#,##0\);&quot;-  &quot;;&quot; &quot;@&quot; &quot;">
                  <c:v>0</c:v>
                </c:pt>
                <c:pt idx="4661" formatCode="#,##0_);\(#,##0\);&quot;-  &quot;;&quot; &quot;@&quot; &quot;">
                  <c:v>0</c:v>
                </c:pt>
                <c:pt idx="4662" formatCode="#,##0_);\(#,##0\);&quot;-  &quot;;&quot; &quot;@&quot; &quot;">
                  <c:v>0</c:v>
                </c:pt>
                <c:pt idx="4663" formatCode="#,##0_);\(#,##0\);&quot;-  &quot;;&quot; &quot;@&quot; &quot;">
                  <c:v>0</c:v>
                </c:pt>
                <c:pt idx="4664" formatCode="#,##0_);\(#,##0\);&quot;-  &quot;;&quot; &quot;@&quot; &quot;">
                  <c:v>0</c:v>
                </c:pt>
                <c:pt idx="4665" formatCode="#,##0_);\(#,##0\);&quot;-  &quot;;&quot; &quot;@&quot; &quot;">
                  <c:v>0</c:v>
                </c:pt>
                <c:pt idx="4666" formatCode="#,##0_);\(#,##0\);&quot;-  &quot;;&quot; &quot;@&quot; &quot;">
                  <c:v>0</c:v>
                </c:pt>
                <c:pt idx="4667" formatCode="#,##0_);\(#,##0\);&quot;-  &quot;;&quot; &quot;@&quot; &quot;">
                  <c:v>0</c:v>
                </c:pt>
                <c:pt idx="4668" formatCode="#,##0_);\(#,##0\);&quot;-  &quot;;&quot; &quot;@&quot; &quot;">
                  <c:v>0</c:v>
                </c:pt>
                <c:pt idx="4669" formatCode="#,##0_);\(#,##0\);&quot;-  &quot;;&quot; &quot;@&quot; &quot;">
                  <c:v>0</c:v>
                </c:pt>
                <c:pt idx="4670" formatCode="#,##0_);\(#,##0\);&quot;-  &quot;;&quot; &quot;@&quot; &quot;">
                  <c:v>0</c:v>
                </c:pt>
                <c:pt idx="4671" formatCode="#,##0_);\(#,##0\);&quot;-  &quot;;&quot; &quot;@&quot; &quot;">
                  <c:v>0</c:v>
                </c:pt>
                <c:pt idx="4672" formatCode="#,##0_);\(#,##0\);&quot;-  &quot;;&quot; &quot;@&quot; &quot;">
                  <c:v>0</c:v>
                </c:pt>
                <c:pt idx="4673" formatCode="#,##0_);\(#,##0\);&quot;-  &quot;;&quot; &quot;@&quot; &quot;">
                  <c:v>0</c:v>
                </c:pt>
                <c:pt idx="4674" formatCode="#,##0_);\(#,##0\);&quot;-  &quot;;&quot; &quot;@&quot; &quot;">
                  <c:v>0</c:v>
                </c:pt>
                <c:pt idx="4675" formatCode="#,##0_);\(#,##0\);&quot;-  &quot;;&quot; &quot;@&quot; &quot;">
                  <c:v>0</c:v>
                </c:pt>
                <c:pt idx="4676" formatCode="#,##0_);\(#,##0\);&quot;-  &quot;;&quot; &quot;@&quot; &quot;">
                  <c:v>0</c:v>
                </c:pt>
                <c:pt idx="4677" formatCode="#,##0_);\(#,##0\);&quot;-  &quot;;&quot; &quot;@&quot; &quot;">
                  <c:v>0</c:v>
                </c:pt>
                <c:pt idx="4678" formatCode="#,##0_);\(#,##0\);&quot;-  &quot;;&quot; &quot;@&quot; &quot;">
                  <c:v>0</c:v>
                </c:pt>
                <c:pt idx="4679" formatCode="#,##0_);\(#,##0\);&quot;-  &quot;;&quot; &quot;@&quot; &quot;">
                  <c:v>0</c:v>
                </c:pt>
                <c:pt idx="4680" formatCode="#,##0_);\(#,##0\);&quot;-  &quot;;&quot; &quot;@&quot; &quot;">
                  <c:v>0</c:v>
                </c:pt>
                <c:pt idx="4681" formatCode="#,##0_);\(#,##0\);&quot;-  &quot;;&quot; &quot;@&quot; &quot;">
                  <c:v>0</c:v>
                </c:pt>
                <c:pt idx="4682" formatCode="#,##0_);\(#,##0\);&quot;-  &quot;;&quot; &quot;@&quot; &quot;">
                  <c:v>0</c:v>
                </c:pt>
                <c:pt idx="4683" formatCode="#,##0_);\(#,##0\);&quot;-  &quot;;&quot; &quot;@&quot; &quot;">
                  <c:v>0</c:v>
                </c:pt>
                <c:pt idx="4684" formatCode="#,##0_);\(#,##0\);&quot;-  &quot;;&quot; &quot;@&quot; &quot;">
                  <c:v>0</c:v>
                </c:pt>
                <c:pt idx="4685" formatCode="#,##0_);\(#,##0\);&quot;-  &quot;;&quot; &quot;@&quot; &quot;">
                  <c:v>0</c:v>
                </c:pt>
                <c:pt idx="4686" formatCode="#,##0_);\(#,##0\);&quot;-  &quot;;&quot; &quot;@&quot; &quot;">
                  <c:v>0</c:v>
                </c:pt>
                <c:pt idx="4687" formatCode="#,##0_);\(#,##0\);&quot;-  &quot;;&quot; &quot;@&quot; &quot;">
                  <c:v>0</c:v>
                </c:pt>
                <c:pt idx="4688" formatCode="#,##0_);\(#,##0\);&quot;-  &quot;;&quot; &quot;@&quot; &quot;">
                  <c:v>0</c:v>
                </c:pt>
                <c:pt idx="4689" formatCode="#,##0_);\(#,##0\);&quot;-  &quot;;&quot; &quot;@&quot; &quot;">
                  <c:v>0</c:v>
                </c:pt>
                <c:pt idx="4690" formatCode="#,##0_);\(#,##0\);&quot;-  &quot;;&quot; &quot;@&quot; &quot;">
                  <c:v>0</c:v>
                </c:pt>
                <c:pt idx="4691" formatCode="#,##0_);\(#,##0\);&quot;-  &quot;;&quot; &quot;@&quot; &quot;">
                  <c:v>0</c:v>
                </c:pt>
                <c:pt idx="4692" formatCode="#,##0_);\(#,##0\);&quot;-  &quot;;&quot; &quot;@&quot; &quot;">
                  <c:v>0</c:v>
                </c:pt>
                <c:pt idx="4693" formatCode="#,##0_);\(#,##0\);&quot;-  &quot;;&quot; &quot;@&quot; &quot;">
                  <c:v>0</c:v>
                </c:pt>
                <c:pt idx="4694" formatCode="#,##0_);\(#,##0\);&quot;-  &quot;;&quot; &quot;@&quot; &quot;">
                  <c:v>0</c:v>
                </c:pt>
                <c:pt idx="4695" formatCode="#,##0_);\(#,##0\);&quot;-  &quot;;&quot; &quot;@&quot; &quot;">
                  <c:v>0</c:v>
                </c:pt>
                <c:pt idx="4696" formatCode="#,##0_);\(#,##0\);&quot;-  &quot;;&quot; &quot;@&quot; &quot;">
                  <c:v>0</c:v>
                </c:pt>
                <c:pt idx="4697" formatCode="#,##0_);\(#,##0\);&quot;-  &quot;;&quot; &quot;@&quot; &quot;">
                  <c:v>0</c:v>
                </c:pt>
                <c:pt idx="4698" formatCode="#,##0_);\(#,##0\);&quot;-  &quot;;&quot; &quot;@&quot; &quot;">
                  <c:v>0</c:v>
                </c:pt>
                <c:pt idx="4699" formatCode="#,##0_);\(#,##0\);&quot;-  &quot;;&quot; &quot;@&quot; &quot;">
                  <c:v>0</c:v>
                </c:pt>
                <c:pt idx="4700" formatCode="#,##0_);\(#,##0\);&quot;-  &quot;;&quot; &quot;@&quot; &quot;">
                  <c:v>0</c:v>
                </c:pt>
                <c:pt idx="4701" formatCode="#,##0_);\(#,##0\);&quot;-  &quot;;&quot; &quot;@&quot; &quot;">
                  <c:v>0</c:v>
                </c:pt>
                <c:pt idx="4702" formatCode="#,##0_);\(#,##0\);&quot;-  &quot;;&quot; &quot;@&quot; &quot;">
                  <c:v>0</c:v>
                </c:pt>
                <c:pt idx="4703" formatCode="#,##0_);\(#,##0\);&quot;-  &quot;;&quot; &quot;@&quot; &quot;">
                  <c:v>0</c:v>
                </c:pt>
                <c:pt idx="4704" formatCode="#,##0_);\(#,##0\);&quot;-  &quot;;&quot; &quot;@&quot; &quot;">
                  <c:v>0</c:v>
                </c:pt>
                <c:pt idx="4705" formatCode="#,##0_);\(#,##0\);&quot;-  &quot;;&quot; &quot;@&quot; &quot;">
                  <c:v>0</c:v>
                </c:pt>
                <c:pt idx="4706" formatCode="#,##0_);\(#,##0\);&quot;-  &quot;;&quot; &quot;@&quot; &quot;">
                  <c:v>0</c:v>
                </c:pt>
                <c:pt idx="4707" formatCode="#,##0_);\(#,##0\);&quot;-  &quot;;&quot; &quot;@&quot; &quot;">
                  <c:v>0</c:v>
                </c:pt>
                <c:pt idx="4708" formatCode="#,##0_);\(#,##0\);&quot;-  &quot;;&quot; &quot;@&quot; &quot;">
                  <c:v>0</c:v>
                </c:pt>
                <c:pt idx="4709" formatCode="#,##0_);\(#,##0\);&quot;-  &quot;;&quot; &quot;@&quot; &quot;">
                  <c:v>0</c:v>
                </c:pt>
                <c:pt idx="4710" formatCode="#,##0_);\(#,##0\);&quot;-  &quot;;&quot; &quot;@&quot; &quot;">
                  <c:v>0</c:v>
                </c:pt>
                <c:pt idx="4711" formatCode="#,##0_);\(#,##0\);&quot;-  &quot;;&quot; &quot;@&quot; &quot;">
                  <c:v>0</c:v>
                </c:pt>
                <c:pt idx="4712" formatCode="#,##0_);\(#,##0\);&quot;-  &quot;;&quot; &quot;@&quot; &quot;">
                  <c:v>0</c:v>
                </c:pt>
                <c:pt idx="4713" formatCode="#,##0_);\(#,##0\);&quot;-  &quot;;&quot; &quot;@&quot; &quot;">
                  <c:v>0</c:v>
                </c:pt>
                <c:pt idx="4714" formatCode="#,##0_);\(#,##0\);&quot;-  &quot;;&quot; &quot;@&quot; &quot;">
                  <c:v>0</c:v>
                </c:pt>
                <c:pt idx="4715" formatCode="#,##0_);\(#,##0\);&quot;-  &quot;;&quot; &quot;@&quot; &quot;">
                  <c:v>0</c:v>
                </c:pt>
                <c:pt idx="4716" formatCode="#,##0_);\(#,##0\);&quot;-  &quot;;&quot; &quot;@&quot; &quot;">
                  <c:v>0</c:v>
                </c:pt>
                <c:pt idx="4717" formatCode="#,##0_);\(#,##0\);&quot;-  &quot;;&quot; &quot;@&quot; &quot;">
                  <c:v>0</c:v>
                </c:pt>
                <c:pt idx="4718" formatCode="#,##0_);\(#,##0\);&quot;-  &quot;;&quot; &quot;@&quot; &quot;">
                  <c:v>0</c:v>
                </c:pt>
                <c:pt idx="4719" formatCode="#,##0_);\(#,##0\);&quot;-  &quot;;&quot; &quot;@&quot; &quot;">
                  <c:v>0</c:v>
                </c:pt>
                <c:pt idx="4720" formatCode="#,##0_);\(#,##0\);&quot;-  &quot;;&quot; &quot;@&quot; &quot;">
                  <c:v>0</c:v>
                </c:pt>
                <c:pt idx="4721" formatCode="#,##0_);\(#,##0\);&quot;-  &quot;;&quot; &quot;@&quot; &quot;">
                  <c:v>0</c:v>
                </c:pt>
                <c:pt idx="4722" formatCode="#,##0_);\(#,##0\);&quot;-  &quot;;&quot; &quot;@&quot; &quot;">
                  <c:v>0</c:v>
                </c:pt>
                <c:pt idx="4723" formatCode="#,##0_);\(#,##0\);&quot;-  &quot;;&quot; &quot;@&quot; &quot;">
                  <c:v>0</c:v>
                </c:pt>
                <c:pt idx="4724" formatCode="#,##0_);\(#,##0\);&quot;-  &quot;;&quot; &quot;@&quot; &quot;">
                  <c:v>0</c:v>
                </c:pt>
                <c:pt idx="4725" formatCode="#,##0_);\(#,##0\);&quot;-  &quot;;&quot; &quot;@&quot; &quot;">
                  <c:v>0</c:v>
                </c:pt>
                <c:pt idx="4726" formatCode="#,##0_);\(#,##0\);&quot;-  &quot;;&quot; &quot;@&quot; &quot;">
                  <c:v>0</c:v>
                </c:pt>
                <c:pt idx="4727" formatCode="#,##0_);\(#,##0\);&quot;-  &quot;;&quot; &quot;@&quot; &quot;">
                  <c:v>0</c:v>
                </c:pt>
                <c:pt idx="4728" formatCode="#,##0_);\(#,##0\);&quot;-  &quot;;&quot; &quot;@&quot; &quot;">
                  <c:v>0</c:v>
                </c:pt>
                <c:pt idx="4729" formatCode="#,##0_);\(#,##0\);&quot;-  &quot;;&quot; &quot;@&quot; &quot;">
                  <c:v>0</c:v>
                </c:pt>
                <c:pt idx="4730" formatCode="#,##0_);\(#,##0\);&quot;-  &quot;;&quot; &quot;@&quot; &quot;">
                  <c:v>0</c:v>
                </c:pt>
                <c:pt idx="4731" formatCode="#,##0_);\(#,##0\);&quot;-  &quot;;&quot; &quot;@&quot; &quot;">
                  <c:v>0</c:v>
                </c:pt>
                <c:pt idx="4732" formatCode="#,##0_);\(#,##0\);&quot;-  &quot;;&quot; &quot;@&quot; &quot;">
                  <c:v>0</c:v>
                </c:pt>
                <c:pt idx="4733" formatCode="#,##0_);\(#,##0\);&quot;-  &quot;;&quot; &quot;@&quot; &quot;">
                  <c:v>0</c:v>
                </c:pt>
                <c:pt idx="4734" formatCode="#,##0_);\(#,##0\);&quot;-  &quot;;&quot; &quot;@&quot; &quot;">
                  <c:v>0</c:v>
                </c:pt>
                <c:pt idx="4735" formatCode="#,##0_);\(#,##0\);&quot;-  &quot;;&quot; &quot;@&quot; &quot;">
                  <c:v>0</c:v>
                </c:pt>
                <c:pt idx="4736" formatCode="#,##0_);\(#,##0\);&quot;-  &quot;;&quot; &quot;@&quot; &quot;">
                  <c:v>0</c:v>
                </c:pt>
                <c:pt idx="4737" formatCode="#,##0_);\(#,##0\);&quot;-  &quot;;&quot; &quot;@&quot; &quot;">
                  <c:v>0</c:v>
                </c:pt>
                <c:pt idx="4738" formatCode="#,##0_);\(#,##0\);&quot;-  &quot;;&quot; &quot;@&quot; &quot;">
                  <c:v>0</c:v>
                </c:pt>
                <c:pt idx="4739" formatCode="#,##0_);\(#,##0\);&quot;-  &quot;;&quot; &quot;@&quot; &quot;">
                  <c:v>0</c:v>
                </c:pt>
                <c:pt idx="4740" formatCode="#,##0_);\(#,##0\);&quot;-  &quot;;&quot; &quot;@&quot; &quot;">
                  <c:v>0</c:v>
                </c:pt>
                <c:pt idx="4741" formatCode="#,##0_);\(#,##0\);&quot;-  &quot;;&quot; &quot;@&quot; &quot;">
                  <c:v>0</c:v>
                </c:pt>
                <c:pt idx="4742" formatCode="#,##0_);\(#,##0\);&quot;-  &quot;;&quot; &quot;@&quot; &quot;">
                  <c:v>0</c:v>
                </c:pt>
                <c:pt idx="4743" formatCode="#,##0_);\(#,##0\);&quot;-  &quot;;&quot; &quot;@&quot; &quot;">
                  <c:v>0</c:v>
                </c:pt>
                <c:pt idx="4744" formatCode="#,##0_);\(#,##0\);&quot;-  &quot;;&quot; &quot;@&quot; &quot;">
                  <c:v>0</c:v>
                </c:pt>
                <c:pt idx="4745" formatCode="#,##0_);\(#,##0\);&quot;-  &quot;;&quot; &quot;@&quot; &quot;">
                  <c:v>0</c:v>
                </c:pt>
                <c:pt idx="4746" formatCode="#,##0_);\(#,##0\);&quot;-  &quot;;&quot; &quot;@&quot; &quot;">
                  <c:v>0</c:v>
                </c:pt>
                <c:pt idx="4747" formatCode="#,##0_);\(#,##0\);&quot;-  &quot;;&quot; &quot;@&quot; &quot;">
                  <c:v>0</c:v>
                </c:pt>
                <c:pt idx="4748" formatCode="#,##0_);\(#,##0\);&quot;-  &quot;;&quot; &quot;@&quot; &quot;">
                  <c:v>0</c:v>
                </c:pt>
                <c:pt idx="4749" formatCode="#,##0_);\(#,##0\);&quot;-  &quot;;&quot; &quot;@&quot; &quot;">
                  <c:v>0</c:v>
                </c:pt>
                <c:pt idx="4750" formatCode="#,##0_);\(#,##0\);&quot;-  &quot;;&quot; &quot;@&quot; &quot;">
                  <c:v>0</c:v>
                </c:pt>
                <c:pt idx="4751" formatCode="#,##0_);\(#,##0\);&quot;-  &quot;;&quot; &quot;@&quot; &quot;">
                  <c:v>0</c:v>
                </c:pt>
                <c:pt idx="4752" formatCode="#,##0_);\(#,##0\);&quot;-  &quot;;&quot; &quot;@&quot; &quot;">
                  <c:v>0</c:v>
                </c:pt>
                <c:pt idx="4753" formatCode="#,##0_);\(#,##0\);&quot;-  &quot;;&quot; &quot;@&quot; &quot;">
                  <c:v>0</c:v>
                </c:pt>
                <c:pt idx="4754" formatCode="#,##0_);\(#,##0\);&quot;-  &quot;;&quot; &quot;@&quot; &quot;">
                  <c:v>0</c:v>
                </c:pt>
                <c:pt idx="4755" formatCode="#,##0_);\(#,##0\);&quot;-  &quot;;&quot; &quot;@&quot; &quot;">
                  <c:v>0</c:v>
                </c:pt>
                <c:pt idx="4756" formatCode="#,##0_);\(#,##0\);&quot;-  &quot;;&quot; &quot;@&quot; &quot;">
                  <c:v>0</c:v>
                </c:pt>
                <c:pt idx="4757" formatCode="#,##0_);\(#,##0\);&quot;-  &quot;;&quot; &quot;@&quot; &quot;">
                  <c:v>0</c:v>
                </c:pt>
                <c:pt idx="4758" formatCode="#,##0_);\(#,##0\);&quot;-  &quot;;&quot; &quot;@&quot; &quot;">
                  <c:v>0</c:v>
                </c:pt>
                <c:pt idx="4759" formatCode="#,##0_);\(#,##0\);&quot;-  &quot;;&quot; &quot;@&quot; &quot;">
                  <c:v>0</c:v>
                </c:pt>
                <c:pt idx="4760" formatCode="#,##0_);\(#,##0\);&quot;-  &quot;;&quot; &quot;@&quot; &quot;">
                  <c:v>0</c:v>
                </c:pt>
                <c:pt idx="4761" formatCode="#,##0_);\(#,##0\);&quot;-  &quot;;&quot; &quot;@&quot; &quot;">
                  <c:v>0</c:v>
                </c:pt>
                <c:pt idx="4762" formatCode="#,##0_);\(#,##0\);&quot;-  &quot;;&quot; &quot;@&quot; &quot;">
                  <c:v>0</c:v>
                </c:pt>
                <c:pt idx="4763" formatCode="#,##0_);\(#,##0\);&quot;-  &quot;;&quot; &quot;@&quot; &quot;">
                  <c:v>0</c:v>
                </c:pt>
                <c:pt idx="4764" formatCode="#,##0_);\(#,##0\);&quot;-  &quot;;&quot; &quot;@&quot; &quot;">
                  <c:v>0</c:v>
                </c:pt>
                <c:pt idx="4765" formatCode="#,##0_);\(#,##0\);&quot;-  &quot;;&quot; &quot;@&quot; &quot;">
                  <c:v>0</c:v>
                </c:pt>
                <c:pt idx="4766" formatCode="#,##0_);\(#,##0\);&quot;-  &quot;;&quot; &quot;@&quot; &quot;">
                  <c:v>0</c:v>
                </c:pt>
                <c:pt idx="4767" formatCode="#,##0_);\(#,##0\);&quot;-  &quot;;&quot; &quot;@&quot; &quot;">
                  <c:v>0</c:v>
                </c:pt>
                <c:pt idx="4768" formatCode="#,##0_);\(#,##0\);&quot;-  &quot;;&quot; &quot;@&quot; &quot;">
                  <c:v>0</c:v>
                </c:pt>
                <c:pt idx="4769" formatCode="#,##0_);\(#,##0\);&quot;-  &quot;;&quot; &quot;@&quot; &quot;">
                  <c:v>0</c:v>
                </c:pt>
                <c:pt idx="4770" formatCode="#,##0_);\(#,##0\);&quot;-  &quot;;&quot; &quot;@&quot; &quot;">
                  <c:v>0</c:v>
                </c:pt>
                <c:pt idx="4771" formatCode="#,##0_);\(#,##0\);&quot;-  &quot;;&quot; &quot;@&quot; &quot;">
                  <c:v>0</c:v>
                </c:pt>
                <c:pt idx="4772" formatCode="#,##0_);\(#,##0\);&quot;-  &quot;;&quot; &quot;@&quot; &quot;">
                  <c:v>0</c:v>
                </c:pt>
                <c:pt idx="4773" formatCode="#,##0_);\(#,##0\);&quot;-  &quot;;&quot; &quot;@&quot; &quot;">
                  <c:v>0</c:v>
                </c:pt>
                <c:pt idx="4774" formatCode="#,##0_);\(#,##0\);&quot;-  &quot;;&quot; &quot;@&quot; &quot;">
                  <c:v>0</c:v>
                </c:pt>
                <c:pt idx="4775" formatCode="#,##0_);\(#,##0\);&quot;-  &quot;;&quot; &quot;@&quot; &quot;">
                  <c:v>0</c:v>
                </c:pt>
                <c:pt idx="4776" formatCode="#,##0_);\(#,##0\);&quot;-  &quot;;&quot; &quot;@&quot; &quot;">
                  <c:v>0</c:v>
                </c:pt>
                <c:pt idx="4777" formatCode="#,##0_);\(#,##0\);&quot;-  &quot;;&quot; &quot;@&quot; &quot;">
                  <c:v>0</c:v>
                </c:pt>
                <c:pt idx="4778" formatCode="#,##0_);\(#,##0\);&quot;-  &quot;;&quot; &quot;@&quot; &quot;">
                  <c:v>0</c:v>
                </c:pt>
                <c:pt idx="4779" formatCode="#,##0_);\(#,##0\);&quot;-  &quot;;&quot; &quot;@&quot; &quot;">
                  <c:v>0</c:v>
                </c:pt>
                <c:pt idx="4780" formatCode="#,##0_);\(#,##0\);&quot;-  &quot;;&quot; &quot;@&quot; &quot;">
                  <c:v>0</c:v>
                </c:pt>
                <c:pt idx="4781" formatCode="#,##0_);\(#,##0\);&quot;-  &quot;;&quot; &quot;@&quot; &quot;">
                  <c:v>0</c:v>
                </c:pt>
                <c:pt idx="4782" formatCode="#,##0_);\(#,##0\);&quot;-  &quot;;&quot; &quot;@&quot; &quot;">
                  <c:v>0</c:v>
                </c:pt>
                <c:pt idx="4783" formatCode="#,##0_);\(#,##0\);&quot;-  &quot;;&quot; &quot;@&quot; &quot;">
                  <c:v>0</c:v>
                </c:pt>
                <c:pt idx="4784" formatCode="#,##0_);\(#,##0\);&quot;-  &quot;;&quot; &quot;@&quot; &quot;">
                  <c:v>0</c:v>
                </c:pt>
                <c:pt idx="4785" formatCode="#,##0_);\(#,##0\);&quot;-  &quot;;&quot; &quot;@&quot; &quot;">
                  <c:v>0</c:v>
                </c:pt>
                <c:pt idx="4786" formatCode="#,##0_);\(#,##0\);&quot;-  &quot;;&quot; &quot;@&quot; &quot;">
                  <c:v>0</c:v>
                </c:pt>
                <c:pt idx="4787" formatCode="#,##0_);\(#,##0\);&quot;-  &quot;;&quot; &quot;@&quot; &quot;">
                  <c:v>0</c:v>
                </c:pt>
                <c:pt idx="4788" formatCode="#,##0_);\(#,##0\);&quot;-  &quot;;&quot; &quot;@&quot; &quot;">
                  <c:v>0</c:v>
                </c:pt>
                <c:pt idx="4789" formatCode="#,##0_);\(#,##0\);&quot;-  &quot;;&quot; &quot;@&quot; &quot;">
                  <c:v>0</c:v>
                </c:pt>
                <c:pt idx="4790" formatCode="#,##0_);\(#,##0\);&quot;-  &quot;;&quot; &quot;@&quot; &quot;">
                  <c:v>0</c:v>
                </c:pt>
                <c:pt idx="4791" formatCode="#,##0_);\(#,##0\);&quot;-  &quot;;&quot; &quot;@&quot; &quot;">
                  <c:v>0</c:v>
                </c:pt>
                <c:pt idx="4792" formatCode="#,##0_);\(#,##0\);&quot;-  &quot;;&quot; &quot;@&quot; &quot;">
                  <c:v>0</c:v>
                </c:pt>
                <c:pt idx="4793" formatCode="#,##0_);\(#,##0\);&quot;-  &quot;;&quot; &quot;@&quot; &quot;">
                  <c:v>0</c:v>
                </c:pt>
                <c:pt idx="4794" formatCode="#,##0_);\(#,##0\);&quot;-  &quot;;&quot; &quot;@&quot; &quot;">
                  <c:v>0</c:v>
                </c:pt>
                <c:pt idx="4795" formatCode="#,##0_);\(#,##0\);&quot;-  &quot;;&quot; &quot;@&quot; &quot;">
                  <c:v>0</c:v>
                </c:pt>
                <c:pt idx="4796" formatCode="#,##0_);\(#,##0\);&quot;-  &quot;;&quot; &quot;@&quot; &quot;">
                  <c:v>0</c:v>
                </c:pt>
                <c:pt idx="4797" formatCode="#,##0_);\(#,##0\);&quot;-  &quot;;&quot; &quot;@&quot; &quot;">
                  <c:v>0</c:v>
                </c:pt>
                <c:pt idx="4798" formatCode="#,##0_);\(#,##0\);&quot;-  &quot;;&quot; &quot;@&quot; &quot;">
                  <c:v>0</c:v>
                </c:pt>
                <c:pt idx="4799" formatCode="#,##0_);\(#,##0\);&quot;-  &quot;;&quot; &quot;@&quot; &quot;">
                  <c:v>0</c:v>
                </c:pt>
                <c:pt idx="4800" formatCode="#,##0_);\(#,##0\);&quot;-  &quot;;&quot; &quot;@&quot; &quot;">
                  <c:v>0</c:v>
                </c:pt>
                <c:pt idx="4801" formatCode="#,##0_);\(#,##0\);&quot;-  &quot;;&quot; &quot;@&quot; &quot;">
                  <c:v>0</c:v>
                </c:pt>
                <c:pt idx="4802" formatCode="#,##0_);\(#,##0\);&quot;-  &quot;;&quot; &quot;@&quot; &quot;">
                  <c:v>0</c:v>
                </c:pt>
                <c:pt idx="4803" formatCode="#,##0_);\(#,##0\);&quot;-  &quot;;&quot; &quot;@&quot; &quot;">
                  <c:v>0</c:v>
                </c:pt>
                <c:pt idx="4804" formatCode="#,##0_);\(#,##0\);&quot;-  &quot;;&quot; &quot;@&quot; &quot;">
                  <c:v>0</c:v>
                </c:pt>
                <c:pt idx="4805" formatCode="#,##0_);\(#,##0\);&quot;-  &quot;;&quot; &quot;@&quot; &quot;">
                  <c:v>0</c:v>
                </c:pt>
                <c:pt idx="4806" formatCode="#,##0_);\(#,##0\);&quot;-  &quot;;&quot; &quot;@&quot; &quot;">
                  <c:v>0</c:v>
                </c:pt>
                <c:pt idx="4807" formatCode="#,##0_);\(#,##0\);&quot;-  &quot;;&quot; &quot;@&quot; &quot;">
                  <c:v>0</c:v>
                </c:pt>
                <c:pt idx="4808" formatCode="#,##0_);\(#,##0\);&quot;-  &quot;;&quot; &quot;@&quot; &quot;">
                  <c:v>0</c:v>
                </c:pt>
                <c:pt idx="4809" formatCode="#,##0_);\(#,##0\);&quot;-  &quot;;&quot; &quot;@&quot; &quot;">
                  <c:v>0</c:v>
                </c:pt>
                <c:pt idx="4810" formatCode="#,##0_);\(#,##0\);&quot;-  &quot;;&quot; &quot;@&quot; &quot;">
                  <c:v>0</c:v>
                </c:pt>
                <c:pt idx="4811" formatCode="#,##0_);\(#,##0\);&quot;-  &quot;;&quot; &quot;@&quot; &quot;">
                  <c:v>0</c:v>
                </c:pt>
                <c:pt idx="4812" formatCode="#,##0_);\(#,##0\);&quot;-  &quot;;&quot; &quot;@&quot; &quot;">
                  <c:v>0</c:v>
                </c:pt>
                <c:pt idx="4813" formatCode="#,##0_);\(#,##0\);&quot;-  &quot;;&quot; &quot;@&quot; &quot;">
                  <c:v>0</c:v>
                </c:pt>
                <c:pt idx="4814" formatCode="#,##0_);\(#,##0\);&quot;-  &quot;;&quot; &quot;@&quot; &quot;">
                  <c:v>0</c:v>
                </c:pt>
                <c:pt idx="4815" formatCode="#,##0_);\(#,##0\);&quot;-  &quot;;&quot; &quot;@&quot; &quot;">
                  <c:v>0</c:v>
                </c:pt>
                <c:pt idx="4816" formatCode="#,##0_);\(#,##0\);&quot;-  &quot;;&quot; &quot;@&quot; &quot;">
                  <c:v>0</c:v>
                </c:pt>
                <c:pt idx="4817" formatCode="#,##0_);\(#,##0\);&quot;-  &quot;;&quot; &quot;@&quot; &quot;">
                  <c:v>0</c:v>
                </c:pt>
                <c:pt idx="4818" formatCode="#,##0_);\(#,##0\);&quot;-  &quot;;&quot; &quot;@&quot; &quot;">
                  <c:v>0</c:v>
                </c:pt>
                <c:pt idx="4819" formatCode="#,##0_);\(#,##0\);&quot;-  &quot;;&quot; &quot;@&quot; &quot;">
                  <c:v>0</c:v>
                </c:pt>
                <c:pt idx="4820" formatCode="#,##0_);\(#,##0\);&quot;-  &quot;;&quot; &quot;@&quot; &quot;">
                  <c:v>0</c:v>
                </c:pt>
                <c:pt idx="4821" formatCode="#,##0_);\(#,##0\);&quot;-  &quot;;&quot; &quot;@&quot; &quot;">
                  <c:v>0</c:v>
                </c:pt>
                <c:pt idx="4822" formatCode="#,##0_);\(#,##0\);&quot;-  &quot;;&quot; &quot;@&quot; &quot;">
                  <c:v>0</c:v>
                </c:pt>
                <c:pt idx="4823" formatCode="#,##0_);\(#,##0\);&quot;-  &quot;;&quot; &quot;@&quot; &quot;">
                  <c:v>0</c:v>
                </c:pt>
                <c:pt idx="4824" formatCode="#,##0_);\(#,##0\);&quot;-  &quot;;&quot; &quot;@&quot; &quot;">
                  <c:v>0</c:v>
                </c:pt>
                <c:pt idx="4825" formatCode="#,##0_);\(#,##0\);&quot;-  &quot;;&quot; &quot;@&quot; &quot;">
                  <c:v>0</c:v>
                </c:pt>
                <c:pt idx="4826" formatCode="#,##0_);\(#,##0\);&quot;-  &quot;;&quot; &quot;@&quot; &quot;">
                  <c:v>0</c:v>
                </c:pt>
                <c:pt idx="4827" formatCode="#,##0_);\(#,##0\);&quot;-  &quot;;&quot; &quot;@&quot; &quot;">
                  <c:v>0</c:v>
                </c:pt>
                <c:pt idx="4828" formatCode="#,##0_);\(#,##0\);&quot;-  &quot;;&quot; &quot;@&quot; &quot;">
                  <c:v>0</c:v>
                </c:pt>
                <c:pt idx="4829" formatCode="#,##0_);\(#,##0\);&quot;-  &quot;;&quot; &quot;@&quot; &quot;">
                  <c:v>0</c:v>
                </c:pt>
                <c:pt idx="4830" formatCode="#,##0_);\(#,##0\);&quot;-  &quot;;&quot; &quot;@&quot; &quot;">
                  <c:v>0</c:v>
                </c:pt>
                <c:pt idx="4831" formatCode="#,##0_);\(#,##0\);&quot;-  &quot;;&quot; &quot;@&quot; &quot;">
                  <c:v>0</c:v>
                </c:pt>
                <c:pt idx="4832" formatCode="#,##0_);\(#,##0\);&quot;-  &quot;;&quot; &quot;@&quot; &quot;">
                  <c:v>0</c:v>
                </c:pt>
                <c:pt idx="4833" formatCode="#,##0_);\(#,##0\);&quot;-  &quot;;&quot; &quot;@&quot; &quot;">
                  <c:v>0</c:v>
                </c:pt>
                <c:pt idx="4834" formatCode="#,##0_);\(#,##0\);&quot;-  &quot;;&quot; &quot;@&quot; &quot;">
                  <c:v>0</c:v>
                </c:pt>
                <c:pt idx="4835" formatCode="#,##0_);\(#,##0\);&quot;-  &quot;;&quot; &quot;@&quot; &quot;">
                  <c:v>0</c:v>
                </c:pt>
                <c:pt idx="4836" formatCode="#,##0_);\(#,##0\);&quot;-  &quot;;&quot; &quot;@&quot; &quot;">
                  <c:v>0</c:v>
                </c:pt>
                <c:pt idx="4837" formatCode="#,##0_);\(#,##0\);&quot;-  &quot;;&quot; &quot;@&quot; &quot;">
                  <c:v>0</c:v>
                </c:pt>
                <c:pt idx="4838" formatCode="#,##0_);\(#,##0\);&quot;-  &quot;;&quot; &quot;@&quot; &quot;">
                  <c:v>0</c:v>
                </c:pt>
                <c:pt idx="4839" formatCode="#,##0_);\(#,##0\);&quot;-  &quot;;&quot; &quot;@&quot; &quot;">
                  <c:v>0</c:v>
                </c:pt>
                <c:pt idx="4840" formatCode="#,##0_);\(#,##0\);&quot;-  &quot;;&quot; &quot;@&quot; &quot;">
                  <c:v>0</c:v>
                </c:pt>
                <c:pt idx="4841" formatCode="#,##0_);\(#,##0\);&quot;-  &quot;;&quot; &quot;@&quot; &quot;">
                  <c:v>0</c:v>
                </c:pt>
                <c:pt idx="4842" formatCode="#,##0_);\(#,##0\);&quot;-  &quot;;&quot; &quot;@&quot; &quot;">
                  <c:v>0</c:v>
                </c:pt>
                <c:pt idx="4843" formatCode="#,##0_);\(#,##0\);&quot;-  &quot;;&quot; &quot;@&quot; &quot;">
                  <c:v>0</c:v>
                </c:pt>
                <c:pt idx="4844" formatCode="#,##0_);\(#,##0\);&quot;-  &quot;;&quot; &quot;@&quot; &quot;">
                  <c:v>0</c:v>
                </c:pt>
                <c:pt idx="4845" formatCode="#,##0_);\(#,##0\);&quot;-  &quot;;&quot; &quot;@&quot; &quot;">
                  <c:v>0</c:v>
                </c:pt>
                <c:pt idx="4846" formatCode="#,##0_);\(#,##0\);&quot;-  &quot;;&quot; &quot;@&quot; &quot;">
                  <c:v>0</c:v>
                </c:pt>
                <c:pt idx="4847" formatCode="#,##0_);\(#,##0\);&quot;-  &quot;;&quot; &quot;@&quot; &quot;">
                  <c:v>0</c:v>
                </c:pt>
                <c:pt idx="4848" formatCode="#,##0_);\(#,##0\);&quot;-  &quot;;&quot; &quot;@&quot; &quot;">
                  <c:v>0</c:v>
                </c:pt>
                <c:pt idx="4849" formatCode="#,##0_);\(#,##0\);&quot;-  &quot;;&quot; &quot;@&quot; &quot;">
                  <c:v>0</c:v>
                </c:pt>
                <c:pt idx="4850" formatCode="#,##0_);\(#,##0\);&quot;-  &quot;;&quot; &quot;@&quot; &quot;">
                  <c:v>0</c:v>
                </c:pt>
                <c:pt idx="4851" formatCode="#,##0_);\(#,##0\);&quot;-  &quot;;&quot; &quot;@&quot; &quot;">
                  <c:v>0</c:v>
                </c:pt>
                <c:pt idx="4852" formatCode="#,##0_);\(#,##0\);&quot;-  &quot;;&quot; &quot;@&quot; &quot;">
                  <c:v>0</c:v>
                </c:pt>
                <c:pt idx="4853" formatCode="#,##0_);\(#,##0\);&quot;-  &quot;;&quot; &quot;@&quot; &quot;">
                  <c:v>0</c:v>
                </c:pt>
                <c:pt idx="4854" formatCode="#,##0_);\(#,##0\);&quot;-  &quot;;&quot; &quot;@&quot; &quot;">
                  <c:v>0</c:v>
                </c:pt>
                <c:pt idx="4855" formatCode="#,##0_);\(#,##0\);&quot;-  &quot;;&quot; &quot;@&quot; &quot;">
                  <c:v>0</c:v>
                </c:pt>
                <c:pt idx="4856" formatCode="#,##0_);\(#,##0\);&quot;-  &quot;;&quot; &quot;@&quot; &quot;">
                  <c:v>0</c:v>
                </c:pt>
                <c:pt idx="4857" formatCode="#,##0_);\(#,##0\);&quot;-  &quot;;&quot; &quot;@&quot; &quot;">
                  <c:v>0</c:v>
                </c:pt>
                <c:pt idx="4858" formatCode="#,##0_);\(#,##0\);&quot;-  &quot;;&quot; &quot;@&quot; &quot;">
                  <c:v>0</c:v>
                </c:pt>
                <c:pt idx="4859" formatCode="#,##0_);\(#,##0\);&quot;-  &quot;;&quot; &quot;@&quot; &quot;">
                  <c:v>0</c:v>
                </c:pt>
                <c:pt idx="4860" formatCode="#,##0_);\(#,##0\);&quot;-  &quot;;&quot; &quot;@&quot; &quot;">
                  <c:v>0</c:v>
                </c:pt>
                <c:pt idx="4861" formatCode="#,##0_);\(#,##0\);&quot;-  &quot;;&quot; &quot;@&quot; &quot;">
                  <c:v>0</c:v>
                </c:pt>
                <c:pt idx="4862" formatCode="#,##0_);\(#,##0\);&quot;-  &quot;;&quot; &quot;@&quot; &quot;">
                  <c:v>0</c:v>
                </c:pt>
                <c:pt idx="4863" formatCode="#,##0_);\(#,##0\);&quot;-  &quot;;&quot; &quot;@&quot; &quot;">
                  <c:v>0</c:v>
                </c:pt>
                <c:pt idx="4864" formatCode="#,##0_);\(#,##0\);&quot;-  &quot;;&quot; &quot;@&quot; &quot;">
                  <c:v>0</c:v>
                </c:pt>
                <c:pt idx="4865" formatCode="#,##0_);\(#,##0\);&quot;-  &quot;;&quot; &quot;@&quot; &quot;">
                  <c:v>0</c:v>
                </c:pt>
                <c:pt idx="4866" formatCode="#,##0_);\(#,##0\);&quot;-  &quot;;&quot; &quot;@&quot; &quot;">
                  <c:v>0</c:v>
                </c:pt>
                <c:pt idx="4867" formatCode="#,##0_);\(#,##0\);&quot;-  &quot;;&quot; &quot;@&quot; &quot;">
                  <c:v>0</c:v>
                </c:pt>
                <c:pt idx="4868" formatCode="#,##0_);\(#,##0\);&quot;-  &quot;;&quot; &quot;@&quot; &quot;">
                  <c:v>0</c:v>
                </c:pt>
                <c:pt idx="4869" formatCode="#,##0_);\(#,##0\);&quot;-  &quot;;&quot; &quot;@&quot; &quot;">
                  <c:v>0</c:v>
                </c:pt>
                <c:pt idx="4870" formatCode="#,##0_);\(#,##0\);&quot;-  &quot;;&quot; &quot;@&quot; &quot;">
                  <c:v>0</c:v>
                </c:pt>
                <c:pt idx="4871" formatCode="#,##0_);\(#,##0\);&quot;-  &quot;;&quot; &quot;@&quot; &quot;">
                  <c:v>0</c:v>
                </c:pt>
                <c:pt idx="4872" formatCode="#,##0_);\(#,##0\);&quot;-  &quot;;&quot; &quot;@&quot; &quot;">
                  <c:v>0</c:v>
                </c:pt>
                <c:pt idx="4873" formatCode="#,##0_);\(#,##0\);&quot;-  &quot;;&quot; &quot;@&quot; &quot;">
                  <c:v>0</c:v>
                </c:pt>
                <c:pt idx="4874" formatCode="#,##0_);\(#,##0\);&quot;-  &quot;;&quot; &quot;@&quot; &quot;">
                  <c:v>0</c:v>
                </c:pt>
                <c:pt idx="4875" formatCode="#,##0_);\(#,##0\);&quot;-  &quot;;&quot; &quot;@&quot; &quot;">
                  <c:v>0</c:v>
                </c:pt>
                <c:pt idx="4876" formatCode="#,##0_);\(#,##0\);&quot;-  &quot;;&quot; &quot;@&quot; &quot;">
                  <c:v>0</c:v>
                </c:pt>
                <c:pt idx="4877" formatCode="#,##0_);\(#,##0\);&quot;-  &quot;;&quot; &quot;@&quot; &quot;">
                  <c:v>0</c:v>
                </c:pt>
                <c:pt idx="4878" formatCode="#,##0_);\(#,##0\);&quot;-  &quot;;&quot; &quot;@&quot; &quot;">
                  <c:v>0</c:v>
                </c:pt>
                <c:pt idx="4879" formatCode="#,##0_);\(#,##0\);&quot;-  &quot;;&quot; &quot;@&quot; &quot;">
                  <c:v>0</c:v>
                </c:pt>
                <c:pt idx="4880" formatCode="#,##0_);\(#,##0\);&quot;-  &quot;;&quot; &quot;@&quot; &quot;">
                  <c:v>0</c:v>
                </c:pt>
                <c:pt idx="4881" formatCode="#,##0_);\(#,##0\);&quot;-  &quot;;&quot; &quot;@&quot; &quot;">
                  <c:v>0</c:v>
                </c:pt>
                <c:pt idx="4882" formatCode="#,##0_);\(#,##0\);&quot;-  &quot;;&quot; &quot;@&quot; &quot;">
                  <c:v>0</c:v>
                </c:pt>
                <c:pt idx="4883" formatCode="#,##0_);\(#,##0\);&quot;-  &quot;;&quot; &quot;@&quot; &quot;">
                  <c:v>0</c:v>
                </c:pt>
                <c:pt idx="4884" formatCode="#,##0_);\(#,##0\);&quot;-  &quot;;&quot; &quot;@&quot; &quot;">
                  <c:v>0</c:v>
                </c:pt>
                <c:pt idx="4885" formatCode="#,##0_);\(#,##0\);&quot;-  &quot;;&quot; &quot;@&quot; &quot;">
                  <c:v>0</c:v>
                </c:pt>
                <c:pt idx="4886" formatCode="#,##0_);\(#,##0\);&quot;-  &quot;;&quot; &quot;@&quot; &quot;">
                  <c:v>0</c:v>
                </c:pt>
                <c:pt idx="4887" formatCode="#,##0_);\(#,##0\);&quot;-  &quot;;&quot; &quot;@&quot; &quot;">
                  <c:v>0</c:v>
                </c:pt>
                <c:pt idx="4888" formatCode="#,##0_);\(#,##0\);&quot;-  &quot;;&quot; &quot;@&quot; &quot;">
                  <c:v>0</c:v>
                </c:pt>
                <c:pt idx="4889" formatCode="#,##0_);\(#,##0\);&quot;-  &quot;;&quot; &quot;@&quot; &quot;">
                  <c:v>0</c:v>
                </c:pt>
                <c:pt idx="4890" formatCode="#,##0_);\(#,##0\);&quot;-  &quot;;&quot; &quot;@&quot; &quot;">
                  <c:v>0</c:v>
                </c:pt>
                <c:pt idx="4891" formatCode="#,##0_);\(#,##0\);&quot;-  &quot;;&quot; &quot;@&quot; &quot;">
                  <c:v>0</c:v>
                </c:pt>
                <c:pt idx="4892" formatCode="#,##0_);\(#,##0\);&quot;-  &quot;;&quot; &quot;@&quot; &quot;">
                  <c:v>0</c:v>
                </c:pt>
                <c:pt idx="4893" formatCode="#,##0_);\(#,##0\);&quot;-  &quot;;&quot; &quot;@&quot; &quot;">
                  <c:v>0</c:v>
                </c:pt>
                <c:pt idx="4894" formatCode="#,##0_);\(#,##0\);&quot;-  &quot;;&quot; &quot;@&quot; &quot;">
                  <c:v>0</c:v>
                </c:pt>
                <c:pt idx="4895" formatCode="#,##0_);\(#,##0\);&quot;-  &quot;;&quot; &quot;@&quot; &quot;">
                  <c:v>0</c:v>
                </c:pt>
                <c:pt idx="4896" formatCode="#,##0_);\(#,##0\);&quot;-  &quot;;&quot; &quot;@&quot; &quot;">
                  <c:v>0</c:v>
                </c:pt>
                <c:pt idx="4897" formatCode="#,##0_);\(#,##0\);&quot;-  &quot;;&quot; &quot;@&quot; &quot;">
                  <c:v>0</c:v>
                </c:pt>
                <c:pt idx="4898" formatCode="#,##0_);\(#,##0\);&quot;-  &quot;;&quot; &quot;@&quot; &quot;">
                  <c:v>0</c:v>
                </c:pt>
                <c:pt idx="4899" formatCode="#,##0_);\(#,##0\);&quot;-  &quot;;&quot; &quot;@&quot; &quot;">
                  <c:v>0</c:v>
                </c:pt>
                <c:pt idx="4900" formatCode="#,##0_);\(#,##0\);&quot;-  &quot;;&quot; &quot;@&quot; &quot;">
                  <c:v>0</c:v>
                </c:pt>
                <c:pt idx="4901" formatCode="#,##0_);\(#,##0\);&quot;-  &quot;;&quot; &quot;@&quot; &quot;">
                  <c:v>0</c:v>
                </c:pt>
                <c:pt idx="4902" formatCode="#,##0_);\(#,##0\);&quot;-  &quot;;&quot; &quot;@&quot; &quot;">
                  <c:v>0</c:v>
                </c:pt>
                <c:pt idx="4903" formatCode="#,##0_);\(#,##0\);&quot;-  &quot;;&quot; &quot;@&quot; &quot;">
                  <c:v>0</c:v>
                </c:pt>
                <c:pt idx="4904" formatCode="#,##0_);\(#,##0\);&quot;-  &quot;;&quot; &quot;@&quot; &quot;">
                  <c:v>0</c:v>
                </c:pt>
                <c:pt idx="4905" formatCode="#,##0_);\(#,##0\);&quot;-  &quot;;&quot; &quot;@&quot; &quot;">
                  <c:v>0</c:v>
                </c:pt>
                <c:pt idx="4906" formatCode="#,##0_);\(#,##0\);&quot;-  &quot;;&quot; &quot;@&quot; &quot;">
                  <c:v>0</c:v>
                </c:pt>
                <c:pt idx="4907" formatCode="#,##0_);\(#,##0\);&quot;-  &quot;;&quot; &quot;@&quot; &quot;">
                  <c:v>0</c:v>
                </c:pt>
                <c:pt idx="4908" formatCode="#,##0_);\(#,##0\);&quot;-  &quot;;&quot; &quot;@&quot; &quot;">
                  <c:v>0</c:v>
                </c:pt>
                <c:pt idx="4909" formatCode="#,##0_);\(#,##0\);&quot;-  &quot;;&quot; &quot;@&quot; &quot;">
                  <c:v>0</c:v>
                </c:pt>
                <c:pt idx="4910" formatCode="#,##0_);\(#,##0\);&quot;-  &quot;;&quot; &quot;@&quot; &quot;">
                  <c:v>0</c:v>
                </c:pt>
                <c:pt idx="4911" formatCode="#,##0_);\(#,##0\);&quot;-  &quot;;&quot; &quot;@&quot; &quot;">
                  <c:v>0</c:v>
                </c:pt>
                <c:pt idx="4912" formatCode="#,##0_);\(#,##0\);&quot;-  &quot;;&quot; &quot;@&quot; &quot;">
                  <c:v>0</c:v>
                </c:pt>
                <c:pt idx="4913" formatCode="#,##0_);\(#,##0\);&quot;-  &quot;;&quot; &quot;@&quot; &quot;">
                  <c:v>0</c:v>
                </c:pt>
                <c:pt idx="4914" formatCode="#,##0_);\(#,##0\);&quot;-  &quot;;&quot; &quot;@&quot; &quot;">
                  <c:v>0</c:v>
                </c:pt>
                <c:pt idx="4915" formatCode="#,##0_);\(#,##0\);&quot;-  &quot;;&quot; &quot;@&quot; &quot;">
                  <c:v>0</c:v>
                </c:pt>
                <c:pt idx="4916" formatCode="#,##0_);\(#,##0\);&quot;-  &quot;;&quot; &quot;@&quot; &quot;">
                  <c:v>0</c:v>
                </c:pt>
                <c:pt idx="4917" formatCode="#,##0_);\(#,##0\);&quot;-  &quot;;&quot; &quot;@&quot; &quot;">
                  <c:v>0</c:v>
                </c:pt>
                <c:pt idx="4918" formatCode="#,##0_);\(#,##0\);&quot;-  &quot;;&quot; &quot;@&quot; &quot;">
                  <c:v>0</c:v>
                </c:pt>
                <c:pt idx="4919" formatCode="#,##0_);\(#,##0\);&quot;-  &quot;;&quot; &quot;@&quot; &quot;">
                  <c:v>0</c:v>
                </c:pt>
                <c:pt idx="4920" formatCode="#,##0_);\(#,##0\);&quot;-  &quot;;&quot; &quot;@&quot; &quot;">
                  <c:v>0</c:v>
                </c:pt>
                <c:pt idx="4921" formatCode="#,##0_);\(#,##0\);&quot;-  &quot;;&quot; &quot;@&quot; &quot;">
                  <c:v>0</c:v>
                </c:pt>
                <c:pt idx="4922" formatCode="#,##0_);\(#,##0\);&quot;-  &quot;;&quot; &quot;@&quot; &quot;">
                  <c:v>0</c:v>
                </c:pt>
                <c:pt idx="4923" formatCode="#,##0_);\(#,##0\);&quot;-  &quot;;&quot; &quot;@&quot; &quot;">
                  <c:v>0</c:v>
                </c:pt>
                <c:pt idx="4924" formatCode="#,##0_);\(#,##0\);&quot;-  &quot;;&quot; &quot;@&quot; &quot;">
                  <c:v>0</c:v>
                </c:pt>
                <c:pt idx="4925" formatCode="#,##0_);\(#,##0\);&quot;-  &quot;;&quot; &quot;@&quot; &quot;">
                  <c:v>0</c:v>
                </c:pt>
                <c:pt idx="4926" formatCode="#,##0_);\(#,##0\);&quot;-  &quot;;&quot; &quot;@&quot; &quot;">
                  <c:v>0</c:v>
                </c:pt>
                <c:pt idx="4927" formatCode="#,##0_);\(#,##0\);&quot;-  &quot;;&quot; &quot;@&quot; &quot;">
                  <c:v>0</c:v>
                </c:pt>
                <c:pt idx="4928" formatCode="#,##0_);\(#,##0\);&quot;-  &quot;;&quot; &quot;@&quot; &quot;">
                  <c:v>0</c:v>
                </c:pt>
                <c:pt idx="4929" formatCode="#,##0_);\(#,##0\);&quot;-  &quot;;&quot; &quot;@&quot; &quot;">
                  <c:v>0</c:v>
                </c:pt>
                <c:pt idx="4930" formatCode="#,##0_);\(#,##0\);&quot;-  &quot;;&quot; &quot;@&quot; &quot;">
                  <c:v>0</c:v>
                </c:pt>
                <c:pt idx="4931" formatCode="#,##0_);\(#,##0\);&quot;-  &quot;;&quot; &quot;@&quot; &quot;">
                  <c:v>0</c:v>
                </c:pt>
                <c:pt idx="4932" formatCode="#,##0_);\(#,##0\);&quot;-  &quot;;&quot; &quot;@&quot; &quot;">
                  <c:v>0</c:v>
                </c:pt>
                <c:pt idx="4933" formatCode="#,##0_);\(#,##0\);&quot;-  &quot;;&quot; &quot;@&quot; &quot;">
                  <c:v>0</c:v>
                </c:pt>
                <c:pt idx="4934" formatCode="#,##0_);\(#,##0\);&quot;-  &quot;;&quot; &quot;@&quot; &quot;">
                  <c:v>0</c:v>
                </c:pt>
                <c:pt idx="4935" formatCode="#,##0_);\(#,##0\);&quot;-  &quot;;&quot; &quot;@&quot; &quot;">
                  <c:v>0</c:v>
                </c:pt>
                <c:pt idx="4936" formatCode="#,##0_);\(#,##0\);&quot;-  &quot;;&quot; &quot;@&quot; &quot;">
                  <c:v>0</c:v>
                </c:pt>
                <c:pt idx="4937" formatCode="#,##0_);\(#,##0\);&quot;-  &quot;;&quot; &quot;@&quot; &quot;">
                  <c:v>0</c:v>
                </c:pt>
                <c:pt idx="4938" formatCode="#,##0_);\(#,##0\);&quot;-  &quot;;&quot; &quot;@&quot; &quot;">
                  <c:v>0</c:v>
                </c:pt>
                <c:pt idx="4939" formatCode="#,##0_);\(#,##0\);&quot;-  &quot;;&quot; &quot;@&quot; &quot;">
                  <c:v>0</c:v>
                </c:pt>
                <c:pt idx="4940" formatCode="#,##0_);\(#,##0\);&quot;-  &quot;;&quot; &quot;@&quot; &quot;">
                  <c:v>0</c:v>
                </c:pt>
                <c:pt idx="4941" formatCode="#,##0_);\(#,##0\);&quot;-  &quot;;&quot; &quot;@&quot; &quot;">
                  <c:v>0</c:v>
                </c:pt>
                <c:pt idx="4942" formatCode="#,##0_);\(#,##0\);&quot;-  &quot;;&quot; &quot;@&quot; &quot;">
                  <c:v>0</c:v>
                </c:pt>
                <c:pt idx="4943" formatCode="#,##0_);\(#,##0\);&quot;-  &quot;;&quot; &quot;@&quot; &quot;">
                  <c:v>0</c:v>
                </c:pt>
                <c:pt idx="4944" formatCode="#,##0_);\(#,##0\);&quot;-  &quot;;&quot; &quot;@&quot; &quot;">
                  <c:v>0</c:v>
                </c:pt>
                <c:pt idx="4945" formatCode="#,##0_);\(#,##0\);&quot;-  &quot;;&quot; &quot;@&quot; &quot;">
                  <c:v>0</c:v>
                </c:pt>
                <c:pt idx="4946" formatCode="#,##0_);\(#,##0\);&quot;-  &quot;;&quot; &quot;@&quot; &quot;">
                  <c:v>0</c:v>
                </c:pt>
                <c:pt idx="4947" formatCode="#,##0_);\(#,##0\);&quot;-  &quot;;&quot; &quot;@&quot; &quot;">
                  <c:v>0</c:v>
                </c:pt>
                <c:pt idx="4948" formatCode="#,##0_);\(#,##0\);&quot;-  &quot;;&quot; &quot;@&quot; &quot;">
                  <c:v>0</c:v>
                </c:pt>
                <c:pt idx="4949" formatCode="#,##0_);\(#,##0\);&quot;-  &quot;;&quot; &quot;@&quot; &quot;">
                  <c:v>0</c:v>
                </c:pt>
                <c:pt idx="4950" formatCode="#,##0_);\(#,##0\);&quot;-  &quot;;&quot; &quot;@&quot; &quot;">
                  <c:v>0</c:v>
                </c:pt>
                <c:pt idx="4951" formatCode="#,##0_);\(#,##0\);&quot;-  &quot;;&quot; &quot;@&quot; &quot;">
                  <c:v>0</c:v>
                </c:pt>
                <c:pt idx="4952" formatCode="#,##0_);\(#,##0\);&quot;-  &quot;;&quot; &quot;@&quot; &quot;">
                  <c:v>0</c:v>
                </c:pt>
                <c:pt idx="4953" formatCode="#,##0_);\(#,##0\);&quot;-  &quot;;&quot; &quot;@&quot; &quot;">
                  <c:v>0</c:v>
                </c:pt>
                <c:pt idx="4954" formatCode="#,##0_);\(#,##0\);&quot;-  &quot;;&quot; &quot;@&quot; &quot;">
                  <c:v>0</c:v>
                </c:pt>
                <c:pt idx="4955" formatCode="#,##0_);\(#,##0\);&quot;-  &quot;;&quot; &quot;@&quot; &quot;">
                  <c:v>0</c:v>
                </c:pt>
                <c:pt idx="4956" formatCode="#,##0_);\(#,##0\);&quot;-  &quot;;&quot; &quot;@&quot; &quot;">
                  <c:v>0</c:v>
                </c:pt>
                <c:pt idx="4957" formatCode="#,##0_);\(#,##0\);&quot;-  &quot;;&quot; &quot;@&quot; &quot;">
                  <c:v>0</c:v>
                </c:pt>
                <c:pt idx="4958" formatCode="#,##0_);\(#,##0\);&quot;-  &quot;;&quot; &quot;@&quot; &quot;">
                  <c:v>0</c:v>
                </c:pt>
                <c:pt idx="4959" formatCode="#,##0_);\(#,##0\);&quot;-  &quot;;&quot; &quot;@&quot; &quot;">
                  <c:v>0</c:v>
                </c:pt>
                <c:pt idx="4960" formatCode="#,##0_);\(#,##0\);&quot;-  &quot;;&quot; &quot;@&quot; &quot;">
                  <c:v>0</c:v>
                </c:pt>
                <c:pt idx="4961" formatCode="#,##0_);\(#,##0\);&quot;-  &quot;;&quot; &quot;@&quot; &quot;">
                  <c:v>0</c:v>
                </c:pt>
                <c:pt idx="4962" formatCode="#,##0_);\(#,##0\);&quot;-  &quot;;&quot; &quot;@&quot; &quot;">
                  <c:v>0</c:v>
                </c:pt>
                <c:pt idx="4963" formatCode="#,##0_);\(#,##0\);&quot;-  &quot;;&quot; &quot;@&quot; &quot;">
                  <c:v>0</c:v>
                </c:pt>
                <c:pt idx="4964" formatCode="#,##0_);\(#,##0\);&quot;-  &quot;;&quot; &quot;@&quot; &quot;">
                  <c:v>0</c:v>
                </c:pt>
                <c:pt idx="4965" formatCode="#,##0_);\(#,##0\);&quot;-  &quot;;&quot; &quot;@&quot; &quot;">
                  <c:v>0</c:v>
                </c:pt>
                <c:pt idx="4966" formatCode="#,##0_);\(#,##0\);&quot;-  &quot;;&quot; &quot;@&quot; &quot;">
                  <c:v>0</c:v>
                </c:pt>
                <c:pt idx="4967" formatCode="#,##0_);\(#,##0\);&quot;-  &quot;;&quot; &quot;@&quot; &quot;">
                  <c:v>0</c:v>
                </c:pt>
                <c:pt idx="4968" formatCode="#,##0_);\(#,##0\);&quot;-  &quot;;&quot; &quot;@&quot; &quot;">
                  <c:v>0</c:v>
                </c:pt>
                <c:pt idx="4969" formatCode="#,##0_);\(#,##0\);&quot;-  &quot;;&quot; &quot;@&quot; &quot;">
                  <c:v>0</c:v>
                </c:pt>
                <c:pt idx="4970" formatCode="#,##0_);\(#,##0\);&quot;-  &quot;;&quot; &quot;@&quot; &quot;">
                  <c:v>0</c:v>
                </c:pt>
                <c:pt idx="4971" formatCode="#,##0_);\(#,##0\);&quot;-  &quot;;&quot; &quot;@&quot; &quot;">
                  <c:v>0</c:v>
                </c:pt>
                <c:pt idx="4972" formatCode="#,##0_);\(#,##0\);&quot;-  &quot;;&quot; &quot;@&quot; &quot;">
                  <c:v>0</c:v>
                </c:pt>
                <c:pt idx="4973" formatCode="#,##0_);\(#,##0\);&quot;-  &quot;;&quot; &quot;@&quot; &quot;">
                  <c:v>0</c:v>
                </c:pt>
                <c:pt idx="4974" formatCode="#,##0_);\(#,##0\);&quot;-  &quot;;&quot; &quot;@&quot; &quot;">
                  <c:v>0</c:v>
                </c:pt>
                <c:pt idx="4975" formatCode="#,##0_);\(#,##0\);&quot;-  &quot;;&quot; &quot;@&quot; &quot;">
                  <c:v>0</c:v>
                </c:pt>
                <c:pt idx="4976" formatCode="#,##0_);\(#,##0\);&quot;-  &quot;;&quot; &quot;@&quot; &quot;">
                  <c:v>0</c:v>
                </c:pt>
                <c:pt idx="4977" formatCode="#,##0_);\(#,##0\);&quot;-  &quot;;&quot; &quot;@&quot; &quot;">
                  <c:v>0</c:v>
                </c:pt>
                <c:pt idx="4978" formatCode="#,##0_);\(#,##0\);&quot;-  &quot;;&quot; &quot;@&quot; &quot;">
                  <c:v>0</c:v>
                </c:pt>
                <c:pt idx="4979" formatCode="#,##0_);\(#,##0\);&quot;-  &quot;;&quot; &quot;@&quot; &quot;">
                  <c:v>0</c:v>
                </c:pt>
                <c:pt idx="4980" formatCode="#,##0_);\(#,##0\);&quot;-  &quot;;&quot; &quot;@&quot; &quot;">
                  <c:v>0</c:v>
                </c:pt>
                <c:pt idx="4981" formatCode="#,##0_);\(#,##0\);&quot;-  &quot;;&quot; &quot;@&quot; &quot;">
                  <c:v>0</c:v>
                </c:pt>
                <c:pt idx="4982" formatCode="#,##0_);\(#,##0\);&quot;-  &quot;;&quot; &quot;@&quot; &quot;">
                  <c:v>0</c:v>
                </c:pt>
                <c:pt idx="4983" formatCode="#,##0_);\(#,##0\);&quot;-  &quot;;&quot; &quot;@&quot; &quot;">
                  <c:v>0</c:v>
                </c:pt>
                <c:pt idx="4984" formatCode="#,##0_);\(#,##0\);&quot;-  &quot;;&quot; &quot;@&quot; &quot;">
                  <c:v>0</c:v>
                </c:pt>
                <c:pt idx="4985" formatCode="#,##0_);\(#,##0\);&quot;-  &quot;;&quot; &quot;@&quot; &quot;">
                  <c:v>0</c:v>
                </c:pt>
                <c:pt idx="4986" formatCode="#,##0_);\(#,##0\);&quot;-  &quot;;&quot; &quot;@&quot; &quot;">
                  <c:v>0</c:v>
                </c:pt>
                <c:pt idx="4987" formatCode="#,##0_);\(#,##0\);&quot;-  &quot;;&quot; &quot;@&quot; &quot;">
                  <c:v>0</c:v>
                </c:pt>
                <c:pt idx="4988" formatCode="#,##0_);\(#,##0\);&quot;-  &quot;;&quot; &quot;@&quot; &quot;">
                  <c:v>0</c:v>
                </c:pt>
                <c:pt idx="4989" formatCode="#,##0_);\(#,##0\);&quot;-  &quot;;&quot; &quot;@&quot; &quot;">
                  <c:v>0</c:v>
                </c:pt>
                <c:pt idx="4990" formatCode="#,##0_);\(#,##0\);&quot;-  &quot;;&quot; &quot;@&quot; &quot;">
                  <c:v>0</c:v>
                </c:pt>
                <c:pt idx="4991" formatCode="#,##0_);\(#,##0\);&quot;-  &quot;;&quot; &quot;@&quot; &quot;">
                  <c:v>0</c:v>
                </c:pt>
                <c:pt idx="4992" formatCode="#,##0_);\(#,##0\);&quot;-  &quot;;&quot; &quot;@&quot; &quot;">
                  <c:v>0</c:v>
                </c:pt>
                <c:pt idx="4993" formatCode="#,##0_);\(#,##0\);&quot;-  &quot;;&quot; &quot;@&quot; &quot;">
                  <c:v>0</c:v>
                </c:pt>
                <c:pt idx="4994" formatCode="#,##0_);\(#,##0\);&quot;-  &quot;;&quot; &quot;@&quot; &quot;">
                  <c:v>0</c:v>
                </c:pt>
                <c:pt idx="4995" formatCode="#,##0_);\(#,##0\);&quot;-  &quot;;&quot; &quot;@&quot; &quot;">
                  <c:v>0</c:v>
                </c:pt>
                <c:pt idx="4996" formatCode="#,##0_);\(#,##0\);&quot;-  &quot;;&quot; &quot;@&quot; &quot;">
                  <c:v>0</c:v>
                </c:pt>
                <c:pt idx="4997" formatCode="#,##0_);\(#,##0\);&quot;-  &quot;;&quot; &quot;@&quot; &quot;">
                  <c:v>0</c:v>
                </c:pt>
                <c:pt idx="4998" formatCode="#,##0_);\(#,##0\);&quot;-  &quot;;&quot; &quot;@&quot; &quot;">
                  <c:v>0</c:v>
                </c:pt>
                <c:pt idx="4999" formatCode="#,##0_);\(#,##0\);&quot;-  &quot;;&quot; &quot;@&quot; &quot;">
                  <c:v>0</c:v>
                </c:pt>
                <c:pt idx="5000" formatCode="#,##0_);\(#,##0\);&quot;-  &quot;;&quot; &quot;@&quot; &quot;">
                  <c:v>0</c:v>
                </c:pt>
                <c:pt idx="5001" formatCode="#,##0_);\(#,##0\);&quot;-  &quot;;&quot; &quot;@&quot; &quot;">
                  <c:v>0</c:v>
                </c:pt>
                <c:pt idx="5002" formatCode="#,##0_);\(#,##0\);&quot;-  &quot;;&quot; &quot;@&quot; &quot;">
                  <c:v>0</c:v>
                </c:pt>
                <c:pt idx="5003" formatCode="#,##0_);\(#,##0\);&quot;-  &quot;;&quot; &quot;@&quot; &quot;">
                  <c:v>0</c:v>
                </c:pt>
                <c:pt idx="5004" formatCode="#,##0_);\(#,##0\);&quot;-  &quot;;&quot; &quot;@&quot; &quot;">
                  <c:v>0</c:v>
                </c:pt>
                <c:pt idx="5005" formatCode="#,##0_);\(#,##0\);&quot;-  &quot;;&quot; &quot;@&quot; &quot;">
                  <c:v>0</c:v>
                </c:pt>
                <c:pt idx="5006" formatCode="#,##0_);\(#,##0\);&quot;-  &quot;;&quot; &quot;@&quot; &quot;">
                  <c:v>0</c:v>
                </c:pt>
                <c:pt idx="5007" formatCode="#,##0_);\(#,##0\);&quot;-  &quot;;&quot; &quot;@&quot; &quot;">
                  <c:v>0</c:v>
                </c:pt>
                <c:pt idx="5008" formatCode="#,##0_);\(#,##0\);&quot;-  &quot;;&quot; &quot;@&quot; &quot;">
                  <c:v>0</c:v>
                </c:pt>
                <c:pt idx="5009" formatCode="#,##0_);\(#,##0\);&quot;-  &quot;;&quot; &quot;@&quot; &quot;">
                  <c:v>0</c:v>
                </c:pt>
                <c:pt idx="5010" formatCode="#,##0_);\(#,##0\);&quot;-  &quot;;&quot; &quot;@&quot; &quot;">
                  <c:v>0</c:v>
                </c:pt>
                <c:pt idx="5011" formatCode="#,##0_);\(#,##0\);&quot;-  &quot;;&quot; &quot;@&quot; &quot;">
                  <c:v>0</c:v>
                </c:pt>
                <c:pt idx="5012" formatCode="#,##0_);\(#,##0\);&quot;-  &quot;;&quot; &quot;@&quot; &quot;">
                  <c:v>0</c:v>
                </c:pt>
                <c:pt idx="5013" formatCode="#,##0_);\(#,##0\);&quot;-  &quot;;&quot; &quot;@&quot; &quot;">
                  <c:v>0</c:v>
                </c:pt>
                <c:pt idx="5014" formatCode="#,##0_);\(#,##0\);&quot;-  &quot;;&quot; &quot;@&quot; &quot;">
                  <c:v>0</c:v>
                </c:pt>
                <c:pt idx="5015" formatCode="#,##0_);\(#,##0\);&quot;-  &quot;;&quot; &quot;@&quot; &quot;">
                  <c:v>0</c:v>
                </c:pt>
                <c:pt idx="5016" formatCode="#,##0_);\(#,##0\);&quot;-  &quot;;&quot; &quot;@&quot; &quot;">
                  <c:v>0</c:v>
                </c:pt>
                <c:pt idx="5017" formatCode="#,##0_);\(#,##0\);&quot;-  &quot;;&quot; &quot;@&quot; &quot;">
                  <c:v>0</c:v>
                </c:pt>
                <c:pt idx="5018" formatCode="#,##0_);\(#,##0\);&quot;-  &quot;;&quot; &quot;@&quot; &quot;">
                  <c:v>0</c:v>
                </c:pt>
                <c:pt idx="5019" formatCode="#,##0_);\(#,##0\);&quot;-  &quot;;&quot; &quot;@&quot; &quot;">
                  <c:v>0</c:v>
                </c:pt>
                <c:pt idx="5020" formatCode="#,##0_);\(#,##0\);&quot;-  &quot;;&quot; &quot;@&quot; &quot;">
                  <c:v>0</c:v>
                </c:pt>
                <c:pt idx="5021" formatCode="#,##0_);\(#,##0\);&quot;-  &quot;;&quot; &quot;@&quot; &quot;">
                  <c:v>0</c:v>
                </c:pt>
                <c:pt idx="5022" formatCode="#,##0_);\(#,##0\);&quot;-  &quot;;&quot; &quot;@&quot; &quot;">
                  <c:v>0</c:v>
                </c:pt>
                <c:pt idx="5023" formatCode="#,##0_);\(#,##0\);&quot;-  &quot;;&quot; &quot;@&quot; &quot;">
                  <c:v>0</c:v>
                </c:pt>
                <c:pt idx="5024" formatCode="#,##0_);\(#,##0\);&quot;-  &quot;;&quot; &quot;@&quot; &quot;">
                  <c:v>0</c:v>
                </c:pt>
                <c:pt idx="5025" formatCode="#,##0_);\(#,##0\);&quot;-  &quot;;&quot; &quot;@&quot; &quot;">
                  <c:v>0</c:v>
                </c:pt>
                <c:pt idx="5026" formatCode="#,##0_);\(#,##0\);&quot;-  &quot;;&quot; &quot;@&quot; &quot;">
                  <c:v>0</c:v>
                </c:pt>
                <c:pt idx="5027" formatCode="#,##0_);\(#,##0\);&quot;-  &quot;;&quot; &quot;@&quot; &quot;">
                  <c:v>0</c:v>
                </c:pt>
                <c:pt idx="5028" formatCode="#,##0_);\(#,##0\);&quot;-  &quot;;&quot; &quot;@&quot; &quot;">
                  <c:v>0</c:v>
                </c:pt>
                <c:pt idx="5029" formatCode="#,##0_);\(#,##0\);&quot;-  &quot;;&quot; &quot;@&quot; &quot;">
                  <c:v>0</c:v>
                </c:pt>
                <c:pt idx="5030" formatCode="#,##0_);\(#,##0\);&quot;-  &quot;;&quot; &quot;@&quot; &quot;">
                  <c:v>0</c:v>
                </c:pt>
                <c:pt idx="5031" formatCode="#,##0_);\(#,##0\);&quot;-  &quot;;&quot; &quot;@&quot; &quot;">
                  <c:v>0</c:v>
                </c:pt>
                <c:pt idx="5032" formatCode="#,##0_);\(#,##0\);&quot;-  &quot;;&quot; &quot;@&quot; &quot;">
                  <c:v>0</c:v>
                </c:pt>
                <c:pt idx="5033" formatCode="#,##0_);\(#,##0\);&quot;-  &quot;;&quot; &quot;@&quot; &quot;">
                  <c:v>0</c:v>
                </c:pt>
                <c:pt idx="5034" formatCode="#,##0_);\(#,##0\);&quot;-  &quot;;&quot; &quot;@&quot; &quot;">
                  <c:v>0</c:v>
                </c:pt>
                <c:pt idx="5035" formatCode="#,##0_);\(#,##0\);&quot;-  &quot;;&quot; &quot;@&quot; &quot;">
                  <c:v>0</c:v>
                </c:pt>
                <c:pt idx="5036" formatCode="#,##0_);\(#,##0\);&quot;-  &quot;;&quot; &quot;@&quot; &quot;">
                  <c:v>0</c:v>
                </c:pt>
                <c:pt idx="5037" formatCode="#,##0_);\(#,##0\);&quot;-  &quot;;&quot; &quot;@&quot; &quot;">
                  <c:v>0</c:v>
                </c:pt>
                <c:pt idx="5038" formatCode="#,##0_);\(#,##0\);&quot;-  &quot;;&quot; &quot;@&quot; &quot;">
                  <c:v>0</c:v>
                </c:pt>
                <c:pt idx="5039" formatCode="#,##0_);\(#,##0\);&quot;-  &quot;;&quot; &quot;@&quot; &quot;">
                  <c:v>0</c:v>
                </c:pt>
                <c:pt idx="5040" formatCode="#,##0_);\(#,##0\);&quot;-  &quot;;&quot; &quot;@&quot; &quot;">
                  <c:v>0</c:v>
                </c:pt>
                <c:pt idx="5041" formatCode="#,##0_);\(#,##0\);&quot;-  &quot;;&quot; &quot;@&quot; &quot;">
                  <c:v>0</c:v>
                </c:pt>
                <c:pt idx="5042" formatCode="#,##0_);\(#,##0\);&quot;-  &quot;;&quot; &quot;@&quot; &quot;">
                  <c:v>0</c:v>
                </c:pt>
                <c:pt idx="5043" formatCode="#,##0_);\(#,##0\);&quot;-  &quot;;&quot; &quot;@&quot; &quot;">
                  <c:v>0</c:v>
                </c:pt>
                <c:pt idx="5044" formatCode="#,##0_);\(#,##0\);&quot;-  &quot;;&quot; &quot;@&quot; &quot;">
                  <c:v>0</c:v>
                </c:pt>
                <c:pt idx="5045" formatCode="#,##0_);\(#,##0\);&quot;-  &quot;;&quot; &quot;@&quot; &quot;">
                  <c:v>0</c:v>
                </c:pt>
                <c:pt idx="5046" formatCode="#,##0_);\(#,##0\);&quot;-  &quot;;&quot; &quot;@&quot; &quot;">
                  <c:v>0</c:v>
                </c:pt>
                <c:pt idx="5047" formatCode="#,##0_);\(#,##0\);&quot;-  &quot;;&quot; &quot;@&quot; &quot;">
                  <c:v>0</c:v>
                </c:pt>
                <c:pt idx="5048" formatCode="#,##0_);\(#,##0\);&quot;-  &quot;;&quot; &quot;@&quot; &quot;">
                  <c:v>0</c:v>
                </c:pt>
                <c:pt idx="5049" formatCode="#,##0_);\(#,##0\);&quot;-  &quot;;&quot; &quot;@&quot; &quot;">
                  <c:v>0</c:v>
                </c:pt>
                <c:pt idx="5050" formatCode="#,##0_);\(#,##0\);&quot;-  &quot;;&quot; &quot;@&quot; &quot;">
                  <c:v>0</c:v>
                </c:pt>
                <c:pt idx="5051" formatCode="#,##0_);\(#,##0\);&quot;-  &quot;;&quot; &quot;@&quot; &quot;">
                  <c:v>0</c:v>
                </c:pt>
                <c:pt idx="5052" formatCode="#,##0_);\(#,##0\);&quot;-  &quot;;&quot; &quot;@&quot; &quot;">
                  <c:v>0</c:v>
                </c:pt>
                <c:pt idx="5053" formatCode="#,##0_);\(#,##0\);&quot;-  &quot;;&quot; &quot;@&quot; &quot;">
                  <c:v>0</c:v>
                </c:pt>
                <c:pt idx="5054" formatCode="#,##0_);\(#,##0\);&quot;-  &quot;;&quot; &quot;@&quot; &quot;">
                  <c:v>0</c:v>
                </c:pt>
                <c:pt idx="5055" formatCode="#,##0_);\(#,##0\);&quot;-  &quot;;&quot; &quot;@&quot; &quot;">
                  <c:v>0</c:v>
                </c:pt>
                <c:pt idx="5056" formatCode="#,##0_);\(#,##0\);&quot;-  &quot;;&quot; &quot;@&quot; &quot;">
                  <c:v>0</c:v>
                </c:pt>
                <c:pt idx="5057" formatCode="#,##0_);\(#,##0\);&quot;-  &quot;;&quot; &quot;@&quot; &quot;">
                  <c:v>0</c:v>
                </c:pt>
                <c:pt idx="5058" formatCode="#,##0_);\(#,##0\);&quot;-  &quot;;&quot; &quot;@&quot; &quot;">
                  <c:v>0</c:v>
                </c:pt>
                <c:pt idx="5059" formatCode="#,##0_);\(#,##0\);&quot;-  &quot;;&quot; &quot;@&quot; &quot;">
                  <c:v>0</c:v>
                </c:pt>
                <c:pt idx="5060" formatCode="#,##0_);\(#,##0\);&quot;-  &quot;;&quot; &quot;@&quot; &quot;">
                  <c:v>0</c:v>
                </c:pt>
                <c:pt idx="5061" formatCode="#,##0_);\(#,##0\);&quot;-  &quot;;&quot; &quot;@&quot; &quot;">
                  <c:v>0</c:v>
                </c:pt>
                <c:pt idx="5062" formatCode="#,##0_);\(#,##0\);&quot;-  &quot;;&quot; &quot;@&quot; &quot;">
                  <c:v>0</c:v>
                </c:pt>
                <c:pt idx="5063" formatCode="#,##0_);\(#,##0\);&quot;-  &quot;;&quot; &quot;@&quot; &quot;">
                  <c:v>0</c:v>
                </c:pt>
                <c:pt idx="5064" formatCode="#,##0_);\(#,##0\);&quot;-  &quot;;&quot; &quot;@&quot; &quot;">
                  <c:v>0</c:v>
                </c:pt>
                <c:pt idx="5065" formatCode="#,##0_);\(#,##0\);&quot;-  &quot;;&quot; &quot;@&quot; &quot;">
                  <c:v>0</c:v>
                </c:pt>
                <c:pt idx="5066" formatCode="#,##0_);\(#,##0\);&quot;-  &quot;;&quot; &quot;@&quot; &quot;">
                  <c:v>0</c:v>
                </c:pt>
                <c:pt idx="5067" formatCode="#,##0_);\(#,##0\);&quot;-  &quot;;&quot; &quot;@&quot; &quot;">
                  <c:v>0</c:v>
                </c:pt>
                <c:pt idx="5068" formatCode="#,##0_);\(#,##0\);&quot;-  &quot;;&quot; &quot;@&quot; &quot;">
                  <c:v>0</c:v>
                </c:pt>
                <c:pt idx="5069" formatCode="#,##0_);\(#,##0\);&quot;-  &quot;;&quot; &quot;@&quot; &quot;">
                  <c:v>0</c:v>
                </c:pt>
                <c:pt idx="5070" formatCode="#,##0_);\(#,##0\);&quot;-  &quot;;&quot; &quot;@&quot; &quot;">
                  <c:v>0</c:v>
                </c:pt>
                <c:pt idx="5071" formatCode="#,##0_);\(#,##0\);&quot;-  &quot;;&quot; &quot;@&quot; &quot;">
                  <c:v>0</c:v>
                </c:pt>
                <c:pt idx="5072" formatCode="#,##0_);\(#,##0\);&quot;-  &quot;;&quot; &quot;@&quot; &quot;">
                  <c:v>0</c:v>
                </c:pt>
                <c:pt idx="5073" formatCode="#,##0_);\(#,##0\);&quot;-  &quot;;&quot; &quot;@&quot; &quot;">
                  <c:v>0</c:v>
                </c:pt>
                <c:pt idx="5074" formatCode="#,##0_);\(#,##0\);&quot;-  &quot;;&quot; &quot;@&quot; &quot;">
                  <c:v>0</c:v>
                </c:pt>
                <c:pt idx="5075" formatCode="#,##0_);\(#,##0\);&quot;-  &quot;;&quot; &quot;@&quot; &quot;">
                  <c:v>0</c:v>
                </c:pt>
                <c:pt idx="5076" formatCode="#,##0_);\(#,##0\);&quot;-  &quot;;&quot; &quot;@&quot; &quot;">
                  <c:v>0</c:v>
                </c:pt>
                <c:pt idx="5077" formatCode="#,##0_);\(#,##0\);&quot;-  &quot;;&quot; &quot;@&quot; &quot;">
                  <c:v>0</c:v>
                </c:pt>
                <c:pt idx="5078" formatCode="#,##0_);\(#,##0\);&quot;-  &quot;;&quot; &quot;@&quot; &quot;">
                  <c:v>0</c:v>
                </c:pt>
                <c:pt idx="5079" formatCode="#,##0_);\(#,##0\);&quot;-  &quot;;&quot; &quot;@&quot; &quot;">
                  <c:v>0</c:v>
                </c:pt>
                <c:pt idx="5080" formatCode="#,##0_);\(#,##0\);&quot;-  &quot;;&quot; &quot;@&quot; &quot;">
                  <c:v>0</c:v>
                </c:pt>
                <c:pt idx="5081" formatCode="#,##0_);\(#,##0\);&quot;-  &quot;;&quot; &quot;@&quot; &quot;">
                  <c:v>0</c:v>
                </c:pt>
                <c:pt idx="5082" formatCode="#,##0_);\(#,##0\);&quot;-  &quot;;&quot; &quot;@&quot; &quot;">
                  <c:v>0</c:v>
                </c:pt>
                <c:pt idx="5083" formatCode="#,##0_);\(#,##0\);&quot;-  &quot;;&quot; &quot;@&quot; &quot;">
                  <c:v>0</c:v>
                </c:pt>
                <c:pt idx="5084" formatCode="#,##0_);\(#,##0\);&quot;-  &quot;;&quot; &quot;@&quot; &quot;">
                  <c:v>0</c:v>
                </c:pt>
                <c:pt idx="5085" formatCode="#,##0_);\(#,##0\);&quot;-  &quot;;&quot; &quot;@&quot; &quot;">
                  <c:v>0</c:v>
                </c:pt>
                <c:pt idx="5086" formatCode="#,##0_);\(#,##0\);&quot;-  &quot;;&quot; &quot;@&quot; &quot;">
                  <c:v>0</c:v>
                </c:pt>
                <c:pt idx="5087" formatCode="#,##0_);\(#,##0\);&quot;-  &quot;;&quot; &quot;@&quot; &quot;">
                  <c:v>0</c:v>
                </c:pt>
                <c:pt idx="5088" formatCode="#,##0_);\(#,##0\);&quot;-  &quot;;&quot; &quot;@&quot; &quot;">
                  <c:v>0</c:v>
                </c:pt>
                <c:pt idx="5089" formatCode="#,##0_);\(#,##0\);&quot;-  &quot;;&quot; &quot;@&quot; &quot;">
                  <c:v>0</c:v>
                </c:pt>
                <c:pt idx="5090" formatCode="#,##0_);\(#,##0\);&quot;-  &quot;;&quot; &quot;@&quot; &quot;">
                  <c:v>0</c:v>
                </c:pt>
                <c:pt idx="5091" formatCode="#,##0_);\(#,##0\);&quot;-  &quot;;&quot; &quot;@&quot; &quot;">
                  <c:v>0</c:v>
                </c:pt>
                <c:pt idx="5092" formatCode="#,##0_);\(#,##0\);&quot;-  &quot;;&quot; &quot;@&quot; &quot;">
                  <c:v>0</c:v>
                </c:pt>
                <c:pt idx="5093" formatCode="#,##0_);\(#,##0\);&quot;-  &quot;;&quot; &quot;@&quot; &quot;">
                  <c:v>0</c:v>
                </c:pt>
                <c:pt idx="5094" formatCode="#,##0_);\(#,##0\);&quot;-  &quot;;&quot; &quot;@&quot; &quot;">
                  <c:v>0</c:v>
                </c:pt>
                <c:pt idx="5095" formatCode="#,##0_);\(#,##0\);&quot;-  &quot;;&quot; &quot;@&quot; &quot;">
                  <c:v>0</c:v>
                </c:pt>
                <c:pt idx="5096" formatCode="#,##0_);\(#,##0\);&quot;-  &quot;;&quot; &quot;@&quot; &quot;">
                  <c:v>0</c:v>
                </c:pt>
                <c:pt idx="5097" formatCode="#,##0_);\(#,##0\);&quot;-  &quot;;&quot; &quot;@&quot; &quot;">
                  <c:v>0</c:v>
                </c:pt>
                <c:pt idx="5098" formatCode="#,##0_);\(#,##0\);&quot;-  &quot;;&quot; &quot;@&quot; &quot;">
                  <c:v>0</c:v>
                </c:pt>
                <c:pt idx="5099" formatCode="#,##0_);\(#,##0\);&quot;-  &quot;;&quot; &quot;@&quot; &quot;">
                  <c:v>0</c:v>
                </c:pt>
                <c:pt idx="5100" formatCode="#,##0_);\(#,##0\);&quot;-  &quot;;&quot; &quot;@&quot; &quot;">
                  <c:v>0</c:v>
                </c:pt>
                <c:pt idx="5101" formatCode="#,##0_);\(#,##0\);&quot;-  &quot;;&quot; &quot;@&quot; &quot;">
                  <c:v>0</c:v>
                </c:pt>
                <c:pt idx="5102" formatCode="#,##0_);\(#,##0\);&quot;-  &quot;;&quot; &quot;@&quot; &quot;">
                  <c:v>0</c:v>
                </c:pt>
                <c:pt idx="5103" formatCode="#,##0_);\(#,##0\);&quot;-  &quot;;&quot; &quot;@&quot; &quot;">
                  <c:v>0</c:v>
                </c:pt>
                <c:pt idx="5104" formatCode="#,##0_);\(#,##0\);&quot;-  &quot;;&quot; &quot;@&quot; &quot;">
                  <c:v>0</c:v>
                </c:pt>
                <c:pt idx="5105" formatCode="#,##0_);\(#,##0\);&quot;-  &quot;;&quot; &quot;@&quot; &quot;">
                  <c:v>0</c:v>
                </c:pt>
                <c:pt idx="5106" formatCode="#,##0_);\(#,##0\);&quot;-  &quot;;&quot; &quot;@&quot; &quot;">
                  <c:v>0</c:v>
                </c:pt>
                <c:pt idx="5107" formatCode="#,##0_);\(#,##0\);&quot;-  &quot;;&quot; &quot;@&quot; &quot;">
                  <c:v>0</c:v>
                </c:pt>
                <c:pt idx="5108" formatCode="#,##0_);\(#,##0\);&quot;-  &quot;;&quot; &quot;@&quot; &quot;">
                  <c:v>0</c:v>
                </c:pt>
                <c:pt idx="5109" formatCode="#,##0_);\(#,##0\);&quot;-  &quot;;&quot; &quot;@&quot; &quot;">
                  <c:v>0</c:v>
                </c:pt>
                <c:pt idx="5110" formatCode="#,##0_);\(#,##0\);&quot;-  &quot;;&quot; &quot;@&quot; &quot;">
                  <c:v>0</c:v>
                </c:pt>
                <c:pt idx="5111" formatCode="#,##0_);\(#,##0\);&quot;-  &quot;;&quot; &quot;@&quot; &quot;">
                  <c:v>0</c:v>
                </c:pt>
                <c:pt idx="5112" formatCode="#,##0_);\(#,##0\);&quot;-  &quot;;&quot; &quot;@&quot; &quot;">
                  <c:v>0</c:v>
                </c:pt>
                <c:pt idx="5113" formatCode="#,##0_);\(#,##0\);&quot;-  &quot;;&quot; &quot;@&quot; &quot;">
                  <c:v>0</c:v>
                </c:pt>
                <c:pt idx="5114" formatCode="#,##0_);\(#,##0\);&quot;-  &quot;;&quot; &quot;@&quot; &quot;">
                  <c:v>0</c:v>
                </c:pt>
                <c:pt idx="5115" formatCode="#,##0_);\(#,##0\);&quot;-  &quot;;&quot; &quot;@&quot; &quot;">
                  <c:v>0</c:v>
                </c:pt>
                <c:pt idx="5116" formatCode="#,##0_);\(#,##0\);&quot;-  &quot;;&quot; &quot;@&quot; &quot;">
                  <c:v>0</c:v>
                </c:pt>
                <c:pt idx="5117" formatCode="#,##0_);\(#,##0\);&quot;-  &quot;;&quot; &quot;@&quot; &quot;">
                  <c:v>0</c:v>
                </c:pt>
                <c:pt idx="5118" formatCode="#,##0_);\(#,##0\);&quot;-  &quot;;&quot; &quot;@&quot; &quot;">
                  <c:v>0</c:v>
                </c:pt>
                <c:pt idx="5119" formatCode="#,##0_);\(#,##0\);&quot;-  &quot;;&quot; &quot;@&quot; &quot;">
                  <c:v>0</c:v>
                </c:pt>
                <c:pt idx="5120" formatCode="#,##0_);\(#,##0\);&quot;-  &quot;;&quot; &quot;@&quot; &quot;">
                  <c:v>0</c:v>
                </c:pt>
                <c:pt idx="5121" formatCode="#,##0_);\(#,##0\);&quot;-  &quot;;&quot; &quot;@&quot; &quot;">
                  <c:v>0</c:v>
                </c:pt>
                <c:pt idx="5122" formatCode="#,##0_);\(#,##0\);&quot;-  &quot;;&quot; &quot;@&quot; &quot;">
                  <c:v>0</c:v>
                </c:pt>
                <c:pt idx="5123" formatCode="#,##0_);\(#,##0\);&quot;-  &quot;;&quot; &quot;@&quot; &quot;">
                  <c:v>0</c:v>
                </c:pt>
                <c:pt idx="5124" formatCode="#,##0_);\(#,##0\);&quot;-  &quot;;&quot; &quot;@&quot; &quot;">
                  <c:v>0</c:v>
                </c:pt>
                <c:pt idx="5125" formatCode="#,##0_);\(#,##0\);&quot;-  &quot;;&quot; &quot;@&quot; &quot;">
                  <c:v>0</c:v>
                </c:pt>
                <c:pt idx="5126" formatCode="#,##0_);\(#,##0\);&quot;-  &quot;;&quot; &quot;@&quot; &quot;">
                  <c:v>0</c:v>
                </c:pt>
                <c:pt idx="5127" formatCode="#,##0_);\(#,##0\);&quot;-  &quot;;&quot; &quot;@&quot; &quot;">
                  <c:v>0</c:v>
                </c:pt>
                <c:pt idx="5128" formatCode="#,##0_);\(#,##0\);&quot;-  &quot;;&quot; &quot;@&quot; &quot;">
                  <c:v>0</c:v>
                </c:pt>
                <c:pt idx="5129" formatCode="#,##0_);\(#,##0\);&quot;-  &quot;;&quot; &quot;@&quot; &quot;">
                  <c:v>0</c:v>
                </c:pt>
                <c:pt idx="5130" formatCode="#,##0_);\(#,##0\);&quot;-  &quot;;&quot; &quot;@&quot; &quot;">
                  <c:v>0</c:v>
                </c:pt>
                <c:pt idx="5131" formatCode="#,##0_);\(#,##0\);&quot;-  &quot;;&quot; &quot;@&quot; &quot;">
                  <c:v>0</c:v>
                </c:pt>
                <c:pt idx="5132" formatCode="#,##0_);\(#,##0\);&quot;-  &quot;;&quot; &quot;@&quot; &quot;">
                  <c:v>0</c:v>
                </c:pt>
                <c:pt idx="5133" formatCode="#,##0_);\(#,##0\);&quot;-  &quot;;&quot; &quot;@&quot; &quot;">
                  <c:v>0</c:v>
                </c:pt>
                <c:pt idx="5134" formatCode="#,##0_);\(#,##0\);&quot;-  &quot;;&quot; &quot;@&quot; &quot;">
                  <c:v>0</c:v>
                </c:pt>
                <c:pt idx="5135" formatCode="#,##0_);\(#,##0\);&quot;-  &quot;;&quot; &quot;@&quot; &quot;">
                  <c:v>0</c:v>
                </c:pt>
                <c:pt idx="5136" formatCode="#,##0_);\(#,##0\);&quot;-  &quot;;&quot; &quot;@&quot; &quot;">
                  <c:v>0</c:v>
                </c:pt>
                <c:pt idx="5137" formatCode="#,##0_);\(#,##0\);&quot;-  &quot;;&quot; &quot;@&quot; &quot;">
                  <c:v>0</c:v>
                </c:pt>
                <c:pt idx="5138" formatCode="#,##0_);\(#,##0\);&quot;-  &quot;;&quot; &quot;@&quot; &quot;">
                  <c:v>0</c:v>
                </c:pt>
                <c:pt idx="5139" formatCode="#,##0_);\(#,##0\);&quot;-  &quot;;&quot; &quot;@&quot; &quot;">
                  <c:v>0</c:v>
                </c:pt>
                <c:pt idx="5140" formatCode="#,##0_);\(#,##0\);&quot;-  &quot;;&quot; &quot;@&quot; &quot;">
                  <c:v>0</c:v>
                </c:pt>
                <c:pt idx="5141" formatCode="#,##0_);\(#,##0\);&quot;-  &quot;;&quot; &quot;@&quot; &quot;">
                  <c:v>0</c:v>
                </c:pt>
                <c:pt idx="5142" formatCode="#,##0_);\(#,##0\);&quot;-  &quot;;&quot; &quot;@&quot; &quot;">
                  <c:v>0</c:v>
                </c:pt>
                <c:pt idx="5143" formatCode="#,##0_);\(#,##0\);&quot;-  &quot;;&quot; &quot;@&quot; &quot;">
                  <c:v>0</c:v>
                </c:pt>
                <c:pt idx="5144" formatCode="#,##0_);\(#,##0\);&quot;-  &quot;;&quot; &quot;@&quot; &quot;">
                  <c:v>0</c:v>
                </c:pt>
                <c:pt idx="5145" formatCode="#,##0_);\(#,##0\);&quot;-  &quot;;&quot; &quot;@&quot; &quot;">
                  <c:v>0</c:v>
                </c:pt>
                <c:pt idx="5146" formatCode="#,##0_);\(#,##0\);&quot;-  &quot;;&quot; &quot;@&quot; &quot;">
                  <c:v>0</c:v>
                </c:pt>
                <c:pt idx="5147" formatCode="#,##0_);\(#,##0\);&quot;-  &quot;;&quot; &quot;@&quot; &quot;">
                  <c:v>0</c:v>
                </c:pt>
                <c:pt idx="5148" formatCode="#,##0_);\(#,##0\);&quot;-  &quot;;&quot; &quot;@&quot; &quot;">
                  <c:v>0</c:v>
                </c:pt>
                <c:pt idx="5149" formatCode="#,##0_);\(#,##0\);&quot;-  &quot;;&quot; &quot;@&quot; &quot;">
                  <c:v>0</c:v>
                </c:pt>
                <c:pt idx="5150" formatCode="#,##0_);\(#,##0\);&quot;-  &quot;;&quot; &quot;@&quot; &quot;">
                  <c:v>0</c:v>
                </c:pt>
                <c:pt idx="5151" formatCode="#,##0_);\(#,##0\);&quot;-  &quot;;&quot; &quot;@&quot; &quot;">
                  <c:v>0</c:v>
                </c:pt>
                <c:pt idx="5152" formatCode="#,##0_);\(#,##0\);&quot;-  &quot;;&quot; &quot;@&quot; &quot;">
                  <c:v>0</c:v>
                </c:pt>
                <c:pt idx="5153" formatCode="#,##0_);\(#,##0\);&quot;-  &quot;;&quot; &quot;@&quot; &quot;">
                  <c:v>0</c:v>
                </c:pt>
                <c:pt idx="5154" formatCode="#,##0_);\(#,##0\);&quot;-  &quot;;&quot; &quot;@&quot; &quot;">
                  <c:v>0</c:v>
                </c:pt>
                <c:pt idx="5155" formatCode="#,##0_);\(#,##0\);&quot;-  &quot;;&quot; &quot;@&quot; &quot;">
                  <c:v>0</c:v>
                </c:pt>
                <c:pt idx="5156" formatCode="#,##0_);\(#,##0\);&quot;-  &quot;;&quot; &quot;@&quot; &quot;">
                  <c:v>0</c:v>
                </c:pt>
                <c:pt idx="5157" formatCode="#,##0_);\(#,##0\);&quot;-  &quot;;&quot; &quot;@&quot; &quot;">
                  <c:v>0</c:v>
                </c:pt>
                <c:pt idx="5158" formatCode="#,##0_);\(#,##0\);&quot;-  &quot;;&quot; &quot;@&quot; &quot;">
                  <c:v>0</c:v>
                </c:pt>
                <c:pt idx="5159" formatCode="#,##0_);\(#,##0\);&quot;-  &quot;;&quot; &quot;@&quot; &quot;">
                  <c:v>0</c:v>
                </c:pt>
                <c:pt idx="5160" formatCode="#,##0_);\(#,##0\);&quot;-  &quot;;&quot; &quot;@&quot; &quot;">
                  <c:v>0</c:v>
                </c:pt>
                <c:pt idx="5161" formatCode="#,##0_);\(#,##0\);&quot;-  &quot;;&quot; &quot;@&quot; &quot;">
                  <c:v>0</c:v>
                </c:pt>
                <c:pt idx="5162" formatCode="#,##0_);\(#,##0\);&quot;-  &quot;;&quot; &quot;@&quot; &quot;">
                  <c:v>0</c:v>
                </c:pt>
                <c:pt idx="5163" formatCode="#,##0_);\(#,##0\);&quot;-  &quot;;&quot; &quot;@&quot; &quot;">
                  <c:v>0</c:v>
                </c:pt>
                <c:pt idx="5164" formatCode="#,##0_);\(#,##0\);&quot;-  &quot;;&quot; &quot;@&quot; &quot;">
                  <c:v>0</c:v>
                </c:pt>
                <c:pt idx="5165" formatCode="#,##0_);\(#,##0\);&quot;-  &quot;;&quot; &quot;@&quot; &quot;">
                  <c:v>0</c:v>
                </c:pt>
                <c:pt idx="5166" formatCode="#,##0_);\(#,##0\);&quot;-  &quot;;&quot; &quot;@&quot; &quot;">
                  <c:v>0</c:v>
                </c:pt>
                <c:pt idx="5167" formatCode="#,##0_);\(#,##0\);&quot;-  &quot;;&quot; &quot;@&quot; &quot;">
                  <c:v>0</c:v>
                </c:pt>
                <c:pt idx="5168" formatCode="#,##0_);\(#,##0\);&quot;-  &quot;;&quot; &quot;@&quot; &quot;">
                  <c:v>0</c:v>
                </c:pt>
                <c:pt idx="5169" formatCode="#,##0_);\(#,##0\);&quot;-  &quot;;&quot; &quot;@&quot; &quot;">
                  <c:v>0</c:v>
                </c:pt>
                <c:pt idx="5170" formatCode="#,##0_);\(#,##0\);&quot;-  &quot;;&quot; &quot;@&quot; &quot;">
                  <c:v>0</c:v>
                </c:pt>
                <c:pt idx="5171" formatCode="#,##0_);\(#,##0\);&quot;-  &quot;;&quot; &quot;@&quot; &quot;">
                  <c:v>0</c:v>
                </c:pt>
                <c:pt idx="5172" formatCode="#,##0_);\(#,##0\);&quot;-  &quot;;&quot; &quot;@&quot; &quot;">
                  <c:v>0</c:v>
                </c:pt>
                <c:pt idx="5173" formatCode="#,##0_);\(#,##0\);&quot;-  &quot;;&quot; &quot;@&quot; &quot;">
                  <c:v>0</c:v>
                </c:pt>
                <c:pt idx="5174" formatCode="#,##0_);\(#,##0\);&quot;-  &quot;;&quot; &quot;@&quot; &quot;">
                  <c:v>0</c:v>
                </c:pt>
                <c:pt idx="5175" formatCode="#,##0_);\(#,##0\);&quot;-  &quot;;&quot; &quot;@&quot; &quot;">
                  <c:v>0</c:v>
                </c:pt>
                <c:pt idx="5176" formatCode="#,##0_);\(#,##0\);&quot;-  &quot;;&quot; &quot;@&quot; &quot;">
                  <c:v>0</c:v>
                </c:pt>
                <c:pt idx="5177" formatCode="#,##0_);\(#,##0\);&quot;-  &quot;;&quot; &quot;@&quot; &quot;">
                  <c:v>0</c:v>
                </c:pt>
                <c:pt idx="5178" formatCode="#,##0_);\(#,##0\);&quot;-  &quot;;&quot; &quot;@&quot; &quot;">
                  <c:v>0</c:v>
                </c:pt>
                <c:pt idx="5179" formatCode="#,##0_);\(#,##0\);&quot;-  &quot;;&quot; &quot;@&quot; &quot;">
                  <c:v>0</c:v>
                </c:pt>
                <c:pt idx="5180" formatCode="#,##0_);\(#,##0\);&quot;-  &quot;;&quot; &quot;@&quot; &quot;">
                  <c:v>0</c:v>
                </c:pt>
                <c:pt idx="5181" formatCode="#,##0_);\(#,##0\);&quot;-  &quot;;&quot; &quot;@&quot; &quot;">
                  <c:v>0</c:v>
                </c:pt>
                <c:pt idx="5182" formatCode="#,##0_);\(#,##0\);&quot;-  &quot;;&quot; &quot;@&quot; &quot;">
                  <c:v>0</c:v>
                </c:pt>
                <c:pt idx="5183" formatCode="#,##0_);\(#,##0\);&quot;-  &quot;;&quot; &quot;@&quot; &quot;">
                  <c:v>0</c:v>
                </c:pt>
                <c:pt idx="5184" formatCode="#,##0_);\(#,##0\);&quot;-  &quot;;&quot; &quot;@&quot; &quot;">
                  <c:v>0</c:v>
                </c:pt>
                <c:pt idx="5185" formatCode="#,##0_);\(#,##0\);&quot;-  &quot;;&quot; &quot;@&quot; &quot;">
                  <c:v>0</c:v>
                </c:pt>
                <c:pt idx="5186" formatCode="#,##0_);\(#,##0\);&quot;-  &quot;;&quot; &quot;@&quot; &quot;">
                  <c:v>0</c:v>
                </c:pt>
                <c:pt idx="5187" formatCode="#,##0_);\(#,##0\);&quot;-  &quot;;&quot; &quot;@&quot; &quot;">
                  <c:v>0</c:v>
                </c:pt>
                <c:pt idx="5188" formatCode="#,##0_);\(#,##0\);&quot;-  &quot;;&quot; &quot;@&quot; &quot;">
                  <c:v>0</c:v>
                </c:pt>
                <c:pt idx="5189" formatCode="#,##0_);\(#,##0\);&quot;-  &quot;;&quot; &quot;@&quot; &quot;">
                  <c:v>0</c:v>
                </c:pt>
                <c:pt idx="5190" formatCode="#,##0_);\(#,##0\);&quot;-  &quot;;&quot; &quot;@&quot; &quot;">
                  <c:v>0</c:v>
                </c:pt>
                <c:pt idx="5191" formatCode="#,##0_);\(#,##0\);&quot;-  &quot;;&quot; &quot;@&quot; &quot;">
                  <c:v>0</c:v>
                </c:pt>
                <c:pt idx="5192" formatCode="#,##0_);\(#,##0\);&quot;-  &quot;;&quot; &quot;@&quot; &quot;">
                  <c:v>0</c:v>
                </c:pt>
                <c:pt idx="5193" formatCode="#,##0_);\(#,##0\);&quot;-  &quot;;&quot; &quot;@&quot; &quot;">
                  <c:v>0</c:v>
                </c:pt>
                <c:pt idx="5194" formatCode="#,##0_);\(#,##0\);&quot;-  &quot;;&quot; &quot;@&quot; &quot;">
                  <c:v>0</c:v>
                </c:pt>
                <c:pt idx="5195" formatCode="#,##0_);\(#,##0\);&quot;-  &quot;;&quot; &quot;@&quot; &quot;">
                  <c:v>0</c:v>
                </c:pt>
                <c:pt idx="5196" formatCode="#,##0_);\(#,##0\);&quot;-  &quot;;&quot; &quot;@&quot; &quot;">
                  <c:v>0</c:v>
                </c:pt>
                <c:pt idx="5197" formatCode="#,##0_);\(#,##0\);&quot;-  &quot;;&quot; &quot;@&quot; &quot;">
                  <c:v>0</c:v>
                </c:pt>
                <c:pt idx="5198" formatCode="#,##0_);\(#,##0\);&quot;-  &quot;;&quot; &quot;@&quot; &quot;">
                  <c:v>0</c:v>
                </c:pt>
                <c:pt idx="5199" formatCode="#,##0_);\(#,##0\);&quot;-  &quot;;&quot; &quot;@&quot; &quot;">
                  <c:v>0</c:v>
                </c:pt>
                <c:pt idx="5200" formatCode="#,##0_);\(#,##0\);&quot;-  &quot;;&quot; &quot;@&quot; &quot;">
                  <c:v>0</c:v>
                </c:pt>
                <c:pt idx="5201" formatCode="#,##0_);\(#,##0\);&quot;-  &quot;;&quot; &quot;@&quot; &quot;">
                  <c:v>0</c:v>
                </c:pt>
                <c:pt idx="5202" formatCode="#,##0_);\(#,##0\);&quot;-  &quot;;&quot; &quot;@&quot; &quot;">
                  <c:v>0</c:v>
                </c:pt>
                <c:pt idx="5203" formatCode="#,##0_);\(#,##0\);&quot;-  &quot;;&quot; &quot;@&quot; &quot;">
                  <c:v>0</c:v>
                </c:pt>
                <c:pt idx="5204" formatCode="#,##0_);\(#,##0\);&quot;-  &quot;;&quot; &quot;@&quot; &quot;">
                  <c:v>0</c:v>
                </c:pt>
                <c:pt idx="5205" formatCode="#,##0_);\(#,##0\);&quot;-  &quot;;&quot; &quot;@&quot; &quot;">
                  <c:v>0</c:v>
                </c:pt>
                <c:pt idx="5206" formatCode="#,##0_);\(#,##0\);&quot;-  &quot;;&quot; &quot;@&quot; &quot;">
                  <c:v>0</c:v>
                </c:pt>
                <c:pt idx="5207" formatCode="#,##0_);\(#,##0\);&quot;-  &quot;;&quot; &quot;@&quot; &quot;">
                  <c:v>0</c:v>
                </c:pt>
                <c:pt idx="5208" formatCode="#,##0_);\(#,##0\);&quot;-  &quot;;&quot; &quot;@&quot; &quot;">
                  <c:v>0</c:v>
                </c:pt>
                <c:pt idx="5209" formatCode="#,##0_);\(#,##0\);&quot;-  &quot;;&quot; &quot;@&quot; &quot;">
                  <c:v>0</c:v>
                </c:pt>
                <c:pt idx="5210" formatCode="#,##0_);\(#,##0\);&quot;-  &quot;;&quot; &quot;@&quot; &quot;">
                  <c:v>0</c:v>
                </c:pt>
                <c:pt idx="5211" formatCode="#,##0_);\(#,##0\);&quot;-  &quot;;&quot; &quot;@&quot; &quot;">
                  <c:v>0</c:v>
                </c:pt>
                <c:pt idx="5212" formatCode="#,##0_);\(#,##0\);&quot;-  &quot;;&quot; &quot;@&quot; &quot;">
                  <c:v>0</c:v>
                </c:pt>
                <c:pt idx="5213" formatCode="#,##0_);\(#,##0\);&quot;-  &quot;;&quot; &quot;@&quot; &quot;">
                  <c:v>0</c:v>
                </c:pt>
                <c:pt idx="5214" formatCode="#,##0_);\(#,##0\);&quot;-  &quot;;&quot; &quot;@&quot; &quot;">
                  <c:v>0</c:v>
                </c:pt>
                <c:pt idx="5215" formatCode="#,##0_);\(#,##0\);&quot;-  &quot;;&quot; &quot;@&quot; &quot;">
                  <c:v>0</c:v>
                </c:pt>
                <c:pt idx="5216" formatCode="#,##0_);\(#,##0\);&quot;-  &quot;;&quot; &quot;@&quot; &quot;">
                  <c:v>0</c:v>
                </c:pt>
                <c:pt idx="5217" formatCode="#,##0_);\(#,##0\);&quot;-  &quot;;&quot; &quot;@&quot; &quot;">
                  <c:v>0</c:v>
                </c:pt>
                <c:pt idx="5218" formatCode="#,##0_);\(#,##0\);&quot;-  &quot;;&quot; &quot;@&quot; &quot;">
                  <c:v>0</c:v>
                </c:pt>
                <c:pt idx="5219" formatCode="#,##0_);\(#,##0\);&quot;-  &quot;;&quot; &quot;@&quot; &quot;">
                  <c:v>0</c:v>
                </c:pt>
                <c:pt idx="5220" formatCode="#,##0_);\(#,##0\);&quot;-  &quot;;&quot; &quot;@&quot; &quot;">
                  <c:v>0</c:v>
                </c:pt>
                <c:pt idx="5221" formatCode="#,##0_);\(#,##0\);&quot;-  &quot;;&quot; &quot;@&quot; &quot;">
                  <c:v>0</c:v>
                </c:pt>
                <c:pt idx="5222" formatCode="#,##0_);\(#,##0\);&quot;-  &quot;;&quot; &quot;@&quot; &quot;">
                  <c:v>0</c:v>
                </c:pt>
                <c:pt idx="5223" formatCode="#,##0_);\(#,##0\);&quot;-  &quot;;&quot; &quot;@&quot; &quot;">
                  <c:v>0</c:v>
                </c:pt>
                <c:pt idx="5224" formatCode="#,##0_);\(#,##0\);&quot;-  &quot;;&quot; &quot;@&quot; &quot;">
                  <c:v>0</c:v>
                </c:pt>
                <c:pt idx="5225" formatCode="#,##0_);\(#,##0\);&quot;-  &quot;;&quot; &quot;@&quot; &quot;">
                  <c:v>0</c:v>
                </c:pt>
                <c:pt idx="5226" formatCode="#,##0_);\(#,##0\);&quot;-  &quot;;&quot; &quot;@&quot; &quot;">
                  <c:v>0</c:v>
                </c:pt>
                <c:pt idx="5227" formatCode="#,##0_);\(#,##0\);&quot;-  &quot;;&quot; &quot;@&quot; &quot;">
                  <c:v>0</c:v>
                </c:pt>
                <c:pt idx="5228" formatCode="#,##0_);\(#,##0\);&quot;-  &quot;;&quot; &quot;@&quot; &quot;">
                  <c:v>0</c:v>
                </c:pt>
                <c:pt idx="5229" formatCode="#,##0_);\(#,##0\);&quot;-  &quot;;&quot; &quot;@&quot; &quot;">
                  <c:v>0</c:v>
                </c:pt>
                <c:pt idx="5230" formatCode="#,##0_);\(#,##0\);&quot;-  &quot;;&quot; &quot;@&quot; &quot;">
                  <c:v>0</c:v>
                </c:pt>
                <c:pt idx="5231" formatCode="#,##0_);\(#,##0\);&quot;-  &quot;;&quot; &quot;@&quot; &quot;">
                  <c:v>0</c:v>
                </c:pt>
                <c:pt idx="5232" formatCode="#,##0_);\(#,##0\);&quot;-  &quot;;&quot; &quot;@&quot; &quot;">
                  <c:v>0</c:v>
                </c:pt>
                <c:pt idx="5233" formatCode="#,##0_);\(#,##0\);&quot;-  &quot;;&quot; &quot;@&quot; &quot;">
                  <c:v>0</c:v>
                </c:pt>
                <c:pt idx="5234" formatCode="#,##0_);\(#,##0\);&quot;-  &quot;;&quot; &quot;@&quot; &quot;">
                  <c:v>0</c:v>
                </c:pt>
                <c:pt idx="5235" formatCode="#,##0_);\(#,##0\);&quot;-  &quot;;&quot; &quot;@&quot; &quot;">
                  <c:v>0</c:v>
                </c:pt>
                <c:pt idx="5236" formatCode="#,##0_);\(#,##0\);&quot;-  &quot;;&quot; &quot;@&quot; &quot;">
                  <c:v>0</c:v>
                </c:pt>
                <c:pt idx="5237" formatCode="#,##0_);\(#,##0\);&quot;-  &quot;;&quot; &quot;@&quot; &quot;">
                  <c:v>0</c:v>
                </c:pt>
                <c:pt idx="5238" formatCode="#,##0_);\(#,##0\);&quot;-  &quot;;&quot; &quot;@&quot; &quot;">
                  <c:v>0</c:v>
                </c:pt>
                <c:pt idx="5239" formatCode="#,##0_);\(#,##0\);&quot;-  &quot;;&quot; &quot;@&quot; &quot;">
                  <c:v>0</c:v>
                </c:pt>
                <c:pt idx="5240" formatCode="#,##0_);\(#,##0\);&quot;-  &quot;;&quot; &quot;@&quot; &quot;">
                  <c:v>0</c:v>
                </c:pt>
                <c:pt idx="5241" formatCode="#,##0_);\(#,##0\);&quot;-  &quot;;&quot; &quot;@&quot; &quot;">
                  <c:v>0</c:v>
                </c:pt>
                <c:pt idx="5242" formatCode="#,##0_);\(#,##0\);&quot;-  &quot;;&quot; &quot;@&quot; &quot;">
                  <c:v>0</c:v>
                </c:pt>
                <c:pt idx="5243" formatCode="#,##0_);\(#,##0\);&quot;-  &quot;;&quot; &quot;@&quot; &quot;">
                  <c:v>0</c:v>
                </c:pt>
                <c:pt idx="5244" formatCode="#,##0_);\(#,##0\);&quot;-  &quot;;&quot; &quot;@&quot; &quot;">
                  <c:v>0</c:v>
                </c:pt>
                <c:pt idx="5245" formatCode="#,##0_);\(#,##0\);&quot;-  &quot;;&quot; &quot;@&quot; &quot;">
                  <c:v>0</c:v>
                </c:pt>
                <c:pt idx="5246" formatCode="#,##0_);\(#,##0\);&quot;-  &quot;;&quot; &quot;@&quot; &quot;">
                  <c:v>0</c:v>
                </c:pt>
                <c:pt idx="5247" formatCode="#,##0_);\(#,##0\);&quot;-  &quot;;&quot; &quot;@&quot; &quot;">
                  <c:v>0</c:v>
                </c:pt>
                <c:pt idx="5248" formatCode="#,##0_);\(#,##0\);&quot;-  &quot;;&quot; &quot;@&quot; &quot;">
                  <c:v>0</c:v>
                </c:pt>
                <c:pt idx="5249" formatCode="#,##0_);\(#,##0\);&quot;-  &quot;;&quot; &quot;@&quot; &quot;">
                  <c:v>0</c:v>
                </c:pt>
                <c:pt idx="5250" formatCode="#,##0_);\(#,##0\);&quot;-  &quot;;&quot; &quot;@&quot; &quot;">
                  <c:v>0</c:v>
                </c:pt>
                <c:pt idx="5251" formatCode="#,##0_);\(#,##0\);&quot;-  &quot;;&quot; &quot;@&quot; &quot;">
                  <c:v>0</c:v>
                </c:pt>
                <c:pt idx="5252" formatCode="#,##0_);\(#,##0\);&quot;-  &quot;;&quot; &quot;@&quot; &quot;">
                  <c:v>0</c:v>
                </c:pt>
                <c:pt idx="5253" formatCode="#,##0_);\(#,##0\);&quot;-  &quot;;&quot; &quot;@&quot; &quot;">
                  <c:v>0</c:v>
                </c:pt>
                <c:pt idx="5254" formatCode="#,##0_);\(#,##0\);&quot;-  &quot;;&quot; &quot;@&quot; &quot;">
                  <c:v>0</c:v>
                </c:pt>
                <c:pt idx="5255" formatCode="#,##0_);\(#,##0\);&quot;-  &quot;;&quot; &quot;@&quot; &quot;">
                  <c:v>0</c:v>
                </c:pt>
                <c:pt idx="5256" formatCode="#,##0_);\(#,##0\);&quot;-  &quot;;&quot; &quot;@&quot; &quot;">
                  <c:v>0</c:v>
                </c:pt>
                <c:pt idx="5257" formatCode="#,##0_);\(#,##0\);&quot;-  &quot;;&quot; &quot;@&quot; &quot;">
                  <c:v>0</c:v>
                </c:pt>
                <c:pt idx="5258" formatCode="#,##0_);\(#,##0\);&quot;-  &quot;;&quot; &quot;@&quot; &quot;">
                  <c:v>0</c:v>
                </c:pt>
                <c:pt idx="5259" formatCode="#,##0_);\(#,##0\);&quot;-  &quot;;&quot; &quot;@&quot; &quot;">
                  <c:v>0</c:v>
                </c:pt>
                <c:pt idx="5260" formatCode="#,##0_);\(#,##0\);&quot;-  &quot;;&quot; &quot;@&quot; &quot;">
                  <c:v>0</c:v>
                </c:pt>
                <c:pt idx="5261" formatCode="#,##0_);\(#,##0\);&quot;-  &quot;;&quot; &quot;@&quot; &quot;">
                  <c:v>0</c:v>
                </c:pt>
                <c:pt idx="5262" formatCode="#,##0_);\(#,##0\);&quot;-  &quot;;&quot; &quot;@&quot; &quot;">
                  <c:v>0</c:v>
                </c:pt>
                <c:pt idx="5263" formatCode="#,##0_);\(#,##0\);&quot;-  &quot;;&quot; &quot;@&quot; &quot;">
                  <c:v>0</c:v>
                </c:pt>
                <c:pt idx="5264" formatCode="#,##0_);\(#,##0\);&quot;-  &quot;;&quot; &quot;@&quot; &quot;">
                  <c:v>0</c:v>
                </c:pt>
                <c:pt idx="5265" formatCode="#,##0_);\(#,##0\);&quot;-  &quot;;&quot; &quot;@&quot; &quot;">
                  <c:v>0</c:v>
                </c:pt>
                <c:pt idx="5266" formatCode="#,##0_);\(#,##0\);&quot;-  &quot;;&quot; &quot;@&quot; &quot;">
                  <c:v>0</c:v>
                </c:pt>
                <c:pt idx="5267" formatCode="#,##0_);\(#,##0\);&quot;-  &quot;;&quot; &quot;@&quot; &quot;">
                  <c:v>0</c:v>
                </c:pt>
                <c:pt idx="5268" formatCode="#,##0_);\(#,##0\);&quot;-  &quot;;&quot; &quot;@&quot; &quot;">
                  <c:v>0</c:v>
                </c:pt>
                <c:pt idx="5269" formatCode="#,##0_);\(#,##0\);&quot;-  &quot;;&quot; &quot;@&quot; &quot;">
                  <c:v>0</c:v>
                </c:pt>
                <c:pt idx="5270" formatCode="#,##0_);\(#,##0\);&quot;-  &quot;;&quot; &quot;@&quot; &quot;">
                  <c:v>0</c:v>
                </c:pt>
                <c:pt idx="5271" formatCode="#,##0_);\(#,##0\);&quot;-  &quot;;&quot; &quot;@&quot; &quot;">
                  <c:v>0</c:v>
                </c:pt>
                <c:pt idx="5272" formatCode="#,##0_);\(#,##0\);&quot;-  &quot;;&quot; &quot;@&quot; &quot;">
                  <c:v>0</c:v>
                </c:pt>
                <c:pt idx="5273" formatCode="#,##0_);\(#,##0\);&quot;-  &quot;;&quot; &quot;@&quot; &quot;">
                  <c:v>0</c:v>
                </c:pt>
                <c:pt idx="5274" formatCode="#,##0_);\(#,##0\);&quot;-  &quot;;&quot; &quot;@&quot; &quot;">
                  <c:v>0</c:v>
                </c:pt>
                <c:pt idx="5275" formatCode="#,##0_);\(#,##0\);&quot;-  &quot;;&quot; &quot;@&quot; &quot;">
                  <c:v>0</c:v>
                </c:pt>
                <c:pt idx="5276" formatCode="#,##0_);\(#,##0\);&quot;-  &quot;;&quot; &quot;@&quot; &quot;">
                  <c:v>0</c:v>
                </c:pt>
                <c:pt idx="5277" formatCode="#,##0_);\(#,##0\);&quot;-  &quot;;&quot; &quot;@&quot; &quot;">
                  <c:v>0</c:v>
                </c:pt>
                <c:pt idx="5278" formatCode="#,##0_);\(#,##0\);&quot;-  &quot;;&quot; &quot;@&quot; &quot;">
                  <c:v>0</c:v>
                </c:pt>
                <c:pt idx="5279" formatCode="#,##0_);\(#,##0\);&quot;-  &quot;;&quot; &quot;@&quot; &quot;">
                  <c:v>0</c:v>
                </c:pt>
                <c:pt idx="5280" formatCode="#,##0_);\(#,##0\);&quot;-  &quot;;&quot; &quot;@&quot; &quot;">
                  <c:v>0</c:v>
                </c:pt>
                <c:pt idx="5281" formatCode="#,##0_);\(#,##0\);&quot;-  &quot;;&quot; &quot;@&quot; &quot;">
                  <c:v>0</c:v>
                </c:pt>
                <c:pt idx="5282" formatCode="#,##0_);\(#,##0\);&quot;-  &quot;;&quot; &quot;@&quot; &quot;">
                  <c:v>0</c:v>
                </c:pt>
                <c:pt idx="5283" formatCode="#,##0_);\(#,##0\);&quot;-  &quot;;&quot; &quot;@&quot; &quot;">
                  <c:v>0</c:v>
                </c:pt>
                <c:pt idx="5284" formatCode="#,##0_);\(#,##0\);&quot;-  &quot;;&quot; &quot;@&quot; &quot;">
                  <c:v>0</c:v>
                </c:pt>
                <c:pt idx="5285" formatCode="#,##0_);\(#,##0\);&quot;-  &quot;;&quot; &quot;@&quot; &quot;">
                  <c:v>0</c:v>
                </c:pt>
                <c:pt idx="5286" formatCode="#,##0_);\(#,##0\);&quot;-  &quot;;&quot; &quot;@&quot; &quot;">
                  <c:v>0</c:v>
                </c:pt>
                <c:pt idx="5287" formatCode="#,##0_);\(#,##0\);&quot;-  &quot;;&quot; &quot;@&quot; &quot;">
                  <c:v>0</c:v>
                </c:pt>
                <c:pt idx="5288" formatCode="#,##0_);\(#,##0\);&quot;-  &quot;;&quot; &quot;@&quot; &quot;">
                  <c:v>0</c:v>
                </c:pt>
                <c:pt idx="5289" formatCode="#,##0_);\(#,##0\);&quot;-  &quot;;&quot; &quot;@&quot; &quot;">
                  <c:v>0</c:v>
                </c:pt>
                <c:pt idx="5290" formatCode="#,##0_);\(#,##0\);&quot;-  &quot;;&quot; &quot;@&quot; &quot;">
                  <c:v>0</c:v>
                </c:pt>
                <c:pt idx="5291" formatCode="#,##0_);\(#,##0\);&quot;-  &quot;;&quot; &quot;@&quot; &quot;">
                  <c:v>0</c:v>
                </c:pt>
                <c:pt idx="5292" formatCode="#,##0_);\(#,##0\);&quot;-  &quot;;&quot; &quot;@&quot; &quot;">
                  <c:v>0</c:v>
                </c:pt>
                <c:pt idx="5293" formatCode="#,##0_);\(#,##0\);&quot;-  &quot;;&quot; &quot;@&quot; &quot;">
                  <c:v>0</c:v>
                </c:pt>
                <c:pt idx="5294" formatCode="#,##0_);\(#,##0\);&quot;-  &quot;;&quot; &quot;@&quot; &quot;">
                  <c:v>0</c:v>
                </c:pt>
                <c:pt idx="5295" formatCode="#,##0_);\(#,##0\);&quot;-  &quot;;&quot; &quot;@&quot; &quot;">
                  <c:v>0</c:v>
                </c:pt>
                <c:pt idx="5296" formatCode="#,##0_);\(#,##0\);&quot;-  &quot;;&quot; &quot;@&quot; &quot;">
                  <c:v>0</c:v>
                </c:pt>
                <c:pt idx="5297" formatCode="#,##0_);\(#,##0\);&quot;-  &quot;;&quot; &quot;@&quot; &quot;">
                  <c:v>0</c:v>
                </c:pt>
                <c:pt idx="5298" formatCode="#,##0_);\(#,##0\);&quot;-  &quot;;&quot; &quot;@&quot; &quot;">
                  <c:v>0</c:v>
                </c:pt>
                <c:pt idx="5299" formatCode="#,##0_);\(#,##0\);&quot;-  &quot;;&quot; &quot;@&quot; &quot;">
                  <c:v>0</c:v>
                </c:pt>
                <c:pt idx="5300" formatCode="#,##0_);\(#,##0\);&quot;-  &quot;;&quot; &quot;@&quot; &quot;">
                  <c:v>0</c:v>
                </c:pt>
                <c:pt idx="5301" formatCode="#,##0_);\(#,##0\);&quot;-  &quot;;&quot; &quot;@&quot; &quot;">
                  <c:v>0</c:v>
                </c:pt>
                <c:pt idx="5302" formatCode="#,##0_);\(#,##0\);&quot;-  &quot;;&quot; &quot;@&quot; &quot;">
                  <c:v>0</c:v>
                </c:pt>
                <c:pt idx="5303" formatCode="#,##0_);\(#,##0\);&quot;-  &quot;;&quot; &quot;@&quot; &quot;">
                  <c:v>0</c:v>
                </c:pt>
                <c:pt idx="5304" formatCode="#,##0_);\(#,##0\);&quot;-  &quot;;&quot; &quot;@&quot; &quot;">
                  <c:v>0</c:v>
                </c:pt>
                <c:pt idx="5305" formatCode="#,##0_);\(#,##0\);&quot;-  &quot;;&quot; &quot;@&quot; &quot;">
                  <c:v>0</c:v>
                </c:pt>
                <c:pt idx="5306" formatCode="#,##0_);\(#,##0\);&quot;-  &quot;;&quot; &quot;@&quot; &quot;">
                  <c:v>0</c:v>
                </c:pt>
                <c:pt idx="5307" formatCode="#,##0_);\(#,##0\);&quot;-  &quot;;&quot; &quot;@&quot; &quot;">
                  <c:v>0</c:v>
                </c:pt>
                <c:pt idx="5308" formatCode="#,##0_);\(#,##0\);&quot;-  &quot;;&quot; &quot;@&quot; &quot;">
                  <c:v>0</c:v>
                </c:pt>
                <c:pt idx="5309" formatCode="#,##0_);\(#,##0\);&quot;-  &quot;;&quot; &quot;@&quot; &quot;">
                  <c:v>0</c:v>
                </c:pt>
                <c:pt idx="5310" formatCode="#,##0_);\(#,##0\);&quot;-  &quot;;&quot; &quot;@&quot; &quot;">
                  <c:v>0</c:v>
                </c:pt>
                <c:pt idx="5311" formatCode="#,##0_);\(#,##0\);&quot;-  &quot;;&quot; &quot;@&quot; &quot;">
                  <c:v>0</c:v>
                </c:pt>
                <c:pt idx="5312" formatCode="#,##0_);\(#,##0\);&quot;-  &quot;;&quot; &quot;@&quot; &quot;">
                  <c:v>0</c:v>
                </c:pt>
                <c:pt idx="5313" formatCode="#,##0_);\(#,##0\);&quot;-  &quot;;&quot; &quot;@&quot; &quot;">
                  <c:v>0</c:v>
                </c:pt>
                <c:pt idx="5314" formatCode="#,##0_);\(#,##0\);&quot;-  &quot;;&quot; &quot;@&quot; &quot;">
                  <c:v>0</c:v>
                </c:pt>
                <c:pt idx="5315" formatCode="#,##0_);\(#,##0\);&quot;-  &quot;;&quot; &quot;@&quot; &quot;">
                  <c:v>0</c:v>
                </c:pt>
                <c:pt idx="5316" formatCode="#,##0_);\(#,##0\);&quot;-  &quot;;&quot; &quot;@&quot; &quot;">
                  <c:v>0</c:v>
                </c:pt>
                <c:pt idx="5317" formatCode="#,##0_);\(#,##0\);&quot;-  &quot;;&quot; &quot;@&quot; &quot;">
                  <c:v>0</c:v>
                </c:pt>
                <c:pt idx="5318" formatCode="#,##0_);\(#,##0\);&quot;-  &quot;;&quot; &quot;@&quot; &quot;">
                  <c:v>0</c:v>
                </c:pt>
                <c:pt idx="5319" formatCode="#,##0_);\(#,##0\);&quot;-  &quot;;&quot; &quot;@&quot; &quot;">
                  <c:v>0</c:v>
                </c:pt>
                <c:pt idx="5320" formatCode="#,##0_);\(#,##0\);&quot;-  &quot;;&quot; &quot;@&quot; &quot;">
                  <c:v>0</c:v>
                </c:pt>
                <c:pt idx="5321" formatCode="#,##0_);\(#,##0\);&quot;-  &quot;;&quot; &quot;@&quot; &quot;">
                  <c:v>0</c:v>
                </c:pt>
                <c:pt idx="5322" formatCode="#,##0_);\(#,##0\);&quot;-  &quot;;&quot; &quot;@&quot; &quot;">
                  <c:v>0</c:v>
                </c:pt>
                <c:pt idx="5323" formatCode="#,##0_);\(#,##0\);&quot;-  &quot;;&quot; &quot;@&quot; &quot;">
                  <c:v>0</c:v>
                </c:pt>
                <c:pt idx="5324" formatCode="#,##0_);\(#,##0\);&quot;-  &quot;;&quot; &quot;@&quot; &quot;">
                  <c:v>0</c:v>
                </c:pt>
                <c:pt idx="5325" formatCode="#,##0_);\(#,##0\);&quot;-  &quot;;&quot; &quot;@&quot; &quot;">
                  <c:v>0</c:v>
                </c:pt>
                <c:pt idx="5326" formatCode="#,##0_);\(#,##0\);&quot;-  &quot;;&quot; &quot;@&quot; &quot;">
                  <c:v>0</c:v>
                </c:pt>
                <c:pt idx="5327" formatCode="#,##0_);\(#,##0\);&quot;-  &quot;;&quot; &quot;@&quot; &quot;">
                  <c:v>0</c:v>
                </c:pt>
                <c:pt idx="5328" formatCode="#,##0_);\(#,##0\);&quot;-  &quot;;&quot; &quot;@&quot; &quot;">
                  <c:v>0</c:v>
                </c:pt>
                <c:pt idx="5329" formatCode="#,##0_);\(#,##0\);&quot;-  &quot;;&quot; &quot;@&quot; &quot;">
                  <c:v>0</c:v>
                </c:pt>
                <c:pt idx="5330" formatCode="#,##0_);\(#,##0\);&quot;-  &quot;;&quot; &quot;@&quot; &quot;">
                  <c:v>0</c:v>
                </c:pt>
                <c:pt idx="5331" formatCode="#,##0_);\(#,##0\);&quot;-  &quot;;&quot; &quot;@&quot; &quot;">
                  <c:v>0</c:v>
                </c:pt>
                <c:pt idx="5332" formatCode="#,##0_);\(#,##0\);&quot;-  &quot;;&quot; &quot;@&quot; &quot;">
                  <c:v>0</c:v>
                </c:pt>
                <c:pt idx="5333" formatCode="#,##0_);\(#,##0\);&quot;-  &quot;;&quot; &quot;@&quot; &quot;">
                  <c:v>0</c:v>
                </c:pt>
                <c:pt idx="5334" formatCode="#,##0_);\(#,##0\);&quot;-  &quot;;&quot; &quot;@&quot; &quot;">
                  <c:v>0</c:v>
                </c:pt>
                <c:pt idx="5335" formatCode="#,##0_);\(#,##0\);&quot;-  &quot;;&quot; &quot;@&quot; &quot;">
                  <c:v>0</c:v>
                </c:pt>
                <c:pt idx="5336" formatCode="#,##0_);\(#,##0\);&quot;-  &quot;;&quot; &quot;@&quot; &quot;">
                  <c:v>0</c:v>
                </c:pt>
                <c:pt idx="5337" formatCode="#,##0_);\(#,##0\);&quot;-  &quot;;&quot; &quot;@&quot; &quot;">
                  <c:v>0</c:v>
                </c:pt>
                <c:pt idx="5338" formatCode="#,##0_);\(#,##0\);&quot;-  &quot;;&quot; &quot;@&quot; &quot;">
                  <c:v>0</c:v>
                </c:pt>
                <c:pt idx="5339" formatCode="#,##0_);\(#,##0\);&quot;-  &quot;;&quot; &quot;@&quot; &quot;">
                  <c:v>0</c:v>
                </c:pt>
                <c:pt idx="5340" formatCode="#,##0_);\(#,##0\);&quot;-  &quot;;&quot; &quot;@&quot; &quot;">
                  <c:v>0</c:v>
                </c:pt>
                <c:pt idx="5341" formatCode="#,##0_);\(#,##0\);&quot;-  &quot;;&quot; &quot;@&quot; &quot;">
                  <c:v>0</c:v>
                </c:pt>
                <c:pt idx="5342" formatCode="#,##0_);\(#,##0\);&quot;-  &quot;;&quot; &quot;@&quot; &quot;">
                  <c:v>0</c:v>
                </c:pt>
                <c:pt idx="5343" formatCode="#,##0_);\(#,##0\);&quot;-  &quot;;&quot; &quot;@&quot; &quot;">
                  <c:v>0</c:v>
                </c:pt>
                <c:pt idx="5344" formatCode="#,##0_);\(#,##0\);&quot;-  &quot;;&quot; &quot;@&quot; &quot;">
                  <c:v>0</c:v>
                </c:pt>
                <c:pt idx="5345" formatCode="#,##0_);\(#,##0\);&quot;-  &quot;;&quot; &quot;@&quot; &quot;">
                  <c:v>0</c:v>
                </c:pt>
                <c:pt idx="5346" formatCode="#,##0_);\(#,##0\);&quot;-  &quot;;&quot; &quot;@&quot; &quot;">
                  <c:v>0</c:v>
                </c:pt>
                <c:pt idx="5347" formatCode="#,##0_);\(#,##0\);&quot;-  &quot;;&quot; &quot;@&quot; &quot;">
                  <c:v>0</c:v>
                </c:pt>
                <c:pt idx="5348" formatCode="#,##0_);\(#,##0\);&quot;-  &quot;;&quot; &quot;@&quot; &quot;">
                  <c:v>0</c:v>
                </c:pt>
                <c:pt idx="5349" formatCode="#,##0_);\(#,##0\);&quot;-  &quot;;&quot; &quot;@&quot; &quot;">
                  <c:v>0</c:v>
                </c:pt>
                <c:pt idx="5350" formatCode="#,##0_);\(#,##0\);&quot;-  &quot;;&quot; &quot;@&quot; &quot;">
                  <c:v>0</c:v>
                </c:pt>
                <c:pt idx="5351" formatCode="#,##0_);\(#,##0\);&quot;-  &quot;;&quot; &quot;@&quot; &quot;">
                  <c:v>0</c:v>
                </c:pt>
                <c:pt idx="5352" formatCode="#,##0_);\(#,##0\);&quot;-  &quot;;&quot; &quot;@&quot; &quot;">
                  <c:v>0</c:v>
                </c:pt>
                <c:pt idx="5353" formatCode="#,##0_);\(#,##0\);&quot;-  &quot;;&quot; &quot;@&quot; &quot;">
                  <c:v>0</c:v>
                </c:pt>
                <c:pt idx="5354" formatCode="#,##0_);\(#,##0\);&quot;-  &quot;;&quot; &quot;@&quot; &quot;">
                  <c:v>0</c:v>
                </c:pt>
                <c:pt idx="5355" formatCode="#,##0_);\(#,##0\);&quot;-  &quot;;&quot; &quot;@&quot; &quot;">
                  <c:v>0</c:v>
                </c:pt>
                <c:pt idx="5356" formatCode="#,##0_);\(#,##0\);&quot;-  &quot;;&quot; &quot;@&quot; &quot;">
                  <c:v>0</c:v>
                </c:pt>
                <c:pt idx="5357" formatCode="#,##0_);\(#,##0\);&quot;-  &quot;;&quot; &quot;@&quot; &quot;">
                  <c:v>0</c:v>
                </c:pt>
                <c:pt idx="5358" formatCode="#,##0_);\(#,##0\);&quot;-  &quot;;&quot; &quot;@&quot; &quot;">
                  <c:v>0</c:v>
                </c:pt>
                <c:pt idx="5359" formatCode="#,##0_);\(#,##0\);&quot;-  &quot;;&quot; &quot;@&quot; &quot;">
                  <c:v>0</c:v>
                </c:pt>
                <c:pt idx="5360" formatCode="#,##0_);\(#,##0\);&quot;-  &quot;;&quot; &quot;@&quot; &quot;">
                  <c:v>0</c:v>
                </c:pt>
                <c:pt idx="5361" formatCode="#,##0_);\(#,##0\);&quot;-  &quot;;&quot; &quot;@&quot; &quot;">
                  <c:v>0</c:v>
                </c:pt>
                <c:pt idx="5362" formatCode="#,##0_);\(#,##0\);&quot;-  &quot;;&quot; &quot;@&quot; &quot;">
                  <c:v>0</c:v>
                </c:pt>
                <c:pt idx="5363" formatCode="#,##0_);\(#,##0\);&quot;-  &quot;;&quot; &quot;@&quot; &quot;">
                  <c:v>0</c:v>
                </c:pt>
                <c:pt idx="5364" formatCode="#,##0_);\(#,##0\);&quot;-  &quot;;&quot; &quot;@&quot; &quot;">
                  <c:v>0</c:v>
                </c:pt>
                <c:pt idx="5365" formatCode="#,##0_);\(#,##0\);&quot;-  &quot;;&quot; &quot;@&quot; &quot;">
                  <c:v>0</c:v>
                </c:pt>
                <c:pt idx="5366" formatCode="#,##0_);\(#,##0\);&quot;-  &quot;;&quot; &quot;@&quot; &quot;">
                  <c:v>0</c:v>
                </c:pt>
                <c:pt idx="5367" formatCode="#,##0_);\(#,##0\);&quot;-  &quot;;&quot; &quot;@&quot; &quot;">
                  <c:v>0</c:v>
                </c:pt>
                <c:pt idx="5368" formatCode="#,##0_);\(#,##0\);&quot;-  &quot;;&quot; &quot;@&quot; &quot;">
                  <c:v>0</c:v>
                </c:pt>
                <c:pt idx="5369" formatCode="#,##0_);\(#,##0\);&quot;-  &quot;;&quot; &quot;@&quot; &quot;">
                  <c:v>0</c:v>
                </c:pt>
                <c:pt idx="5370" formatCode="#,##0_);\(#,##0\);&quot;-  &quot;;&quot; &quot;@&quot; &quot;">
                  <c:v>0</c:v>
                </c:pt>
                <c:pt idx="5371" formatCode="#,##0_);\(#,##0\);&quot;-  &quot;;&quot; &quot;@&quot; &quot;">
                  <c:v>0</c:v>
                </c:pt>
                <c:pt idx="5372" formatCode="#,##0_);\(#,##0\);&quot;-  &quot;;&quot; &quot;@&quot; &quot;">
                  <c:v>0</c:v>
                </c:pt>
                <c:pt idx="5373" formatCode="#,##0_);\(#,##0\);&quot;-  &quot;;&quot; &quot;@&quot; &quot;">
                  <c:v>0</c:v>
                </c:pt>
                <c:pt idx="5374" formatCode="#,##0_);\(#,##0\);&quot;-  &quot;;&quot; &quot;@&quot; &quot;">
                  <c:v>0</c:v>
                </c:pt>
                <c:pt idx="5375" formatCode="#,##0_);\(#,##0\);&quot;-  &quot;;&quot; &quot;@&quot; &quot;">
                  <c:v>0</c:v>
                </c:pt>
                <c:pt idx="5376" formatCode="#,##0_);\(#,##0\);&quot;-  &quot;;&quot; &quot;@&quot; &quot;">
                  <c:v>0</c:v>
                </c:pt>
                <c:pt idx="5377" formatCode="#,##0_);\(#,##0\);&quot;-  &quot;;&quot; &quot;@&quot; &quot;">
                  <c:v>0</c:v>
                </c:pt>
                <c:pt idx="5378" formatCode="#,##0_);\(#,##0\);&quot;-  &quot;;&quot; &quot;@&quot; &quot;">
                  <c:v>0</c:v>
                </c:pt>
                <c:pt idx="5379" formatCode="#,##0_);\(#,##0\);&quot;-  &quot;;&quot; &quot;@&quot; &quot;">
                  <c:v>0</c:v>
                </c:pt>
                <c:pt idx="5380" formatCode="#,##0_);\(#,##0\);&quot;-  &quot;;&quot; &quot;@&quot; &quot;">
                  <c:v>0</c:v>
                </c:pt>
                <c:pt idx="5381" formatCode="#,##0_);\(#,##0\);&quot;-  &quot;;&quot; &quot;@&quot; &quot;">
                  <c:v>0</c:v>
                </c:pt>
                <c:pt idx="5382" formatCode="#,##0_);\(#,##0\);&quot;-  &quot;;&quot; &quot;@&quot; &quot;">
                  <c:v>0</c:v>
                </c:pt>
                <c:pt idx="5383" formatCode="#,##0_);\(#,##0\);&quot;-  &quot;;&quot; &quot;@&quot; &quot;">
                  <c:v>0</c:v>
                </c:pt>
                <c:pt idx="5384" formatCode="#,##0_);\(#,##0\);&quot;-  &quot;;&quot; &quot;@&quot; &quot;">
                  <c:v>0</c:v>
                </c:pt>
                <c:pt idx="5385" formatCode="#,##0_);\(#,##0\);&quot;-  &quot;;&quot; &quot;@&quot; &quot;">
                  <c:v>0</c:v>
                </c:pt>
                <c:pt idx="5386" formatCode="#,##0_);\(#,##0\);&quot;-  &quot;;&quot; &quot;@&quot; &quot;">
                  <c:v>0</c:v>
                </c:pt>
                <c:pt idx="5387" formatCode="#,##0_);\(#,##0\);&quot;-  &quot;;&quot; &quot;@&quot; &quot;">
                  <c:v>0</c:v>
                </c:pt>
                <c:pt idx="5388" formatCode="#,##0_);\(#,##0\);&quot;-  &quot;;&quot; &quot;@&quot; &quot;">
                  <c:v>0</c:v>
                </c:pt>
                <c:pt idx="5389" formatCode="#,##0_);\(#,##0\);&quot;-  &quot;;&quot; &quot;@&quot; &quot;">
                  <c:v>0</c:v>
                </c:pt>
                <c:pt idx="5390" formatCode="#,##0_);\(#,##0\);&quot;-  &quot;;&quot; &quot;@&quot; &quot;">
                  <c:v>0</c:v>
                </c:pt>
                <c:pt idx="5391" formatCode="#,##0_);\(#,##0\);&quot;-  &quot;;&quot; &quot;@&quot; &quot;">
                  <c:v>0</c:v>
                </c:pt>
                <c:pt idx="5392" formatCode="#,##0_);\(#,##0\);&quot;-  &quot;;&quot; &quot;@&quot; &quot;">
                  <c:v>0</c:v>
                </c:pt>
                <c:pt idx="5393" formatCode="#,##0_);\(#,##0\);&quot;-  &quot;;&quot; &quot;@&quot; &quot;">
                  <c:v>0</c:v>
                </c:pt>
                <c:pt idx="5394" formatCode="#,##0_);\(#,##0\);&quot;-  &quot;;&quot; &quot;@&quot; &quot;">
                  <c:v>0</c:v>
                </c:pt>
                <c:pt idx="5395" formatCode="#,##0_);\(#,##0\);&quot;-  &quot;;&quot; &quot;@&quot; &quot;">
                  <c:v>0</c:v>
                </c:pt>
                <c:pt idx="5396" formatCode="#,##0_);\(#,##0\);&quot;-  &quot;;&quot; &quot;@&quot; &quot;">
                  <c:v>0</c:v>
                </c:pt>
                <c:pt idx="5397" formatCode="#,##0_);\(#,##0\);&quot;-  &quot;;&quot; &quot;@&quot; &quot;">
                  <c:v>0</c:v>
                </c:pt>
                <c:pt idx="5398" formatCode="#,##0_);\(#,##0\);&quot;-  &quot;;&quot; &quot;@&quot; &quot;">
                  <c:v>0</c:v>
                </c:pt>
                <c:pt idx="5399" formatCode="#,##0_);\(#,##0\);&quot;-  &quot;;&quot; &quot;@&quot; &quot;">
                  <c:v>0</c:v>
                </c:pt>
                <c:pt idx="5400" formatCode="#,##0_);\(#,##0\);&quot;-  &quot;;&quot; &quot;@&quot; &quot;">
                  <c:v>0</c:v>
                </c:pt>
                <c:pt idx="5401" formatCode="#,##0_);\(#,##0\);&quot;-  &quot;;&quot; &quot;@&quot; &quot;">
                  <c:v>0</c:v>
                </c:pt>
                <c:pt idx="5402" formatCode="#,##0_);\(#,##0\);&quot;-  &quot;;&quot; &quot;@&quot; &quot;">
                  <c:v>0</c:v>
                </c:pt>
                <c:pt idx="5403" formatCode="#,##0_);\(#,##0\);&quot;-  &quot;;&quot; &quot;@&quot; &quot;">
                  <c:v>0</c:v>
                </c:pt>
                <c:pt idx="5404" formatCode="#,##0_);\(#,##0\);&quot;-  &quot;;&quot; &quot;@&quot; &quot;">
                  <c:v>0</c:v>
                </c:pt>
                <c:pt idx="5405" formatCode="#,##0_);\(#,##0\);&quot;-  &quot;;&quot; &quot;@&quot; &quot;">
                  <c:v>0</c:v>
                </c:pt>
                <c:pt idx="5406" formatCode="#,##0_);\(#,##0\);&quot;-  &quot;;&quot; &quot;@&quot; &quot;">
                  <c:v>0</c:v>
                </c:pt>
                <c:pt idx="5407" formatCode="#,##0_);\(#,##0\);&quot;-  &quot;;&quot; &quot;@&quot; &quot;">
                  <c:v>0</c:v>
                </c:pt>
                <c:pt idx="5408" formatCode="#,##0_);\(#,##0\);&quot;-  &quot;;&quot; &quot;@&quot; &quot;">
                  <c:v>0</c:v>
                </c:pt>
                <c:pt idx="5409" formatCode="#,##0_);\(#,##0\);&quot;-  &quot;;&quot; &quot;@&quot; &quot;">
                  <c:v>0</c:v>
                </c:pt>
                <c:pt idx="5410" formatCode="#,##0_);\(#,##0\);&quot;-  &quot;;&quot; &quot;@&quot; &quot;">
                  <c:v>0</c:v>
                </c:pt>
                <c:pt idx="5411" formatCode="#,##0_);\(#,##0\);&quot;-  &quot;;&quot; &quot;@&quot; &quot;">
                  <c:v>0</c:v>
                </c:pt>
                <c:pt idx="5412" formatCode="#,##0_);\(#,##0\);&quot;-  &quot;;&quot; &quot;@&quot; &quot;">
                  <c:v>0</c:v>
                </c:pt>
                <c:pt idx="5413" formatCode="#,##0_);\(#,##0\);&quot;-  &quot;;&quot; &quot;@&quot; &quot;">
                  <c:v>0</c:v>
                </c:pt>
                <c:pt idx="5414" formatCode="#,##0_);\(#,##0\);&quot;-  &quot;;&quot; &quot;@&quot; &quot;">
                  <c:v>0</c:v>
                </c:pt>
                <c:pt idx="5415" formatCode="#,##0_);\(#,##0\);&quot;-  &quot;;&quot; &quot;@&quot; &quot;">
                  <c:v>0</c:v>
                </c:pt>
                <c:pt idx="5416" formatCode="#,##0_);\(#,##0\);&quot;-  &quot;;&quot; &quot;@&quot; &quot;">
                  <c:v>0</c:v>
                </c:pt>
                <c:pt idx="5417" formatCode="#,##0_);\(#,##0\);&quot;-  &quot;;&quot; &quot;@&quot; &quot;">
                  <c:v>0</c:v>
                </c:pt>
                <c:pt idx="5418" formatCode="#,##0_);\(#,##0\);&quot;-  &quot;;&quot; &quot;@&quot; &quot;">
                  <c:v>0</c:v>
                </c:pt>
                <c:pt idx="5419" formatCode="#,##0_);\(#,##0\);&quot;-  &quot;;&quot; &quot;@&quot; &quot;">
                  <c:v>0</c:v>
                </c:pt>
                <c:pt idx="5420" formatCode="#,##0_);\(#,##0\);&quot;-  &quot;;&quot; &quot;@&quot; &quot;">
                  <c:v>0</c:v>
                </c:pt>
                <c:pt idx="5421" formatCode="#,##0_);\(#,##0\);&quot;-  &quot;;&quot; &quot;@&quot; &quot;">
                  <c:v>0</c:v>
                </c:pt>
                <c:pt idx="5422" formatCode="#,##0_);\(#,##0\);&quot;-  &quot;;&quot; &quot;@&quot; &quot;">
                  <c:v>0</c:v>
                </c:pt>
                <c:pt idx="5423" formatCode="#,##0_);\(#,##0\);&quot;-  &quot;;&quot; &quot;@&quot; &quot;">
                  <c:v>0</c:v>
                </c:pt>
                <c:pt idx="5424" formatCode="#,##0_);\(#,##0\);&quot;-  &quot;;&quot; &quot;@&quot; &quot;">
                  <c:v>0</c:v>
                </c:pt>
                <c:pt idx="5425" formatCode="#,##0_);\(#,##0\);&quot;-  &quot;;&quot; &quot;@&quot; &quot;">
                  <c:v>0</c:v>
                </c:pt>
                <c:pt idx="5426" formatCode="#,##0_);\(#,##0\);&quot;-  &quot;;&quot; &quot;@&quot; &quot;">
                  <c:v>0</c:v>
                </c:pt>
                <c:pt idx="5427" formatCode="#,##0_);\(#,##0\);&quot;-  &quot;;&quot; &quot;@&quot; &quot;">
                  <c:v>0</c:v>
                </c:pt>
                <c:pt idx="5428" formatCode="#,##0_);\(#,##0\);&quot;-  &quot;;&quot; &quot;@&quot; &quot;">
                  <c:v>0</c:v>
                </c:pt>
                <c:pt idx="5429" formatCode="#,##0_);\(#,##0\);&quot;-  &quot;;&quot; &quot;@&quot; &quot;">
                  <c:v>0</c:v>
                </c:pt>
                <c:pt idx="5430" formatCode="#,##0_);\(#,##0\);&quot;-  &quot;;&quot; &quot;@&quot; &quot;">
                  <c:v>0</c:v>
                </c:pt>
                <c:pt idx="5431" formatCode="#,##0_);\(#,##0\);&quot;-  &quot;;&quot; &quot;@&quot; &quot;">
                  <c:v>0</c:v>
                </c:pt>
                <c:pt idx="5432" formatCode="#,##0_);\(#,##0\);&quot;-  &quot;;&quot; &quot;@&quot; &quot;">
                  <c:v>0</c:v>
                </c:pt>
                <c:pt idx="5433" formatCode="#,##0_);\(#,##0\);&quot;-  &quot;;&quot; &quot;@&quot; &quot;">
                  <c:v>0</c:v>
                </c:pt>
                <c:pt idx="5434" formatCode="#,##0_);\(#,##0\);&quot;-  &quot;;&quot; &quot;@&quot; &quot;">
                  <c:v>0</c:v>
                </c:pt>
                <c:pt idx="5435" formatCode="#,##0_);\(#,##0\);&quot;-  &quot;;&quot; &quot;@&quot; &quot;">
                  <c:v>0</c:v>
                </c:pt>
                <c:pt idx="5436" formatCode="#,##0_);\(#,##0\);&quot;-  &quot;;&quot; &quot;@&quot; &quot;">
                  <c:v>0</c:v>
                </c:pt>
                <c:pt idx="5437" formatCode="#,##0_);\(#,##0\);&quot;-  &quot;;&quot; &quot;@&quot; &quot;">
                  <c:v>0</c:v>
                </c:pt>
                <c:pt idx="5438" formatCode="#,##0_);\(#,##0\);&quot;-  &quot;;&quot; &quot;@&quot; &quot;">
                  <c:v>0</c:v>
                </c:pt>
                <c:pt idx="5439" formatCode="#,##0_);\(#,##0\);&quot;-  &quot;;&quot; &quot;@&quot; &quot;">
                  <c:v>0</c:v>
                </c:pt>
                <c:pt idx="5440" formatCode="#,##0_);\(#,##0\);&quot;-  &quot;;&quot; &quot;@&quot; &quot;">
                  <c:v>0</c:v>
                </c:pt>
                <c:pt idx="5441" formatCode="#,##0_);\(#,##0\);&quot;-  &quot;;&quot; &quot;@&quot; &quot;">
                  <c:v>0</c:v>
                </c:pt>
                <c:pt idx="5442" formatCode="#,##0_);\(#,##0\);&quot;-  &quot;;&quot; &quot;@&quot; &quot;">
                  <c:v>0</c:v>
                </c:pt>
                <c:pt idx="5443" formatCode="#,##0_);\(#,##0\);&quot;-  &quot;;&quot; &quot;@&quot; &quot;">
                  <c:v>0</c:v>
                </c:pt>
                <c:pt idx="5444" formatCode="#,##0_);\(#,##0\);&quot;-  &quot;;&quot; &quot;@&quot; &quot;">
                  <c:v>0</c:v>
                </c:pt>
                <c:pt idx="5445" formatCode="#,##0_);\(#,##0\);&quot;-  &quot;;&quot; &quot;@&quot; &quot;">
                  <c:v>0</c:v>
                </c:pt>
                <c:pt idx="5446" formatCode="#,##0_);\(#,##0\);&quot;-  &quot;;&quot; &quot;@&quot; &quot;">
                  <c:v>0</c:v>
                </c:pt>
                <c:pt idx="5447" formatCode="#,##0_);\(#,##0\);&quot;-  &quot;;&quot; &quot;@&quot; &quot;">
                  <c:v>0</c:v>
                </c:pt>
                <c:pt idx="5448" formatCode="#,##0_);\(#,##0\);&quot;-  &quot;;&quot; &quot;@&quot; &quot;">
                  <c:v>0</c:v>
                </c:pt>
                <c:pt idx="5449" formatCode="#,##0_);\(#,##0\);&quot;-  &quot;;&quot; &quot;@&quot; &quot;">
                  <c:v>0</c:v>
                </c:pt>
                <c:pt idx="5450" formatCode="#,##0_);\(#,##0\);&quot;-  &quot;;&quot; &quot;@&quot; &quot;">
                  <c:v>0</c:v>
                </c:pt>
                <c:pt idx="5451" formatCode="#,##0_);\(#,##0\);&quot;-  &quot;;&quot; &quot;@&quot; &quot;">
                  <c:v>0</c:v>
                </c:pt>
                <c:pt idx="5452" formatCode="#,##0_);\(#,##0\);&quot;-  &quot;;&quot; &quot;@&quot; &quot;">
                  <c:v>0</c:v>
                </c:pt>
                <c:pt idx="5453" formatCode="#,##0_);\(#,##0\);&quot;-  &quot;;&quot; &quot;@&quot; &quot;">
                  <c:v>0</c:v>
                </c:pt>
                <c:pt idx="5454" formatCode="#,##0_);\(#,##0\);&quot;-  &quot;;&quot; &quot;@&quot; &quot;">
                  <c:v>0</c:v>
                </c:pt>
                <c:pt idx="5455" formatCode="#,##0_);\(#,##0\);&quot;-  &quot;;&quot; &quot;@&quot; &quot;">
                  <c:v>0</c:v>
                </c:pt>
                <c:pt idx="5456" formatCode="#,##0_);\(#,##0\);&quot;-  &quot;;&quot; &quot;@&quot; &quot;">
                  <c:v>0</c:v>
                </c:pt>
                <c:pt idx="5457" formatCode="#,##0_);\(#,##0\);&quot;-  &quot;;&quot; &quot;@&quot; &quot;">
                  <c:v>0</c:v>
                </c:pt>
                <c:pt idx="5458" formatCode="#,##0_);\(#,##0\);&quot;-  &quot;;&quot; &quot;@&quot; &quot;">
                  <c:v>0</c:v>
                </c:pt>
                <c:pt idx="5459" formatCode="#,##0_);\(#,##0\);&quot;-  &quot;;&quot; &quot;@&quot; &quot;">
                  <c:v>0</c:v>
                </c:pt>
                <c:pt idx="5460" formatCode="#,##0_);\(#,##0\);&quot;-  &quot;;&quot; &quot;@&quot; &quot;">
                  <c:v>0</c:v>
                </c:pt>
                <c:pt idx="5461" formatCode="#,##0_);\(#,##0\);&quot;-  &quot;;&quot; &quot;@&quot; &quot;">
                  <c:v>0</c:v>
                </c:pt>
                <c:pt idx="5462" formatCode="#,##0_);\(#,##0\);&quot;-  &quot;;&quot; &quot;@&quot; &quot;">
                  <c:v>0</c:v>
                </c:pt>
                <c:pt idx="5463" formatCode="#,##0_);\(#,##0\);&quot;-  &quot;;&quot; &quot;@&quot; &quot;">
                  <c:v>0</c:v>
                </c:pt>
                <c:pt idx="5464" formatCode="#,##0_);\(#,##0\);&quot;-  &quot;;&quot; &quot;@&quot; &quot;">
                  <c:v>0</c:v>
                </c:pt>
                <c:pt idx="5465" formatCode="#,##0_);\(#,##0\);&quot;-  &quot;;&quot; &quot;@&quot; &quot;">
                  <c:v>0</c:v>
                </c:pt>
                <c:pt idx="5466" formatCode="#,##0_);\(#,##0\);&quot;-  &quot;;&quot; &quot;@&quot; &quot;">
                  <c:v>0</c:v>
                </c:pt>
                <c:pt idx="5467" formatCode="#,##0_);\(#,##0\);&quot;-  &quot;;&quot; &quot;@&quot; &quot;">
                  <c:v>0</c:v>
                </c:pt>
                <c:pt idx="5468" formatCode="#,##0_);\(#,##0\);&quot;-  &quot;;&quot; &quot;@&quot; &quot;">
                  <c:v>0</c:v>
                </c:pt>
                <c:pt idx="5469" formatCode="#,##0_);\(#,##0\);&quot;-  &quot;;&quot; &quot;@&quot; &quot;">
                  <c:v>0</c:v>
                </c:pt>
                <c:pt idx="5470" formatCode="#,##0_);\(#,##0\);&quot;-  &quot;;&quot; &quot;@&quot; &quot;">
                  <c:v>0</c:v>
                </c:pt>
                <c:pt idx="5471" formatCode="#,##0_);\(#,##0\);&quot;-  &quot;;&quot; &quot;@&quot; &quot;">
                  <c:v>0</c:v>
                </c:pt>
                <c:pt idx="5472" formatCode="#,##0_);\(#,##0\);&quot;-  &quot;;&quot; &quot;@&quot; &quot;">
                  <c:v>0</c:v>
                </c:pt>
                <c:pt idx="5473" formatCode="#,##0_);\(#,##0\);&quot;-  &quot;;&quot; &quot;@&quot; &quot;">
                  <c:v>0</c:v>
                </c:pt>
                <c:pt idx="5474" formatCode="#,##0_);\(#,##0\);&quot;-  &quot;;&quot; &quot;@&quot; &quot;">
                  <c:v>0</c:v>
                </c:pt>
                <c:pt idx="5475" formatCode="#,##0_);\(#,##0\);&quot;-  &quot;;&quot; &quot;@&quot; &quot;">
                  <c:v>0</c:v>
                </c:pt>
                <c:pt idx="5476" formatCode="#,##0_);\(#,##0\);&quot;-  &quot;;&quot; &quot;@&quot; &quot;">
                  <c:v>0</c:v>
                </c:pt>
                <c:pt idx="5477" formatCode="#,##0_);\(#,##0\);&quot;-  &quot;;&quot; &quot;@&quot; &quot;">
                  <c:v>0</c:v>
                </c:pt>
                <c:pt idx="5478" formatCode="#,##0_);\(#,##0\);&quot;-  &quot;;&quot; &quot;@&quot; &quot;">
                  <c:v>0</c:v>
                </c:pt>
                <c:pt idx="5479" formatCode="#,##0_);\(#,##0\);&quot;-  &quot;;&quot; &quot;@&quot; &quot;">
                  <c:v>0</c:v>
                </c:pt>
                <c:pt idx="5480" formatCode="#,##0_);\(#,##0\);&quot;-  &quot;;&quot; &quot;@&quot; &quot;">
                  <c:v>0</c:v>
                </c:pt>
                <c:pt idx="5481" formatCode="#,##0_);\(#,##0\);&quot;-  &quot;;&quot; &quot;@&quot; &quot;">
                  <c:v>0</c:v>
                </c:pt>
                <c:pt idx="5482" formatCode="#,##0_);\(#,##0\);&quot;-  &quot;;&quot; &quot;@&quot; &quot;">
                  <c:v>0</c:v>
                </c:pt>
                <c:pt idx="5483" formatCode="#,##0_);\(#,##0\);&quot;-  &quot;;&quot; &quot;@&quot; &quot;">
                  <c:v>0</c:v>
                </c:pt>
                <c:pt idx="5484" formatCode="#,##0_);\(#,##0\);&quot;-  &quot;;&quot; &quot;@&quot; &quot;">
                  <c:v>0</c:v>
                </c:pt>
                <c:pt idx="5485" formatCode="#,##0_);\(#,##0\);&quot;-  &quot;;&quot; &quot;@&quot; &quot;">
                  <c:v>0</c:v>
                </c:pt>
                <c:pt idx="5486" formatCode="#,##0_);\(#,##0\);&quot;-  &quot;;&quot; &quot;@&quot; &quot;">
                  <c:v>0</c:v>
                </c:pt>
                <c:pt idx="5487" formatCode="#,##0_);\(#,##0\);&quot;-  &quot;;&quot; &quot;@&quot; &quot;">
                  <c:v>0</c:v>
                </c:pt>
                <c:pt idx="5488" formatCode="#,##0_);\(#,##0\);&quot;-  &quot;;&quot; &quot;@&quot; &quot;">
                  <c:v>0</c:v>
                </c:pt>
                <c:pt idx="5489" formatCode="#,##0_);\(#,##0\);&quot;-  &quot;;&quot; &quot;@&quot; &quot;">
                  <c:v>0</c:v>
                </c:pt>
                <c:pt idx="5490" formatCode="#,##0_);\(#,##0\);&quot;-  &quot;;&quot; &quot;@&quot; &quot;">
                  <c:v>0</c:v>
                </c:pt>
                <c:pt idx="5491" formatCode="#,##0_);\(#,##0\);&quot;-  &quot;;&quot; &quot;@&quot; &quot;">
                  <c:v>0</c:v>
                </c:pt>
                <c:pt idx="5492" formatCode="#,##0_);\(#,##0\);&quot;-  &quot;;&quot; &quot;@&quot; &quot;">
                  <c:v>0</c:v>
                </c:pt>
                <c:pt idx="5493" formatCode="#,##0_);\(#,##0\);&quot;-  &quot;;&quot; &quot;@&quot; &quot;">
                  <c:v>0</c:v>
                </c:pt>
                <c:pt idx="5494" formatCode="#,##0_);\(#,##0\);&quot;-  &quot;;&quot; &quot;@&quot; &quot;">
                  <c:v>0</c:v>
                </c:pt>
                <c:pt idx="5495" formatCode="#,##0_);\(#,##0\);&quot;-  &quot;;&quot; &quot;@&quot; &quot;">
                  <c:v>0</c:v>
                </c:pt>
                <c:pt idx="5496" formatCode="#,##0_);\(#,##0\);&quot;-  &quot;;&quot; &quot;@&quot; &quot;">
                  <c:v>0</c:v>
                </c:pt>
                <c:pt idx="5497" formatCode="#,##0_);\(#,##0\);&quot;-  &quot;;&quot; &quot;@&quot; &quot;">
                  <c:v>0</c:v>
                </c:pt>
                <c:pt idx="5498" formatCode="#,##0_);\(#,##0\);&quot;-  &quot;;&quot; &quot;@&quot; &quot;">
                  <c:v>0</c:v>
                </c:pt>
                <c:pt idx="5499" formatCode="#,##0_);\(#,##0\);&quot;-  &quot;;&quot; &quot;@&quot; &quot;">
                  <c:v>0</c:v>
                </c:pt>
                <c:pt idx="5500" formatCode="#,##0_);\(#,##0\);&quot;-  &quot;;&quot; &quot;@&quot; &quot;">
                  <c:v>0</c:v>
                </c:pt>
                <c:pt idx="5501" formatCode="#,##0_);\(#,##0\);&quot;-  &quot;;&quot; &quot;@&quot; &quot;">
                  <c:v>0</c:v>
                </c:pt>
                <c:pt idx="5502" formatCode="#,##0_);\(#,##0\);&quot;-  &quot;;&quot; &quot;@&quot; &quot;">
                  <c:v>0</c:v>
                </c:pt>
                <c:pt idx="5503" formatCode="#,##0_);\(#,##0\);&quot;-  &quot;;&quot; &quot;@&quot; &quot;">
                  <c:v>0</c:v>
                </c:pt>
                <c:pt idx="5504" formatCode="#,##0_);\(#,##0\);&quot;-  &quot;;&quot; &quot;@&quot; &quot;">
                  <c:v>0</c:v>
                </c:pt>
                <c:pt idx="5505" formatCode="#,##0_);\(#,##0\);&quot;-  &quot;;&quot; &quot;@&quot; &quot;">
                  <c:v>0</c:v>
                </c:pt>
                <c:pt idx="5506" formatCode="#,##0_);\(#,##0\);&quot;-  &quot;;&quot; &quot;@&quot; &quot;">
                  <c:v>0</c:v>
                </c:pt>
                <c:pt idx="5507" formatCode="#,##0_);\(#,##0\);&quot;-  &quot;;&quot; &quot;@&quot; &quot;">
                  <c:v>0</c:v>
                </c:pt>
                <c:pt idx="5508" formatCode="#,##0_);\(#,##0\);&quot;-  &quot;;&quot; &quot;@&quot; &quot;">
                  <c:v>0</c:v>
                </c:pt>
                <c:pt idx="5509" formatCode="#,##0_);\(#,##0\);&quot;-  &quot;;&quot; &quot;@&quot; &quot;">
                  <c:v>0</c:v>
                </c:pt>
                <c:pt idx="5510" formatCode="#,##0_);\(#,##0\);&quot;-  &quot;;&quot; &quot;@&quot; &quot;">
                  <c:v>0</c:v>
                </c:pt>
                <c:pt idx="5511" formatCode="#,##0_);\(#,##0\);&quot;-  &quot;;&quot; &quot;@&quot; &quot;">
                  <c:v>0</c:v>
                </c:pt>
                <c:pt idx="5512" formatCode="#,##0_);\(#,##0\);&quot;-  &quot;;&quot; &quot;@&quot; &quot;">
                  <c:v>0</c:v>
                </c:pt>
                <c:pt idx="5513" formatCode="#,##0_);\(#,##0\);&quot;-  &quot;;&quot; &quot;@&quot; &quot;">
                  <c:v>0</c:v>
                </c:pt>
                <c:pt idx="5514" formatCode="#,##0_);\(#,##0\);&quot;-  &quot;;&quot; &quot;@&quot; &quot;">
                  <c:v>0</c:v>
                </c:pt>
                <c:pt idx="5515" formatCode="#,##0_);\(#,##0\);&quot;-  &quot;;&quot; &quot;@&quot; &quot;">
                  <c:v>0</c:v>
                </c:pt>
                <c:pt idx="5516" formatCode="#,##0_);\(#,##0\);&quot;-  &quot;;&quot; &quot;@&quot; &quot;">
                  <c:v>0</c:v>
                </c:pt>
                <c:pt idx="5517" formatCode="#,##0_);\(#,##0\);&quot;-  &quot;;&quot; &quot;@&quot; &quot;">
                  <c:v>0</c:v>
                </c:pt>
                <c:pt idx="5518" formatCode="#,##0_);\(#,##0\);&quot;-  &quot;;&quot; &quot;@&quot; &quot;">
                  <c:v>0</c:v>
                </c:pt>
                <c:pt idx="5519" formatCode="#,##0_);\(#,##0\);&quot;-  &quot;;&quot; &quot;@&quot; &quot;">
                  <c:v>0</c:v>
                </c:pt>
                <c:pt idx="5520" formatCode="#,##0_);\(#,##0\);&quot;-  &quot;;&quot; &quot;@&quot; &quot;">
                  <c:v>0</c:v>
                </c:pt>
                <c:pt idx="5521" formatCode="#,##0_);\(#,##0\);&quot;-  &quot;;&quot; &quot;@&quot; &quot;">
                  <c:v>0</c:v>
                </c:pt>
                <c:pt idx="5522" formatCode="#,##0_);\(#,##0\);&quot;-  &quot;;&quot; &quot;@&quot; &quot;">
                  <c:v>0</c:v>
                </c:pt>
                <c:pt idx="5523" formatCode="#,##0_);\(#,##0\);&quot;-  &quot;;&quot; &quot;@&quot; &quot;">
                  <c:v>0</c:v>
                </c:pt>
                <c:pt idx="5524" formatCode="#,##0_);\(#,##0\);&quot;-  &quot;;&quot; &quot;@&quot; &quot;">
                  <c:v>0</c:v>
                </c:pt>
                <c:pt idx="5525" formatCode="#,##0_);\(#,##0\);&quot;-  &quot;;&quot; &quot;@&quot; &quot;">
                  <c:v>0</c:v>
                </c:pt>
                <c:pt idx="5526" formatCode="#,##0_);\(#,##0\);&quot;-  &quot;;&quot; &quot;@&quot; &quot;">
                  <c:v>0</c:v>
                </c:pt>
                <c:pt idx="5527" formatCode="#,##0_);\(#,##0\);&quot;-  &quot;;&quot; &quot;@&quot; &quot;">
                  <c:v>0</c:v>
                </c:pt>
                <c:pt idx="5528" formatCode="#,##0_);\(#,##0\);&quot;-  &quot;;&quot; &quot;@&quot; &quot;">
                  <c:v>0</c:v>
                </c:pt>
                <c:pt idx="5529" formatCode="#,##0_);\(#,##0\);&quot;-  &quot;;&quot; &quot;@&quot; &quot;">
                  <c:v>0</c:v>
                </c:pt>
                <c:pt idx="5530" formatCode="#,##0_);\(#,##0\);&quot;-  &quot;;&quot; &quot;@&quot; &quot;">
                  <c:v>0</c:v>
                </c:pt>
                <c:pt idx="5531" formatCode="#,##0_);\(#,##0\);&quot;-  &quot;;&quot; &quot;@&quot; &quot;">
                  <c:v>0</c:v>
                </c:pt>
                <c:pt idx="5532" formatCode="#,##0_);\(#,##0\);&quot;-  &quot;;&quot; &quot;@&quot; &quot;">
                  <c:v>0</c:v>
                </c:pt>
                <c:pt idx="5533" formatCode="#,##0_);\(#,##0\);&quot;-  &quot;;&quot; &quot;@&quot; &quot;">
                  <c:v>0</c:v>
                </c:pt>
                <c:pt idx="5534" formatCode="#,##0_);\(#,##0\);&quot;-  &quot;;&quot; &quot;@&quot; &quot;">
                  <c:v>0</c:v>
                </c:pt>
                <c:pt idx="5535" formatCode="#,##0_);\(#,##0\);&quot;-  &quot;;&quot; &quot;@&quot; &quot;">
                  <c:v>0</c:v>
                </c:pt>
                <c:pt idx="5536" formatCode="#,##0_);\(#,##0\);&quot;-  &quot;;&quot; &quot;@&quot; &quot;">
                  <c:v>0</c:v>
                </c:pt>
                <c:pt idx="5537" formatCode="#,##0_);\(#,##0\);&quot;-  &quot;;&quot; &quot;@&quot; &quot;">
                  <c:v>0</c:v>
                </c:pt>
                <c:pt idx="5538" formatCode="#,##0_);\(#,##0\);&quot;-  &quot;;&quot; &quot;@&quot; &quot;">
                  <c:v>0</c:v>
                </c:pt>
                <c:pt idx="5539" formatCode="#,##0_);\(#,##0\);&quot;-  &quot;;&quot; &quot;@&quot; &quot;">
                  <c:v>0</c:v>
                </c:pt>
                <c:pt idx="5540" formatCode="#,##0_);\(#,##0\);&quot;-  &quot;;&quot; &quot;@&quot; &quot;">
                  <c:v>0</c:v>
                </c:pt>
                <c:pt idx="5541" formatCode="#,##0_);\(#,##0\);&quot;-  &quot;;&quot; &quot;@&quot; &quot;">
                  <c:v>0</c:v>
                </c:pt>
                <c:pt idx="5542" formatCode="#,##0_);\(#,##0\);&quot;-  &quot;;&quot; &quot;@&quot; &quot;">
                  <c:v>0</c:v>
                </c:pt>
                <c:pt idx="5543" formatCode="#,##0_);\(#,##0\);&quot;-  &quot;;&quot; &quot;@&quot; &quot;">
                  <c:v>0</c:v>
                </c:pt>
                <c:pt idx="5544" formatCode="#,##0_);\(#,##0\);&quot;-  &quot;;&quot; &quot;@&quot; &quot;">
                  <c:v>0</c:v>
                </c:pt>
                <c:pt idx="5545" formatCode="#,##0_);\(#,##0\);&quot;-  &quot;;&quot; &quot;@&quot; &quot;">
                  <c:v>0</c:v>
                </c:pt>
                <c:pt idx="5546" formatCode="#,##0_);\(#,##0\);&quot;-  &quot;;&quot; &quot;@&quot; &quot;">
                  <c:v>0</c:v>
                </c:pt>
                <c:pt idx="5547" formatCode="#,##0_);\(#,##0\);&quot;-  &quot;;&quot; &quot;@&quot; &quot;">
                  <c:v>0</c:v>
                </c:pt>
                <c:pt idx="5548" formatCode="#,##0_);\(#,##0\);&quot;-  &quot;;&quot; &quot;@&quot; &quot;">
                  <c:v>0</c:v>
                </c:pt>
                <c:pt idx="5549" formatCode="#,##0_);\(#,##0\);&quot;-  &quot;;&quot; &quot;@&quot; &quot;">
                  <c:v>0</c:v>
                </c:pt>
                <c:pt idx="5550" formatCode="#,##0_);\(#,##0\);&quot;-  &quot;;&quot; &quot;@&quot; &quot;">
                  <c:v>0</c:v>
                </c:pt>
                <c:pt idx="5551" formatCode="#,##0_);\(#,##0\);&quot;-  &quot;;&quot; &quot;@&quot; &quot;">
                  <c:v>0</c:v>
                </c:pt>
                <c:pt idx="5552" formatCode="#,##0_);\(#,##0\);&quot;-  &quot;;&quot; &quot;@&quot; &quot;">
                  <c:v>0</c:v>
                </c:pt>
                <c:pt idx="5553" formatCode="#,##0_);\(#,##0\);&quot;-  &quot;;&quot; &quot;@&quot; &quot;">
                  <c:v>0</c:v>
                </c:pt>
                <c:pt idx="5554" formatCode="#,##0_);\(#,##0\);&quot;-  &quot;;&quot; &quot;@&quot; &quot;">
                  <c:v>0</c:v>
                </c:pt>
                <c:pt idx="5555" formatCode="#,##0_);\(#,##0\);&quot;-  &quot;;&quot; &quot;@&quot; &quot;">
                  <c:v>0</c:v>
                </c:pt>
                <c:pt idx="5556" formatCode="#,##0_);\(#,##0\);&quot;-  &quot;;&quot; &quot;@&quot; &quot;">
                  <c:v>0</c:v>
                </c:pt>
                <c:pt idx="5557" formatCode="#,##0_);\(#,##0\);&quot;-  &quot;;&quot; &quot;@&quot; &quot;">
                  <c:v>0</c:v>
                </c:pt>
                <c:pt idx="5558" formatCode="#,##0_);\(#,##0\);&quot;-  &quot;;&quot; &quot;@&quot; &quot;">
                  <c:v>0</c:v>
                </c:pt>
                <c:pt idx="5559" formatCode="#,##0_);\(#,##0\);&quot;-  &quot;;&quot; &quot;@&quot; &quot;">
                  <c:v>0</c:v>
                </c:pt>
                <c:pt idx="5560" formatCode="#,##0_);\(#,##0\);&quot;-  &quot;;&quot; &quot;@&quot; &quot;">
                  <c:v>0</c:v>
                </c:pt>
                <c:pt idx="5561" formatCode="#,##0_);\(#,##0\);&quot;-  &quot;;&quot; &quot;@&quot; &quot;">
                  <c:v>0</c:v>
                </c:pt>
                <c:pt idx="5562" formatCode="#,##0_);\(#,##0\);&quot;-  &quot;;&quot; &quot;@&quot; &quot;">
                  <c:v>0</c:v>
                </c:pt>
                <c:pt idx="5563" formatCode="#,##0_);\(#,##0\);&quot;-  &quot;;&quot; &quot;@&quot; &quot;">
                  <c:v>0</c:v>
                </c:pt>
                <c:pt idx="5564" formatCode="#,##0_);\(#,##0\);&quot;-  &quot;;&quot; &quot;@&quot; &quot;">
                  <c:v>0</c:v>
                </c:pt>
                <c:pt idx="5565" formatCode="#,##0_);\(#,##0\);&quot;-  &quot;;&quot; &quot;@&quot; &quot;">
                  <c:v>0</c:v>
                </c:pt>
                <c:pt idx="5566" formatCode="#,##0_);\(#,##0\);&quot;-  &quot;;&quot; &quot;@&quot; &quot;">
                  <c:v>0</c:v>
                </c:pt>
                <c:pt idx="5567" formatCode="#,##0_);\(#,##0\);&quot;-  &quot;;&quot; &quot;@&quot; &quot;">
                  <c:v>0</c:v>
                </c:pt>
                <c:pt idx="5568" formatCode="#,##0_);\(#,##0\);&quot;-  &quot;;&quot; &quot;@&quot; &quot;">
                  <c:v>0</c:v>
                </c:pt>
                <c:pt idx="5569" formatCode="#,##0_);\(#,##0\);&quot;-  &quot;;&quot; &quot;@&quot; &quot;">
                  <c:v>0</c:v>
                </c:pt>
                <c:pt idx="5570" formatCode="#,##0_);\(#,##0\);&quot;-  &quot;;&quot; &quot;@&quot; &quot;">
                  <c:v>0</c:v>
                </c:pt>
                <c:pt idx="5571" formatCode="#,##0_);\(#,##0\);&quot;-  &quot;;&quot; &quot;@&quot; &quot;">
                  <c:v>0</c:v>
                </c:pt>
                <c:pt idx="5572" formatCode="#,##0_);\(#,##0\);&quot;-  &quot;;&quot; &quot;@&quot; &quot;">
                  <c:v>0</c:v>
                </c:pt>
                <c:pt idx="5573" formatCode="#,##0_);\(#,##0\);&quot;-  &quot;;&quot; &quot;@&quot; &quot;">
                  <c:v>0</c:v>
                </c:pt>
                <c:pt idx="5574" formatCode="#,##0_);\(#,##0\);&quot;-  &quot;;&quot; &quot;@&quot; &quot;">
                  <c:v>0</c:v>
                </c:pt>
                <c:pt idx="5575" formatCode="#,##0_);\(#,##0\);&quot;-  &quot;;&quot; &quot;@&quot; &quot;">
                  <c:v>0</c:v>
                </c:pt>
                <c:pt idx="5576" formatCode="#,##0_);\(#,##0\);&quot;-  &quot;;&quot; &quot;@&quot; &quot;">
                  <c:v>0</c:v>
                </c:pt>
                <c:pt idx="5577" formatCode="#,##0_);\(#,##0\);&quot;-  &quot;;&quot; &quot;@&quot; &quot;">
                  <c:v>0</c:v>
                </c:pt>
                <c:pt idx="5578" formatCode="#,##0_);\(#,##0\);&quot;-  &quot;;&quot; &quot;@&quot; &quot;">
                  <c:v>0</c:v>
                </c:pt>
                <c:pt idx="5579" formatCode="#,##0_);\(#,##0\);&quot;-  &quot;;&quot; &quot;@&quot; &quot;">
                  <c:v>0</c:v>
                </c:pt>
                <c:pt idx="5580" formatCode="#,##0_);\(#,##0\);&quot;-  &quot;;&quot; &quot;@&quot; &quot;">
                  <c:v>0</c:v>
                </c:pt>
                <c:pt idx="5581" formatCode="#,##0_);\(#,##0\);&quot;-  &quot;;&quot; &quot;@&quot; &quot;">
                  <c:v>0</c:v>
                </c:pt>
                <c:pt idx="5582" formatCode="#,##0_);\(#,##0\);&quot;-  &quot;;&quot; &quot;@&quot; &quot;">
                  <c:v>0</c:v>
                </c:pt>
                <c:pt idx="5583" formatCode="#,##0_);\(#,##0\);&quot;-  &quot;;&quot; &quot;@&quot; &quot;">
                  <c:v>0</c:v>
                </c:pt>
                <c:pt idx="5584" formatCode="#,##0_);\(#,##0\);&quot;-  &quot;;&quot; &quot;@&quot; &quot;">
                  <c:v>0</c:v>
                </c:pt>
                <c:pt idx="5585" formatCode="#,##0_);\(#,##0\);&quot;-  &quot;;&quot; &quot;@&quot; &quot;">
                  <c:v>0</c:v>
                </c:pt>
                <c:pt idx="5586" formatCode="#,##0_);\(#,##0\);&quot;-  &quot;;&quot; &quot;@&quot; &quot;">
                  <c:v>0</c:v>
                </c:pt>
                <c:pt idx="5587" formatCode="#,##0_);\(#,##0\);&quot;-  &quot;;&quot; &quot;@&quot; &quot;">
                  <c:v>0</c:v>
                </c:pt>
                <c:pt idx="5588" formatCode="#,##0_);\(#,##0\);&quot;-  &quot;;&quot; &quot;@&quot; &quot;">
                  <c:v>0</c:v>
                </c:pt>
                <c:pt idx="5589" formatCode="#,##0_);\(#,##0\);&quot;-  &quot;;&quot; &quot;@&quot; &quot;">
                  <c:v>0</c:v>
                </c:pt>
                <c:pt idx="5590" formatCode="#,##0_);\(#,##0\);&quot;-  &quot;;&quot; &quot;@&quot; &quot;">
                  <c:v>0</c:v>
                </c:pt>
                <c:pt idx="5591" formatCode="#,##0_);\(#,##0\);&quot;-  &quot;;&quot; &quot;@&quot; &quot;">
                  <c:v>0</c:v>
                </c:pt>
                <c:pt idx="5592" formatCode="#,##0_);\(#,##0\);&quot;-  &quot;;&quot; &quot;@&quot; &quot;">
                  <c:v>0</c:v>
                </c:pt>
                <c:pt idx="5593" formatCode="#,##0_);\(#,##0\);&quot;-  &quot;;&quot; &quot;@&quot; &quot;">
                  <c:v>0</c:v>
                </c:pt>
                <c:pt idx="5594" formatCode="#,##0_);\(#,##0\);&quot;-  &quot;;&quot; &quot;@&quot; &quot;">
                  <c:v>0</c:v>
                </c:pt>
                <c:pt idx="5595" formatCode="#,##0_);\(#,##0\);&quot;-  &quot;;&quot; &quot;@&quot; &quot;">
                  <c:v>0</c:v>
                </c:pt>
                <c:pt idx="5596" formatCode="#,##0_);\(#,##0\);&quot;-  &quot;;&quot; &quot;@&quot; &quot;">
                  <c:v>0</c:v>
                </c:pt>
                <c:pt idx="5597" formatCode="#,##0_);\(#,##0\);&quot;-  &quot;;&quot; &quot;@&quot; &quot;">
                  <c:v>0</c:v>
                </c:pt>
                <c:pt idx="5598" formatCode="#,##0_);\(#,##0\);&quot;-  &quot;;&quot; &quot;@&quot; &quot;">
                  <c:v>0</c:v>
                </c:pt>
                <c:pt idx="5599" formatCode="#,##0_);\(#,##0\);&quot;-  &quot;;&quot; &quot;@&quot; &quot;">
                  <c:v>0</c:v>
                </c:pt>
                <c:pt idx="5600" formatCode="#,##0_);\(#,##0\);&quot;-  &quot;;&quot; &quot;@&quot; &quot;">
                  <c:v>0</c:v>
                </c:pt>
                <c:pt idx="5601" formatCode="#,##0_);\(#,##0\);&quot;-  &quot;;&quot; &quot;@&quot; &quot;">
                  <c:v>0</c:v>
                </c:pt>
                <c:pt idx="5602" formatCode="#,##0_);\(#,##0\);&quot;-  &quot;;&quot; &quot;@&quot; &quot;">
                  <c:v>0</c:v>
                </c:pt>
                <c:pt idx="5603" formatCode="#,##0_);\(#,##0\);&quot;-  &quot;;&quot; &quot;@&quot; &quot;">
                  <c:v>0</c:v>
                </c:pt>
                <c:pt idx="5604" formatCode="#,##0_);\(#,##0\);&quot;-  &quot;;&quot; &quot;@&quot; &quot;">
                  <c:v>0</c:v>
                </c:pt>
                <c:pt idx="5605" formatCode="#,##0_);\(#,##0\);&quot;-  &quot;;&quot; &quot;@&quot; &quot;">
                  <c:v>0</c:v>
                </c:pt>
                <c:pt idx="5606" formatCode="#,##0_);\(#,##0\);&quot;-  &quot;;&quot; &quot;@&quot; &quot;">
                  <c:v>0</c:v>
                </c:pt>
                <c:pt idx="5607" formatCode="#,##0_);\(#,##0\);&quot;-  &quot;;&quot; &quot;@&quot; &quot;">
                  <c:v>0</c:v>
                </c:pt>
                <c:pt idx="5608" formatCode="#,##0_);\(#,##0\);&quot;-  &quot;;&quot; &quot;@&quot; &quot;">
                  <c:v>0</c:v>
                </c:pt>
                <c:pt idx="5609" formatCode="#,##0_);\(#,##0\);&quot;-  &quot;;&quot; &quot;@&quot; &quot;">
                  <c:v>0</c:v>
                </c:pt>
                <c:pt idx="5610" formatCode="#,##0_);\(#,##0\);&quot;-  &quot;;&quot; &quot;@&quot; &quot;">
                  <c:v>0</c:v>
                </c:pt>
                <c:pt idx="5611" formatCode="#,##0_);\(#,##0\);&quot;-  &quot;;&quot; &quot;@&quot; &quot;">
                  <c:v>0</c:v>
                </c:pt>
                <c:pt idx="5612" formatCode="#,##0_);\(#,##0\);&quot;-  &quot;;&quot; &quot;@&quot; &quot;">
                  <c:v>0</c:v>
                </c:pt>
                <c:pt idx="5613" formatCode="#,##0_);\(#,##0\);&quot;-  &quot;;&quot; &quot;@&quot; &quot;">
                  <c:v>0</c:v>
                </c:pt>
                <c:pt idx="5614" formatCode="#,##0_);\(#,##0\);&quot;-  &quot;;&quot; &quot;@&quot; &quot;">
                  <c:v>0</c:v>
                </c:pt>
                <c:pt idx="5615" formatCode="#,##0_);\(#,##0\);&quot;-  &quot;;&quot; &quot;@&quot; &quot;">
                  <c:v>0</c:v>
                </c:pt>
                <c:pt idx="5616" formatCode="#,##0_);\(#,##0\);&quot;-  &quot;;&quot; &quot;@&quot; &quot;">
                  <c:v>0</c:v>
                </c:pt>
                <c:pt idx="5617" formatCode="#,##0_);\(#,##0\);&quot;-  &quot;;&quot; &quot;@&quot; &quot;">
                  <c:v>0</c:v>
                </c:pt>
                <c:pt idx="5618" formatCode="#,##0_);\(#,##0\);&quot;-  &quot;;&quot; &quot;@&quot; &quot;">
                  <c:v>0</c:v>
                </c:pt>
                <c:pt idx="5619" formatCode="#,##0_);\(#,##0\);&quot;-  &quot;;&quot; &quot;@&quot; &quot;">
                  <c:v>0</c:v>
                </c:pt>
                <c:pt idx="5620" formatCode="#,##0_);\(#,##0\);&quot;-  &quot;;&quot; &quot;@&quot; &quot;">
                  <c:v>0</c:v>
                </c:pt>
                <c:pt idx="5621" formatCode="#,##0_);\(#,##0\);&quot;-  &quot;;&quot; &quot;@&quot; &quot;">
                  <c:v>0</c:v>
                </c:pt>
                <c:pt idx="5622" formatCode="#,##0_);\(#,##0\);&quot;-  &quot;;&quot; &quot;@&quot; &quot;">
                  <c:v>0</c:v>
                </c:pt>
                <c:pt idx="5623" formatCode="#,##0_);\(#,##0\);&quot;-  &quot;;&quot; &quot;@&quot; &quot;">
                  <c:v>0</c:v>
                </c:pt>
                <c:pt idx="5624" formatCode="#,##0_);\(#,##0\);&quot;-  &quot;;&quot; &quot;@&quot; &quot;">
                  <c:v>0</c:v>
                </c:pt>
                <c:pt idx="5625" formatCode="#,##0_);\(#,##0\);&quot;-  &quot;;&quot; &quot;@&quot; &quot;">
                  <c:v>0</c:v>
                </c:pt>
                <c:pt idx="5626" formatCode="#,##0_);\(#,##0\);&quot;-  &quot;;&quot; &quot;@&quot; &quot;">
                  <c:v>0</c:v>
                </c:pt>
                <c:pt idx="5627" formatCode="#,##0_);\(#,##0\);&quot;-  &quot;;&quot; &quot;@&quot; &quot;">
                  <c:v>0</c:v>
                </c:pt>
                <c:pt idx="5628" formatCode="#,##0_);\(#,##0\);&quot;-  &quot;;&quot; &quot;@&quot; &quot;">
                  <c:v>0</c:v>
                </c:pt>
                <c:pt idx="5629" formatCode="#,##0_);\(#,##0\);&quot;-  &quot;;&quot; &quot;@&quot; &quot;">
                  <c:v>0</c:v>
                </c:pt>
                <c:pt idx="5630" formatCode="#,##0_);\(#,##0\);&quot;-  &quot;;&quot; &quot;@&quot; &quot;">
                  <c:v>0</c:v>
                </c:pt>
                <c:pt idx="5631" formatCode="#,##0_);\(#,##0\);&quot;-  &quot;;&quot; &quot;@&quot; &quot;">
                  <c:v>0</c:v>
                </c:pt>
                <c:pt idx="5632" formatCode="#,##0_);\(#,##0\);&quot;-  &quot;;&quot; &quot;@&quot; &quot;">
                  <c:v>0</c:v>
                </c:pt>
                <c:pt idx="5633" formatCode="#,##0_);\(#,##0\);&quot;-  &quot;;&quot; &quot;@&quot; &quot;">
                  <c:v>0</c:v>
                </c:pt>
                <c:pt idx="5634" formatCode="#,##0_);\(#,##0\);&quot;-  &quot;;&quot; &quot;@&quot; &quot;">
                  <c:v>0</c:v>
                </c:pt>
                <c:pt idx="5635" formatCode="#,##0_);\(#,##0\);&quot;-  &quot;;&quot; &quot;@&quot; &quot;">
                  <c:v>0</c:v>
                </c:pt>
                <c:pt idx="5636" formatCode="#,##0_);\(#,##0\);&quot;-  &quot;;&quot; &quot;@&quot; &quot;">
                  <c:v>0</c:v>
                </c:pt>
                <c:pt idx="5637" formatCode="#,##0_);\(#,##0\);&quot;-  &quot;;&quot; &quot;@&quot; &quot;">
                  <c:v>0</c:v>
                </c:pt>
                <c:pt idx="5638" formatCode="#,##0_);\(#,##0\);&quot;-  &quot;;&quot; &quot;@&quot; &quot;">
                  <c:v>0</c:v>
                </c:pt>
                <c:pt idx="5639" formatCode="#,##0_);\(#,##0\);&quot;-  &quot;;&quot; &quot;@&quot; &quot;">
                  <c:v>0</c:v>
                </c:pt>
                <c:pt idx="5640" formatCode="#,##0_);\(#,##0\);&quot;-  &quot;;&quot; &quot;@&quot; &quot;">
                  <c:v>0</c:v>
                </c:pt>
                <c:pt idx="5641" formatCode="#,##0_);\(#,##0\);&quot;-  &quot;;&quot; &quot;@&quot; &quot;">
                  <c:v>0</c:v>
                </c:pt>
                <c:pt idx="5642" formatCode="#,##0_);\(#,##0\);&quot;-  &quot;;&quot; &quot;@&quot; &quot;">
                  <c:v>0</c:v>
                </c:pt>
                <c:pt idx="5643" formatCode="#,##0_);\(#,##0\);&quot;-  &quot;;&quot; &quot;@&quot; &quot;">
                  <c:v>0</c:v>
                </c:pt>
                <c:pt idx="5644" formatCode="#,##0_);\(#,##0\);&quot;-  &quot;;&quot; &quot;@&quot; &quot;">
                  <c:v>0</c:v>
                </c:pt>
                <c:pt idx="5645" formatCode="#,##0_);\(#,##0\);&quot;-  &quot;;&quot; &quot;@&quot; &quot;">
                  <c:v>0</c:v>
                </c:pt>
                <c:pt idx="5646" formatCode="#,##0_);\(#,##0\);&quot;-  &quot;;&quot; &quot;@&quot; &quot;">
                  <c:v>0</c:v>
                </c:pt>
                <c:pt idx="5647" formatCode="#,##0_);\(#,##0\);&quot;-  &quot;;&quot; &quot;@&quot; &quot;">
                  <c:v>0</c:v>
                </c:pt>
                <c:pt idx="5648" formatCode="#,##0_);\(#,##0\);&quot;-  &quot;;&quot; &quot;@&quot; &quot;">
                  <c:v>0</c:v>
                </c:pt>
                <c:pt idx="5649" formatCode="#,##0_);\(#,##0\);&quot;-  &quot;;&quot; &quot;@&quot; &quot;">
                  <c:v>0</c:v>
                </c:pt>
                <c:pt idx="5650" formatCode="#,##0_);\(#,##0\);&quot;-  &quot;;&quot; &quot;@&quot; &quot;">
                  <c:v>0</c:v>
                </c:pt>
                <c:pt idx="5651" formatCode="#,##0_);\(#,##0\);&quot;-  &quot;;&quot; &quot;@&quot; &quot;">
                  <c:v>0</c:v>
                </c:pt>
                <c:pt idx="5652" formatCode="#,##0_);\(#,##0\);&quot;-  &quot;;&quot; &quot;@&quot; &quot;">
                  <c:v>0</c:v>
                </c:pt>
                <c:pt idx="5653" formatCode="#,##0_);\(#,##0\);&quot;-  &quot;;&quot; &quot;@&quot; &quot;">
                  <c:v>0</c:v>
                </c:pt>
                <c:pt idx="5654" formatCode="#,##0_);\(#,##0\);&quot;-  &quot;;&quot; &quot;@&quot; &quot;">
                  <c:v>0</c:v>
                </c:pt>
                <c:pt idx="5655" formatCode="#,##0_);\(#,##0\);&quot;-  &quot;;&quot; &quot;@&quot; &quot;">
                  <c:v>0</c:v>
                </c:pt>
                <c:pt idx="5656" formatCode="#,##0_);\(#,##0\);&quot;-  &quot;;&quot; &quot;@&quot; &quot;">
                  <c:v>0</c:v>
                </c:pt>
                <c:pt idx="5657" formatCode="#,##0_);\(#,##0\);&quot;-  &quot;;&quot; &quot;@&quot; &quot;">
                  <c:v>0</c:v>
                </c:pt>
                <c:pt idx="5658" formatCode="#,##0_);\(#,##0\);&quot;-  &quot;;&quot; &quot;@&quot; &quot;">
                  <c:v>0</c:v>
                </c:pt>
                <c:pt idx="5659" formatCode="#,##0_);\(#,##0\);&quot;-  &quot;;&quot; &quot;@&quot; &quot;">
                  <c:v>0</c:v>
                </c:pt>
                <c:pt idx="5660" formatCode="#,##0_);\(#,##0\);&quot;-  &quot;;&quot; &quot;@&quot; &quot;">
                  <c:v>0</c:v>
                </c:pt>
                <c:pt idx="5661" formatCode="#,##0_);\(#,##0\);&quot;-  &quot;;&quot; &quot;@&quot; &quot;">
                  <c:v>0</c:v>
                </c:pt>
                <c:pt idx="5662" formatCode="#,##0_);\(#,##0\);&quot;-  &quot;;&quot; &quot;@&quot; &quot;">
                  <c:v>0</c:v>
                </c:pt>
                <c:pt idx="5663" formatCode="#,##0_);\(#,##0\);&quot;-  &quot;;&quot; &quot;@&quot; &quot;">
                  <c:v>0</c:v>
                </c:pt>
                <c:pt idx="5664" formatCode="#,##0_);\(#,##0\);&quot;-  &quot;;&quot; &quot;@&quot; &quot;">
                  <c:v>0</c:v>
                </c:pt>
                <c:pt idx="5665" formatCode="#,##0_);\(#,##0\);&quot;-  &quot;;&quot; &quot;@&quot; &quot;">
                  <c:v>0</c:v>
                </c:pt>
                <c:pt idx="5666" formatCode="#,##0_);\(#,##0\);&quot;-  &quot;;&quot; &quot;@&quot; &quot;">
                  <c:v>0</c:v>
                </c:pt>
                <c:pt idx="5667" formatCode="#,##0_);\(#,##0\);&quot;-  &quot;;&quot; &quot;@&quot; &quot;">
                  <c:v>0</c:v>
                </c:pt>
                <c:pt idx="5668" formatCode="#,##0_);\(#,##0\);&quot;-  &quot;;&quot; &quot;@&quot; &quot;">
                  <c:v>0</c:v>
                </c:pt>
                <c:pt idx="5669" formatCode="#,##0_);\(#,##0\);&quot;-  &quot;;&quot; &quot;@&quot; &quot;">
                  <c:v>0</c:v>
                </c:pt>
                <c:pt idx="5670" formatCode="#,##0_);\(#,##0\);&quot;-  &quot;;&quot; &quot;@&quot; &quot;">
                  <c:v>0</c:v>
                </c:pt>
                <c:pt idx="5671" formatCode="#,##0_);\(#,##0\);&quot;-  &quot;;&quot; &quot;@&quot; &quot;">
                  <c:v>0</c:v>
                </c:pt>
                <c:pt idx="5672" formatCode="#,##0_);\(#,##0\);&quot;-  &quot;;&quot; &quot;@&quot; &quot;">
                  <c:v>0</c:v>
                </c:pt>
                <c:pt idx="5673" formatCode="#,##0_);\(#,##0\);&quot;-  &quot;;&quot; &quot;@&quot; &quot;">
                  <c:v>0</c:v>
                </c:pt>
                <c:pt idx="5674" formatCode="#,##0_);\(#,##0\);&quot;-  &quot;;&quot; &quot;@&quot; &quot;">
                  <c:v>0</c:v>
                </c:pt>
                <c:pt idx="5675" formatCode="#,##0_);\(#,##0\);&quot;-  &quot;;&quot; &quot;@&quot; &quot;">
                  <c:v>0</c:v>
                </c:pt>
                <c:pt idx="5676" formatCode="#,##0_);\(#,##0\);&quot;-  &quot;;&quot; &quot;@&quot; &quot;">
                  <c:v>0</c:v>
                </c:pt>
                <c:pt idx="5677" formatCode="#,##0_);\(#,##0\);&quot;-  &quot;;&quot; &quot;@&quot; &quot;">
                  <c:v>0</c:v>
                </c:pt>
                <c:pt idx="5678" formatCode="#,##0_);\(#,##0\);&quot;-  &quot;;&quot; &quot;@&quot; &quot;">
                  <c:v>0</c:v>
                </c:pt>
                <c:pt idx="5679" formatCode="#,##0_);\(#,##0\);&quot;-  &quot;;&quot; &quot;@&quot; &quot;">
                  <c:v>0</c:v>
                </c:pt>
                <c:pt idx="5680" formatCode="#,##0_);\(#,##0\);&quot;-  &quot;;&quot; &quot;@&quot; &quot;">
                  <c:v>0</c:v>
                </c:pt>
                <c:pt idx="5681" formatCode="#,##0_);\(#,##0\);&quot;-  &quot;;&quot; &quot;@&quot; &quot;">
                  <c:v>0</c:v>
                </c:pt>
                <c:pt idx="5682" formatCode="#,##0_);\(#,##0\);&quot;-  &quot;;&quot; &quot;@&quot; &quot;">
                  <c:v>0</c:v>
                </c:pt>
                <c:pt idx="5683" formatCode="#,##0_);\(#,##0\);&quot;-  &quot;;&quot; &quot;@&quot; &quot;">
                  <c:v>0</c:v>
                </c:pt>
                <c:pt idx="5684" formatCode="#,##0_);\(#,##0\);&quot;-  &quot;;&quot; &quot;@&quot; &quot;">
                  <c:v>0</c:v>
                </c:pt>
                <c:pt idx="5685" formatCode="#,##0_);\(#,##0\);&quot;-  &quot;;&quot; &quot;@&quot; &quot;">
                  <c:v>0</c:v>
                </c:pt>
                <c:pt idx="5686" formatCode="#,##0_);\(#,##0\);&quot;-  &quot;;&quot; &quot;@&quot; &quot;">
                  <c:v>0</c:v>
                </c:pt>
                <c:pt idx="5687" formatCode="#,##0_);\(#,##0\);&quot;-  &quot;;&quot; &quot;@&quot; &quot;">
                  <c:v>0</c:v>
                </c:pt>
                <c:pt idx="5688" formatCode="#,##0_);\(#,##0\);&quot;-  &quot;;&quot; &quot;@&quot; &quot;">
                  <c:v>0</c:v>
                </c:pt>
                <c:pt idx="5689" formatCode="#,##0_);\(#,##0\);&quot;-  &quot;;&quot; &quot;@&quot; &quot;">
                  <c:v>0</c:v>
                </c:pt>
                <c:pt idx="5690" formatCode="#,##0_);\(#,##0\);&quot;-  &quot;;&quot; &quot;@&quot; &quot;">
                  <c:v>0</c:v>
                </c:pt>
                <c:pt idx="5691" formatCode="#,##0_);\(#,##0\);&quot;-  &quot;;&quot; &quot;@&quot; &quot;">
                  <c:v>0</c:v>
                </c:pt>
                <c:pt idx="5692" formatCode="#,##0_);\(#,##0\);&quot;-  &quot;;&quot; &quot;@&quot; &quot;">
                  <c:v>0</c:v>
                </c:pt>
                <c:pt idx="5693" formatCode="#,##0_);\(#,##0\);&quot;-  &quot;;&quot; &quot;@&quot; &quot;">
                  <c:v>0</c:v>
                </c:pt>
                <c:pt idx="5694" formatCode="#,##0_);\(#,##0\);&quot;-  &quot;;&quot; &quot;@&quot; &quot;">
                  <c:v>0</c:v>
                </c:pt>
                <c:pt idx="5695" formatCode="#,##0_);\(#,##0\);&quot;-  &quot;;&quot; &quot;@&quot; &quot;">
                  <c:v>0</c:v>
                </c:pt>
                <c:pt idx="5696" formatCode="#,##0_);\(#,##0\);&quot;-  &quot;;&quot; &quot;@&quot; &quot;">
                  <c:v>0</c:v>
                </c:pt>
                <c:pt idx="5697" formatCode="#,##0_);\(#,##0\);&quot;-  &quot;;&quot; &quot;@&quot; &quot;">
                  <c:v>0</c:v>
                </c:pt>
                <c:pt idx="5698" formatCode="#,##0_);\(#,##0\);&quot;-  &quot;;&quot; &quot;@&quot; &quot;">
                  <c:v>0</c:v>
                </c:pt>
                <c:pt idx="5699" formatCode="#,##0_);\(#,##0\);&quot;-  &quot;;&quot; &quot;@&quot; &quot;">
                  <c:v>0</c:v>
                </c:pt>
                <c:pt idx="5700" formatCode="#,##0_);\(#,##0\);&quot;-  &quot;;&quot; &quot;@&quot; &quot;">
                  <c:v>0</c:v>
                </c:pt>
                <c:pt idx="5701" formatCode="#,##0_);\(#,##0\);&quot;-  &quot;;&quot; &quot;@&quot; &quot;">
                  <c:v>0</c:v>
                </c:pt>
                <c:pt idx="5702" formatCode="#,##0_);\(#,##0\);&quot;-  &quot;;&quot; &quot;@&quot; &quot;">
                  <c:v>0</c:v>
                </c:pt>
                <c:pt idx="5703" formatCode="#,##0_);\(#,##0\);&quot;-  &quot;;&quot; &quot;@&quot; &quot;">
                  <c:v>0</c:v>
                </c:pt>
                <c:pt idx="5704" formatCode="#,##0_);\(#,##0\);&quot;-  &quot;;&quot; &quot;@&quot; &quot;">
                  <c:v>0</c:v>
                </c:pt>
                <c:pt idx="5705" formatCode="#,##0_);\(#,##0\);&quot;-  &quot;;&quot; &quot;@&quot; &quot;">
                  <c:v>0</c:v>
                </c:pt>
                <c:pt idx="5706" formatCode="#,##0_);\(#,##0\);&quot;-  &quot;;&quot; &quot;@&quot; &quot;">
                  <c:v>0</c:v>
                </c:pt>
                <c:pt idx="5707" formatCode="#,##0_);\(#,##0\);&quot;-  &quot;;&quot; &quot;@&quot; &quot;">
                  <c:v>0</c:v>
                </c:pt>
                <c:pt idx="5708" formatCode="#,##0_);\(#,##0\);&quot;-  &quot;;&quot; &quot;@&quot; &quot;">
                  <c:v>0</c:v>
                </c:pt>
                <c:pt idx="5709" formatCode="#,##0_);\(#,##0\);&quot;-  &quot;;&quot; &quot;@&quot; &quot;">
                  <c:v>0</c:v>
                </c:pt>
                <c:pt idx="5710" formatCode="#,##0_);\(#,##0\);&quot;-  &quot;;&quot; &quot;@&quot; &quot;">
                  <c:v>0</c:v>
                </c:pt>
                <c:pt idx="5711" formatCode="#,##0_);\(#,##0\);&quot;-  &quot;;&quot; &quot;@&quot; &quot;">
                  <c:v>0</c:v>
                </c:pt>
                <c:pt idx="5712" formatCode="#,##0_);\(#,##0\);&quot;-  &quot;;&quot; &quot;@&quot; &quot;">
                  <c:v>0</c:v>
                </c:pt>
                <c:pt idx="5713" formatCode="#,##0_);\(#,##0\);&quot;-  &quot;;&quot; &quot;@&quot; &quot;">
                  <c:v>0</c:v>
                </c:pt>
                <c:pt idx="5714" formatCode="#,##0_);\(#,##0\);&quot;-  &quot;;&quot; &quot;@&quot; &quot;">
                  <c:v>0</c:v>
                </c:pt>
                <c:pt idx="5715" formatCode="#,##0_);\(#,##0\);&quot;-  &quot;;&quot; &quot;@&quot; &quot;">
                  <c:v>0</c:v>
                </c:pt>
                <c:pt idx="5716" formatCode="#,##0_);\(#,##0\);&quot;-  &quot;;&quot; &quot;@&quot; &quot;">
                  <c:v>0</c:v>
                </c:pt>
                <c:pt idx="5717" formatCode="#,##0_);\(#,##0\);&quot;-  &quot;;&quot; &quot;@&quot; &quot;">
                  <c:v>0</c:v>
                </c:pt>
                <c:pt idx="5718" formatCode="#,##0_);\(#,##0\);&quot;-  &quot;;&quot; &quot;@&quot; &quot;">
                  <c:v>0</c:v>
                </c:pt>
                <c:pt idx="5719" formatCode="#,##0_);\(#,##0\);&quot;-  &quot;;&quot; &quot;@&quot; &quot;">
                  <c:v>0</c:v>
                </c:pt>
                <c:pt idx="5720" formatCode="#,##0_);\(#,##0\);&quot;-  &quot;;&quot; &quot;@&quot; &quot;">
                  <c:v>0</c:v>
                </c:pt>
                <c:pt idx="5721" formatCode="#,##0_);\(#,##0\);&quot;-  &quot;;&quot; &quot;@&quot; &quot;">
                  <c:v>0</c:v>
                </c:pt>
                <c:pt idx="5722" formatCode="#,##0_);\(#,##0\);&quot;-  &quot;;&quot; &quot;@&quot; &quot;">
                  <c:v>0</c:v>
                </c:pt>
                <c:pt idx="5723" formatCode="#,##0_);\(#,##0\);&quot;-  &quot;;&quot; &quot;@&quot; &quot;">
                  <c:v>0</c:v>
                </c:pt>
                <c:pt idx="5724" formatCode="#,##0_);\(#,##0\);&quot;-  &quot;;&quot; &quot;@&quot; &quot;">
                  <c:v>0</c:v>
                </c:pt>
                <c:pt idx="5725" formatCode="#,##0_);\(#,##0\);&quot;-  &quot;;&quot; &quot;@&quot; &quot;">
                  <c:v>0</c:v>
                </c:pt>
                <c:pt idx="5726" formatCode="#,##0_);\(#,##0\);&quot;-  &quot;;&quot; &quot;@&quot; &quot;">
                  <c:v>0</c:v>
                </c:pt>
                <c:pt idx="5727" formatCode="#,##0_);\(#,##0\);&quot;-  &quot;;&quot; &quot;@&quot; &quot;">
                  <c:v>0</c:v>
                </c:pt>
                <c:pt idx="5728" formatCode="#,##0_);\(#,##0\);&quot;-  &quot;;&quot; &quot;@&quot; &quot;">
                  <c:v>0</c:v>
                </c:pt>
                <c:pt idx="5729" formatCode="#,##0_);\(#,##0\);&quot;-  &quot;;&quot; &quot;@&quot; &quot;">
                  <c:v>0</c:v>
                </c:pt>
                <c:pt idx="5730" formatCode="#,##0_);\(#,##0\);&quot;-  &quot;;&quot; &quot;@&quot; &quot;">
                  <c:v>0</c:v>
                </c:pt>
                <c:pt idx="5731" formatCode="#,##0_);\(#,##0\);&quot;-  &quot;;&quot; &quot;@&quot; &quot;">
                  <c:v>0</c:v>
                </c:pt>
                <c:pt idx="5732" formatCode="#,##0_);\(#,##0\);&quot;-  &quot;;&quot; &quot;@&quot; &quot;">
                  <c:v>0</c:v>
                </c:pt>
                <c:pt idx="5733" formatCode="#,##0_);\(#,##0\);&quot;-  &quot;;&quot; &quot;@&quot; &quot;">
                  <c:v>0</c:v>
                </c:pt>
                <c:pt idx="5734" formatCode="#,##0_);\(#,##0\);&quot;-  &quot;;&quot; &quot;@&quot; &quot;">
                  <c:v>0</c:v>
                </c:pt>
                <c:pt idx="5735" formatCode="#,##0_);\(#,##0\);&quot;-  &quot;;&quot; &quot;@&quot; &quot;">
                  <c:v>0</c:v>
                </c:pt>
                <c:pt idx="5736" formatCode="#,##0_);\(#,##0\);&quot;-  &quot;;&quot; &quot;@&quot; &quot;">
                  <c:v>0</c:v>
                </c:pt>
                <c:pt idx="5737" formatCode="#,##0_);\(#,##0\);&quot;-  &quot;;&quot; &quot;@&quot; &quot;">
                  <c:v>0</c:v>
                </c:pt>
                <c:pt idx="5738" formatCode="#,##0_);\(#,##0\);&quot;-  &quot;;&quot; &quot;@&quot; &quot;">
                  <c:v>0</c:v>
                </c:pt>
                <c:pt idx="5739" formatCode="#,##0_);\(#,##0\);&quot;-  &quot;;&quot; &quot;@&quot; &quot;">
                  <c:v>0</c:v>
                </c:pt>
                <c:pt idx="5740" formatCode="#,##0_);\(#,##0\);&quot;-  &quot;;&quot; &quot;@&quot; &quot;">
                  <c:v>0</c:v>
                </c:pt>
                <c:pt idx="5741" formatCode="#,##0_);\(#,##0\);&quot;-  &quot;;&quot; &quot;@&quot; &quot;">
                  <c:v>0</c:v>
                </c:pt>
                <c:pt idx="5742" formatCode="#,##0_);\(#,##0\);&quot;-  &quot;;&quot; &quot;@&quot; &quot;">
                  <c:v>0</c:v>
                </c:pt>
                <c:pt idx="5743" formatCode="#,##0_);\(#,##0\);&quot;-  &quot;;&quot; &quot;@&quot; &quot;">
                  <c:v>0</c:v>
                </c:pt>
                <c:pt idx="5744" formatCode="#,##0_);\(#,##0\);&quot;-  &quot;;&quot; &quot;@&quot; &quot;">
                  <c:v>0</c:v>
                </c:pt>
                <c:pt idx="5745" formatCode="#,##0_);\(#,##0\);&quot;-  &quot;;&quot; &quot;@&quot; &quot;">
                  <c:v>0</c:v>
                </c:pt>
                <c:pt idx="5746" formatCode="#,##0_);\(#,##0\);&quot;-  &quot;;&quot; &quot;@&quot; &quot;">
                  <c:v>0</c:v>
                </c:pt>
                <c:pt idx="5747" formatCode="#,##0_);\(#,##0\);&quot;-  &quot;;&quot; &quot;@&quot; &quot;">
                  <c:v>0</c:v>
                </c:pt>
                <c:pt idx="5748" formatCode="#,##0_);\(#,##0\);&quot;-  &quot;;&quot; &quot;@&quot; &quot;">
                  <c:v>0</c:v>
                </c:pt>
                <c:pt idx="5749" formatCode="#,##0_);\(#,##0\);&quot;-  &quot;;&quot; &quot;@&quot; &quot;">
                  <c:v>0</c:v>
                </c:pt>
                <c:pt idx="5750" formatCode="#,##0_);\(#,##0\);&quot;-  &quot;;&quot; &quot;@&quot; &quot;">
                  <c:v>0</c:v>
                </c:pt>
                <c:pt idx="5751" formatCode="#,##0_);\(#,##0\);&quot;-  &quot;;&quot; &quot;@&quot; &quot;">
                  <c:v>0</c:v>
                </c:pt>
                <c:pt idx="5752" formatCode="#,##0_);\(#,##0\);&quot;-  &quot;;&quot; &quot;@&quot; &quot;">
                  <c:v>0</c:v>
                </c:pt>
                <c:pt idx="5753" formatCode="#,##0_);\(#,##0\);&quot;-  &quot;;&quot; &quot;@&quot; &quot;">
                  <c:v>0</c:v>
                </c:pt>
                <c:pt idx="5754" formatCode="#,##0_);\(#,##0\);&quot;-  &quot;;&quot; &quot;@&quot; &quot;">
                  <c:v>0</c:v>
                </c:pt>
                <c:pt idx="5755" formatCode="#,##0_);\(#,##0\);&quot;-  &quot;;&quot; &quot;@&quot; &quot;">
                  <c:v>0</c:v>
                </c:pt>
                <c:pt idx="5756" formatCode="#,##0_);\(#,##0\);&quot;-  &quot;;&quot; &quot;@&quot; &quot;">
                  <c:v>0</c:v>
                </c:pt>
                <c:pt idx="5757" formatCode="#,##0_);\(#,##0\);&quot;-  &quot;;&quot; &quot;@&quot; &quot;">
                  <c:v>0</c:v>
                </c:pt>
                <c:pt idx="5758" formatCode="#,##0_);\(#,##0\);&quot;-  &quot;;&quot; &quot;@&quot; &quot;">
                  <c:v>0</c:v>
                </c:pt>
                <c:pt idx="5759" formatCode="#,##0_);\(#,##0\);&quot;-  &quot;;&quot; &quot;@&quot; &quot;">
                  <c:v>0</c:v>
                </c:pt>
                <c:pt idx="5760" formatCode="#,##0_);\(#,##0\);&quot;-  &quot;;&quot; &quot;@&quot; &quot;">
                  <c:v>0</c:v>
                </c:pt>
                <c:pt idx="5761" formatCode="#,##0_);\(#,##0\);&quot;-  &quot;;&quot; &quot;@&quot; &quot;">
                  <c:v>0</c:v>
                </c:pt>
                <c:pt idx="5762" formatCode="#,##0_);\(#,##0\);&quot;-  &quot;;&quot; &quot;@&quot; &quot;">
                  <c:v>0</c:v>
                </c:pt>
                <c:pt idx="5763" formatCode="#,##0_);\(#,##0\);&quot;-  &quot;;&quot; &quot;@&quot; &quot;">
                  <c:v>0</c:v>
                </c:pt>
                <c:pt idx="5764" formatCode="#,##0_);\(#,##0\);&quot;-  &quot;;&quot; &quot;@&quot; &quot;">
                  <c:v>0</c:v>
                </c:pt>
                <c:pt idx="5765" formatCode="#,##0_);\(#,##0\);&quot;-  &quot;;&quot; &quot;@&quot; &quot;">
                  <c:v>0</c:v>
                </c:pt>
                <c:pt idx="5766" formatCode="#,##0_);\(#,##0\);&quot;-  &quot;;&quot; &quot;@&quot; &quot;">
                  <c:v>0</c:v>
                </c:pt>
                <c:pt idx="5767" formatCode="#,##0_);\(#,##0\);&quot;-  &quot;;&quot; &quot;@&quot; &quot;">
                  <c:v>0</c:v>
                </c:pt>
                <c:pt idx="5768" formatCode="#,##0_);\(#,##0\);&quot;-  &quot;;&quot; &quot;@&quot; &quot;">
                  <c:v>0</c:v>
                </c:pt>
                <c:pt idx="5769" formatCode="#,##0_);\(#,##0\);&quot;-  &quot;;&quot; &quot;@&quot; &quot;">
                  <c:v>0</c:v>
                </c:pt>
                <c:pt idx="5770" formatCode="#,##0_);\(#,##0\);&quot;-  &quot;;&quot; &quot;@&quot; &quot;">
                  <c:v>0</c:v>
                </c:pt>
                <c:pt idx="5771" formatCode="#,##0_);\(#,##0\);&quot;-  &quot;;&quot; &quot;@&quot; &quot;">
                  <c:v>0</c:v>
                </c:pt>
                <c:pt idx="5772" formatCode="#,##0_);\(#,##0\);&quot;-  &quot;;&quot; &quot;@&quot; &quot;">
                  <c:v>0</c:v>
                </c:pt>
                <c:pt idx="5773" formatCode="#,##0_);\(#,##0\);&quot;-  &quot;;&quot; &quot;@&quot; &quot;">
                  <c:v>0</c:v>
                </c:pt>
                <c:pt idx="5774" formatCode="#,##0_);\(#,##0\);&quot;-  &quot;;&quot; &quot;@&quot; &quot;">
                  <c:v>0</c:v>
                </c:pt>
                <c:pt idx="5775" formatCode="#,##0_);\(#,##0\);&quot;-  &quot;;&quot; &quot;@&quot; &quot;">
                  <c:v>0</c:v>
                </c:pt>
                <c:pt idx="5776" formatCode="#,##0_);\(#,##0\);&quot;-  &quot;;&quot; &quot;@&quot; &quot;">
                  <c:v>0</c:v>
                </c:pt>
                <c:pt idx="5777" formatCode="#,##0_);\(#,##0\);&quot;-  &quot;;&quot; &quot;@&quot; &quot;">
                  <c:v>0</c:v>
                </c:pt>
                <c:pt idx="5778" formatCode="#,##0_);\(#,##0\);&quot;-  &quot;;&quot; &quot;@&quot; &quot;">
                  <c:v>0</c:v>
                </c:pt>
                <c:pt idx="5779" formatCode="#,##0_);\(#,##0\);&quot;-  &quot;;&quot; &quot;@&quot; &quot;">
                  <c:v>0</c:v>
                </c:pt>
                <c:pt idx="5780" formatCode="#,##0_);\(#,##0\);&quot;-  &quot;;&quot; &quot;@&quot; &quot;">
                  <c:v>0</c:v>
                </c:pt>
                <c:pt idx="5781" formatCode="#,##0_);\(#,##0\);&quot;-  &quot;;&quot; &quot;@&quot; &quot;">
                  <c:v>0</c:v>
                </c:pt>
                <c:pt idx="5782" formatCode="#,##0_);\(#,##0\);&quot;-  &quot;;&quot; &quot;@&quot; &quot;">
                  <c:v>0</c:v>
                </c:pt>
                <c:pt idx="5783" formatCode="#,##0_);\(#,##0\);&quot;-  &quot;;&quot; &quot;@&quot; &quot;">
                  <c:v>0</c:v>
                </c:pt>
                <c:pt idx="5784" formatCode="#,##0_);\(#,##0\);&quot;-  &quot;;&quot; &quot;@&quot; &quot;">
                  <c:v>0</c:v>
                </c:pt>
                <c:pt idx="5785" formatCode="#,##0_);\(#,##0\);&quot;-  &quot;;&quot; &quot;@&quot; &quot;">
                  <c:v>0</c:v>
                </c:pt>
                <c:pt idx="5786" formatCode="#,##0_);\(#,##0\);&quot;-  &quot;;&quot; &quot;@&quot; &quot;">
                  <c:v>0</c:v>
                </c:pt>
                <c:pt idx="5787" formatCode="#,##0_);\(#,##0\);&quot;-  &quot;;&quot; &quot;@&quot; &quot;">
                  <c:v>0</c:v>
                </c:pt>
                <c:pt idx="5788" formatCode="#,##0_);\(#,##0\);&quot;-  &quot;;&quot; &quot;@&quot; &quot;">
                  <c:v>0</c:v>
                </c:pt>
                <c:pt idx="5789" formatCode="#,##0_);\(#,##0\);&quot;-  &quot;;&quot; &quot;@&quot; &quot;">
                  <c:v>0</c:v>
                </c:pt>
                <c:pt idx="5790" formatCode="#,##0_);\(#,##0\);&quot;-  &quot;;&quot; &quot;@&quot; &quot;">
                  <c:v>0</c:v>
                </c:pt>
                <c:pt idx="5791" formatCode="#,##0_);\(#,##0\);&quot;-  &quot;;&quot; &quot;@&quot; &quot;">
                  <c:v>0</c:v>
                </c:pt>
                <c:pt idx="5792" formatCode="#,##0_);\(#,##0\);&quot;-  &quot;;&quot; &quot;@&quot; &quot;">
                  <c:v>0</c:v>
                </c:pt>
                <c:pt idx="5793" formatCode="#,##0_);\(#,##0\);&quot;-  &quot;;&quot; &quot;@&quot; &quot;">
                  <c:v>0</c:v>
                </c:pt>
                <c:pt idx="5794" formatCode="#,##0_);\(#,##0\);&quot;-  &quot;;&quot; &quot;@&quot; &quot;">
                  <c:v>0</c:v>
                </c:pt>
                <c:pt idx="5795" formatCode="#,##0_);\(#,##0\);&quot;-  &quot;;&quot; &quot;@&quot; &quot;">
                  <c:v>0</c:v>
                </c:pt>
                <c:pt idx="5796" formatCode="#,##0_);\(#,##0\);&quot;-  &quot;;&quot; &quot;@&quot; &quot;">
                  <c:v>0</c:v>
                </c:pt>
                <c:pt idx="5797" formatCode="#,##0_);\(#,##0\);&quot;-  &quot;;&quot; &quot;@&quot; &quot;">
                  <c:v>0</c:v>
                </c:pt>
                <c:pt idx="5798" formatCode="#,##0_);\(#,##0\);&quot;-  &quot;;&quot; &quot;@&quot; &quot;">
                  <c:v>0</c:v>
                </c:pt>
                <c:pt idx="5799" formatCode="#,##0_);\(#,##0\);&quot;-  &quot;;&quot; &quot;@&quot; &quot;">
                  <c:v>0</c:v>
                </c:pt>
                <c:pt idx="5800" formatCode="#,##0_);\(#,##0\);&quot;-  &quot;;&quot; &quot;@&quot; &quot;">
                  <c:v>0</c:v>
                </c:pt>
                <c:pt idx="5801" formatCode="#,##0_);\(#,##0\);&quot;-  &quot;;&quot; &quot;@&quot; &quot;">
                  <c:v>0</c:v>
                </c:pt>
                <c:pt idx="5802" formatCode="#,##0_);\(#,##0\);&quot;-  &quot;;&quot; &quot;@&quot; &quot;">
                  <c:v>0</c:v>
                </c:pt>
                <c:pt idx="5803" formatCode="#,##0_);\(#,##0\);&quot;-  &quot;;&quot; &quot;@&quot; &quot;">
                  <c:v>0</c:v>
                </c:pt>
                <c:pt idx="5804" formatCode="#,##0_);\(#,##0\);&quot;-  &quot;;&quot; &quot;@&quot; &quot;">
                  <c:v>0</c:v>
                </c:pt>
                <c:pt idx="5805" formatCode="#,##0_);\(#,##0\);&quot;-  &quot;;&quot; &quot;@&quot; &quot;">
                  <c:v>0</c:v>
                </c:pt>
                <c:pt idx="5806" formatCode="#,##0_);\(#,##0\);&quot;-  &quot;;&quot; &quot;@&quot; &quot;">
                  <c:v>0</c:v>
                </c:pt>
                <c:pt idx="5807" formatCode="#,##0_);\(#,##0\);&quot;-  &quot;;&quot; &quot;@&quot; &quot;">
                  <c:v>0</c:v>
                </c:pt>
                <c:pt idx="5808" formatCode="#,##0_);\(#,##0\);&quot;-  &quot;;&quot; &quot;@&quot; &quot;">
                  <c:v>0</c:v>
                </c:pt>
                <c:pt idx="5809" formatCode="#,##0_);\(#,##0\);&quot;-  &quot;;&quot; &quot;@&quot; &quot;">
                  <c:v>0</c:v>
                </c:pt>
                <c:pt idx="5810" formatCode="#,##0_);\(#,##0\);&quot;-  &quot;;&quot; &quot;@&quot; &quot;">
                  <c:v>0</c:v>
                </c:pt>
                <c:pt idx="5811" formatCode="#,##0_);\(#,##0\);&quot;-  &quot;;&quot; &quot;@&quot; &quot;">
                  <c:v>0</c:v>
                </c:pt>
                <c:pt idx="5812" formatCode="#,##0_);\(#,##0\);&quot;-  &quot;;&quot; &quot;@&quot; &quot;">
                  <c:v>0</c:v>
                </c:pt>
                <c:pt idx="5813" formatCode="#,##0_);\(#,##0\);&quot;-  &quot;;&quot; &quot;@&quot; &quot;">
                  <c:v>0</c:v>
                </c:pt>
                <c:pt idx="5814" formatCode="#,##0_);\(#,##0\);&quot;-  &quot;;&quot; &quot;@&quot; &quot;">
                  <c:v>0</c:v>
                </c:pt>
                <c:pt idx="5815" formatCode="#,##0_);\(#,##0\);&quot;-  &quot;;&quot; &quot;@&quot; &quot;">
                  <c:v>0</c:v>
                </c:pt>
                <c:pt idx="5816" formatCode="#,##0_);\(#,##0\);&quot;-  &quot;;&quot; &quot;@&quot; &quot;">
                  <c:v>0</c:v>
                </c:pt>
                <c:pt idx="5817" formatCode="#,##0_);\(#,##0\);&quot;-  &quot;;&quot; &quot;@&quot; &quot;">
                  <c:v>0</c:v>
                </c:pt>
                <c:pt idx="5818" formatCode="#,##0_);\(#,##0\);&quot;-  &quot;;&quot; &quot;@&quot; &quot;">
                  <c:v>0</c:v>
                </c:pt>
                <c:pt idx="5819" formatCode="#,##0_);\(#,##0\);&quot;-  &quot;;&quot; &quot;@&quot; &quot;">
                  <c:v>0</c:v>
                </c:pt>
                <c:pt idx="5820" formatCode="#,##0_);\(#,##0\);&quot;-  &quot;;&quot; &quot;@&quot; &quot;">
                  <c:v>0</c:v>
                </c:pt>
                <c:pt idx="5821" formatCode="#,##0_);\(#,##0\);&quot;-  &quot;;&quot; &quot;@&quot; &quot;">
                  <c:v>0</c:v>
                </c:pt>
                <c:pt idx="5822" formatCode="#,##0_);\(#,##0\);&quot;-  &quot;;&quot; &quot;@&quot; &quot;">
                  <c:v>0</c:v>
                </c:pt>
                <c:pt idx="5823" formatCode="#,##0_);\(#,##0\);&quot;-  &quot;;&quot; &quot;@&quot; &quot;">
                  <c:v>0</c:v>
                </c:pt>
                <c:pt idx="5824" formatCode="#,##0_);\(#,##0\);&quot;-  &quot;;&quot; &quot;@&quot; &quot;">
                  <c:v>0</c:v>
                </c:pt>
                <c:pt idx="5825" formatCode="#,##0_);\(#,##0\);&quot;-  &quot;;&quot; &quot;@&quot; &quot;">
                  <c:v>0</c:v>
                </c:pt>
                <c:pt idx="5826" formatCode="#,##0_);\(#,##0\);&quot;-  &quot;;&quot; &quot;@&quot; &quot;">
                  <c:v>0</c:v>
                </c:pt>
                <c:pt idx="5827" formatCode="#,##0_);\(#,##0\);&quot;-  &quot;;&quot; &quot;@&quot; &quot;">
                  <c:v>0</c:v>
                </c:pt>
                <c:pt idx="5828" formatCode="#,##0_);\(#,##0\);&quot;-  &quot;;&quot; &quot;@&quot; &quot;">
                  <c:v>0</c:v>
                </c:pt>
                <c:pt idx="5829" formatCode="#,##0_);\(#,##0\);&quot;-  &quot;;&quot; &quot;@&quot; &quot;">
                  <c:v>0</c:v>
                </c:pt>
                <c:pt idx="5830" formatCode="#,##0_);\(#,##0\);&quot;-  &quot;;&quot; &quot;@&quot; &quot;">
                  <c:v>0</c:v>
                </c:pt>
                <c:pt idx="5831" formatCode="#,##0_);\(#,##0\);&quot;-  &quot;;&quot; &quot;@&quot; &quot;">
                  <c:v>0</c:v>
                </c:pt>
                <c:pt idx="5832" formatCode="#,##0_);\(#,##0\);&quot;-  &quot;;&quot; &quot;@&quot; &quot;">
                  <c:v>0</c:v>
                </c:pt>
                <c:pt idx="5833" formatCode="#,##0_);\(#,##0\);&quot;-  &quot;;&quot; &quot;@&quot; &quot;">
                  <c:v>0</c:v>
                </c:pt>
                <c:pt idx="5834" formatCode="#,##0_);\(#,##0\);&quot;-  &quot;;&quot; &quot;@&quot; &quot;">
                  <c:v>0</c:v>
                </c:pt>
                <c:pt idx="5835" formatCode="#,##0_);\(#,##0\);&quot;-  &quot;;&quot; &quot;@&quot; &quot;">
                  <c:v>0</c:v>
                </c:pt>
                <c:pt idx="5836" formatCode="#,##0_);\(#,##0\);&quot;-  &quot;;&quot; &quot;@&quot; &quot;">
                  <c:v>0</c:v>
                </c:pt>
                <c:pt idx="5837" formatCode="#,##0_);\(#,##0\);&quot;-  &quot;;&quot; &quot;@&quot; &quot;">
                  <c:v>0</c:v>
                </c:pt>
                <c:pt idx="5838" formatCode="#,##0_);\(#,##0\);&quot;-  &quot;;&quot; &quot;@&quot; &quot;">
                  <c:v>0</c:v>
                </c:pt>
                <c:pt idx="5839" formatCode="#,##0_);\(#,##0\);&quot;-  &quot;;&quot; &quot;@&quot; &quot;">
                  <c:v>0</c:v>
                </c:pt>
                <c:pt idx="5840" formatCode="#,##0_);\(#,##0\);&quot;-  &quot;;&quot; &quot;@&quot; &quot;">
                  <c:v>0</c:v>
                </c:pt>
                <c:pt idx="5841" formatCode="#,##0_);\(#,##0\);&quot;-  &quot;;&quot; &quot;@&quot; &quot;">
                  <c:v>0</c:v>
                </c:pt>
                <c:pt idx="5842" formatCode="#,##0_);\(#,##0\);&quot;-  &quot;;&quot; &quot;@&quot; &quot;">
                  <c:v>0</c:v>
                </c:pt>
                <c:pt idx="5843" formatCode="#,##0_);\(#,##0\);&quot;-  &quot;;&quot; &quot;@&quot; &quot;">
                  <c:v>0</c:v>
                </c:pt>
                <c:pt idx="5844" formatCode="#,##0_);\(#,##0\);&quot;-  &quot;;&quot; &quot;@&quot; &quot;">
                  <c:v>0</c:v>
                </c:pt>
                <c:pt idx="5845" formatCode="#,##0_);\(#,##0\);&quot;-  &quot;;&quot; &quot;@&quot; &quot;">
                  <c:v>0</c:v>
                </c:pt>
                <c:pt idx="5846" formatCode="#,##0_);\(#,##0\);&quot;-  &quot;;&quot; &quot;@&quot; &quot;">
                  <c:v>0</c:v>
                </c:pt>
                <c:pt idx="5847" formatCode="#,##0_);\(#,##0\);&quot;-  &quot;;&quot; &quot;@&quot; &quot;">
                  <c:v>0</c:v>
                </c:pt>
                <c:pt idx="5848" formatCode="#,##0_);\(#,##0\);&quot;-  &quot;;&quot; &quot;@&quot; &quot;">
                  <c:v>0</c:v>
                </c:pt>
                <c:pt idx="5849" formatCode="#,##0_);\(#,##0\);&quot;-  &quot;;&quot; &quot;@&quot; &quot;">
                  <c:v>0</c:v>
                </c:pt>
                <c:pt idx="5850" formatCode="#,##0_);\(#,##0\);&quot;-  &quot;;&quot; &quot;@&quot; &quot;">
                  <c:v>0</c:v>
                </c:pt>
                <c:pt idx="5851" formatCode="#,##0_);\(#,##0\);&quot;-  &quot;;&quot; &quot;@&quot; &quot;">
                  <c:v>0</c:v>
                </c:pt>
                <c:pt idx="5852" formatCode="#,##0_);\(#,##0\);&quot;-  &quot;;&quot; &quot;@&quot; &quot;">
                  <c:v>0</c:v>
                </c:pt>
                <c:pt idx="5853" formatCode="#,##0_);\(#,##0\);&quot;-  &quot;;&quot; &quot;@&quot; &quot;">
                  <c:v>0</c:v>
                </c:pt>
                <c:pt idx="5854" formatCode="#,##0_);\(#,##0\);&quot;-  &quot;;&quot; &quot;@&quot; &quot;">
                  <c:v>0</c:v>
                </c:pt>
                <c:pt idx="5855" formatCode="#,##0_);\(#,##0\);&quot;-  &quot;;&quot; &quot;@&quot; &quot;">
                  <c:v>0</c:v>
                </c:pt>
                <c:pt idx="5856" formatCode="#,##0_);\(#,##0\);&quot;-  &quot;;&quot; &quot;@&quot; &quot;">
                  <c:v>0</c:v>
                </c:pt>
                <c:pt idx="5857" formatCode="#,##0_);\(#,##0\);&quot;-  &quot;;&quot; &quot;@&quot; &quot;">
                  <c:v>0</c:v>
                </c:pt>
                <c:pt idx="5858" formatCode="#,##0_);\(#,##0\);&quot;-  &quot;;&quot; &quot;@&quot; &quot;">
                  <c:v>0</c:v>
                </c:pt>
                <c:pt idx="5859" formatCode="#,##0_);\(#,##0\);&quot;-  &quot;;&quot; &quot;@&quot; &quot;">
                  <c:v>0</c:v>
                </c:pt>
                <c:pt idx="5860" formatCode="#,##0_);\(#,##0\);&quot;-  &quot;;&quot; &quot;@&quot; &quot;">
                  <c:v>0</c:v>
                </c:pt>
                <c:pt idx="5861" formatCode="#,##0_);\(#,##0\);&quot;-  &quot;;&quot; &quot;@&quot; &quot;">
                  <c:v>0</c:v>
                </c:pt>
                <c:pt idx="5862" formatCode="#,##0_);\(#,##0\);&quot;-  &quot;;&quot; &quot;@&quot; &quot;">
                  <c:v>0</c:v>
                </c:pt>
                <c:pt idx="5863" formatCode="#,##0_);\(#,##0\);&quot;-  &quot;;&quot; &quot;@&quot; &quot;">
                  <c:v>0</c:v>
                </c:pt>
                <c:pt idx="5864" formatCode="#,##0_);\(#,##0\);&quot;-  &quot;;&quot; &quot;@&quot; &quot;">
                  <c:v>0</c:v>
                </c:pt>
                <c:pt idx="5865" formatCode="#,##0_);\(#,##0\);&quot;-  &quot;;&quot; &quot;@&quot; &quot;">
                  <c:v>0</c:v>
                </c:pt>
                <c:pt idx="5866" formatCode="#,##0_);\(#,##0\);&quot;-  &quot;;&quot; &quot;@&quot; &quot;">
                  <c:v>0</c:v>
                </c:pt>
                <c:pt idx="5867" formatCode="#,##0_);\(#,##0\);&quot;-  &quot;;&quot; &quot;@&quot; &quot;">
                  <c:v>0</c:v>
                </c:pt>
                <c:pt idx="5868" formatCode="#,##0_);\(#,##0\);&quot;-  &quot;;&quot; &quot;@&quot; &quot;">
                  <c:v>0</c:v>
                </c:pt>
                <c:pt idx="5869" formatCode="#,##0_);\(#,##0\);&quot;-  &quot;;&quot; &quot;@&quot; &quot;">
                  <c:v>0</c:v>
                </c:pt>
                <c:pt idx="5870" formatCode="#,##0_);\(#,##0\);&quot;-  &quot;;&quot; &quot;@&quot; &quot;">
                  <c:v>0</c:v>
                </c:pt>
                <c:pt idx="5871" formatCode="#,##0_);\(#,##0\);&quot;-  &quot;;&quot; &quot;@&quot; &quot;">
                  <c:v>0</c:v>
                </c:pt>
                <c:pt idx="5872" formatCode="#,##0_);\(#,##0\);&quot;-  &quot;;&quot; &quot;@&quot; &quot;">
                  <c:v>0</c:v>
                </c:pt>
                <c:pt idx="5873" formatCode="#,##0_);\(#,##0\);&quot;-  &quot;;&quot; &quot;@&quot; &quot;">
                  <c:v>0</c:v>
                </c:pt>
                <c:pt idx="5874" formatCode="#,##0_);\(#,##0\);&quot;-  &quot;;&quot; &quot;@&quot; &quot;">
                  <c:v>0</c:v>
                </c:pt>
                <c:pt idx="5875" formatCode="#,##0_);\(#,##0\);&quot;-  &quot;;&quot; &quot;@&quot; &quot;">
                  <c:v>0</c:v>
                </c:pt>
                <c:pt idx="5876" formatCode="#,##0_);\(#,##0\);&quot;-  &quot;;&quot; &quot;@&quot; &quot;">
                  <c:v>0</c:v>
                </c:pt>
                <c:pt idx="5877" formatCode="#,##0_);\(#,##0\);&quot;-  &quot;;&quot; &quot;@&quot; &quot;">
                  <c:v>0</c:v>
                </c:pt>
                <c:pt idx="5878" formatCode="#,##0_);\(#,##0\);&quot;-  &quot;;&quot; &quot;@&quot; &quot;">
                  <c:v>0</c:v>
                </c:pt>
                <c:pt idx="5879" formatCode="#,##0_);\(#,##0\);&quot;-  &quot;;&quot; &quot;@&quot; &quot;">
                  <c:v>0</c:v>
                </c:pt>
                <c:pt idx="5880" formatCode="#,##0_);\(#,##0\);&quot;-  &quot;;&quot; &quot;@&quot; &quot;">
                  <c:v>0</c:v>
                </c:pt>
                <c:pt idx="5881" formatCode="#,##0_);\(#,##0\);&quot;-  &quot;;&quot; &quot;@&quot; &quot;">
                  <c:v>0</c:v>
                </c:pt>
                <c:pt idx="5882" formatCode="#,##0_);\(#,##0\);&quot;-  &quot;;&quot; &quot;@&quot; &quot;">
                  <c:v>0</c:v>
                </c:pt>
                <c:pt idx="5883" formatCode="#,##0_);\(#,##0\);&quot;-  &quot;;&quot; &quot;@&quot; &quot;">
                  <c:v>0</c:v>
                </c:pt>
                <c:pt idx="5884" formatCode="#,##0_);\(#,##0\);&quot;-  &quot;;&quot; &quot;@&quot; &quot;">
                  <c:v>0</c:v>
                </c:pt>
                <c:pt idx="5885" formatCode="#,##0_);\(#,##0\);&quot;-  &quot;;&quot; &quot;@&quot; &quot;">
                  <c:v>0</c:v>
                </c:pt>
                <c:pt idx="5886" formatCode="#,##0_);\(#,##0\);&quot;-  &quot;;&quot; &quot;@&quot; &quot;">
                  <c:v>0</c:v>
                </c:pt>
                <c:pt idx="5887" formatCode="#,##0_);\(#,##0\);&quot;-  &quot;;&quot; &quot;@&quot; &quot;">
                  <c:v>0</c:v>
                </c:pt>
                <c:pt idx="5888" formatCode="#,##0_);\(#,##0\);&quot;-  &quot;;&quot; &quot;@&quot; &quot;">
                  <c:v>0</c:v>
                </c:pt>
                <c:pt idx="5889" formatCode="#,##0_);\(#,##0\);&quot;-  &quot;;&quot; &quot;@&quot; &quot;">
                  <c:v>0</c:v>
                </c:pt>
                <c:pt idx="5890" formatCode="#,##0_);\(#,##0\);&quot;-  &quot;;&quot; &quot;@&quot; &quot;">
                  <c:v>0</c:v>
                </c:pt>
                <c:pt idx="5891" formatCode="#,##0_);\(#,##0\);&quot;-  &quot;;&quot; &quot;@&quot; &quot;">
                  <c:v>0</c:v>
                </c:pt>
                <c:pt idx="5892" formatCode="#,##0_);\(#,##0\);&quot;-  &quot;;&quot; &quot;@&quot; &quot;">
                  <c:v>0</c:v>
                </c:pt>
                <c:pt idx="5893" formatCode="#,##0_);\(#,##0\);&quot;-  &quot;;&quot; &quot;@&quot; &quot;">
                  <c:v>0</c:v>
                </c:pt>
                <c:pt idx="5894" formatCode="#,##0_);\(#,##0\);&quot;-  &quot;;&quot; &quot;@&quot; &quot;">
                  <c:v>0</c:v>
                </c:pt>
                <c:pt idx="5895" formatCode="#,##0_);\(#,##0\);&quot;-  &quot;;&quot; &quot;@&quot; &quot;">
                  <c:v>0</c:v>
                </c:pt>
                <c:pt idx="5896" formatCode="#,##0_);\(#,##0\);&quot;-  &quot;;&quot; &quot;@&quot; &quot;">
                  <c:v>0</c:v>
                </c:pt>
                <c:pt idx="5897" formatCode="#,##0_);\(#,##0\);&quot;-  &quot;;&quot; &quot;@&quot; &quot;">
                  <c:v>0</c:v>
                </c:pt>
                <c:pt idx="5898" formatCode="#,##0_);\(#,##0\);&quot;-  &quot;;&quot; &quot;@&quot; &quot;">
                  <c:v>0</c:v>
                </c:pt>
                <c:pt idx="5899" formatCode="#,##0_);\(#,##0\);&quot;-  &quot;;&quot; &quot;@&quot; &quot;">
                  <c:v>0</c:v>
                </c:pt>
                <c:pt idx="5900" formatCode="#,##0_);\(#,##0\);&quot;-  &quot;;&quot; &quot;@&quot; &quot;">
                  <c:v>0</c:v>
                </c:pt>
                <c:pt idx="5901" formatCode="#,##0_);\(#,##0\);&quot;-  &quot;;&quot; &quot;@&quot; &quot;">
                  <c:v>0</c:v>
                </c:pt>
                <c:pt idx="5902" formatCode="#,##0_);\(#,##0\);&quot;-  &quot;;&quot; &quot;@&quot; &quot;">
                  <c:v>0</c:v>
                </c:pt>
                <c:pt idx="5903" formatCode="#,##0_);\(#,##0\);&quot;-  &quot;;&quot; &quot;@&quot; &quot;">
                  <c:v>0</c:v>
                </c:pt>
                <c:pt idx="5904" formatCode="#,##0_);\(#,##0\);&quot;-  &quot;;&quot; &quot;@&quot; &quot;">
                  <c:v>0</c:v>
                </c:pt>
                <c:pt idx="5905" formatCode="#,##0_);\(#,##0\);&quot;-  &quot;;&quot; &quot;@&quot; &quot;">
                  <c:v>0</c:v>
                </c:pt>
                <c:pt idx="5906" formatCode="#,##0_);\(#,##0\);&quot;-  &quot;;&quot; &quot;@&quot; &quot;">
                  <c:v>0</c:v>
                </c:pt>
                <c:pt idx="5907" formatCode="#,##0_);\(#,##0\);&quot;-  &quot;;&quot; &quot;@&quot; &quot;">
                  <c:v>0</c:v>
                </c:pt>
                <c:pt idx="5908" formatCode="#,##0_);\(#,##0\);&quot;-  &quot;;&quot; &quot;@&quot; &quot;">
                  <c:v>0</c:v>
                </c:pt>
                <c:pt idx="5909" formatCode="#,##0_);\(#,##0\);&quot;-  &quot;;&quot; &quot;@&quot; &quot;">
                  <c:v>0</c:v>
                </c:pt>
                <c:pt idx="5910" formatCode="#,##0_);\(#,##0\);&quot;-  &quot;;&quot; &quot;@&quot; &quot;">
                  <c:v>0</c:v>
                </c:pt>
                <c:pt idx="5911" formatCode="#,##0_);\(#,##0\);&quot;-  &quot;;&quot; &quot;@&quot; &quot;">
                  <c:v>0</c:v>
                </c:pt>
                <c:pt idx="5912" formatCode="#,##0_);\(#,##0\);&quot;-  &quot;;&quot; &quot;@&quot; &quot;">
                  <c:v>0</c:v>
                </c:pt>
                <c:pt idx="5913" formatCode="#,##0_);\(#,##0\);&quot;-  &quot;;&quot; &quot;@&quot; &quot;">
                  <c:v>0</c:v>
                </c:pt>
                <c:pt idx="5914" formatCode="#,##0_);\(#,##0\);&quot;-  &quot;;&quot; &quot;@&quot; &quot;">
                  <c:v>0</c:v>
                </c:pt>
                <c:pt idx="5915" formatCode="#,##0_);\(#,##0\);&quot;-  &quot;;&quot; &quot;@&quot; &quot;">
                  <c:v>0</c:v>
                </c:pt>
                <c:pt idx="5916" formatCode="#,##0_);\(#,##0\);&quot;-  &quot;;&quot; &quot;@&quot; &quot;">
                  <c:v>0</c:v>
                </c:pt>
                <c:pt idx="5917" formatCode="#,##0_);\(#,##0\);&quot;-  &quot;;&quot; &quot;@&quot; &quot;">
                  <c:v>0</c:v>
                </c:pt>
                <c:pt idx="5918" formatCode="#,##0_);\(#,##0\);&quot;-  &quot;;&quot; &quot;@&quot; &quot;">
                  <c:v>0</c:v>
                </c:pt>
                <c:pt idx="5919" formatCode="#,##0_);\(#,##0\);&quot;-  &quot;;&quot; &quot;@&quot; &quot;">
                  <c:v>0</c:v>
                </c:pt>
                <c:pt idx="5920" formatCode="#,##0_);\(#,##0\);&quot;-  &quot;;&quot; &quot;@&quot; &quot;">
                  <c:v>0</c:v>
                </c:pt>
                <c:pt idx="5921" formatCode="#,##0_);\(#,##0\);&quot;-  &quot;;&quot; &quot;@&quot; &quot;">
                  <c:v>0</c:v>
                </c:pt>
                <c:pt idx="5922" formatCode="#,##0_);\(#,##0\);&quot;-  &quot;;&quot; &quot;@&quot; &quot;">
                  <c:v>0</c:v>
                </c:pt>
                <c:pt idx="5923" formatCode="#,##0_);\(#,##0\);&quot;-  &quot;;&quot; &quot;@&quot; &quot;">
                  <c:v>0</c:v>
                </c:pt>
                <c:pt idx="5924" formatCode="#,##0_);\(#,##0\);&quot;-  &quot;;&quot; &quot;@&quot; &quot;">
                  <c:v>0</c:v>
                </c:pt>
                <c:pt idx="5925" formatCode="#,##0_);\(#,##0\);&quot;-  &quot;;&quot; &quot;@&quot; &quot;">
                  <c:v>0</c:v>
                </c:pt>
                <c:pt idx="5926" formatCode="#,##0_);\(#,##0\);&quot;-  &quot;;&quot; &quot;@&quot; &quot;">
                  <c:v>0</c:v>
                </c:pt>
                <c:pt idx="5927" formatCode="#,##0_);\(#,##0\);&quot;-  &quot;;&quot; &quot;@&quot; &quot;">
                  <c:v>0</c:v>
                </c:pt>
                <c:pt idx="5928" formatCode="#,##0_);\(#,##0\);&quot;-  &quot;;&quot; &quot;@&quot; &quot;">
                  <c:v>0</c:v>
                </c:pt>
                <c:pt idx="5929" formatCode="#,##0_);\(#,##0\);&quot;-  &quot;;&quot; &quot;@&quot; &quot;">
                  <c:v>0</c:v>
                </c:pt>
                <c:pt idx="5930" formatCode="#,##0_);\(#,##0\);&quot;-  &quot;;&quot; &quot;@&quot; &quot;">
                  <c:v>0</c:v>
                </c:pt>
                <c:pt idx="5931" formatCode="#,##0_);\(#,##0\);&quot;-  &quot;;&quot; &quot;@&quot; &quot;">
                  <c:v>0</c:v>
                </c:pt>
                <c:pt idx="5932" formatCode="#,##0_);\(#,##0\);&quot;-  &quot;;&quot; &quot;@&quot; &quot;">
                  <c:v>0</c:v>
                </c:pt>
                <c:pt idx="5933" formatCode="#,##0_);\(#,##0\);&quot;-  &quot;;&quot; &quot;@&quot; &quot;">
                  <c:v>0</c:v>
                </c:pt>
                <c:pt idx="5934" formatCode="#,##0_);\(#,##0\);&quot;-  &quot;;&quot; &quot;@&quot; &quot;">
                  <c:v>0</c:v>
                </c:pt>
                <c:pt idx="5935" formatCode="#,##0_);\(#,##0\);&quot;-  &quot;;&quot; &quot;@&quot; &quot;">
                  <c:v>0</c:v>
                </c:pt>
                <c:pt idx="5936" formatCode="#,##0_);\(#,##0\);&quot;-  &quot;;&quot; &quot;@&quot; &quot;">
                  <c:v>0</c:v>
                </c:pt>
                <c:pt idx="5937" formatCode="#,##0_);\(#,##0\);&quot;-  &quot;;&quot; &quot;@&quot; &quot;">
                  <c:v>0</c:v>
                </c:pt>
                <c:pt idx="5938" formatCode="#,##0_);\(#,##0\);&quot;-  &quot;;&quot; &quot;@&quot; &quot;">
                  <c:v>0</c:v>
                </c:pt>
                <c:pt idx="5939" formatCode="#,##0_);\(#,##0\);&quot;-  &quot;;&quot; &quot;@&quot; &quot;">
                  <c:v>0</c:v>
                </c:pt>
                <c:pt idx="5940" formatCode="#,##0_);\(#,##0\);&quot;-  &quot;;&quot; &quot;@&quot; &quot;">
                  <c:v>0</c:v>
                </c:pt>
                <c:pt idx="5941" formatCode="#,##0_);\(#,##0\);&quot;-  &quot;;&quot; &quot;@&quot; &quot;">
                  <c:v>0</c:v>
                </c:pt>
                <c:pt idx="5942" formatCode="#,##0_);\(#,##0\);&quot;-  &quot;;&quot; &quot;@&quot; &quot;">
                  <c:v>0</c:v>
                </c:pt>
                <c:pt idx="5943" formatCode="#,##0_);\(#,##0\);&quot;-  &quot;;&quot; &quot;@&quot; &quot;">
                  <c:v>0</c:v>
                </c:pt>
                <c:pt idx="5944" formatCode="#,##0_);\(#,##0\);&quot;-  &quot;;&quot; &quot;@&quot; &quot;">
                  <c:v>0</c:v>
                </c:pt>
                <c:pt idx="5945" formatCode="#,##0_);\(#,##0\);&quot;-  &quot;;&quot; &quot;@&quot; &quot;">
                  <c:v>0</c:v>
                </c:pt>
                <c:pt idx="5946" formatCode="#,##0_);\(#,##0\);&quot;-  &quot;;&quot; &quot;@&quot; &quot;">
                  <c:v>0</c:v>
                </c:pt>
                <c:pt idx="5947" formatCode="#,##0_);\(#,##0\);&quot;-  &quot;;&quot; &quot;@&quot; &quot;">
                  <c:v>0</c:v>
                </c:pt>
                <c:pt idx="5948" formatCode="#,##0_);\(#,##0\);&quot;-  &quot;;&quot; &quot;@&quot; &quot;">
                  <c:v>0</c:v>
                </c:pt>
                <c:pt idx="5949" formatCode="#,##0_);\(#,##0\);&quot;-  &quot;;&quot; &quot;@&quot; &quot;">
                  <c:v>0</c:v>
                </c:pt>
                <c:pt idx="5950" formatCode="#,##0_);\(#,##0\);&quot;-  &quot;;&quot; &quot;@&quot; &quot;">
                  <c:v>0</c:v>
                </c:pt>
                <c:pt idx="5951" formatCode="#,##0_);\(#,##0\);&quot;-  &quot;;&quot; &quot;@&quot; &quot;">
                  <c:v>0</c:v>
                </c:pt>
                <c:pt idx="5952" formatCode="#,##0_);\(#,##0\);&quot;-  &quot;;&quot; &quot;@&quot; &quot;">
                  <c:v>0</c:v>
                </c:pt>
                <c:pt idx="5953" formatCode="#,##0_);\(#,##0\);&quot;-  &quot;;&quot; &quot;@&quot; &quot;">
                  <c:v>0</c:v>
                </c:pt>
                <c:pt idx="5954" formatCode="#,##0_);\(#,##0\);&quot;-  &quot;;&quot; &quot;@&quot; &quot;">
                  <c:v>0</c:v>
                </c:pt>
                <c:pt idx="5955" formatCode="#,##0_);\(#,##0\);&quot;-  &quot;;&quot; &quot;@&quot; &quot;">
                  <c:v>0</c:v>
                </c:pt>
                <c:pt idx="5956" formatCode="#,##0_);\(#,##0\);&quot;-  &quot;;&quot; &quot;@&quot; &quot;">
                  <c:v>0</c:v>
                </c:pt>
                <c:pt idx="5957" formatCode="#,##0_);\(#,##0\);&quot;-  &quot;;&quot; &quot;@&quot; &quot;">
                  <c:v>0</c:v>
                </c:pt>
                <c:pt idx="5958" formatCode="#,##0_);\(#,##0\);&quot;-  &quot;;&quot; &quot;@&quot; &quot;">
                  <c:v>0</c:v>
                </c:pt>
                <c:pt idx="5959" formatCode="#,##0_);\(#,##0\);&quot;-  &quot;;&quot; &quot;@&quot; &quot;">
                  <c:v>0</c:v>
                </c:pt>
                <c:pt idx="5960" formatCode="#,##0_);\(#,##0\);&quot;-  &quot;;&quot; &quot;@&quot; &quot;">
                  <c:v>0</c:v>
                </c:pt>
                <c:pt idx="5961" formatCode="#,##0_);\(#,##0\);&quot;-  &quot;;&quot; &quot;@&quot; &quot;">
                  <c:v>0</c:v>
                </c:pt>
                <c:pt idx="5962" formatCode="#,##0_);\(#,##0\);&quot;-  &quot;;&quot; &quot;@&quot; &quot;">
                  <c:v>0</c:v>
                </c:pt>
                <c:pt idx="5963" formatCode="#,##0_);\(#,##0\);&quot;-  &quot;;&quot; &quot;@&quot; &quot;">
                  <c:v>0</c:v>
                </c:pt>
                <c:pt idx="5964" formatCode="#,##0_);\(#,##0\);&quot;-  &quot;;&quot; &quot;@&quot; &quot;">
                  <c:v>0</c:v>
                </c:pt>
                <c:pt idx="5965" formatCode="#,##0_);\(#,##0\);&quot;-  &quot;;&quot; &quot;@&quot; &quot;">
                  <c:v>0</c:v>
                </c:pt>
                <c:pt idx="5966" formatCode="#,##0_);\(#,##0\);&quot;-  &quot;;&quot; &quot;@&quot; &quot;">
                  <c:v>0</c:v>
                </c:pt>
                <c:pt idx="5967" formatCode="#,##0_);\(#,##0\);&quot;-  &quot;;&quot; &quot;@&quot; &quot;">
                  <c:v>0</c:v>
                </c:pt>
                <c:pt idx="5968" formatCode="#,##0_);\(#,##0\);&quot;-  &quot;;&quot; &quot;@&quot; &quot;">
                  <c:v>0</c:v>
                </c:pt>
                <c:pt idx="5969" formatCode="#,##0_);\(#,##0\);&quot;-  &quot;;&quot; &quot;@&quot; &quot;">
                  <c:v>0</c:v>
                </c:pt>
                <c:pt idx="5970" formatCode="#,##0_);\(#,##0\);&quot;-  &quot;;&quot; &quot;@&quot; &quot;">
                  <c:v>0</c:v>
                </c:pt>
                <c:pt idx="5971" formatCode="#,##0_);\(#,##0\);&quot;-  &quot;;&quot; &quot;@&quot; &quot;">
                  <c:v>0</c:v>
                </c:pt>
                <c:pt idx="5972" formatCode="#,##0_);\(#,##0\);&quot;-  &quot;;&quot; &quot;@&quot; &quot;">
                  <c:v>0</c:v>
                </c:pt>
                <c:pt idx="5973" formatCode="#,##0_);\(#,##0\);&quot;-  &quot;;&quot; &quot;@&quot; &quot;">
                  <c:v>0</c:v>
                </c:pt>
                <c:pt idx="5974" formatCode="#,##0_);\(#,##0\);&quot;-  &quot;;&quot; &quot;@&quot; &quot;">
                  <c:v>0</c:v>
                </c:pt>
                <c:pt idx="5975" formatCode="#,##0_);\(#,##0\);&quot;-  &quot;;&quot; &quot;@&quot; &quot;">
                  <c:v>0</c:v>
                </c:pt>
                <c:pt idx="5976" formatCode="#,##0_);\(#,##0\);&quot;-  &quot;;&quot; &quot;@&quot; &quot;">
                  <c:v>0</c:v>
                </c:pt>
                <c:pt idx="5977" formatCode="#,##0_);\(#,##0\);&quot;-  &quot;;&quot; &quot;@&quot; &quot;">
                  <c:v>0</c:v>
                </c:pt>
                <c:pt idx="5978" formatCode="#,##0_);\(#,##0\);&quot;-  &quot;;&quot; &quot;@&quot; &quot;">
                  <c:v>0</c:v>
                </c:pt>
                <c:pt idx="5979" formatCode="#,##0_);\(#,##0\);&quot;-  &quot;;&quot; &quot;@&quot; &quot;">
                  <c:v>0</c:v>
                </c:pt>
                <c:pt idx="5980" formatCode="#,##0_);\(#,##0\);&quot;-  &quot;;&quot; &quot;@&quot; &quot;">
                  <c:v>0</c:v>
                </c:pt>
                <c:pt idx="5981" formatCode="#,##0_);\(#,##0\);&quot;-  &quot;;&quot; &quot;@&quot; &quot;">
                  <c:v>0</c:v>
                </c:pt>
                <c:pt idx="5982" formatCode="#,##0_);\(#,##0\);&quot;-  &quot;;&quot; &quot;@&quot; &quot;">
                  <c:v>0</c:v>
                </c:pt>
                <c:pt idx="5983" formatCode="#,##0_);\(#,##0\);&quot;-  &quot;;&quot; &quot;@&quot; &quot;">
                  <c:v>0</c:v>
                </c:pt>
                <c:pt idx="5984" formatCode="#,##0_);\(#,##0\);&quot;-  &quot;;&quot; &quot;@&quot; &quot;">
                  <c:v>0</c:v>
                </c:pt>
                <c:pt idx="5985" formatCode="#,##0_);\(#,##0\);&quot;-  &quot;;&quot; &quot;@&quot; &quot;">
                  <c:v>0</c:v>
                </c:pt>
                <c:pt idx="5986" formatCode="#,##0_);\(#,##0\);&quot;-  &quot;;&quot; &quot;@&quot; &quot;">
                  <c:v>0</c:v>
                </c:pt>
                <c:pt idx="5987" formatCode="#,##0_);\(#,##0\);&quot;-  &quot;;&quot; &quot;@&quot; &quot;">
                  <c:v>0</c:v>
                </c:pt>
                <c:pt idx="5988" formatCode="#,##0_);\(#,##0\);&quot;-  &quot;;&quot; &quot;@&quot; &quot;">
                  <c:v>0</c:v>
                </c:pt>
                <c:pt idx="5989" formatCode="#,##0_);\(#,##0\);&quot;-  &quot;;&quot; &quot;@&quot; &quot;">
                  <c:v>0</c:v>
                </c:pt>
                <c:pt idx="5990" formatCode="#,##0_);\(#,##0\);&quot;-  &quot;;&quot; &quot;@&quot; &quot;">
                  <c:v>0</c:v>
                </c:pt>
                <c:pt idx="5991" formatCode="#,##0_);\(#,##0\);&quot;-  &quot;;&quot; &quot;@&quot; &quot;">
                  <c:v>0</c:v>
                </c:pt>
                <c:pt idx="5992" formatCode="#,##0_);\(#,##0\);&quot;-  &quot;;&quot; &quot;@&quot; &quot;">
                  <c:v>0</c:v>
                </c:pt>
                <c:pt idx="5993" formatCode="#,##0_);\(#,##0\);&quot;-  &quot;;&quot; &quot;@&quot; &quot;">
                  <c:v>0</c:v>
                </c:pt>
                <c:pt idx="5994" formatCode="#,##0_);\(#,##0\);&quot;-  &quot;;&quot; &quot;@&quot; &quot;">
                  <c:v>0</c:v>
                </c:pt>
                <c:pt idx="5995" formatCode="#,##0_);\(#,##0\);&quot;-  &quot;;&quot; &quot;@&quot; &quot;">
                  <c:v>0</c:v>
                </c:pt>
                <c:pt idx="5996" formatCode="#,##0_);\(#,##0\);&quot;-  &quot;;&quot; &quot;@&quot; &quot;">
                  <c:v>0</c:v>
                </c:pt>
                <c:pt idx="5997" formatCode="#,##0_);\(#,##0\);&quot;-  &quot;;&quot; &quot;@&quot; &quot;">
                  <c:v>0</c:v>
                </c:pt>
                <c:pt idx="5998" formatCode="#,##0_);\(#,##0\);&quot;-  &quot;;&quot; &quot;@&quot; &quot;">
                  <c:v>0</c:v>
                </c:pt>
                <c:pt idx="5999" formatCode="#,##0_);\(#,##0\);&quot;-  &quot;;&quot; &quot;@&quot; &quot;">
                  <c:v>0</c:v>
                </c:pt>
                <c:pt idx="6000" formatCode="#,##0_);\(#,##0\);&quot;-  &quot;;&quot; &quot;@&quot; &quot;">
                  <c:v>0</c:v>
                </c:pt>
                <c:pt idx="6001" formatCode="#,##0_);\(#,##0\);&quot;-  &quot;;&quot; &quot;@&quot; &quot;">
                  <c:v>0</c:v>
                </c:pt>
                <c:pt idx="6002" formatCode="#,##0_);\(#,##0\);&quot;-  &quot;;&quot; &quot;@&quot; &quot;">
                  <c:v>0</c:v>
                </c:pt>
                <c:pt idx="6003" formatCode="#,##0_);\(#,##0\);&quot;-  &quot;;&quot; &quot;@&quot; &quot;">
                  <c:v>0</c:v>
                </c:pt>
                <c:pt idx="6004" formatCode="#,##0_);\(#,##0\);&quot;-  &quot;;&quot; &quot;@&quot; &quot;">
                  <c:v>0</c:v>
                </c:pt>
                <c:pt idx="6005" formatCode="#,##0_);\(#,##0\);&quot;-  &quot;;&quot; &quot;@&quot; &quot;">
                  <c:v>0</c:v>
                </c:pt>
                <c:pt idx="6006" formatCode="#,##0_);\(#,##0\);&quot;-  &quot;;&quot; &quot;@&quot; &quot;">
                  <c:v>0</c:v>
                </c:pt>
                <c:pt idx="6007" formatCode="#,##0_);\(#,##0\);&quot;-  &quot;;&quot; &quot;@&quot; &quot;">
                  <c:v>0</c:v>
                </c:pt>
                <c:pt idx="6008" formatCode="#,##0_);\(#,##0\);&quot;-  &quot;;&quot; &quot;@&quot; &quot;">
                  <c:v>0</c:v>
                </c:pt>
                <c:pt idx="6009" formatCode="#,##0_);\(#,##0\);&quot;-  &quot;;&quot; &quot;@&quot; &quot;">
                  <c:v>0</c:v>
                </c:pt>
                <c:pt idx="6010" formatCode="#,##0_);\(#,##0\);&quot;-  &quot;;&quot; &quot;@&quot; &quot;">
                  <c:v>0</c:v>
                </c:pt>
                <c:pt idx="6011" formatCode="#,##0_);\(#,##0\);&quot;-  &quot;;&quot; &quot;@&quot; &quot;">
                  <c:v>0</c:v>
                </c:pt>
                <c:pt idx="6012" formatCode="#,##0_);\(#,##0\);&quot;-  &quot;;&quot; &quot;@&quot; &quot;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83F-40E7-97EE-865B99DAA159}"/>
            </c:ext>
          </c:extLst>
        </c:ser>
        <c:ser>
          <c:idx val="3"/>
          <c:order val="3"/>
          <c:tx>
            <c:strRef>
              <c:f>Platts!$G$23</c:f>
              <c:strCache>
                <c:ptCount val="1"/>
                <c:pt idx="0">
                  <c:v> Jet fuel </c:v>
                </c:pt>
              </c:strCache>
            </c:strRef>
          </c:tx>
          <c:spPr>
            <a:ln w="19050">
              <a:solidFill>
                <a:srgbClr val="F04632"/>
              </a:solidFill>
            </a:ln>
          </c:spPr>
          <c:marker>
            <c:symbol val="none"/>
          </c:marker>
          <c:cat>
            <c:numRef>
              <c:f>Platts!$B$24:$B$6036</c:f>
              <c:numCache>
                <c:formatCode>dd\ mmm\ yyyy_);\(###0\);"-  ";" "@" "</c:formatCode>
                <c:ptCount val="6013"/>
                <c:pt idx="0">
                  <c:v>46357</c:v>
                </c:pt>
                <c:pt idx="1">
                  <c:v>46327</c:v>
                </c:pt>
                <c:pt idx="2">
                  <c:v>46296</c:v>
                </c:pt>
                <c:pt idx="3">
                  <c:v>46266</c:v>
                </c:pt>
                <c:pt idx="4">
                  <c:v>46235</c:v>
                </c:pt>
                <c:pt idx="5">
                  <c:v>46204</c:v>
                </c:pt>
                <c:pt idx="6">
                  <c:v>46174</c:v>
                </c:pt>
                <c:pt idx="7">
                  <c:v>46143</c:v>
                </c:pt>
                <c:pt idx="8">
                  <c:v>46113</c:v>
                </c:pt>
                <c:pt idx="9">
                  <c:v>46082</c:v>
                </c:pt>
                <c:pt idx="10">
                  <c:v>46054</c:v>
                </c:pt>
                <c:pt idx="11">
                  <c:v>46023</c:v>
                </c:pt>
                <c:pt idx="12">
                  <c:v>45992</c:v>
                </c:pt>
                <c:pt idx="13">
                  <c:v>45962</c:v>
                </c:pt>
                <c:pt idx="14">
                  <c:v>45931</c:v>
                </c:pt>
                <c:pt idx="15">
                  <c:v>45901</c:v>
                </c:pt>
                <c:pt idx="16">
                  <c:v>45870</c:v>
                </c:pt>
                <c:pt idx="17">
                  <c:v>45839</c:v>
                </c:pt>
                <c:pt idx="18">
                  <c:v>41639</c:v>
                </c:pt>
                <c:pt idx="19">
                  <c:v>41640</c:v>
                </c:pt>
                <c:pt idx="20">
                  <c:v>41641</c:v>
                </c:pt>
                <c:pt idx="21">
                  <c:v>41642</c:v>
                </c:pt>
                <c:pt idx="22">
                  <c:v>41645</c:v>
                </c:pt>
                <c:pt idx="23">
                  <c:v>41646</c:v>
                </c:pt>
                <c:pt idx="24">
                  <c:v>41647</c:v>
                </c:pt>
                <c:pt idx="25">
                  <c:v>41648</c:v>
                </c:pt>
                <c:pt idx="26">
                  <c:v>41649</c:v>
                </c:pt>
                <c:pt idx="27">
                  <c:v>41652</c:v>
                </c:pt>
                <c:pt idx="28">
                  <c:v>41653</c:v>
                </c:pt>
                <c:pt idx="29">
                  <c:v>41654</c:v>
                </c:pt>
                <c:pt idx="30">
                  <c:v>41655</c:v>
                </c:pt>
                <c:pt idx="31">
                  <c:v>41656</c:v>
                </c:pt>
                <c:pt idx="32">
                  <c:v>41659</c:v>
                </c:pt>
                <c:pt idx="33">
                  <c:v>41660</c:v>
                </c:pt>
                <c:pt idx="34">
                  <c:v>41661</c:v>
                </c:pt>
                <c:pt idx="35">
                  <c:v>41662</c:v>
                </c:pt>
                <c:pt idx="36">
                  <c:v>41663</c:v>
                </c:pt>
                <c:pt idx="37">
                  <c:v>41666</c:v>
                </c:pt>
                <c:pt idx="38">
                  <c:v>41667</c:v>
                </c:pt>
                <c:pt idx="39">
                  <c:v>41668</c:v>
                </c:pt>
                <c:pt idx="40">
                  <c:v>41669</c:v>
                </c:pt>
                <c:pt idx="41">
                  <c:v>41670</c:v>
                </c:pt>
                <c:pt idx="42">
                  <c:v>41673</c:v>
                </c:pt>
                <c:pt idx="43">
                  <c:v>41674</c:v>
                </c:pt>
                <c:pt idx="44">
                  <c:v>41675</c:v>
                </c:pt>
                <c:pt idx="45">
                  <c:v>41676</c:v>
                </c:pt>
                <c:pt idx="46">
                  <c:v>41677</c:v>
                </c:pt>
                <c:pt idx="47">
                  <c:v>41680</c:v>
                </c:pt>
                <c:pt idx="48">
                  <c:v>41681</c:v>
                </c:pt>
                <c:pt idx="49">
                  <c:v>41682</c:v>
                </c:pt>
                <c:pt idx="50">
                  <c:v>41683</c:v>
                </c:pt>
                <c:pt idx="51">
                  <c:v>41684</c:v>
                </c:pt>
                <c:pt idx="52">
                  <c:v>41687</c:v>
                </c:pt>
                <c:pt idx="53">
                  <c:v>41688</c:v>
                </c:pt>
                <c:pt idx="54">
                  <c:v>41689</c:v>
                </c:pt>
                <c:pt idx="55">
                  <c:v>41690</c:v>
                </c:pt>
                <c:pt idx="56">
                  <c:v>41691</c:v>
                </c:pt>
                <c:pt idx="57">
                  <c:v>41694</c:v>
                </c:pt>
                <c:pt idx="58">
                  <c:v>41695</c:v>
                </c:pt>
                <c:pt idx="59">
                  <c:v>41696</c:v>
                </c:pt>
                <c:pt idx="60">
                  <c:v>41697</c:v>
                </c:pt>
                <c:pt idx="61">
                  <c:v>41698</c:v>
                </c:pt>
                <c:pt idx="62">
                  <c:v>41701</c:v>
                </c:pt>
                <c:pt idx="63">
                  <c:v>41702</c:v>
                </c:pt>
                <c:pt idx="64">
                  <c:v>41703</c:v>
                </c:pt>
                <c:pt idx="65">
                  <c:v>41704</c:v>
                </c:pt>
                <c:pt idx="66">
                  <c:v>41705</c:v>
                </c:pt>
                <c:pt idx="67">
                  <c:v>41708</c:v>
                </c:pt>
                <c:pt idx="68">
                  <c:v>41709</c:v>
                </c:pt>
                <c:pt idx="69">
                  <c:v>41710</c:v>
                </c:pt>
                <c:pt idx="70">
                  <c:v>41711</c:v>
                </c:pt>
                <c:pt idx="71">
                  <c:v>41712</c:v>
                </c:pt>
                <c:pt idx="72">
                  <c:v>41715</c:v>
                </c:pt>
                <c:pt idx="73">
                  <c:v>41716</c:v>
                </c:pt>
                <c:pt idx="74">
                  <c:v>41717</c:v>
                </c:pt>
                <c:pt idx="75">
                  <c:v>41718</c:v>
                </c:pt>
                <c:pt idx="76">
                  <c:v>41719</c:v>
                </c:pt>
                <c:pt idx="77">
                  <c:v>41722</c:v>
                </c:pt>
                <c:pt idx="78">
                  <c:v>41723</c:v>
                </c:pt>
                <c:pt idx="79">
                  <c:v>41724</c:v>
                </c:pt>
                <c:pt idx="80">
                  <c:v>41725</c:v>
                </c:pt>
                <c:pt idx="81">
                  <c:v>41726</c:v>
                </c:pt>
                <c:pt idx="82">
                  <c:v>41729</c:v>
                </c:pt>
                <c:pt idx="83">
                  <c:v>41730</c:v>
                </c:pt>
                <c:pt idx="84">
                  <c:v>41731</c:v>
                </c:pt>
                <c:pt idx="85">
                  <c:v>41732</c:v>
                </c:pt>
                <c:pt idx="86">
                  <c:v>41733</c:v>
                </c:pt>
                <c:pt idx="87">
                  <c:v>41736</c:v>
                </c:pt>
                <c:pt idx="88">
                  <c:v>41737</c:v>
                </c:pt>
                <c:pt idx="89">
                  <c:v>41738</c:v>
                </c:pt>
                <c:pt idx="90">
                  <c:v>41739</c:v>
                </c:pt>
                <c:pt idx="91">
                  <c:v>41740</c:v>
                </c:pt>
                <c:pt idx="92">
                  <c:v>41743</c:v>
                </c:pt>
                <c:pt idx="93">
                  <c:v>41744</c:v>
                </c:pt>
                <c:pt idx="94">
                  <c:v>41745</c:v>
                </c:pt>
                <c:pt idx="95">
                  <c:v>41746</c:v>
                </c:pt>
                <c:pt idx="96">
                  <c:v>41747</c:v>
                </c:pt>
                <c:pt idx="97">
                  <c:v>41750</c:v>
                </c:pt>
                <c:pt idx="98">
                  <c:v>41751</c:v>
                </c:pt>
                <c:pt idx="99">
                  <c:v>41752</c:v>
                </c:pt>
                <c:pt idx="100">
                  <c:v>41753</c:v>
                </c:pt>
                <c:pt idx="101">
                  <c:v>41754</c:v>
                </c:pt>
                <c:pt idx="102">
                  <c:v>41757</c:v>
                </c:pt>
                <c:pt idx="103">
                  <c:v>41758</c:v>
                </c:pt>
                <c:pt idx="104">
                  <c:v>41759</c:v>
                </c:pt>
                <c:pt idx="105">
                  <c:v>41760</c:v>
                </c:pt>
                <c:pt idx="106">
                  <c:v>41761</c:v>
                </c:pt>
                <c:pt idx="107">
                  <c:v>41764</c:v>
                </c:pt>
                <c:pt idx="108">
                  <c:v>41765</c:v>
                </c:pt>
                <c:pt idx="109">
                  <c:v>41766</c:v>
                </c:pt>
                <c:pt idx="110">
                  <c:v>41767</c:v>
                </c:pt>
                <c:pt idx="111">
                  <c:v>41768</c:v>
                </c:pt>
                <c:pt idx="112">
                  <c:v>41771</c:v>
                </c:pt>
                <c:pt idx="113">
                  <c:v>41772</c:v>
                </c:pt>
                <c:pt idx="114">
                  <c:v>41773</c:v>
                </c:pt>
                <c:pt idx="115">
                  <c:v>41774</c:v>
                </c:pt>
                <c:pt idx="116">
                  <c:v>41775</c:v>
                </c:pt>
                <c:pt idx="117">
                  <c:v>41778</c:v>
                </c:pt>
                <c:pt idx="118">
                  <c:v>41779</c:v>
                </c:pt>
                <c:pt idx="119">
                  <c:v>41780</c:v>
                </c:pt>
                <c:pt idx="120">
                  <c:v>41781</c:v>
                </c:pt>
                <c:pt idx="121">
                  <c:v>41782</c:v>
                </c:pt>
                <c:pt idx="122">
                  <c:v>41785</c:v>
                </c:pt>
                <c:pt idx="123">
                  <c:v>41786</c:v>
                </c:pt>
                <c:pt idx="124">
                  <c:v>41787</c:v>
                </c:pt>
                <c:pt idx="125">
                  <c:v>41788</c:v>
                </c:pt>
                <c:pt idx="126">
                  <c:v>41789</c:v>
                </c:pt>
                <c:pt idx="127">
                  <c:v>41792</c:v>
                </c:pt>
                <c:pt idx="128">
                  <c:v>41793</c:v>
                </c:pt>
                <c:pt idx="129">
                  <c:v>41794</c:v>
                </c:pt>
                <c:pt idx="130">
                  <c:v>41795</c:v>
                </c:pt>
                <c:pt idx="131">
                  <c:v>41796</c:v>
                </c:pt>
                <c:pt idx="132">
                  <c:v>41799</c:v>
                </c:pt>
                <c:pt idx="133">
                  <c:v>41800</c:v>
                </c:pt>
                <c:pt idx="134">
                  <c:v>41801</c:v>
                </c:pt>
                <c:pt idx="135">
                  <c:v>41802</c:v>
                </c:pt>
                <c:pt idx="136">
                  <c:v>41803</c:v>
                </c:pt>
                <c:pt idx="137">
                  <c:v>41806</c:v>
                </c:pt>
                <c:pt idx="138">
                  <c:v>41807</c:v>
                </c:pt>
                <c:pt idx="139">
                  <c:v>41808</c:v>
                </c:pt>
                <c:pt idx="140">
                  <c:v>41809</c:v>
                </c:pt>
                <c:pt idx="141">
                  <c:v>41810</c:v>
                </c:pt>
                <c:pt idx="142">
                  <c:v>41813</c:v>
                </c:pt>
                <c:pt idx="143">
                  <c:v>41814</c:v>
                </c:pt>
                <c:pt idx="144">
                  <c:v>41815</c:v>
                </c:pt>
                <c:pt idx="145">
                  <c:v>41816</c:v>
                </c:pt>
                <c:pt idx="146">
                  <c:v>41817</c:v>
                </c:pt>
                <c:pt idx="147">
                  <c:v>41820</c:v>
                </c:pt>
                <c:pt idx="148">
                  <c:v>41821</c:v>
                </c:pt>
                <c:pt idx="149">
                  <c:v>41822</c:v>
                </c:pt>
                <c:pt idx="150">
                  <c:v>41823</c:v>
                </c:pt>
                <c:pt idx="151">
                  <c:v>41824</c:v>
                </c:pt>
                <c:pt idx="152">
                  <c:v>41827</c:v>
                </c:pt>
                <c:pt idx="153">
                  <c:v>41828</c:v>
                </c:pt>
                <c:pt idx="154">
                  <c:v>41829</c:v>
                </c:pt>
                <c:pt idx="155">
                  <c:v>41830</c:v>
                </c:pt>
                <c:pt idx="156">
                  <c:v>41831</c:v>
                </c:pt>
                <c:pt idx="157">
                  <c:v>41834</c:v>
                </c:pt>
                <c:pt idx="158">
                  <c:v>41835</c:v>
                </c:pt>
                <c:pt idx="159">
                  <c:v>41836</c:v>
                </c:pt>
                <c:pt idx="160">
                  <c:v>41837</c:v>
                </c:pt>
                <c:pt idx="161">
                  <c:v>41838</c:v>
                </c:pt>
                <c:pt idx="162">
                  <c:v>41841</c:v>
                </c:pt>
                <c:pt idx="163">
                  <c:v>41842</c:v>
                </c:pt>
                <c:pt idx="164">
                  <c:v>41843</c:v>
                </c:pt>
                <c:pt idx="165">
                  <c:v>41844</c:v>
                </c:pt>
                <c:pt idx="166">
                  <c:v>41845</c:v>
                </c:pt>
                <c:pt idx="167">
                  <c:v>41848</c:v>
                </c:pt>
                <c:pt idx="168">
                  <c:v>41849</c:v>
                </c:pt>
                <c:pt idx="169">
                  <c:v>41850</c:v>
                </c:pt>
                <c:pt idx="170">
                  <c:v>41851</c:v>
                </c:pt>
                <c:pt idx="171">
                  <c:v>41852</c:v>
                </c:pt>
                <c:pt idx="172">
                  <c:v>41855</c:v>
                </c:pt>
                <c:pt idx="173">
                  <c:v>41856</c:v>
                </c:pt>
                <c:pt idx="174">
                  <c:v>41857</c:v>
                </c:pt>
                <c:pt idx="175">
                  <c:v>41858</c:v>
                </c:pt>
                <c:pt idx="176">
                  <c:v>41859</c:v>
                </c:pt>
                <c:pt idx="177">
                  <c:v>41862</c:v>
                </c:pt>
                <c:pt idx="178">
                  <c:v>41863</c:v>
                </c:pt>
                <c:pt idx="179">
                  <c:v>41864</c:v>
                </c:pt>
                <c:pt idx="180">
                  <c:v>41865</c:v>
                </c:pt>
                <c:pt idx="181">
                  <c:v>41866</c:v>
                </c:pt>
                <c:pt idx="182">
                  <c:v>41869</c:v>
                </c:pt>
                <c:pt idx="183">
                  <c:v>41870</c:v>
                </c:pt>
                <c:pt idx="184">
                  <c:v>41871</c:v>
                </c:pt>
                <c:pt idx="185">
                  <c:v>41872</c:v>
                </c:pt>
                <c:pt idx="186">
                  <c:v>41873</c:v>
                </c:pt>
                <c:pt idx="187">
                  <c:v>41876</c:v>
                </c:pt>
                <c:pt idx="188">
                  <c:v>41877</c:v>
                </c:pt>
                <c:pt idx="189">
                  <c:v>41878</c:v>
                </c:pt>
                <c:pt idx="190">
                  <c:v>41879</c:v>
                </c:pt>
                <c:pt idx="191">
                  <c:v>41880</c:v>
                </c:pt>
                <c:pt idx="192">
                  <c:v>41883</c:v>
                </c:pt>
                <c:pt idx="193">
                  <c:v>41884</c:v>
                </c:pt>
                <c:pt idx="194">
                  <c:v>41885</c:v>
                </c:pt>
                <c:pt idx="195">
                  <c:v>41886</c:v>
                </c:pt>
                <c:pt idx="196">
                  <c:v>41887</c:v>
                </c:pt>
                <c:pt idx="197">
                  <c:v>41890</c:v>
                </c:pt>
                <c:pt idx="198">
                  <c:v>41891</c:v>
                </c:pt>
                <c:pt idx="199">
                  <c:v>41892</c:v>
                </c:pt>
                <c:pt idx="200">
                  <c:v>41893</c:v>
                </c:pt>
                <c:pt idx="201">
                  <c:v>41894</c:v>
                </c:pt>
                <c:pt idx="202">
                  <c:v>41897</c:v>
                </c:pt>
                <c:pt idx="203">
                  <c:v>41898</c:v>
                </c:pt>
                <c:pt idx="204">
                  <c:v>41899</c:v>
                </c:pt>
                <c:pt idx="205">
                  <c:v>41900</c:v>
                </c:pt>
                <c:pt idx="206">
                  <c:v>41901</c:v>
                </c:pt>
                <c:pt idx="207">
                  <c:v>41904</c:v>
                </c:pt>
                <c:pt idx="208">
                  <c:v>41905</c:v>
                </c:pt>
                <c:pt idx="209">
                  <c:v>41906</c:v>
                </c:pt>
                <c:pt idx="210">
                  <c:v>41907</c:v>
                </c:pt>
                <c:pt idx="211">
                  <c:v>41908</c:v>
                </c:pt>
                <c:pt idx="212">
                  <c:v>41911</c:v>
                </c:pt>
                <c:pt idx="213">
                  <c:v>41912</c:v>
                </c:pt>
                <c:pt idx="214">
                  <c:v>41913</c:v>
                </c:pt>
                <c:pt idx="215">
                  <c:v>41914</c:v>
                </c:pt>
                <c:pt idx="216">
                  <c:v>41915</c:v>
                </c:pt>
                <c:pt idx="217">
                  <c:v>41918</c:v>
                </c:pt>
                <c:pt idx="218">
                  <c:v>41919</c:v>
                </c:pt>
                <c:pt idx="219">
                  <c:v>41920</c:v>
                </c:pt>
                <c:pt idx="220">
                  <c:v>41921</c:v>
                </c:pt>
                <c:pt idx="221">
                  <c:v>41922</c:v>
                </c:pt>
                <c:pt idx="222">
                  <c:v>41925</c:v>
                </c:pt>
                <c:pt idx="223">
                  <c:v>41926</c:v>
                </c:pt>
                <c:pt idx="224">
                  <c:v>41927</c:v>
                </c:pt>
                <c:pt idx="225">
                  <c:v>41928</c:v>
                </c:pt>
                <c:pt idx="226">
                  <c:v>41929</c:v>
                </c:pt>
                <c:pt idx="227">
                  <c:v>41932</c:v>
                </c:pt>
                <c:pt idx="228">
                  <c:v>41933</c:v>
                </c:pt>
                <c:pt idx="229">
                  <c:v>41934</c:v>
                </c:pt>
                <c:pt idx="230">
                  <c:v>41935</c:v>
                </c:pt>
                <c:pt idx="231">
                  <c:v>41936</c:v>
                </c:pt>
                <c:pt idx="232">
                  <c:v>41939</c:v>
                </c:pt>
                <c:pt idx="233">
                  <c:v>41940</c:v>
                </c:pt>
                <c:pt idx="234">
                  <c:v>41941</c:v>
                </c:pt>
                <c:pt idx="235">
                  <c:v>41942</c:v>
                </c:pt>
                <c:pt idx="236">
                  <c:v>41943</c:v>
                </c:pt>
                <c:pt idx="237">
                  <c:v>41946</c:v>
                </c:pt>
                <c:pt idx="238">
                  <c:v>41947</c:v>
                </c:pt>
                <c:pt idx="239">
                  <c:v>41948</c:v>
                </c:pt>
                <c:pt idx="240">
                  <c:v>41949</c:v>
                </c:pt>
                <c:pt idx="241">
                  <c:v>41950</c:v>
                </c:pt>
                <c:pt idx="242">
                  <c:v>41953</c:v>
                </c:pt>
                <c:pt idx="243">
                  <c:v>41954</c:v>
                </c:pt>
                <c:pt idx="244">
                  <c:v>41955</c:v>
                </c:pt>
                <c:pt idx="245">
                  <c:v>41956</c:v>
                </c:pt>
                <c:pt idx="246">
                  <c:v>41957</c:v>
                </c:pt>
                <c:pt idx="247">
                  <c:v>41960</c:v>
                </c:pt>
                <c:pt idx="248">
                  <c:v>41961</c:v>
                </c:pt>
                <c:pt idx="249">
                  <c:v>41962</c:v>
                </c:pt>
                <c:pt idx="250">
                  <c:v>41963</c:v>
                </c:pt>
                <c:pt idx="251">
                  <c:v>41964</c:v>
                </c:pt>
                <c:pt idx="252">
                  <c:v>41967</c:v>
                </c:pt>
                <c:pt idx="253">
                  <c:v>41968</c:v>
                </c:pt>
                <c:pt idx="254">
                  <c:v>41969</c:v>
                </c:pt>
                <c:pt idx="255">
                  <c:v>41970</c:v>
                </c:pt>
                <c:pt idx="256">
                  <c:v>41971</c:v>
                </c:pt>
                <c:pt idx="257">
                  <c:v>41974</c:v>
                </c:pt>
                <c:pt idx="258">
                  <c:v>41975</c:v>
                </c:pt>
                <c:pt idx="259">
                  <c:v>41976</c:v>
                </c:pt>
                <c:pt idx="260">
                  <c:v>41977</c:v>
                </c:pt>
                <c:pt idx="261">
                  <c:v>41978</c:v>
                </c:pt>
                <c:pt idx="262">
                  <c:v>41981</c:v>
                </c:pt>
                <c:pt idx="263">
                  <c:v>41982</c:v>
                </c:pt>
                <c:pt idx="264">
                  <c:v>41983</c:v>
                </c:pt>
                <c:pt idx="265">
                  <c:v>41984</c:v>
                </c:pt>
                <c:pt idx="266">
                  <c:v>41985</c:v>
                </c:pt>
                <c:pt idx="267">
                  <c:v>41988</c:v>
                </c:pt>
                <c:pt idx="268">
                  <c:v>41989</c:v>
                </c:pt>
                <c:pt idx="269">
                  <c:v>41990</c:v>
                </c:pt>
                <c:pt idx="270">
                  <c:v>41991</c:v>
                </c:pt>
                <c:pt idx="271">
                  <c:v>41992</c:v>
                </c:pt>
                <c:pt idx="272">
                  <c:v>41995</c:v>
                </c:pt>
                <c:pt idx="273">
                  <c:v>41996</c:v>
                </c:pt>
                <c:pt idx="274">
                  <c:v>41997</c:v>
                </c:pt>
                <c:pt idx="275">
                  <c:v>42002</c:v>
                </c:pt>
                <c:pt idx="276">
                  <c:v>42003</c:v>
                </c:pt>
                <c:pt idx="277">
                  <c:v>42004</c:v>
                </c:pt>
                <c:pt idx="278">
                  <c:v>42006</c:v>
                </c:pt>
                <c:pt idx="279">
                  <c:v>42009</c:v>
                </c:pt>
                <c:pt idx="280">
                  <c:v>42010</c:v>
                </c:pt>
                <c:pt idx="281">
                  <c:v>42011</c:v>
                </c:pt>
                <c:pt idx="282">
                  <c:v>42012</c:v>
                </c:pt>
                <c:pt idx="283">
                  <c:v>42013</c:v>
                </c:pt>
                <c:pt idx="284">
                  <c:v>42016</c:v>
                </c:pt>
                <c:pt idx="285">
                  <c:v>42017</c:v>
                </c:pt>
                <c:pt idx="286">
                  <c:v>42018</c:v>
                </c:pt>
                <c:pt idx="287">
                  <c:v>42019</c:v>
                </c:pt>
                <c:pt idx="288">
                  <c:v>42020</c:v>
                </c:pt>
                <c:pt idx="289">
                  <c:v>42023</c:v>
                </c:pt>
                <c:pt idx="290">
                  <c:v>42024</c:v>
                </c:pt>
                <c:pt idx="291">
                  <c:v>42025</c:v>
                </c:pt>
                <c:pt idx="292">
                  <c:v>42026</c:v>
                </c:pt>
                <c:pt idx="293">
                  <c:v>42027</c:v>
                </c:pt>
                <c:pt idx="294">
                  <c:v>42030</c:v>
                </c:pt>
                <c:pt idx="295">
                  <c:v>42031</c:v>
                </c:pt>
                <c:pt idx="296">
                  <c:v>42032</c:v>
                </c:pt>
                <c:pt idx="297">
                  <c:v>42033</c:v>
                </c:pt>
                <c:pt idx="298">
                  <c:v>42034</c:v>
                </c:pt>
                <c:pt idx="299">
                  <c:v>42037</c:v>
                </c:pt>
                <c:pt idx="300">
                  <c:v>42038</c:v>
                </c:pt>
                <c:pt idx="301">
                  <c:v>42039</c:v>
                </c:pt>
                <c:pt idx="302">
                  <c:v>42040</c:v>
                </c:pt>
                <c:pt idx="303">
                  <c:v>42041</c:v>
                </c:pt>
                <c:pt idx="304">
                  <c:v>42044</c:v>
                </c:pt>
                <c:pt idx="305">
                  <c:v>42045</c:v>
                </c:pt>
                <c:pt idx="306">
                  <c:v>42046</c:v>
                </c:pt>
                <c:pt idx="307">
                  <c:v>42047</c:v>
                </c:pt>
                <c:pt idx="308">
                  <c:v>42048</c:v>
                </c:pt>
                <c:pt idx="309">
                  <c:v>42051</c:v>
                </c:pt>
                <c:pt idx="310">
                  <c:v>42052</c:v>
                </c:pt>
                <c:pt idx="311">
                  <c:v>42053</c:v>
                </c:pt>
                <c:pt idx="312">
                  <c:v>42054</c:v>
                </c:pt>
                <c:pt idx="313">
                  <c:v>42055</c:v>
                </c:pt>
                <c:pt idx="314">
                  <c:v>42058</c:v>
                </c:pt>
                <c:pt idx="315">
                  <c:v>42059</c:v>
                </c:pt>
                <c:pt idx="316">
                  <c:v>42060</c:v>
                </c:pt>
                <c:pt idx="317">
                  <c:v>42061</c:v>
                </c:pt>
                <c:pt idx="318">
                  <c:v>42062</c:v>
                </c:pt>
                <c:pt idx="319">
                  <c:v>42065</c:v>
                </c:pt>
                <c:pt idx="320">
                  <c:v>42066</c:v>
                </c:pt>
                <c:pt idx="321">
                  <c:v>42067</c:v>
                </c:pt>
                <c:pt idx="322">
                  <c:v>42068</c:v>
                </c:pt>
                <c:pt idx="323">
                  <c:v>42069</c:v>
                </c:pt>
                <c:pt idx="324">
                  <c:v>42072</c:v>
                </c:pt>
                <c:pt idx="325">
                  <c:v>42073</c:v>
                </c:pt>
                <c:pt idx="326">
                  <c:v>42074</c:v>
                </c:pt>
                <c:pt idx="327">
                  <c:v>42075</c:v>
                </c:pt>
                <c:pt idx="328">
                  <c:v>42076</c:v>
                </c:pt>
                <c:pt idx="329">
                  <c:v>42079</c:v>
                </c:pt>
                <c:pt idx="330">
                  <c:v>42080</c:v>
                </c:pt>
                <c:pt idx="331">
                  <c:v>42081</c:v>
                </c:pt>
                <c:pt idx="332">
                  <c:v>42082</c:v>
                </c:pt>
                <c:pt idx="333">
                  <c:v>42083</c:v>
                </c:pt>
                <c:pt idx="334">
                  <c:v>42086</c:v>
                </c:pt>
                <c:pt idx="335">
                  <c:v>42087</c:v>
                </c:pt>
                <c:pt idx="336">
                  <c:v>42088</c:v>
                </c:pt>
                <c:pt idx="337">
                  <c:v>42089</c:v>
                </c:pt>
                <c:pt idx="338">
                  <c:v>42090</c:v>
                </c:pt>
                <c:pt idx="339">
                  <c:v>42093</c:v>
                </c:pt>
                <c:pt idx="340">
                  <c:v>42094</c:v>
                </c:pt>
                <c:pt idx="341">
                  <c:v>42095</c:v>
                </c:pt>
                <c:pt idx="342">
                  <c:v>42096</c:v>
                </c:pt>
                <c:pt idx="343">
                  <c:v>42100</c:v>
                </c:pt>
                <c:pt idx="344">
                  <c:v>42101</c:v>
                </c:pt>
                <c:pt idx="345">
                  <c:v>42102</c:v>
                </c:pt>
                <c:pt idx="346">
                  <c:v>42103</c:v>
                </c:pt>
                <c:pt idx="347">
                  <c:v>42104</c:v>
                </c:pt>
                <c:pt idx="348">
                  <c:v>42107</c:v>
                </c:pt>
                <c:pt idx="349">
                  <c:v>42108</c:v>
                </c:pt>
                <c:pt idx="350">
                  <c:v>42109</c:v>
                </c:pt>
                <c:pt idx="351">
                  <c:v>42110</c:v>
                </c:pt>
                <c:pt idx="352">
                  <c:v>42111</c:v>
                </c:pt>
                <c:pt idx="353">
                  <c:v>42114</c:v>
                </c:pt>
                <c:pt idx="354">
                  <c:v>42115</c:v>
                </c:pt>
                <c:pt idx="355">
                  <c:v>42116</c:v>
                </c:pt>
                <c:pt idx="356">
                  <c:v>42117</c:v>
                </c:pt>
                <c:pt idx="357">
                  <c:v>42118</c:v>
                </c:pt>
                <c:pt idx="358">
                  <c:v>42121</c:v>
                </c:pt>
                <c:pt idx="359">
                  <c:v>42122</c:v>
                </c:pt>
                <c:pt idx="360">
                  <c:v>42123</c:v>
                </c:pt>
                <c:pt idx="361">
                  <c:v>42124</c:v>
                </c:pt>
                <c:pt idx="362">
                  <c:v>42125</c:v>
                </c:pt>
                <c:pt idx="363">
                  <c:v>42128</c:v>
                </c:pt>
                <c:pt idx="364">
                  <c:v>42129</c:v>
                </c:pt>
                <c:pt idx="365">
                  <c:v>42130</c:v>
                </c:pt>
                <c:pt idx="366">
                  <c:v>42131</c:v>
                </c:pt>
                <c:pt idx="367">
                  <c:v>42132</c:v>
                </c:pt>
                <c:pt idx="368">
                  <c:v>42135</c:v>
                </c:pt>
                <c:pt idx="369">
                  <c:v>42136</c:v>
                </c:pt>
                <c:pt idx="370">
                  <c:v>42137</c:v>
                </c:pt>
                <c:pt idx="371">
                  <c:v>42138</c:v>
                </c:pt>
                <c:pt idx="372">
                  <c:v>42139</c:v>
                </c:pt>
                <c:pt idx="373">
                  <c:v>42142</c:v>
                </c:pt>
                <c:pt idx="374">
                  <c:v>42143</c:v>
                </c:pt>
                <c:pt idx="375">
                  <c:v>42144</c:v>
                </c:pt>
                <c:pt idx="376">
                  <c:v>42145</c:v>
                </c:pt>
                <c:pt idx="377">
                  <c:v>42146</c:v>
                </c:pt>
                <c:pt idx="378">
                  <c:v>42150</c:v>
                </c:pt>
                <c:pt idx="379">
                  <c:v>42151</c:v>
                </c:pt>
                <c:pt idx="380">
                  <c:v>42152</c:v>
                </c:pt>
                <c:pt idx="381">
                  <c:v>42153</c:v>
                </c:pt>
                <c:pt idx="382">
                  <c:v>42156</c:v>
                </c:pt>
                <c:pt idx="383">
                  <c:v>42157</c:v>
                </c:pt>
                <c:pt idx="384">
                  <c:v>42158</c:v>
                </c:pt>
                <c:pt idx="385">
                  <c:v>42159</c:v>
                </c:pt>
                <c:pt idx="386">
                  <c:v>42160</c:v>
                </c:pt>
                <c:pt idx="387">
                  <c:v>42163</c:v>
                </c:pt>
                <c:pt idx="388">
                  <c:v>42164</c:v>
                </c:pt>
                <c:pt idx="389">
                  <c:v>42165</c:v>
                </c:pt>
                <c:pt idx="390">
                  <c:v>42166</c:v>
                </c:pt>
                <c:pt idx="391">
                  <c:v>42167</c:v>
                </c:pt>
                <c:pt idx="392">
                  <c:v>42170</c:v>
                </c:pt>
                <c:pt idx="393">
                  <c:v>42171</c:v>
                </c:pt>
                <c:pt idx="394">
                  <c:v>42172</c:v>
                </c:pt>
                <c:pt idx="395">
                  <c:v>42173</c:v>
                </c:pt>
                <c:pt idx="396">
                  <c:v>42174</c:v>
                </c:pt>
                <c:pt idx="397">
                  <c:v>42177</c:v>
                </c:pt>
                <c:pt idx="398">
                  <c:v>42178</c:v>
                </c:pt>
                <c:pt idx="399">
                  <c:v>42179</c:v>
                </c:pt>
                <c:pt idx="400">
                  <c:v>42180</c:v>
                </c:pt>
                <c:pt idx="401">
                  <c:v>42181</c:v>
                </c:pt>
                <c:pt idx="402">
                  <c:v>42184</c:v>
                </c:pt>
                <c:pt idx="403">
                  <c:v>42185</c:v>
                </c:pt>
                <c:pt idx="404">
                  <c:v>42186</c:v>
                </c:pt>
                <c:pt idx="405">
                  <c:v>42187</c:v>
                </c:pt>
                <c:pt idx="406">
                  <c:v>42188</c:v>
                </c:pt>
                <c:pt idx="407">
                  <c:v>42191</c:v>
                </c:pt>
                <c:pt idx="408">
                  <c:v>42192</c:v>
                </c:pt>
                <c:pt idx="409">
                  <c:v>42193</c:v>
                </c:pt>
                <c:pt idx="410">
                  <c:v>42194</c:v>
                </c:pt>
                <c:pt idx="411">
                  <c:v>42195</c:v>
                </c:pt>
                <c:pt idx="412">
                  <c:v>42198</c:v>
                </c:pt>
                <c:pt idx="413">
                  <c:v>42199</c:v>
                </c:pt>
                <c:pt idx="414">
                  <c:v>42200</c:v>
                </c:pt>
                <c:pt idx="415">
                  <c:v>42201</c:v>
                </c:pt>
                <c:pt idx="416">
                  <c:v>42202</c:v>
                </c:pt>
                <c:pt idx="417">
                  <c:v>42205</c:v>
                </c:pt>
                <c:pt idx="418">
                  <c:v>42206</c:v>
                </c:pt>
                <c:pt idx="419">
                  <c:v>42207</c:v>
                </c:pt>
                <c:pt idx="420">
                  <c:v>42208</c:v>
                </c:pt>
                <c:pt idx="421">
                  <c:v>42209</c:v>
                </c:pt>
                <c:pt idx="422">
                  <c:v>42212</c:v>
                </c:pt>
                <c:pt idx="423">
                  <c:v>42213</c:v>
                </c:pt>
                <c:pt idx="424">
                  <c:v>42214</c:v>
                </c:pt>
                <c:pt idx="425">
                  <c:v>42215</c:v>
                </c:pt>
                <c:pt idx="426">
                  <c:v>42216</c:v>
                </c:pt>
                <c:pt idx="427">
                  <c:v>42219</c:v>
                </c:pt>
                <c:pt idx="428">
                  <c:v>42220</c:v>
                </c:pt>
                <c:pt idx="429">
                  <c:v>42221</c:v>
                </c:pt>
                <c:pt idx="430">
                  <c:v>42222</c:v>
                </c:pt>
                <c:pt idx="431">
                  <c:v>42223</c:v>
                </c:pt>
                <c:pt idx="432">
                  <c:v>42226</c:v>
                </c:pt>
                <c:pt idx="433">
                  <c:v>42227</c:v>
                </c:pt>
                <c:pt idx="434">
                  <c:v>42228</c:v>
                </c:pt>
                <c:pt idx="435">
                  <c:v>42229</c:v>
                </c:pt>
                <c:pt idx="436">
                  <c:v>42230</c:v>
                </c:pt>
                <c:pt idx="437">
                  <c:v>42233</c:v>
                </c:pt>
                <c:pt idx="438">
                  <c:v>42234</c:v>
                </c:pt>
                <c:pt idx="439">
                  <c:v>42235</c:v>
                </c:pt>
                <c:pt idx="440">
                  <c:v>42236</c:v>
                </c:pt>
                <c:pt idx="441">
                  <c:v>42237</c:v>
                </c:pt>
                <c:pt idx="442">
                  <c:v>42240</c:v>
                </c:pt>
                <c:pt idx="443">
                  <c:v>42241</c:v>
                </c:pt>
                <c:pt idx="444">
                  <c:v>42242</c:v>
                </c:pt>
                <c:pt idx="445">
                  <c:v>42243</c:v>
                </c:pt>
                <c:pt idx="446">
                  <c:v>42244</c:v>
                </c:pt>
                <c:pt idx="447">
                  <c:v>42247</c:v>
                </c:pt>
                <c:pt idx="448">
                  <c:v>42248</c:v>
                </c:pt>
                <c:pt idx="449">
                  <c:v>42249</c:v>
                </c:pt>
                <c:pt idx="450">
                  <c:v>42250</c:v>
                </c:pt>
                <c:pt idx="451">
                  <c:v>42251</c:v>
                </c:pt>
                <c:pt idx="452">
                  <c:v>42254</c:v>
                </c:pt>
                <c:pt idx="453">
                  <c:v>42255</c:v>
                </c:pt>
                <c:pt idx="454">
                  <c:v>42256</c:v>
                </c:pt>
                <c:pt idx="455">
                  <c:v>42257</c:v>
                </c:pt>
                <c:pt idx="456">
                  <c:v>42258</c:v>
                </c:pt>
                <c:pt idx="457">
                  <c:v>42261</c:v>
                </c:pt>
                <c:pt idx="458">
                  <c:v>42262</c:v>
                </c:pt>
                <c:pt idx="459">
                  <c:v>42263</c:v>
                </c:pt>
                <c:pt idx="460">
                  <c:v>42264</c:v>
                </c:pt>
                <c:pt idx="461">
                  <c:v>42265</c:v>
                </c:pt>
                <c:pt idx="462">
                  <c:v>42268</c:v>
                </c:pt>
                <c:pt idx="463">
                  <c:v>42269</c:v>
                </c:pt>
                <c:pt idx="464">
                  <c:v>42270</c:v>
                </c:pt>
                <c:pt idx="465">
                  <c:v>42271</c:v>
                </c:pt>
                <c:pt idx="466">
                  <c:v>42272</c:v>
                </c:pt>
                <c:pt idx="467">
                  <c:v>42275</c:v>
                </c:pt>
                <c:pt idx="468">
                  <c:v>42276</c:v>
                </c:pt>
                <c:pt idx="469">
                  <c:v>42277</c:v>
                </c:pt>
                <c:pt idx="470">
                  <c:v>42278</c:v>
                </c:pt>
                <c:pt idx="471">
                  <c:v>42279</c:v>
                </c:pt>
                <c:pt idx="472">
                  <c:v>42282</c:v>
                </c:pt>
                <c:pt idx="473">
                  <c:v>42283</c:v>
                </c:pt>
                <c:pt idx="474">
                  <c:v>42284</c:v>
                </c:pt>
                <c:pt idx="475">
                  <c:v>42285</c:v>
                </c:pt>
                <c:pt idx="476">
                  <c:v>42286</c:v>
                </c:pt>
                <c:pt idx="477">
                  <c:v>42289</c:v>
                </c:pt>
                <c:pt idx="478">
                  <c:v>42290</c:v>
                </c:pt>
                <c:pt idx="479">
                  <c:v>42291</c:v>
                </c:pt>
                <c:pt idx="480">
                  <c:v>42292</c:v>
                </c:pt>
                <c:pt idx="481">
                  <c:v>42293</c:v>
                </c:pt>
                <c:pt idx="482">
                  <c:v>42296</c:v>
                </c:pt>
                <c:pt idx="483">
                  <c:v>42297</c:v>
                </c:pt>
                <c:pt idx="484">
                  <c:v>42298</c:v>
                </c:pt>
                <c:pt idx="485">
                  <c:v>42299</c:v>
                </c:pt>
                <c:pt idx="486">
                  <c:v>42300</c:v>
                </c:pt>
                <c:pt idx="487">
                  <c:v>42303</c:v>
                </c:pt>
                <c:pt idx="488">
                  <c:v>42304</c:v>
                </c:pt>
                <c:pt idx="489">
                  <c:v>42305</c:v>
                </c:pt>
                <c:pt idx="490">
                  <c:v>42306</c:v>
                </c:pt>
                <c:pt idx="491">
                  <c:v>42307</c:v>
                </c:pt>
                <c:pt idx="492">
                  <c:v>42310</c:v>
                </c:pt>
                <c:pt idx="493">
                  <c:v>42311</c:v>
                </c:pt>
                <c:pt idx="494">
                  <c:v>42312</c:v>
                </c:pt>
                <c:pt idx="495">
                  <c:v>42313</c:v>
                </c:pt>
                <c:pt idx="496">
                  <c:v>42314</c:v>
                </c:pt>
                <c:pt idx="497">
                  <c:v>42317</c:v>
                </c:pt>
                <c:pt idx="498">
                  <c:v>42318</c:v>
                </c:pt>
                <c:pt idx="499">
                  <c:v>42319</c:v>
                </c:pt>
                <c:pt idx="500">
                  <c:v>42320</c:v>
                </c:pt>
                <c:pt idx="501">
                  <c:v>42321</c:v>
                </c:pt>
                <c:pt idx="502">
                  <c:v>42324</c:v>
                </c:pt>
                <c:pt idx="503">
                  <c:v>42325</c:v>
                </c:pt>
                <c:pt idx="504">
                  <c:v>42326</c:v>
                </c:pt>
                <c:pt idx="505">
                  <c:v>42327</c:v>
                </c:pt>
                <c:pt idx="506">
                  <c:v>42328</c:v>
                </c:pt>
                <c:pt idx="507">
                  <c:v>42331</c:v>
                </c:pt>
                <c:pt idx="508">
                  <c:v>42332</c:v>
                </c:pt>
                <c:pt idx="509">
                  <c:v>42333</c:v>
                </c:pt>
                <c:pt idx="510">
                  <c:v>42334</c:v>
                </c:pt>
                <c:pt idx="511">
                  <c:v>42335</c:v>
                </c:pt>
                <c:pt idx="512">
                  <c:v>42338</c:v>
                </c:pt>
                <c:pt idx="513">
                  <c:v>42339</c:v>
                </c:pt>
                <c:pt idx="514">
                  <c:v>42340</c:v>
                </c:pt>
                <c:pt idx="515">
                  <c:v>42341</c:v>
                </c:pt>
                <c:pt idx="516">
                  <c:v>42342</c:v>
                </c:pt>
                <c:pt idx="517">
                  <c:v>42345</c:v>
                </c:pt>
                <c:pt idx="518">
                  <c:v>42346</c:v>
                </c:pt>
                <c:pt idx="519">
                  <c:v>42347</c:v>
                </c:pt>
                <c:pt idx="520">
                  <c:v>42348</c:v>
                </c:pt>
                <c:pt idx="521">
                  <c:v>42349</c:v>
                </c:pt>
                <c:pt idx="522">
                  <c:v>42352</c:v>
                </c:pt>
                <c:pt idx="523">
                  <c:v>42353</c:v>
                </c:pt>
                <c:pt idx="524">
                  <c:v>42354</c:v>
                </c:pt>
                <c:pt idx="525">
                  <c:v>42355</c:v>
                </c:pt>
                <c:pt idx="526">
                  <c:v>42356</c:v>
                </c:pt>
                <c:pt idx="527">
                  <c:v>42359</c:v>
                </c:pt>
                <c:pt idx="528">
                  <c:v>42360</c:v>
                </c:pt>
                <c:pt idx="529">
                  <c:v>42361</c:v>
                </c:pt>
                <c:pt idx="530">
                  <c:v>42362</c:v>
                </c:pt>
                <c:pt idx="531">
                  <c:v>42366</c:v>
                </c:pt>
                <c:pt idx="532">
                  <c:v>42367</c:v>
                </c:pt>
                <c:pt idx="533">
                  <c:v>42368</c:v>
                </c:pt>
                <c:pt idx="534">
                  <c:v>42369</c:v>
                </c:pt>
                <c:pt idx="535">
                  <c:v>42373</c:v>
                </c:pt>
                <c:pt idx="536">
                  <c:v>42374</c:v>
                </c:pt>
                <c:pt idx="537">
                  <c:v>42375</c:v>
                </c:pt>
                <c:pt idx="538">
                  <c:v>42376</c:v>
                </c:pt>
                <c:pt idx="539">
                  <c:v>42377</c:v>
                </c:pt>
                <c:pt idx="540">
                  <c:v>42380</c:v>
                </c:pt>
                <c:pt idx="541">
                  <c:v>42381</c:v>
                </c:pt>
                <c:pt idx="542">
                  <c:v>42382</c:v>
                </c:pt>
                <c:pt idx="543">
                  <c:v>42383</c:v>
                </c:pt>
                <c:pt idx="544">
                  <c:v>42384</c:v>
                </c:pt>
                <c:pt idx="545">
                  <c:v>42387</c:v>
                </c:pt>
                <c:pt idx="546">
                  <c:v>42388</c:v>
                </c:pt>
                <c:pt idx="547">
                  <c:v>42389</c:v>
                </c:pt>
                <c:pt idx="548">
                  <c:v>42390</c:v>
                </c:pt>
                <c:pt idx="549">
                  <c:v>42391</c:v>
                </c:pt>
                <c:pt idx="550">
                  <c:v>42394</c:v>
                </c:pt>
                <c:pt idx="551">
                  <c:v>42395</c:v>
                </c:pt>
                <c:pt idx="552">
                  <c:v>42396</c:v>
                </c:pt>
                <c:pt idx="553">
                  <c:v>42397</c:v>
                </c:pt>
                <c:pt idx="554">
                  <c:v>42398</c:v>
                </c:pt>
                <c:pt idx="555">
                  <c:v>42401</c:v>
                </c:pt>
                <c:pt idx="556">
                  <c:v>42402</c:v>
                </c:pt>
                <c:pt idx="557">
                  <c:v>42403</c:v>
                </c:pt>
                <c:pt idx="558">
                  <c:v>42404</c:v>
                </c:pt>
                <c:pt idx="559">
                  <c:v>42405</c:v>
                </c:pt>
                <c:pt idx="560">
                  <c:v>42408</c:v>
                </c:pt>
                <c:pt idx="561">
                  <c:v>42409</c:v>
                </c:pt>
                <c:pt idx="562">
                  <c:v>42410</c:v>
                </c:pt>
                <c:pt idx="563">
                  <c:v>42411</c:v>
                </c:pt>
                <c:pt idx="564">
                  <c:v>42412</c:v>
                </c:pt>
                <c:pt idx="565">
                  <c:v>42415</c:v>
                </c:pt>
                <c:pt idx="566">
                  <c:v>42416</c:v>
                </c:pt>
                <c:pt idx="567">
                  <c:v>42417</c:v>
                </c:pt>
                <c:pt idx="568">
                  <c:v>42418</c:v>
                </c:pt>
                <c:pt idx="569">
                  <c:v>42419</c:v>
                </c:pt>
                <c:pt idx="570">
                  <c:v>42422</c:v>
                </c:pt>
                <c:pt idx="571">
                  <c:v>42423</c:v>
                </c:pt>
                <c:pt idx="572">
                  <c:v>42424</c:v>
                </c:pt>
                <c:pt idx="573">
                  <c:v>42425</c:v>
                </c:pt>
                <c:pt idx="574">
                  <c:v>42426</c:v>
                </c:pt>
                <c:pt idx="575">
                  <c:v>42429</c:v>
                </c:pt>
                <c:pt idx="576">
                  <c:v>42430</c:v>
                </c:pt>
                <c:pt idx="577">
                  <c:v>42431</c:v>
                </c:pt>
                <c:pt idx="578">
                  <c:v>42432</c:v>
                </c:pt>
                <c:pt idx="579">
                  <c:v>42433</c:v>
                </c:pt>
                <c:pt idx="580">
                  <c:v>42436</c:v>
                </c:pt>
                <c:pt idx="581">
                  <c:v>42437</c:v>
                </c:pt>
                <c:pt idx="582">
                  <c:v>42438</c:v>
                </c:pt>
                <c:pt idx="583">
                  <c:v>42439</c:v>
                </c:pt>
                <c:pt idx="584">
                  <c:v>42440</c:v>
                </c:pt>
                <c:pt idx="585">
                  <c:v>42443</c:v>
                </c:pt>
                <c:pt idx="586">
                  <c:v>42444</c:v>
                </c:pt>
                <c:pt idx="587">
                  <c:v>42445</c:v>
                </c:pt>
                <c:pt idx="588">
                  <c:v>42446</c:v>
                </c:pt>
                <c:pt idx="589">
                  <c:v>42447</c:v>
                </c:pt>
                <c:pt idx="590">
                  <c:v>42450</c:v>
                </c:pt>
                <c:pt idx="591">
                  <c:v>42451</c:v>
                </c:pt>
                <c:pt idx="592">
                  <c:v>42452</c:v>
                </c:pt>
                <c:pt idx="593">
                  <c:v>42453</c:v>
                </c:pt>
                <c:pt idx="594">
                  <c:v>42457</c:v>
                </c:pt>
                <c:pt idx="595">
                  <c:v>42458</c:v>
                </c:pt>
                <c:pt idx="596">
                  <c:v>42459</c:v>
                </c:pt>
                <c:pt idx="597">
                  <c:v>42460</c:v>
                </c:pt>
                <c:pt idx="598">
                  <c:v>42461</c:v>
                </c:pt>
                <c:pt idx="599">
                  <c:v>42464</c:v>
                </c:pt>
                <c:pt idx="600">
                  <c:v>42465</c:v>
                </c:pt>
                <c:pt idx="601">
                  <c:v>42466</c:v>
                </c:pt>
                <c:pt idx="602">
                  <c:v>42467</c:v>
                </c:pt>
                <c:pt idx="603">
                  <c:v>42468</c:v>
                </c:pt>
                <c:pt idx="604">
                  <c:v>42471</c:v>
                </c:pt>
                <c:pt idx="605">
                  <c:v>42472</c:v>
                </c:pt>
                <c:pt idx="606">
                  <c:v>42473</c:v>
                </c:pt>
                <c:pt idx="607">
                  <c:v>42474</c:v>
                </c:pt>
                <c:pt idx="608">
                  <c:v>42475</c:v>
                </c:pt>
                <c:pt idx="609">
                  <c:v>42478</c:v>
                </c:pt>
                <c:pt idx="610">
                  <c:v>42479</c:v>
                </c:pt>
                <c:pt idx="611">
                  <c:v>42480</c:v>
                </c:pt>
                <c:pt idx="612">
                  <c:v>42481</c:v>
                </c:pt>
                <c:pt idx="613">
                  <c:v>42482</c:v>
                </c:pt>
                <c:pt idx="614">
                  <c:v>42485</c:v>
                </c:pt>
                <c:pt idx="615">
                  <c:v>42486</c:v>
                </c:pt>
                <c:pt idx="616">
                  <c:v>42487</c:v>
                </c:pt>
                <c:pt idx="617">
                  <c:v>42488</c:v>
                </c:pt>
                <c:pt idx="618">
                  <c:v>42489</c:v>
                </c:pt>
                <c:pt idx="619">
                  <c:v>42492</c:v>
                </c:pt>
                <c:pt idx="620">
                  <c:v>42493</c:v>
                </c:pt>
                <c:pt idx="621">
                  <c:v>42494</c:v>
                </c:pt>
                <c:pt idx="622">
                  <c:v>42495</c:v>
                </c:pt>
                <c:pt idx="623">
                  <c:v>42496</c:v>
                </c:pt>
                <c:pt idx="624">
                  <c:v>42499</c:v>
                </c:pt>
                <c:pt idx="625">
                  <c:v>42500</c:v>
                </c:pt>
                <c:pt idx="626">
                  <c:v>42501</c:v>
                </c:pt>
                <c:pt idx="627">
                  <c:v>42502</c:v>
                </c:pt>
                <c:pt idx="628">
                  <c:v>42503</c:v>
                </c:pt>
                <c:pt idx="629">
                  <c:v>42506</c:v>
                </c:pt>
                <c:pt idx="630">
                  <c:v>42507</c:v>
                </c:pt>
                <c:pt idx="631">
                  <c:v>42508</c:v>
                </c:pt>
                <c:pt idx="632">
                  <c:v>42509</c:v>
                </c:pt>
                <c:pt idx="633">
                  <c:v>42510</c:v>
                </c:pt>
                <c:pt idx="634">
                  <c:v>42513</c:v>
                </c:pt>
                <c:pt idx="635">
                  <c:v>42514</c:v>
                </c:pt>
                <c:pt idx="636">
                  <c:v>42515</c:v>
                </c:pt>
                <c:pt idx="637">
                  <c:v>42516</c:v>
                </c:pt>
                <c:pt idx="638">
                  <c:v>42517</c:v>
                </c:pt>
                <c:pt idx="639">
                  <c:v>42521</c:v>
                </c:pt>
                <c:pt idx="640">
                  <c:v>42522</c:v>
                </c:pt>
                <c:pt idx="641">
                  <c:v>42523</c:v>
                </c:pt>
                <c:pt idx="642">
                  <c:v>42524</c:v>
                </c:pt>
                <c:pt idx="643">
                  <c:v>42527</c:v>
                </c:pt>
                <c:pt idx="644">
                  <c:v>42528</c:v>
                </c:pt>
                <c:pt idx="645">
                  <c:v>42529</c:v>
                </c:pt>
                <c:pt idx="646">
                  <c:v>42530</c:v>
                </c:pt>
                <c:pt idx="647">
                  <c:v>42531</c:v>
                </c:pt>
                <c:pt idx="648">
                  <c:v>42534</c:v>
                </c:pt>
                <c:pt idx="649">
                  <c:v>42535</c:v>
                </c:pt>
                <c:pt idx="650">
                  <c:v>42536</c:v>
                </c:pt>
                <c:pt idx="651">
                  <c:v>42537</c:v>
                </c:pt>
                <c:pt idx="652">
                  <c:v>42538</c:v>
                </c:pt>
                <c:pt idx="653">
                  <c:v>42541</c:v>
                </c:pt>
                <c:pt idx="654">
                  <c:v>42542</c:v>
                </c:pt>
                <c:pt idx="655">
                  <c:v>42543</c:v>
                </c:pt>
                <c:pt idx="656">
                  <c:v>42544</c:v>
                </c:pt>
                <c:pt idx="657">
                  <c:v>42545</c:v>
                </c:pt>
                <c:pt idx="658">
                  <c:v>42548</c:v>
                </c:pt>
                <c:pt idx="659">
                  <c:v>42549</c:v>
                </c:pt>
                <c:pt idx="660">
                  <c:v>42550</c:v>
                </c:pt>
                <c:pt idx="661">
                  <c:v>42551</c:v>
                </c:pt>
                <c:pt idx="662">
                  <c:v>42552</c:v>
                </c:pt>
                <c:pt idx="663">
                  <c:v>42555</c:v>
                </c:pt>
                <c:pt idx="664">
                  <c:v>42556</c:v>
                </c:pt>
                <c:pt idx="665">
                  <c:v>42557</c:v>
                </c:pt>
                <c:pt idx="666">
                  <c:v>42558</c:v>
                </c:pt>
                <c:pt idx="667">
                  <c:v>42559</c:v>
                </c:pt>
                <c:pt idx="668">
                  <c:v>42562</c:v>
                </c:pt>
                <c:pt idx="669">
                  <c:v>42563</c:v>
                </c:pt>
                <c:pt idx="670">
                  <c:v>42564</c:v>
                </c:pt>
                <c:pt idx="671">
                  <c:v>42565</c:v>
                </c:pt>
                <c:pt idx="672">
                  <c:v>42566</c:v>
                </c:pt>
                <c:pt idx="673">
                  <c:v>42569</c:v>
                </c:pt>
                <c:pt idx="674">
                  <c:v>42570</c:v>
                </c:pt>
                <c:pt idx="675">
                  <c:v>42571</c:v>
                </c:pt>
                <c:pt idx="676">
                  <c:v>42572</c:v>
                </c:pt>
                <c:pt idx="677">
                  <c:v>42573</c:v>
                </c:pt>
                <c:pt idx="678">
                  <c:v>42576</c:v>
                </c:pt>
                <c:pt idx="679">
                  <c:v>42577</c:v>
                </c:pt>
                <c:pt idx="680">
                  <c:v>42578</c:v>
                </c:pt>
                <c:pt idx="681">
                  <c:v>42579</c:v>
                </c:pt>
                <c:pt idx="682">
                  <c:v>42580</c:v>
                </c:pt>
                <c:pt idx="683">
                  <c:v>42583</c:v>
                </c:pt>
                <c:pt idx="684">
                  <c:v>42584</c:v>
                </c:pt>
                <c:pt idx="685">
                  <c:v>42585</c:v>
                </c:pt>
                <c:pt idx="686">
                  <c:v>42586</c:v>
                </c:pt>
                <c:pt idx="687">
                  <c:v>42587</c:v>
                </c:pt>
                <c:pt idx="688">
                  <c:v>42590</c:v>
                </c:pt>
                <c:pt idx="689">
                  <c:v>42591</c:v>
                </c:pt>
                <c:pt idx="690">
                  <c:v>42592</c:v>
                </c:pt>
                <c:pt idx="691">
                  <c:v>42593</c:v>
                </c:pt>
                <c:pt idx="692">
                  <c:v>42594</c:v>
                </c:pt>
                <c:pt idx="693">
                  <c:v>42597</c:v>
                </c:pt>
                <c:pt idx="694">
                  <c:v>42598</c:v>
                </c:pt>
                <c:pt idx="695">
                  <c:v>42599</c:v>
                </c:pt>
                <c:pt idx="696">
                  <c:v>42600</c:v>
                </c:pt>
                <c:pt idx="697">
                  <c:v>42601</c:v>
                </c:pt>
                <c:pt idx="698">
                  <c:v>42604</c:v>
                </c:pt>
                <c:pt idx="699">
                  <c:v>42605</c:v>
                </c:pt>
                <c:pt idx="700">
                  <c:v>42606</c:v>
                </c:pt>
                <c:pt idx="701">
                  <c:v>42607</c:v>
                </c:pt>
                <c:pt idx="702">
                  <c:v>42608</c:v>
                </c:pt>
                <c:pt idx="703">
                  <c:v>42611</c:v>
                </c:pt>
                <c:pt idx="704">
                  <c:v>42612</c:v>
                </c:pt>
                <c:pt idx="705">
                  <c:v>42613</c:v>
                </c:pt>
                <c:pt idx="706">
                  <c:v>42614</c:v>
                </c:pt>
                <c:pt idx="707">
                  <c:v>42615</c:v>
                </c:pt>
                <c:pt idx="708">
                  <c:v>42618</c:v>
                </c:pt>
                <c:pt idx="709">
                  <c:v>42619</c:v>
                </c:pt>
                <c:pt idx="710">
                  <c:v>42620</c:v>
                </c:pt>
                <c:pt idx="711">
                  <c:v>42621</c:v>
                </c:pt>
                <c:pt idx="712">
                  <c:v>42622</c:v>
                </c:pt>
                <c:pt idx="713">
                  <c:v>42625</c:v>
                </c:pt>
                <c:pt idx="714">
                  <c:v>42626</c:v>
                </c:pt>
                <c:pt idx="715">
                  <c:v>42627</c:v>
                </c:pt>
                <c:pt idx="716">
                  <c:v>42628</c:v>
                </c:pt>
                <c:pt idx="717">
                  <c:v>42629</c:v>
                </c:pt>
                <c:pt idx="718">
                  <c:v>42632</c:v>
                </c:pt>
                <c:pt idx="719">
                  <c:v>42633</c:v>
                </c:pt>
                <c:pt idx="720">
                  <c:v>42634</c:v>
                </c:pt>
                <c:pt idx="721">
                  <c:v>42635</c:v>
                </c:pt>
                <c:pt idx="722">
                  <c:v>42636</c:v>
                </c:pt>
                <c:pt idx="723">
                  <c:v>42639</c:v>
                </c:pt>
                <c:pt idx="724">
                  <c:v>42640</c:v>
                </c:pt>
                <c:pt idx="725">
                  <c:v>42641</c:v>
                </c:pt>
                <c:pt idx="726">
                  <c:v>42642</c:v>
                </c:pt>
                <c:pt idx="727">
                  <c:v>42643</c:v>
                </c:pt>
                <c:pt idx="728">
                  <c:v>42646</c:v>
                </c:pt>
                <c:pt idx="729">
                  <c:v>42647</c:v>
                </c:pt>
                <c:pt idx="730">
                  <c:v>42648</c:v>
                </c:pt>
                <c:pt idx="731">
                  <c:v>42649</c:v>
                </c:pt>
                <c:pt idx="732">
                  <c:v>42650</c:v>
                </c:pt>
                <c:pt idx="733">
                  <c:v>42653</c:v>
                </c:pt>
                <c:pt idx="734">
                  <c:v>42654</c:v>
                </c:pt>
                <c:pt idx="735">
                  <c:v>42655</c:v>
                </c:pt>
                <c:pt idx="736">
                  <c:v>42656</c:v>
                </c:pt>
                <c:pt idx="737">
                  <c:v>42657</c:v>
                </c:pt>
                <c:pt idx="738">
                  <c:v>42660</c:v>
                </c:pt>
                <c:pt idx="739">
                  <c:v>42661</c:v>
                </c:pt>
                <c:pt idx="740">
                  <c:v>42662</c:v>
                </c:pt>
                <c:pt idx="741">
                  <c:v>42663</c:v>
                </c:pt>
                <c:pt idx="742">
                  <c:v>42664</c:v>
                </c:pt>
                <c:pt idx="743">
                  <c:v>42667</c:v>
                </c:pt>
                <c:pt idx="744">
                  <c:v>42668</c:v>
                </c:pt>
                <c:pt idx="745">
                  <c:v>42669</c:v>
                </c:pt>
                <c:pt idx="746">
                  <c:v>42670</c:v>
                </c:pt>
                <c:pt idx="747">
                  <c:v>42671</c:v>
                </c:pt>
                <c:pt idx="748">
                  <c:v>42674</c:v>
                </c:pt>
                <c:pt idx="749">
                  <c:v>42675</c:v>
                </c:pt>
                <c:pt idx="750">
                  <c:v>42676</c:v>
                </c:pt>
                <c:pt idx="751">
                  <c:v>42677</c:v>
                </c:pt>
                <c:pt idx="752">
                  <c:v>42678</c:v>
                </c:pt>
                <c:pt idx="753">
                  <c:v>42681</c:v>
                </c:pt>
                <c:pt idx="754">
                  <c:v>42682</c:v>
                </c:pt>
                <c:pt idx="755">
                  <c:v>42683</c:v>
                </c:pt>
                <c:pt idx="756">
                  <c:v>42684</c:v>
                </c:pt>
                <c:pt idx="757">
                  <c:v>42685</c:v>
                </c:pt>
                <c:pt idx="758">
                  <c:v>42688</c:v>
                </c:pt>
                <c:pt idx="759">
                  <c:v>42689</c:v>
                </c:pt>
                <c:pt idx="760">
                  <c:v>42690</c:v>
                </c:pt>
                <c:pt idx="761">
                  <c:v>42691</c:v>
                </c:pt>
                <c:pt idx="762">
                  <c:v>42692</c:v>
                </c:pt>
                <c:pt idx="763">
                  <c:v>42695</c:v>
                </c:pt>
                <c:pt idx="764">
                  <c:v>42696</c:v>
                </c:pt>
                <c:pt idx="765">
                  <c:v>42697</c:v>
                </c:pt>
                <c:pt idx="766">
                  <c:v>42698</c:v>
                </c:pt>
                <c:pt idx="767">
                  <c:v>42699</c:v>
                </c:pt>
                <c:pt idx="768">
                  <c:v>42702</c:v>
                </c:pt>
                <c:pt idx="769">
                  <c:v>42703</c:v>
                </c:pt>
                <c:pt idx="770">
                  <c:v>42704</c:v>
                </c:pt>
                <c:pt idx="771">
                  <c:v>42705</c:v>
                </c:pt>
                <c:pt idx="772">
                  <c:v>42706</c:v>
                </c:pt>
                <c:pt idx="773">
                  <c:v>42709</c:v>
                </c:pt>
                <c:pt idx="774">
                  <c:v>42710</c:v>
                </c:pt>
                <c:pt idx="775">
                  <c:v>42711</c:v>
                </c:pt>
                <c:pt idx="776">
                  <c:v>42712</c:v>
                </c:pt>
                <c:pt idx="777">
                  <c:v>42713</c:v>
                </c:pt>
                <c:pt idx="778">
                  <c:v>42716</c:v>
                </c:pt>
                <c:pt idx="779">
                  <c:v>42717</c:v>
                </c:pt>
                <c:pt idx="780">
                  <c:v>42718</c:v>
                </c:pt>
                <c:pt idx="781">
                  <c:v>42719</c:v>
                </c:pt>
                <c:pt idx="782">
                  <c:v>42720</c:v>
                </c:pt>
                <c:pt idx="783">
                  <c:v>42723</c:v>
                </c:pt>
                <c:pt idx="784">
                  <c:v>42724</c:v>
                </c:pt>
                <c:pt idx="785">
                  <c:v>42725</c:v>
                </c:pt>
                <c:pt idx="786">
                  <c:v>42726</c:v>
                </c:pt>
                <c:pt idx="787">
                  <c:v>42727</c:v>
                </c:pt>
                <c:pt idx="788">
                  <c:v>42731</c:v>
                </c:pt>
                <c:pt idx="789">
                  <c:v>42732</c:v>
                </c:pt>
                <c:pt idx="790">
                  <c:v>42733</c:v>
                </c:pt>
                <c:pt idx="791">
                  <c:v>42734</c:v>
                </c:pt>
                <c:pt idx="792">
                  <c:v>42738</c:v>
                </c:pt>
                <c:pt idx="793">
                  <c:v>42739</c:v>
                </c:pt>
                <c:pt idx="794">
                  <c:v>42740</c:v>
                </c:pt>
                <c:pt idx="795">
                  <c:v>42741</c:v>
                </c:pt>
                <c:pt idx="796">
                  <c:v>42744</c:v>
                </c:pt>
                <c:pt idx="797">
                  <c:v>42745</c:v>
                </c:pt>
                <c:pt idx="798">
                  <c:v>42746</c:v>
                </c:pt>
                <c:pt idx="799">
                  <c:v>42747</c:v>
                </c:pt>
                <c:pt idx="800">
                  <c:v>42748</c:v>
                </c:pt>
                <c:pt idx="801">
                  <c:v>42751</c:v>
                </c:pt>
                <c:pt idx="802">
                  <c:v>42752</c:v>
                </c:pt>
                <c:pt idx="803">
                  <c:v>42753</c:v>
                </c:pt>
                <c:pt idx="804">
                  <c:v>42754</c:v>
                </c:pt>
                <c:pt idx="805">
                  <c:v>42755</c:v>
                </c:pt>
                <c:pt idx="806">
                  <c:v>42758</c:v>
                </c:pt>
                <c:pt idx="807">
                  <c:v>42759</c:v>
                </c:pt>
                <c:pt idx="808">
                  <c:v>42760</c:v>
                </c:pt>
                <c:pt idx="809">
                  <c:v>42761</c:v>
                </c:pt>
                <c:pt idx="810">
                  <c:v>42762</c:v>
                </c:pt>
                <c:pt idx="811">
                  <c:v>42765</c:v>
                </c:pt>
                <c:pt idx="812">
                  <c:v>42766</c:v>
                </c:pt>
                <c:pt idx="813">
                  <c:v>42767</c:v>
                </c:pt>
                <c:pt idx="814">
                  <c:v>42768</c:v>
                </c:pt>
                <c:pt idx="815">
                  <c:v>42769</c:v>
                </c:pt>
                <c:pt idx="816">
                  <c:v>42772</c:v>
                </c:pt>
                <c:pt idx="817">
                  <c:v>42773</c:v>
                </c:pt>
                <c:pt idx="818">
                  <c:v>42774</c:v>
                </c:pt>
                <c:pt idx="819">
                  <c:v>42775</c:v>
                </c:pt>
                <c:pt idx="820">
                  <c:v>42776</c:v>
                </c:pt>
                <c:pt idx="821">
                  <c:v>42779</c:v>
                </c:pt>
                <c:pt idx="822">
                  <c:v>42780</c:v>
                </c:pt>
                <c:pt idx="823">
                  <c:v>42781</c:v>
                </c:pt>
                <c:pt idx="824">
                  <c:v>42782</c:v>
                </c:pt>
                <c:pt idx="825">
                  <c:v>42783</c:v>
                </c:pt>
                <c:pt idx="826">
                  <c:v>42786</c:v>
                </c:pt>
                <c:pt idx="827">
                  <c:v>42787</c:v>
                </c:pt>
                <c:pt idx="828">
                  <c:v>42788</c:v>
                </c:pt>
                <c:pt idx="829">
                  <c:v>42789</c:v>
                </c:pt>
                <c:pt idx="830">
                  <c:v>42790</c:v>
                </c:pt>
                <c:pt idx="831">
                  <c:v>42793</c:v>
                </c:pt>
                <c:pt idx="832">
                  <c:v>42794</c:v>
                </c:pt>
                <c:pt idx="833">
                  <c:v>42795</c:v>
                </c:pt>
                <c:pt idx="834">
                  <c:v>42796</c:v>
                </c:pt>
                <c:pt idx="835">
                  <c:v>42797</c:v>
                </c:pt>
                <c:pt idx="836">
                  <c:v>42800</c:v>
                </c:pt>
                <c:pt idx="837">
                  <c:v>42801</c:v>
                </c:pt>
                <c:pt idx="838">
                  <c:v>42802</c:v>
                </c:pt>
                <c:pt idx="839">
                  <c:v>42803</c:v>
                </c:pt>
                <c:pt idx="840">
                  <c:v>42804</c:v>
                </c:pt>
                <c:pt idx="841">
                  <c:v>42807</c:v>
                </c:pt>
                <c:pt idx="842">
                  <c:v>42808</c:v>
                </c:pt>
                <c:pt idx="843">
                  <c:v>42809</c:v>
                </c:pt>
                <c:pt idx="844">
                  <c:v>42810</c:v>
                </c:pt>
                <c:pt idx="845">
                  <c:v>42811</c:v>
                </c:pt>
                <c:pt idx="846">
                  <c:v>42814</c:v>
                </c:pt>
                <c:pt idx="847">
                  <c:v>42815</c:v>
                </c:pt>
                <c:pt idx="848">
                  <c:v>42816</c:v>
                </c:pt>
                <c:pt idx="849">
                  <c:v>42817</c:v>
                </c:pt>
                <c:pt idx="850">
                  <c:v>42818</c:v>
                </c:pt>
                <c:pt idx="851">
                  <c:v>42821</c:v>
                </c:pt>
                <c:pt idx="852">
                  <c:v>42822</c:v>
                </c:pt>
                <c:pt idx="853">
                  <c:v>42823</c:v>
                </c:pt>
                <c:pt idx="854">
                  <c:v>42824</c:v>
                </c:pt>
                <c:pt idx="855">
                  <c:v>42825</c:v>
                </c:pt>
                <c:pt idx="856">
                  <c:v>42828</c:v>
                </c:pt>
                <c:pt idx="857">
                  <c:v>42829</c:v>
                </c:pt>
                <c:pt idx="858">
                  <c:v>42830</c:v>
                </c:pt>
                <c:pt idx="859">
                  <c:v>42831</c:v>
                </c:pt>
                <c:pt idx="860">
                  <c:v>42832</c:v>
                </c:pt>
                <c:pt idx="861">
                  <c:v>42835</c:v>
                </c:pt>
                <c:pt idx="862">
                  <c:v>42836</c:v>
                </c:pt>
                <c:pt idx="863">
                  <c:v>42837</c:v>
                </c:pt>
                <c:pt idx="864">
                  <c:v>42838</c:v>
                </c:pt>
                <c:pt idx="865">
                  <c:v>42842</c:v>
                </c:pt>
                <c:pt idx="866">
                  <c:v>42843</c:v>
                </c:pt>
                <c:pt idx="867">
                  <c:v>42844</c:v>
                </c:pt>
                <c:pt idx="868">
                  <c:v>42845</c:v>
                </c:pt>
                <c:pt idx="869">
                  <c:v>42846</c:v>
                </c:pt>
                <c:pt idx="870">
                  <c:v>42849</c:v>
                </c:pt>
                <c:pt idx="871">
                  <c:v>42850</c:v>
                </c:pt>
                <c:pt idx="872">
                  <c:v>42851</c:v>
                </c:pt>
                <c:pt idx="873">
                  <c:v>42852</c:v>
                </c:pt>
                <c:pt idx="874">
                  <c:v>42853</c:v>
                </c:pt>
                <c:pt idx="875">
                  <c:v>42856</c:v>
                </c:pt>
                <c:pt idx="876">
                  <c:v>42857</c:v>
                </c:pt>
                <c:pt idx="877">
                  <c:v>42858</c:v>
                </c:pt>
                <c:pt idx="878">
                  <c:v>42859</c:v>
                </c:pt>
                <c:pt idx="879">
                  <c:v>42860</c:v>
                </c:pt>
                <c:pt idx="880">
                  <c:v>42863</c:v>
                </c:pt>
                <c:pt idx="881">
                  <c:v>42864</c:v>
                </c:pt>
                <c:pt idx="882">
                  <c:v>42865</c:v>
                </c:pt>
                <c:pt idx="883">
                  <c:v>42866</c:v>
                </c:pt>
                <c:pt idx="884">
                  <c:v>42867</c:v>
                </c:pt>
                <c:pt idx="885">
                  <c:v>42870</c:v>
                </c:pt>
                <c:pt idx="886">
                  <c:v>42871</c:v>
                </c:pt>
                <c:pt idx="887">
                  <c:v>42872</c:v>
                </c:pt>
                <c:pt idx="888">
                  <c:v>42873</c:v>
                </c:pt>
                <c:pt idx="889">
                  <c:v>42874</c:v>
                </c:pt>
                <c:pt idx="890">
                  <c:v>42877</c:v>
                </c:pt>
                <c:pt idx="891">
                  <c:v>42878</c:v>
                </c:pt>
                <c:pt idx="892">
                  <c:v>42879</c:v>
                </c:pt>
                <c:pt idx="893">
                  <c:v>42880</c:v>
                </c:pt>
                <c:pt idx="894">
                  <c:v>42881</c:v>
                </c:pt>
                <c:pt idx="895">
                  <c:v>42885</c:v>
                </c:pt>
                <c:pt idx="896">
                  <c:v>42886</c:v>
                </c:pt>
                <c:pt idx="897">
                  <c:v>42887</c:v>
                </c:pt>
                <c:pt idx="898">
                  <c:v>42888</c:v>
                </c:pt>
                <c:pt idx="899">
                  <c:v>42891</c:v>
                </c:pt>
                <c:pt idx="900">
                  <c:v>42892</c:v>
                </c:pt>
                <c:pt idx="901">
                  <c:v>42893</c:v>
                </c:pt>
                <c:pt idx="902">
                  <c:v>42894</c:v>
                </c:pt>
                <c:pt idx="903">
                  <c:v>42895</c:v>
                </c:pt>
                <c:pt idx="904">
                  <c:v>42898</c:v>
                </c:pt>
                <c:pt idx="905">
                  <c:v>42899</c:v>
                </c:pt>
                <c:pt idx="906">
                  <c:v>42900</c:v>
                </c:pt>
                <c:pt idx="907">
                  <c:v>42901</c:v>
                </c:pt>
                <c:pt idx="908">
                  <c:v>42902</c:v>
                </c:pt>
                <c:pt idx="909">
                  <c:v>42905</c:v>
                </c:pt>
                <c:pt idx="910">
                  <c:v>42906</c:v>
                </c:pt>
                <c:pt idx="911">
                  <c:v>42907</c:v>
                </c:pt>
                <c:pt idx="912">
                  <c:v>42908</c:v>
                </c:pt>
                <c:pt idx="913">
                  <c:v>42909</c:v>
                </c:pt>
                <c:pt idx="914">
                  <c:v>42912</c:v>
                </c:pt>
                <c:pt idx="915">
                  <c:v>42913</c:v>
                </c:pt>
                <c:pt idx="916">
                  <c:v>42914</c:v>
                </c:pt>
                <c:pt idx="917">
                  <c:v>42915</c:v>
                </c:pt>
                <c:pt idx="918">
                  <c:v>42916</c:v>
                </c:pt>
                <c:pt idx="919">
                  <c:v>42919</c:v>
                </c:pt>
                <c:pt idx="920">
                  <c:v>42920</c:v>
                </c:pt>
                <c:pt idx="921">
                  <c:v>42921</c:v>
                </c:pt>
                <c:pt idx="922">
                  <c:v>42922</c:v>
                </c:pt>
                <c:pt idx="923">
                  <c:v>42923</c:v>
                </c:pt>
                <c:pt idx="924">
                  <c:v>42926</c:v>
                </c:pt>
                <c:pt idx="925">
                  <c:v>42927</c:v>
                </c:pt>
                <c:pt idx="926">
                  <c:v>42928</c:v>
                </c:pt>
                <c:pt idx="927">
                  <c:v>42929</c:v>
                </c:pt>
                <c:pt idx="928">
                  <c:v>42930</c:v>
                </c:pt>
                <c:pt idx="929">
                  <c:v>42933</c:v>
                </c:pt>
                <c:pt idx="930">
                  <c:v>42934</c:v>
                </c:pt>
                <c:pt idx="931">
                  <c:v>42935</c:v>
                </c:pt>
                <c:pt idx="932">
                  <c:v>42936</c:v>
                </c:pt>
                <c:pt idx="933">
                  <c:v>42937</c:v>
                </c:pt>
                <c:pt idx="934">
                  <c:v>42940</c:v>
                </c:pt>
                <c:pt idx="935">
                  <c:v>42941</c:v>
                </c:pt>
                <c:pt idx="936">
                  <c:v>42942</c:v>
                </c:pt>
                <c:pt idx="937">
                  <c:v>42943</c:v>
                </c:pt>
                <c:pt idx="938">
                  <c:v>42944</c:v>
                </c:pt>
                <c:pt idx="939">
                  <c:v>42947</c:v>
                </c:pt>
                <c:pt idx="940">
                  <c:v>42948</c:v>
                </c:pt>
                <c:pt idx="941">
                  <c:v>42949</c:v>
                </c:pt>
                <c:pt idx="942">
                  <c:v>42950</c:v>
                </c:pt>
                <c:pt idx="943">
                  <c:v>42951</c:v>
                </c:pt>
                <c:pt idx="944">
                  <c:v>42954</c:v>
                </c:pt>
                <c:pt idx="945">
                  <c:v>42955</c:v>
                </c:pt>
                <c:pt idx="946">
                  <c:v>42956</c:v>
                </c:pt>
                <c:pt idx="947">
                  <c:v>42957</c:v>
                </c:pt>
                <c:pt idx="948">
                  <c:v>42958</c:v>
                </c:pt>
                <c:pt idx="949">
                  <c:v>42961</c:v>
                </c:pt>
                <c:pt idx="950">
                  <c:v>42962</c:v>
                </c:pt>
                <c:pt idx="951">
                  <c:v>42963</c:v>
                </c:pt>
                <c:pt idx="952">
                  <c:v>42964</c:v>
                </c:pt>
                <c:pt idx="953">
                  <c:v>42965</c:v>
                </c:pt>
                <c:pt idx="954">
                  <c:v>42968</c:v>
                </c:pt>
                <c:pt idx="955">
                  <c:v>42969</c:v>
                </c:pt>
                <c:pt idx="956">
                  <c:v>42970</c:v>
                </c:pt>
                <c:pt idx="957">
                  <c:v>42971</c:v>
                </c:pt>
                <c:pt idx="958">
                  <c:v>42972</c:v>
                </c:pt>
                <c:pt idx="959">
                  <c:v>42975</c:v>
                </c:pt>
                <c:pt idx="960">
                  <c:v>42976</c:v>
                </c:pt>
                <c:pt idx="961">
                  <c:v>42977</c:v>
                </c:pt>
                <c:pt idx="962">
                  <c:v>42978</c:v>
                </c:pt>
                <c:pt idx="963">
                  <c:v>42979</c:v>
                </c:pt>
                <c:pt idx="964">
                  <c:v>42982</c:v>
                </c:pt>
                <c:pt idx="965">
                  <c:v>42983</c:v>
                </c:pt>
                <c:pt idx="966">
                  <c:v>42984</c:v>
                </c:pt>
                <c:pt idx="967">
                  <c:v>42985</c:v>
                </c:pt>
                <c:pt idx="968">
                  <c:v>42986</c:v>
                </c:pt>
                <c:pt idx="969">
                  <c:v>42989</c:v>
                </c:pt>
                <c:pt idx="970">
                  <c:v>42990</c:v>
                </c:pt>
                <c:pt idx="971">
                  <c:v>42991</c:v>
                </c:pt>
                <c:pt idx="972">
                  <c:v>42992</c:v>
                </c:pt>
                <c:pt idx="973">
                  <c:v>42993</c:v>
                </c:pt>
                <c:pt idx="974">
                  <c:v>42996</c:v>
                </c:pt>
                <c:pt idx="975">
                  <c:v>42997</c:v>
                </c:pt>
                <c:pt idx="976">
                  <c:v>42998</c:v>
                </c:pt>
                <c:pt idx="977">
                  <c:v>42999</c:v>
                </c:pt>
                <c:pt idx="978">
                  <c:v>43000</c:v>
                </c:pt>
                <c:pt idx="979">
                  <c:v>43003</c:v>
                </c:pt>
                <c:pt idx="980">
                  <c:v>43004</c:v>
                </c:pt>
                <c:pt idx="981">
                  <c:v>43005</c:v>
                </c:pt>
                <c:pt idx="982">
                  <c:v>43006</c:v>
                </c:pt>
                <c:pt idx="983">
                  <c:v>43007</c:v>
                </c:pt>
                <c:pt idx="984">
                  <c:v>43010</c:v>
                </c:pt>
                <c:pt idx="985">
                  <c:v>43011</c:v>
                </c:pt>
                <c:pt idx="986">
                  <c:v>43012</c:v>
                </c:pt>
                <c:pt idx="987">
                  <c:v>43013</c:v>
                </c:pt>
                <c:pt idx="988">
                  <c:v>43014</c:v>
                </c:pt>
                <c:pt idx="989">
                  <c:v>43017</c:v>
                </c:pt>
                <c:pt idx="990">
                  <c:v>43018</c:v>
                </c:pt>
                <c:pt idx="991">
                  <c:v>43019</c:v>
                </c:pt>
                <c:pt idx="992">
                  <c:v>43020</c:v>
                </c:pt>
                <c:pt idx="993">
                  <c:v>43021</c:v>
                </c:pt>
                <c:pt idx="994">
                  <c:v>43024</c:v>
                </c:pt>
                <c:pt idx="995">
                  <c:v>43025</c:v>
                </c:pt>
                <c:pt idx="996">
                  <c:v>43026</c:v>
                </c:pt>
                <c:pt idx="997">
                  <c:v>43027</c:v>
                </c:pt>
                <c:pt idx="998">
                  <c:v>43028</c:v>
                </c:pt>
                <c:pt idx="999">
                  <c:v>43031</c:v>
                </c:pt>
                <c:pt idx="1000">
                  <c:v>43032</c:v>
                </c:pt>
                <c:pt idx="1001">
                  <c:v>43033</c:v>
                </c:pt>
                <c:pt idx="1002">
                  <c:v>43034</c:v>
                </c:pt>
                <c:pt idx="1003">
                  <c:v>43035</c:v>
                </c:pt>
                <c:pt idx="1004">
                  <c:v>43038</c:v>
                </c:pt>
                <c:pt idx="1005">
                  <c:v>43039</c:v>
                </c:pt>
                <c:pt idx="1006">
                  <c:v>43040</c:v>
                </c:pt>
                <c:pt idx="1007">
                  <c:v>43041</c:v>
                </c:pt>
                <c:pt idx="1008">
                  <c:v>43042</c:v>
                </c:pt>
                <c:pt idx="1009">
                  <c:v>43045</c:v>
                </c:pt>
                <c:pt idx="1010">
                  <c:v>43046</c:v>
                </c:pt>
                <c:pt idx="1011">
                  <c:v>43047</c:v>
                </c:pt>
                <c:pt idx="1012">
                  <c:v>43048</c:v>
                </c:pt>
                <c:pt idx="1013">
                  <c:v>43049</c:v>
                </c:pt>
                <c:pt idx="1014">
                  <c:v>43052</c:v>
                </c:pt>
                <c:pt idx="1015">
                  <c:v>43053</c:v>
                </c:pt>
                <c:pt idx="1016">
                  <c:v>43054</c:v>
                </c:pt>
                <c:pt idx="1017">
                  <c:v>43055</c:v>
                </c:pt>
                <c:pt idx="1018">
                  <c:v>43056</c:v>
                </c:pt>
                <c:pt idx="1019">
                  <c:v>43059</c:v>
                </c:pt>
                <c:pt idx="1020">
                  <c:v>43060</c:v>
                </c:pt>
                <c:pt idx="1021">
                  <c:v>43061</c:v>
                </c:pt>
                <c:pt idx="1022">
                  <c:v>43062</c:v>
                </c:pt>
                <c:pt idx="1023">
                  <c:v>43063</c:v>
                </c:pt>
                <c:pt idx="1024">
                  <c:v>43066</c:v>
                </c:pt>
                <c:pt idx="1025">
                  <c:v>43067</c:v>
                </c:pt>
                <c:pt idx="1026">
                  <c:v>43068</c:v>
                </c:pt>
                <c:pt idx="1027">
                  <c:v>43069</c:v>
                </c:pt>
                <c:pt idx="1028">
                  <c:v>43070</c:v>
                </c:pt>
                <c:pt idx="1029">
                  <c:v>43073</c:v>
                </c:pt>
                <c:pt idx="1030">
                  <c:v>43074</c:v>
                </c:pt>
                <c:pt idx="1031">
                  <c:v>43075</c:v>
                </c:pt>
                <c:pt idx="1032">
                  <c:v>43076</c:v>
                </c:pt>
                <c:pt idx="1033">
                  <c:v>43077</c:v>
                </c:pt>
                <c:pt idx="1034">
                  <c:v>43080</c:v>
                </c:pt>
                <c:pt idx="1035">
                  <c:v>43081</c:v>
                </c:pt>
                <c:pt idx="1036">
                  <c:v>43082</c:v>
                </c:pt>
                <c:pt idx="1037">
                  <c:v>43083</c:v>
                </c:pt>
                <c:pt idx="1038">
                  <c:v>43084</c:v>
                </c:pt>
                <c:pt idx="1039">
                  <c:v>43087</c:v>
                </c:pt>
                <c:pt idx="1040">
                  <c:v>43088</c:v>
                </c:pt>
                <c:pt idx="1041">
                  <c:v>43089</c:v>
                </c:pt>
                <c:pt idx="1042">
                  <c:v>43090</c:v>
                </c:pt>
                <c:pt idx="1043">
                  <c:v>43091</c:v>
                </c:pt>
                <c:pt idx="1044">
                  <c:v>43095</c:v>
                </c:pt>
                <c:pt idx="1045">
                  <c:v>43096</c:v>
                </c:pt>
                <c:pt idx="1046">
                  <c:v>43097</c:v>
                </c:pt>
                <c:pt idx="1047">
                  <c:v>43098</c:v>
                </c:pt>
                <c:pt idx="1048">
                  <c:v>43102</c:v>
                </c:pt>
                <c:pt idx="1049">
                  <c:v>43103</c:v>
                </c:pt>
                <c:pt idx="1050">
                  <c:v>43104</c:v>
                </c:pt>
                <c:pt idx="1051">
                  <c:v>43105</c:v>
                </c:pt>
                <c:pt idx="1052">
                  <c:v>43108</c:v>
                </c:pt>
                <c:pt idx="1053">
                  <c:v>43109</c:v>
                </c:pt>
                <c:pt idx="1054">
                  <c:v>43110</c:v>
                </c:pt>
                <c:pt idx="1055">
                  <c:v>43111</c:v>
                </c:pt>
                <c:pt idx="1056">
                  <c:v>43112</c:v>
                </c:pt>
                <c:pt idx="1057">
                  <c:v>43115</c:v>
                </c:pt>
                <c:pt idx="1058">
                  <c:v>43116</c:v>
                </c:pt>
                <c:pt idx="1059">
                  <c:v>43117</c:v>
                </c:pt>
                <c:pt idx="1060">
                  <c:v>43118</c:v>
                </c:pt>
                <c:pt idx="1061">
                  <c:v>43119</c:v>
                </c:pt>
                <c:pt idx="1062">
                  <c:v>43122</c:v>
                </c:pt>
                <c:pt idx="1063">
                  <c:v>43123</c:v>
                </c:pt>
                <c:pt idx="1064">
                  <c:v>43124</c:v>
                </c:pt>
                <c:pt idx="1065">
                  <c:v>43125</c:v>
                </c:pt>
                <c:pt idx="1066">
                  <c:v>43126</c:v>
                </c:pt>
                <c:pt idx="1067">
                  <c:v>43129</c:v>
                </c:pt>
                <c:pt idx="1068">
                  <c:v>43130</c:v>
                </c:pt>
                <c:pt idx="1069">
                  <c:v>43131</c:v>
                </c:pt>
                <c:pt idx="1070">
                  <c:v>43132</c:v>
                </c:pt>
                <c:pt idx="1071">
                  <c:v>43133</c:v>
                </c:pt>
                <c:pt idx="1072">
                  <c:v>43136</c:v>
                </c:pt>
                <c:pt idx="1073">
                  <c:v>43137</c:v>
                </c:pt>
                <c:pt idx="1074">
                  <c:v>43138</c:v>
                </c:pt>
                <c:pt idx="1075">
                  <c:v>43139</c:v>
                </c:pt>
                <c:pt idx="1076">
                  <c:v>43140</c:v>
                </c:pt>
                <c:pt idx="1077">
                  <c:v>43143</c:v>
                </c:pt>
                <c:pt idx="1078">
                  <c:v>43144</c:v>
                </c:pt>
                <c:pt idx="1079">
                  <c:v>43145</c:v>
                </c:pt>
                <c:pt idx="1080">
                  <c:v>43146</c:v>
                </c:pt>
                <c:pt idx="1081">
                  <c:v>43147</c:v>
                </c:pt>
                <c:pt idx="1082">
                  <c:v>43150</c:v>
                </c:pt>
                <c:pt idx="1083">
                  <c:v>43151</c:v>
                </c:pt>
                <c:pt idx="1084">
                  <c:v>43152</c:v>
                </c:pt>
                <c:pt idx="1085">
                  <c:v>43153</c:v>
                </c:pt>
                <c:pt idx="1086">
                  <c:v>43154</c:v>
                </c:pt>
                <c:pt idx="1087">
                  <c:v>43157</c:v>
                </c:pt>
                <c:pt idx="1088">
                  <c:v>43158</c:v>
                </c:pt>
                <c:pt idx="1089">
                  <c:v>43159</c:v>
                </c:pt>
                <c:pt idx="1090">
                  <c:v>43160</c:v>
                </c:pt>
                <c:pt idx="1091">
                  <c:v>43161</c:v>
                </c:pt>
                <c:pt idx="1092">
                  <c:v>43164</c:v>
                </c:pt>
                <c:pt idx="1093">
                  <c:v>43165</c:v>
                </c:pt>
                <c:pt idx="1094">
                  <c:v>43166</c:v>
                </c:pt>
                <c:pt idx="1095">
                  <c:v>43167</c:v>
                </c:pt>
                <c:pt idx="1096">
                  <c:v>43168</c:v>
                </c:pt>
                <c:pt idx="1097">
                  <c:v>43171</c:v>
                </c:pt>
                <c:pt idx="1098">
                  <c:v>43172</c:v>
                </c:pt>
                <c:pt idx="1099">
                  <c:v>43173</c:v>
                </c:pt>
                <c:pt idx="1100">
                  <c:v>43174</c:v>
                </c:pt>
                <c:pt idx="1101">
                  <c:v>43175</c:v>
                </c:pt>
                <c:pt idx="1102">
                  <c:v>43178</c:v>
                </c:pt>
                <c:pt idx="1103">
                  <c:v>43179</c:v>
                </c:pt>
                <c:pt idx="1104">
                  <c:v>43180</c:v>
                </c:pt>
                <c:pt idx="1105">
                  <c:v>43181</c:v>
                </c:pt>
                <c:pt idx="1106">
                  <c:v>43182</c:v>
                </c:pt>
                <c:pt idx="1107">
                  <c:v>43185</c:v>
                </c:pt>
                <c:pt idx="1108">
                  <c:v>43186</c:v>
                </c:pt>
                <c:pt idx="1109">
                  <c:v>43187</c:v>
                </c:pt>
                <c:pt idx="1110">
                  <c:v>43188</c:v>
                </c:pt>
                <c:pt idx="1111">
                  <c:v>43192</c:v>
                </c:pt>
                <c:pt idx="1112">
                  <c:v>43193</c:v>
                </c:pt>
                <c:pt idx="1113">
                  <c:v>43194</c:v>
                </c:pt>
                <c:pt idx="1114">
                  <c:v>43195</c:v>
                </c:pt>
                <c:pt idx="1115">
                  <c:v>43196</c:v>
                </c:pt>
                <c:pt idx="1116">
                  <c:v>43199</c:v>
                </c:pt>
                <c:pt idx="1117">
                  <c:v>43200</c:v>
                </c:pt>
                <c:pt idx="1118">
                  <c:v>43201</c:v>
                </c:pt>
                <c:pt idx="1119">
                  <c:v>43202</c:v>
                </c:pt>
                <c:pt idx="1120">
                  <c:v>43203</c:v>
                </c:pt>
                <c:pt idx="1121">
                  <c:v>43206</c:v>
                </c:pt>
                <c:pt idx="1122">
                  <c:v>43207</c:v>
                </c:pt>
                <c:pt idx="1123">
                  <c:v>43208</c:v>
                </c:pt>
                <c:pt idx="1124">
                  <c:v>43209</c:v>
                </c:pt>
                <c:pt idx="1125">
                  <c:v>43210</c:v>
                </c:pt>
                <c:pt idx="1126">
                  <c:v>43213</c:v>
                </c:pt>
                <c:pt idx="1127">
                  <c:v>43214</c:v>
                </c:pt>
                <c:pt idx="1128">
                  <c:v>43215</c:v>
                </c:pt>
                <c:pt idx="1129">
                  <c:v>43216</c:v>
                </c:pt>
                <c:pt idx="1130">
                  <c:v>43217</c:v>
                </c:pt>
                <c:pt idx="1131">
                  <c:v>43220</c:v>
                </c:pt>
                <c:pt idx="1132">
                  <c:v>43221</c:v>
                </c:pt>
                <c:pt idx="1133">
                  <c:v>43222</c:v>
                </c:pt>
                <c:pt idx="1134">
                  <c:v>43223</c:v>
                </c:pt>
                <c:pt idx="1135">
                  <c:v>43224</c:v>
                </c:pt>
                <c:pt idx="1136">
                  <c:v>43227</c:v>
                </c:pt>
                <c:pt idx="1137">
                  <c:v>43228</c:v>
                </c:pt>
                <c:pt idx="1138">
                  <c:v>43229</c:v>
                </c:pt>
                <c:pt idx="1139">
                  <c:v>43230</c:v>
                </c:pt>
                <c:pt idx="1140">
                  <c:v>43231</c:v>
                </c:pt>
                <c:pt idx="1141">
                  <c:v>43234</c:v>
                </c:pt>
                <c:pt idx="1142">
                  <c:v>43235</c:v>
                </c:pt>
                <c:pt idx="1143">
                  <c:v>43236</c:v>
                </c:pt>
                <c:pt idx="1144">
                  <c:v>43237</c:v>
                </c:pt>
                <c:pt idx="1145">
                  <c:v>43238</c:v>
                </c:pt>
                <c:pt idx="1146">
                  <c:v>43241</c:v>
                </c:pt>
                <c:pt idx="1147">
                  <c:v>43242</c:v>
                </c:pt>
                <c:pt idx="1148">
                  <c:v>43243</c:v>
                </c:pt>
                <c:pt idx="1149">
                  <c:v>43244</c:v>
                </c:pt>
                <c:pt idx="1150">
                  <c:v>43245</c:v>
                </c:pt>
                <c:pt idx="1151">
                  <c:v>43249</c:v>
                </c:pt>
                <c:pt idx="1152">
                  <c:v>43250</c:v>
                </c:pt>
                <c:pt idx="1153">
                  <c:v>43251</c:v>
                </c:pt>
                <c:pt idx="1154">
                  <c:v>43252</c:v>
                </c:pt>
                <c:pt idx="1155">
                  <c:v>43255</c:v>
                </c:pt>
                <c:pt idx="1156">
                  <c:v>43256</c:v>
                </c:pt>
                <c:pt idx="1157">
                  <c:v>43257</c:v>
                </c:pt>
                <c:pt idx="1158">
                  <c:v>43258</c:v>
                </c:pt>
                <c:pt idx="1159">
                  <c:v>43259</c:v>
                </c:pt>
                <c:pt idx="1160">
                  <c:v>43262</c:v>
                </c:pt>
                <c:pt idx="1161">
                  <c:v>43263</c:v>
                </c:pt>
                <c:pt idx="1162">
                  <c:v>43264</c:v>
                </c:pt>
                <c:pt idx="1163">
                  <c:v>43265</c:v>
                </c:pt>
                <c:pt idx="1164">
                  <c:v>43266</c:v>
                </c:pt>
                <c:pt idx="1165">
                  <c:v>43269</c:v>
                </c:pt>
                <c:pt idx="1166">
                  <c:v>43270</c:v>
                </c:pt>
                <c:pt idx="1167">
                  <c:v>43271</c:v>
                </c:pt>
                <c:pt idx="1168">
                  <c:v>43272</c:v>
                </c:pt>
                <c:pt idx="1169">
                  <c:v>43273</c:v>
                </c:pt>
                <c:pt idx="1170">
                  <c:v>43276</c:v>
                </c:pt>
                <c:pt idx="1171">
                  <c:v>43277</c:v>
                </c:pt>
                <c:pt idx="1172">
                  <c:v>43278</c:v>
                </c:pt>
                <c:pt idx="1173">
                  <c:v>43279</c:v>
                </c:pt>
                <c:pt idx="1174">
                  <c:v>43280</c:v>
                </c:pt>
                <c:pt idx="1175">
                  <c:v>43283</c:v>
                </c:pt>
                <c:pt idx="1176">
                  <c:v>43284</c:v>
                </c:pt>
                <c:pt idx="1177">
                  <c:v>43285</c:v>
                </c:pt>
                <c:pt idx="1178">
                  <c:v>43286</c:v>
                </c:pt>
                <c:pt idx="1179">
                  <c:v>43287</c:v>
                </c:pt>
                <c:pt idx="1180">
                  <c:v>43290</c:v>
                </c:pt>
                <c:pt idx="1181">
                  <c:v>43291</c:v>
                </c:pt>
                <c:pt idx="1182">
                  <c:v>43292</c:v>
                </c:pt>
                <c:pt idx="1183">
                  <c:v>43293</c:v>
                </c:pt>
                <c:pt idx="1184">
                  <c:v>43294</c:v>
                </c:pt>
                <c:pt idx="1185">
                  <c:v>43297</c:v>
                </c:pt>
                <c:pt idx="1186">
                  <c:v>43298</c:v>
                </c:pt>
                <c:pt idx="1187">
                  <c:v>43299</c:v>
                </c:pt>
                <c:pt idx="1188">
                  <c:v>43300</c:v>
                </c:pt>
                <c:pt idx="1189">
                  <c:v>43301</c:v>
                </c:pt>
                <c:pt idx="1190">
                  <c:v>43304</c:v>
                </c:pt>
                <c:pt idx="1191">
                  <c:v>43305</c:v>
                </c:pt>
                <c:pt idx="1192">
                  <c:v>43306</c:v>
                </c:pt>
                <c:pt idx="1193">
                  <c:v>43307</c:v>
                </c:pt>
                <c:pt idx="1194">
                  <c:v>43308</c:v>
                </c:pt>
                <c:pt idx="1195">
                  <c:v>43311</c:v>
                </c:pt>
                <c:pt idx="1196">
                  <c:v>43312</c:v>
                </c:pt>
                <c:pt idx="1197">
                  <c:v>43313</c:v>
                </c:pt>
                <c:pt idx="1198">
                  <c:v>43314</c:v>
                </c:pt>
                <c:pt idx="1199">
                  <c:v>43315</c:v>
                </c:pt>
                <c:pt idx="1200">
                  <c:v>43318</c:v>
                </c:pt>
                <c:pt idx="1201">
                  <c:v>43319</c:v>
                </c:pt>
                <c:pt idx="1202">
                  <c:v>43320</c:v>
                </c:pt>
                <c:pt idx="1203">
                  <c:v>43321</c:v>
                </c:pt>
                <c:pt idx="1204">
                  <c:v>43322</c:v>
                </c:pt>
                <c:pt idx="1205">
                  <c:v>43325</c:v>
                </c:pt>
                <c:pt idx="1206">
                  <c:v>43326</c:v>
                </c:pt>
                <c:pt idx="1207">
                  <c:v>43327</c:v>
                </c:pt>
                <c:pt idx="1208">
                  <c:v>43328</c:v>
                </c:pt>
                <c:pt idx="1209">
                  <c:v>43329</c:v>
                </c:pt>
                <c:pt idx="1210">
                  <c:v>43332</c:v>
                </c:pt>
                <c:pt idx="1211">
                  <c:v>43333</c:v>
                </c:pt>
                <c:pt idx="1212">
                  <c:v>43334</c:v>
                </c:pt>
                <c:pt idx="1213">
                  <c:v>43335</c:v>
                </c:pt>
                <c:pt idx="1214">
                  <c:v>43336</c:v>
                </c:pt>
                <c:pt idx="1215">
                  <c:v>43339</c:v>
                </c:pt>
                <c:pt idx="1216">
                  <c:v>43340</c:v>
                </c:pt>
                <c:pt idx="1217">
                  <c:v>43341</c:v>
                </c:pt>
                <c:pt idx="1218">
                  <c:v>43342</c:v>
                </c:pt>
                <c:pt idx="1219">
                  <c:v>43343</c:v>
                </c:pt>
                <c:pt idx="1220">
                  <c:v>43346</c:v>
                </c:pt>
                <c:pt idx="1221">
                  <c:v>43347</c:v>
                </c:pt>
                <c:pt idx="1222">
                  <c:v>43348</c:v>
                </c:pt>
                <c:pt idx="1223">
                  <c:v>43349</c:v>
                </c:pt>
                <c:pt idx="1224">
                  <c:v>43350</c:v>
                </c:pt>
                <c:pt idx="1225">
                  <c:v>43353</c:v>
                </c:pt>
                <c:pt idx="1226">
                  <c:v>43354</c:v>
                </c:pt>
                <c:pt idx="1227">
                  <c:v>43355</c:v>
                </c:pt>
                <c:pt idx="1228">
                  <c:v>43356</c:v>
                </c:pt>
                <c:pt idx="1229">
                  <c:v>43357</c:v>
                </c:pt>
                <c:pt idx="1230">
                  <c:v>43360</c:v>
                </c:pt>
                <c:pt idx="1231">
                  <c:v>43361</c:v>
                </c:pt>
                <c:pt idx="1232">
                  <c:v>43362</c:v>
                </c:pt>
                <c:pt idx="1233">
                  <c:v>43363</c:v>
                </c:pt>
                <c:pt idx="1234">
                  <c:v>43364</c:v>
                </c:pt>
                <c:pt idx="1235">
                  <c:v>43367</c:v>
                </c:pt>
                <c:pt idx="1236">
                  <c:v>43368</c:v>
                </c:pt>
                <c:pt idx="1237">
                  <c:v>43369</c:v>
                </c:pt>
                <c:pt idx="1238">
                  <c:v>43370</c:v>
                </c:pt>
                <c:pt idx="1239">
                  <c:v>43371</c:v>
                </c:pt>
                <c:pt idx="1240">
                  <c:v>43374</c:v>
                </c:pt>
                <c:pt idx="1241">
                  <c:v>43375</c:v>
                </c:pt>
                <c:pt idx="1242">
                  <c:v>43376</c:v>
                </c:pt>
                <c:pt idx="1243">
                  <c:v>43377</c:v>
                </c:pt>
                <c:pt idx="1244">
                  <c:v>43378</c:v>
                </c:pt>
                <c:pt idx="1245">
                  <c:v>43381</c:v>
                </c:pt>
                <c:pt idx="1246">
                  <c:v>43382</c:v>
                </c:pt>
                <c:pt idx="1247">
                  <c:v>43383</c:v>
                </c:pt>
                <c:pt idx="1248">
                  <c:v>43384</c:v>
                </c:pt>
                <c:pt idx="1249">
                  <c:v>43385</c:v>
                </c:pt>
                <c:pt idx="1250">
                  <c:v>43388</c:v>
                </c:pt>
                <c:pt idx="1251">
                  <c:v>43389</c:v>
                </c:pt>
                <c:pt idx="1252">
                  <c:v>43390</c:v>
                </c:pt>
                <c:pt idx="1253">
                  <c:v>43391</c:v>
                </c:pt>
                <c:pt idx="1254">
                  <c:v>43392</c:v>
                </c:pt>
                <c:pt idx="1255">
                  <c:v>43395</c:v>
                </c:pt>
                <c:pt idx="1256">
                  <c:v>43396</c:v>
                </c:pt>
                <c:pt idx="1257">
                  <c:v>43397</c:v>
                </c:pt>
                <c:pt idx="1258">
                  <c:v>43398</c:v>
                </c:pt>
                <c:pt idx="1259">
                  <c:v>43399</c:v>
                </c:pt>
                <c:pt idx="1260">
                  <c:v>43402</c:v>
                </c:pt>
                <c:pt idx="1261">
                  <c:v>43403</c:v>
                </c:pt>
                <c:pt idx="1262">
                  <c:v>43404</c:v>
                </c:pt>
                <c:pt idx="1263">
                  <c:v>43405</c:v>
                </c:pt>
                <c:pt idx="1264">
                  <c:v>43406</c:v>
                </c:pt>
                <c:pt idx="1265">
                  <c:v>43409</c:v>
                </c:pt>
                <c:pt idx="1266">
                  <c:v>43410</c:v>
                </c:pt>
                <c:pt idx="1267">
                  <c:v>43411</c:v>
                </c:pt>
                <c:pt idx="1268">
                  <c:v>43412</c:v>
                </c:pt>
                <c:pt idx="1269">
                  <c:v>43413</c:v>
                </c:pt>
                <c:pt idx="1270">
                  <c:v>43416</c:v>
                </c:pt>
                <c:pt idx="1271">
                  <c:v>43417</c:v>
                </c:pt>
                <c:pt idx="1272">
                  <c:v>43418</c:v>
                </c:pt>
                <c:pt idx="1273">
                  <c:v>43419</c:v>
                </c:pt>
                <c:pt idx="1274">
                  <c:v>43420</c:v>
                </c:pt>
                <c:pt idx="1275">
                  <c:v>43423</c:v>
                </c:pt>
                <c:pt idx="1276">
                  <c:v>43424</c:v>
                </c:pt>
                <c:pt idx="1277">
                  <c:v>43425</c:v>
                </c:pt>
                <c:pt idx="1278">
                  <c:v>43426</c:v>
                </c:pt>
                <c:pt idx="1279">
                  <c:v>43427</c:v>
                </c:pt>
                <c:pt idx="1280">
                  <c:v>43430</c:v>
                </c:pt>
                <c:pt idx="1281">
                  <c:v>43431</c:v>
                </c:pt>
                <c:pt idx="1282">
                  <c:v>43432</c:v>
                </c:pt>
                <c:pt idx="1283">
                  <c:v>43433</c:v>
                </c:pt>
                <c:pt idx="1284">
                  <c:v>43434</c:v>
                </c:pt>
                <c:pt idx="1285">
                  <c:v>43437</c:v>
                </c:pt>
                <c:pt idx="1286">
                  <c:v>43438</c:v>
                </c:pt>
                <c:pt idx="1287">
                  <c:v>43439</c:v>
                </c:pt>
                <c:pt idx="1288">
                  <c:v>43440</c:v>
                </c:pt>
                <c:pt idx="1289">
                  <c:v>43441</c:v>
                </c:pt>
                <c:pt idx="1290">
                  <c:v>43444</c:v>
                </c:pt>
                <c:pt idx="1291">
                  <c:v>43445</c:v>
                </c:pt>
                <c:pt idx="1292">
                  <c:v>43446</c:v>
                </c:pt>
                <c:pt idx="1293">
                  <c:v>43447</c:v>
                </c:pt>
                <c:pt idx="1294">
                  <c:v>43448</c:v>
                </c:pt>
                <c:pt idx="1295">
                  <c:v>43451</c:v>
                </c:pt>
                <c:pt idx="1296">
                  <c:v>43452</c:v>
                </c:pt>
                <c:pt idx="1297">
                  <c:v>43453</c:v>
                </c:pt>
                <c:pt idx="1298">
                  <c:v>43454</c:v>
                </c:pt>
                <c:pt idx="1299">
                  <c:v>43455</c:v>
                </c:pt>
                <c:pt idx="1300">
                  <c:v>43460</c:v>
                </c:pt>
                <c:pt idx="1301">
                  <c:v>43461</c:v>
                </c:pt>
                <c:pt idx="1302">
                  <c:v>43462</c:v>
                </c:pt>
                <c:pt idx="1303">
                  <c:v>43467</c:v>
                </c:pt>
                <c:pt idx="1304">
                  <c:v>43468</c:v>
                </c:pt>
                <c:pt idx="1305">
                  <c:v>43469</c:v>
                </c:pt>
                <c:pt idx="1306">
                  <c:v>43472</c:v>
                </c:pt>
                <c:pt idx="1307">
                  <c:v>43473</c:v>
                </c:pt>
                <c:pt idx="1308">
                  <c:v>43474</c:v>
                </c:pt>
                <c:pt idx="1309">
                  <c:v>43475</c:v>
                </c:pt>
                <c:pt idx="1310">
                  <c:v>43476</c:v>
                </c:pt>
                <c:pt idx="1311">
                  <c:v>43479</c:v>
                </c:pt>
                <c:pt idx="1312">
                  <c:v>43480</c:v>
                </c:pt>
                <c:pt idx="1313">
                  <c:v>43481</c:v>
                </c:pt>
                <c:pt idx="1314">
                  <c:v>43482</c:v>
                </c:pt>
                <c:pt idx="1315">
                  <c:v>43483</c:v>
                </c:pt>
                <c:pt idx="1316">
                  <c:v>43486</c:v>
                </c:pt>
                <c:pt idx="1317">
                  <c:v>43487</c:v>
                </c:pt>
                <c:pt idx="1318">
                  <c:v>43488</c:v>
                </c:pt>
                <c:pt idx="1319">
                  <c:v>43489</c:v>
                </c:pt>
                <c:pt idx="1320">
                  <c:v>43490</c:v>
                </c:pt>
                <c:pt idx="1321">
                  <c:v>43493</c:v>
                </c:pt>
                <c:pt idx="1322">
                  <c:v>43494</c:v>
                </c:pt>
                <c:pt idx="1323">
                  <c:v>43495</c:v>
                </c:pt>
                <c:pt idx="1324">
                  <c:v>43496</c:v>
                </c:pt>
                <c:pt idx="1325">
                  <c:v>43497</c:v>
                </c:pt>
                <c:pt idx="1326">
                  <c:v>43500</c:v>
                </c:pt>
                <c:pt idx="1327">
                  <c:v>43501</c:v>
                </c:pt>
                <c:pt idx="1328">
                  <c:v>43502</c:v>
                </c:pt>
                <c:pt idx="1329">
                  <c:v>43503</c:v>
                </c:pt>
                <c:pt idx="1330">
                  <c:v>43504</c:v>
                </c:pt>
                <c:pt idx="1331">
                  <c:v>43507</c:v>
                </c:pt>
                <c:pt idx="1332">
                  <c:v>43508</c:v>
                </c:pt>
                <c:pt idx="1333">
                  <c:v>43509</c:v>
                </c:pt>
                <c:pt idx="1334">
                  <c:v>43510</c:v>
                </c:pt>
                <c:pt idx="1335">
                  <c:v>43511</c:v>
                </c:pt>
                <c:pt idx="1336">
                  <c:v>43514</c:v>
                </c:pt>
                <c:pt idx="1337">
                  <c:v>43515</c:v>
                </c:pt>
                <c:pt idx="1338">
                  <c:v>43516</c:v>
                </c:pt>
                <c:pt idx="1339">
                  <c:v>43517</c:v>
                </c:pt>
                <c:pt idx="1340">
                  <c:v>43518</c:v>
                </c:pt>
                <c:pt idx="1341">
                  <c:v>43521</c:v>
                </c:pt>
                <c:pt idx="1342">
                  <c:v>43522</c:v>
                </c:pt>
                <c:pt idx="1343">
                  <c:v>43523</c:v>
                </c:pt>
                <c:pt idx="1344">
                  <c:v>43524</c:v>
                </c:pt>
                <c:pt idx="1345">
                  <c:v>43525</c:v>
                </c:pt>
                <c:pt idx="1346">
                  <c:v>43528</c:v>
                </c:pt>
                <c:pt idx="1347">
                  <c:v>43529</c:v>
                </c:pt>
                <c:pt idx="1348">
                  <c:v>43530</c:v>
                </c:pt>
                <c:pt idx="1349">
                  <c:v>43531</c:v>
                </c:pt>
                <c:pt idx="1350">
                  <c:v>43532</c:v>
                </c:pt>
                <c:pt idx="1351">
                  <c:v>43535</c:v>
                </c:pt>
                <c:pt idx="1352">
                  <c:v>43536</c:v>
                </c:pt>
                <c:pt idx="1353">
                  <c:v>43537</c:v>
                </c:pt>
                <c:pt idx="1354">
                  <c:v>43538</c:v>
                </c:pt>
                <c:pt idx="1355">
                  <c:v>43539</c:v>
                </c:pt>
                <c:pt idx="1356">
                  <c:v>43542</c:v>
                </c:pt>
                <c:pt idx="1357">
                  <c:v>43543</c:v>
                </c:pt>
                <c:pt idx="1358">
                  <c:v>43544</c:v>
                </c:pt>
                <c:pt idx="1359">
                  <c:v>43545</c:v>
                </c:pt>
                <c:pt idx="1360">
                  <c:v>43546</c:v>
                </c:pt>
                <c:pt idx="1361">
                  <c:v>43549</c:v>
                </c:pt>
                <c:pt idx="1362">
                  <c:v>43550</c:v>
                </c:pt>
                <c:pt idx="1363">
                  <c:v>43551</c:v>
                </c:pt>
                <c:pt idx="1364">
                  <c:v>43552</c:v>
                </c:pt>
                <c:pt idx="1365">
                  <c:v>43553</c:v>
                </c:pt>
                <c:pt idx="1366">
                  <c:v>43556</c:v>
                </c:pt>
                <c:pt idx="1367">
                  <c:v>43557</c:v>
                </c:pt>
                <c:pt idx="1368">
                  <c:v>43558</c:v>
                </c:pt>
                <c:pt idx="1369">
                  <c:v>43559</c:v>
                </c:pt>
                <c:pt idx="1370">
                  <c:v>43560</c:v>
                </c:pt>
                <c:pt idx="1371">
                  <c:v>43563</c:v>
                </c:pt>
                <c:pt idx="1372">
                  <c:v>43564</c:v>
                </c:pt>
                <c:pt idx="1373">
                  <c:v>43565</c:v>
                </c:pt>
                <c:pt idx="1374">
                  <c:v>43566</c:v>
                </c:pt>
                <c:pt idx="1375">
                  <c:v>43567</c:v>
                </c:pt>
                <c:pt idx="1376">
                  <c:v>43570</c:v>
                </c:pt>
                <c:pt idx="1377">
                  <c:v>43571</c:v>
                </c:pt>
                <c:pt idx="1378">
                  <c:v>43572</c:v>
                </c:pt>
                <c:pt idx="1379">
                  <c:v>43573</c:v>
                </c:pt>
                <c:pt idx="1380">
                  <c:v>43577</c:v>
                </c:pt>
                <c:pt idx="1381">
                  <c:v>43578</c:v>
                </c:pt>
                <c:pt idx="1382">
                  <c:v>43579</c:v>
                </c:pt>
                <c:pt idx="1383">
                  <c:v>43580</c:v>
                </c:pt>
                <c:pt idx="1384">
                  <c:v>43581</c:v>
                </c:pt>
                <c:pt idx="1385">
                  <c:v>43584</c:v>
                </c:pt>
                <c:pt idx="1386">
                  <c:v>43585</c:v>
                </c:pt>
                <c:pt idx="1387">
                  <c:v>43586</c:v>
                </c:pt>
                <c:pt idx="1388">
                  <c:v>43587</c:v>
                </c:pt>
                <c:pt idx="1389">
                  <c:v>43588</c:v>
                </c:pt>
                <c:pt idx="1390">
                  <c:v>43591</c:v>
                </c:pt>
                <c:pt idx="1391">
                  <c:v>43592</c:v>
                </c:pt>
                <c:pt idx="1392">
                  <c:v>43593</c:v>
                </c:pt>
                <c:pt idx="1393">
                  <c:v>43594</c:v>
                </c:pt>
                <c:pt idx="1394">
                  <c:v>43595</c:v>
                </c:pt>
                <c:pt idx="1395">
                  <c:v>43598</c:v>
                </c:pt>
                <c:pt idx="1396">
                  <c:v>43599</c:v>
                </c:pt>
                <c:pt idx="1397">
                  <c:v>43600</c:v>
                </c:pt>
                <c:pt idx="1398">
                  <c:v>43601</c:v>
                </c:pt>
                <c:pt idx="1399">
                  <c:v>43602</c:v>
                </c:pt>
                <c:pt idx="1400">
                  <c:v>43605</c:v>
                </c:pt>
                <c:pt idx="1401">
                  <c:v>43606</c:v>
                </c:pt>
                <c:pt idx="1402">
                  <c:v>43607</c:v>
                </c:pt>
                <c:pt idx="1403">
                  <c:v>43608</c:v>
                </c:pt>
                <c:pt idx="1404">
                  <c:v>43609</c:v>
                </c:pt>
                <c:pt idx="1405">
                  <c:v>43613</c:v>
                </c:pt>
                <c:pt idx="1406">
                  <c:v>43614</c:v>
                </c:pt>
                <c:pt idx="1407">
                  <c:v>43615</c:v>
                </c:pt>
                <c:pt idx="1408">
                  <c:v>43616</c:v>
                </c:pt>
                <c:pt idx="1409">
                  <c:v>43619</c:v>
                </c:pt>
                <c:pt idx="1410">
                  <c:v>43620</c:v>
                </c:pt>
                <c:pt idx="1411">
                  <c:v>43621</c:v>
                </c:pt>
                <c:pt idx="1412">
                  <c:v>43622</c:v>
                </c:pt>
                <c:pt idx="1413">
                  <c:v>43623</c:v>
                </c:pt>
                <c:pt idx="1414">
                  <c:v>43626</c:v>
                </c:pt>
                <c:pt idx="1415">
                  <c:v>43627</c:v>
                </c:pt>
                <c:pt idx="1416">
                  <c:v>43628</c:v>
                </c:pt>
                <c:pt idx="1417">
                  <c:v>43629</c:v>
                </c:pt>
                <c:pt idx="1418">
                  <c:v>43630</c:v>
                </c:pt>
                <c:pt idx="1419">
                  <c:v>43633</c:v>
                </c:pt>
                <c:pt idx="1420">
                  <c:v>43634</c:v>
                </c:pt>
                <c:pt idx="1421">
                  <c:v>43635</c:v>
                </c:pt>
                <c:pt idx="1422">
                  <c:v>43636</c:v>
                </c:pt>
                <c:pt idx="1423">
                  <c:v>43637</c:v>
                </c:pt>
                <c:pt idx="1424">
                  <c:v>43640</c:v>
                </c:pt>
                <c:pt idx="1425">
                  <c:v>43641</c:v>
                </c:pt>
                <c:pt idx="1426">
                  <c:v>43642</c:v>
                </c:pt>
                <c:pt idx="1427">
                  <c:v>43643</c:v>
                </c:pt>
                <c:pt idx="1428">
                  <c:v>43644</c:v>
                </c:pt>
                <c:pt idx="1429">
                  <c:v>43647</c:v>
                </c:pt>
                <c:pt idx="1430">
                  <c:v>43648</c:v>
                </c:pt>
                <c:pt idx="1431">
                  <c:v>43649</c:v>
                </c:pt>
                <c:pt idx="1432">
                  <c:v>43650</c:v>
                </c:pt>
                <c:pt idx="1433">
                  <c:v>43651</c:v>
                </c:pt>
                <c:pt idx="1434">
                  <c:v>43654</c:v>
                </c:pt>
                <c:pt idx="1435">
                  <c:v>43655</c:v>
                </c:pt>
                <c:pt idx="1436">
                  <c:v>43656</c:v>
                </c:pt>
                <c:pt idx="1437">
                  <c:v>43657</c:v>
                </c:pt>
                <c:pt idx="1438">
                  <c:v>43658</c:v>
                </c:pt>
                <c:pt idx="1439">
                  <c:v>43661</c:v>
                </c:pt>
                <c:pt idx="1440">
                  <c:v>43662</c:v>
                </c:pt>
                <c:pt idx="1441">
                  <c:v>43663</c:v>
                </c:pt>
                <c:pt idx="1442">
                  <c:v>43664</c:v>
                </c:pt>
                <c:pt idx="1443">
                  <c:v>43665</c:v>
                </c:pt>
                <c:pt idx="1444">
                  <c:v>43668</c:v>
                </c:pt>
                <c:pt idx="1445">
                  <c:v>43669</c:v>
                </c:pt>
                <c:pt idx="1446">
                  <c:v>43670</c:v>
                </c:pt>
                <c:pt idx="1447">
                  <c:v>43671</c:v>
                </c:pt>
                <c:pt idx="1448">
                  <c:v>43672</c:v>
                </c:pt>
                <c:pt idx="1449">
                  <c:v>43675</c:v>
                </c:pt>
                <c:pt idx="1450">
                  <c:v>43676</c:v>
                </c:pt>
                <c:pt idx="1451">
                  <c:v>43677</c:v>
                </c:pt>
                <c:pt idx="1452">
                  <c:v>43678</c:v>
                </c:pt>
                <c:pt idx="1453">
                  <c:v>43679</c:v>
                </c:pt>
                <c:pt idx="1454">
                  <c:v>43682</c:v>
                </c:pt>
                <c:pt idx="1455">
                  <c:v>43683</c:v>
                </c:pt>
                <c:pt idx="1456">
                  <c:v>43684</c:v>
                </c:pt>
                <c:pt idx="1457">
                  <c:v>43685</c:v>
                </c:pt>
                <c:pt idx="1458">
                  <c:v>43686</c:v>
                </c:pt>
                <c:pt idx="1459">
                  <c:v>43689</c:v>
                </c:pt>
                <c:pt idx="1460">
                  <c:v>43690</c:v>
                </c:pt>
                <c:pt idx="1461">
                  <c:v>43691</c:v>
                </c:pt>
                <c:pt idx="1462">
                  <c:v>43692</c:v>
                </c:pt>
                <c:pt idx="1463">
                  <c:v>43693</c:v>
                </c:pt>
                <c:pt idx="1464">
                  <c:v>43696</c:v>
                </c:pt>
                <c:pt idx="1465">
                  <c:v>43697</c:v>
                </c:pt>
                <c:pt idx="1466">
                  <c:v>43698</c:v>
                </c:pt>
                <c:pt idx="1467">
                  <c:v>43699</c:v>
                </c:pt>
                <c:pt idx="1468">
                  <c:v>43700</c:v>
                </c:pt>
                <c:pt idx="1469">
                  <c:v>43703</c:v>
                </c:pt>
                <c:pt idx="1470">
                  <c:v>43704</c:v>
                </c:pt>
                <c:pt idx="1471">
                  <c:v>43705</c:v>
                </c:pt>
                <c:pt idx="1472">
                  <c:v>43706</c:v>
                </c:pt>
                <c:pt idx="1473">
                  <c:v>43707</c:v>
                </c:pt>
                <c:pt idx="1474">
                  <c:v>43710</c:v>
                </c:pt>
                <c:pt idx="1475">
                  <c:v>43711</c:v>
                </c:pt>
                <c:pt idx="1476">
                  <c:v>43712</c:v>
                </c:pt>
                <c:pt idx="1477">
                  <c:v>43713</c:v>
                </c:pt>
                <c:pt idx="1478">
                  <c:v>43714</c:v>
                </c:pt>
                <c:pt idx="1479">
                  <c:v>43717</c:v>
                </c:pt>
                <c:pt idx="1480">
                  <c:v>43718</c:v>
                </c:pt>
                <c:pt idx="1481">
                  <c:v>43719</c:v>
                </c:pt>
                <c:pt idx="1482">
                  <c:v>43720</c:v>
                </c:pt>
                <c:pt idx="1483">
                  <c:v>43721</c:v>
                </c:pt>
                <c:pt idx="1484">
                  <c:v>43724</c:v>
                </c:pt>
                <c:pt idx="1485">
                  <c:v>43725</c:v>
                </c:pt>
                <c:pt idx="1486">
                  <c:v>43726</c:v>
                </c:pt>
                <c:pt idx="1487">
                  <c:v>43727</c:v>
                </c:pt>
                <c:pt idx="1488">
                  <c:v>43728</c:v>
                </c:pt>
                <c:pt idx="1489">
                  <c:v>43731</c:v>
                </c:pt>
                <c:pt idx="1490">
                  <c:v>43732</c:v>
                </c:pt>
                <c:pt idx="1491">
                  <c:v>43733</c:v>
                </c:pt>
                <c:pt idx="1492">
                  <c:v>43734</c:v>
                </c:pt>
                <c:pt idx="1493">
                  <c:v>43735</c:v>
                </c:pt>
                <c:pt idx="1494">
                  <c:v>43738</c:v>
                </c:pt>
                <c:pt idx="1495">
                  <c:v>43739</c:v>
                </c:pt>
                <c:pt idx="1496">
                  <c:v>43740</c:v>
                </c:pt>
                <c:pt idx="1497">
                  <c:v>43741</c:v>
                </c:pt>
                <c:pt idx="1498">
                  <c:v>43742</c:v>
                </c:pt>
                <c:pt idx="1499">
                  <c:v>43745</c:v>
                </c:pt>
                <c:pt idx="1500">
                  <c:v>43746</c:v>
                </c:pt>
                <c:pt idx="1501">
                  <c:v>43747</c:v>
                </c:pt>
                <c:pt idx="1502">
                  <c:v>43748</c:v>
                </c:pt>
                <c:pt idx="1503">
                  <c:v>43749</c:v>
                </c:pt>
                <c:pt idx="1504">
                  <c:v>43752</c:v>
                </c:pt>
                <c:pt idx="1505">
                  <c:v>43753</c:v>
                </c:pt>
                <c:pt idx="1506">
                  <c:v>43754</c:v>
                </c:pt>
                <c:pt idx="1507">
                  <c:v>43755</c:v>
                </c:pt>
                <c:pt idx="1508">
                  <c:v>43756</c:v>
                </c:pt>
                <c:pt idx="1509">
                  <c:v>43759</c:v>
                </c:pt>
                <c:pt idx="1510">
                  <c:v>43760</c:v>
                </c:pt>
                <c:pt idx="1511">
                  <c:v>43761</c:v>
                </c:pt>
                <c:pt idx="1512">
                  <c:v>43762</c:v>
                </c:pt>
                <c:pt idx="1513">
                  <c:v>43763</c:v>
                </c:pt>
                <c:pt idx="1514">
                  <c:v>43766</c:v>
                </c:pt>
                <c:pt idx="1515">
                  <c:v>43767</c:v>
                </c:pt>
                <c:pt idx="1516">
                  <c:v>43768</c:v>
                </c:pt>
                <c:pt idx="1517">
                  <c:v>43769</c:v>
                </c:pt>
                <c:pt idx="1518">
                  <c:v>43770</c:v>
                </c:pt>
                <c:pt idx="1519">
                  <c:v>43773</c:v>
                </c:pt>
                <c:pt idx="1520">
                  <c:v>43774</c:v>
                </c:pt>
                <c:pt idx="1521">
                  <c:v>43775</c:v>
                </c:pt>
                <c:pt idx="1522">
                  <c:v>43776</c:v>
                </c:pt>
                <c:pt idx="1523">
                  <c:v>43777</c:v>
                </c:pt>
                <c:pt idx="1524">
                  <c:v>43780</c:v>
                </c:pt>
                <c:pt idx="1525">
                  <c:v>43781</c:v>
                </c:pt>
                <c:pt idx="1526">
                  <c:v>43782</c:v>
                </c:pt>
                <c:pt idx="1527">
                  <c:v>43783</c:v>
                </c:pt>
                <c:pt idx="1528">
                  <c:v>43784</c:v>
                </c:pt>
                <c:pt idx="1529">
                  <c:v>43787</c:v>
                </c:pt>
                <c:pt idx="1530">
                  <c:v>43788</c:v>
                </c:pt>
                <c:pt idx="1531">
                  <c:v>43789</c:v>
                </c:pt>
                <c:pt idx="1532">
                  <c:v>43790</c:v>
                </c:pt>
                <c:pt idx="1533">
                  <c:v>43791</c:v>
                </c:pt>
                <c:pt idx="1534">
                  <c:v>43794</c:v>
                </c:pt>
                <c:pt idx="1535">
                  <c:v>43795</c:v>
                </c:pt>
                <c:pt idx="1536">
                  <c:v>43796</c:v>
                </c:pt>
                <c:pt idx="1537">
                  <c:v>43797</c:v>
                </c:pt>
                <c:pt idx="1538">
                  <c:v>43798</c:v>
                </c:pt>
                <c:pt idx="1539">
                  <c:v>43801</c:v>
                </c:pt>
                <c:pt idx="1540">
                  <c:v>43802</c:v>
                </c:pt>
                <c:pt idx="1541">
                  <c:v>43803</c:v>
                </c:pt>
                <c:pt idx="1542">
                  <c:v>43804</c:v>
                </c:pt>
                <c:pt idx="1543">
                  <c:v>43805</c:v>
                </c:pt>
                <c:pt idx="1544">
                  <c:v>43808</c:v>
                </c:pt>
                <c:pt idx="1545">
                  <c:v>43809</c:v>
                </c:pt>
                <c:pt idx="1546">
                  <c:v>43810</c:v>
                </c:pt>
                <c:pt idx="1547">
                  <c:v>43811</c:v>
                </c:pt>
                <c:pt idx="1548">
                  <c:v>43812</c:v>
                </c:pt>
                <c:pt idx="1549">
                  <c:v>43815</c:v>
                </c:pt>
                <c:pt idx="1550">
                  <c:v>43816</c:v>
                </c:pt>
                <c:pt idx="1551">
                  <c:v>43817</c:v>
                </c:pt>
                <c:pt idx="1552">
                  <c:v>43818</c:v>
                </c:pt>
                <c:pt idx="1553">
                  <c:v>43819</c:v>
                </c:pt>
                <c:pt idx="1554">
                  <c:v>43822</c:v>
                </c:pt>
                <c:pt idx="1555">
                  <c:v>43823</c:v>
                </c:pt>
                <c:pt idx="1556">
                  <c:v>43825</c:v>
                </c:pt>
                <c:pt idx="1557">
                  <c:v>43826</c:v>
                </c:pt>
                <c:pt idx="1558">
                  <c:v>43829</c:v>
                </c:pt>
                <c:pt idx="1559">
                  <c:v>43830</c:v>
                </c:pt>
                <c:pt idx="1560">
                  <c:v>43832</c:v>
                </c:pt>
                <c:pt idx="1561">
                  <c:v>43833</c:v>
                </c:pt>
                <c:pt idx="1562">
                  <c:v>43836</c:v>
                </c:pt>
                <c:pt idx="1563">
                  <c:v>43837</c:v>
                </c:pt>
                <c:pt idx="1564">
                  <c:v>43838</c:v>
                </c:pt>
                <c:pt idx="1565">
                  <c:v>43839</c:v>
                </c:pt>
                <c:pt idx="1566">
                  <c:v>43840</c:v>
                </c:pt>
                <c:pt idx="1567">
                  <c:v>43843</c:v>
                </c:pt>
                <c:pt idx="1568">
                  <c:v>43844</c:v>
                </c:pt>
                <c:pt idx="1569">
                  <c:v>43845</c:v>
                </c:pt>
                <c:pt idx="1570">
                  <c:v>43846</c:v>
                </c:pt>
                <c:pt idx="1571">
                  <c:v>43847</c:v>
                </c:pt>
                <c:pt idx="1572">
                  <c:v>43850</c:v>
                </c:pt>
                <c:pt idx="1573">
                  <c:v>43851</c:v>
                </c:pt>
                <c:pt idx="1574">
                  <c:v>43852</c:v>
                </c:pt>
                <c:pt idx="1575">
                  <c:v>43853</c:v>
                </c:pt>
                <c:pt idx="1576">
                  <c:v>43854</c:v>
                </c:pt>
                <c:pt idx="1577">
                  <c:v>43857</c:v>
                </c:pt>
                <c:pt idx="1578">
                  <c:v>43858</c:v>
                </c:pt>
                <c:pt idx="1579">
                  <c:v>43859</c:v>
                </c:pt>
                <c:pt idx="1580">
                  <c:v>43860</c:v>
                </c:pt>
                <c:pt idx="1581">
                  <c:v>43861</c:v>
                </c:pt>
                <c:pt idx="1582">
                  <c:v>43864</c:v>
                </c:pt>
                <c:pt idx="1583">
                  <c:v>43865</c:v>
                </c:pt>
                <c:pt idx="1584">
                  <c:v>43866</c:v>
                </c:pt>
                <c:pt idx="1585">
                  <c:v>43867</c:v>
                </c:pt>
                <c:pt idx="1586">
                  <c:v>43868</c:v>
                </c:pt>
                <c:pt idx="1587">
                  <c:v>43871</c:v>
                </c:pt>
                <c:pt idx="1588">
                  <c:v>43872</c:v>
                </c:pt>
                <c:pt idx="1589">
                  <c:v>43873</c:v>
                </c:pt>
                <c:pt idx="1590">
                  <c:v>43874</c:v>
                </c:pt>
                <c:pt idx="1591">
                  <c:v>43875</c:v>
                </c:pt>
                <c:pt idx="1592">
                  <c:v>43878</c:v>
                </c:pt>
                <c:pt idx="1593">
                  <c:v>43879</c:v>
                </c:pt>
                <c:pt idx="1594">
                  <c:v>43880</c:v>
                </c:pt>
                <c:pt idx="1595">
                  <c:v>43881</c:v>
                </c:pt>
                <c:pt idx="1596">
                  <c:v>43882</c:v>
                </c:pt>
                <c:pt idx="1597">
                  <c:v>43885</c:v>
                </c:pt>
                <c:pt idx="1598">
                  <c:v>43886</c:v>
                </c:pt>
                <c:pt idx="1599">
                  <c:v>43887</c:v>
                </c:pt>
                <c:pt idx="1600">
                  <c:v>43888</c:v>
                </c:pt>
                <c:pt idx="1601">
                  <c:v>43889</c:v>
                </c:pt>
                <c:pt idx="1602">
                  <c:v>43892</c:v>
                </c:pt>
                <c:pt idx="1603">
                  <c:v>43893</c:v>
                </c:pt>
                <c:pt idx="1604">
                  <c:v>43894</c:v>
                </c:pt>
                <c:pt idx="1605">
                  <c:v>43895</c:v>
                </c:pt>
                <c:pt idx="1606">
                  <c:v>43896</c:v>
                </c:pt>
                <c:pt idx="1607">
                  <c:v>43899</c:v>
                </c:pt>
                <c:pt idx="1608">
                  <c:v>43900</c:v>
                </c:pt>
                <c:pt idx="1609">
                  <c:v>43901</c:v>
                </c:pt>
                <c:pt idx="1610">
                  <c:v>43902</c:v>
                </c:pt>
                <c:pt idx="1611">
                  <c:v>43903</c:v>
                </c:pt>
                <c:pt idx="1612">
                  <c:v>43906</c:v>
                </c:pt>
                <c:pt idx="1613">
                  <c:v>43907</c:v>
                </c:pt>
                <c:pt idx="1614">
                  <c:v>43908</c:v>
                </c:pt>
                <c:pt idx="1615">
                  <c:v>43909</c:v>
                </c:pt>
                <c:pt idx="1616">
                  <c:v>43910</c:v>
                </c:pt>
                <c:pt idx="1617">
                  <c:v>43913</c:v>
                </c:pt>
                <c:pt idx="1618">
                  <c:v>43914</c:v>
                </c:pt>
                <c:pt idx="1619">
                  <c:v>43915</c:v>
                </c:pt>
                <c:pt idx="1620">
                  <c:v>43916</c:v>
                </c:pt>
                <c:pt idx="1621">
                  <c:v>43917</c:v>
                </c:pt>
                <c:pt idx="1622">
                  <c:v>43920</c:v>
                </c:pt>
                <c:pt idx="1623">
                  <c:v>43921</c:v>
                </c:pt>
                <c:pt idx="1624">
                  <c:v>43922</c:v>
                </c:pt>
                <c:pt idx="1625">
                  <c:v>43923</c:v>
                </c:pt>
                <c:pt idx="1626">
                  <c:v>43924</c:v>
                </c:pt>
                <c:pt idx="1627">
                  <c:v>43927</c:v>
                </c:pt>
                <c:pt idx="1628">
                  <c:v>43928</c:v>
                </c:pt>
                <c:pt idx="1629">
                  <c:v>43929</c:v>
                </c:pt>
                <c:pt idx="1630">
                  <c:v>43930</c:v>
                </c:pt>
                <c:pt idx="1631">
                  <c:v>43934</c:v>
                </c:pt>
                <c:pt idx="1632">
                  <c:v>43935</c:v>
                </c:pt>
                <c:pt idx="1633">
                  <c:v>43936</c:v>
                </c:pt>
                <c:pt idx="1634">
                  <c:v>43937</c:v>
                </c:pt>
                <c:pt idx="1635">
                  <c:v>43938</c:v>
                </c:pt>
                <c:pt idx="1636">
                  <c:v>43941</c:v>
                </c:pt>
                <c:pt idx="1637">
                  <c:v>43942</c:v>
                </c:pt>
                <c:pt idx="1638">
                  <c:v>43943</c:v>
                </c:pt>
                <c:pt idx="1639">
                  <c:v>43944</c:v>
                </c:pt>
                <c:pt idx="1640">
                  <c:v>43945</c:v>
                </c:pt>
                <c:pt idx="1641">
                  <c:v>43948</c:v>
                </c:pt>
                <c:pt idx="1642">
                  <c:v>43949</c:v>
                </c:pt>
                <c:pt idx="1643">
                  <c:v>43950</c:v>
                </c:pt>
                <c:pt idx="1644">
                  <c:v>43951</c:v>
                </c:pt>
                <c:pt idx="1645">
                  <c:v>43952</c:v>
                </c:pt>
                <c:pt idx="1646">
                  <c:v>43955</c:v>
                </c:pt>
                <c:pt idx="1647">
                  <c:v>43956</c:v>
                </c:pt>
                <c:pt idx="1648">
                  <c:v>43957</c:v>
                </c:pt>
                <c:pt idx="1649">
                  <c:v>43958</c:v>
                </c:pt>
                <c:pt idx="1650">
                  <c:v>43959</c:v>
                </c:pt>
                <c:pt idx="1651">
                  <c:v>43962</c:v>
                </c:pt>
                <c:pt idx="1652">
                  <c:v>43963</c:v>
                </c:pt>
                <c:pt idx="1653">
                  <c:v>43964</c:v>
                </c:pt>
                <c:pt idx="1654">
                  <c:v>43965</c:v>
                </c:pt>
                <c:pt idx="1655">
                  <c:v>43966</c:v>
                </c:pt>
                <c:pt idx="1656">
                  <c:v>43969</c:v>
                </c:pt>
                <c:pt idx="1657">
                  <c:v>43970</c:v>
                </c:pt>
                <c:pt idx="1658">
                  <c:v>43971</c:v>
                </c:pt>
                <c:pt idx="1659">
                  <c:v>43972</c:v>
                </c:pt>
                <c:pt idx="1660">
                  <c:v>43973</c:v>
                </c:pt>
                <c:pt idx="1661">
                  <c:v>43977</c:v>
                </c:pt>
                <c:pt idx="1662">
                  <c:v>43978</c:v>
                </c:pt>
                <c:pt idx="1663">
                  <c:v>43979</c:v>
                </c:pt>
                <c:pt idx="1664">
                  <c:v>43980</c:v>
                </c:pt>
                <c:pt idx="1665">
                  <c:v>43983</c:v>
                </c:pt>
                <c:pt idx="1666">
                  <c:v>43984</c:v>
                </c:pt>
                <c:pt idx="1667">
                  <c:v>43985</c:v>
                </c:pt>
                <c:pt idx="1668">
                  <c:v>43986</c:v>
                </c:pt>
                <c:pt idx="1669">
                  <c:v>43987</c:v>
                </c:pt>
                <c:pt idx="1670">
                  <c:v>43990</c:v>
                </c:pt>
                <c:pt idx="1671">
                  <c:v>43991</c:v>
                </c:pt>
                <c:pt idx="1672">
                  <c:v>43992</c:v>
                </c:pt>
                <c:pt idx="1673">
                  <c:v>43993</c:v>
                </c:pt>
                <c:pt idx="1674">
                  <c:v>43994</c:v>
                </c:pt>
                <c:pt idx="1675">
                  <c:v>43997</c:v>
                </c:pt>
                <c:pt idx="1676">
                  <c:v>43998</c:v>
                </c:pt>
                <c:pt idx="1677">
                  <c:v>43999</c:v>
                </c:pt>
                <c:pt idx="1678">
                  <c:v>44000</c:v>
                </c:pt>
                <c:pt idx="1679">
                  <c:v>44001</c:v>
                </c:pt>
                <c:pt idx="1680">
                  <c:v>44004</c:v>
                </c:pt>
                <c:pt idx="1681">
                  <c:v>44005</c:v>
                </c:pt>
                <c:pt idx="1682">
                  <c:v>44006</c:v>
                </c:pt>
                <c:pt idx="1683">
                  <c:v>44007</c:v>
                </c:pt>
                <c:pt idx="1684">
                  <c:v>44008</c:v>
                </c:pt>
                <c:pt idx="1685">
                  <c:v>44011</c:v>
                </c:pt>
                <c:pt idx="1686">
                  <c:v>44012</c:v>
                </c:pt>
                <c:pt idx="1687">
                  <c:v>44013</c:v>
                </c:pt>
                <c:pt idx="1688">
                  <c:v>44014</c:v>
                </c:pt>
                <c:pt idx="1689">
                  <c:v>44015</c:v>
                </c:pt>
                <c:pt idx="1690">
                  <c:v>44018</c:v>
                </c:pt>
                <c:pt idx="1691">
                  <c:v>44019</c:v>
                </c:pt>
                <c:pt idx="1692">
                  <c:v>44020</c:v>
                </c:pt>
                <c:pt idx="1693">
                  <c:v>44021</c:v>
                </c:pt>
                <c:pt idx="1694">
                  <c:v>44022</c:v>
                </c:pt>
                <c:pt idx="1695">
                  <c:v>44025</c:v>
                </c:pt>
                <c:pt idx="1696">
                  <c:v>44026</c:v>
                </c:pt>
                <c:pt idx="1697">
                  <c:v>44027</c:v>
                </c:pt>
                <c:pt idx="1698">
                  <c:v>44028</c:v>
                </c:pt>
                <c:pt idx="1699">
                  <c:v>44029</c:v>
                </c:pt>
                <c:pt idx="1700">
                  <c:v>44032</c:v>
                </c:pt>
                <c:pt idx="1701">
                  <c:v>44033</c:v>
                </c:pt>
                <c:pt idx="1702">
                  <c:v>44034</c:v>
                </c:pt>
                <c:pt idx="1703">
                  <c:v>44035</c:v>
                </c:pt>
                <c:pt idx="1704">
                  <c:v>44036</c:v>
                </c:pt>
                <c:pt idx="1705">
                  <c:v>44039</c:v>
                </c:pt>
                <c:pt idx="1706">
                  <c:v>44040</c:v>
                </c:pt>
                <c:pt idx="1707">
                  <c:v>44041</c:v>
                </c:pt>
                <c:pt idx="1708">
                  <c:v>44042</c:v>
                </c:pt>
                <c:pt idx="1709">
                  <c:v>44043</c:v>
                </c:pt>
                <c:pt idx="1710">
                  <c:v>44046</c:v>
                </c:pt>
                <c:pt idx="1711">
                  <c:v>44047</c:v>
                </c:pt>
                <c:pt idx="1712">
                  <c:v>44048</c:v>
                </c:pt>
                <c:pt idx="1713">
                  <c:v>44049</c:v>
                </c:pt>
                <c:pt idx="1714">
                  <c:v>44050</c:v>
                </c:pt>
                <c:pt idx="1715">
                  <c:v>44053</c:v>
                </c:pt>
                <c:pt idx="1716">
                  <c:v>44054</c:v>
                </c:pt>
                <c:pt idx="1717">
                  <c:v>44055</c:v>
                </c:pt>
                <c:pt idx="1718">
                  <c:v>44056</c:v>
                </c:pt>
                <c:pt idx="1719">
                  <c:v>44057</c:v>
                </c:pt>
                <c:pt idx="1720">
                  <c:v>44060</c:v>
                </c:pt>
                <c:pt idx="1721">
                  <c:v>44061</c:v>
                </c:pt>
                <c:pt idx="1722">
                  <c:v>44062</c:v>
                </c:pt>
                <c:pt idx="1723">
                  <c:v>44063</c:v>
                </c:pt>
                <c:pt idx="1724">
                  <c:v>44064</c:v>
                </c:pt>
                <c:pt idx="1725">
                  <c:v>44067</c:v>
                </c:pt>
                <c:pt idx="1726">
                  <c:v>44068</c:v>
                </c:pt>
                <c:pt idx="1727">
                  <c:v>44069</c:v>
                </c:pt>
                <c:pt idx="1728">
                  <c:v>44070</c:v>
                </c:pt>
                <c:pt idx="1729">
                  <c:v>44071</c:v>
                </c:pt>
                <c:pt idx="1730">
                  <c:v>44074</c:v>
                </c:pt>
                <c:pt idx="1731">
                  <c:v>44075</c:v>
                </c:pt>
                <c:pt idx="1732">
                  <c:v>44076</c:v>
                </c:pt>
                <c:pt idx="1733">
                  <c:v>44077</c:v>
                </c:pt>
                <c:pt idx="1734">
                  <c:v>44078</c:v>
                </c:pt>
                <c:pt idx="1735">
                  <c:v>44081</c:v>
                </c:pt>
                <c:pt idx="1736">
                  <c:v>44082</c:v>
                </c:pt>
                <c:pt idx="1737">
                  <c:v>44083</c:v>
                </c:pt>
                <c:pt idx="1738">
                  <c:v>44084</c:v>
                </c:pt>
                <c:pt idx="1739">
                  <c:v>44085</c:v>
                </c:pt>
                <c:pt idx="1740">
                  <c:v>44088</c:v>
                </c:pt>
                <c:pt idx="1741">
                  <c:v>44089</c:v>
                </c:pt>
                <c:pt idx="1742">
                  <c:v>44090</c:v>
                </c:pt>
                <c:pt idx="1743">
                  <c:v>44091</c:v>
                </c:pt>
                <c:pt idx="1744">
                  <c:v>44092</c:v>
                </c:pt>
                <c:pt idx="1745">
                  <c:v>44095</c:v>
                </c:pt>
                <c:pt idx="1746">
                  <c:v>44096</c:v>
                </c:pt>
                <c:pt idx="1747">
                  <c:v>44097</c:v>
                </c:pt>
                <c:pt idx="1748">
                  <c:v>44098</c:v>
                </c:pt>
                <c:pt idx="1749">
                  <c:v>44099</c:v>
                </c:pt>
                <c:pt idx="1750">
                  <c:v>44102</c:v>
                </c:pt>
                <c:pt idx="1751">
                  <c:v>44103</c:v>
                </c:pt>
                <c:pt idx="1752">
                  <c:v>44104</c:v>
                </c:pt>
                <c:pt idx="1753">
                  <c:v>44105</c:v>
                </c:pt>
                <c:pt idx="1754">
                  <c:v>44106</c:v>
                </c:pt>
                <c:pt idx="1755">
                  <c:v>44109</c:v>
                </c:pt>
                <c:pt idx="1756">
                  <c:v>44110</c:v>
                </c:pt>
                <c:pt idx="1757">
                  <c:v>44111</c:v>
                </c:pt>
                <c:pt idx="1758">
                  <c:v>44112</c:v>
                </c:pt>
                <c:pt idx="1759">
                  <c:v>44113</c:v>
                </c:pt>
                <c:pt idx="1760">
                  <c:v>44116</c:v>
                </c:pt>
                <c:pt idx="1761">
                  <c:v>44117</c:v>
                </c:pt>
                <c:pt idx="1762">
                  <c:v>44118</c:v>
                </c:pt>
                <c:pt idx="1763">
                  <c:v>44119</c:v>
                </c:pt>
                <c:pt idx="1764">
                  <c:v>44120</c:v>
                </c:pt>
                <c:pt idx="1765">
                  <c:v>44123</c:v>
                </c:pt>
                <c:pt idx="1766">
                  <c:v>44124</c:v>
                </c:pt>
                <c:pt idx="1767">
                  <c:v>44125</c:v>
                </c:pt>
                <c:pt idx="1768">
                  <c:v>44126</c:v>
                </c:pt>
                <c:pt idx="1769">
                  <c:v>44127</c:v>
                </c:pt>
                <c:pt idx="1770">
                  <c:v>44130</c:v>
                </c:pt>
                <c:pt idx="1771">
                  <c:v>44131</c:v>
                </c:pt>
                <c:pt idx="1772">
                  <c:v>44132</c:v>
                </c:pt>
                <c:pt idx="1773">
                  <c:v>44133</c:v>
                </c:pt>
                <c:pt idx="1774">
                  <c:v>44134</c:v>
                </c:pt>
                <c:pt idx="1775">
                  <c:v>44137</c:v>
                </c:pt>
                <c:pt idx="1776">
                  <c:v>44138</c:v>
                </c:pt>
                <c:pt idx="1777">
                  <c:v>44139</c:v>
                </c:pt>
                <c:pt idx="1778">
                  <c:v>44140</c:v>
                </c:pt>
                <c:pt idx="1779">
                  <c:v>44141</c:v>
                </c:pt>
                <c:pt idx="1780">
                  <c:v>44144</c:v>
                </c:pt>
                <c:pt idx="1781">
                  <c:v>44145</c:v>
                </c:pt>
                <c:pt idx="1782">
                  <c:v>44146</c:v>
                </c:pt>
                <c:pt idx="1783">
                  <c:v>44147</c:v>
                </c:pt>
                <c:pt idx="1784">
                  <c:v>44148</c:v>
                </c:pt>
                <c:pt idx="1785">
                  <c:v>44151</c:v>
                </c:pt>
                <c:pt idx="1786">
                  <c:v>44152</c:v>
                </c:pt>
                <c:pt idx="1787">
                  <c:v>44153</c:v>
                </c:pt>
                <c:pt idx="1788">
                  <c:v>44154</c:v>
                </c:pt>
                <c:pt idx="1789">
                  <c:v>44155</c:v>
                </c:pt>
                <c:pt idx="1790">
                  <c:v>44158</c:v>
                </c:pt>
                <c:pt idx="1791">
                  <c:v>44159</c:v>
                </c:pt>
                <c:pt idx="1792">
                  <c:v>44160</c:v>
                </c:pt>
                <c:pt idx="1793">
                  <c:v>44161</c:v>
                </c:pt>
                <c:pt idx="1794">
                  <c:v>44162</c:v>
                </c:pt>
                <c:pt idx="1795">
                  <c:v>44165</c:v>
                </c:pt>
                <c:pt idx="1796">
                  <c:v>44166</c:v>
                </c:pt>
                <c:pt idx="1797">
                  <c:v>44167</c:v>
                </c:pt>
                <c:pt idx="1798">
                  <c:v>44168</c:v>
                </c:pt>
                <c:pt idx="1799">
                  <c:v>44169</c:v>
                </c:pt>
                <c:pt idx="1800">
                  <c:v>44172</c:v>
                </c:pt>
                <c:pt idx="1801">
                  <c:v>44173</c:v>
                </c:pt>
                <c:pt idx="1802">
                  <c:v>44174</c:v>
                </c:pt>
                <c:pt idx="1803">
                  <c:v>44175</c:v>
                </c:pt>
                <c:pt idx="1804">
                  <c:v>44176</c:v>
                </c:pt>
                <c:pt idx="1805">
                  <c:v>44179</c:v>
                </c:pt>
                <c:pt idx="1806">
                  <c:v>44180</c:v>
                </c:pt>
                <c:pt idx="1807">
                  <c:v>44181</c:v>
                </c:pt>
                <c:pt idx="1808">
                  <c:v>44182</c:v>
                </c:pt>
                <c:pt idx="1809">
                  <c:v>44183</c:v>
                </c:pt>
                <c:pt idx="1810">
                  <c:v>44186</c:v>
                </c:pt>
                <c:pt idx="1811">
                  <c:v>44187</c:v>
                </c:pt>
                <c:pt idx="1812">
                  <c:v>44188</c:v>
                </c:pt>
                <c:pt idx="1813">
                  <c:v>44189</c:v>
                </c:pt>
                <c:pt idx="1814">
                  <c:v>44193</c:v>
                </c:pt>
                <c:pt idx="1815">
                  <c:v>44194</c:v>
                </c:pt>
                <c:pt idx="1816">
                  <c:v>44195</c:v>
                </c:pt>
                <c:pt idx="1817">
                  <c:v>44196</c:v>
                </c:pt>
                <c:pt idx="1818">
                  <c:v>44200</c:v>
                </c:pt>
                <c:pt idx="1819">
                  <c:v>44201</c:v>
                </c:pt>
                <c:pt idx="1820">
                  <c:v>44202</c:v>
                </c:pt>
                <c:pt idx="1821">
                  <c:v>44203</c:v>
                </c:pt>
                <c:pt idx="1822">
                  <c:v>44204</c:v>
                </c:pt>
                <c:pt idx="1823">
                  <c:v>44207</c:v>
                </c:pt>
                <c:pt idx="1824">
                  <c:v>44208</c:v>
                </c:pt>
                <c:pt idx="1825">
                  <c:v>44209</c:v>
                </c:pt>
                <c:pt idx="1826">
                  <c:v>44210</c:v>
                </c:pt>
                <c:pt idx="1827">
                  <c:v>44211</c:v>
                </c:pt>
                <c:pt idx="1828">
                  <c:v>44214</c:v>
                </c:pt>
                <c:pt idx="1829">
                  <c:v>44215</c:v>
                </c:pt>
                <c:pt idx="1830">
                  <c:v>44216</c:v>
                </c:pt>
                <c:pt idx="1831">
                  <c:v>44217</c:v>
                </c:pt>
                <c:pt idx="1832">
                  <c:v>44218</c:v>
                </c:pt>
                <c:pt idx="1833">
                  <c:v>44221</c:v>
                </c:pt>
                <c:pt idx="1834">
                  <c:v>44222</c:v>
                </c:pt>
                <c:pt idx="1835">
                  <c:v>44223</c:v>
                </c:pt>
                <c:pt idx="1836">
                  <c:v>44224</c:v>
                </c:pt>
                <c:pt idx="1837">
                  <c:v>44225</c:v>
                </c:pt>
                <c:pt idx="1838">
                  <c:v>44228</c:v>
                </c:pt>
                <c:pt idx="1839">
                  <c:v>44229</c:v>
                </c:pt>
                <c:pt idx="1840">
                  <c:v>44230</c:v>
                </c:pt>
                <c:pt idx="1841">
                  <c:v>44231</c:v>
                </c:pt>
                <c:pt idx="1842">
                  <c:v>44232</c:v>
                </c:pt>
                <c:pt idx="1843">
                  <c:v>44235</c:v>
                </c:pt>
                <c:pt idx="1844">
                  <c:v>44236</c:v>
                </c:pt>
                <c:pt idx="1845">
                  <c:v>44237</c:v>
                </c:pt>
                <c:pt idx="1846">
                  <c:v>44238</c:v>
                </c:pt>
                <c:pt idx="1847">
                  <c:v>44239</c:v>
                </c:pt>
                <c:pt idx="1848">
                  <c:v>44242</c:v>
                </c:pt>
                <c:pt idx="1849">
                  <c:v>44243</c:v>
                </c:pt>
                <c:pt idx="1850">
                  <c:v>44244</c:v>
                </c:pt>
                <c:pt idx="1851">
                  <c:v>44245</c:v>
                </c:pt>
                <c:pt idx="1852">
                  <c:v>44246</c:v>
                </c:pt>
                <c:pt idx="1853">
                  <c:v>44249</c:v>
                </c:pt>
                <c:pt idx="1854">
                  <c:v>44250</c:v>
                </c:pt>
                <c:pt idx="1855">
                  <c:v>44251</c:v>
                </c:pt>
                <c:pt idx="1856">
                  <c:v>44252</c:v>
                </c:pt>
                <c:pt idx="1857">
                  <c:v>44253</c:v>
                </c:pt>
                <c:pt idx="1858">
                  <c:v>44256</c:v>
                </c:pt>
                <c:pt idx="1859">
                  <c:v>44257</c:v>
                </c:pt>
                <c:pt idx="1860">
                  <c:v>44258</c:v>
                </c:pt>
                <c:pt idx="1861">
                  <c:v>44259</c:v>
                </c:pt>
                <c:pt idx="1862">
                  <c:v>44260</c:v>
                </c:pt>
                <c:pt idx="1863">
                  <c:v>44263</c:v>
                </c:pt>
                <c:pt idx="1864">
                  <c:v>44264</c:v>
                </c:pt>
                <c:pt idx="1865">
                  <c:v>44265</c:v>
                </c:pt>
                <c:pt idx="1866">
                  <c:v>44266</c:v>
                </c:pt>
                <c:pt idx="1867">
                  <c:v>44267</c:v>
                </c:pt>
                <c:pt idx="1868">
                  <c:v>44270</c:v>
                </c:pt>
                <c:pt idx="1869">
                  <c:v>44271</c:v>
                </c:pt>
                <c:pt idx="1870">
                  <c:v>44272</c:v>
                </c:pt>
                <c:pt idx="1871">
                  <c:v>44273</c:v>
                </c:pt>
                <c:pt idx="1872">
                  <c:v>44274</c:v>
                </c:pt>
                <c:pt idx="1873">
                  <c:v>44277</c:v>
                </c:pt>
                <c:pt idx="1874">
                  <c:v>44278</c:v>
                </c:pt>
                <c:pt idx="1875">
                  <c:v>44279</c:v>
                </c:pt>
                <c:pt idx="1876">
                  <c:v>44280</c:v>
                </c:pt>
                <c:pt idx="1877">
                  <c:v>44281</c:v>
                </c:pt>
                <c:pt idx="1878">
                  <c:v>44284</c:v>
                </c:pt>
                <c:pt idx="1879">
                  <c:v>44285</c:v>
                </c:pt>
                <c:pt idx="1880">
                  <c:v>44286</c:v>
                </c:pt>
                <c:pt idx="1881">
                  <c:v>44287</c:v>
                </c:pt>
                <c:pt idx="1882">
                  <c:v>44291</c:v>
                </c:pt>
                <c:pt idx="1883">
                  <c:v>44292</c:v>
                </c:pt>
                <c:pt idx="1884">
                  <c:v>44293</c:v>
                </c:pt>
                <c:pt idx="1885">
                  <c:v>44294</c:v>
                </c:pt>
                <c:pt idx="1886">
                  <c:v>44295</c:v>
                </c:pt>
                <c:pt idx="1887">
                  <c:v>44298</c:v>
                </c:pt>
                <c:pt idx="1888">
                  <c:v>44299</c:v>
                </c:pt>
                <c:pt idx="1889">
                  <c:v>44300</c:v>
                </c:pt>
                <c:pt idx="1890">
                  <c:v>44301</c:v>
                </c:pt>
                <c:pt idx="1891">
                  <c:v>44302</c:v>
                </c:pt>
                <c:pt idx="1892">
                  <c:v>44305</c:v>
                </c:pt>
                <c:pt idx="1893">
                  <c:v>44306</c:v>
                </c:pt>
                <c:pt idx="1894">
                  <c:v>44307</c:v>
                </c:pt>
                <c:pt idx="1895">
                  <c:v>44308</c:v>
                </c:pt>
                <c:pt idx="1896">
                  <c:v>44309</c:v>
                </c:pt>
                <c:pt idx="1897">
                  <c:v>44312</c:v>
                </c:pt>
                <c:pt idx="1898">
                  <c:v>44313</c:v>
                </c:pt>
                <c:pt idx="1899">
                  <c:v>44314</c:v>
                </c:pt>
                <c:pt idx="1900">
                  <c:v>44315</c:v>
                </c:pt>
                <c:pt idx="1901">
                  <c:v>44316</c:v>
                </c:pt>
                <c:pt idx="1902">
                  <c:v>44319</c:v>
                </c:pt>
                <c:pt idx="1903">
                  <c:v>44320</c:v>
                </c:pt>
                <c:pt idx="1904">
                  <c:v>44321</c:v>
                </c:pt>
                <c:pt idx="1905">
                  <c:v>44322</c:v>
                </c:pt>
                <c:pt idx="1906">
                  <c:v>44323</c:v>
                </c:pt>
                <c:pt idx="1907">
                  <c:v>44326</c:v>
                </c:pt>
                <c:pt idx="1908">
                  <c:v>44327</c:v>
                </c:pt>
                <c:pt idx="1909">
                  <c:v>44328</c:v>
                </c:pt>
                <c:pt idx="1910">
                  <c:v>44329</c:v>
                </c:pt>
                <c:pt idx="1911">
                  <c:v>44330</c:v>
                </c:pt>
                <c:pt idx="1912">
                  <c:v>44333</c:v>
                </c:pt>
                <c:pt idx="1913">
                  <c:v>44334</c:v>
                </c:pt>
                <c:pt idx="1914">
                  <c:v>44335</c:v>
                </c:pt>
                <c:pt idx="1915">
                  <c:v>44336</c:v>
                </c:pt>
                <c:pt idx="1916">
                  <c:v>44337</c:v>
                </c:pt>
                <c:pt idx="1917">
                  <c:v>44340</c:v>
                </c:pt>
                <c:pt idx="1918">
                  <c:v>44341</c:v>
                </c:pt>
                <c:pt idx="1919">
                  <c:v>44342</c:v>
                </c:pt>
                <c:pt idx="1920">
                  <c:v>44343</c:v>
                </c:pt>
                <c:pt idx="1921">
                  <c:v>44344</c:v>
                </c:pt>
                <c:pt idx="1922">
                  <c:v>44348</c:v>
                </c:pt>
                <c:pt idx="1923">
                  <c:v>44349</c:v>
                </c:pt>
                <c:pt idx="1924">
                  <c:v>44350</c:v>
                </c:pt>
                <c:pt idx="1925">
                  <c:v>44351</c:v>
                </c:pt>
                <c:pt idx="1926">
                  <c:v>44354</c:v>
                </c:pt>
                <c:pt idx="1927">
                  <c:v>44355</c:v>
                </c:pt>
                <c:pt idx="1928">
                  <c:v>44356</c:v>
                </c:pt>
                <c:pt idx="1929">
                  <c:v>44357</c:v>
                </c:pt>
                <c:pt idx="1930">
                  <c:v>44358</c:v>
                </c:pt>
                <c:pt idx="1931">
                  <c:v>44361</c:v>
                </c:pt>
                <c:pt idx="1932">
                  <c:v>44362</c:v>
                </c:pt>
                <c:pt idx="1933">
                  <c:v>44363</c:v>
                </c:pt>
                <c:pt idx="1934">
                  <c:v>44364</c:v>
                </c:pt>
                <c:pt idx="1935">
                  <c:v>44365</c:v>
                </c:pt>
                <c:pt idx="1936">
                  <c:v>44368</c:v>
                </c:pt>
                <c:pt idx="1937">
                  <c:v>44369</c:v>
                </c:pt>
                <c:pt idx="1938">
                  <c:v>44370</c:v>
                </c:pt>
                <c:pt idx="1939">
                  <c:v>44371</c:v>
                </c:pt>
                <c:pt idx="1940">
                  <c:v>44372</c:v>
                </c:pt>
                <c:pt idx="1941">
                  <c:v>44375</c:v>
                </c:pt>
                <c:pt idx="1942">
                  <c:v>44376</c:v>
                </c:pt>
                <c:pt idx="1943">
                  <c:v>44377</c:v>
                </c:pt>
                <c:pt idx="1944">
                  <c:v>44378</c:v>
                </c:pt>
                <c:pt idx="1945">
                  <c:v>44379</c:v>
                </c:pt>
                <c:pt idx="1946">
                  <c:v>44382</c:v>
                </c:pt>
                <c:pt idx="1947">
                  <c:v>44383</c:v>
                </c:pt>
                <c:pt idx="1948">
                  <c:v>44384</c:v>
                </c:pt>
                <c:pt idx="1949">
                  <c:v>44385</c:v>
                </c:pt>
                <c:pt idx="1950">
                  <c:v>44386</c:v>
                </c:pt>
                <c:pt idx="1951">
                  <c:v>44389</c:v>
                </c:pt>
                <c:pt idx="1952">
                  <c:v>44390</c:v>
                </c:pt>
                <c:pt idx="1953">
                  <c:v>44391</c:v>
                </c:pt>
                <c:pt idx="1954">
                  <c:v>44392</c:v>
                </c:pt>
                <c:pt idx="1955">
                  <c:v>44393</c:v>
                </c:pt>
                <c:pt idx="1956">
                  <c:v>44396</c:v>
                </c:pt>
                <c:pt idx="1957">
                  <c:v>44397</c:v>
                </c:pt>
                <c:pt idx="1958">
                  <c:v>44398</c:v>
                </c:pt>
                <c:pt idx="1959">
                  <c:v>44399</c:v>
                </c:pt>
                <c:pt idx="1960">
                  <c:v>44400</c:v>
                </c:pt>
                <c:pt idx="1961">
                  <c:v>44403</c:v>
                </c:pt>
                <c:pt idx="1962">
                  <c:v>44404</c:v>
                </c:pt>
                <c:pt idx="1963">
                  <c:v>44405</c:v>
                </c:pt>
                <c:pt idx="1964">
                  <c:v>44406</c:v>
                </c:pt>
                <c:pt idx="1965">
                  <c:v>44407</c:v>
                </c:pt>
                <c:pt idx="1966">
                  <c:v>44410</c:v>
                </c:pt>
                <c:pt idx="1967">
                  <c:v>44411</c:v>
                </c:pt>
                <c:pt idx="1968">
                  <c:v>44412</c:v>
                </c:pt>
                <c:pt idx="1969">
                  <c:v>44413</c:v>
                </c:pt>
                <c:pt idx="1970">
                  <c:v>44414</c:v>
                </c:pt>
                <c:pt idx="1971">
                  <c:v>44417</c:v>
                </c:pt>
                <c:pt idx="1972">
                  <c:v>44418</c:v>
                </c:pt>
                <c:pt idx="1973">
                  <c:v>44419</c:v>
                </c:pt>
                <c:pt idx="1974">
                  <c:v>44420</c:v>
                </c:pt>
                <c:pt idx="1975">
                  <c:v>44421</c:v>
                </c:pt>
                <c:pt idx="1976">
                  <c:v>44424</c:v>
                </c:pt>
                <c:pt idx="1977">
                  <c:v>44425</c:v>
                </c:pt>
                <c:pt idx="1978">
                  <c:v>44426</c:v>
                </c:pt>
                <c:pt idx="1979">
                  <c:v>44427</c:v>
                </c:pt>
                <c:pt idx="1980">
                  <c:v>44428</c:v>
                </c:pt>
                <c:pt idx="1981">
                  <c:v>44431</c:v>
                </c:pt>
                <c:pt idx="1982">
                  <c:v>44432</c:v>
                </c:pt>
                <c:pt idx="1983">
                  <c:v>44433</c:v>
                </c:pt>
                <c:pt idx="1984">
                  <c:v>44434</c:v>
                </c:pt>
                <c:pt idx="1985">
                  <c:v>44435</c:v>
                </c:pt>
                <c:pt idx="1986">
                  <c:v>44438</c:v>
                </c:pt>
                <c:pt idx="1987">
                  <c:v>44439</c:v>
                </c:pt>
                <c:pt idx="1988">
                  <c:v>44440</c:v>
                </c:pt>
                <c:pt idx="1989">
                  <c:v>44441</c:v>
                </c:pt>
                <c:pt idx="1990">
                  <c:v>44442</c:v>
                </c:pt>
                <c:pt idx="1991">
                  <c:v>44445</c:v>
                </c:pt>
                <c:pt idx="1992">
                  <c:v>44446</c:v>
                </c:pt>
                <c:pt idx="1993">
                  <c:v>44447</c:v>
                </c:pt>
                <c:pt idx="1994">
                  <c:v>44448</c:v>
                </c:pt>
                <c:pt idx="1995">
                  <c:v>44449</c:v>
                </c:pt>
                <c:pt idx="1996">
                  <c:v>44452</c:v>
                </c:pt>
                <c:pt idx="1997">
                  <c:v>44453</c:v>
                </c:pt>
                <c:pt idx="1998">
                  <c:v>44454</c:v>
                </c:pt>
                <c:pt idx="1999">
                  <c:v>44455</c:v>
                </c:pt>
                <c:pt idx="2000">
                  <c:v>44456</c:v>
                </c:pt>
                <c:pt idx="2001">
                  <c:v>44459</c:v>
                </c:pt>
                <c:pt idx="2002">
                  <c:v>44460</c:v>
                </c:pt>
                <c:pt idx="2003">
                  <c:v>44461</c:v>
                </c:pt>
                <c:pt idx="2004">
                  <c:v>44462</c:v>
                </c:pt>
                <c:pt idx="2005">
                  <c:v>44463</c:v>
                </c:pt>
                <c:pt idx="2006">
                  <c:v>44466</c:v>
                </c:pt>
                <c:pt idx="2007">
                  <c:v>44467</c:v>
                </c:pt>
                <c:pt idx="2008">
                  <c:v>44468</c:v>
                </c:pt>
                <c:pt idx="2009">
                  <c:v>44469</c:v>
                </c:pt>
                <c:pt idx="2010">
                  <c:v>44470</c:v>
                </c:pt>
                <c:pt idx="2011">
                  <c:v>44473</c:v>
                </c:pt>
                <c:pt idx="2012">
                  <c:v>44474</c:v>
                </c:pt>
                <c:pt idx="2013">
                  <c:v>44475</c:v>
                </c:pt>
                <c:pt idx="2014">
                  <c:v>44476</c:v>
                </c:pt>
                <c:pt idx="2015">
                  <c:v>44477</c:v>
                </c:pt>
                <c:pt idx="2016">
                  <c:v>44480</c:v>
                </c:pt>
                <c:pt idx="2017">
                  <c:v>44481</c:v>
                </c:pt>
                <c:pt idx="2018">
                  <c:v>44482</c:v>
                </c:pt>
                <c:pt idx="2019">
                  <c:v>44483</c:v>
                </c:pt>
                <c:pt idx="2020">
                  <c:v>44484</c:v>
                </c:pt>
                <c:pt idx="2021">
                  <c:v>44487</c:v>
                </c:pt>
                <c:pt idx="2022">
                  <c:v>44488</c:v>
                </c:pt>
                <c:pt idx="2023">
                  <c:v>44489</c:v>
                </c:pt>
                <c:pt idx="2024">
                  <c:v>44490</c:v>
                </c:pt>
                <c:pt idx="2025">
                  <c:v>44491</c:v>
                </c:pt>
                <c:pt idx="2026">
                  <c:v>44494</c:v>
                </c:pt>
                <c:pt idx="2027">
                  <c:v>44495</c:v>
                </c:pt>
                <c:pt idx="2028">
                  <c:v>44496</c:v>
                </c:pt>
                <c:pt idx="2029">
                  <c:v>44497</c:v>
                </c:pt>
                <c:pt idx="2030">
                  <c:v>44498</c:v>
                </c:pt>
                <c:pt idx="2031">
                  <c:v>44501</c:v>
                </c:pt>
                <c:pt idx="2032">
                  <c:v>44502</c:v>
                </c:pt>
                <c:pt idx="2033">
                  <c:v>44503</c:v>
                </c:pt>
                <c:pt idx="2034">
                  <c:v>44504</c:v>
                </c:pt>
                <c:pt idx="2035">
                  <c:v>44505</c:v>
                </c:pt>
                <c:pt idx="2036">
                  <c:v>44508</c:v>
                </c:pt>
                <c:pt idx="2037">
                  <c:v>44509</c:v>
                </c:pt>
                <c:pt idx="2038">
                  <c:v>44510</c:v>
                </c:pt>
                <c:pt idx="2039">
                  <c:v>44511</c:v>
                </c:pt>
                <c:pt idx="2040">
                  <c:v>44512</c:v>
                </c:pt>
                <c:pt idx="2041">
                  <c:v>44515</c:v>
                </c:pt>
                <c:pt idx="2042">
                  <c:v>44516</c:v>
                </c:pt>
                <c:pt idx="2043">
                  <c:v>44517</c:v>
                </c:pt>
                <c:pt idx="2044">
                  <c:v>44518</c:v>
                </c:pt>
                <c:pt idx="2045">
                  <c:v>44519</c:v>
                </c:pt>
                <c:pt idx="2046">
                  <c:v>44522</c:v>
                </c:pt>
                <c:pt idx="2047">
                  <c:v>44523</c:v>
                </c:pt>
                <c:pt idx="2048">
                  <c:v>44524</c:v>
                </c:pt>
                <c:pt idx="2049">
                  <c:v>44525</c:v>
                </c:pt>
                <c:pt idx="2050">
                  <c:v>44526</c:v>
                </c:pt>
                <c:pt idx="2051">
                  <c:v>44529</c:v>
                </c:pt>
                <c:pt idx="2052">
                  <c:v>44530</c:v>
                </c:pt>
                <c:pt idx="2053">
                  <c:v>44531</c:v>
                </c:pt>
                <c:pt idx="2054">
                  <c:v>44532</c:v>
                </c:pt>
                <c:pt idx="2055">
                  <c:v>44533</c:v>
                </c:pt>
                <c:pt idx="2056">
                  <c:v>44536</c:v>
                </c:pt>
                <c:pt idx="2057">
                  <c:v>44537</c:v>
                </c:pt>
                <c:pt idx="2058">
                  <c:v>44538</c:v>
                </c:pt>
                <c:pt idx="2059">
                  <c:v>44539</c:v>
                </c:pt>
                <c:pt idx="2060">
                  <c:v>44540</c:v>
                </c:pt>
                <c:pt idx="2061">
                  <c:v>44543</c:v>
                </c:pt>
                <c:pt idx="2062">
                  <c:v>44544</c:v>
                </c:pt>
                <c:pt idx="2063">
                  <c:v>44545</c:v>
                </c:pt>
                <c:pt idx="2064">
                  <c:v>44546</c:v>
                </c:pt>
                <c:pt idx="2065">
                  <c:v>44547</c:v>
                </c:pt>
                <c:pt idx="2066">
                  <c:v>44550</c:v>
                </c:pt>
                <c:pt idx="2067">
                  <c:v>44551</c:v>
                </c:pt>
                <c:pt idx="2068">
                  <c:v>44552</c:v>
                </c:pt>
                <c:pt idx="2069">
                  <c:v>44553</c:v>
                </c:pt>
                <c:pt idx="2070">
                  <c:v>44554</c:v>
                </c:pt>
                <c:pt idx="2071">
                  <c:v>44557</c:v>
                </c:pt>
                <c:pt idx="2072">
                  <c:v>44558</c:v>
                </c:pt>
                <c:pt idx="2073">
                  <c:v>44559</c:v>
                </c:pt>
                <c:pt idx="2074">
                  <c:v>44560</c:v>
                </c:pt>
                <c:pt idx="2075">
                  <c:v>44561</c:v>
                </c:pt>
                <c:pt idx="2076">
                  <c:v>44564</c:v>
                </c:pt>
                <c:pt idx="2077">
                  <c:v>44565</c:v>
                </c:pt>
                <c:pt idx="2078">
                  <c:v>44566</c:v>
                </c:pt>
                <c:pt idx="2079">
                  <c:v>44567</c:v>
                </c:pt>
                <c:pt idx="2080">
                  <c:v>44568</c:v>
                </c:pt>
                <c:pt idx="2081">
                  <c:v>44571</c:v>
                </c:pt>
                <c:pt idx="2082">
                  <c:v>44572</c:v>
                </c:pt>
                <c:pt idx="2083">
                  <c:v>44573</c:v>
                </c:pt>
                <c:pt idx="2084">
                  <c:v>44574</c:v>
                </c:pt>
                <c:pt idx="2085">
                  <c:v>44575</c:v>
                </c:pt>
                <c:pt idx="2086">
                  <c:v>44578</c:v>
                </c:pt>
                <c:pt idx="2087">
                  <c:v>44579</c:v>
                </c:pt>
                <c:pt idx="2088">
                  <c:v>44580</c:v>
                </c:pt>
                <c:pt idx="2089">
                  <c:v>44581</c:v>
                </c:pt>
                <c:pt idx="2090">
                  <c:v>44582</c:v>
                </c:pt>
                <c:pt idx="2091">
                  <c:v>44585</c:v>
                </c:pt>
                <c:pt idx="2092">
                  <c:v>44586</c:v>
                </c:pt>
                <c:pt idx="2093">
                  <c:v>44587</c:v>
                </c:pt>
                <c:pt idx="2094">
                  <c:v>44588</c:v>
                </c:pt>
                <c:pt idx="2095">
                  <c:v>44589</c:v>
                </c:pt>
                <c:pt idx="2096">
                  <c:v>44592</c:v>
                </c:pt>
                <c:pt idx="2097">
                  <c:v>44593</c:v>
                </c:pt>
                <c:pt idx="2098">
                  <c:v>44594</c:v>
                </c:pt>
                <c:pt idx="2099">
                  <c:v>44595</c:v>
                </c:pt>
                <c:pt idx="2100">
                  <c:v>44596</c:v>
                </c:pt>
                <c:pt idx="2101">
                  <c:v>44599</c:v>
                </c:pt>
                <c:pt idx="2102">
                  <c:v>44600</c:v>
                </c:pt>
                <c:pt idx="2103">
                  <c:v>44601</c:v>
                </c:pt>
                <c:pt idx="2104">
                  <c:v>44602</c:v>
                </c:pt>
                <c:pt idx="2105">
                  <c:v>44603</c:v>
                </c:pt>
                <c:pt idx="2106">
                  <c:v>44606</c:v>
                </c:pt>
                <c:pt idx="2107">
                  <c:v>44607</c:v>
                </c:pt>
                <c:pt idx="2108">
                  <c:v>44608</c:v>
                </c:pt>
                <c:pt idx="2109">
                  <c:v>44609</c:v>
                </c:pt>
                <c:pt idx="2110">
                  <c:v>44610</c:v>
                </c:pt>
                <c:pt idx="2111">
                  <c:v>44613</c:v>
                </c:pt>
                <c:pt idx="2112">
                  <c:v>44614</c:v>
                </c:pt>
                <c:pt idx="2113">
                  <c:v>44615</c:v>
                </c:pt>
                <c:pt idx="2114">
                  <c:v>44616</c:v>
                </c:pt>
                <c:pt idx="2115">
                  <c:v>44617</c:v>
                </c:pt>
                <c:pt idx="2116">
                  <c:v>44620</c:v>
                </c:pt>
                <c:pt idx="2117">
                  <c:v>44621</c:v>
                </c:pt>
                <c:pt idx="2118">
                  <c:v>44622</c:v>
                </c:pt>
                <c:pt idx="2119">
                  <c:v>44623</c:v>
                </c:pt>
                <c:pt idx="2120">
                  <c:v>44624</c:v>
                </c:pt>
                <c:pt idx="2121">
                  <c:v>44627</c:v>
                </c:pt>
                <c:pt idx="2122">
                  <c:v>44628</c:v>
                </c:pt>
                <c:pt idx="2123">
                  <c:v>44629</c:v>
                </c:pt>
                <c:pt idx="2124">
                  <c:v>44630</c:v>
                </c:pt>
                <c:pt idx="2125">
                  <c:v>44631</c:v>
                </c:pt>
                <c:pt idx="2126">
                  <c:v>44634</c:v>
                </c:pt>
                <c:pt idx="2127">
                  <c:v>44635</c:v>
                </c:pt>
                <c:pt idx="2128">
                  <c:v>44636</c:v>
                </c:pt>
                <c:pt idx="2129">
                  <c:v>44637</c:v>
                </c:pt>
                <c:pt idx="2130">
                  <c:v>44638</c:v>
                </c:pt>
                <c:pt idx="2131">
                  <c:v>44641</c:v>
                </c:pt>
                <c:pt idx="2132">
                  <c:v>44642</c:v>
                </c:pt>
                <c:pt idx="2133">
                  <c:v>44643</c:v>
                </c:pt>
                <c:pt idx="2134">
                  <c:v>44644</c:v>
                </c:pt>
                <c:pt idx="2135">
                  <c:v>44645</c:v>
                </c:pt>
                <c:pt idx="2136">
                  <c:v>44648</c:v>
                </c:pt>
                <c:pt idx="2137">
                  <c:v>44649</c:v>
                </c:pt>
                <c:pt idx="2138">
                  <c:v>44650</c:v>
                </c:pt>
                <c:pt idx="2139">
                  <c:v>44651</c:v>
                </c:pt>
                <c:pt idx="2140">
                  <c:v>44652</c:v>
                </c:pt>
                <c:pt idx="2141">
                  <c:v>44655</c:v>
                </c:pt>
                <c:pt idx="2142">
                  <c:v>44656</c:v>
                </c:pt>
                <c:pt idx="2143">
                  <c:v>44657</c:v>
                </c:pt>
                <c:pt idx="2144">
                  <c:v>44658</c:v>
                </c:pt>
                <c:pt idx="2145">
                  <c:v>44659</c:v>
                </c:pt>
                <c:pt idx="2146">
                  <c:v>44662</c:v>
                </c:pt>
                <c:pt idx="2147">
                  <c:v>44663</c:v>
                </c:pt>
                <c:pt idx="2148">
                  <c:v>44664</c:v>
                </c:pt>
                <c:pt idx="2149">
                  <c:v>44665</c:v>
                </c:pt>
                <c:pt idx="2150">
                  <c:v>44669</c:v>
                </c:pt>
                <c:pt idx="2151">
                  <c:v>44670</c:v>
                </c:pt>
                <c:pt idx="2152">
                  <c:v>44671</c:v>
                </c:pt>
                <c:pt idx="2153">
                  <c:v>44672</c:v>
                </c:pt>
                <c:pt idx="2154">
                  <c:v>44673</c:v>
                </c:pt>
                <c:pt idx="2155">
                  <c:v>44676</c:v>
                </c:pt>
                <c:pt idx="2156">
                  <c:v>44677</c:v>
                </c:pt>
                <c:pt idx="2157">
                  <c:v>44678</c:v>
                </c:pt>
                <c:pt idx="2158">
                  <c:v>44679</c:v>
                </c:pt>
                <c:pt idx="2159">
                  <c:v>44680</c:v>
                </c:pt>
                <c:pt idx="2160">
                  <c:v>44683</c:v>
                </c:pt>
                <c:pt idx="2161">
                  <c:v>44684</c:v>
                </c:pt>
                <c:pt idx="2162">
                  <c:v>44685</c:v>
                </c:pt>
                <c:pt idx="2163">
                  <c:v>44686</c:v>
                </c:pt>
                <c:pt idx="2164">
                  <c:v>44687</c:v>
                </c:pt>
                <c:pt idx="2165">
                  <c:v>44690</c:v>
                </c:pt>
                <c:pt idx="2166">
                  <c:v>44691</c:v>
                </c:pt>
                <c:pt idx="2167">
                  <c:v>44692</c:v>
                </c:pt>
                <c:pt idx="2168">
                  <c:v>44693</c:v>
                </c:pt>
                <c:pt idx="2169">
                  <c:v>44694</c:v>
                </c:pt>
                <c:pt idx="2170">
                  <c:v>44697</c:v>
                </c:pt>
                <c:pt idx="2171">
                  <c:v>44698</c:v>
                </c:pt>
                <c:pt idx="2172">
                  <c:v>44699</c:v>
                </c:pt>
                <c:pt idx="2173">
                  <c:v>44700</c:v>
                </c:pt>
                <c:pt idx="2174">
                  <c:v>44701</c:v>
                </c:pt>
                <c:pt idx="2175">
                  <c:v>44704</c:v>
                </c:pt>
                <c:pt idx="2176">
                  <c:v>44705</c:v>
                </c:pt>
                <c:pt idx="2177">
                  <c:v>44706</c:v>
                </c:pt>
                <c:pt idx="2178">
                  <c:v>44707</c:v>
                </c:pt>
                <c:pt idx="2179">
                  <c:v>44708</c:v>
                </c:pt>
                <c:pt idx="2180">
                  <c:v>44711</c:v>
                </c:pt>
                <c:pt idx="2181">
                  <c:v>44712</c:v>
                </c:pt>
                <c:pt idx="2182">
                  <c:v>44713</c:v>
                </c:pt>
                <c:pt idx="2183">
                  <c:v>44714</c:v>
                </c:pt>
                <c:pt idx="2184">
                  <c:v>44715</c:v>
                </c:pt>
                <c:pt idx="2185">
                  <c:v>44718</c:v>
                </c:pt>
                <c:pt idx="2186">
                  <c:v>44719</c:v>
                </c:pt>
                <c:pt idx="2187">
                  <c:v>44720</c:v>
                </c:pt>
                <c:pt idx="2188">
                  <c:v>44721</c:v>
                </c:pt>
                <c:pt idx="2189">
                  <c:v>44722</c:v>
                </c:pt>
                <c:pt idx="2190">
                  <c:v>44725</c:v>
                </c:pt>
                <c:pt idx="2191">
                  <c:v>44726</c:v>
                </c:pt>
                <c:pt idx="2192">
                  <c:v>44727</c:v>
                </c:pt>
                <c:pt idx="2193">
                  <c:v>44728</c:v>
                </c:pt>
                <c:pt idx="2194">
                  <c:v>44729</c:v>
                </c:pt>
                <c:pt idx="2195">
                  <c:v>44732</c:v>
                </c:pt>
                <c:pt idx="2196">
                  <c:v>44733</c:v>
                </c:pt>
                <c:pt idx="2197">
                  <c:v>44734</c:v>
                </c:pt>
                <c:pt idx="2198">
                  <c:v>44735</c:v>
                </c:pt>
                <c:pt idx="2199">
                  <c:v>44736</c:v>
                </c:pt>
                <c:pt idx="2200">
                  <c:v>44739</c:v>
                </c:pt>
                <c:pt idx="2201">
                  <c:v>44740</c:v>
                </c:pt>
                <c:pt idx="2202">
                  <c:v>44741</c:v>
                </c:pt>
                <c:pt idx="2203">
                  <c:v>44742</c:v>
                </c:pt>
                <c:pt idx="2204">
                  <c:v>44743</c:v>
                </c:pt>
                <c:pt idx="2205">
                  <c:v>44746</c:v>
                </c:pt>
                <c:pt idx="2206">
                  <c:v>44747</c:v>
                </c:pt>
                <c:pt idx="2207">
                  <c:v>44748</c:v>
                </c:pt>
                <c:pt idx="2208">
                  <c:v>44749</c:v>
                </c:pt>
                <c:pt idx="2209">
                  <c:v>44750</c:v>
                </c:pt>
                <c:pt idx="2210">
                  <c:v>44753</c:v>
                </c:pt>
                <c:pt idx="2211">
                  <c:v>44754</c:v>
                </c:pt>
                <c:pt idx="2212">
                  <c:v>44755</c:v>
                </c:pt>
                <c:pt idx="2213">
                  <c:v>44756</c:v>
                </c:pt>
                <c:pt idx="2214">
                  <c:v>44757</c:v>
                </c:pt>
                <c:pt idx="2215">
                  <c:v>44760</c:v>
                </c:pt>
                <c:pt idx="2216">
                  <c:v>44761</c:v>
                </c:pt>
                <c:pt idx="2217">
                  <c:v>44762</c:v>
                </c:pt>
                <c:pt idx="2218">
                  <c:v>44763</c:v>
                </c:pt>
                <c:pt idx="2219">
                  <c:v>44764</c:v>
                </c:pt>
                <c:pt idx="2220">
                  <c:v>44767</c:v>
                </c:pt>
                <c:pt idx="2221">
                  <c:v>44768</c:v>
                </c:pt>
                <c:pt idx="2222">
                  <c:v>44769</c:v>
                </c:pt>
                <c:pt idx="2223">
                  <c:v>44770</c:v>
                </c:pt>
                <c:pt idx="2224">
                  <c:v>44771</c:v>
                </c:pt>
                <c:pt idx="2225">
                  <c:v>44774</c:v>
                </c:pt>
                <c:pt idx="2226">
                  <c:v>44775</c:v>
                </c:pt>
                <c:pt idx="2227">
                  <c:v>44776</c:v>
                </c:pt>
                <c:pt idx="2228">
                  <c:v>44777</c:v>
                </c:pt>
                <c:pt idx="2229">
                  <c:v>44778</c:v>
                </c:pt>
                <c:pt idx="2230">
                  <c:v>44781</c:v>
                </c:pt>
                <c:pt idx="2231">
                  <c:v>44782</c:v>
                </c:pt>
                <c:pt idx="2232">
                  <c:v>44783</c:v>
                </c:pt>
                <c:pt idx="2233">
                  <c:v>44784</c:v>
                </c:pt>
                <c:pt idx="2234">
                  <c:v>44785</c:v>
                </c:pt>
                <c:pt idx="2235">
                  <c:v>44788</c:v>
                </c:pt>
                <c:pt idx="2236">
                  <c:v>44789</c:v>
                </c:pt>
                <c:pt idx="2237">
                  <c:v>44790</c:v>
                </c:pt>
                <c:pt idx="2238">
                  <c:v>44791</c:v>
                </c:pt>
                <c:pt idx="2239">
                  <c:v>44792</c:v>
                </c:pt>
                <c:pt idx="2240">
                  <c:v>44795</c:v>
                </c:pt>
                <c:pt idx="2241">
                  <c:v>44796</c:v>
                </c:pt>
                <c:pt idx="2242">
                  <c:v>44797</c:v>
                </c:pt>
                <c:pt idx="2243">
                  <c:v>44798</c:v>
                </c:pt>
                <c:pt idx="2244">
                  <c:v>44799</c:v>
                </c:pt>
                <c:pt idx="2245">
                  <c:v>44802</c:v>
                </c:pt>
                <c:pt idx="2246">
                  <c:v>44803</c:v>
                </c:pt>
                <c:pt idx="2247">
                  <c:v>44804</c:v>
                </c:pt>
                <c:pt idx="2248">
                  <c:v>44805</c:v>
                </c:pt>
                <c:pt idx="2249">
                  <c:v>44806</c:v>
                </c:pt>
                <c:pt idx="2250">
                  <c:v>44809</c:v>
                </c:pt>
                <c:pt idx="2251">
                  <c:v>44810</c:v>
                </c:pt>
                <c:pt idx="2252">
                  <c:v>44811</c:v>
                </c:pt>
                <c:pt idx="2253">
                  <c:v>44812</c:v>
                </c:pt>
                <c:pt idx="2254">
                  <c:v>44813</c:v>
                </c:pt>
                <c:pt idx="2255">
                  <c:v>44816</c:v>
                </c:pt>
                <c:pt idx="2256">
                  <c:v>44817</c:v>
                </c:pt>
                <c:pt idx="2257">
                  <c:v>44818</c:v>
                </c:pt>
                <c:pt idx="2258">
                  <c:v>44819</c:v>
                </c:pt>
                <c:pt idx="2259">
                  <c:v>44820</c:v>
                </c:pt>
                <c:pt idx="2260">
                  <c:v>44823</c:v>
                </c:pt>
                <c:pt idx="2261">
                  <c:v>44824</c:v>
                </c:pt>
                <c:pt idx="2262">
                  <c:v>44825</c:v>
                </c:pt>
                <c:pt idx="2263">
                  <c:v>44826</c:v>
                </c:pt>
                <c:pt idx="2264">
                  <c:v>44827</c:v>
                </c:pt>
                <c:pt idx="2265">
                  <c:v>44830</c:v>
                </c:pt>
                <c:pt idx="2266">
                  <c:v>44831</c:v>
                </c:pt>
                <c:pt idx="2267">
                  <c:v>44832</c:v>
                </c:pt>
                <c:pt idx="2268">
                  <c:v>44833</c:v>
                </c:pt>
                <c:pt idx="2269">
                  <c:v>44834</c:v>
                </c:pt>
                <c:pt idx="2270">
                  <c:v>44837</c:v>
                </c:pt>
                <c:pt idx="2271">
                  <c:v>44838</c:v>
                </c:pt>
                <c:pt idx="2272">
                  <c:v>44839</c:v>
                </c:pt>
                <c:pt idx="2273">
                  <c:v>44840</c:v>
                </c:pt>
                <c:pt idx="2274">
                  <c:v>44841</c:v>
                </c:pt>
                <c:pt idx="2275">
                  <c:v>44844</c:v>
                </c:pt>
                <c:pt idx="2276">
                  <c:v>44845</c:v>
                </c:pt>
                <c:pt idx="2277">
                  <c:v>44846</c:v>
                </c:pt>
                <c:pt idx="2278">
                  <c:v>44847</c:v>
                </c:pt>
                <c:pt idx="2279">
                  <c:v>44848</c:v>
                </c:pt>
                <c:pt idx="2280">
                  <c:v>44851</c:v>
                </c:pt>
                <c:pt idx="2281">
                  <c:v>44852</c:v>
                </c:pt>
                <c:pt idx="2282">
                  <c:v>44853</c:v>
                </c:pt>
                <c:pt idx="2283">
                  <c:v>44854</c:v>
                </c:pt>
                <c:pt idx="2284">
                  <c:v>44855</c:v>
                </c:pt>
                <c:pt idx="2285">
                  <c:v>44858</c:v>
                </c:pt>
                <c:pt idx="2286">
                  <c:v>44859</c:v>
                </c:pt>
                <c:pt idx="2287">
                  <c:v>44860</c:v>
                </c:pt>
                <c:pt idx="2288">
                  <c:v>44861</c:v>
                </c:pt>
                <c:pt idx="2289">
                  <c:v>44862</c:v>
                </c:pt>
                <c:pt idx="2290">
                  <c:v>44865</c:v>
                </c:pt>
                <c:pt idx="2291">
                  <c:v>44866</c:v>
                </c:pt>
                <c:pt idx="2292">
                  <c:v>44867</c:v>
                </c:pt>
                <c:pt idx="2293">
                  <c:v>44868</c:v>
                </c:pt>
                <c:pt idx="2294">
                  <c:v>44869</c:v>
                </c:pt>
                <c:pt idx="2295">
                  <c:v>44872</c:v>
                </c:pt>
                <c:pt idx="2296">
                  <c:v>44873</c:v>
                </c:pt>
                <c:pt idx="2297">
                  <c:v>44874</c:v>
                </c:pt>
                <c:pt idx="2298">
                  <c:v>44875</c:v>
                </c:pt>
                <c:pt idx="2299">
                  <c:v>44876</c:v>
                </c:pt>
                <c:pt idx="2300">
                  <c:v>44879</c:v>
                </c:pt>
                <c:pt idx="2301">
                  <c:v>44880</c:v>
                </c:pt>
                <c:pt idx="2302">
                  <c:v>44881</c:v>
                </c:pt>
                <c:pt idx="2303">
                  <c:v>44882</c:v>
                </c:pt>
                <c:pt idx="2304">
                  <c:v>44883</c:v>
                </c:pt>
                <c:pt idx="2305">
                  <c:v>44886</c:v>
                </c:pt>
                <c:pt idx="2306">
                  <c:v>44887</c:v>
                </c:pt>
                <c:pt idx="2307">
                  <c:v>44888</c:v>
                </c:pt>
                <c:pt idx="2308">
                  <c:v>44889</c:v>
                </c:pt>
                <c:pt idx="2309">
                  <c:v>44890</c:v>
                </c:pt>
                <c:pt idx="2310">
                  <c:v>44893</c:v>
                </c:pt>
                <c:pt idx="2311">
                  <c:v>44894</c:v>
                </c:pt>
                <c:pt idx="2312">
                  <c:v>44895</c:v>
                </c:pt>
                <c:pt idx="2313">
                  <c:v>44896</c:v>
                </c:pt>
                <c:pt idx="2314">
                  <c:v>44897</c:v>
                </c:pt>
                <c:pt idx="2315">
                  <c:v>44900</c:v>
                </c:pt>
                <c:pt idx="2316">
                  <c:v>44901</c:v>
                </c:pt>
                <c:pt idx="2317">
                  <c:v>44902</c:v>
                </c:pt>
                <c:pt idx="2318">
                  <c:v>44903</c:v>
                </c:pt>
                <c:pt idx="2319">
                  <c:v>44904</c:v>
                </c:pt>
                <c:pt idx="2320">
                  <c:v>44907</c:v>
                </c:pt>
                <c:pt idx="2321">
                  <c:v>44908</c:v>
                </c:pt>
                <c:pt idx="2322">
                  <c:v>44909</c:v>
                </c:pt>
                <c:pt idx="2323">
                  <c:v>44910</c:v>
                </c:pt>
                <c:pt idx="2324">
                  <c:v>44911</c:v>
                </c:pt>
                <c:pt idx="2325">
                  <c:v>44914</c:v>
                </c:pt>
                <c:pt idx="2326">
                  <c:v>44915</c:v>
                </c:pt>
                <c:pt idx="2327">
                  <c:v>44916</c:v>
                </c:pt>
                <c:pt idx="2328">
                  <c:v>44917</c:v>
                </c:pt>
                <c:pt idx="2329">
                  <c:v>44918</c:v>
                </c:pt>
                <c:pt idx="2330">
                  <c:v>44922</c:v>
                </c:pt>
                <c:pt idx="2331">
                  <c:v>44923</c:v>
                </c:pt>
                <c:pt idx="2332">
                  <c:v>44924</c:v>
                </c:pt>
                <c:pt idx="2333">
                  <c:v>44925</c:v>
                </c:pt>
                <c:pt idx="2334">
                  <c:v>44929</c:v>
                </c:pt>
                <c:pt idx="2335">
                  <c:v>44930</c:v>
                </c:pt>
                <c:pt idx="2336">
                  <c:v>44931</c:v>
                </c:pt>
                <c:pt idx="2337">
                  <c:v>44932</c:v>
                </c:pt>
                <c:pt idx="2338">
                  <c:v>44935</c:v>
                </c:pt>
                <c:pt idx="2339">
                  <c:v>44936</c:v>
                </c:pt>
                <c:pt idx="2340">
                  <c:v>44937</c:v>
                </c:pt>
                <c:pt idx="2341">
                  <c:v>44938</c:v>
                </c:pt>
                <c:pt idx="2342">
                  <c:v>44939</c:v>
                </c:pt>
                <c:pt idx="2343">
                  <c:v>44942</c:v>
                </c:pt>
                <c:pt idx="2344">
                  <c:v>44943</c:v>
                </c:pt>
                <c:pt idx="2345">
                  <c:v>44944</c:v>
                </c:pt>
                <c:pt idx="2346">
                  <c:v>44945</c:v>
                </c:pt>
                <c:pt idx="2347">
                  <c:v>44946</c:v>
                </c:pt>
                <c:pt idx="2348">
                  <c:v>44949</c:v>
                </c:pt>
                <c:pt idx="2349">
                  <c:v>44950</c:v>
                </c:pt>
                <c:pt idx="2350">
                  <c:v>44951</c:v>
                </c:pt>
                <c:pt idx="2351">
                  <c:v>44952</c:v>
                </c:pt>
                <c:pt idx="2352">
                  <c:v>44953</c:v>
                </c:pt>
                <c:pt idx="2353">
                  <c:v>44956</c:v>
                </c:pt>
                <c:pt idx="2354">
                  <c:v>44957</c:v>
                </c:pt>
                <c:pt idx="2355">
                  <c:v>44958</c:v>
                </c:pt>
                <c:pt idx="2356">
                  <c:v>44959</c:v>
                </c:pt>
                <c:pt idx="2357">
                  <c:v>44960</c:v>
                </c:pt>
                <c:pt idx="2358">
                  <c:v>44963</c:v>
                </c:pt>
                <c:pt idx="2359">
                  <c:v>44964</c:v>
                </c:pt>
                <c:pt idx="2360">
                  <c:v>44965</c:v>
                </c:pt>
                <c:pt idx="2361">
                  <c:v>44966</c:v>
                </c:pt>
                <c:pt idx="2362">
                  <c:v>44967</c:v>
                </c:pt>
                <c:pt idx="2363">
                  <c:v>44970</c:v>
                </c:pt>
                <c:pt idx="2364">
                  <c:v>44971</c:v>
                </c:pt>
                <c:pt idx="2365">
                  <c:v>44972</c:v>
                </c:pt>
                <c:pt idx="2366">
                  <c:v>44973</c:v>
                </c:pt>
                <c:pt idx="2367">
                  <c:v>44974</c:v>
                </c:pt>
                <c:pt idx="2368">
                  <c:v>44977</c:v>
                </c:pt>
                <c:pt idx="2369">
                  <c:v>44978</c:v>
                </c:pt>
                <c:pt idx="2370">
                  <c:v>44979</c:v>
                </c:pt>
                <c:pt idx="2371">
                  <c:v>44980</c:v>
                </c:pt>
                <c:pt idx="2372">
                  <c:v>44981</c:v>
                </c:pt>
                <c:pt idx="2373">
                  <c:v>44984</c:v>
                </c:pt>
                <c:pt idx="2374">
                  <c:v>44985</c:v>
                </c:pt>
                <c:pt idx="2375">
                  <c:v>44986</c:v>
                </c:pt>
                <c:pt idx="2376">
                  <c:v>44987</c:v>
                </c:pt>
                <c:pt idx="2377">
                  <c:v>44988</c:v>
                </c:pt>
                <c:pt idx="2378">
                  <c:v>44991</c:v>
                </c:pt>
                <c:pt idx="2379">
                  <c:v>44992</c:v>
                </c:pt>
                <c:pt idx="2380">
                  <c:v>44993</c:v>
                </c:pt>
                <c:pt idx="2381">
                  <c:v>44994</c:v>
                </c:pt>
                <c:pt idx="2382">
                  <c:v>44995</c:v>
                </c:pt>
                <c:pt idx="2383">
                  <c:v>44998</c:v>
                </c:pt>
                <c:pt idx="2384">
                  <c:v>44999</c:v>
                </c:pt>
                <c:pt idx="2385">
                  <c:v>45000</c:v>
                </c:pt>
                <c:pt idx="2386">
                  <c:v>45001</c:v>
                </c:pt>
                <c:pt idx="2387">
                  <c:v>45002</c:v>
                </c:pt>
                <c:pt idx="2388">
                  <c:v>45005</c:v>
                </c:pt>
                <c:pt idx="2389">
                  <c:v>45006</c:v>
                </c:pt>
                <c:pt idx="2390">
                  <c:v>45007</c:v>
                </c:pt>
                <c:pt idx="2391">
                  <c:v>45008</c:v>
                </c:pt>
                <c:pt idx="2392">
                  <c:v>45009</c:v>
                </c:pt>
                <c:pt idx="2393">
                  <c:v>45012</c:v>
                </c:pt>
                <c:pt idx="2394">
                  <c:v>45013</c:v>
                </c:pt>
                <c:pt idx="2395">
                  <c:v>45014</c:v>
                </c:pt>
                <c:pt idx="2396">
                  <c:v>45015</c:v>
                </c:pt>
                <c:pt idx="2397">
                  <c:v>45016</c:v>
                </c:pt>
                <c:pt idx="2398">
                  <c:v>45019</c:v>
                </c:pt>
                <c:pt idx="2399">
                  <c:v>45020</c:v>
                </c:pt>
                <c:pt idx="2400">
                  <c:v>45021</c:v>
                </c:pt>
                <c:pt idx="2401">
                  <c:v>45022</c:v>
                </c:pt>
                <c:pt idx="2402">
                  <c:v>45026</c:v>
                </c:pt>
                <c:pt idx="2403">
                  <c:v>45027</c:v>
                </c:pt>
                <c:pt idx="2404">
                  <c:v>45028</c:v>
                </c:pt>
                <c:pt idx="2405">
                  <c:v>45029</c:v>
                </c:pt>
                <c:pt idx="2406">
                  <c:v>45030</c:v>
                </c:pt>
                <c:pt idx="2407">
                  <c:v>45033</c:v>
                </c:pt>
                <c:pt idx="2408">
                  <c:v>45034</c:v>
                </c:pt>
                <c:pt idx="2409">
                  <c:v>45035</c:v>
                </c:pt>
                <c:pt idx="2410">
                  <c:v>45036</c:v>
                </c:pt>
                <c:pt idx="2411">
                  <c:v>45037</c:v>
                </c:pt>
                <c:pt idx="2412">
                  <c:v>45040</c:v>
                </c:pt>
                <c:pt idx="2413">
                  <c:v>45041</c:v>
                </c:pt>
                <c:pt idx="2414">
                  <c:v>45042</c:v>
                </c:pt>
                <c:pt idx="2415">
                  <c:v>45043</c:v>
                </c:pt>
                <c:pt idx="2416">
                  <c:v>45044</c:v>
                </c:pt>
                <c:pt idx="2417">
                  <c:v>45047</c:v>
                </c:pt>
                <c:pt idx="2418">
                  <c:v>45048</c:v>
                </c:pt>
                <c:pt idx="2419">
                  <c:v>45049</c:v>
                </c:pt>
                <c:pt idx="2420">
                  <c:v>45050</c:v>
                </c:pt>
                <c:pt idx="2421">
                  <c:v>45051</c:v>
                </c:pt>
                <c:pt idx="2422">
                  <c:v>45054</c:v>
                </c:pt>
                <c:pt idx="2423">
                  <c:v>45055</c:v>
                </c:pt>
                <c:pt idx="2424">
                  <c:v>45056</c:v>
                </c:pt>
                <c:pt idx="2425">
                  <c:v>45057</c:v>
                </c:pt>
                <c:pt idx="2426">
                  <c:v>45058</c:v>
                </c:pt>
                <c:pt idx="2427">
                  <c:v>45061</c:v>
                </c:pt>
                <c:pt idx="2428">
                  <c:v>45062</c:v>
                </c:pt>
                <c:pt idx="2429">
                  <c:v>45063</c:v>
                </c:pt>
                <c:pt idx="2430">
                  <c:v>45064</c:v>
                </c:pt>
                <c:pt idx="2431">
                  <c:v>45065</c:v>
                </c:pt>
                <c:pt idx="2432">
                  <c:v>45068</c:v>
                </c:pt>
                <c:pt idx="2433">
                  <c:v>45069</c:v>
                </c:pt>
                <c:pt idx="2434">
                  <c:v>45070</c:v>
                </c:pt>
                <c:pt idx="2435">
                  <c:v>45071</c:v>
                </c:pt>
                <c:pt idx="2436">
                  <c:v>45072</c:v>
                </c:pt>
                <c:pt idx="2437">
                  <c:v>45075</c:v>
                </c:pt>
                <c:pt idx="2438">
                  <c:v>45076</c:v>
                </c:pt>
                <c:pt idx="2439">
                  <c:v>45077</c:v>
                </c:pt>
                <c:pt idx="2440">
                  <c:v>45078</c:v>
                </c:pt>
                <c:pt idx="2441">
                  <c:v>45079</c:v>
                </c:pt>
                <c:pt idx="2442">
                  <c:v>45082</c:v>
                </c:pt>
                <c:pt idx="2443">
                  <c:v>45083</c:v>
                </c:pt>
                <c:pt idx="2444">
                  <c:v>45084</c:v>
                </c:pt>
                <c:pt idx="2445">
                  <c:v>45085</c:v>
                </c:pt>
                <c:pt idx="2446">
                  <c:v>45086</c:v>
                </c:pt>
                <c:pt idx="2447">
                  <c:v>45089</c:v>
                </c:pt>
                <c:pt idx="2448">
                  <c:v>45090</c:v>
                </c:pt>
                <c:pt idx="2449">
                  <c:v>45091</c:v>
                </c:pt>
                <c:pt idx="2450">
                  <c:v>45092</c:v>
                </c:pt>
                <c:pt idx="2451">
                  <c:v>45093</c:v>
                </c:pt>
                <c:pt idx="2452">
                  <c:v>45096</c:v>
                </c:pt>
                <c:pt idx="2453">
                  <c:v>45097</c:v>
                </c:pt>
                <c:pt idx="2454">
                  <c:v>45098</c:v>
                </c:pt>
                <c:pt idx="2455">
                  <c:v>45099</c:v>
                </c:pt>
                <c:pt idx="2456">
                  <c:v>45100</c:v>
                </c:pt>
                <c:pt idx="2457">
                  <c:v>45103</c:v>
                </c:pt>
                <c:pt idx="2458">
                  <c:v>45104</c:v>
                </c:pt>
                <c:pt idx="2459">
                  <c:v>45105</c:v>
                </c:pt>
                <c:pt idx="2460">
                  <c:v>45106</c:v>
                </c:pt>
                <c:pt idx="2461">
                  <c:v>45107</c:v>
                </c:pt>
                <c:pt idx="2462">
                  <c:v>45110</c:v>
                </c:pt>
                <c:pt idx="2463">
                  <c:v>45111</c:v>
                </c:pt>
                <c:pt idx="2464">
                  <c:v>45112</c:v>
                </c:pt>
                <c:pt idx="2465">
                  <c:v>45113</c:v>
                </c:pt>
                <c:pt idx="2466">
                  <c:v>45114</c:v>
                </c:pt>
                <c:pt idx="2467">
                  <c:v>45117</c:v>
                </c:pt>
                <c:pt idx="2468">
                  <c:v>45118</c:v>
                </c:pt>
                <c:pt idx="2469">
                  <c:v>45119</c:v>
                </c:pt>
                <c:pt idx="2470">
                  <c:v>45120</c:v>
                </c:pt>
                <c:pt idx="2471">
                  <c:v>45121</c:v>
                </c:pt>
                <c:pt idx="2472">
                  <c:v>45124</c:v>
                </c:pt>
                <c:pt idx="2473">
                  <c:v>45125</c:v>
                </c:pt>
                <c:pt idx="2474">
                  <c:v>45126</c:v>
                </c:pt>
                <c:pt idx="2475">
                  <c:v>45127</c:v>
                </c:pt>
                <c:pt idx="2476">
                  <c:v>45128</c:v>
                </c:pt>
                <c:pt idx="2477">
                  <c:v>45131</c:v>
                </c:pt>
                <c:pt idx="2478">
                  <c:v>45132</c:v>
                </c:pt>
                <c:pt idx="2479">
                  <c:v>45133</c:v>
                </c:pt>
                <c:pt idx="2480">
                  <c:v>45134</c:v>
                </c:pt>
                <c:pt idx="2481">
                  <c:v>45135</c:v>
                </c:pt>
                <c:pt idx="2482">
                  <c:v>45138</c:v>
                </c:pt>
                <c:pt idx="2483">
                  <c:v>45139</c:v>
                </c:pt>
                <c:pt idx="2484">
                  <c:v>45140</c:v>
                </c:pt>
                <c:pt idx="2485">
                  <c:v>45141</c:v>
                </c:pt>
                <c:pt idx="2486">
                  <c:v>45142</c:v>
                </c:pt>
                <c:pt idx="2487">
                  <c:v>45145</c:v>
                </c:pt>
                <c:pt idx="2488">
                  <c:v>45146</c:v>
                </c:pt>
                <c:pt idx="2489">
                  <c:v>45147</c:v>
                </c:pt>
                <c:pt idx="2490">
                  <c:v>45148</c:v>
                </c:pt>
                <c:pt idx="2491">
                  <c:v>45149</c:v>
                </c:pt>
                <c:pt idx="2492">
                  <c:v>45152</c:v>
                </c:pt>
                <c:pt idx="2493">
                  <c:v>45153</c:v>
                </c:pt>
                <c:pt idx="2494">
                  <c:v>45154</c:v>
                </c:pt>
                <c:pt idx="2495">
                  <c:v>45155</c:v>
                </c:pt>
                <c:pt idx="2496">
                  <c:v>45156</c:v>
                </c:pt>
                <c:pt idx="2497">
                  <c:v>45159</c:v>
                </c:pt>
                <c:pt idx="2498">
                  <c:v>45160</c:v>
                </c:pt>
                <c:pt idx="2499">
                  <c:v>45161</c:v>
                </c:pt>
                <c:pt idx="2500">
                  <c:v>45162</c:v>
                </c:pt>
                <c:pt idx="2501">
                  <c:v>45163</c:v>
                </c:pt>
                <c:pt idx="2502">
                  <c:v>45166</c:v>
                </c:pt>
                <c:pt idx="2503">
                  <c:v>45167</c:v>
                </c:pt>
                <c:pt idx="2504">
                  <c:v>45168</c:v>
                </c:pt>
                <c:pt idx="2505">
                  <c:v>45169</c:v>
                </c:pt>
                <c:pt idx="2506">
                  <c:v>45170</c:v>
                </c:pt>
                <c:pt idx="2507">
                  <c:v>45173</c:v>
                </c:pt>
                <c:pt idx="2508">
                  <c:v>45174</c:v>
                </c:pt>
                <c:pt idx="2509">
                  <c:v>45175</c:v>
                </c:pt>
                <c:pt idx="2510">
                  <c:v>45176</c:v>
                </c:pt>
                <c:pt idx="2511">
                  <c:v>45177</c:v>
                </c:pt>
                <c:pt idx="2512">
                  <c:v>45180</c:v>
                </c:pt>
                <c:pt idx="2513">
                  <c:v>45181</c:v>
                </c:pt>
                <c:pt idx="2514">
                  <c:v>45182</c:v>
                </c:pt>
                <c:pt idx="2515">
                  <c:v>45183</c:v>
                </c:pt>
                <c:pt idx="2516">
                  <c:v>45184</c:v>
                </c:pt>
                <c:pt idx="2517">
                  <c:v>45187</c:v>
                </c:pt>
                <c:pt idx="2518">
                  <c:v>45188</c:v>
                </c:pt>
                <c:pt idx="2519">
                  <c:v>45189</c:v>
                </c:pt>
                <c:pt idx="2520">
                  <c:v>45190</c:v>
                </c:pt>
                <c:pt idx="2521">
                  <c:v>45191</c:v>
                </c:pt>
                <c:pt idx="2522">
                  <c:v>45194</c:v>
                </c:pt>
                <c:pt idx="2523">
                  <c:v>45195</c:v>
                </c:pt>
                <c:pt idx="2524">
                  <c:v>45196</c:v>
                </c:pt>
                <c:pt idx="2525">
                  <c:v>45197</c:v>
                </c:pt>
                <c:pt idx="2526">
                  <c:v>45198</c:v>
                </c:pt>
                <c:pt idx="2527">
                  <c:v>45201</c:v>
                </c:pt>
                <c:pt idx="2528">
                  <c:v>45202</c:v>
                </c:pt>
                <c:pt idx="2529">
                  <c:v>45203</c:v>
                </c:pt>
                <c:pt idx="2530">
                  <c:v>45204</c:v>
                </c:pt>
                <c:pt idx="2531">
                  <c:v>45205</c:v>
                </c:pt>
                <c:pt idx="2532">
                  <c:v>45208</c:v>
                </c:pt>
                <c:pt idx="2533">
                  <c:v>45209</c:v>
                </c:pt>
                <c:pt idx="2534">
                  <c:v>45210</c:v>
                </c:pt>
                <c:pt idx="2535">
                  <c:v>45211</c:v>
                </c:pt>
                <c:pt idx="2536">
                  <c:v>45212</c:v>
                </c:pt>
                <c:pt idx="2537">
                  <c:v>45215</c:v>
                </c:pt>
                <c:pt idx="2538">
                  <c:v>45216</c:v>
                </c:pt>
                <c:pt idx="2539">
                  <c:v>45217</c:v>
                </c:pt>
                <c:pt idx="2540">
                  <c:v>45218</c:v>
                </c:pt>
                <c:pt idx="2541">
                  <c:v>45219</c:v>
                </c:pt>
                <c:pt idx="2542">
                  <c:v>45222</c:v>
                </c:pt>
                <c:pt idx="2543">
                  <c:v>45223</c:v>
                </c:pt>
                <c:pt idx="2544">
                  <c:v>45224</c:v>
                </c:pt>
                <c:pt idx="2545">
                  <c:v>45225</c:v>
                </c:pt>
                <c:pt idx="2546">
                  <c:v>45226</c:v>
                </c:pt>
                <c:pt idx="2547">
                  <c:v>45229</c:v>
                </c:pt>
                <c:pt idx="2548">
                  <c:v>45230</c:v>
                </c:pt>
                <c:pt idx="2549">
                  <c:v>45231</c:v>
                </c:pt>
                <c:pt idx="2550">
                  <c:v>45232</c:v>
                </c:pt>
                <c:pt idx="2551">
                  <c:v>45233</c:v>
                </c:pt>
                <c:pt idx="2552">
                  <c:v>45236</c:v>
                </c:pt>
                <c:pt idx="2553">
                  <c:v>45237</c:v>
                </c:pt>
                <c:pt idx="2554">
                  <c:v>45238</c:v>
                </c:pt>
                <c:pt idx="2555">
                  <c:v>45239</c:v>
                </c:pt>
                <c:pt idx="2556">
                  <c:v>45240</c:v>
                </c:pt>
                <c:pt idx="2557">
                  <c:v>45243</c:v>
                </c:pt>
                <c:pt idx="2558">
                  <c:v>45244</c:v>
                </c:pt>
                <c:pt idx="2559">
                  <c:v>45245</c:v>
                </c:pt>
                <c:pt idx="2560">
                  <c:v>45246</c:v>
                </c:pt>
                <c:pt idx="2561">
                  <c:v>45247</c:v>
                </c:pt>
                <c:pt idx="2562">
                  <c:v>45250</c:v>
                </c:pt>
                <c:pt idx="2563">
                  <c:v>45251</c:v>
                </c:pt>
                <c:pt idx="2564">
                  <c:v>45252</c:v>
                </c:pt>
                <c:pt idx="2565">
                  <c:v>45253</c:v>
                </c:pt>
                <c:pt idx="2566">
                  <c:v>45254</c:v>
                </c:pt>
                <c:pt idx="2567">
                  <c:v>45257</c:v>
                </c:pt>
                <c:pt idx="2568">
                  <c:v>45258</c:v>
                </c:pt>
                <c:pt idx="2569">
                  <c:v>45259</c:v>
                </c:pt>
                <c:pt idx="2570">
                  <c:v>45260</c:v>
                </c:pt>
                <c:pt idx="2571">
                  <c:v>45261</c:v>
                </c:pt>
                <c:pt idx="2572">
                  <c:v>45264</c:v>
                </c:pt>
                <c:pt idx="2573">
                  <c:v>45265</c:v>
                </c:pt>
                <c:pt idx="2574">
                  <c:v>45266</c:v>
                </c:pt>
                <c:pt idx="2575">
                  <c:v>45267</c:v>
                </c:pt>
                <c:pt idx="2576">
                  <c:v>45268</c:v>
                </c:pt>
                <c:pt idx="2577">
                  <c:v>45271</c:v>
                </c:pt>
                <c:pt idx="2578">
                  <c:v>45272</c:v>
                </c:pt>
                <c:pt idx="2579">
                  <c:v>45273</c:v>
                </c:pt>
                <c:pt idx="2580">
                  <c:v>45274</c:v>
                </c:pt>
                <c:pt idx="2581">
                  <c:v>45275</c:v>
                </c:pt>
                <c:pt idx="2582">
                  <c:v>45278</c:v>
                </c:pt>
                <c:pt idx="2583">
                  <c:v>45279</c:v>
                </c:pt>
                <c:pt idx="2584">
                  <c:v>45280</c:v>
                </c:pt>
                <c:pt idx="2585">
                  <c:v>45281</c:v>
                </c:pt>
                <c:pt idx="2586">
                  <c:v>45282</c:v>
                </c:pt>
                <c:pt idx="2587">
                  <c:v>45287</c:v>
                </c:pt>
                <c:pt idx="2588">
                  <c:v>45288</c:v>
                </c:pt>
                <c:pt idx="2589">
                  <c:v>45289</c:v>
                </c:pt>
                <c:pt idx="2590">
                  <c:v>45293</c:v>
                </c:pt>
                <c:pt idx="2591">
                  <c:v>45294</c:v>
                </c:pt>
                <c:pt idx="2592">
                  <c:v>45295</c:v>
                </c:pt>
                <c:pt idx="2593">
                  <c:v>45296</c:v>
                </c:pt>
                <c:pt idx="2594">
                  <c:v>45299</c:v>
                </c:pt>
                <c:pt idx="2595">
                  <c:v>45300</c:v>
                </c:pt>
                <c:pt idx="2596">
                  <c:v>45301</c:v>
                </c:pt>
                <c:pt idx="2597">
                  <c:v>45302</c:v>
                </c:pt>
                <c:pt idx="2598">
                  <c:v>45303</c:v>
                </c:pt>
                <c:pt idx="2599">
                  <c:v>45306</c:v>
                </c:pt>
                <c:pt idx="2600">
                  <c:v>45307</c:v>
                </c:pt>
                <c:pt idx="2601">
                  <c:v>45308</c:v>
                </c:pt>
                <c:pt idx="2602">
                  <c:v>45309</c:v>
                </c:pt>
                <c:pt idx="2603">
                  <c:v>45310</c:v>
                </c:pt>
                <c:pt idx="2604">
                  <c:v>45313</c:v>
                </c:pt>
                <c:pt idx="2605">
                  <c:v>45314</c:v>
                </c:pt>
                <c:pt idx="2606">
                  <c:v>45315</c:v>
                </c:pt>
                <c:pt idx="2607">
                  <c:v>45316</c:v>
                </c:pt>
                <c:pt idx="2608">
                  <c:v>45317</c:v>
                </c:pt>
                <c:pt idx="2609">
                  <c:v>45320</c:v>
                </c:pt>
                <c:pt idx="2610">
                  <c:v>45321</c:v>
                </c:pt>
                <c:pt idx="2611">
                  <c:v>45322</c:v>
                </c:pt>
                <c:pt idx="2612">
                  <c:v>45323</c:v>
                </c:pt>
                <c:pt idx="2613">
                  <c:v>45324</c:v>
                </c:pt>
                <c:pt idx="2614">
                  <c:v>45327</c:v>
                </c:pt>
                <c:pt idx="2615">
                  <c:v>45328</c:v>
                </c:pt>
                <c:pt idx="2616">
                  <c:v>45329</c:v>
                </c:pt>
                <c:pt idx="2617">
                  <c:v>45330</c:v>
                </c:pt>
                <c:pt idx="2618">
                  <c:v>45331</c:v>
                </c:pt>
                <c:pt idx="2619">
                  <c:v>45334</c:v>
                </c:pt>
                <c:pt idx="2620">
                  <c:v>45335</c:v>
                </c:pt>
                <c:pt idx="2621">
                  <c:v>45336</c:v>
                </c:pt>
                <c:pt idx="2622">
                  <c:v>45337</c:v>
                </c:pt>
                <c:pt idx="2623">
                  <c:v>45338</c:v>
                </c:pt>
                <c:pt idx="2624">
                  <c:v>45341</c:v>
                </c:pt>
                <c:pt idx="2625">
                  <c:v>45342</c:v>
                </c:pt>
                <c:pt idx="2626">
                  <c:v>45343</c:v>
                </c:pt>
                <c:pt idx="2627">
                  <c:v>45344</c:v>
                </c:pt>
                <c:pt idx="2628">
                  <c:v>45345</c:v>
                </c:pt>
                <c:pt idx="2629">
                  <c:v>45348</c:v>
                </c:pt>
                <c:pt idx="2630">
                  <c:v>45349</c:v>
                </c:pt>
                <c:pt idx="2631">
                  <c:v>45350</c:v>
                </c:pt>
                <c:pt idx="2632">
                  <c:v>45351</c:v>
                </c:pt>
                <c:pt idx="2633">
                  <c:v>45352</c:v>
                </c:pt>
                <c:pt idx="2634">
                  <c:v>45355</c:v>
                </c:pt>
                <c:pt idx="2635">
                  <c:v>45356</c:v>
                </c:pt>
                <c:pt idx="2636">
                  <c:v>45357</c:v>
                </c:pt>
                <c:pt idx="2637">
                  <c:v>45358</c:v>
                </c:pt>
                <c:pt idx="2638">
                  <c:v>45359</c:v>
                </c:pt>
                <c:pt idx="2639">
                  <c:v>45362</c:v>
                </c:pt>
                <c:pt idx="2640">
                  <c:v>45363</c:v>
                </c:pt>
                <c:pt idx="2641">
                  <c:v>45364</c:v>
                </c:pt>
                <c:pt idx="2642">
                  <c:v>45365</c:v>
                </c:pt>
                <c:pt idx="2643">
                  <c:v>45366</c:v>
                </c:pt>
                <c:pt idx="2644">
                  <c:v>45369</c:v>
                </c:pt>
                <c:pt idx="2645">
                  <c:v>45370</c:v>
                </c:pt>
                <c:pt idx="2646">
                  <c:v>45371</c:v>
                </c:pt>
                <c:pt idx="2647">
                  <c:v>45372</c:v>
                </c:pt>
                <c:pt idx="2648">
                  <c:v>45373</c:v>
                </c:pt>
                <c:pt idx="2649">
                  <c:v>45376</c:v>
                </c:pt>
                <c:pt idx="2650">
                  <c:v>45377</c:v>
                </c:pt>
                <c:pt idx="2651">
                  <c:v>45378</c:v>
                </c:pt>
                <c:pt idx="2652">
                  <c:v>45379</c:v>
                </c:pt>
                <c:pt idx="2653">
                  <c:v>45383</c:v>
                </c:pt>
                <c:pt idx="2654">
                  <c:v>45384</c:v>
                </c:pt>
                <c:pt idx="2655">
                  <c:v>45385</c:v>
                </c:pt>
                <c:pt idx="2656">
                  <c:v>45386</c:v>
                </c:pt>
                <c:pt idx="2657">
                  <c:v>45387</c:v>
                </c:pt>
                <c:pt idx="2658">
                  <c:v>45390</c:v>
                </c:pt>
                <c:pt idx="2659">
                  <c:v>45391</c:v>
                </c:pt>
                <c:pt idx="2660">
                  <c:v>45392</c:v>
                </c:pt>
                <c:pt idx="2661">
                  <c:v>45393</c:v>
                </c:pt>
                <c:pt idx="2662">
                  <c:v>45394</c:v>
                </c:pt>
                <c:pt idx="2663">
                  <c:v>45397</c:v>
                </c:pt>
                <c:pt idx="2664">
                  <c:v>45398</c:v>
                </c:pt>
                <c:pt idx="2665">
                  <c:v>45399</c:v>
                </c:pt>
                <c:pt idx="2666">
                  <c:v>45400</c:v>
                </c:pt>
                <c:pt idx="2667">
                  <c:v>45401</c:v>
                </c:pt>
                <c:pt idx="2668">
                  <c:v>45404</c:v>
                </c:pt>
                <c:pt idx="2669">
                  <c:v>45405</c:v>
                </c:pt>
                <c:pt idx="2670">
                  <c:v>45406</c:v>
                </c:pt>
                <c:pt idx="2671">
                  <c:v>45407</c:v>
                </c:pt>
                <c:pt idx="2672">
                  <c:v>45408</c:v>
                </c:pt>
                <c:pt idx="2673">
                  <c:v>45411</c:v>
                </c:pt>
                <c:pt idx="2674">
                  <c:v>45412</c:v>
                </c:pt>
                <c:pt idx="2675">
                  <c:v>45413</c:v>
                </c:pt>
                <c:pt idx="2676">
                  <c:v>45414</c:v>
                </c:pt>
                <c:pt idx="2677">
                  <c:v>45415</c:v>
                </c:pt>
                <c:pt idx="2678">
                  <c:v>45418</c:v>
                </c:pt>
                <c:pt idx="2679">
                  <c:v>45419</c:v>
                </c:pt>
                <c:pt idx="2680">
                  <c:v>45420</c:v>
                </c:pt>
                <c:pt idx="2681">
                  <c:v>45421</c:v>
                </c:pt>
                <c:pt idx="2682">
                  <c:v>45422</c:v>
                </c:pt>
                <c:pt idx="2683">
                  <c:v>45425</c:v>
                </c:pt>
                <c:pt idx="2684">
                  <c:v>45426</c:v>
                </c:pt>
                <c:pt idx="2685">
                  <c:v>45427</c:v>
                </c:pt>
                <c:pt idx="2686">
                  <c:v>45428</c:v>
                </c:pt>
                <c:pt idx="2687">
                  <c:v>45429</c:v>
                </c:pt>
                <c:pt idx="2688">
                  <c:v>45432</c:v>
                </c:pt>
                <c:pt idx="2689">
                  <c:v>45433</c:v>
                </c:pt>
                <c:pt idx="2690">
                  <c:v>45434</c:v>
                </c:pt>
                <c:pt idx="2691">
                  <c:v>45435</c:v>
                </c:pt>
                <c:pt idx="2692">
                  <c:v>45436</c:v>
                </c:pt>
                <c:pt idx="2693">
                  <c:v>45440</c:v>
                </c:pt>
                <c:pt idx="2694">
                  <c:v>45441</c:v>
                </c:pt>
                <c:pt idx="2695">
                  <c:v>45442</c:v>
                </c:pt>
                <c:pt idx="2696">
                  <c:v>45443</c:v>
                </c:pt>
                <c:pt idx="2697">
                  <c:v>45446</c:v>
                </c:pt>
                <c:pt idx="2698">
                  <c:v>45447</c:v>
                </c:pt>
                <c:pt idx="2699">
                  <c:v>45448</c:v>
                </c:pt>
                <c:pt idx="2700">
                  <c:v>45449</c:v>
                </c:pt>
                <c:pt idx="2701">
                  <c:v>45450</c:v>
                </c:pt>
                <c:pt idx="2702">
                  <c:v>45453</c:v>
                </c:pt>
                <c:pt idx="2703">
                  <c:v>45454</c:v>
                </c:pt>
                <c:pt idx="2704">
                  <c:v>45455</c:v>
                </c:pt>
                <c:pt idx="2705">
                  <c:v>45456</c:v>
                </c:pt>
                <c:pt idx="2706">
                  <c:v>45457</c:v>
                </c:pt>
                <c:pt idx="2707">
                  <c:v>45460</c:v>
                </c:pt>
                <c:pt idx="2708">
                  <c:v>45461</c:v>
                </c:pt>
                <c:pt idx="2709">
                  <c:v>45462</c:v>
                </c:pt>
                <c:pt idx="2710">
                  <c:v>45463</c:v>
                </c:pt>
                <c:pt idx="2711">
                  <c:v>45464</c:v>
                </c:pt>
                <c:pt idx="2712">
                  <c:v>45467</c:v>
                </c:pt>
                <c:pt idx="2713">
                  <c:v>45468</c:v>
                </c:pt>
                <c:pt idx="2714">
                  <c:v>45469</c:v>
                </c:pt>
                <c:pt idx="2715">
                  <c:v>45470</c:v>
                </c:pt>
                <c:pt idx="2716">
                  <c:v>45471</c:v>
                </c:pt>
                <c:pt idx="2717">
                  <c:v>45474</c:v>
                </c:pt>
                <c:pt idx="2718">
                  <c:v>45475</c:v>
                </c:pt>
                <c:pt idx="2719">
                  <c:v>45476</c:v>
                </c:pt>
                <c:pt idx="2720">
                  <c:v>45477</c:v>
                </c:pt>
                <c:pt idx="2721">
                  <c:v>45478</c:v>
                </c:pt>
                <c:pt idx="2722">
                  <c:v>45481</c:v>
                </c:pt>
                <c:pt idx="2723">
                  <c:v>45482</c:v>
                </c:pt>
                <c:pt idx="2724">
                  <c:v>45483</c:v>
                </c:pt>
                <c:pt idx="2725">
                  <c:v>45484</c:v>
                </c:pt>
                <c:pt idx="2726">
                  <c:v>45485</c:v>
                </c:pt>
                <c:pt idx="2727">
                  <c:v>45488</c:v>
                </c:pt>
                <c:pt idx="2728">
                  <c:v>45489</c:v>
                </c:pt>
                <c:pt idx="2729">
                  <c:v>45490</c:v>
                </c:pt>
                <c:pt idx="2730">
                  <c:v>45491</c:v>
                </c:pt>
                <c:pt idx="2731">
                  <c:v>45492</c:v>
                </c:pt>
                <c:pt idx="2732">
                  <c:v>45495</c:v>
                </c:pt>
                <c:pt idx="2733">
                  <c:v>45496</c:v>
                </c:pt>
                <c:pt idx="2734">
                  <c:v>45497</c:v>
                </c:pt>
                <c:pt idx="2735">
                  <c:v>45498</c:v>
                </c:pt>
                <c:pt idx="2736">
                  <c:v>45499</c:v>
                </c:pt>
                <c:pt idx="2737">
                  <c:v>45502</c:v>
                </c:pt>
                <c:pt idx="2738">
                  <c:v>45503</c:v>
                </c:pt>
                <c:pt idx="2739">
                  <c:v>45504</c:v>
                </c:pt>
                <c:pt idx="2740">
                  <c:v>45505</c:v>
                </c:pt>
                <c:pt idx="2741">
                  <c:v>45506</c:v>
                </c:pt>
                <c:pt idx="2742">
                  <c:v>45509</c:v>
                </c:pt>
                <c:pt idx="2743">
                  <c:v>45510</c:v>
                </c:pt>
                <c:pt idx="2744">
                  <c:v>45511</c:v>
                </c:pt>
                <c:pt idx="2745">
                  <c:v>45512</c:v>
                </c:pt>
                <c:pt idx="2746">
                  <c:v>45513</c:v>
                </c:pt>
                <c:pt idx="2747">
                  <c:v>45516</c:v>
                </c:pt>
                <c:pt idx="2748">
                  <c:v>45517</c:v>
                </c:pt>
                <c:pt idx="2749">
                  <c:v>45518</c:v>
                </c:pt>
                <c:pt idx="2750">
                  <c:v>45519</c:v>
                </c:pt>
                <c:pt idx="2751">
                  <c:v>45520</c:v>
                </c:pt>
                <c:pt idx="2752">
                  <c:v>45523</c:v>
                </c:pt>
                <c:pt idx="2753">
                  <c:v>45524</c:v>
                </c:pt>
                <c:pt idx="2754">
                  <c:v>45525</c:v>
                </c:pt>
                <c:pt idx="2755">
                  <c:v>45526</c:v>
                </c:pt>
                <c:pt idx="2756">
                  <c:v>45527</c:v>
                </c:pt>
                <c:pt idx="2757">
                  <c:v>45530</c:v>
                </c:pt>
                <c:pt idx="2758">
                  <c:v>45531</c:v>
                </c:pt>
                <c:pt idx="2759">
                  <c:v>45532</c:v>
                </c:pt>
                <c:pt idx="2760">
                  <c:v>45533</c:v>
                </c:pt>
                <c:pt idx="2761">
                  <c:v>45534</c:v>
                </c:pt>
                <c:pt idx="2762">
                  <c:v>45537</c:v>
                </c:pt>
                <c:pt idx="2763">
                  <c:v>45538</c:v>
                </c:pt>
                <c:pt idx="2764">
                  <c:v>45539</c:v>
                </c:pt>
                <c:pt idx="2765">
                  <c:v>45540</c:v>
                </c:pt>
                <c:pt idx="2766">
                  <c:v>45541</c:v>
                </c:pt>
                <c:pt idx="2767">
                  <c:v>45544</c:v>
                </c:pt>
                <c:pt idx="2768">
                  <c:v>45545</c:v>
                </c:pt>
                <c:pt idx="2769">
                  <c:v>45546</c:v>
                </c:pt>
                <c:pt idx="2770">
                  <c:v>45547</c:v>
                </c:pt>
                <c:pt idx="2771">
                  <c:v>45548</c:v>
                </c:pt>
                <c:pt idx="2772">
                  <c:v>45551</c:v>
                </c:pt>
                <c:pt idx="2773">
                  <c:v>45552</c:v>
                </c:pt>
                <c:pt idx="2774">
                  <c:v>45553</c:v>
                </c:pt>
                <c:pt idx="2775">
                  <c:v>45554</c:v>
                </c:pt>
                <c:pt idx="2776">
                  <c:v>45555</c:v>
                </c:pt>
                <c:pt idx="2777">
                  <c:v>45558</c:v>
                </c:pt>
                <c:pt idx="2778">
                  <c:v>45559</c:v>
                </c:pt>
                <c:pt idx="2779">
                  <c:v>45560</c:v>
                </c:pt>
                <c:pt idx="2780">
                  <c:v>45561</c:v>
                </c:pt>
                <c:pt idx="2781">
                  <c:v>45562</c:v>
                </c:pt>
                <c:pt idx="2782">
                  <c:v>45565</c:v>
                </c:pt>
                <c:pt idx="2783">
                  <c:v>45566</c:v>
                </c:pt>
                <c:pt idx="2784">
                  <c:v>45567</c:v>
                </c:pt>
                <c:pt idx="2785">
                  <c:v>45568</c:v>
                </c:pt>
                <c:pt idx="2786">
                  <c:v>45569</c:v>
                </c:pt>
                <c:pt idx="2787">
                  <c:v>45572</c:v>
                </c:pt>
                <c:pt idx="2788">
                  <c:v>45573</c:v>
                </c:pt>
                <c:pt idx="2789">
                  <c:v>45574</c:v>
                </c:pt>
                <c:pt idx="2790">
                  <c:v>45575</c:v>
                </c:pt>
                <c:pt idx="2791">
                  <c:v>45576</c:v>
                </c:pt>
                <c:pt idx="2792">
                  <c:v>45579</c:v>
                </c:pt>
                <c:pt idx="2793">
                  <c:v>45580</c:v>
                </c:pt>
                <c:pt idx="2794">
                  <c:v>45581</c:v>
                </c:pt>
                <c:pt idx="2795">
                  <c:v>45582</c:v>
                </c:pt>
                <c:pt idx="2796">
                  <c:v>45583</c:v>
                </c:pt>
                <c:pt idx="2797">
                  <c:v>45586</c:v>
                </c:pt>
                <c:pt idx="2798">
                  <c:v>45587</c:v>
                </c:pt>
                <c:pt idx="2799">
                  <c:v>45588</c:v>
                </c:pt>
                <c:pt idx="2800">
                  <c:v>45589</c:v>
                </c:pt>
                <c:pt idx="2801">
                  <c:v>45590</c:v>
                </c:pt>
                <c:pt idx="2802">
                  <c:v>45593</c:v>
                </c:pt>
                <c:pt idx="2803">
                  <c:v>45594</c:v>
                </c:pt>
                <c:pt idx="2804">
                  <c:v>45595</c:v>
                </c:pt>
                <c:pt idx="2805">
                  <c:v>45596</c:v>
                </c:pt>
                <c:pt idx="2806">
                  <c:v>45597</c:v>
                </c:pt>
                <c:pt idx="2807">
                  <c:v>45600</c:v>
                </c:pt>
                <c:pt idx="2808">
                  <c:v>45601</c:v>
                </c:pt>
                <c:pt idx="2809">
                  <c:v>45602</c:v>
                </c:pt>
                <c:pt idx="2810">
                  <c:v>45603</c:v>
                </c:pt>
                <c:pt idx="2811">
                  <c:v>45604</c:v>
                </c:pt>
                <c:pt idx="2812">
                  <c:v>45607</c:v>
                </c:pt>
                <c:pt idx="2813">
                  <c:v>45608</c:v>
                </c:pt>
                <c:pt idx="2814">
                  <c:v>45609</c:v>
                </c:pt>
                <c:pt idx="2815">
                  <c:v>45610</c:v>
                </c:pt>
                <c:pt idx="2816">
                  <c:v>45611</c:v>
                </c:pt>
                <c:pt idx="2817">
                  <c:v>45614</c:v>
                </c:pt>
                <c:pt idx="2818">
                  <c:v>45615</c:v>
                </c:pt>
                <c:pt idx="2819">
                  <c:v>45616</c:v>
                </c:pt>
                <c:pt idx="2820">
                  <c:v>45617</c:v>
                </c:pt>
                <c:pt idx="2821">
                  <c:v>45618</c:v>
                </c:pt>
                <c:pt idx="2822">
                  <c:v>45621</c:v>
                </c:pt>
                <c:pt idx="2823">
                  <c:v>45622</c:v>
                </c:pt>
                <c:pt idx="2824">
                  <c:v>45623</c:v>
                </c:pt>
                <c:pt idx="2825">
                  <c:v>45624</c:v>
                </c:pt>
                <c:pt idx="2826">
                  <c:v>45625</c:v>
                </c:pt>
                <c:pt idx="2827">
                  <c:v>45628</c:v>
                </c:pt>
                <c:pt idx="2828">
                  <c:v>45629</c:v>
                </c:pt>
                <c:pt idx="2829">
                  <c:v>45630</c:v>
                </c:pt>
                <c:pt idx="2830">
                  <c:v>45631</c:v>
                </c:pt>
                <c:pt idx="2831">
                  <c:v>45632</c:v>
                </c:pt>
                <c:pt idx="2832">
                  <c:v>45635</c:v>
                </c:pt>
                <c:pt idx="2833">
                  <c:v>45636</c:v>
                </c:pt>
                <c:pt idx="2834">
                  <c:v>45637</c:v>
                </c:pt>
                <c:pt idx="2835">
                  <c:v>45638</c:v>
                </c:pt>
                <c:pt idx="2836">
                  <c:v>45639</c:v>
                </c:pt>
                <c:pt idx="2837">
                  <c:v>45642</c:v>
                </c:pt>
                <c:pt idx="2838">
                  <c:v>45643</c:v>
                </c:pt>
                <c:pt idx="2839">
                  <c:v>45644</c:v>
                </c:pt>
                <c:pt idx="2840">
                  <c:v>45645</c:v>
                </c:pt>
                <c:pt idx="2841">
                  <c:v>45646</c:v>
                </c:pt>
                <c:pt idx="2842">
                  <c:v>45649</c:v>
                </c:pt>
                <c:pt idx="2843">
                  <c:v>45650</c:v>
                </c:pt>
                <c:pt idx="2844">
                  <c:v>45652</c:v>
                </c:pt>
                <c:pt idx="2845">
                  <c:v>45653</c:v>
                </c:pt>
                <c:pt idx="2846">
                  <c:v>45656</c:v>
                </c:pt>
                <c:pt idx="2847">
                  <c:v>45657</c:v>
                </c:pt>
                <c:pt idx="2848">
                  <c:v>45659</c:v>
                </c:pt>
                <c:pt idx="2849">
                  <c:v>45660</c:v>
                </c:pt>
                <c:pt idx="2850">
                  <c:v>45663</c:v>
                </c:pt>
                <c:pt idx="2851">
                  <c:v>45664</c:v>
                </c:pt>
                <c:pt idx="2852">
                  <c:v>45665</c:v>
                </c:pt>
                <c:pt idx="2853">
                  <c:v>45666</c:v>
                </c:pt>
                <c:pt idx="2854">
                  <c:v>45667</c:v>
                </c:pt>
                <c:pt idx="2855">
                  <c:v>45670</c:v>
                </c:pt>
                <c:pt idx="2856">
                  <c:v>45671</c:v>
                </c:pt>
                <c:pt idx="2857">
                  <c:v>45672</c:v>
                </c:pt>
                <c:pt idx="2858">
                  <c:v>45673</c:v>
                </c:pt>
                <c:pt idx="2859">
                  <c:v>45674</c:v>
                </c:pt>
                <c:pt idx="2860">
                  <c:v>45677</c:v>
                </c:pt>
                <c:pt idx="2861">
                  <c:v>45678</c:v>
                </c:pt>
                <c:pt idx="2862">
                  <c:v>45679</c:v>
                </c:pt>
                <c:pt idx="2863">
                  <c:v>45680</c:v>
                </c:pt>
                <c:pt idx="2864">
                  <c:v>45681</c:v>
                </c:pt>
                <c:pt idx="2865">
                  <c:v>45684</c:v>
                </c:pt>
                <c:pt idx="2866">
                  <c:v>45685</c:v>
                </c:pt>
                <c:pt idx="2867">
                  <c:v>45686</c:v>
                </c:pt>
                <c:pt idx="2868">
                  <c:v>45687</c:v>
                </c:pt>
                <c:pt idx="2869">
                  <c:v>45688</c:v>
                </c:pt>
                <c:pt idx="2870">
                  <c:v>45691</c:v>
                </c:pt>
                <c:pt idx="2871">
                  <c:v>45692</c:v>
                </c:pt>
                <c:pt idx="2872">
                  <c:v>45693</c:v>
                </c:pt>
                <c:pt idx="2873">
                  <c:v>45694</c:v>
                </c:pt>
                <c:pt idx="2874">
                  <c:v>45695</c:v>
                </c:pt>
                <c:pt idx="2875">
                  <c:v>45698</c:v>
                </c:pt>
                <c:pt idx="2876">
                  <c:v>45699</c:v>
                </c:pt>
                <c:pt idx="2877">
                  <c:v>45700</c:v>
                </c:pt>
                <c:pt idx="2878">
                  <c:v>45701</c:v>
                </c:pt>
                <c:pt idx="2879">
                  <c:v>45702</c:v>
                </c:pt>
                <c:pt idx="2880">
                  <c:v>45705</c:v>
                </c:pt>
                <c:pt idx="2881">
                  <c:v>45706</c:v>
                </c:pt>
                <c:pt idx="2882">
                  <c:v>45707</c:v>
                </c:pt>
                <c:pt idx="2883">
                  <c:v>45708</c:v>
                </c:pt>
                <c:pt idx="2884">
                  <c:v>45709</c:v>
                </c:pt>
                <c:pt idx="2885">
                  <c:v>45712</c:v>
                </c:pt>
                <c:pt idx="2886">
                  <c:v>45713</c:v>
                </c:pt>
                <c:pt idx="2887">
                  <c:v>45714</c:v>
                </c:pt>
                <c:pt idx="2888">
                  <c:v>45715</c:v>
                </c:pt>
                <c:pt idx="2889">
                  <c:v>45716</c:v>
                </c:pt>
                <c:pt idx="2890">
                  <c:v>45719</c:v>
                </c:pt>
                <c:pt idx="2891">
                  <c:v>45720</c:v>
                </c:pt>
                <c:pt idx="2892">
                  <c:v>45721</c:v>
                </c:pt>
                <c:pt idx="2893">
                  <c:v>45722</c:v>
                </c:pt>
                <c:pt idx="2894">
                  <c:v>45723</c:v>
                </c:pt>
                <c:pt idx="2895">
                  <c:v>45726</c:v>
                </c:pt>
                <c:pt idx="2896">
                  <c:v>45727</c:v>
                </c:pt>
                <c:pt idx="2897">
                  <c:v>45728</c:v>
                </c:pt>
                <c:pt idx="2898">
                  <c:v>45729</c:v>
                </c:pt>
                <c:pt idx="2899">
                  <c:v>45730</c:v>
                </c:pt>
                <c:pt idx="2900">
                  <c:v>45733</c:v>
                </c:pt>
                <c:pt idx="2901">
                  <c:v>45734</c:v>
                </c:pt>
                <c:pt idx="2902">
                  <c:v>45735</c:v>
                </c:pt>
                <c:pt idx="2903">
                  <c:v>45736</c:v>
                </c:pt>
                <c:pt idx="2904">
                  <c:v>45737</c:v>
                </c:pt>
                <c:pt idx="2905">
                  <c:v>45740</c:v>
                </c:pt>
                <c:pt idx="2906">
                  <c:v>45741</c:v>
                </c:pt>
                <c:pt idx="2907">
                  <c:v>45742</c:v>
                </c:pt>
                <c:pt idx="2908">
                  <c:v>45743</c:v>
                </c:pt>
                <c:pt idx="2909">
                  <c:v>45744</c:v>
                </c:pt>
                <c:pt idx="2910">
                  <c:v>45747</c:v>
                </c:pt>
                <c:pt idx="2911">
                  <c:v>45748</c:v>
                </c:pt>
                <c:pt idx="2912">
                  <c:v>45749</c:v>
                </c:pt>
                <c:pt idx="2913">
                  <c:v>45750</c:v>
                </c:pt>
                <c:pt idx="2914">
                  <c:v>45751</c:v>
                </c:pt>
                <c:pt idx="2915">
                  <c:v>45754</c:v>
                </c:pt>
                <c:pt idx="2916">
                  <c:v>45755</c:v>
                </c:pt>
                <c:pt idx="2917">
                  <c:v>45756</c:v>
                </c:pt>
                <c:pt idx="2918">
                  <c:v>45757</c:v>
                </c:pt>
                <c:pt idx="2919">
                  <c:v>45758</c:v>
                </c:pt>
                <c:pt idx="2920">
                  <c:v>45761</c:v>
                </c:pt>
                <c:pt idx="2921">
                  <c:v>45762</c:v>
                </c:pt>
                <c:pt idx="2922">
                  <c:v>45763</c:v>
                </c:pt>
                <c:pt idx="2923">
                  <c:v>45764</c:v>
                </c:pt>
                <c:pt idx="2924">
                  <c:v>45768</c:v>
                </c:pt>
                <c:pt idx="2925">
                  <c:v>45769</c:v>
                </c:pt>
                <c:pt idx="2926">
                  <c:v>45770</c:v>
                </c:pt>
                <c:pt idx="2927">
                  <c:v>45771</c:v>
                </c:pt>
                <c:pt idx="2928">
                  <c:v>45772</c:v>
                </c:pt>
                <c:pt idx="2929">
                  <c:v>45775</c:v>
                </c:pt>
                <c:pt idx="2930">
                  <c:v>45776</c:v>
                </c:pt>
                <c:pt idx="2931">
                  <c:v>45777</c:v>
                </c:pt>
                <c:pt idx="2932">
                  <c:v>45778</c:v>
                </c:pt>
                <c:pt idx="2933">
                  <c:v>45779</c:v>
                </c:pt>
                <c:pt idx="2934">
                  <c:v>45782</c:v>
                </c:pt>
                <c:pt idx="2935">
                  <c:v>45783</c:v>
                </c:pt>
                <c:pt idx="2936">
                  <c:v>45784</c:v>
                </c:pt>
                <c:pt idx="2937">
                  <c:v>45785</c:v>
                </c:pt>
                <c:pt idx="2938">
                  <c:v>45786</c:v>
                </c:pt>
                <c:pt idx="2939">
                  <c:v>45789</c:v>
                </c:pt>
                <c:pt idx="2940">
                  <c:v>45790</c:v>
                </c:pt>
                <c:pt idx="2941">
                  <c:v>45791</c:v>
                </c:pt>
                <c:pt idx="2942">
                  <c:v>45792</c:v>
                </c:pt>
                <c:pt idx="2943">
                  <c:v>45793</c:v>
                </c:pt>
                <c:pt idx="2944">
                  <c:v>0</c:v>
                </c:pt>
                <c:pt idx="2945">
                  <c:v>0</c:v>
                </c:pt>
                <c:pt idx="2946">
                  <c:v>0</c:v>
                </c:pt>
                <c:pt idx="2947">
                  <c:v>0</c:v>
                </c:pt>
                <c:pt idx="2948">
                  <c:v>0</c:v>
                </c:pt>
                <c:pt idx="2949">
                  <c:v>0</c:v>
                </c:pt>
                <c:pt idx="2950">
                  <c:v>0</c:v>
                </c:pt>
                <c:pt idx="2951">
                  <c:v>0</c:v>
                </c:pt>
                <c:pt idx="2952">
                  <c:v>0</c:v>
                </c:pt>
                <c:pt idx="2953">
                  <c:v>0</c:v>
                </c:pt>
                <c:pt idx="2954">
                  <c:v>0</c:v>
                </c:pt>
                <c:pt idx="2955">
                  <c:v>0</c:v>
                </c:pt>
                <c:pt idx="2956">
                  <c:v>0</c:v>
                </c:pt>
                <c:pt idx="2957">
                  <c:v>0</c:v>
                </c:pt>
                <c:pt idx="2958">
                  <c:v>0</c:v>
                </c:pt>
                <c:pt idx="2959">
                  <c:v>0</c:v>
                </c:pt>
                <c:pt idx="2960">
                  <c:v>0</c:v>
                </c:pt>
                <c:pt idx="2961">
                  <c:v>0</c:v>
                </c:pt>
                <c:pt idx="2962">
                  <c:v>0</c:v>
                </c:pt>
                <c:pt idx="2963">
                  <c:v>0</c:v>
                </c:pt>
                <c:pt idx="2964">
                  <c:v>0</c:v>
                </c:pt>
                <c:pt idx="2965">
                  <c:v>0</c:v>
                </c:pt>
                <c:pt idx="2966">
                  <c:v>0</c:v>
                </c:pt>
                <c:pt idx="2967">
                  <c:v>0</c:v>
                </c:pt>
                <c:pt idx="2968">
                  <c:v>0</c:v>
                </c:pt>
                <c:pt idx="2969">
                  <c:v>0</c:v>
                </c:pt>
                <c:pt idx="2970">
                  <c:v>0</c:v>
                </c:pt>
                <c:pt idx="2971">
                  <c:v>0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0</c:v>
                </c:pt>
                <c:pt idx="2977">
                  <c:v>0</c:v>
                </c:pt>
                <c:pt idx="2978">
                  <c:v>0</c:v>
                </c:pt>
                <c:pt idx="2979">
                  <c:v>0</c:v>
                </c:pt>
                <c:pt idx="2980">
                  <c:v>0</c:v>
                </c:pt>
                <c:pt idx="2981">
                  <c:v>0</c:v>
                </c:pt>
                <c:pt idx="2982">
                  <c:v>0</c:v>
                </c:pt>
                <c:pt idx="2983">
                  <c:v>0</c:v>
                </c:pt>
                <c:pt idx="2984">
                  <c:v>0</c:v>
                </c:pt>
                <c:pt idx="2985">
                  <c:v>0</c:v>
                </c:pt>
                <c:pt idx="2986">
                  <c:v>0</c:v>
                </c:pt>
                <c:pt idx="2987">
                  <c:v>0</c:v>
                </c:pt>
                <c:pt idx="2988">
                  <c:v>0</c:v>
                </c:pt>
                <c:pt idx="2989">
                  <c:v>0</c:v>
                </c:pt>
                <c:pt idx="2990">
                  <c:v>0</c:v>
                </c:pt>
                <c:pt idx="2991">
                  <c:v>0</c:v>
                </c:pt>
                <c:pt idx="2992">
                  <c:v>0</c:v>
                </c:pt>
                <c:pt idx="2993">
                  <c:v>0</c:v>
                </c:pt>
                <c:pt idx="2994">
                  <c:v>0</c:v>
                </c:pt>
                <c:pt idx="2995">
                  <c:v>0</c:v>
                </c:pt>
                <c:pt idx="2996">
                  <c:v>0</c:v>
                </c:pt>
                <c:pt idx="2997">
                  <c:v>0</c:v>
                </c:pt>
                <c:pt idx="2998">
                  <c:v>0</c:v>
                </c:pt>
                <c:pt idx="2999">
                  <c:v>0</c:v>
                </c:pt>
                <c:pt idx="3000">
                  <c:v>0</c:v>
                </c:pt>
                <c:pt idx="3001">
                  <c:v>0</c:v>
                </c:pt>
                <c:pt idx="3002">
                  <c:v>0</c:v>
                </c:pt>
                <c:pt idx="3003">
                  <c:v>0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0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0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0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0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0</c:v>
                </c:pt>
                <c:pt idx="3049">
                  <c:v>0</c:v>
                </c:pt>
                <c:pt idx="3050">
                  <c:v>0</c:v>
                </c:pt>
                <c:pt idx="3051">
                  <c:v>0</c:v>
                </c:pt>
                <c:pt idx="3052">
                  <c:v>0</c:v>
                </c:pt>
                <c:pt idx="3053">
                  <c:v>0</c:v>
                </c:pt>
                <c:pt idx="3054">
                  <c:v>0</c:v>
                </c:pt>
                <c:pt idx="3055">
                  <c:v>0</c:v>
                </c:pt>
                <c:pt idx="3056">
                  <c:v>0</c:v>
                </c:pt>
                <c:pt idx="3057">
                  <c:v>0</c:v>
                </c:pt>
                <c:pt idx="3058">
                  <c:v>0</c:v>
                </c:pt>
                <c:pt idx="3059">
                  <c:v>0</c:v>
                </c:pt>
                <c:pt idx="3060">
                  <c:v>0</c:v>
                </c:pt>
                <c:pt idx="3061">
                  <c:v>0</c:v>
                </c:pt>
                <c:pt idx="3062">
                  <c:v>0</c:v>
                </c:pt>
                <c:pt idx="3063">
                  <c:v>0</c:v>
                </c:pt>
                <c:pt idx="3064">
                  <c:v>0</c:v>
                </c:pt>
                <c:pt idx="3065">
                  <c:v>0</c:v>
                </c:pt>
                <c:pt idx="3066">
                  <c:v>0</c:v>
                </c:pt>
                <c:pt idx="3067">
                  <c:v>0</c:v>
                </c:pt>
                <c:pt idx="3068">
                  <c:v>0</c:v>
                </c:pt>
                <c:pt idx="3069">
                  <c:v>0</c:v>
                </c:pt>
                <c:pt idx="3070">
                  <c:v>0</c:v>
                </c:pt>
                <c:pt idx="3071">
                  <c:v>0</c:v>
                </c:pt>
                <c:pt idx="3072">
                  <c:v>0</c:v>
                </c:pt>
                <c:pt idx="3073">
                  <c:v>0</c:v>
                </c:pt>
                <c:pt idx="3074">
                  <c:v>0</c:v>
                </c:pt>
                <c:pt idx="3075">
                  <c:v>0</c:v>
                </c:pt>
                <c:pt idx="3076">
                  <c:v>0</c:v>
                </c:pt>
                <c:pt idx="3077">
                  <c:v>0</c:v>
                </c:pt>
                <c:pt idx="3078">
                  <c:v>0</c:v>
                </c:pt>
                <c:pt idx="3079">
                  <c:v>0</c:v>
                </c:pt>
                <c:pt idx="3080">
                  <c:v>0</c:v>
                </c:pt>
                <c:pt idx="3081">
                  <c:v>0</c:v>
                </c:pt>
                <c:pt idx="3082">
                  <c:v>0</c:v>
                </c:pt>
                <c:pt idx="3083">
                  <c:v>0</c:v>
                </c:pt>
                <c:pt idx="3084">
                  <c:v>0</c:v>
                </c:pt>
                <c:pt idx="3085">
                  <c:v>0</c:v>
                </c:pt>
                <c:pt idx="3086">
                  <c:v>0</c:v>
                </c:pt>
                <c:pt idx="3087">
                  <c:v>0</c:v>
                </c:pt>
                <c:pt idx="3088">
                  <c:v>0</c:v>
                </c:pt>
                <c:pt idx="3089">
                  <c:v>0</c:v>
                </c:pt>
                <c:pt idx="3090">
                  <c:v>0</c:v>
                </c:pt>
                <c:pt idx="3091">
                  <c:v>0</c:v>
                </c:pt>
                <c:pt idx="3092">
                  <c:v>0</c:v>
                </c:pt>
                <c:pt idx="3093">
                  <c:v>0</c:v>
                </c:pt>
                <c:pt idx="3094">
                  <c:v>0</c:v>
                </c:pt>
                <c:pt idx="3095">
                  <c:v>0</c:v>
                </c:pt>
                <c:pt idx="3096">
                  <c:v>0</c:v>
                </c:pt>
                <c:pt idx="3097">
                  <c:v>0</c:v>
                </c:pt>
                <c:pt idx="3098">
                  <c:v>0</c:v>
                </c:pt>
                <c:pt idx="3099">
                  <c:v>0</c:v>
                </c:pt>
                <c:pt idx="3100">
                  <c:v>0</c:v>
                </c:pt>
                <c:pt idx="3101">
                  <c:v>0</c:v>
                </c:pt>
                <c:pt idx="3102">
                  <c:v>0</c:v>
                </c:pt>
                <c:pt idx="3103">
                  <c:v>0</c:v>
                </c:pt>
                <c:pt idx="3104">
                  <c:v>0</c:v>
                </c:pt>
                <c:pt idx="3105">
                  <c:v>0</c:v>
                </c:pt>
                <c:pt idx="3106">
                  <c:v>0</c:v>
                </c:pt>
                <c:pt idx="3107">
                  <c:v>0</c:v>
                </c:pt>
                <c:pt idx="3108">
                  <c:v>0</c:v>
                </c:pt>
                <c:pt idx="3109">
                  <c:v>0</c:v>
                </c:pt>
                <c:pt idx="3110">
                  <c:v>0</c:v>
                </c:pt>
                <c:pt idx="3111">
                  <c:v>0</c:v>
                </c:pt>
                <c:pt idx="3112">
                  <c:v>0</c:v>
                </c:pt>
                <c:pt idx="3113">
                  <c:v>0</c:v>
                </c:pt>
                <c:pt idx="3114">
                  <c:v>0</c:v>
                </c:pt>
                <c:pt idx="3115">
                  <c:v>0</c:v>
                </c:pt>
                <c:pt idx="3116">
                  <c:v>0</c:v>
                </c:pt>
                <c:pt idx="3117">
                  <c:v>0</c:v>
                </c:pt>
                <c:pt idx="3118">
                  <c:v>0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0</c:v>
                </c:pt>
                <c:pt idx="3123">
                  <c:v>0</c:v>
                </c:pt>
                <c:pt idx="3124">
                  <c:v>0</c:v>
                </c:pt>
                <c:pt idx="3125">
                  <c:v>0</c:v>
                </c:pt>
                <c:pt idx="3126">
                  <c:v>0</c:v>
                </c:pt>
                <c:pt idx="3127">
                  <c:v>0</c:v>
                </c:pt>
                <c:pt idx="3128">
                  <c:v>0</c:v>
                </c:pt>
                <c:pt idx="3129">
                  <c:v>0</c:v>
                </c:pt>
                <c:pt idx="3130">
                  <c:v>0</c:v>
                </c:pt>
                <c:pt idx="3131">
                  <c:v>0</c:v>
                </c:pt>
                <c:pt idx="3132">
                  <c:v>0</c:v>
                </c:pt>
                <c:pt idx="3133">
                  <c:v>0</c:v>
                </c:pt>
                <c:pt idx="3134">
                  <c:v>0</c:v>
                </c:pt>
                <c:pt idx="3135">
                  <c:v>0</c:v>
                </c:pt>
                <c:pt idx="3136">
                  <c:v>0</c:v>
                </c:pt>
                <c:pt idx="3137">
                  <c:v>0</c:v>
                </c:pt>
                <c:pt idx="3138">
                  <c:v>0</c:v>
                </c:pt>
                <c:pt idx="3139">
                  <c:v>0</c:v>
                </c:pt>
                <c:pt idx="3140">
                  <c:v>0</c:v>
                </c:pt>
                <c:pt idx="3141">
                  <c:v>0</c:v>
                </c:pt>
                <c:pt idx="3142">
                  <c:v>0</c:v>
                </c:pt>
                <c:pt idx="3143">
                  <c:v>0</c:v>
                </c:pt>
                <c:pt idx="3144">
                  <c:v>0</c:v>
                </c:pt>
                <c:pt idx="3145">
                  <c:v>0</c:v>
                </c:pt>
                <c:pt idx="3146">
                  <c:v>0</c:v>
                </c:pt>
                <c:pt idx="3147">
                  <c:v>0</c:v>
                </c:pt>
                <c:pt idx="3148">
                  <c:v>0</c:v>
                </c:pt>
                <c:pt idx="3149">
                  <c:v>0</c:v>
                </c:pt>
                <c:pt idx="3150">
                  <c:v>0</c:v>
                </c:pt>
                <c:pt idx="3151">
                  <c:v>0</c:v>
                </c:pt>
                <c:pt idx="3152">
                  <c:v>0</c:v>
                </c:pt>
                <c:pt idx="3153">
                  <c:v>0</c:v>
                </c:pt>
                <c:pt idx="3154">
                  <c:v>0</c:v>
                </c:pt>
                <c:pt idx="3155">
                  <c:v>0</c:v>
                </c:pt>
                <c:pt idx="3156">
                  <c:v>0</c:v>
                </c:pt>
                <c:pt idx="3157">
                  <c:v>0</c:v>
                </c:pt>
                <c:pt idx="3158">
                  <c:v>0</c:v>
                </c:pt>
                <c:pt idx="3159">
                  <c:v>0</c:v>
                </c:pt>
                <c:pt idx="3160">
                  <c:v>0</c:v>
                </c:pt>
                <c:pt idx="3161">
                  <c:v>0</c:v>
                </c:pt>
                <c:pt idx="3162">
                  <c:v>0</c:v>
                </c:pt>
                <c:pt idx="3163">
                  <c:v>0</c:v>
                </c:pt>
                <c:pt idx="3164">
                  <c:v>0</c:v>
                </c:pt>
                <c:pt idx="3165">
                  <c:v>0</c:v>
                </c:pt>
                <c:pt idx="3166">
                  <c:v>0</c:v>
                </c:pt>
                <c:pt idx="3167">
                  <c:v>0</c:v>
                </c:pt>
                <c:pt idx="3168">
                  <c:v>0</c:v>
                </c:pt>
                <c:pt idx="3169">
                  <c:v>0</c:v>
                </c:pt>
                <c:pt idx="3170">
                  <c:v>0</c:v>
                </c:pt>
                <c:pt idx="3171">
                  <c:v>0</c:v>
                </c:pt>
                <c:pt idx="3172">
                  <c:v>0</c:v>
                </c:pt>
                <c:pt idx="3173">
                  <c:v>0</c:v>
                </c:pt>
                <c:pt idx="3174">
                  <c:v>0</c:v>
                </c:pt>
                <c:pt idx="3175">
                  <c:v>0</c:v>
                </c:pt>
                <c:pt idx="3176">
                  <c:v>0</c:v>
                </c:pt>
                <c:pt idx="3177">
                  <c:v>0</c:v>
                </c:pt>
                <c:pt idx="3178">
                  <c:v>0</c:v>
                </c:pt>
                <c:pt idx="3179">
                  <c:v>0</c:v>
                </c:pt>
                <c:pt idx="3180">
                  <c:v>0</c:v>
                </c:pt>
                <c:pt idx="3181">
                  <c:v>0</c:v>
                </c:pt>
                <c:pt idx="3182">
                  <c:v>0</c:v>
                </c:pt>
                <c:pt idx="3183">
                  <c:v>0</c:v>
                </c:pt>
                <c:pt idx="3184">
                  <c:v>0</c:v>
                </c:pt>
                <c:pt idx="3185">
                  <c:v>0</c:v>
                </c:pt>
                <c:pt idx="3186">
                  <c:v>0</c:v>
                </c:pt>
                <c:pt idx="3187">
                  <c:v>0</c:v>
                </c:pt>
                <c:pt idx="3188">
                  <c:v>0</c:v>
                </c:pt>
                <c:pt idx="3189">
                  <c:v>0</c:v>
                </c:pt>
                <c:pt idx="3190">
                  <c:v>0</c:v>
                </c:pt>
                <c:pt idx="3191">
                  <c:v>0</c:v>
                </c:pt>
                <c:pt idx="3192">
                  <c:v>0</c:v>
                </c:pt>
                <c:pt idx="3193">
                  <c:v>0</c:v>
                </c:pt>
                <c:pt idx="3194">
                  <c:v>0</c:v>
                </c:pt>
                <c:pt idx="3195">
                  <c:v>0</c:v>
                </c:pt>
                <c:pt idx="3196">
                  <c:v>0</c:v>
                </c:pt>
                <c:pt idx="3197">
                  <c:v>0</c:v>
                </c:pt>
                <c:pt idx="3198">
                  <c:v>0</c:v>
                </c:pt>
                <c:pt idx="3199">
                  <c:v>0</c:v>
                </c:pt>
                <c:pt idx="3200">
                  <c:v>0</c:v>
                </c:pt>
                <c:pt idx="3201">
                  <c:v>0</c:v>
                </c:pt>
                <c:pt idx="3202">
                  <c:v>0</c:v>
                </c:pt>
                <c:pt idx="3203">
                  <c:v>0</c:v>
                </c:pt>
                <c:pt idx="3204">
                  <c:v>0</c:v>
                </c:pt>
                <c:pt idx="3205">
                  <c:v>0</c:v>
                </c:pt>
                <c:pt idx="3206">
                  <c:v>0</c:v>
                </c:pt>
                <c:pt idx="3207">
                  <c:v>0</c:v>
                </c:pt>
                <c:pt idx="3208">
                  <c:v>0</c:v>
                </c:pt>
                <c:pt idx="3209">
                  <c:v>0</c:v>
                </c:pt>
                <c:pt idx="3210">
                  <c:v>0</c:v>
                </c:pt>
                <c:pt idx="3211">
                  <c:v>0</c:v>
                </c:pt>
                <c:pt idx="3212">
                  <c:v>0</c:v>
                </c:pt>
                <c:pt idx="3213">
                  <c:v>0</c:v>
                </c:pt>
                <c:pt idx="3214">
                  <c:v>0</c:v>
                </c:pt>
                <c:pt idx="3215">
                  <c:v>0</c:v>
                </c:pt>
                <c:pt idx="3216">
                  <c:v>0</c:v>
                </c:pt>
                <c:pt idx="3217">
                  <c:v>0</c:v>
                </c:pt>
                <c:pt idx="3218">
                  <c:v>0</c:v>
                </c:pt>
                <c:pt idx="3219">
                  <c:v>0</c:v>
                </c:pt>
                <c:pt idx="3220">
                  <c:v>0</c:v>
                </c:pt>
                <c:pt idx="3221">
                  <c:v>0</c:v>
                </c:pt>
                <c:pt idx="3222">
                  <c:v>0</c:v>
                </c:pt>
                <c:pt idx="3223">
                  <c:v>0</c:v>
                </c:pt>
                <c:pt idx="3224">
                  <c:v>0</c:v>
                </c:pt>
                <c:pt idx="3225">
                  <c:v>0</c:v>
                </c:pt>
                <c:pt idx="3226">
                  <c:v>0</c:v>
                </c:pt>
                <c:pt idx="3227">
                  <c:v>0</c:v>
                </c:pt>
                <c:pt idx="3228">
                  <c:v>0</c:v>
                </c:pt>
                <c:pt idx="3229">
                  <c:v>0</c:v>
                </c:pt>
                <c:pt idx="3230">
                  <c:v>0</c:v>
                </c:pt>
                <c:pt idx="3231">
                  <c:v>0</c:v>
                </c:pt>
                <c:pt idx="3232">
                  <c:v>0</c:v>
                </c:pt>
                <c:pt idx="3233">
                  <c:v>0</c:v>
                </c:pt>
                <c:pt idx="3234">
                  <c:v>0</c:v>
                </c:pt>
                <c:pt idx="3235">
                  <c:v>0</c:v>
                </c:pt>
                <c:pt idx="3236">
                  <c:v>0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0</c:v>
                </c:pt>
                <c:pt idx="3246">
                  <c:v>0</c:v>
                </c:pt>
                <c:pt idx="3247">
                  <c:v>0</c:v>
                </c:pt>
                <c:pt idx="3248">
                  <c:v>0</c:v>
                </c:pt>
                <c:pt idx="3249">
                  <c:v>0</c:v>
                </c:pt>
                <c:pt idx="3250">
                  <c:v>0</c:v>
                </c:pt>
                <c:pt idx="3251">
                  <c:v>0</c:v>
                </c:pt>
                <c:pt idx="3252">
                  <c:v>0</c:v>
                </c:pt>
                <c:pt idx="3253">
                  <c:v>0</c:v>
                </c:pt>
                <c:pt idx="3254">
                  <c:v>0</c:v>
                </c:pt>
                <c:pt idx="3255">
                  <c:v>0</c:v>
                </c:pt>
                <c:pt idx="3256">
                  <c:v>0</c:v>
                </c:pt>
                <c:pt idx="3257">
                  <c:v>0</c:v>
                </c:pt>
                <c:pt idx="3258">
                  <c:v>0</c:v>
                </c:pt>
                <c:pt idx="3259">
                  <c:v>0</c:v>
                </c:pt>
                <c:pt idx="3260">
                  <c:v>0</c:v>
                </c:pt>
                <c:pt idx="3261">
                  <c:v>0</c:v>
                </c:pt>
                <c:pt idx="3262">
                  <c:v>0</c:v>
                </c:pt>
                <c:pt idx="3263">
                  <c:v>0</c:v>
                </c:pt>
                <c:pt idx="3264">
                  <c:v>0</c:v>
                </c:pt>
                <c:pt idx="3265">
                  <c:v>0</c:v>
                </c:pt>
                <c:pt idx="3266">
                  <c:v>0</c:v>
                </c:pt>
                <c:pt idx="3267">
                  <c:v>0</c:v>
                </c:pt>
                <c:pt idx="3268">
                  <c:v>0</c:v>
                </c:pt>
                <c:pt idx="3269">
                  <c:v>0</c:v>
                </c:pt>
                <c:pt idx="3270">
                  <c:v>0</c:v>
                </c:pt>
                <c:pt idx="3271">
                  <c:v>0</c:v>
                </c:pt>
                <c:pt idx="3272">
                  <c:v>0</c:v>
                </c:pt>
                <c:pt idx="3273">
                  <c:v>0</c:v>
                </c:pt>
                <c:pt idx="3274">
                  <c:v>0</c:v>
                </c:pt>
                <c:pt idx="3275">
                  <c:v>0</c:v>
                </c:pt>
                <c:pt idx="3276">
                  <c:v>0</c:v>
                </c:pt>
                <c:pt idx="3277">
                  <c:v>0</c:v>
                </c:pt>
                <c:pt idx="3278">
                  <c:v>0</c:v>
                </c:pt>
                <c:pt idx="3279">
                  <c:v>0</c:v>
                </c:pt>
                <c:pt idx="3280">
                  <c:v>0</c:v>
                </c:pt>
                <c:pt idx="3281">
                  <c:v>0</c:v>
                </c:pt>
                <c:pt idx="3282">
                  <c:v>0</c:v>
                </c:pt>
                <c:pt idx="3283">
                  <c:v>0</c:v>
                </c:pt>
                <c:pt idx="3284">
                  <c:v>0</c:v>
                </c:pt>
                <c:pt idx="3285">
                  <c:v>0</c:v>
                </c:pt>
                <c:pt idx="3286">
                  <c:v>0</c:v>
                </c:pt>
                <c:pt idx="3287">
                  <c:v>0</c:v>
                </c:pt>
                <c:pt idx="3288">
                  <c:v>0</c:v>
                </c:pt>
                <c:pt idx="3289">
                  <c:v>0</c:v>
                </c:pt>
                <c:pt idx="3290">
                  <c:v>0</c:v>
                </c:pt>
                <c:pt idx="3291">
                  <c:v>0</c:v>
                </c:pt>
                <c:pt idx="3292">
                  <c:v>0</c:v>
                </c:pt>
                <c:pt idx="3293">
                  <c:v>0</c:v>
                </c:pt>
                <c:pt idx="3294">
                  <c:v>0</c:v>
                </c:pt>
                <c:pt idx="3295">
                  <c:v>0</c:v>
                </c:pt>
                <c:pt idx="3296">
                  <c:v>0</c:v>
                </c:pt>
                <c:pt idx="3297">
                  <c:v>0</c:v>
                </c:pt>
                <c:pt idx="3298">
                  <c:v>0</c:v>
                </c:pt>
                <c:pt idx="3299">
                  <c:v>0</c:v>
                </c:pt>
                <c:pt idx="3300">
                  <c:v>0</c:v>
                </c:pt>
                <c:pt idx="3301">
                  <c:v>0</c:v>
                </c:pt>
                <c:pt idx="3302">
                  <c:v>0</c:v>
                </c:pt>
                <c:pt idx="3303">
                  <c:v>0</c:v>
                </c:pt>
                <c:pt idx="3304">
                  <c:v>0</c:v>
                </c:pt>
                <c:pt idx="3305">
                  <c:v>0</c:v>
                </c:pt>
                <c:pt idx="3306">
                  <c:v>0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0</c:v>
                </c:pt>
                <c:pt idx="3311">
                  <c:v>0</c:v>
                </c:pt>
                <c:pt idx="3312">
                  <c:v>0</c:v>
                </c:pt>
                <c:pt idx="3313">
                  <c:v>0</c:v>
                </c:pt>
                <c:pt idx="3314">
                  <c:v>0</c:v>
                </c:pt>
                <c:pt idx="3315">
                  <c:v>0</c:v>
                </c:pt>
                <c:pt idx="3316">
                  <c:v>0</c:v>
                </c:pt>
                <c:pt idx="3317">
                  <c:v>0</c:v>
                </c:pt>
                <c:pt idx="3318">
                  <c:v>0</c:v>
                </c:pt>
                <c:pt idx="3319">
                  <c:v>0</c:v>
                </c:pt>
                <c:pt idx="3320">
                  <c:v>0</c:v>
                </c:pt>
                <c:pt idx="3321">
                  <c:v>0</c:v>
                </c:pt>
                <c:pt idx="3322">
                  <c:v>0</c:v>
                </c:pt>
                <c:pt idx="3323">
                  <c:v>0</c:v>
                </c:pt>
                <c:pt idx="3324">
                  <c:v>0</c:v>
                </c:pt>
                <c:pt idx="3325">
                  <c:v>0</c:v>
                </c:pt>
                <c:pt idx="3326">
                  <c:v>0</c:v>
                </c:pt>
                <c:pt idx="3327">
                  <c:v>0</c:v>
                </c:pt>
                <c:pt idx="3328">
                  <c:v>0</c:v>
                </c:pt>
                <c:pt idx="3329">
                  <c:v>0</c:v>
                </c:pt>
                <c:pt idx="3330">
                  <c:v>0</c:v>
                </c:pt>
                <c:pt idx="3331">
                  <c:v>0</c:v>
                </c:pt>
                <c:pt idx="3332">
                  <c:v>0</c:v>
                </c:pt>
                <c:pt idx="3333">
                  <c:v>0</c:v>
                </c:pt>
                <c:pt idx="3334">
                  <c:v>0</c:v>
                </c:pt>
                <c:pt idx="3335">
                  <c:v>0</c:v>
                </c:pt>
                <c:pt idx="3336">
                  <c:v>0</c:v>
                </c:pt>
                <c:pt idx="3337">
                  <c:v>0</c:v>
                </c:pt>
                <c:pt idx="3338">
                  <c:v>0</c:v>
                </c:pt>
                <c:pt idx="3339">
                  <c:v>0</c:v>
                </c:pt>
                <c:pt idx="3340">
                  <c:v>0</c:v>
                </c:pt>
                <c:pt idx="3341">
                  <c:v>0</c:v>
                </c:pt>
                <c:pt idx="3342">
                  <c:v>0</c:v>
                </c:pt>
                <c:pt idx="3343">
                  <c:v>0</c:v>
                </c:pt>
                <c:pt idx="3344">
                  <c:v>0</c:v>
                </c:pt>
                <c:pt idx="3345">
                  <c:v>0</c:v>
                </c:pt>
                <c:pt idx="3346">
                  <c:v>0</c:v>
                </c:pt>
                <c:pt idx="3347">
                  <c:v>0</c:v>
                </c:pt>
                <c:pt idx="3348">
                  <c:v>0</c:v>
                </c:pt>
                <c:pt idx="3349">
                  <c:v>0</c:v>
                </c:pt>
                <c:pt idx="3350">
                  <c:v>0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0</c:v>
                </c:pt>
                <c:pt idx="3356">
                  <c:v>0</c:v>
                </c:pt>
                <c:pt idx="3357">
                  <c:v>0</c:v>
                </c:pt>
                <c:pt idx="3358">
                  <c:v>0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0</c:v>
                </c:pt>
                <c:pt idx="3363">
                  <c:v>0</c:v>
                </c:pt>
                <c:pt idx="3364">
                  <c:v>0</c:v>
                </c:pt>
                <c:pt idx="3365">
                  <c:v>0</c:v>
                </c:pt>
                <c:pt idx="3366">
                  <c:v>0</c:v>
                </c:pt>
                <c:pt idx="3367">
                  <c:v>0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0</c:v>
                </c:pt>
                <c:pt idx="3373">
                  <c:v>0</c:v>
                </c:pt>
                <c:pt idx="3374">
                  <c:v>0</c:v>
                </c:pt>
                <c:pt idx="3375">
                  <c:v>0</c:v>
                </c:pt>
                <c:pt idx="3376">
                  <c:v>0</c:v>
                </c:pt>
                <c:pt idx="3377">
                  <c:v>0</c:v>
                </c:pt>
                <c:pt idx="3378">
                  <c:v>0</c:v>
                </c:pt>
                <c:pt idx="3379">
                  <c:v>0</c:v>
                </c:pt>
                <c:pt idx="3380">
                  <c:v>0</c:v>
                </c:pt>
                <c:pt idx="3381">
                  <c:v>0</c:v>
                </c:pt>
                <c:pt idx="3382">
                  <c:v>0</c:v>
                </c:pt>
                <c:pt idx="3383">
                  <c:v>0</c:v>
                </c:pt>
                <c:pt idx="3384">
                  <c:v>0</c:v>
                </c:pt>
                <c:pt idx="3385">
                  <c:v>0</c:v>
                </c:pt>
                <c:pt idx="3386">
                  <c:v>0</c:v>
                </c:pt>
                <c:pt idx="3387">
                  <c:v>0</c:v>
                </c:pt>
                <c:pt idx="3388">
                  <c:v>0</c:v>
                </c:pt>
                <c:pt idx="3389">
                  <c:v>0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0</c:v>
                </c:pt>
                <c:pt idx="3397">
                  <c:v>0</c:v>
                </c:pt>
                <c:pt idx="3398">
                  <c:v>0</c:v>
                </c:pt>
                <c:pt idx="3399">
                  <c:v>0</c:v>
                </c:pt>
                <c:pt idx="3400">
                  <c:v>0</c:v>
                </c:pt>
                <c:pt idx="3401">
                  <c:v>0</c:v>
                </c:pt>
                <c:pt idx="3402">
                  <c:v>0</c:v>
                </c:pt>
                <c:pt idx="3403">
                  <c:v>0</c:v>
                </c:pt>
                <c:pt idx="3404">
                  <c:v>0</c:v>
                </c:pt>
                <c:pt idx="3405">
                  <c:v>0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0</c:v>
                </c:pt>
                <c:pt idx="3411">
                  <c:v>0</c:v>
                </c:pt>
                <c:pt idx="3412">
                  <c:v>0</c:v>
                </c:pt>
                <c:pt idx="3413">
                  <c:v>0</c:v>
                </c:pt>
                <c:pt idx="3414">
                  <c:v>0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0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0</c:v>
                </c:pt>
                <c:pt idx="3427">
                  <c:v>0</c:v>
                </c:pt>
                <c:pt idx="3428">
                  <c:v>0</c:v>
                </c:pt>
                <c:pt idx="3429">
                  <c:v>0</c:v>
                </c:pt>
                <c:pt idx="3430">
                  <c:v>0</c:v>
                </c:pt>
                <c:pt idx="3431">
                  <c:v>0</c:v>
                </c:pt>
                <c:pt idx="3432">
                  <c:v>0</c:v>
                </c:pt>
                <c:pt idx="3433">
                  <c:v>0</c:v>
                </c:pt>
                <c:pt idx="3434">
                  <c:v>0</c:v>
                </c:pt>
                <c:pt idx="3435">
                  <c:v>0</c:v>
                </c:pt>
                <c:pt idx="3436">
                  <c:v>0</c:v>
                </c:pt>
                <c:pt idx="3437">
                  <c:v>0</c:v>
                </c:pt>
                <c:pt idx="3438">
                  <c:v>0</c:v>
                </c:pt>
                <c:pt idx="3439">
                  <c:v>0</c:v>
                </c:pt>
                <c:pt idx="3440">
                  <c:v>0</c:v>
                </c:pt>
                <c:pt idx="3441">
                  <c:v>0</c:v>
                </c:pt>
                <c:pt idx="3442">
                  <c:v>0</c:v>
                </c:pt>
                <c:pt idx="3443">
                  <c:v>0</c:v>
                </c:pt>
                <c:pt idx="3444">
                  <c:v>0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0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0</c:v>
                </c:pt>
                <c:pt idx="3460">
                  <c:v>0</c:v>
                </c:pt>
                <c:pt idx="3461">
                  <c:v>0</c:v>
                </c:pt>
                <c:pt idx="3462">
                  <c:v>0</c:v>
                </c:pt>
                <c:pt idx="3463">
                  <c:v>0</c:v>
                </c:pt>
                <c:pt idx="3464">
                  <c:v>0</c:v>
                </c:pt>
                <c:pt idx="3465">
                  <c:v>0</c:v>
                </c:pt>
                <c:pt idx="3466">
                  <c:v>0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0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0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0</c:v>
                </c:pt>
                <c:pt idx="3753">
                  <c:v>0</c:v>
                </c:pt>
                <c:pt idx="3754">
                  <c:v>0</c:v>
                </c:pt>
                <c:pt idx="3755">
                  <c:v>0</c:v>
                </c:pt>
                <c:pt idx="3756">
                  <c:v>0</c:v>
                </c:pt>
                <c:pt idx="3757">
                  <c:v>0</c:v>
                </c:pt>
                <c:pt idx="3758">
                  <c:v>0</c:v>
                </c:pt>
                <c:pt idx="3759">
                  <c:v>0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0</c:v>
                </c:pt>
                <c:pt idx="3781">
                  <c:v>0</c:v>
                </c:pt>
                <c:pt idx="3782">
                  <c:v>0</c:v>
                </c:pt>
                <c:pt idx="3783">
                  <c:v>0</c:v>
                </c:pt>
                <c:pt idx="3784">
                  <c:v>0</c:v>
                </c:pt>
                <c:pt idx="3785">
                  <c:v>0</c:v>
                </c:pt>
                <c:pt idx="3786">
                  <c:v>0</c:v>
                </c:pt>
                <c:pt idx="3787">
                  <c:v>0</c:v>
                </c:pt>
                <c:pt idx="3788">
                  <c:v>0</c:v>
                </c:pt>
                <c:pt idx="3789">
                  <c:v>0</c:v>
                </c:pt>
                <c:pt idx="3790">
                  <c:v>0</c:v>
                </c:pt>
                <c:pt idx="3791">
                  <c:v>0</c:v>
                </c:pt>
                <c:pt idx="3792">
                  <c:v>0</c:v>
                </c:pt>
                <c:pt idx="3793">
                  <c:v>0</c:v>
                </c:pt>
                <c:pt idx="3794">
                  <c:v>0</c:v>
                </c:pt>
                <c:pt idx="3795">
                  <c:v>0</c:v>
                </c:pt>
                <c:pt idx="3796">
                  <c:v>0</c:v>
                </c:pt>
                <c:pt idx="3797">
                  <c:v>0</c:v>
                </c:pt>
                <c:pt idx="3798">
                  <c:v>0</c:v>
                </c:pt>
                <c:pt idx="3799">
                  <c:v>0</c:v>
                </c:pt>
                <c:pt idx="3800">
                  <c:v>0</c:v>
                </c:pt>
                <c:pt idx="3801">
                  <c:v>0</c:v>
                </c:pt>
                <c:pt idx="3802">
                  <c:v>0</c:v>
                </c:pt>
                <c:pt idx="3803">
                  <c:v>0</c:v>
                </c:pt>
                <c:pt idx="3804">
                  <c:v>0</c:v>
                </c:pt>
                <c:pt idx="3805">
                  <c:v>0</c:v>
                </c:pt>
                <c:pt idx="3806">
                  <c:v>0</c:v>
                </c:pt>
                <c:pt idx="3807">
                  <c:v>0</c:v>
                </c:pt>
                <c:pt idx="3808">
                  <c:v>0</c:v>
                </c:pt>
                <c:pt idx="3809">
                  <c:v>0</c:v>
                </c:pt>
                <c:pt idx="3810">
                  <c:v>0</c:v>
                </c:pt>
                <c:pt idx="3811">
                  <c:v>0</c:v>
                </c:pt>
                <c:pt idx="3812">
                  <c:v>0</c:v>
                </c:pt>
                <c:pt idx="3813">
                  <c:v>0</c:v>
                </c:pt>
                <c:pt idx="3814">
                  <c:v>0</c:v>
                </c:pt>
                <c:pt idx="3815">
                  <c:v>0</c:v>
                </c:pt>
                <c:pt idx="3816">
                  <c:v>0</c:v>
                </c:pt>
                <c:pt idx="3817">
                  <c:v>0</c:v>
                </c:pt>
                <c:pt idx="3818">
                  <c:v>0</c:v>
                </c:pt>
                <c:pt idx="3819">
                  <c:v>0</c:v>
                </c:pt>
                <c:pt idx="3820">
                  <c:v>0</c:v>
                </c:pt>
                <c:pt idx="3821">
                  <c:v>0</c:v>
                </c:pt>
                <c:pt idx="3822">
                  <c:v>0</c:v>
                </c:pt>
                <c:pt idx="3823">
                  <c:v>0</c:v>
                </c:pt>
                <c:pt idx="3824">
                  <c:v>0</c:v>
                </c:pt>
                <c:pt idx="3825">
                  <c:v>0</c:v>
                </c:pt>
                <c:pt idx="3826">
                  <c:v>0</c:v>
                </c:pt>
                <c:pt idx="3827">
                  <c:v>0</c:v>
                </c:pt>
                <c:pt idx="3828">
                  <c:v>0</c:v>
                </c:pt>
                <c:pt idx="3829">
                  <c:v>0</c:v>
                </c:pt>
                <c:pt idx="3830">
                  <c:v>0</c:v>
                </c:pt>
                <c:pt idx="3831">
                  <c:v>0</c:v>
                </c:pt>
                <c:pt idx="3832">
                  <c:v>0</c:v>
                </c:pt>
                <c:pt idx="3833">
                  <c:v>0</c:v>
                </c:pt>
                <c:pt idx="3834">
                  <c:v>0</c:v>
                </c:pt>
                <c:pt idx="3835">
                  <c:v>0</c:v>
                </c:pt>
                <c:pt idx="3836">
                  <c:v>0</c:v>
                </c:pt>
                <c:pt idx="3837">
                  <c:v>0</c:v>
                </c:pt>
                <c:pt idx="3838">
                  <c:v>0</c:v>
                </c:pt>
                <c:pt idx="3839">
                  <c:v>0</c:v>
                </c:pt>
                <c:pt idx="3840">
                  <c:v>0</c:v>
                </c:pt>
                <c:pt idx="3841">
                  <c:v>0</c:v>
                </c:pt>
                <c:pt idx="3842">
                  <c:v>0</c:v>
                </c:pt>
                <c:pt idx="3843">
                  <c:v>0</c:v>
                </c:pt>
                <c:pt idx="3844">
                  <c:v>0</c:v>
                </c:pt>
                <c:pt idx="3845">
                  <c:v>0</c:v>
                </c:pt>
                <c:pt idx="3846">
                  <c:v>0</c:v>
                </c:pt>
                <c:pt idx="3847">
                  <c:v>0</c:v>
                </c:pt>
                <c:pt idx="3848">
                  <c:v>0</c:v>
                </c:pt>
                <c:pt idx="3849">
                  <c:v>0</c:v>
                </c:pt>
                <c:pt idx="3850">
                  <c:v>0</c:v>
                </c:pt>
                <c:pt idx="3851">
                  <c:v>0</c:v>
                </c:pt>
                <c:pt idx="3852">
                  <c:v>0</c:v>
                </c:pt>
                <c:pt idx="3853">
                  <c:v>0</c:v>
                </c:pt>
                <c:pt idx="3854">
                  <c:v>0</c:v>
                </c:pt>
                <c:pt idx="3855">
                  <c:v>0</c:v>
                </c:pt>
                <c:pt idx="3856">
                  <c:v>0</c:v>
                </c:pt>
                <c:pt idx="3857">
                  <c:v>0</c:v>
                </c:pt>
                <c:pt idx="3858">
                  <c:v>0</c:v>
                </c:pt>
                <c:pt idx="3859">
                  <c:v>0</c:v>
                </c:pt>
                <c:pt idx="3860">
                  <c:v>0</c:v>
                </c:pt>
                <c:pt idx="3861">
                  <c:v>0</c:v>
                </c:pt>
                <c:pt idx="3862">
                  <c:v>0</c:v>
                </c:pt>
                <c:pt idx="3863">
                  <c:v>0</c:v>
                </c:pt>
                <c:pt idx="3864">
                  <c:v>0</c:v>
                </c:pt>
                <c:pt idx="3865">
                  <c:v>0</c:v>
                </c:pt>
                <c:pt idx="3866">
                  <c:v>0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0</c:v>
                </c:pt>
                <c:pt idx="3871">
                  <c:v>0</c:v>
                </c:pt>
                <c:pt idx="3872">
                  <c:v>0</c:v>
                </c:pt>
                <c:pt idx="3873">
                  <c:v>0</c:v>
                </c:pt>
                <c:pt idx="3874">
                  <c:v>0</c:v>
                </c:pt>
                <c:pt idx="3875">
                  <c:v>0</c:v>
                </c:pt>
                <c:pt idx="3876">
                  <c:v>0</c:v>
                </c:pt>
                <c:pt idx="3877">
                  <c:v>0</c:v>
                </c:pt>
                <c:pt idx="3878">
                  <c:v>0</c:v>
                </c:pt>
                <c:pt idx="3879">
                  <c:v>0</c:v>
                </c:pt>
                <c:pt idx="3880">
                  <c:v>0</c:v>
                </c:pt>
                <c:pt idx="3881">
                  <c:v>0</c:v>
                </c:pt>
                <c:pt idx="3882">
                  <c:v>0</c:v>
                </c:pt>
                <c:pt idx="3883">
                  <c:v>0</c:v>
                </c:pt>
                <c:pt idx="3884">
                  <c:v>0</c:v>
                </c:pt>
                <c:pt idx="3885">
                  <c:v>0</c:v>
                </c:pt>
                <c:pt idx="3886">
                  <c:v>0</c:v>
                </c:pt>
                <c:pt idx="3887">
                  <c:v>0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0</c:v>
                </c:pt>
                <c:pt idx="3892">
                  <c:v>0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0</c:v>
                </c:pt>
                <c:pt idx="3903">
                  <c:v>0</c:v>
                </c:pt>
                <c:pt idx="3904">
                  <c:v>0</c:v>
                </c:pt>
                <c:pt idx="3905">
                  <c:v>0</c:v>
                </c:pt>
                <c:pt idx="3906">
                  <c:v>0</c:v>
                </c:pt>
                <c:pt idx="3907">
                  <c:v>0</c:v>
                </c:pt>
                <c:pt idx="3908">
                  <c:v>0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0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0</c:v>
                </c:pt>
                <c:pt idx="3918">
                  <c:v>0</c:v>
                </c:pt>
                <c:pt idx="3919">
                  <c:v>0</c:v>
                </c:pt>
                <c:pt idx="3920">
                  <c:v>0</c:v>
                </c:pt>
                <c:pt idx="3921">
                  <c:v>0</c:v>
                </c:pt>
                <c:pt idx="3922">
                  <c:v>0</c:v>
                </c:pt>
                <c:pt idx="3923">
                  <c:v>0</c:v>
                </c:pt>
                <c:pt idx="3924">
                  <c:v>0</c:v>
                </c:pt>
                <c:pt idx="3925">
                  <c:v>0</c:v>
                </c:pt>
                <c:pt idx="3926">
                  <c:v>0</c:v>
                </c:pt>
                <c:pt idx="3927">
                  <c:v>0</c:v>
                </c:pt>
                <c:pt idx="3928">
                  <c:v>0</c:v>
                </c:pt>
                <c:pt idx="3929">
                  <c:v>0</c:v>
                </c:pt>
                <c:pt idx="3930">
                  <c:v>0</c:v>
                </c:pt>
                <c:pt idx="3931">
                  <c:v>0</c:v>
                </c:pt>
                <c:pt idx="3932">
                  <c:v>0</c:v>
                </c:pt>
                <c:pt idx="3933">
                  <c:v>0</c:v>
                </c:pt>
                <c:pt idx="3934">
                  <c:v>0</c:v>
                </c:pt>
                <c:pt idx="3935">
                  <c:v>0</c:v>
                </c:pt>
                <c:pt idx="3936">
                  <c:v>0</c:v>
                </c:pt>
                <c:pt idx="3937">
                  <c:v>0</c:v>
                </c:pt>
                <c:pt idx="3938">
                  <c:v>0</c:v>
                </c:pt>
                <c:pt idx="3939">
                  <c:v>0</c:v>
                </c:pt>
                <c:pt idx="3940">
                  <c:v>0</c:v>
                </c:pt>
                <c:pt idx="3941">
                  <c:v>0</c:v>
                </c:pt>
                <c:pt idx="3942">
                  <c:v>0</c:v>
                </c:pt>
                <c:pt idx="3943">
                  <c:v>0</c:v>
                </c:pt>
                <c:pt idx="3944">
                  <c:v>0</c:v>
                </c:pt>
                <c:pt idx="3945">
                  <c:v>0</c:v>
                </c:pt>
                <c:pt idx="3946">
                  <c:v>0</c:v>
                </c:pt>
                <c:pt idx="3947">
                  <c:v>0</c:v>
                </c:pt>
                <c:pt idx="3948">
                  <c:v>0</c:v>
                </c:pt>
                <c:pt idx="3949">
                  <c:v>0</c:v>
                </c:pt>
                <c:pt idx="3950">
                  <c:v>0</c:v>
                </c:pt>
                <c:pt idx="3951">
                  <c:v>0</c:v>
                </c:pt>
                <c:pt idx="3952">
                  <c:v>0</c:v>
                </c:pt>
                <c:pt idx="3953">
                  <c:v>0</c:v>
                </c:pt>
                <c:pt idx="3954">
                  <c:v>0</c:v>
                </c:pt>
                <c:pt idx="3955">
                  <c:v>0</c:v>
                </c:pt>
                <c:pt idx="3956">
                  <c:v>0</c:v>
                </c:pt>
                <c:pt idx="3957">
                  <c:v>0</c:v>
                </c:pt>
                <c:pt idx="3958">
                  <c:v>0</c:v>
                </c:pt>
                <c:pt idx="3959">
                  <c:v>0</c:v>
                </c:pt>
                <c:pt idx="3960">
                  <c:v>0</c:v>
                </c:pt>
                <c:pt idx="3961">
                  <c:v>0</c:v>
                </c:pt>
                <c:pt idx="3962">
                  <c:v>0</c:v>
                </c:pt>
                <c:pt idx="3963">
                  <c:v>0</c:v>
                </c:pt>
                <c:pt idx="3964">
                  <c:v>0</c:v>
                </c:pt>
                <c:pt idx="3965">
                  <c:v>0</c:v>
                </c:pt>
                <c:pt idx="3966">
                  <c:v>0</c:v>
                </c:pt>
                <c:pt idx="3967">
                  <c:v>0</c:v>
                </c:pt>
                <c:pt idx="3968">
                  <c:v>0</c:v>
                </c:pt>
                <c:pt idx="3969">
                  <c:v>0</c:v>
                </c:pt>
                <c:pt idx="3970">
                  <c:v>0</c:v>
                </c:pt>
                <c:pt idx="3971">
                  <c:v>0</c:v>
                </c:pt>
                <c:pt idx="3972">
                  <c:v>0</c:v>
                </c:pt>
                <c:pt idx="3973">
                  <c:v>0</c:v>
                </c:pt>
                <c:pt idx="3974">
                  <c:v>0</c:v>
                </c:pt>
                <c:pt idx="3975">
                  <c:v>0</c:v>
                </c:pt>
                <c:pt idx="3976">
                  <c:v>0</c:v>
                </c:pt>
                <c:pt idx="3977">
                  <c:v>0</c:v>
                </c:pt>
                <c:pt idx="3978">
                  <c:v>0</c:v>
                </c:pt>
                <c:pt idx="3979">
                  <c:v>0</c:v>
                </c:pt>
                <c:pt idx="3980">
                  <c:v>0</c:v>
                </c:pt>
                <c:pt idx="3981">
                  <c:v>0</c:v>
                </c:pt>
                <c:pt idx="3982">
                  <c:v>0</c:v>
                </c:pt>
                <c:pt idx="3983">
                  <c:v>0</c:v>
                </c:pt>
                <c:pt idx="3984">
                  <c:v>0</c:v>
                </c:pt>
                <c:pt idx="3985">
                  <c:v>0</c:v>
                </c:pt>
                <c:pt idx="3986">
                  <c:v>0</c:v>
                </c:pt>
                <c:pt idx="3987">
                  <c:v>0</c:v>
                </c:pt>
                <c:pt idx="3988">
                  <c:v>0</c:v>
                </c:pt>
                <c:pt idx="3989">
                  <c:v>0</c:v>
                </c:pt>
                <c:pt idx="3990">
                  <c:v>0</c:v>
                </c:pt>
                <c:pt idx="3991">
                  <c:v>0</c:v>
                </c:pt>
                <c:pt idx="3992">
                  <c:v>0</c:v>
                </c:pt>
                <c:pt idx="3993">
                  <c:v>0</c:v>
                </c:pt>
                <c:pt idx="3994">
                  <c:v>0</c:v>
                </c:pt>
                <c:pt idx="3995">
                  <c:v>0</c:v>
                </c:pt>
                <c:pt idx="3996">
                  <c:v>0</c:v>
                </c:pt>
                <c:pt idx="3997">
                  <c:v>0</c:v>
                </c:pt>
                <c:pt idx="3998">
                  <c:v>0</c:v>
                </c:pt>
                <c:pt idx="3999">
                  <c:v>0</c:v>
                </c:pt>
                <c:pt idx="4000">
                  <c:v>0</c:v>
                </c:pt>
                <c:pt idx="4001">
                  <c:v>0</c:v>
                </c:pt>
                <c:pt idx="4002">
                  <c:v>0</c:v>
                </c:pt>
                <c:pt idx="4003">
                  <c:v>0</c:v>
                </c:pt>
                <c:pt idx="4004">
                  <c:v>0</c:v>
                </c:pt>
                <c:pt idx="4005">
                  <c:v>0</c:v>
                </c:pt>
                <c:pt idx="4006">
                  <c:v>0</c:v>
                </c:pt>
                <c:pt idx="4007">
                  <c:v>0</c:v>
                </c:pt>
                <c:pt idx="4008">
                  <c:v>0</c:v>
                </c:pt>
                <c:pt idx="4009">
                  <c:v>0</c:v>
                </c:pt>
                <c:pt idx="4010">
                  <c:v>0</c:v>
                </c:pt>
                <c:pt idx="4011">
                  <c:v>0</c:v>
                </c:pt>
                <c:pt idx="4012">
                  <c:v>0</c:v>
                </c:pt>
                <c:pt idx="4013">
                  <c:v>0</c:v>
                </c:pt>
                <c:pt idx="4014">
                  <c:v>0</c:v>
                </c:pt>
                <c:pt idx="4015">
                  <c:v>0</c:v>
                </c:pt>
                <c:pt idx="4016">
                  <c:v>0</c:v>
                </c:pt>
                <c:pt idx="4017">
                  <c:v>0</c:v>
                </c:pt>
                <c:pt idx="4018">
                  <c:v>0</c:v>
                </c:pt>
                <c:pt idx="4019">
                  <c:v>0</c:v>
                </c:pt>
                <c:pt idx="4020">
                  <c:v>0</c:v>
                </c:pt>
                <c:pt idx="4021">
                  <c:v>0</c:v>
                </c:pt>
                <c:pt idx="4022">
                  <c:v>0</c:v>
                </c:pt>
                <c:pt idx="4023">
                  <c:v>0</c:v>
                </c:pt>
                <c:pt idx="4024">
                  <c:v>0</c:v>
                </c:pt>
                <c:pt idx="4025">
                  <c:v>0</c:v>
                </c:pt>
                <c:pt idx="4026">
                  <c:v>0</c:v>
                </c:pt>
                <c:pt idx="4027">
                  <c:v>0</c:v>
                </c:pt>
                <c:pt idx="4028">
                  <c:v>0</c:v>
                </c:pt>
                <c:pt idx="4029">
                  <c:v>0</c:v>
                </c:pt>
                <c:pt idx="4030">
                  <c:v>0</c:v>
                </c:pt>
                <c:pt idx="4031">
                  <c:v>0</c:v>
                </c:pt>
                <c:pt idx="4032">
                  <c:v>0</c:v>
                </c:pt>
                <c:pt idx="4033">
                  <c:v>0</c:v>
                </c:pt>
                <c:pt idx="4034">
                  <c:v>0</c:v>
                </c:pt>
                <c:pt idx="4035">
                  <c:v>0</c:v>
                </c:pt>
                <c:pt idx="4036">
                  <c:v>0</c:v>
                </c:pt>
                <c:pt idx="4037">
                  <c:v>0</c:v>
                </c:pt>
                <c:pt idx="4038">
                  <c:v>0</c:v>
                </c:pt>
                <c:pt idx="4039">
                  <c:v>0</c:v>
                </c:pt>
                <c:pt idx="4040">
                  <c:v>0</c:v>
                </c:pt>
                <c:pt idx="4041">
                  <c:v>0</c:v>
                </c:pt>
                <c:pt idx="4042">
                  <c:v>0</c:v>
                </c:pt>
                <c:pt idx="4043">
                  <c:v>0</c:v>
                </c:pt>
                <c:pt idx="4044">
                  <c:v>0</c:v>
                </c:pt>
                <c:pt idx="4045">
                  <c:v>0</c:v>
                </c:pt>
                <c:pt idx="4046">
                  <c:v>0</c:v>
                </c:pt>
                <c:pt idx="4047">
                  <c:v>0</c:v>
                </c:pt>
                <c:pt idx="4048">
                  <c:v>0</c:v>
                </c:pt>
                <c:pt idx="4049">
                  <c:v>0</c:v>
                </c:pt>
                <c:pt idx="4050">
                  <c:v>0</c:v>
                </c:pt>
                <c:pt idx="4051">
                  <c:v>0</c:v>
                </c:pt>
                <c:pt idx="4052">
                  <c:v>0</c:v>
                </c:pt>
                <c:pt idx="4053">
                  <c:v>0</c:v>
                </c:pt>
                <c:pt idx="4054">
                  <c:v>0</c:v>
                </c:pt>
                <c:pt idx="4055">
                  <c:v>0</c:v>
                </c:pt>
                <c:pt idx="4056">
                  <c:v>0</c:v>
                </c:pt>
                <c:pt idx="4057">
                  <c:v>0</c:v>
                </c:pt>
                <c:pt idx="4058">
                  <c:v>0</c:v>
                </c:pt>
                <c:pt idx="4059">
                  <c:v>0</c:v>
                </c:pt>
                <c:pt idx="4060">
                  <c:v>0</c:v>
                </c:pt>
                <c:pt idx="4061">
                  <c:v>0</c:v>
                </c:pt>
                <c:pt idx="4062">
                  <c:v>0</c:v>
                </c:pt>
                <c:pt idx="4063">
                  <c:v>0</c:v>
                </c:pt>
                <c:pt idx="4064">
                  <c:v>0</c:v>
                </c:pt>
                <c:pt idx="4065">
                  <c:v>0</c:v>
                </c:pt>
                <c:pt idx="4066">
                  <c:v>0</c:v>
                </c:pt>
                <c:pt idx="4067">
                  <c:v>0</c:v>
                </c:pt>
                <c:pt idx="4068">
                  <c:v>0</c:v>
                </c:pt>
                <c:pt idx="4069">
                  <c:v>0</c:v>
                </c:pt>
                <c:pt idx="4070">
                  <c:v>0</c:v>
                </c:pt>
                <c:pt idx="4071">
                  <c:v>0</c:v>
                </c:pt>
                <c:pt idx="4072">
                  <c:v>0</c:v>
                </c:pt>
                <c:pt idx="4073">
                  <c:v>0</c:v>
                </c:pt>
                <c:pt idx="4074">
                  <c:v>0</c:v>
                </c:pt>
                <c:pt idx="4075">
                  <c:v>0</c:v>
                </c:pt>
                <c:pt idx="4076">
                  <c:v>0</c:v>
                </c:pt>
                <c:pt idx="4077">
                  <c:v>0</c:v>
                </c:pt>
                <c:pt idx="4078">
                  <c:v>0</c:v>
                </c:pt>
                <c:pt idx="4079">
                  <c:v>0</c:v>
                </c:pt>
                <c:pt idx="4080">
                  <c:v>0</c:v>
                </c:pt>
                <c:pt idx="4081">
                  <c:v>0</c:v>
                </c:pt>
                <c:pt idx="4082">
                  <c:v>0</c:v>
                </c:pt>
                <c:pt idx="4083">
                  <c:v>0</c:v>
                </c:pt>
                <c:pt idx="4084">
                  <c:v>0</c:v>
                </c:pt>
                <c:pt idx="4085">
                  <c:v>0</c:v>
                </c:pt>
                <c:pt idx="4086">
                  <c:v>0</c:v>
                </c:pt>
                <c:pt idx="4087">
                  <c:v>0</c:v>
                </c:pt>
                <c:pt idx="4088">
                  <c:v>0</c:v>
                </c:pt>
                <c:pt idx="4089">
                  <c:v>0</c:v>
                </c:pt>
                <c:pt idx="4090">
                  <c:v>0</c:v>
                </c:pt>
                <c:pt idx="4091">
                  <c:v>0</c:v>
                </c:pt>
                <c:pt idx="4092">
                  <c:v>0</c:v>
                </c:pt>
                <c:pt idx="4093">
                  <c:v>0</c:v>
                </c:pt>
                <c:pt idx="4094">
                  <c:v>0</c:v>
                </c:pt>
                <c:pt idx="4095">
                  <c:v>0</c:v>
                </c:pt>
                <c:pt idx="4096">
                  <c:v>0</c:v>
                </c:pt>
                <c:pt idx="4097">
                  <c:v>0</c:v>
                </c:pt>
                <c:pt idx="4098">
                  <c:v>0</c:v>
                </c:pt>
                <c:pt idx="4099">
                  <c:v>0</c:v>
                </c:pt>
                <c:pt idx="4100">
                  <c:v>0</c:v>
                </c:pt>
                <c:pt idx="4101">
                  <c:v>0</c:v>
                </c:pt>
                <c:pt idx="4102">
                  <c:v>0</c:v>
                </c:pt>
                <c:pt idx="4103">
                  <c:v>0</c:v>
                </c:pt>
                <c:pt idx="4104">
                  <c:v>0</c:v>
                </c:pt>
                <c:pt idx="4105">
                  <c:v>0</c:v>
                </c:pt>
                <c:pt idx="4106">
                  <c:v>0</c:v>
                </c:pt>
                <c:pt idx="4107">
                  <c:v>0</c:v>
                </c:pt>
                <c:pt idx="4108">
                  <c:v>0</c:v>
                </c:pt>
                <c:pt idx="4109">
                  <c:v>0</c:v>
                </c:pt>
                <c:pt idx="4110">
                  <c:v>0</c:v>
                </c:pt>
                <c:pt idx="4111">
                  <c:v>0</c:v>
                </c:pt>
                <c:pt idx="4112">
                  <c:v>0</c:v>
                </c:pt>
                <c:pt idx="4113">
                  <c:v>0</c:v>
                </c:pt>
                <c:pt idx="4114">
                  <c:v>0</c:v>
                </c:pt>
                <c:pt idx="4115">
                  <c:v>0</c:v>
                </c:pt>
                <c:pt idx="4116">
                  <c:v>0</c:v>
                </c:pt>
                <c:pt idx="4117">
                  <c:v>0</c:v>
                </c:pt>
                <c:pt idx="4118">
                  <c:v>0</c:v>
                </c:pt>
                <c:pt idx="4119">
                  <c:v>0</c:v>
                </c:pt>
                <c:pt idx="4120">
                  <c:v>0</c:v>
                </c:pt>
                <c:pt idx="4121">
                  <c:v>0</c:v>
                </c:pt>
                <c:pt idx="4122">
                  <c:v>0</c:v>
                </c:pt>
                <c:pt idx="4123">
                  <c:v>0</c:v>
                </c:pt>
                <c:pt idx="4124">
                  <c:v>0</c:v>
                </c:pt>
                <c:pt idx="4125">
                  <c:v>0</c:v>
                </c:pt>
                <c:pt idx="4126">
                  <c:v>0</c:v>
                </c:pt>
                <c:pt idx="4127">
                  <c:v>0</c:v>
                </c:pt>
                <c:pt idx="4128">
                  <c:v>0</c:v>
                </c:pt>
                <c:pt idx="4129">
                  <c:v>0</c:v>
                </c:pt>
                <c:pt idx="4130">
                  <c:v>0</c:v>
                </c:pt>
                <c:pt idx="4131">
                  <c:v>0</c:v>
                </c:pt>
                <c:pt idx="4132">
                  <c:v>0</c:v>
                </c:pt>
                <c:pt idx="4133">
                  <c:v>0</c:v>
                </c:pt>
                <c:pt idx="4134">
                  <c:v>0</c:v>
                </c:pt>
                <c:pt idx="4135">
                  <c:v>0</c:v>
                </c:pt>
                <c:pt idx="4136">
                  <c:v>0</c:v>
                </c:pt>
                <c:pt idx="4137">
                  <c:v>0</c:v>
                </c:pt>
                <c:pt idx="4138">
                  <c:v>0</c:v>
                </c:pt>
                <c:pt idx="4139">
                  <c:v>0</c:v>
                </c:pt>
                <c:pt idx="4140">
                  <c:v>0</c:v>
                </c:pt>
                <c:pt idx="4141">
                  <c:v>0</c:v>
                </c:pt>
                <c:pt idx="4142">
                  <c:v>0</c:v>
                </c:pt>
                <c:pt idx="4143">
                  <c:v>0</c:v>
                </c:pt>
                <c:pt idx="4144">
                  <c:v>0</c:v>
                </c:pt>
                <c:pt idx="4145">
                  <c:v>0</c:v>
                </c:pt>
                <c:pt idx="4146">
                  <c:v>0</c:v>
                </c:pt>
                <c:pt idx="4147">
                  <c:v>0</c:v>
                </c:pt>
                <c:pt idx="4148">
                  <c:v>0</c:v>
                </c:pt>
                <c:pt idx="4149">
                  <c:v>0</c:v>
                </c:pt>
                <c:pt idx="4150">
                  <c:v>0</c:v>
                </c:pt>
                <c:pt idx="4151">
                  <c:v>0</c:v>
                </c:pt>
                <c:pt idx="4152">
                  <c:v>0</c:v>
                </c:pt>
                <c:pt idx="4153">
                  <c:v>0</c:v>
                </c:pt>
                <c:pt idx="4154">
                  <c:v>0</c:v>
                </c:pt>
                <c:pt idx="4155">
                  <c:v>0</c:v>
                </c:pt>
                <c:pt idx="4156">
                  <c:v>0</c:v>
                </c:pt>
                <c:pt idx="4157">
                  <c:v>0</c:v>
                </c:pt>
                <c:pt idx="4158">
                  <c:v>0</c:v>
                </c:pt>
                <c:pt idx="4159">
                  <c:v>0</c:v>
                </c:pt>
                <c:pt idx="4160">
                  <c:v>0</c:v>
                </c:pt>
                <c:pt idx="4161">
                  <c:v>0</c:v>
                </c:pt>
                <c:pt idx="4162">
                  <c:v>0</c:v>
                </c:pt>
                <c:pt idx="4163">
                  <c:v>0</c:v>
                </c:pt>
                <c:pt idx="4164">
                  <c:v>0</c:v>
                </c:pt>
                <c:pt idx="4165">
                  <c:v>0</c:v>
                </c:pt>
                <c:pt idx="4166">
                  <c:v>0</c:v>
                </c:pt>
                <c:pt idx="4167">
                  <c:v>0</c:v>
                </c:pt>
                <c:pt idx="4168">
                  <c:v>0</c:v>
                </c:pt>
                <c:pt idx="4169">
                  <c:v>0</c:v>
                </c:pt>
                <c:pt idx="4170">
                  <c:v>0</c:v>
                </c:pt>
                <c:pt idx="4171">
                  <c:v>0</c:v>
                </c:pt>
                <c:pt idx="4172">
                  <c:v>0</c:v>
                </c:pt>
                <c:pt idx="4173">
                  <c:v>0</c:v>
                </c:pt>
                <c:pt idx="4174">
                  <c:v>0</c:v>
                </c:pt>
                <c:pt idx="4175">
                  <c:v>0</c:v>
                </c:pt>
                <c:pt idx="4176">
                  <c:v>0</c:v>
                </c:pt>
                <c:pt idx="4177">
                  <c:v>0</c:v>
                </c:pt>
                <c:pt idx="4178">
                  <c:v>0</c:v>
                </c:pt>
                <c:pt idx="4179">
                  <c:v>0</c:v>
                </c:pt>
                <c:pt idx="4180">
                  <c:v>0</c:v>
                </c:pt>
                <c:pt idx="4181">
                  <c:v>0</c:v>
                </c:pt>
                <c:pt idx="4182">
                  <c:v>0</c:v>
                </c:pt>
                <c:pt idx="4183">
                  <c:v>0</c:v>
                </c:pt>
                <c:pt idx="4184">
                  <c:v>0</c:v>
                </c:pt>
                <c:pt idx="4185">
                  <c:v>0</c:v>
                </c:pt>
                <c:pt idx="4186">
                  <c:v>0</c:v>
                </c:pt>
                <c:pt idx="4187">
                  <c:v>0</c:v>
                </c:pt>
                <c:pt idx="4188">
                  <c:v>0</c:v>
                </c:pt>
                <c:pt idx="4189">
                  <c:v>0</c:v>
                </c:pt>
                <c:pt idx="4190">
                  <c:v>0</c:v>
                </c:pt>
                <c:pt idx="4191">
                  <c:v>0</c:v>
                </c:pt>
                <c:pt idx="4192">
                  <c:v>0</c:v>
                </c:pt>
                <c:pt idx="4193">
                  <c:v>0</c:v>
                </c:pt>
                <c:pt idx="4194">
                  <c:v>0</c:v>
                </c:pt>
                <c:pt idx="4195">
                  <c:v>0</c:v>
                </c:pt>
                <c:pt idx="4196">
                  <c:v>0</c:v>
                </c:pt>
                <c:pt idx="4197">
                  <c:v>0</c:v>
                </c:pt>
                <c:pt idx="4198">
                  <c:v>0</c:v>
                </c:pt>
                <c:pt idx="4199">
                  <c:v>0</c:v>
                </c:pt>
                <c:pt idx="4200">
                  <c:v>0</c:v>
                </c:pt>
                <c:pt idx="4201">
                  <c:v>0</c:v>
                </c:pt>
                <c:pt idx="4202">
                  <c:v>0</c:v>
                </c:pt>
                <c:pt idx="4203">
                  <c:v>0</c:v>
                </c:pt>
                <c:pt idx="4204">
                  <c:v>0</c:v>
                </c:pt>
                <c:pt idx="4205">
                  <c:v>0</c:v>
                </c:pt>
                <c:pt idx="4206">
                  <c:v>0</c:v>
                </c:pt>
                <c:pt idx="4207">
                  <c:v>0</c:v>
                </c:pt>
                <c:pt idx="4208">
                  <c:v>0</c:v>
                </c:pt>
                <c:pt idx="4209">
                  <c:v>0</c:v>
                </c:pt>
                <c:pt idx="4210">
                  <c:v>0</c:v>
                </c:pt>
                <c:pt idx="4211">
                  <c:v>0</c:v>
                </c:pt>
                <c:pt idx="4212">
                  <c:v>0</c:v>
                </c:pt>
                <c:pt idx="4213">
                  <c:v>0</c:v>
                </c:pt>
                <c:pt idx="4214">
                  <c:v>0</c:v>
                </c:pt>
                <c:pt idx="4215">
                  <c:v>0</c:v>
                </c:pt>
                <c:pt idx="4216">
                  <c:v>0</c:v>
                </c:pt>
                <c:pt idx="4217">
                  <c:v>0</c:v>
                </c:pt>
                <c:pt idx="4218">
                  <c:v>0</c:v>
                </c:pt>
                <c:pt idx="4219">
                  <c:v>0</c:v>
                </c:pt>
                <c:pt idx="4220">
                  <c:v>0</c:v>
                </c:pt>
                <c:pt idx="4221">
                  <c:v>0</c:v>
                </c:pt>
                <c:pt idx="4222">
                  <c:v>0</c:v>
                </c:pt>
                <c:pt idx="4223">
                  <c:v>0</c:v>
                </c:pt>
                <c:pt idx="4224">
                  <c:v>0</c:v>
                </c:pt>
                <c:pt idx="4225">
                  <c:v>0</c:v>
                </c:pt>
                <c:pt idx="4226">
                  <c:v>0</c:v>
                </c:pt>
                <c:pt idx="4227">
                  <c:v>0</c:v>
                </c:pt>
                <c:pt idx="4228">
                  <c:v>0</c:v>
                </c:pt>
                <c:pt idx="4229">
                  <c:v>0</c:v>
                </c:pt>
                <c:pt idx="4230">
                  <c:v>0</c:v>
                </c:pt>
                <c:pt idx="4231">
                  <c:v>0</c:v>
                </c:pt>
                <c:pt idx="4232">
                  <c:v>0</c:v>
                </c:pt>
                <c:pt idx="4233">
                  <c:v>0</c:v>
                </c:pt>
                <c:pt idx="4234">
                  <c:v>0</c:v>
                </c:pt>
                <c:pt idx="4235">
                  <c:v>0</c:v>
                </c:pt>
                <c:pt idx="4236">
                  <c:v>0</c:v>
                </c:pt>
                <c:pt idx="4237">
                  <c:v>0</c:v>
                </c:pt>
                <c:pt idx="4238">
                  <c:v>0</c:v>
                </c:pt>
                <c:pt idx="4239">
                  <c:v>0</c:v>
                </c:pt>
                <c:pt idx="4240">
                  <c:v>0</c:v>
                </c:pt>
                <c:pt idx="4241">
                  <c:v>0</c:v>
                </c:pt>
                <c:pt idx="4242">
                  <c:v>0</c:v>
                </c:pt>
                <c:pt idx="4243">
                  <c:v>0</c:v>
                </c:pt>
                <c:pt idx="4244">
                  <c:v>0</c:v>
                </c:pt>
                <c:pt idx="4245">
                  <c:v>0</c:v>
                </c:pt>
                <c:pt idx="4246">
                  <c:v>0</c:v>
                </c:pt>
                <c:pt idx="4247">
                  <c:v>0</c:v>
                </c:pt>
                <c:pt idx="4248">
                  <c:v>0</c:v>
                </c:pt>
                <c:pt idx="4249">
                  <c:v>0</c:v>
                </c:pt>
                <c:pt idx="4250">
                  <c:v>0</c:v>
                </c:pt>
                <c:pt idx="4251">
                  <c:v>0</c:v>
                </c:pt>
                <c:pt idx="4252">
                  <c:v>0</c:v>
                </c:pt>
                <c:pt idx="4253">
                  <c:v>0</c:v>
                </c:pt>
                <c:pt idx="4254">
                  <c:v>0</c:v>
                </c:pt>
                <c:pt idx="4255">
                  <c:v>0</c:v>
                </c:pt>
                <c:pt idx="4256">
                  <c:v>0</c:v>
                </c:pt>
                <c:pt idx="4257">
                  <c:v>0</c:v>
                </c:pt>
                <c:pt idx="4258">
                  <c:v>0</c:v>
                </c:pt>
                <c:pt idx="4259">
                  <c:v>0</c:v>
                </c:pt>
                <c:pt idx="4260">
                  <c:v>0</c:v>
                </c:pt>
                <c:pt idx="4261">
                  <c:v>0</c:v>
                </c:pt>
                <c:pt idx="4262">
                  <c:v>0</c:v>
                </c:pt>
                <c:pt idx="4263">
                  <c:v>0</c:v>
                </c:pt>
                <c:pt idx="4264">
                  <c:v>0</c:v>
                </c:pt>
                <c:pt idx="4265">
                  <c:v>0</c:v>
                </c:pt>
                <c:pt idx="4266">
                  <c:v>0</c:v>
                </c:pt>
                <c:pt idx="4267">
                  <c:v>0</c:v>
                </c:pt>
                <c:pt idx="4268">
                  <c:v>0</c:v>
                </c:pt>
                <c:pt idx="4269">
                  <c:v>0</c:v>
                </c:pt>
                <c:pt idx="4270">
                  <c:v>0</c:v>
                </c:pt>
                <c:pt idx="4271">
                  <c:v>0</c:v>
                </c:pt>
                <c:pt idx="4272">
                  <c:v>0</c:v>
                </c:pt>
                <c:pt idx="4273">
                  <c:v>0</c:v>
                </c:pt>
                <c:pt idx="4274">
                  <c:v>0</c:v>
                </c:pt>
                <c:pt idx="4275">
                  <c:v>0</c:v>
                </c:pt>
                <c:pt idx="4276">
                  <c:v>0</c:v>
                </c:pt>
                <c:pt idx="4277">
                  <c:v>0</c:v>
                </c:pt>
                <c:pt idx="4278">
                  <c:v>0</c:v>
                </c:pt>
                <c:pt idx="4279">
                  <c:v>0</c:v>
                </c:pt>
                <c:pt idx="4280">
                  <c:v>0</c:v>
                </c:pt>
                <c:pt idx="4281">
                  <c:v>0</c:v>
                </c:pt>
                <c:pt idx="4282">
                  <c:v>0</c:v>
                </c:pt>
                <c:pt idx="4283">
                  <c:v>0</c:v>
                </c:pt>
                <c:pt idx="4284">
                  <c:v>0</c:v>
                </c:pt>
                <c:pt idx="4285">
                  <c:v>0</c:v>
                </c:pt>
                <c:pt idx="4286">
                  <c:v>0</c:v>
                </c:pt>
                <c:pt idx="4287">
                  <c:v>0</c:v>
                </c:pt>
                <c:pt idx="4288">
                  <c:v>0</c:v>
                </c:pt>
                <c:pt idx="4289">
                  <c:v>0</c:v>
                </c:pt>
                <c:pt idx="4290">
                  <c:v>0</c:v>
                </c:pt>
                <c:pt idx="4291">
                  <c:v>0</c:v>
                </c:pt>
                <c:pt idx="4292">
                  <c:v>0</c:v>
                </c:pt>
                <c:pt idx="4293">
                  <c:v>0</c:v>
                </c:pt>
                <c:pt idx="4294">
                  <c:v>0</c:v>
                </c:pt>
                <c:pt idx="4295">
                  <c:v>0</c:v>
                </c:pt>
                <c:pt idx="4296">
                  <c:v>0</c:v>
                </c:pt>
                <c:pt idx="4297">
                  <c:v>0</c:v>
                </c:pt>
                <c:pt idx="4298">
                  <c:v>0</c:v>
                </c:pt>
                <c:pt idx="4299">
                  <c:v>0</c:v>
                </c:pt>
                <c:pt idx="4300">
                  <c:v>0</c:v>
                </c:pt>
                <c:pt idx="4301">
                  <c:v>0</c:v>
                </c:pt>
                <c:pt idx="4302">
                  <c:v>0</c:v>
                </c:pt>
                <c:pt idx="4303">
                  <c:v>0</c:v>
                </c:pt>
                <c:pt idx="4304">
                  <c:v>0</c:v>
                </c:pt>
                <c:pt idx="4305">
                  <c:v>0</c:v>
                </c:pt>
                <c:pt idx="4306">
                  <c:v>0</c:v>
                </c:pt>
                <c:pt idx="4307">
                  <c:v>0</c:v>
                </c:pt>
                <c:pt idx="4308">
                  <c:v>0</c:v>
                </c:pt>
                <c:pt idx="4309">
                  <c:v>0</c:v>
                </c:pt>
                <c:pt idx="4310">
                  <c:v>0</c:v>
                </c:pt>
                <c:pt idx="4311">
                  <c:v>0</c:v>
                </c:pt>
                <c:pt idx="4312">
                  <c:v>0</c:v>
                </c:pt>
                <c:pt idx="4313">
                  <c:v>0</c:v>
                </c:pt>
                <c:pt idx="4314">
                  <c:v>0</c:v>
                </c:pt>
                <c:pt idx="4315">
                  <c:v>0</c:v>
                </c:pt>
                <c:pt idx="4316">
                  <c:v>0</c:v>
                </c:pt>
                <c:pt idx="4317">
                  <c:v>0</c:v>
                </c:pt>
                <c:pt idx="4318">
                  <c:v>0</c:v>
                </c:pt>
                <c:pt idx="4319">
                  <c:v>0</c:v>
                </c:pt>
                <c:pt idx="4320">
                  <c:v>0</c:v>
                </c:pt>
                <c:pt idx="4321">
                  <c:v>0</c:v>
                </c:pt>
                <c:pt idx="4322">
                  <c:v>0</c:v>
                </c:pt>
                <c:pt idx="4323">
                  <c:v>0</c:v>
                </c:pt>
                <c:pt idx="4324">
                  <c:v>0</c:v>
                </c:pt>
                <c:pt idx="4325">
                  <c:v>0</c:v>
                </c:pt>
                <c:pt idx="4326">
                  <c:v>0</c:v>
                </c:pt>
                <c:pt idx="4327">
                  <c:v>0</c:v>
                </c:pt>
                <c:pt idx="4328">
                  <c:v>0</c:v>
                </c:pt>
                <c:pt idx="4329">
                  <c:v>0</c:v>
                </c:pt>
                <c:pt idx="4330">
                  <c:v>0</c:v>
                </c:pt>
                <c:pt idx="4331">
                  <c:v>0</c:v>
                </c:pt>
                <c:pt idx="4332">
                  <c:v>0</c:v>
                </c:pt>
                <c:pt idx="4333">
                  <c:v>0</c:v>
                </c:pt>
                <c:pt idx="4334">
                  <c:v>0</c:v>
                </c:pt>
                <c:pt idx="4335">
                  <c:v>0</c:v>
                </c:pt>
                <c:pt idx="4336">
                  <c:v>0</c:v>
                </c:pt>
                <c:pt idx="4337">
                  <c:v>0</c:v>
                </c:pt>
                <c:pt idx="4338">
                  <c:v>0</c:v>
                </c:pt>
                <c:pt idx="4339">
                  <c:v>0</c:v>
                </c:pt>
                <c:pt idx="4340">
                  <c:v>0</c:v>
                </c:pt>
                <c:pt idx="4341">
                  <c:v>0</c:v>
                </c:pt>
                <c:pt idx="4342">
                  <c:v>0</c:v>
                </c:pt>
                <c:pt idx="4343">
                  <c:v>0</c:v>
                </c:pt>
                <c:pt idx="4344">
                  <c:v>0</c:v>
                </c:pt>
                <c:pt idx="4345">
                  <c:v>0</c:v>
                </c:pt>
                <c:pt idx="4346">
                  <c:v>0</c:v>
                </c:pt>
                <c:pt idx="4347">
                  <c:v>0</c:v>
                </c:pt>
                <c:pt idx="4348">
                  <c:v>0</c:v>
                </c:pt>
                <c:pt idx="4349">
                  <c:v>0</c:v>
                </c:pt>
                <c:pt idx="4350">
                  <c:v>0</c:v>
                </c:pt>
                <c:pt idx="4351">
                  <c:v>0</c:v>
                </c:pt>
                <c:pt idx="4352">
                  <c:v>0</c:v>
                </c:pt>
                <c:pt idx="4353">
                  <c:v>0</c:v>
                </c:pt>
                <c:pt idx="4354">
                  <c:v>0</c:v>
                </c:pt>
                <c:pt idx="4355">
                  <c:v>0</c:v>
                </c:pt>
                <c:pt idx="4356">
                  <c:v>0</c:v>
                </c:pt>
                <c:pt idx="4357">
                  <c:v>0</c:v>
                </c:pt>
                <c:pt idx="4358">
                  <c:v>0</c:v>
                </c:pt>
                <c:pt idx="4359">
                  <c:v>0</c:v>
                </c:pt>
                <c:pt idx="4360">
                  <c:v>0</c:v>
                </c:pt>
                <c:pt idx="4361">
                  <c:v>0</c:v>
                </c:pt>
                <c:pt idx="4362">
                  <c:v>0</c:v>
                </c:pt>
                <c:pt idx="4363">
                  <c:v>0</c:v>
                </c:pt>
                <c:pt idx="4364">
                  <c:v>0</c:v>
                </c:pt>
                <c:pt idx="4365">
                  <c:v>0</c:v>
                </c:pt>
                <c:pt idx="4366">
                  <c:v>0</c:v>
                </c:pt>
                <c:pt idx="4367">
                  <c:v>0</c:v>
                </c:pt>
                <c:pt idx="4368">
                  <c:v>0</c:v>
                </c:pt>
                <c:pt idx="4369">
                  <c:v>0</c:v>
                </c:pt>
                <c:pt idx="4370">
                  <c:v>0</c:v>
                </c:pt>
                <c:pt idx="4371">
                  <c:v>0</c:v>
                </c:pt>
                <c:pt idx="4372">
                  <c:v>0</c:v>
                </c:pt>
                <c:pt idx="4373">
                  <c:v>0</c:v>
                </c:pt>
                <c:pt idx="4374">
                  <c:v>0</c:v>
                </c:pt>
                <c:pt idx="4375">
                  <c:v>0</c:v>
                </c:pt>
                <c:pt idx="4376">
                  <c:v>0</c:v>
                </c:pt>
                <c:pt idx="4377">
                  <c:v>0</c:v>
                </c:pt>
                <c:pt idx="4378">
                  <c:v>0</c:v>
                </c:pt>
                <c:pt idx="4379">
                  <c:v>0</c:v>
                </c:pt>
                <c:pt idx="4380">
                  <c:v>0</c:v>
                </c:pt>
                <c:pt idx="4381">
                  <c:v>0</c:v>
                </c:pt>
                <c:pt idx="4382">
                  <c:v>0</c:v>
                </c:pt>
                <c:pt idx="4383">
                  <c:v>0</c:v>
                </c:pt>
                <c:pt idx="4384">
                  <c:v>0</c:v>
                </c:pt>
                <c:pt idx="4385">
                  <c:v>0</c:v>
                </c:pt>
                <c:pt idx="4386">
                  <c:v>0</c:v>
                </c:pt>
                <c:pt idx="4387">
                  <c:v>0</c:v>
                </c:pt>
                <c:pt idx="4388">
                  <c:v>0</c:v>
                </c:pt>
                <c:pt idx="4389">
                  <c:v>0</c:v>
                </c:pt>
                <c:pt idx="4390">
                  <c:v>0</c:v>
                </c:pt>
                <c:pt idx="4391">
                  <c:v>0</c:v>
                </c:pt>
                <c:pt idx="4392">
                  <c:v>0</c:v>
                </c:pt>
                <c:pt idx="4393">
                  <c:v>0</c:v>
                </c:pt>
                <c:pt idx="4394">
                  <c:v>0</c:v>
                </c:pt>
                <c:pt idx="4395">
                  <c:v>0</c:v>
                </c:pt>
                <c:pt idx="4396">
                  <c:v>0</c:v>
                </c:pt>
                <c:pt idx="4397">
                  <c:v>0</c:v>
                </c:pt>
                <c:pt idx="4398">
                  <c:v>0</c:v>
                </c:pt>
                <c:pt idx="4399">
                  <c:v>0</c:v>
                </c:pt>
                <c:pt idx="4400">
                  <c:v>0</c:v>
                </c:pt>
                <c:pt idx="4401">
                  <c:v>0</c:v>
                </c:pt>
                <c:pt idx="4402">
                  <c:v>0</c:v>
                </c:pt>
                <c:pt idx="4403">
                  <c:v>0</c:v>
                </c:pt>
                <c:pt idx="4404">
                  <c:v>0</c:v>
                </c:pt>
                <c:pt idx="4405">
                  <c:v>0</c:v>
                </c:pt>
                <c:pt idx="4406">
                  <c:v>0</c:v>
                </c:pt>
                <c:pt idx="4407">
                  <c:v>0</c:v>
                </c:pt>
                <c:pt idx="4408">
                  <c:v>0</c:v>
                </c:pt>
                <c:pt idx="4409">
                  <c:v>0</c:v>
                </c:pt>
                <c:pt idx="4410">
                  <c:v>0</c:v>
                </c:pt>
                <c:pt idx="4411">
                  <c:v>0</c:v>
                </c:pt>
                <c:pt idx="4412">
                  <c:v>0</c:v>
                </c:pt>
                <c:pt idx="4413">
                  <c:v>0</c:v>
                </c:pt>
                <c:pt idx="4414">
                  <c:v>0</c:v>
                </c:pt>
                <c:pt idx="4415">
                  <c:v>0</c:v>
                </c:pt>
                <c:pt idx="4416">
                  <c:v>0</c:v>
                </c:pt>
                <c:pt idx="4417">
                  <c:v>0</c:v>
                </c:pt>
                <c:pt idx="4418">
                  <c:v>0</c:v>
                </c:pt>
                <c:pt idx="4419">
                  <c:v>0</c:v>
                </c:pt>
                <c:pt idx="4420">
                  <c:v>0</c:v>
                </c:pt>
                <c:pt idx="4421">
                  <c:v>0</c:v>
                </c:pt>
                <c:pt idx="4422">
                  <c:v>0</c:v>
                </c:pt>
                <c:pt idx="4423">
                  <c:v>0</c:v>
                </c:pt>
                <c:pt idx="4424">
                  <c:v>0</c:v>
                </c:pt>
                <c:pt idx="4425">
                  <c:v>0</c:v>
                </c:pt>
                <c:pt idx="4426">
                  <c:v>0</c:v>
                </c:pt>
                <c:pt idx="4427">
                  <c:v>0</c:v>
                </c:pt>
                <c:pt idx="4428">
                  <c:v>0</c:v>
                </c:pt>
                <c:pt idx="4429">
                  <c:v>0</c:v>
                </c:pt>
                <c:pt idx="4430">
                  <c:v>0</c:v>
                </c:pt>
                <c:pt idx="4431">
                  <c:v>0</c:v>
                </c:pt>
                <c:pt idx="4432">
                  <c:v>0</c:v>
                </c:pt>
                <c:pt idx="4433">
                  <c:v>0</c:v>
                </c:pt>
                <c:pt idx="4434">
                  <c:v>0</c:v>
                </c:pt>
                <c:pt idx="4435">
                  <c:v>0</c:v>
                </c:pt>
                <c:pt idx="4436">
                  <c:v>0</c:v>
                </c:pt>
                <c:pt idx="4437">
                  <c:v>0</c:v>
                </c:pt>
                <c:pt idx="4438">
                  <c:v>0</c:v>
                </c:pt>
                <c:pt idx="4439">
                  <c:v>0</c:v>
                </c:pt>
                <c:pt idx="4440">
                  <c:v>0</c:v>
                </c:pt>
                <c:pt idx="4441">
                  <c:v>0</c:v>
                </c:pt>
                <c:pt idx="4442">
                  <c:v>0</c:v>
                </c:pt>
                <c:pt idx="4443">
                  <c:v>0</c:v>
                </c:pt>
                <c:pt idx="4444">
                  <c:v>0</c:v>
                </c:pt>
                <c:pt idx="4445">
                  <c:v>0</c:v>
                </c:pt>
                <c:pt idx="4446">
                  <c:v>0</c:v>
                </c:pt>
                <c:pt idx="4447">
                  <c:v>0</c:v>
                </c:pt>
                <c:pt idx="4448">
                  <c:v>0</c:v>
                </c:pt>
                <c:pt idx="4449">
                  <c:v>0</c:v>
                </c:pt>
                <c:pt idx="4450">
                  <c:v>0</c:v>
                </c:pt>
                <c:pt idx="4451">
                  <c:v>0</c:v>
                </c:pt>
                <c:pt idx="4452">
                  <c:v>0</c:v>
                </c:pt>
                <c:pt idx="4453">
                  <c:v>0</c:v>
                </c:pt>
                <c:pt idx="4454">
                  <c:v>0</c:v>
                </c:pt>
                <c:pt idx="4455">
                  <c:v>0</c:v>
                </c:pt>
                <c:pt idx="4456">
                  <c:v>0</c:v>
                </c:pt>
                <c:pt idx="4457">
                  <c:v>0</c:v>
                </c:pt>
                <c:pt idx="4458">
                  <c:v>0</c:v>
                </c:pt>
                <c:pt idx="4459">
                  <c:v>0</c:v>
                </c:pt>
                <c:pt idx="4460">
                  <c:v>0</c:v>
                </c:pt>
                <c:pt idx="4461">
                  <c:v>0</c:v>
                </c:pt>
                <c:pt idx="4462">
                  <c:v>0</c:v>
                </c:pt>
                <c:pt idx="4463">
                  <c:v>0</c:v>
                </c:pt>
                <c:pt idx="4464">
                  <c:v>0</c:v>
                </c:pt>
                <c:pt idx="4465">
                  <c:v>0</c:v>
                </c:pt>
                <c:pt idx="4466">
                  <c:v>0</c:v>
                </c:pt>
                <c:pt idx="4467">
                  <c:v>0</c:v>
                </c:pt>
                <c:pt idx="4468">
                  <c:v>0</c:v>
                </c:pt>
                <c:pt idx="4469">
                  <c:v>0</c:v>
                </c:pt>
                <c:pt idx="4470">
                  <c:v>0</c:v>
                </c:pt>
                <c:pt idx="4471">
                  <c:v>0</c:v>
                </c:pt>
                <c:pt idx="4472">
                  <c:v>0</c:v>
                </c:pt>
                <c:pt idx="4473">
                  <c:v>0</c:v>
                </c:pt>
                <c:pt idx="4474">
                  <c:v>0</c:v>
                </c:pt>
                <c:pt idx="4475">
                  <c:v>0</c:v>
                </c:pt>
                <c:pt idx="4476">
                  <c:v>0</c:v>
                </c:pt>
                <c:pt idx="4477">
                  <c:v>0</c:v>
                </c:pt>
                <c:pt idx="4478">
                  <c:v>0</c:v>
                </c:pt>
                <c:pt idx="4479">
                  <c:v>0</c:v>
                </c:pt>
                <c:pt idx="4480">
                  <c:v>0</c:v>
                </c:pt>
                <c:pt idx="4481">
                  <c:v>0</c:v>
                </c:pt>
                <c:pt idx="4482">
                  <c:v>0</c:v>
                </c:pt>
                <c:pt idx="4483">
                  <c:v>0</c:v>
                </c:pt>
                <c:pt idx="4484">
                  <c:v>0</c:v>
                </c:pt>
                <c:pt idx="4485">
                  <c:v>0</c:v>
                </c:pt>
                <c:pt idx="4486">
                  <c:v>0</c:v>
                </c:pt>
                <c:pt idx="4487">
                  <c:v>0</c:v>
                </c:pt>
                <c:pt idx="4488">
                  <c:v>0</c:v>
                </c:pt>
                <c:pt idx="4489">
                  <c:v>0</c:v>
                </c:pt>
                <c:pt idx="4490">
                  <c:v>0</c:v>
                </c:pt>
                <c:pt idx="4491">
                  <c:v>0</c:v>
                </c:pt>
                <c:pt idx="4492">
                  <c:v>0</c:v>
                </c:pt>
                <c:pt idx="4493">
                  <c:v>0</c:v>
                </c:pt>
                <c:pt idx="4494">
                  <c:v>0</c:v>
                </c:pt>
                <c:pt idx="4495">
                  <c:v>0</c:v>
                </c:pt>
                <c:pt idx="4496">
                  <c:v>0</c:v>
                </c:pt>
                <c:pt idx="4497">
                  <c:v>0</c:v>
                </c:pt>
                <c:pt idx="4498">
                  <c:v>0</c:v>
                </c:pt>
                <c:pt idx="4499">
                  <c:v>0</c:v>
                </c:pt>
                <c:pt idx="4500">
                  <c:v>0</c:v>
                </c:pt>
                <c:pt idx="4501">
                  <c:v>0</c:v>
                </c:pt>
                <c:pt idx="4502">
                  <c:v>0</c:v>
                </c:pt>
                <c:pt idx="4503">
                  <c:v>0</c:v>
                </c:pt>
                <c:pt idx="4504">
                  <c:v>0</c:v>
                </c:pt>
                <c:pt idx="4505">
                  <c:v>0</c:v>
                </c:pt>
                <c:pt idx="4506">
                  <c:v>0</c:v>
                </c:pt>
                <c:pt idx="4507">
                  <c:v>0</c:v>
                </c:pt>
                <c:pt idx="4508">
                  <c:v>0</c:v>
                </c:pt>
                <c:pt idx="4509">
                  <c:v>0</c:v>
                </c:pt>
                <c:pt idx="4510">
                  <c:v>0</c:v>
                </c:pt>
                <c:pt idx="4511">
                  <c:v>0</c:v>
                </c:pt>
                <c:pt idx="4512">
                  <c:v>0</c:v>
                </c:pt>
                <c:pt idx="4513">
                  <c:v>0</c:v>
                </c:pt>
                <c:pt idx="4514">
                  <c:v>0</c:v>
                </c:pt>
                <c:pt idx="4515">
                  <c:v>0</c:v>
                </c:pt>
                <c:pt idx="4516">
                  <c:v>0</c:v>
                </c:pt>
                <c:pt idx="4517">
                  <c:v>0</c:v>
                </c:pt>
                <c:pt idx="4518">
                  <c:v>0</c:v>
                </c:pt>
                <c:pt idx="4519">
                  <c:v>0</c:v>
                </c:pt>
                <c:pt idx="4520">
                  <c:v>0</c:v>
                </c:pt>
                <c:pt idx="4521">
                  <c:v>0</c:v>
                </c:pt>
                <c:pt idx="4522">
                  <c:v>0</c:v>
                </c:pt>
                <c:pt idx="4523">
                  <c:v>0</c:v>
                </c:pt>
                <c:pt idx="4524">
                  <c:v>0</c:v>
                </c:pt>
                <c:pt idx="4525">
                  <c:v>0</c:v>
                </c:pt>
                <c:pt idx="4526">
                  <c:v>0</c:v>
                </c:pt>
                <c:pt idx="4527">
                  <c:v>0</c:v>
                </c:pt>
                <c:pt idx="4528">
                  <c:v>0</c:v>
                </c:pt>
                <c:pt idx="4529">
                  <c:v>0</c:v>
                </c:pt>
                <c:pt idx="4530">
                  <c:v>0</c:v>
                </c:pt>
                <c:pt idx="4531">
                  <c:v>0</c:v>
                </c:pt>
                <c:pt idx="4532">
                  <c:v>0</c:v>
                </c:pt>
                <c:pt idx="4533">
                  <c:v>0</c:v>
                </c:pt>
                <c:pt idx="4534">
                  <c:v>0</c:v>
                </c:pt>
                <c:pt idx="4535">
                  <c:v>0</c:v>
                </c:pt>
                <c:pt idx="4536">
                  <c:v>0</c:v>
                </c:pt>
                <c:pt idx="4537">
                  <c:v>0</c:v>
                </c:pt>
                <c:pt idx="4538">
                  <c:v>0</c:v>
                </c:pt>
                <c:pt idx="4539">
                  <c:v>0</c:v>
                </c:pt>
                <c:pt idx="4540">
                  <c:v>0</c:v>
                </c:pt>
                <c:pt idx="4541">
                  <c:v>0</c:v>
                </c:pt>
                <c:pt idx="4542">
                  <c:v>0</c:v>
                </c:pt>
                <c:pt idx="4543">
                  <c:v>0</c:v>
                </c:pt>
                <c:pt idx="4544">
                  <c:v>0</c:v>
                </c:pt>
                <c:pt idx="4545">
                  <c:v>0</c:v>
                </c:pt>
                <c:pt idx="4546">
                  <c:v>0</c:v>
                </c:pt>
                <c:pt idx="4547">
                  <c:v>0</c:v>
                </c:pt>
                <c:pt idx="4548">
                  <c:v>0</c:v>
                </c:pt>
                <c:pt idx="4549">
                  <c:v>0</c:v>
                </c:pt>
                <c:pt idx="4550">
                  <c:v>0</c:v>
                </c:pt>
                <c:pt idx="4551">
                  <c:v>0</c:v>
                </c:pt>
                <c:pt idx="4552">
                  <c:v>0</c:v>
                </c:pt>
                <c:pt idx="4553">
                  <c:v>0</c:v>
                </c:pt>
                <c:pt idx="4554">
                  <c:v>0</c:v>
                </c:pt>
                <c:pt idx="4555">
                  <c:v>0</c:v>
                </c:pt>
                <c:pt idx="4556">
                  <c:v>0</c:v>
                </c:pt>
                <c:pt idx="4557">
                  <c:v>0</c:v>
                </c:pt>
                <c:pt idx="4558">
                  <c:v>0</c:v>
                </c:pt>
                <c:pt idx="4559">
                  <c:v>0</c:v>
                </c:pt>
                <c:pt idx="4560">
                  <c:v>0</c:v>
                </c:pt>
                <c:pt idx="4561">
                  <c:v>0</c:v>
                </c:pt>
                <c:pt idx="4562">
                  <c:v>0</c:v>
                </c:pt>
                <c:pt idx="4563">
                  <c:v>0</c:v>
                </c:pt>
                <c:pt idx="4564">
                  <c:v>0</c:v>
                </c:pt>
                <c:pt idx="4565">
                  <c:v>0</c:v>
                </c:pt>
                <c:pt idx="4566">
                  <c:v>0</c:v>
                </c:pt>
                <c:pt idx="4567">
                  <c:v>0</c:v>
                </c:pt>
                <c:pt idx="4568">
                  <c:v>0</c:v>
                </c:pt>
                <c:pt idx="4569">
                  <c:v>0</c:v>
                </c:pt>
                <c:pt idx="4570">
                  <c:v>0</c:v>
                </c:pt>
                <c:pt idx="4571">
                  <c:v>0</c:v>
                </c:pt>
                <c:pt idx="4572">
                  <c:v>0</c:v>
                </c:pt>
                <c:pt idx="4573">
                  <c:v>0</c:v>
                </c:pt>
                <c:pt idx="4574">
                  <c:v>0</c:v>
                </c:pt>
                <c:pt idx="4575">
                  <c:v>0</c:v>
                </c:pt>
                <c:pt idx="4576">
                  <c:v>0</c:v>
                </c:pt>
                <c:pt idx="4577">
                  <c:v>0</c:v>
                </c:pt>
                <c:pt idx="4578">
                  <c:v>0</c:v>
                </c:pt>
                <c:pt idx="4579">
                  <c:v>0</c:v>
                </c:pt>
                <c:pt idx="4580">
                  <c:v>0</c:v>
                </c:pt>
                <c:pt idx="4581">
                  <c:v>0</c:v>
                </c:pt>
                <c:pt idx="4582">
                  <c:v>0</c:v>
                </c:pt>
                <c:pt idx="4583">
                  <c:v>0</c:v>
                </c:pt>
                <c:pt idx="4584">
                  <c:v>0</c:v>
                </c:pt>
                <c:pt idx="4585">
                  <c:v>0</c:v>
                </c:pt>
                <c:pt idx="4586">
                  <c:v>0</c:v>
                </c:pt>
                <c:pt idx="4587">
                  <c:v>0</c:v>
                </c:pt>
                <c:pt idx="4588">
                  <c:v>0</c:v>
                </c:pt>
                <c:pt idx="4589">
                  <c:v>0</c:v>
                </c:pt>
                <c:pt idx="4590">
                  <c:v>0</c:v>
                </c:pt>
                <c:pt idx="4591">
                  <c:v>0</c:v>
                </c:pt>
                <c:pt idx="4592">
                  <c:v>0</c:v>
                </c:pt>
                <c:pt idx="4593">
                  <c:v>0</c:v>
                </c:pt>
                <c:pt idx="4594">
                  <c:v>0</c:v>
                </c:pt>
                <c:pt idx="4595">
                  <c:v>0</c:v>
                </c:pt>
                <c:pt idx="4596">
                  <c:v>0</c:v>
                </c:pt>
                <c:pt idx="4597">
                  <c:v>0</c:v>
                </c:pt>
                <c:pt idx="4598">
                  <c:v>0</c:v>
                </c:pt>
                <c:pt idx="4599">
                  <c:v>0</c:v>
                </c:pt>
                <c:pt idx="4600">
                  <c:v>0</c:v>
                </c:pt>
                <c:pt idx="4601">
                  <c:v>0</c:v>
                </c:pt>
                <c:pt idx="4602">
                  <c:v>0</c:v>
                </c:pt>
                <c:pt idx="4603">
                  <c:v>0</c:v>
                </c:pt>
                <c:pt idx="4604">
                  <c:v>0</c:v>
                </c:pt>
                <c:pt idx="4605">
                  <c:v>0</c:v>
                </c:pt>
                <c:pt idx="4606">
                  <c:v>0</c:v>
                </c:pt>
                <c:pt idx="4607">
                  <c:v>0</c:v>
                </c:pt>
                <c:pt idx="4608">
                  <c:v>0</c:v>
                </c:pt>
                <c:pt idx="4609">
                  <c:v>0</c:v>
                </c:pt>
                <c:pt idx="4610">
                  <c:v>0</c:v>
                </c:pt>
                <c:pt idx="4611">
                  <c:v>0</c:v>
                </c:pt>
                <c:pt idx="4612">
                  <c:v>0</c:v>
                </c:pt>
                <c:pt idx="4613">
                  <c:v>0</c:v>
                </c:pt>
                <c:pt idx="4614">
                  <c:v>0</c:v>
                </c:pt>
                <c:pt idx="4615">
                  <c:v>0</c:v>
                </c:pt>
                <c:pt idx="4616">
                  <c:v>0</c:v>
                </c:pt>
                <c:pt idx="4617">
                  <c:v>0</c:v>
                </c:pt>
                <c:pt idx="4618">
                  <c:v>0</c:v>
                </c:pt>
                <c:pt idx="4619">
                  <c:v>0</c:v>
                </c:pt>
                <c:pt idx="4620">
                  <c:v>0</c:v>
                </c:pt>
                <c:pt idx="4621">
                  <c:v>0</c:v>
                </c:pt>
                <c:pt idx="4622">
                  <c:v>0</c:v>
                </c:pt>
                <c:pt idx="4623">
                  <c:v>0</c:v>
                </c:pt>
                <c:pt idx="4624">
                  <c:v>0</c:v>
                </c:pt>
                <c:pt idx="4625">
                  <c:v>0</c:v>
                </c:pt>
                <c:pt idx="4626">
                  <c:v>0</c:v>
                </c:pt>
                <c:pt idx="4627">
                  <c:v>0</c:v>
                </c:pt>
                <c:pt idx="4628">
                  <c:v>0</c:v>
                </c:pt>
                <c:pt idx="4629">
                  <c:v>0</c:v>
                </c:pt>
                <c:pt idx="4630">
                  <c:v>0</c:v>
                </c:pt>
                <c:pt idx="4631">
                  <c:v>0</c:v>
                </c:pt>
                <c:pt idx="4632">
                  <c:v>0</c:v>
                </c:pt>
                <c:pt idx="4633">
                  <c:v>0</c:v>
                </c:pt>
                <c:pt idx="4634">
                  <c:v>0</c:v>
                </c:pt>
                <c:pt idx="4635">
                  <c:v>0</c:v>
                </c:pt>
                <c:pt idx="4636">
                  <c:v>0</c:v>
                </c:pt>
                <c:pt idx="4637">
                  <c:v>0</c:v>
                </c:pt>
                <c:pt idx="4638">
                  <c:v>0</c:v>
                </c:pt>
                <c:pt idx="4639">
                  <c:v>0</c:v>
                </c:pt>
                <c:pt idx="4640">
                  <c:v>0</c:v>
                </c:pt>
                <c:pt idx="4641">
                  <c:v>0</c:v>
                </c:pt>
                <c:pt idx="4642">
                  <c:v>0</c:v>
                </c:pt>
                <c:pt idx="4643">
                  <c:v>0</c:v>
                </c:pt>
                <c:pt idx="4644">
                  <c:v>0</c:v>
                </c:pt>
                <c:pt idx="4645">
                  <c:v>0</c:v>
                </c:pt>
                <c:pt idx="4646">
                  <c:v>0</c:v>
                </c:pt>
                <c:pt idx="4647">
                  <c:v>0</c:v>
                </c:pt>
                <c:pt idx="4648">
                  <c:v>0</c:v>
                </c:pt>
                <c:pt idx="4649">
                  <c:v>0</c:v>
                </c:pt>
                <c:pt idx="4650">
                  <c:v>0</c:v>
                </c:pt>
                <c:pt idx="4651">
                  <c:v>0</c:v>
                </c:pt>
                <c:pt idx="4652">
                  <c:v>0</c:v>
                </c:pt>
                <c:pt idx="4653">
                  <c:v>0</c:v>
                </c:pt>
                <c:pt idx="4654">
                  <c:v>0</c:v>
                </c:pt>
                <c:pt idx="4655">
                  <c:v>0</c:v>
                </c:pt>
                <c:pt idx="4656">
                  <c:v>0</c:v>
                </c:pt>
                <c:pt idx="4657">
                  <c:v>0</c:v>
                </c:pt>
                <c:pt idx="4658">
                  <c:v>0</c:v>
                </c:pt>
                <c:pt idx="4659">
                  <c:v>0</c:v>
                </c:pt>
                <c:pt idx="4660">
                  <c:v>0</c:v>
                </c:pt>
                <c:pt idx="4661">
                  <c:v>0</c:v>
                </c:pt>
                <c:pt idx="4662">
                  <c:v>0</c:v>
                </c:pt>
                <c:pt idx="4663">
                  <c:v>0</c:v>
                </c:pt>
                <c:pt idx="4664">
                  <c:v>0</c:v>
                </c:pt>
                <c:pt idx="4665">
                  <c:v>0</c:v>
                </c:pt>
                <c:pt idx="4666">
                  <c:v>0</c:v>
                </c:pt>
                <c:pt idx="4667">
                  <c:v>0</c:v>
                </c:pt>
                <c:pt idx="4668">
                  <c:v>0</c:v>
                </c:pt>
                <c:pt idx="4669">
                  <c:v>0</c:v>
                </c:pt>
                <c:pt idx="4670">
                  <c:v>0</c:v>
                </c:pt>
                <c:pt idx="4671">
                  <c:v>0</c:v>
                </c:pt>
                <c:pt idx="4672">
                  <c:v>0</c:v>
                </c:pt>
                <c:pt idx="4673">
                  <c:v>0</c:v>
                </c:pt>
                <c:pt idx="4674">
                  <c:v>0</c:v>
                </c:pt>
                <c:pt idx="4675">
                  <c:v>0</c:v>
                </c:pt>
                <c:pt idx="4676">
                  <c:v>0</c:v>
                </c:pt>
                <c:pt idx="4677">
                  <c:v>0</c:v>
                </c:pt>
                <c:pt idx="4678">
                  <c:v>0</c:v>
                </c:pt>
                <c:pt idx="4679">
                  <c:v>0</c:v>
                </c:pt>
                <c:pt idx="4680">
                  <c:v>0</c:v>
                </c:pt>
                <c:pt idx="4681">
                  <c:v>0</c:v>
                </c:pt>
                <c:pt idx="4682">
                  <c:v>0</c:v>
                </c:pt>
                <c:pt idx="4683">
                  <c:v>0</c:v>
                </c:pt>
                <c:pt idx="4684">
                  <c:v>0</c:v>
                </c:pt>
                <c:pt idx="4685">
                  <c:v>0</c:v>
                </c:pt>
                <c:pt idx="4686">
                  <c:v>0</c:v>
                </c:pt>
                <c:pt idx="4687">
                  <c:v>0</c:v>
                </c:pt>
                <c:pt idx="4688">
                  <c:v>0</c:v>
                </c:pt>
                <c:pt idx="4689">
                  <c:v>0</c:v>
                </c:pt>
                <c:pt idx="4690">
                  <c:v>0</c:v>
                </c:pt>
                <c:pt idx="4691">
                  <c:v>0</c:v>
                </c:pt>
                <c:pt idx="4692">
                  <c:v>0</c:v>
                </c:pt>
                <c:pt idx="4693">
                  <c:v>0</c:v>
                </c:pt>
                <c:pt idx="4694">
                  <c:v>0</c:v>
                </c:pt>
                <c:pt idx="4695">
                  <c:v>0</c:v>
                </c:pt>
                <c:pt idx="4696">
                  <c:v>0</c:v>
                </c:pt>
                <c:pt idx="4697">
                  <c:v>0</c:v>
                </c:pt>
                <c:pt idx="4698">
                  <c:v>0</c:v>
                </c:pt>
                <c:pt idx="4699">
                  <c:v>0</c:v>
                </c:pt>
                <c:pt idx="4700">
                  <c:v>0</c:v>
                </c:pt>
                <c:pt idx="4701">
                  <c:v>0</c:v>
                </c:pt>
                <c:pt idx="4702">
                  <c:v>0</c:v>
                </c:pt>
                <c:pt idx="4703">
                  <c:v>0</c:v>
                </c:pt>
                <c:pt idx="4704">
                  <c:v>0</c:v>
                </c:pt>
                <c:pt idx="4705">
                  <c:v>0</c:v>
                </c:pt>
                <c:pt idx="4706">
                  <c:v>0</c:v>
                </c:pt>
                <c:pt idx="4707">
                  <c:v>0</c:v>
                </c:pt>
                <c:pt idx="4708">
                  <c:v>0</c:v>
                </c:pt>
                <c:pt idx="4709">
                  <c:v>0</c:v>
                </c:pt>
                <c:pt idx="4710">
                  <c:v>0</c:v>
                </c:pt>
                <c:pt idx="4711">
                  <c:v>0</c:v>
                </c:pt>
                <c:pt idx="4712">
                  <c:v>0</c:v>
                </c:pt>
                <c:pt idx="4713">
                  <c:v>0</c:v>
                </c:pt>
                <c:pt idx="4714">
                  <c:v>0</c:v>
                </c:pt>
                <c:pt idx="4715">
                  <c:v>0</c:v>
                </c:pt>
                <c:pt idx="4716">
                  <c:v>0</c:v>
                </c:pt>
                <c:pt idx="4717">
                  <c:v>0</c:v>
                </c:pt>
                <c:pt idx="4718">
                  <c:v>0</c:v>
                </c:pt>
                <c:pt idx="4719">
                  <c:v>0</c:v>
                </c:pt>
                <c:pt idx="4720">
                  <c:v>0</c:v>
                </c:pt>
                <c:pt idx="4721">
                  <c:v>0</c:v>
                </c:pt>
                <c:pt idx="4722">
                  <c:v>0</c:v>
                </c:pt>
                <c:pt idx="4723">
                  <c:v>0</c:v>
                </c:pt>
                <c:pt idx="4724">
                  <c:v>0</c:v>
                </c:pt>
                <c:pt idx="4725">
                  <c:v>0</c:v>
                </c:pt>
                <c:pt idx="4726">
                  <c:v>0</c:v>
                </c:pt>
                <c:pt idx="4727">
                  <c:v>0</c:v>
                </c:pt>
                <c:pt idx="4728">
                  <c:v>0</c:v>
                </c:pt>
                <c:pt idx="4729">
                  <c:v>0</c:v>
                </c:pt>
                <c:pt idx="4730">
                  <c:v>0</c:v>
                </c:pt>
                <c:pt idx="4731">
                  <c:v>0</c:v>
                </c:pt>
                <c:pt idx="4732">
                  <c:v>0</c:v>
                </c:pt>
                <c:pt idx="4733">
                  <c:v>0</c:v>
                </c:pt>
                <c:pt idx="4734">
                  <c:v>0</c:v>
                </c:pt>
                <c:pt idx="4735">
                  <c:v>0</c:v>
                </c:pt>
                <c:pt idx="4736">
                  <c:v>0</c:v>
                </c:pt>
                <c:pt idx="4737">
                  <c:v>0</c:v>
                </c:pt>
                <c:pt idx="4738">
                  <c:v>0</c:v>
                </c:pt>
                <c:pt idx="4739">
                  <c:v>0</c:v>
                </c:pt>
                <c:pt idx="4740">
                  <c:v>0</c:v>
                </c:pt>
                <c:pt idx="4741">
                  <c:v>0</c:v>
                </c:pt>
                <c:pt idx="4742">
                  <c:v>0</c:v>
                </c:pt>
                <c:pt idx="4743">
                  <c:v>0</c:v>
                </c:pt>
                <c:pt idx="4744">
                  <c:v>0</c:v>
                </c:pt>
                <c:pt idx="4745">
                  <c:v>0</c:v>
                </c:pt>
                <c:pt idx="4746">
                  <c:v>0</c:v>
                </c:pt>
                <c:pt idx="4747">
                  <c:v>0</c:v>
                </c:pt>
                <c:pt idx="4748">
                  <c:v>0</c:v>
                </c:pt>
                <c:pt idx="4749">
                  <c:v>0</c:v>
                </c:pt>
                <c:pt idx="4750">
                  <c:v>0</c:v>
                </c:pt>
                <c:pt idx="4751">
                  <c:v>0</c:v>
                </c:pt>
                <c:pt idx="4752">
                  <c:v>0</c:v>
                </c:pt>
                <c:pt idx="4753">
                  <c:v>0</c:v>
                </c:pt>
                <c:pt idx="4754">
                  <c:v>0</c:v>
                </c:pt>
                <c:pt idx="4755">
                  <c:v>0</c:v>
                </c:pt>
                <c:pt idx="4756">
                  <c:v>0</c:v>
                </c:pt>
                <c:pt idx="4757">
                  <c:v>0</c:v>
                </c:pt>
                <c:pt idx="4758">
                  <c:v>0</c:v>
                </c:pt>
                <c:pt idx="4759">
                  <c:v>0</c:v>
                </c:pt>
                <c:pt idx="4760">
                  <c:v>0</c:v>
                </c:pt>
                <c:pt idx="4761">
                  <c:v>0</c:v>
                </c:pt>
                <c:pt idx="4762">
                  <c:v>0</c:v>
                </c:pt>
                <c:pt idx="4763">
                  <c:v>0</c:v>
                </c:pt>
                <c:pt idx="4764">
                  <c:v>0</c:v>
                </c:pt>
                <c:pt idx="4765">
                  <c:v>0</c:v>
                </c:pt>
                <c:pt idx="4766">
                  <c:v>0</c:v>
                </c:pt>
                <c:pt idx="4767">
                  <c:v>0</c:v>
                </c:pt>
                <c:pt idx="4768">
                  <c:v>0</c:v>
                </c:pt>
                <c:pt idx="4769">
                  <c:v>0</c:v>
                </c:pt>
                <c:pt idx="4770">
                  <c:v>0</c:v>
                </c:pt>
                <c:pt idx="4771">
                  <c:v>0</c:v>
                </c:pt>
                <c:pt idx="4772">
                  <c:v>0</c:v>
                </c:pt>
                <c:pt idx="4773">
                  <c:v>0</c:v>
                </c:pt>
                <c:pt idx="4774">
                  <c:v>0</c:v>
                </c:pt>
                <c:pt idx="4775">
                  <c:v>0</c:v>
                </c:pt>
                <c:pt idx="4776">
                  <c:v>0</c:v>
                </c:pt>
                <c:pt idx="4777">
                  <c:v>0</c:v>
                </c:pt>
                <c:pt idx="4778">
                  <c:v>0</c:v>
                </c:pt>
                <c:pt idx="4779">
                  <c:v>0</c:v>
                </c:pt>
                <c:pt idx="4780">
                  <c:v>0</c:v>
                </c:pt>
                <c:pt idx="4781">
                  <c:v>0</c:v>
                </c:pt>
                <c:pt idx="4782">
                  <c:v>0</c:v>
                </c:pt>
                <c:pt idx="4783">
                  <c:v>0</c:v>
                </c:pt>
                <c:pt idx="4784">
                  <c:v>0</c:v>
                </c:pt>
                <c:pt idx="4785">
                  <c:v>0</c:v>
                </c:pt>
                <c:pt idx="4786">
                  <c:v>0</c:v>
                </c:pt>
                <c:pt idx="4787">
                  <c:v>0</c:v>
                </c:pt>
                <c:pt idx="4788">
                  <c:v>0</c:v>
                </c:pt>
                <c:pt idx="4789">
                  <c:v>0</c:v>
                </c:pt>
                <c:pt idx="4790">
                  <c:v>0</c:v>
                </c:pt>
                <c:pt idx="4791">
                  <c:v>0</c:v>
                </c:pt>
                <c:pt idx="4792">
                  <c:v>0</c:v>
                </c:pt>
                <c:pt idx="4793">
                  <c:v>0</c:v>
                </c:pt>
                <c:pt idx="4794">
                  <c:v>0</c:v>
                </c:pt>
                <c:pt idx="4795">
                  <c:v>0</c:v>
                </c:pt>
                <c:pt idx="4796">
                  <c:v>0</c:v>
                </c:pt>
                <c:pt idx="4797">
                  <c:v>0</c:v>
                </c:pt>
                <c:pt idx="4798">
                  <c:v>0</c:v>
                </c:pt>
                <c:pt idx="4799">
                  <c:v>0</c:v>
                </c:pt>
                <c:pt idx="4800">
                  <c:v>0</c:v>
                </c:pt>
                <c:pt idx="4801">
                  <c:v>0</c:v>
                </c:pt>
                <c:pt idx="4802">
                  <c:v>0</c:v>
                </c:pt>
                <c:pt idx="4803">
                  <c:v>0</c:v>
                </c:pt>
                <c:pt idx="4804">
                  <c:v>0</c:v>
                </c:pt>
                <c:pt idx="4805">
                  <c:v>0</c:v>
                </c:pt>
                <c:pt idx="4806">
                  <c:v>0</c:v>
                </c:pt>
                <c:pt idx="4807">
                  <c:v>0</c:v>
                </c:pt>
                <c:pt idx="4808">
                  <c:v>0</c:v>
                </c:pt>
                <c:pt idx="4809">
                  <c:v>0</c:v>
                </c:pt>
                <c:pt idx="4810">
                  <c:v>0</c:v>
                </c:pt>
                <c:pt idx="4811">
                  <c:v>0</c:v>
                </c:pt>
                <c:pt idx="4812">
                  <c:v>0</c:v>
                </c:pt>
                <c:pt idx="4813">
                  <c:v>0</c:v>
                </c:pt>
                <c:pt idx="4814">
                  <c:v>0</c:v>
                </c:pt>
                <c:pt idx="4815">
                  <c:v>0</c:v>
                </c:pt>
                <c:pt idx="4816">
                  <c:v>0</c:v>
                </c:pt>
                <c:pt idx="4817">
                  <c:v>0</c:v>
                </c:pt>
                <c:pt idx="4818">
                  <c:v>0</c:v>
                </c:pt>
                <c:pt idx="4819">
                  <c:v>0</c:v>
                </c:pt>
                <c:pt idx="4820">
                  <c:v>0</c:v>
                </c:pt>
                <c:pt idx="4821">
                  <c:v>0</c:v>
                </c:pt>
                <c:pt idx="4822">
                  <c:v>0</c:v>
                </c:pt>
                <c:pt idx="4823">
                  <c:v>0</c:v>
                </c:pt>
                <c:pt idx="4824">
                  <c:v>0</c:v>
                </c:pt>
                <c:pt idx="4825">
                  <c:v>0</c:v>
                </c:pt>
                <c:pt idx="4826">
                  <c:v>0</c:v>
                </c:pt>
                <c:pt idx="4827">
                  <c:v>0</c:v>
                </c:pt>
                <c:pt idx="4828">
                  <c:v>0</c:v>
                </c:pt>
                <c:pt idx="4829">
                  <c:v>0</c:v>
                </c:pt>
                <c:pt idx="4830">
                  <c:v>0</c:v>
                </c:pt>
                <c:pt idx="4831">
                  <c:v>0</c:v>
                </c:pt>
                <c:pt idx="4832">
                  <c:v>0</c:v>
                </c:pt>
                <c:pt idx="4833">
                  <c:v>0</c:v>
                </c:pt>
                <c:pt idx="4834">
                  <c:v>0</c:v>
                </c:pt>
                <c:pt idx="4835">
                  <c:v>0</c:v>
                </c:pt>
                <c:pt idx="4836">
                  <c:v>0</c:v>
                </c:pt>
                <c:pt idx="4837">
                  <c:v>0</c:v>
                </c:pt>
                <c:pt idx="4838">
                  <c:v>0</c:v>
                </c:pt>
                <c:pt idx="4839">
                  <c:v>0</c:v>
                </c:pt>
                <c:pt idx="4840">
                  <c:v>0</c:v>
                </c:pt>
                <c:pt idx="4841">
                  <c:v>0</c:v>
                </c:pt>
                <c:pt idx="4842">
                  <c:v>0</c:v>
                </c:pt>
                <c:pt idx="4843">
                  <c:v>0</c:v>
                </c:pt>
                <c:pt idx="4844">
                  <c:v>0</c:v>
                </c:pt>
                <c:pt idx="4845">
                  <c:v>0</c:v>
                </c:pt>
                <c:pt idx="4846">
                  <c:v>0</c:v>
                </c:pt>
                <c:pt idx="4847">
                  <c:v>0</c:v>
                </c:pt>
                <c:pt idx="4848">
                  <c:v>0</c:v>
                </c:pt>
                <c:pt idx="4849">
                  <c:v>0</c:v>
                </c:pt>
                <c:pt idx="4850">
                  <c:v>0</c:v>
                </c:pt>
                <c:pt idx="4851">
                  <c:v>0</c:v>
                </c:pt>
                <c:pt idx="4852">
                  <c:v>0</c:v>
                </c:pt>
                <c:pt idx="4853">
                  <c:v>0</c:v>
                </c:pt>
                <c:pt idx="4854">
                  <c:v>0</c:v>
                </c:pt>
                <c:pt idx="4855">
                  <c:v>0</c:v>
                </c:pt>
                <c:pt idx="4856">
                  <c:v>0</c:v>
                </c:pt>
                <c:pt idx="4857">
                  <c:v>0</c:v>
                </c:pt>
                <c:pt idx="4858">
                  <c:v>0</c:v>
                </c:pt>
                <c:pt idx="4859">
                  <c:v>0</c:v>
                </c:pt>
                <c:pt idx="4860">
                  <c:v>0</c:v>
                </c:pt>
                <c:pt idx="4861">
                  <c:v>0</c:v>
                </c:pt>
                <c:pt idx="4862">
                  <c:v>0</c:v>
                </c:pt>
                <c:pt idx="4863">
                  <c:v>0</c:v>
                </c:pt>
                <c:pt idx="4864">
                  <c:v>0</c:v>
                </c:pt>
                <c:pt idx="4865">
                  <c:v>0</c:v>
                </c:pt>
                <c:pt idx="4866">
                  <c:v>0</c:v>
                </c:pt>
                <c:pt idx="4867">
                  <c:v>0</c:v>
                </c:pt>
                <c:pt idx="4868">
                  <c:v>0</c:v>
                </c:pt>
                <c:pt idx="4869">
                  <c:v>0</c:v>
                </c:pt>
                <c:pt idx="4870">
                  <c:v>0</c:v>
                </c:pt>
                <c:pt idx="4871">
                  <c:v>0</c:v>
                </c:pt>
                <c:pt idx="4872">
                  <c:v>0</c:v>
                </c:pt>
                <c:pt idx="4873">
                  <c:v>0</c:v>
                </c:pt>
                <c:pt idx="4874">
                  <c:v>0</c:v>
                </c:pt>
                <c:pt idx="4875">
                  <c:v>0</c:v>
                </c:pt>
                <c:pt idx="4876">
                  <c:v>0</c:v>
                </c:pt>
                <c:pt idx="4877">
                  <c:v>0</c:v>
                </c:pt>
                <c:pt idx="4878">
                  <c:v>0</c:v>
                </c:pt>
                <c:pt idx="4879">
                  <c:v>0</c:v>
                </c:pt>
                <c:pt idx="4880">
                  <c:v>0</c:v>
                </c:pt>
                <c:pt idx="4881">
                  <c:v>0</c:v>
                </c:pt>
                <c:pt idx="4882">
                  <c:v>0</c:v>
                </c:pt>
                <c:pt idx="4883">
                  <c:v>0</c:v>
                </c:pt>
                <c:pt idx="4884">
                  <c:v>0</c:v>
                </c:pt>
                <c:pt idx="4885">
                  <c:v>0</c:v>
                </c:pt>
                <c:pt idx="4886">
                  <c:v>0</c:v>
                </c:pt>
                <c:pt idx="4887">
                  <c:v>0</c:v>
                </c:pt>
                <c:pt idx="4888">
                  <c:v>0</c:v>
                </c:pt>
                <c:pt idx="4889">
                  <c:v>0</c:v>
                </c:pt>
                <c:pt idx="4890">
                  <c:v>0</c:v>
                </c:pt>
                <c:pt idx="4891">
                  <c:v>0</c:v>
                </c:pt>
                <c:pt idx="4892">
                  <c:v>0</c:v>
                </c:pt>
                <c:pt idx="4893">
                  <c:v>0</c:v>
                </c:pt>
                <c:pt idx="4894">
                  <c:v>0</c:v>
                </c:pt>
                <c:pt idx="4895">
                  <c:v>0</c:v>
                </c:pt>
                <c:pt idx="4896">
                  <c:v>0</c:v>
                </c:pt>
                <c:pt idx="4897">
                  <c:v>0</c:v>
                </c:pt>
                <c:pt idx="4898">
                  <c:v>0</c:v>
                </c:pt>
                <c:pt idx="4899">
                  <c:v>0</c:v>
                </c:pt>
                <c:pt idx="4900">
                  <c:v>0</c:v>
                </c:pt>
                <c:pt idx="4901">
                  <c:v>0</c:v>
                </c:pt>
                <c:pt idx="4902">
                  <c:v>0</c:v>
                </c:pt>
                <c:pt idx="4903">
                  <c:v>0</c:v>
                </c:pt>
                <c:pt idx="4904">
                  <c:v>0</c:v>
                </c:pt>
                <c:pt idx="4905">
                  <c:v>0</c:v>
                </c:pt>
                <c:pt idx="4906">
                  <c:v>0</c:v>
                </c:pt>
                <c:pt idx="4907">
                  <c:v>0</c:v>
                </c:pt>
                <c:pt idx="4908">
                  <c:v>0</c:v>
                </c:pt>
                <c:pt idx="4909">
                  <c:v>0</c:v>
                </c:pt>
                <c:pt idx="4910">
                  <c:v>0</c:v>
                </c:pt>
                <c:pt idx="4911">
                  <c:v>0</c:v>
                </c:pt>
                <c:pt idx="4912">
                  <c:v>0</c:v>
                </c:pt>
                <c:pt idx="4913">
                  <c:v>0</c:v>
                </c:pt>
                <c:pt idx="4914">
                  <c:v>0</c:v>
                </c:pt>
                <c:pt idx="4915">
                  <c:v>0</c:v>
                </c:pt>
                <c:pt idx="4916">
                  <c:v>0</c:v>
                </c:pt>
                <c:pt idx="4917">
                  <c:v>0</c:v>
                </c:pt>
                <c:pt idx="4918">
                  <c:v>0</c:v>
                </c:pt>
                <c:pt idx="4919">
                  <c:v>0</c:v>
                </c:pt>
                <c:pt idx="4920">
                  <c:v>0</c:v>
                </c:pt>
                <c:pt idx="4921">
                  <c:v>0</c:v>
                </c:pt>
                <c:pt idx="4922">
                  <c:v>0</c:v>
                </c:pt>
                <c:pt idx="4923">
                  <c:v>0</c:v>
                </c:pt>
                <c:pt idx="4924">
                  <c:v>0</c:v>
                </c:pt>
                <c:pt idx="4925">
                  <c:v>0</c:v>
                </c:pt>
                <c:pt idx="4926">
                  <c:v>0</c:v>
                </c:pt>
                <c:pt idx="4927">
                  <c:v>0</c:v>
                </c:pt>
                <c:pt idx="4928">
                  <c:v>0</c:v>
                </c:pt>
                <c:pt idx="4929">
                  <c:v>0</c:v>
                </c:pt>
                <c:pt idx="4930">
                  <c:v>0</c:v>
                </c:pt>
                <c:pt idx="4931">
                  <c:v>0</c:v>
                </c:pt>
                <c:pt idx="4932">
                  <c:v>0</c:v>
                </c:pt>
                <c:pt idx="4933">
                  <c:v>0</c:v>
                </c:pt>
                <c:pt idx="4934">
                  <c:v>0</c:v>
                </c:pt>
                <c:pt idx="4935">
                  <c:v>0</c:v>
                </c:pt>
                <c:pt idx="4936">
                  <c:v>0</c:v>
                </c:pt>
                <c:pt idx="4937">
                  <c:v>0</c:v>
                </c:pt>
                <c:pt idx="4938">
                  <c:v>0</c:v>
                </c:pt>
                <c:pt idx="4939">
                  <c:v>0</c:v>
                </c:pt>
                <c:pt idx="4940">
                  <c:v>0</c:v>
                </c:pt>
                <c:pt idx="4941">
                  <c:v>0</c:v>
                </c:pt>
                <c:pt idx="4942">
                  <c:v>0</c:v>
                </c:pt>
                <c:pt idx="4943">
                  <c:v>0</c:v>
                </c:pt>
                <c:pt idx="4944">
                  <c:v>0</c:v>
                </c:pt>
                <c:pt idx="4945">
                  <c:v>0</c:v>
                </c:pt>
                <c:pt idx="4946">
                  <c:v>0</c:v>
                </c:pt>
                <c:pt idx="4947">
                  <c:v>0</c:v>
                </c:pt>
                <c:pt idx="4948">
                  <c:v>0</c:v>
                </c:pt>
                <c:pt idx="4949">
                  <c:v>0</c:v>
                </c:pt>
                <c:pt idx="4950">
                  <c:v>0</c:v>
                </c:pt>
                <c:pt idx="4951">
                  <c:v>0</c:v>
                </c:pt>
                <c:pt idx="4952">
                  <c:v>0</c:v>
                </c:pt>
                <c:pt idx="4953">
                  <c:v>0</c:v>
                </c:pt>
                <c:pt idx="4954">
                  <c:v>0</c:v>
                </c:pt>
                <c:pt idx="4955">
                  <c:v>0</c:v>
                </c:pt>
                <c:pt idx="4956">
                  <c:v>0</c:v>
                </c:pt>
                <c:pt idx="4957">
                  <c:v>0</c:v>
                </c:pt>
                <c:pt idx="4958">
                  <c:v>0</c:v>
                </c:pt>
                <c:pt idx="4959">
                  <c:v>0</c:v>
                </c:pt>
                <c:pt idx="4960">
                  <c:v>0</c:v>
                </c:pt>
                <c:pt idx="4961">
                  <c:v>0</c:v>
                </c:pt>
                <c:pt idx="4962">
                  <c:v>0</c:v>
                </c:pt>
                <c:pt idx="4963">
                  <c:v>0</c:v>
                </c:pt>
                <c:pt idx="4964">
                  <c:v>0</c:v>
                </c:pt>
                <c:pt idx="4965">
                  <c:v>0</c:v>
                </c:pt>
                <c:pt idx="4966">
                  <c:v>0</c:v>
                </c:pt>
                <c:pt idx="4967">
                  <c:v>0</c:v>
                </c:pt>
                <c:pt idx="4968">
                  <c:v>0</c:v>
                </c:pt>
                <c:pt idx="4969">
                  <c:v>0</c:v>
                </c:pt>
                <c:pt idx="4970">
                  <c:v>0</c:v>
                </c:pt>
                <c:pt idx="4971">
                  <c:v>0</c:v>
                </c:pt>
                <c:pt idx="4972">
                  <c:v>0</c:v>
                </c:pt>
                <c:pt idx="4973">
                  <c:v>0</c:v>
                </c:pt>
                <c:pt idx="4974">
                  <c:v>0</c:v>
                </c:pt>
                <c:pt idx="4975">
                  <c:v>0</c:v>
                </c:pt>
                <c:pt idx="4976">
                  <c:v>0</c:v>
                </c:pt>
                <c:pt idx="4977">
                  <c:v>0</c:v>
                </c:pt>
                <c:pt idx="4978">
                  <c:v>0</c:v>
                </c:pt>
                <c:pt idx="4979">
                  <c:v>0</c:v>
                </c:pt>
                <c:pt idx="4980">
                  <c:v>0</c:v>
                </c:pt>
                <c:pt idx="4981">
                  <c:v>0</c:v>
                </c:pt>
                <c:pt idx="4982">
                  <c:v>0</c:v>
                </c:pt>
                <c:pt idx="4983">
                  <c:v>0</c:v>
                </c:pt>
                <c:pt idx="4984">
                  <c:v>0</c:v>
                </c:pt>
                <c:pt idx="4985">
                  <c:v>0</c:v>
                </c:pt>
                <c:pt idx="4986">
                  <c:v>0</c:v>
                </c:pt>
                <c:pt idx="4987">
                  <c:v>0</c:v>
                </c:pt>
                <c:pt idx="4988">
                  <c:v>0</c:v>
                </c:pt>
                <c:pt idx="4989">
                  <c:v>0</c:v>
                </c:pt>
                <c:pt idx="4990">
                  <c:v>0</c:v>
                </c:pt>
                <c:pt idx="4991">
                  <c:v>0</c:v>
                </c:pt>
                <c:pt idx="4992">
                  <c:v>0</c:v>
                </c:pt>
                <c:pt idx="4993">
                  <c:v>0</c:v>
                </c:pt>
                <c:pt idx="4994">
                  <c:v>0</c:v>
                </c:pt>
                <c:pt idx="4995">
                  <c:v>0</c:v>
                </c:pt>
                <c:pt idx="4996">
                  <c:v>0</c:v>
                </c:pt>
                <c:pt idx="4997">
                  <c:v>0</c:v>
                </c:pt>
                <c:pt idx="4998">
                  <c:v>0</c:v>
                </c:pt>
                <c:pt idx="4999">
                  <c:v>0</c:v>
                </c:pt>
                <c:pt idx="5000">
                  <c:v>0</c:v>
                </c:pt>
                <c:pt idx="5001">
                  <c:v>0</c:v>
                </c:pt>
                <c:pt idx="5002">
                  <c:v>0</c:v>
                </c:pt>
                <c:pt idx="5003">
                  <c:v>0</c:v>
                </c:pt>
                <c:pt idx="5004">
                  <c:v>0</c:v>
                </c:pt>
                <c:pt idx="5005">
                  <c:v>0</c:v>
                </c:pt>
                <c:pt idx="5006">
                  <c:v>0</c:v>
                </c:pt>
                <c:pt idx="5007">
                  <c:v>0</c:v>
                </c:pt>
                <c:pt idx="5008">
                  <c:v>0</c:v>
                </c:pt>
                <c:pt idx="5009">
                  <c:v>0</c:v>
                </c:pt>
                <c:pt idx="5010">
                  <c:v>0</c:v>
                </c:pt>
                <c:pt idx="5011">
                  <c:v>0</c:v>
                </c:pt>
                <c:pt idx="5012">
                  <c:v>0</c:v>
                </c:pt>
                <c:pt idx="5013">
                  <c:v>0</c:v>
                </c:pt>
                <c:pt idx="5014">
                  <c:v>0</c:v>
                </c:pt>
                <c:pt idx="5015">
                  <c:v>0</c:v>
                </c:pt>
                <c:pt idx="5016">
                  <c:v>0</c:v>
                </c:pt>
                <c:pt idx="5017">
                  <c:v>0</c:v>
                </c:pt>
                <c:pt idx="5018">
                  <c:v>0</c:v>
                </c:pt>
                <c:pt idx="5019">
                  <c:v>0</c:v>
                </c:pt>
                <c:pt idx="5020">
                  <c:v>0</c:v>
                </c:pt>
                <c:pt idx="5021">
                  <c:v>0</c:v>
                </c:pt>
                <c:pt idx="5022">
                  <c:v>0</c:v>
                </c:pt>
                <c:pt idx="5023">
                  <c:v>0</c:v>
                </c:pt>
                <c:pt idx="5024">
                  <c:v>0</c:v>
                </c:pt>
                <c:pt idx="5025">
                  <c:v>0</c:v>
                </c:pt>
                <c:pt idx="5026">
                  <c:v>0</c:v>
                </c:pt>
                <c:pt idx="5027">
                  <c:v>0</c:v>
                </c:pt>
                <c:pt idx="5028">
                  <c:v>0</c:v>
                </c:pt>
                <c:pt idx="5029">
                  <c:v>0</c:v>
                </c:pt>
                <c:pt idx="5030">
                  <c:v>0</c:v>
                </c:pt>
                <c:pt idx="5031">
                  <c:v>0</c:v>
                </c:pt>
                <c:pt idx="5032">
                  <c:v>0</c:v>
                </c:pt>
                <c:pt idx="5033">
                  <c:v>0</c:v>
                </c:pt>
                <c:pt idx="5034">
                  <c:v>0</c:v>
                </c:pt>
                <c:pt idx="5035">
                  <c:v>0</c:v>
                </c:pt>
                <c:pt idx="5036">
                  <c:v>0</c:v>
                </c:pt>
                <c:pt idx="5037">
                  <c:v>0</c:v>
                </c:pt>
                <c:pt idx="5038">
                  <c:v>0</c:v>
                </c:pt>
                <c:pt idx="5039">
                  <c:v>0</c:v>
                </c:pt>
                <c:pt idx="5040">
                  <c:v>0</c:v>
                </c:pt>
                <c:pt idx="5041">
                  <c:v>0</c:v>
                </c:pt>
                <c:pt idx="5042">
                  <c:v>0</c:v>
                </c:pt>
                <c:pt idx="5043">
                  <c:v>0</c:v>
                </c:pt>
                <c:pt idx="5044">
                  <c:v>0</c:v>
                </c:pt>
                <c:pt idx="5045">
                  <c:v>0</c:v>
                </c:pt>
                <c:pt idx="5046">
                  <c:v>0</c:v>
                </c:pt>
                <c:pt idx="5047">
                  <c:v>0</c:v>
                </c:pt>
                <c:pt idx="5048">
                  <c:v>0</c:v>
                </c:pt>
                <c:pt idx="5049">
                  <c:v>0</c:v>
                </c:pt>
                <c:pt idx="5050">
                  <c:v>0</c:v>
                </c:pt>
                <c:pt idx="5051">
                  <c:v>0</c:v>
                </c:pt>
                <c:pt idx="5052">
                  <c:v>0</c:v>
                </c:pt>
                <c:pt idx="5053">
                  <c:v>0</c:v>
                </c:pt>
                <c:pt idx="5054">
                  <c:v>0</c:v>
                </c:pt>
                <c:pt idx="5055">
                  <c:v>0</c:v>
                </c:pt>
                <c:pt idx="5056">
                  <c:v>0</c:v>
                </c:pt>
                <c:pt idx="5057">
                  <c:v>0</c:v>
                </c:pt>
                <c:pt idx="5058">
                  <c:v>0</c:v>
                </c:pt>
                <c:pt idx="5059">
                  <c:v>0</c:v>
                </c:pt>
                <c:pt idx="5060">
                  <c:v>0</c:v>
                </c:pt>
                <c:pt idx="5061">
                  <c:v>0</c:v>
                </c:pt>
                <c:pt idx="5062">
                  <c:v>0</c:v>
                </c:pt>
                <c:pt idx="5063">
                  <c:v>0</c:v>
                </c:pt>
                <c:pt idx="5064">
                  <c:v>0</c:v>
                </c:pt>
                <c:pt idx="5065">
                  <c:v>0</c:v>
                </c:pt>
                <c:pt idx="5066">
                  <c:v>0</c:v>
                </c:pt>
                <c:pt idx="5067">
                  <c:v>0</c:v>
                </c:pt>
                <c:pt idx="5068">
                  <c:v>0</c:v>
                </c:pt>
                <c:pt idx="5069">
                  <c:v>0</c:v>
                </c:pt>
                <c:pt idx="5070">
                  <c:v>0</c:v>
                </c:pt>
                <c:pt idx="5071">
                  <c:v>0</c:v>
                </c:pt>
                <c:pt idx="5072">
                  <c:v>0</c:v>
                </c:pt>
                <c:pt idx="5073">
                  <c:v>0</c:v>
                </c:pt>
                <c:pt idx="5074">
                  <c:v>0</c:v>
                </c:pt>
                <c:pt idx="5075">
                  <c:v>0</c:v>
                </c:pt>
                <c:pt idx="5076">
                  <c:v>0</c:v>
                </c:pt>
                <c:pt idx="5077">
                  <c:v>0</c:v>
                </c:pt>
                <c:pt idx="5078">
                  <c:v>0</c:v>
                </c:pt>
                <c:pt idx="5079">
                  <c:v>0</c:v>
                </c:pt>
                <c:pt idx="5080">
                  <c:v>0</c:v>
                </c:pt>
                <c:pt idx="5081">
                  <c:v>0</c:v>
                </c:pt>
                <c:pt idx="5082">
                  <c:v>0</c:v>
                </c:pt>
                <c:pt idx="5083">
                  <c:v>0</c:v>
                </c:pt>
                <c:pt idx="5084">
                  <c:v>0</c:v>
                </c:pt>
                <c:pt idx="5085">
                  <c:v>0</c:v>
                </c:pt>
                <c:pt idx="5086">
                  <c:v>0</c:v>
                </c:pt>
                <c:pt idx="5087">
                  <c:v>0</c:v>
                </c:pt>
                <c:pt idx="5088">
                  <c:v>0</c:v>
                </c:pt>
                <c:pt idx="5089">
                  <c:v>0</c:v>
                </c:pt>
                <c:pt idx="5090">
                  <c:v>0</c:v>
                </c:pt>
                <c:pt idx="5091">
                  <c:v>0</c:v>
                </c:pt>
                <c:pt idx="5092">
                  <c:v>0</c:v>
                </c:pt>
                <c:pt idx="5093">
                  <c:v>0</c:v>
                </c:pt>
                <c:pt idx="5094">
                  <c:v>0</c:v>
                </c:pt>
                <c:pt idx="5095">
                  <c:v>0</c:v>
                </c:pt>
                <c:pt idx="5096">
                  <c:v>0</c:v>
                </c:pt>
                <c:pt idx="5097">
                  <c:v>0</c:v>
                </c:pt>
                <c:pt idx="5098">
                  <c:v>0</c:v>
                </c:pt>
                <c:pt idx="5099">
                  <c:v>0</c:v>
                </c:pt>
                <c:pt idx="5100">
                  <c:v>0</c:v>
                </c:pt>
                <c:pt idx="5101">
                  <c:v>0</c:v>
                </c:pt>
                <c:pt idx="5102">
                  <c:v>0</c:v>
                </c:pt>
                <c:pt idx="5103">
                  <c:v>0</c:v>
                </c:pt>
                <c:pt idx="5104">
                  <c:v>0</c:v>
                </c:pt>
                <c:pt idx="5105">
                  <c:v>0</c:v>
                </c:pt>
                <c:pt idx="5106">
                  <c:v>0</c:v>
                </c:pt>
                <c:pt idx="5107">
                  <c:v>0</c:v>
                </c:pt>
                <c:pt idx="5108">
                  <c:v>0</c:v>
                </c:pt>
                <c:pt idx="5109">
                  <c:v>0</c:v>
                </c:pt>
                <c:pt idx="5110">
                  <c:v>0</c:v>
                </c:pt>
                <c:pt idx="5111">
                  <c:v>0</c:v>
                </c:pt>
                <c:pt idx="5112">
                  <c:v>0</c:v>
                </c:pt>
                <c:pt idx="5113">
                  <c:v>0</c:v>
                </c:pt>
                <c:pt idx="5114">
                  <c:v>0</c:v>
                </c:pt>
                <c:pt idx="5115">
                  <c:v>0</c:v>
                </c:pt>
                <c:pt idx="5116">
                  <c:v>0</c:v>
                </c:pt>
                <c:pt idx="5117">
                  <c:v>0</c:v>
                </c:pt>
                <c:pt idx="5118">
                  <c:v>0</c:v>
                </c:pt>
                <c:pt idx="5119">
                  <c:v>0</c:v>
                </c:pt>
                <c:pt idx="5120">
                  <c:v>0</c:v>
                </c:pt>
                <c:pt idx="5121">
                  <c:v>0</c:v>
                </c:pt>
                <c:pt idx="5122">
                  <c:v>0</c:v>
                </c:pt>
                <c:pt idx="5123">
                  <c:v>0</c:v>
                </c:pt>
                <c:pt idx="5124">
                  <c:v>0</c:v>
                </c:pt>
                <c:pt idx="5125">
                  <c:v>0</c:v>
                </c:pt>
                <c:pt idx="5126">
                  <c:v>0</c:v>
                </c:pt>
                <c:pt idx="5127">
                  <c:v>0</c:v>
                </c:pt>
                <c:pt idx="5128">
                  <c:v>0</c:v>
                </c:pt>
                <c:pt idx="5129">
                  <c:v>0</c:v>
                </c:pt>
                <c:pt idx="5130">
                  <c:v>0</c:v>
                </c:pt>
                <c:pt idx="5131">
                  <c:v>0</c:v>
                </c:pt>
                <c:pt idx="5132">
                  <c:v>0</c:v>
                </c:pt>
                <c:pt idx="5133">
                  <c:v>0</c:v>
                </c:pt>
                <c:pt idx="5134">
                  <c:v>0</c:v>
                </c:pt>
                <c:pt idx="5135">
                  <c:v>0</c:v>
                </c:pt>
                <c:pt idx="5136">
                  <c:v>0</c:v>
                </c:pt>
                <c:pt idx="5137">
                  <c:v>0</c:v>
                </c:pt>
                <c:pt idx="5138">
                  <c:v>0</c:v>
                </c:pt>
                <c:pt idx="5139">
                  <c:v>0</c:v>
                </c:pt>
                <c:pt idx="5140">
                  <c:v>0</c:v>
                </c:pt>
                <c:pt idx="5141">
                  <c:v>0</c:v>
                </c:pt>
                <c:pt idx="5142">
                  <c:v>0</c:v>
                </c:pt>
                <c:pt idx="5143">
                  <c:v>0</c:v>
                </c:pt>
                <c:pt idx="5144">
                  <c:v>0</c:v>
                </c:pt>
                <c:pt idx="5145">
                  <c:v>0</c:v>
                </c:pt>
                <c:pt idx="5146">
                  <c:v>0</c:v>
                </c:pt>
                <c:pt idx="5147">
                  <c:v>0</c:v>
                </c:pt>
                <c:pt idx="5148">
                  <c:v>0</c:v>
                </c:pt>
                <c:pt idx="5149">
                  <c:v>0</c:v>
                </c:pt>
                <c:pt idx="5150">
                  <c:v>0</c:v>
                </c:pt>
                <c:pt idx="5151">
                  <c:v>0</c:v>
                </c:pt>
                <c:pt idx="5152">
                  <c:v>0</c:v>
                </c:pt>
                <c:pt idx="5153">
                  <c:v>0</c:v>
                </c:pt>
                <c:pt idx="5154">
                  <c:v>0</c:v>
                </c:pt>
                <c:pt idx="5155">
                  <c:v>0</c:v>
                </c:pt>
                <c:pt idx="5156">
                  <c:v>0</c:v>
                </c:pt>
                <c:pt idx="5157">
                  <c:v>0</c:v>
                </c:pt>
                <c:pt idx="5158">
                  <c:v>0</c:v>
                </c:pt>
                <c:pt idx="5159">
                  <c:v>0</c:v>
                </c:pt>
                <c:pt idx="5160">
                  <c:v>0</c:v>
                </c:pt>
                <c:pt idx="5161">
                  <c:v>0</c:v>
                </c:pt>
                <c:pt idx="5162">
                  <c:v>0</c:v>
                </c:pt>
                <c:pt idx="5163">
                  <c:v>0</c:v>
                </c:pt>
                <c:pt idx="5164">
                  <c:v>0</c:v>
                </c:pt>
                <c:pt idx="5165">
                  <c:v>0</c:v>
                </c:pt>
                <c:pt idx="5166">
                  <c:v>0</c:v>
                </c:pt>
                <c:pt idx="5167">
                  <c:v>0</c:v>
                </c:pt>
                <c:pt idx="5168">
                  <c:v>0</c:v>
                </c:pt>
                <c:pt idx="5169">
                  <c:v>0</c:v>
                </c:pt>
                <c:pt idx="5170">
                  <c:v>0</c:v>
                </c:pt>
                <c:pt idx="5171">
                  <c:v>0</c:v>
                </c:pt>
                <c:pt idx="5172">
                  <c:v>0</c:v>
                </c:pt>
                <c:pt idx="5173">
                  <c:v>0</c:v>
                </c:pt>
                <c:pt idx="5174">
                  <c:v>0</c:v>
                </c:pt>
                <c:pt idx="5175">
                  <c:v>0</c:v>
                </c:pt>
                <c:pt idx="5176">
                  <c:v>0</c:v>
                </c:pt>
                <c:pt idx="5177">
                  <c:v>0</c:v>
                </c:pt>
                <c:pt idx="5178">
                  <c:v>0</c:v>
                </c:pt>
                <c:pt idx="5179">
                  <c:v>0</c:v>
                </c:pt>
                <c:pt idx="5180">
                  <c:v>0</c:v>
                </c:pt>
                <c:pt idx="5181">
                  <c:v>0</c:v>
                </c:pt>
                <c:pt idx="5182">
                  <c:v>0</c:v>
                </c:pt>
                <c:pt idx="5183">
                  <c:v>0</c:v>
                </c:pt>
                <c:pt idx="5184">
                  <c:v>0</c:v>
                </c:pt>
                <c:pt idx="5185">
                  <c:v>0</c:v>
                </c:pt>
                <c:pt idx="5186">
                  <c:v>0</c:v>
                </c:pt>
                <c:pt idx="5187">
                  <c:v>0</c:v>
                </c:pt>
                <c:pt idx="5188">
                  <c:v>0</c:v>
                </c:pt>
                <c:pt idx="5189">
                  <c:v>0</c:v>
                </c:pt>
                <c:pt idx="5190">
                  <c:v>0</c:v>
                </c:pt>
                <c:pt idx="5191">
                  <c:v>0</c:v>
                </c:pt>
                <c:pt idx="5192">
                  <c:v>0</c:v>
                </c:pt>
                <c:pt idx="5193">
                  <c:v>0</c:v>
                </c:pt>
                <c:pt idx="5194">
                  <c:v>0</c:v>
                </c:pt>
                <c:pt idx="5195">
                  <c:v>0</c:v>
                </c:pt>
                <c:pt idx="5196">
                  <c:v>0</c:v>
                </c:pt>
                <c:pt idx="5197">
                  <c:v>0</c:v>
                </c:pt>
                <c:pt idx="5198">
                  <c:v>0</c:v>
                </c:pt>
                <c:pt idx="5199">
                  <c:v>0</c:v>
                </c:pt>
                <c:pt idx="5200">
                  <c:v>0</c:v>
                </c:pt>
                <c:pt idx="5201">
                  <c:v>0</c:v>
                </c:pt>
                <c:pt idx="5202">
                  <c:v>0</c:v>
                </c:pt>
                <c:pt idx="5203">
                  <c:v>0</c:v>
                </c:pt>
                <c:pt idx="5204">
                  <c:v>0</c:v>
                </c:pt>
                <c:pt idx="5205">
                  <c:v>0</c:v>
                </c:pt>
                <c:pt idx="5206">
                  <c:v>0</c:v>
                </c:pt>
                <c:pt idx="5207">
                  <c:v>0</c:v>
                </c:pt>
                <c:pt idx="5208">
                  <c:v>0</c:v>
                </c:pt>
                <c:pt idx="5209">
                  <c:v>0</c:v>
                </c:pt>
                <c:pt idx="5210">
                  <c:v>0</c:v>
                </c:pt>
                <c:pt idx="5211">
                  <c:v>0</c:v>
                </c:pt>
                <c:pt idx="5212">
                  <c:v>0</c:v>
                </c:pt>
                <c:pt idx="5213">
                  <c:v>0</c:v>
                </c:pt>
                <c:pt idx="5214">
                  <c:v>0</c:v>
                </c:pt>
                <c:pt idx="5215">
                  <c:v>0</c:v>
                </c:pt>
                <c:pt idx="5216">
                  <c:v>0</c:v>
                </c:pt>
                <c:pt idx="5217">
                  <c:v>0</c:v>
                </c:pt>
                <c:pt idx="5218">
                  <c:v>0</c:v>
                </c:pt>
                <c:pt idx="5219">
                  <c:v>0</c:v>
                </c:pt>
                <c:pt idx="5220">
                  <c:v>0</c:v>
                </c:pt>
                <c:pt idx="5221">
                  <c:v>0</c:v>
                </c:pt>
                <c:pt idx="5222">
                  <c:v>0</c:v>
                </c:pt>
                <c:pt idx="5223">
                  <c:v>0</c:v>
                </c:pt>
                <c:pt idx="5224">
                  <c:v>0</c:v>
                </c:pt>
                <c:pt idx="5225">
                  <c:v>0</c:v>
                </c:pt>
                <c:pt idx="5226">
                  <c:v>0</c:v>
                </c:pt>
                <c:pt idx="5227">
                  <c:v>0</c:v>
                </c:pt>
                <c:pt idx="5228">
                  <c:v>0</c:v>
                </c:pt>
                <c:pt idx="5229">
                  <c:v>0</c:v>
                </c:pt>
                <c:pt idx="5230">
                  <c:v>0</c:v>
                </c:pt>
                <c:pt idx="5231">
                  <c:v>0</c:v>
                </c:pt>
                <c:pt idx="5232">
                  <c:v>0</c:v>
                </c:pt>
                <c:pt idx="5233">
                  <c:v>0</c:v>
                </c:pt>
                <c:pt idx="5234">
                  <c:v>0</c:v>
                </c:pt>
                <c:pt idx="5235">
                  <c:v>0</c:v>
                </c:pt>
                <c:pt idx="5236">
                  <c:v>0</c:v>
                </c:pt>
                <c:pt idx="5237">
                  <c:v>0</c:v>
                </c:pt>
                <c:pt idx="5238">
                  <c:v>0</c:v>
                </c:pt>
                <c:pt idx="5239">
                  <c:v>0</c:v>
                </c:pt>
                <c:pt idx="5240">
                  <c:v>0</c:v>
                </c:pt>
                <c:pt idx="5241">
                  <c:v>0</c:v>
                </c:pt>
                <c:pt idx="5242">
                  <c:v>0</c:v>
                </c:pt>
                <c:pt idx="5243">
                  <c:v>0</c:v>
                </c:pt>
                <c:pt idx="5244">
                  <c:v>0</c:v>
                </c:pt>
                <c:pt idx="5245">
                  <c:v>0</c:v>
                </c:pt>
                <c:pt idx="5246">
                  <c:v>0</c:v>
                </c:pt>
                <c:pt idx="5247">
                  <c:v>0</c:v>
                </c:pt>
                <c:pt idx="5248">
                  <c:v>0</c:v>
                </c:pt>
                <c:pt idx="5249">
                  <c:v>0</c:v>
                </c:pt>
                <c:pt idx="5250">
                  <c:v>0</c:v>
                </c:pt>
                <c:pt idx="5251">
                  <c:v>0</c:v>
                </c:pt>
                <c:pt idx="5252">
                  <c:v>0</c:v>
                </c:pt>
                <c:pt idx="5253">
                  <c:v>0</c:v>
                </c:pt>
                <c:pt idx="5254">
                  <c:v>0</c:v>
                </c:pt>
                <c:pt idx="5255">
                  <c:v>0</c:v>
                </c:pt>
                <c:pt idx="5256">
                  <c:v>0</c:v>
                </c:pt>
                <c:pt idx="5257">
                  <c:v>0</c:v>
                </c:pt>
                <c:pt idx="5258">
                  <c:v>0</c:v>
                </c:pt>
                <c:pt idx="5259">
                  <c:v>0</c:v>
                </c:pt>
                <c:pt idx="5260">
                  <c:v>0</c:v>
                </c:pt>
                <c:pt idx="5261">
                  <c:v>0</c:v>
                </c:pt>
                <c:pt idx="5262">
                  <c:v>0</c:v>
                </c:pt>
                <c:pt idx="5263">
                  <c:v>0</c:v>
                </c:pt>
                <c:pt idx="5264">
                  <c:v>0</c:v>
                </c:pt>
                <c:pt idx="5265">
                  <c:v>0</c:v>
                </c:pt>
                <c:pt idx="5266">
                  <c:v>0</c:v>
                </c:pt>
                <c:pt idx="5267">
                  <c:v>0</c:v>
                </c:pt>
                <c:pt idx="5268">
                  <c:v>0</c:v>
                </c:pt>
                <c:pt idx="5269">
                  <c:v>0</c:v>
                </c:pt>
                <c:pt idx="5270">
                  <c:v>0</c:v>
                </c:pt>
                <c:pt idx="5271">
                  <c:v>0</c:v>
                </c:pt>
                <c:pt idx="5272">
                  <c:v>0</c:v>
                </c:pt>
                <c:pt idx="5273">
                  <c:v>0</c:v>
                </c:pt>
                <c:pt idx="5274">
                  <c:v>0</c:v>
                </c:pt>
                <c:pt idx="5275">
                  <c:v>0</c:v>
                </c:pt>
                <c:pt idx="5276">
                  <c:v>0</c:v>
                </c:pt>
                <c:pt idx="5277">
                  <c:v>0</c:v>
                </c:pt>
                <c:pt idx="5278">
                  <c:v>0</c:v>
                </c:pt>
                <c:pt idx="5279">
                  <c:v>0</c:v>
                </c:pt>
                <c:pt idx="5280">
                  <c:v>0</c:v>
                </c:pt>
                <c:pt idx="5281">
                  <c:v>0</c:v>
                </c:pt>
                <c:pt idx="5282">
                  <c:v>0</c:v>
                </c:pt>
                <c:pt idx="5283">
                  <c:v>0</c:v>
                </c:pt>
                <c:pt idx="5284">
                  <c:v>0</c:v>
                </c:pt>
                <c:pt idx="5285">
                  <c:v>0</c:v>
                </c:pt>
                <c:pt idx="5286">
                  <c:v>0</c:v>
                </c:pt>
                <c:pt idx="5287">
                  <c:v>0</c:v>
                </c:pt>
                <c:pt idx="5288">
                  <c:v>0</c:v>
                </c:pt>
                <c:pt idx="5289">
                  <c:v>0</c:v>
                </c:pt>
                <c:pt idx="5290">
                  <c:v>0</c:v>
                </c:pt>
                <c:pt idx="5291">
                  <c:v>0</c:v>
                </c:pt>
                <c:pt idx="5292">
                  <c:v>0</c:v>
                </c:pt>
                <c:pt idx="5293">
                  <c:v>0</c:v>
                </c:pt>
                <c:pt idx="5294">
                  <c:v>0</c:v>
                </c:pt>
                <c:pt idx="5295">
                  <c:v>0</c:v>
                </c:pt>
                <c:pt idx="5296">
                  <c:v>0</c:v>
                </c:pt>
                <c:pt idx="5297">
                  <c:v>0</c:v>
                </c:pt>
                <c:pt idx="5298">
                  <c:v>0</c:v>
                </c:pt>
                <c:pt idx="5299">
                  <c:v>0</c:v>
                </c:pt>
                <c:pt idx="5300">
                  <c:v>0</c:v>
                </c:pt>
                <c:pt idx="5301">
                  <c:v>0</c:v>
                </c:pt>
                <c:pt idx="5302">
                  <c:v>0</c:v>
                </c:pt>
                <c:pt idx="5303">
                  <c:v>0</c:v>
                </c:pt>
                <c:pt idx="5304">
                  <c:v>0</c:v>
                </c:pt>
                <c:pt idx="5305">
                  <c:v>0</c:v>
                </c:pt>
                <c:pt idx="5306">
                  <c:v>0</c:v>
                </c:pt>
                <c:pt idx="5307">
                  <c:v>0</c:v>
                </c:pt>
                <c:pt idx="5308">
                  <c:v>0</c:v>
                </c:pt>
                <c:pt idx="5309">
                  <c:v>0</c:v>
                </c:pt>
                <c:pt idx="5310">
                  <c:v>0</c:v>
                </c:pt>
                <c:pt idx="5311">
                  <c:v>0</c:v>
                </c:pt>
                <c:pt idx="5312">
                  <c:v>0</c:v>
                </c:pt>
                <c:pt idx="5313">
                  <c:v>0</c:v>
                </c:pt>
                <c:pt idx="5314">
                  <c:v>0</c:v>
                </c:pt>
                <c:pt idx="5315">
                  <c:v>0</c:v>
                </c:pt>
                <c:pt idx="5316">
                  <c:v>0</c:v>
                </c:pt>
                <c:pt idx="5317">
                  <c:v>0</c:v>
                </c:pt>
                <c:pt idx="5318">
                  <c:v>0</c:v>
                </c:pt>
                <c:pt idx="5319">
                  <c:v>0</c:v>
                </c:pt>
                <c:pt idx="5320">
                  <c:v>0</c:v>
                </c:pt>
                <c:pt idx="5321">
                  <c:v>0</c:v>
                </c:pt>
                <c:pt idx="5322">
                  <c:v>0</c:v>
                </c:pt>
                <c:pt idx="5323">
                  <c:v>0</c:v>
                </c:pt>
                <c:pt idx="5324">
                  <c:v>0</c:v>
                </c:pt>
                <c:pt idx="5325">
                  <c:v>0</c:v>
                </c:pt>
                <c:pt idx="5326">
                  <c:v>0</c:v>
                </c:pt>
                <c:pt idx="5327">
                  <c:v>0</c:v>
                </c:pt>
                <c:pt idx="5328">
                  <c:v>0</c:v>
                </c:pt>
                <c:pt idx="5329">
                  <c:v>0</c:v>
                </c:pt>
                <c:pt idx="5330">
                  <c:v>0</c:v>
                </c:pt>
                <c:pt idx="5331">
                  <c:v>0</c:v>
                </c:pt>
                <c:pt idx="5332">
                  <c:v>0</c:v>
                </c:pt>
                <c:pt idx="5333">
                  <c:v>0</c:v>
                </c:pt>
                <c:pt idx="5334">
                  <c:v>0</c:v>
                </c:pt>
                <c:pt idx="5335">
                  <c:v>0</c:v>
                </c:pt>
                <c:pt idx="5336">
                  <c:v>0</c:v>
                </c:pt>
                <c:pt idx="5337">
                  <c:v>0</c:v>
                </c:pt>
                <c:pt idx="5338">
                  <c:v>0</c:v>
                </c:pt>
                <c:pt idx="5339">
                  <c:v>0</c:v>
                </c:pt>
                <c:pt idx="5340">
                  <c:v>0</c:v>
                </c:pt>
                <c:pt idx="5341">
                  <c:v>0</c:v>
                </c:pt>
                <c:pt idx="5342">
                  <c:v>0</c:v>
                </c:pt>
                <c:pt idx="5343">
                  <c:v>0</c:v>
                </c:pt>
                <c:pt idx="5344">
                  <c:v>0</c:v>
                </c:pt>
                <c:pt idx="5345">
                  <c:v>0</c:v>
                </c:pt>
                <c:pt idx="5346">
                  <c:v>0</c:v>
                </c:pt>
                <c:pt idx="5347">
                  <c:v>0</c:v>
                </c:pt>
                <c:pt idx="5348">
                  <c:v>0</c:v>
                </c:pt>
                <c:pt idx="5349">
                  <c:v>0</c:v>
                </c:pt>
                <c:pt idx="5350">
                  <c:v>0</c:v>
                </c:pt>
                <c:pt idx="5351">
                  <c:v>0</c:v>
                </c:pt>
                <c:pt idx="5352">
                  <c:v>0</c:v>
                </c:pt>
                <c:pt idx="5353">
                  <c:v>0</c:v>
                </c:pt>
                <c:pt idx="5354">
                  <c:v>0</c:v>
                </c:pt>
                <c:pt idx="5355">
                  <c:v>0</c:v>
                </c:pt>
                <c:pt idx="5356">
                  <c:v>0</c:v>
                </c:pt>
                <c:pt idx="5357">
                  <c:v>0</c:v>
                </c:pt>
                <c:pt idx="5358">
                  <c:v>0</c:v>
                </c:pt>
                <c:pt idx="5359">
                  <c:v>0</c:v>
                </c:pt>
                <c:pt idx="5360">
                  <c:v>0</c:v>
                </c:pt>
                <c:pt idx="5361">
                  <c:v>0</c:v>
                </c:pt>
                <c:pt idx="5362">
                  <c:v>0</c:v>
                </c:pt>
                <c:pt idx="5363">
                  <c:v>0</c:v>
                </c:pt>
                <c:pt idx="5364">
                  <c:v>0</c:v>
                </c:pt>
                <c:pt idx="5365">
                  <c:v>0</c:v>
                </c:pt>
                <c:pt idx="5366">
                  <c:v>0</c:v>
                </c:pt>
                <c:pt idx="5367">
                  <c:v>0</c:v>
                </c:pt>
                <c:pt idx="5368">
                  <c:v>0</c:v>
                </c:pt>
                <c:pt idx="5369">
                  <c:v>0</c:v>
                </c:pt>
                <c:pt idx="5370">
                  <c:v>0</c:v>
                </c:pt>
                <c:pt idx="5371">
                  <c:v>0</c:v>
                </c:pt>
                <c:pt idx="5372">
                  <c:v>0</c:v>
                </c:pt>
                <c:pt idx="5373">
                  <c:v>0</c:v>
                </c:pt>
                <c:pt idx="5374">
                  <c:v>0</c:v>
                </c:pt>
                <c:pt idx="5375">
                  <c:v>0</c:v>
                </c:pt>
                <c:pt idx="5376">
                  <c:v>0</c:v>
                </c:pt>
                <c:pt idx="5377">
                  <c:v>0</c:v>
                </c:pt>
                <c:pt idx="5378">
                  <c:v>0</c:v>
                </c:pt>
                <c:pt idx="5379">
                  <c:v>0</c:v>
                </c:pt>
                <c:pt idx="5380">
                  <c:v>0</c:v>
                </c:pt>
                <c:pt idx="5381">
                  <c:v>0</c:v>
                </c:pt>
                <c:pt idx="5382">
                  <c:v>0</c:v>
                </c:pt>
                <c:pt idx="5383">
                  <c:v>0</c:v>
                </c:pt>
                <c:pt idx="5384">
                  <c:v>0</c:v>
                </c:pt>
                <c:pt idx="5385">
                  <c:v>0</c:v>
                </c:pt>
                <c:pt idx="5386">
                  <c:v>0</c:v>
                </c:pt>
                <c:pt idx="5387">
                  <c:v>0</c:v>
                </c:pt>
                <c:pt idx="5388">
                  <c:v>0</c:v>
                </c:pt>
                <c:pt idx="5389">
                  <c:v>0</c:v>
                </c:pt>
                <c:pt idx="5390">
                  <c:v>0</c:v>
                </c:pt>
                <c:pt idx="5391">
                  <c:v>0</c:v>
                </c:pt>
                <c:pt idx="5392">
                  <c:v>0</c:v>
                </c:pt>
                <c:pt idx="5393">
                  <c:v>0</c:v>
                </c:pt>
                <c:pt idx="5394">
                  <c:v>0</c:v>
                </c:pt>
                <c:pt idx="5395">
                  <c:v>0</c:v>
                </c:pt>
                <c:pt idx="5396">
                  <c:v>0</c:v>
                </c:pt>
                <c:pt idx="5397">
                  <c:v>0</c:v>
                </c:pt>
                <c:pt idx="5398">
                  <c:v>0</c:v>
                </c:pt>
                <c:pt idx="5399">
                  <c:v>0</c:v>
                </c:pt>
                <c:pt idx="5400">
                  <c:v>0</c:v>
                </c:pt>
                <c:pt idx="5401">
                  <c:v>0</c:v>
                </c:pt>
                <c:pt idx="5402">
                  <c:v>0</c:v>
                </c:pt>
                <c:pt idx="5403">
                  <c:v>0</c:v>
                </c:pt>
                <c:pt idx="5404">
                  <c:v>0</c:v>
                </c:pt>
                <c:pt idx="5405">
                  <c:v>0</c:v>
                </c:pt>
                <c:pt idx="5406">
                  <c:v>0</c:v>
                </c:pt>
                <c:pt idx="5407">
                  <c:v>0</c:v>
                </c:pt>
                <c:pt idx="5408">
                  <c:v>0</c:v>
                </c:pt>
                <c:pt idx="5409">
                  <c:v>0</c:v>
                </c:pt>
                <c:pt idx="5410">
                  <c:v>0</c:v>
                </c:pt>
                <c:pt idx="5411">
                  <c:v>0</c:v>
                </c:pt>
                <c:pt idx="5412">
                  <c:v>0</c:v>
                </c:pt>
                <c:pt idx="5413">
                  <c:v>0</c:v>
                </c:pt>
                <c:pt idx="5414">
                  <c:v>0</c:v>
                </c:pt>
                <c:pt idx="5415">
                  <c:v>0</c:v>
                </c:pt>
                <c:pt idx="5416">
                  <c:v>0</c:v>
                </c:pt>
                <c:pt idx="5417">
                  <c:v>0</c:v>
                </c:pt>
                <c:pt idx="5418">
                  <c:v>0</c:v>
                </c:pt>
                <c:pt idx="5419">
                  <c:v>0</c:v>
                </c:pt>
                <c:pt idx="5420">
                  <c:v>0</c:v>
                </c:pt>
                <c:pt idx="5421">
                  <c:v>0</c:v>
                </c:pt>
                <c:pt idx="5422">
                  <c:v>0</c:v>
                </c:pt>
                <c:pt idx="5423">
                  <c:v>0</c:v>
                </c:pt>
                <c:pt idx="5424">
                  <c:v>0</c:v>
                </c:pt>
                <c:pt idx="5425">
                  <c:v>0</c:v>
                </c:pt>
                <c:pt idx="5426">
                  <c:v>0</c:v>
                </c:pt>
                <c:pt idx="5427">
                  <c:v>0</c:v>
                </c:pt>
                <c:pt idx="5428">
                  <c:v>0</c:v>
                </c:pt>
                <c:pt idx="5429">
                  <c:v>0</c:v>
                </c:pt>
                <c:pt idx="5430">
                  <c:v>0</c:v>
                </c:pt>
                <c:pt idx="5431">
                  <c:v>0</c:v>
                </c:pt>
                <c:pt idx="5432">
                  <c:v>0</c:v>
                </c:pt>
                <c:pt idx="5433">
                  <c:v>0</c:v>
                </c:pt>
                <c:pt idx="5434">
                  <c:v>0</c:v>
                </c:pt>
                <c:pt idx="5435">
                  <c:v>0</c:v>
                </c:pt>
                <c:pt idx="5436">
                  <c:v>0</c:v>
                </c:pt>
                <c:pt idx="5437">
                  <c:v>0</c:v>
                </c:pt>
                <c:pt idx="5438">
                  <c:v>0</c:v>
                </c:pt>
                <c:pt idx="5439">
                  <c:v>0</c:v>
                </c:pt>
                <c:pt idx="5440">
                  <c:v>0</c:v>
                </c:pt>
                <c:pt idx="5441">
                  <c:v>0</c:v>
                </c:pt>
                <c:pt idx="5442">
                  <c:v>0</c:v>
                </c:pt>
                <c:pt idx="5443">
                  <c:v>0</c:v>
                </c:pt>
                <c:pt idx="5444">
                  <c:v>0</c:v>
                </c:pt>
                <c:pt idx="5445">
                  <c:v>0</c:v>
                </c:pt>
                <c:pt idx="5446">
                  <c:v>0</c:v>
                </c:pt>
                <c:pt idx="5447">
                  <c:v>0</c:v>
                </c:pt>
                <c:pt idx="5448">
                  <c:v>0</c:v>
                </c:pt>
                <c:pt idx="5449">
                  <c:v>0</c:v>
                </c:pt>
                <c:pt idx="5450">
                  <c:v>0</c:v>
                </c:pt>
                <c:pt idx="5451">
                  <c:v>0</c:v>
                </c:pt>
                <c:pt idx="5452">
                  <c:v>0</c:v>
                </c:pt>
                <c:pt idx="5453">
                  <c:v>0</c:v>
                </c:pt>
                <c:pt idx="5454">
                  <c:v>0</c:v>
                </c:pt>
                <c:pt idx="5455">
                  <c:v>0</c:v>
                </c:pt>
                <c:pt idx="5456">
                  <c:v>0</c:v>
                </c:pt>
                <c:pt idx="5457">
                  <c:v>0</c:v>
                </c:pt>
                <c:pt idx="5458">
                  <c:v>0</c:v>
                </c:pt>
                <c:pt idx="5459">
                  <c:v>0</c:v>
                </c:pt>
                <c:pt idx="5460">
                  <c:v>0</c:v>
                </c:pt>
                <c:pt idx="5461">
                  <c:v>0</c:v>
                </c:pt>
                <c:pt idx="5462">
                  <c:v>0</c:v>
                </c:pt>
                <c:pt idx="5463">
                  <c:v>0</c:v>
                </c:pt>
                <c:pt idx="5464">
                  <c:v>0</c:v>
                </c:pt>
                <c:pt idx="5465">
                  <c:v>0</c:v>
                </c:pt>
                <c:pt idx="5466">
                  <c:v>0</c:v>
                </c:pt>
                <c:pt idx="5467">
                  <c:v>0</c:v>
                </c:pt>
                <c:pt idx="5468">
                  <c:v>0</c:v>
                </c:pt>
                <c:pt idx="5469">
                  <c:v>0</c:v>
                </c:pt>
                <c:pt idx="5470">
                  <c:v>0</c:v>
                </c:pt>
                <c:pt idx="5471">
                  <c:v>0</c:v>
                </c:pt>
                <c:pt idx="5472">
                  <c:v>0</c:v>
                </c:pt>
                <c:pt idx="5473">
                  <c:v>0</c:v>
                </c:pt>
                <c:pt idx="5474">
                  <c:v>0</c:v>
                </c:pt>
                <c:pt idx="5475">
                  <c:v>0</c:v>
                </c:pt>
                <c:pt idx="5476">
                  <c:v>0</c:v>
                </c:pt>
                <c:pt idx="5477">
                  <c:v>0</c:v>
                </c:pt>
                <c:pt idx="5478">
                  <c:v>0</c:v>
                </c:pt>
                <c:pt idx="5479">
                  <c:v>0</c:v>
                </c:pt>
                <c:pt idx="5480">
                  <c:v>0</c:v>
                </c:pt>
                <c:pt idx="5481">
                  <c:v>0</c:v>
                </c:pt>
                <c:pt idx="5482">
                  <c:v>0</c:v>
                </c:pt>
                <c:pt idx="5483">
                  <c:v>0</c:v>
                </c:pt>
                <c:pt idx="5484">
                  <c:v>0</c:v>
                </c:pt>
                <c:pt idx="5485">
                  <c:v>0</c:v>
                </c:pt>
                <c:pt idx="5486">
                  <c:v>0</c:v>
                </c:pt>
                <c:pt idx="5487">
                  <c:v>0</c:v>
                </c:pt>
                <c:pt idx="5488">
                  <c:v>0</c:v>
                </c:pt>
                <c:pt idx="5489">
                  <c:v>0</c:v>
                </c:pt>
                <c:pt idx="5490">
                  <c:v>0</c:v>
                </c:pt>
                <c:pt idx="5491">
                  <c:v>0</c:v>
                </c:pt>
                <c:pt idx="5492">
                  <c:v>0</c:v>
                </c:pt>
                <c:pt idx="5493">
                  <c:v>0</c:v>
                </c:pt>
                <c:pt idx="5494">
                  <c:v>0</c:v>
                </c:pt>
                <c:pt idx="5495">
                  <c:v>0</c:v>
                </c:pt>
                <c:pt idx="5496">
                  <c:v>0</c:v>
                </c:pt>
                <c:pt idx="5497">
                  <c:v>0</c:v>
                </c:pt>
                <c:pt idx="5498">
                  <c:v>0</c:v>
                </c:pt>
                <c:pt idx="5499">
                  <c:v>0</c:v>
                </c:pt>
                <c:pt idx="5500">
                  <c:v>0</c:v>
                </c:pt>
                <c:pt idx="5501">
                  <c:v>0</c:v>
                </c:pt>
                <c:pt idx="5502">
                  <c:v>0</c:v>
                </c:pt>
                <c:pt idx="5503">
                  <c:v>0</c:v>
                </c:pt>
                <c:pt idx="5504">
                  <c:v>0</c:v>
                </c:pt>
                <c:pt idx="5505">
                  <c:v>0</c:v>
                </c:pt>
                <c:pt idx="5506">
                  <c:v>0</c:v>
                </c:pt>
                <c:pt idx="5507">
                  <c:v>0</c:v>
                </c:pt>
                <c:pt idx="5508">
                  <c:v>0</c:v>
                </c:pt>
                <c:pt idx="5509">
                  <c:v>0</c:v>
                </c:pt>
                <c:pt idx="5510">
                  <c:v>0</c:v>
                </c:pt>
                <c:pt idx="5511">
                  <c:v>0</c:v>
                </c:pt>
                <c:pt idx="5512">
                  <c:v>0</c:v>
                </c:pt>
                <c:pt idx="5513">
                  <c:v>0</c:v>
                </c:pt>
                <c:pt idx="5514">
                  <c:v>0</c:v>
                </c:pt>
                <c:pt idx="5515">
                  <c:v>0</c:v>
                </c:pt>
                <c:pt idx="5516">
                  <c:v>0</c:v>
                </c:pt>
                <c:pt idx="5517">
                  <c:v>0</c:v>
                </c:pt>
                <c:pt idx="5518">
                  <c:v>0</c:v>
                </c:pt>
                <c:pt idx="5519">
                  <c:v>0</c:v>
                </c:pt>
                <c:pt idx="5520">
                  <c:v>0</c:v>
                </c:pt>
                <c:pt idx="5521">
                  <c:v>0</c:v>
                </c:pt>
                <c:pt idx="5522">
                  <c:v>0</c:v>
                </c:pt>
                <c:pt idx="5523">
                  <c:v>0</c:v>
                </c:pt>
                <c:pt idx="5524">
                  <c:v>0</c:v>
                </c:pt>
                <c:pt idx="5525">
                  <c:v>0</c:v>
                </c:pt>
                <c:pt idx="5526">
                  <c:v>0</c:v>
                </c:pt>
                <c:pt idx="5527">
                  <c:v>0</c:v>
                </c:pt>
                <c:pt idx="5528">
                  <c:v>0</c:v>
                </c:pt>
                <c:pt idx="5529">
                  <c:v>0</c:v>
                </c:pt>
                <c:pt idx="5530">
                  <c:v>0</c:v>
                </c:pt>
                <c:pt idx="5531">
                  <c:v>0</c:v>
                </c:pt>
                <c:pt idx="5532">
                  <c:v>0</c:v>
                </c:pt>
                <c:pt idx="5533">
                  <c:v>0</c:v>
                </c:pt>
                <c:pt idx="5534">
                  <c:v>0</c:v>
                </c:pt>
                <c:pt idx="5535">
                  <c:v>0</c:v>
                </c:pt>
                <c:pt idx="5536">
                  <c:v>0</c:v>
                </c:pt>
                <c:pt idx="5537">
                  <c:v>0</c:v>
                </c:pt>
                <c:pt idx="5538">
                  <c:v>0</c:v>
                </c:pt>
                <c:pt idx="5539">
                  <c:v>0</c:v>
                </c:pt>
                <c:pt idx="5540">
                  <c:v>0</c:v>
                </c:pt>
                <c:pt idx="5541">
                  <c:v>0</c:v>
                </c:pt>
                <c:pt idx="5542">
                  <c:v>0</c:v>
                </c:pt>
                <c:pt idx="5543">
                  <c:v>0</c:v>
                </c:pt>
                <c:pt idx="5544">
                  <c:v>0</c:v>
                </c:pt>
                <c:pt idx="5545">
                  <c:v>0</c:v>
                </c:pt>
                <c:pt idx="5546">
                  <c:v>0</c:v>
                </c:pt>
                <c:pt idx="5547">
                  <c:v>0</c:v>
                </c:pt>
                <c:pt idx="5548">
                  <c:v>0</c:v>
                </c:pt>
                <c:pt idx="5549">
                  <c:v>0</c:v>
                </c:pt>
                <c:pt idx="5550">
                  <c:v>0</c:v>
                </c:pt>
                <c:pt idx="5551">
                  <c:v>0</c:v>
                </c:pt>
                <c:pt idx="5552">
                  <c:v>0</c:v>
                </c:pt>
                <c:pt idx="5553">
                  <c:v>0</c:v>
                </c:pt>
                <c:pt idx="5554">
                  <c:v>0</c:v>
                </c:pt>
                <c:pt idx="5555">
                  <c:v>0</c:v>
                </c:pt>
                <c:pt idx="5556">
                  <c:v>0</c:v>
                </c:pt>
                <c:pt idx="5557">
                  <c:v>0</c:v>
                </c:pt>
                <c:pt idx="5558">
                  <c:v>0</c:v>
                </c:pt>
                <c:pt idx="5559">
                  <c:v>0</c:v>
                </c:pt>
                <c:pt idx="5560">
                  <c:v>0</c:v>
                </c:pt>
                <c:pt idx="5561">
                  <c:v>0</c:v>
                </c:pt>
                <c:pt idx="5562">
                  <c:v>0</c:v>
                </c:pt>
                <c:pt idx="5563">
                  <c:v>0</c:v>
                </c:pt>
                <c:pt idx="5564">
                  <c:v>0</c:v>
                </c:pt>
                <c:pt idx="5565">
                  <c:v>0</c:v>
                </c:pt>
                <c:pt idx="5566">
                  <c:v>0</c:v>
                </c:pt>
                <c:pt idx="5567">
                  <c:v>0</c:v>
                </c:pt>
                <c:pt idx="5568">
                  <c:v>0</c:v>
                </c:pt>
                <c:pt idx="5569">
                  <c:v>0</c:v>
                </c:pt>
                <c:pt idx="5570">
                  <c:v>0</c:v>
                </c:pt>
                <c:pt idx="5571">
                  <c:v>0</c:v>
                </c:pt>
                <c:pt idx="5572">
                  <c:v>0</c:v>
                </c:pt>
                <c:pt idx="5573">
                  <c:v>0</c:v>
                </c:pt>
                <c:pt idx="5574">
                  <c:v>0</c:v>
                </c:pt>
                <c:pt idx="5575">
                  <c:v>0</c:v>
                </c:pt>
                <c:pt idx="5576">
                  <c:v>0</c:v>
                </c:pt>
                <c:pt idx="5577">
                  <c:v>0</c:v>
                </c:pt>
                <c:pt idx="5578">
                  <c:v>0</c:v>
                </c:pt>
                <c:pt idx="5579">
                  <c:v>0</c:v>
                </c:pt>
                <c:pt idx="5580">
                  <c:v>0</c:v>
                </c:pt>
                <c:pt idx="5581">
                  <c:v>0</c:v>
                </c:pt>
                <c:pt idx="5582">
                  <c:v>0</c:v>
                </c:pt>
                <c:pt idx="5583">
                  <c:v>0</c:v>
                </c:pt>
                <c:pt idx="5584">
                  <c:v>0</c:v>
                </c:pt>
                <c:pt idx="5585">
                  <c:v>0</c:v>
                </c:pt>
                <c:pt idx="5586">
                  <c:v>0</c:v>
                </c:pt>
                <c:pt idx="5587">
                  <c:v>0</c:v>
                </c:pt>
                <c:pt idx="5588">
                  <c:v>0</c:v>
                </c:pt>
                <c:pt idx="5589">
                  <c:v>0</c:v>
                </c:pt>
                <c:pt idx="5590">
                  <c:v>0</c:v>
                </c:pt>
                <c:pt idx="5591">
                  <c:v>0</c:v>
                </c:pt>
                <c:pt idx="5592">
                  <c:v>0</c:v>
                </c:pt>
                <c:pt idx="5593">
                  <c:v>0</c:v>
                </c:pt>
                <c:pt idx="5594">
                  <c:v>0</c:v>
                </c:pt>
                <c:pt idx="5595">
                  <c:v>0</c:v>
                </c:pt>
                <c:pt idx="5596">
                  <c:v>0</c:v>
                </c:pt>
                <c:pt idx="5597">
                  <c:v>0</c:v>
                </c:pt>
                <c:pt idx="5598">
                  <c:v>0</c:v>
                </c:pt>
                <c:pt idx="5599">
                  <c:v>0</c:v>
                </c:pt>
                <c:pt idx="5600">
                  <c:v>0</c:v>
                </c:pt>
                <c:pt idx="5601">
                  <c:v>0</c:v>
                </c:pt>
                <c:pt idx="5602">
                  <c:v>0</c:v>
                </c:pt>
                <c:pt idx="5603">
                  <c:v>0</c:v>
                </c:pt>
                <c:pt idx="5604">
                  <c:v>0</c:v>
                </c:pt>
                <c:pt idx="5605">
                  <c:v>0</c:v>
                </c:pt>
                <c:pt idx="5606">
                  <c:v>0</c:v>
                </c:pt>
                <c:pt idx="5607">
                  <c:v>0</c:v>
                </c:pt>
                <c:pt idx="5608">
                  <c:v>0</c:v>
                </c:pt>
                <c:pt idx="5609">
                  <c:v>0</c:v>
                </c:pt>
                <c:pt idx="5610">
                  <c:v>0</c:v>
                </c:pt>
                <c:pt idx="5611">
                  <c:v>0</c:v>
                </c:pt>
                <c:pt idx="5612">
                  <c:v>0</c:v>
                </c:pt>
                <c:pt idx="5613">
                  <c:v>0</c:v>
                </c:pt>
                <c:pt idx="5614">
                  <c:v>0</c:v>
                </c:pt>
                <c:pt idx="5615">
                  <c:v>0</c:v>
                </c:pt>
                <c:pt idx="5616">
                  <c:v>0</c:v>
                </c:pt>
                <c:pt idx="5617">
                  <c:v>0</c:v>
                </c:pt>
                <c:pt idx="5618">
                  <c:v>0</c:v>
                </c:pt>
                <c:pt idx="5619">
                  <c:v>0</c:v>
                </c:pt>
                <c:pt idx="5620">
                  <c:v>0</c:v>
                </c:pt>
                <c:pt idx="5621">
                  <c:v>0</c:v>
                </c:pt>
                <c:pt idx="5622">
                  <c:v>0</c:v>
                </c:pt>
                <c:pt idx="5623">
                  <c:v>0</c:v>
                </c:pt>
                <c:pt idx="5624">
                  <c:v>0</c:v>
                </c:pt>
                <c:pt idx="5625">
                  <c:v>0</c:v>
                </c:pt>
                <c:pt idx="5626">
                  <c:v>0</c:v>
                </c:pt>
                <c:pt idx="5627">
                  <c:v>0</c:v>
                </c:pt>
                <c:pt idx="5628">
                  <c:v>0</c:v>
                </c:pt>
                <c:pt idx="5629">
                  <c:v>0</c:v>
                </c:pt>
                <c:pt idx="5630">
                  <c:v>0</c:v>
                </c:pt>
                <c:pt idx="5631">
                  <c:v>0</c:v>
                </c:pt>
                <c:pt idx="5632">
                  <c:v>0</c:v>
                </c:pt>
                <c:pt idx="5633">
                  <c:v>0</c:v>
                </c:pt>
                <c:pt idx="5634">
                  <c:v>0</c:v>
                </c:pt>
                <c:pt idx="5635">
                  <c:v>0</c:v>
                </c:pt>
                <c:pt idx="5636">
                  <c:v>0</c:v>
                </c:pt>
                <c:pt idx="5637">
                  <c:v>0</c:v>
                </c:pt>
                <c:pt idx="5638">
                  <c:v>0</c:v>
                </c:pt>
                <c:pt idx="5639">
                  <c:v>0</c:v>
                </c:pt>
                <c:pt idx="5640">
                  <c:v>0</c:v>
                </c:pt>
                <c:pt idx="5641">
                  <c:v>0</c:v>
                </c:pt>
                <c:pt idx="5642">
                  <c:v>0</c:v>
                </c:pt>
                <c:pt idx="5643">
                  <c:v>0</c:v>
                </c:pt>
                <c:pt idx="5644">
                  <c:v>0</c:v>
                </c:pt>
                <c:pt idx="5645">
                  <c:v>0</c:v>
                </c:pt>
                <c:pt idx="5646">
                  <c:v>0</c:v>
                </c:pt>
                <c:pt idx="5647">
                  <c:v>0</c:v>
                </c:pt>
                <c:pt idx="5648">
                  <c:v>0</c:v>
                </c:pt>
                <c:pt idx="5649">
                  <c:v>0</c:v>
                </c:pt>
                <c:pt idx="5650">
                  <c:v>0</c:v>
                </c:pt>
                <c:pt idx="5651">
                  <c:v>0</c:v>
                </c:pt>
                <c:pt idx="5652">
                  <c:v>0</c:v>
                </c:pt>
                <c:pt idx="5653">
                  <c:v>0</c:v>
                </c:pt>
                <c:pt idx="5654">
                  <c:v>0</c:v>
                </c:pt>
                <c:pt idx="5655">
                  <c:v>0</c:v>
                </c:pt>
                <c:pt idx="5656">
                  <c:v>0</c:v>
                </c:pt>
                <c:pt idx="5657">
                  <c:v>0</c:v>
                </c:pt>
                <c:pt idx="5658">
                  <c:v>0</c:v>
                </c:pt>
                <c:pt idx="5659">
                  <c:v>0</c:v>
                </c:pt>
                <c:pt idx="5660">
                  <c:v>0</c:v>
                </c:pt>
                <c:pt idx="5661">
                  <c:v>0</c:v>
                </c:pt>
                <c:pt idx="5662">
                  <c:v>0</c:v>
                </c:pt>
                <c:pt idx="5663">
                  <c:v>0</c:v>
                </c:pt>
                <c:pt idx="5664">
                  <c:v>0</c:v>
                </c:pt>
                <c:pt idx="5665">
                  <c:v>0</c:v>
                </c:pt>
                <c:pt idx="5666">
                  <c:v>0</c:v>
                </c:pt>
                <c:pt idx="5667">
                  <c:v>0</c:v>
                </c:pt>
                <c:pt idx="5668">
                  <c:v>0</c:v>
                </c:pt>
                <c:pt idx="5669">
                  <c:v>0</c:v>
                </c:pt>
                <c:pt idx="5670">
                  <c:v>0</c:v>
                </c:pt>
                <c:pt idx="5671">
                  <c:v>0</c:v>
                </c:pt>
                <c:pt idx="5672">
                  <c:v>0</c:v>
                </c:pt>
                <c:pt idx="5673">
                  <c:v>0</c:v>
                </c:pt>
                <c:pt idx="5674">
                  <c:v>0</c:v>
                </c:pt>
                <c:pt idx="5675">
                  <c:v>0</c:v>
                </c:pt>
                <c:pt idx="5676">
                  <c:v>0</c:v>
                </c:pt>
                <c:pt idx="5677">
                  <c:v>0</c:v>
                </c:pt>
                <c:pt idx="5678">
                  <c:v>0</c:v>
                </c:pt>
                <c:pt idx="5679">
                  <c:v>0</c:v>
                </c:pt>
                <c:pt idx="5680">
                  <c:v>0</c:v>
                </c:pt>
                <c:pt idx="5681">
                  <c:v>0</c:v>
                </c:pt>
                <c:pt idx="5682">
                  <c:v>0</c:v>
                </c:pt>
                <c:pt idx="5683">
                  <c:v>0</c:v>
                </c:pt>
                <c:pt idx="5684">
                  <c:v>0</c:v>
                </c:pt>
                <c:pt idx="5685">
                  <c:v>0</c:v>
                </c:pt>
                <c:pt idx="5686">
                  <c:v>0</c:v>
                </c:pt>
                <c:pt idx="5687">
                  <c:v>0</c:v>
                </c:pt>
                <c:pt idx="5688">
                  <c:v>0</c:v>
                </c:pt>
                <c:pt idx="5689">
                  <c:v>0</c:v>
                </c:pt>
                <c:pt idx="5690">
                  <c:v>0</c:v>
                </c:pt>
                <c:pt idx="5691">
                  <c:v>0</c:v>
                </c:pt>
                <c:pt idx="5692">
                  <c:v>0</c:v>
                </c:pt>
                <c:pt idx="5693">
                  <c:v>0</c:v>
                </c:pt>
                <c:pt idx="5694">
                  <c:v>0</c:v>
                </c:pt>
                <c:pt idx="5695">
                  <c:v>0</c:v>
                </c:pt>
                <c:pt idx="5696">
                  <c:v>0</c:v>
                </c:pt>
                <c:pt idx="5697">
                  <c:v>0</c:v>
                </c:pt>
                <c:pt idx="5698">
                  <c:v>0</c:v>
                </c:pt>
                <c:pt idx="5699">
                  <c:v>0</c:v>
                </c:pt>
                <c:pt idx="5700">
                  <c:v>0</c:v>
                </c:pt>
                <c:pt idx="5701">
                  <c:v>0</c:v>
                </c:pt>
                <c:pt idx="5702">
                  <c:v>0</c:v>
                </c:pt>
                <c:pt idx="5703">
                  <c:v>0</c:v>
                </c:pt>
                <c:pt idx="5704">
                  <c:v>0</c:v>
                </c:pt>
                <c:pt idx="5705">
                  <c:v>0</c:v>
                </c:pt>
                <c:pt idx="5706">
                  <c:v>0</c:v>
                </c:pt>
                <c:pt idx="5707">
                  <c:v>0</c:v>
                </c:pt>
                <c:pt idx="5708">
                  <c:v>0</c:v>
                </c:pt>
                <c:pt idx="5709">
                  <c:v>0</c:v>
                </c:pt>
                <c:pt idx="5710">
                  <c:v>0</c:v>
                </c:pt>
                <c:pt idx="5711">
                  <c:v>0</c:v>
                </c:pt>
                <c:pt idx="5712">
                  <c:v>0</c:v>
                </c:pt>
                <c:pt idx="5713">
                  <c:v>0</c:v>
                </c:pt>
                <c:pt idx="5714">
                  <c:v>0</c:v>
                </c:pt>
                <c:pt idx="5715">
                  <c:v>0</c:v>
                </c:pt>
                <c:pt idx="5716">
                  <c:v>0</c:v>
                </c:pt>
                <c:pt idx="5717">
                  <c:v>0</c:v>
                </c:pt>
                <c:pt idx="5718">
                  <c:v>0</c:v>
                </c:pt>
                <c:pt idx="5719">
                  <c:v>0</c:v>
                </c:pt>
                <c:pt idx="5720">
                  <c:v>0</c:v>
                </c:pt>
                <c:pt idx="5721">
                  <c:v>0</c:v>
                </c:pt>
                <c:pt idx="5722">
                  <c:v>0</c:v>
                </c:pt>
                <c:pt idx="5723">
                  <c:v>0</c:v>
                </c:pt>
                <c:pt idx="5724">
                  <c:v>0</c:v>
                </c:pt>
                <c:pt idx="5725">
                  <c:v>0</c:v>
                </c:pt>
                <c:pt idx="5726">
                  <c:v>0</c:v>
                </c:pt>
                <c:pt idx="5727">
                  <c:v>0</c:v>
                </c:pt>
                <c:pt idx="5728">
                  <c:v>0</c:v>
                </c:pt>
                <c:pt idx="5729">
                  <c:v>0</c:v>
                </c:pt>
                <c:pt idx="5730">
                  <c:v>0</c:v>
                </c:pt>
                <c:pt idx="5731">
                  <c:v>0</c:v>
                </c:pt>
                <c:pt idx="5732">
                  <c:v>0</c:v>
                </c:pt>
                <c:pt idx="5733">
                  <c:v>0</c:v>
                </c:pt>
                <c:pt idx="5734">
                  <c:v>0</c:v>
                </c:pt>
                <c:pt idx="5735">
                  <c:v>0</c:v>
                </c:pt>
                <c:pt idx="5736">
                  <c:v>0</c:v>
                </c:pt>
                <c:pt idx="5737">
                  <c:v>0</c:v>
                </c:pt>
                <c:pt idx="5738">
                  <c:v>0</c:v>
                </c:pt>
                <c:pt idx="5739">
                  <c:v>0</c:v>
                </c:pt>
                <c:pt idx="5740">
                  <c:v>0</c:v>
                </c:pt>
                <c:pt idx="5741">
                  <c:v>0</c:v>
                </c:pt>
                <c:pt idx="5742">
                  <c:v>0</c:v>
                </c:pt>
                <c:pt idx="5743">
                  <c:v>0</c:v>
                </c:pt>
                <c:pt idx="5744">
                  <c:v>0</c:v>
                </c:pt>
                <c:pt idx="5745">
                  <c:v>0</c:v>
                </c:pt>
                <c:pt idx="5746">
                  <c:v>0</c:v>
                </c:pt>
                <c:pt idx="5747">
                  <c:v>0</c:v>
                </c:pt>
                <c:pt idx="5748">
                  <c:v>0</c:v>
                </c:pt>
                <c:pt idx="5749">
                  <c:v>0</c:v>
                </c:pt>
                <c:pt idx="5750">
                  <c:v>0</c:v>
                </c:pt>
                <c:pt idx="5751">
                  <c:v>0</c:v>
                </c:pt>
                <c:pt idx="5752">
                  <c:v>0</c:v>
                </c:pt>
                <c:pt idx="5753">
                  <c:v>0</c:v>
                </c:pt>
                <c:pt idx="5754">
                  <c:v>0</c:v>
                </c:pt>
                <c:pt idx="5755">
                  <c:v>0</c:v>
                </c:pt>
                <c:pt idx="5756">
                  <c:v>0</c:v>
                </c:pt>
                <c:pt idx="5757">
                  <c:v>0</c:v>
                </c:pt>
                <c:pt idx="5758">
                  <c:v>0</c:v>
                </c:pt>
                <c:pt idx="5759">
                  <c:v>0</c:v>
                </c:pt>
                <c:pt idx="5760">
                  <c:v>0</c:v>
                </c:pt>
                <c:pt idx="5761">
                  <c:v>0</c:v>
                </c:pt>
                <c:pt idx="5762">
                  <c:v>0</c:v>
                </c:pt>
                <c:pt idx="5763">
                  <c:v>0</c:v>
                </c:pt>
                <c:pt idx="5764">
                  <c:v>0</c:v>
                </c:pt>
                <c:pt idx="5765">
                  <c:v>0</c:v>
                </c:pt>
                <c:pt idx="5766">
                  <c:v>0</c:v>
                </c:pt>
                <c:pt idx="5767">
                  <c:v>0</c:v>
                </c:pt>
                <c:pt idx="5768">
                  <c:v>0</c:v>
                </c:pt>
                <c:pt idx="5769">
                  <c:v>0</c:v>
                </c:pt>
                <c:pt idx="5770">
                  <c:v>0</c:v>
                </c:pt>
                <c:pt idx="5771">
                  <c:v>0</c:v>
                </c:pt>
                <c:pt idx="5772">
                  <c:v>0</c:v>
                </c:pt>
                <c:pt idx="5773">
                  <c:v>0</c:v>
                </c:pt>
                <c:pt idx="5774">
                  <c:v>0</c:v>
                </c:pt>
                <c:pt idx="5775">
                  <c:v>0</c:v>
                </c:pt>
                <c:pt idx="5776">
                  <c:v>0</c:v>
                </c:pt>
                <c:pt idx="5777">
                  <c:v>0</c:v>
                </c:pt>
                <c:pt idx="5778">
                  <c:v>0</c:v>
                </c:pt>
                <c:pt idx="5779">
                  <c:v>0</c:v>
                </c:pt>
                <c:pt idx="5780">
                  <c:v>0</c:v>
                </c:pt>
                <c:pt idx="5781">
                  <c:v>0</c:v>
                </c:pt>
                <c:pt idx="5782">
                  <c:v>0</c:v>
                </c:pt>
                <c:pt idx="5783">
                  <c:v>0</c:v>
                </c:pt>
                <c:pt idx="5784">
                  <c:v>0</c:v>
                </c:pt>
                <c:pt idx="5785">
                  <c:v>0</c:v>
                </c:pt>
                <c:pt idx="5786">
                  <c:v>0</c:v>
                </c:pt>
                <c:pt idx="5787">
                  <c:v>0</c:v>
                </c:pt>
                <c:pt idx="5788">
                  <c:v>0</c:v>
                </c:pt>
                <c:pt idx="5789">
                  <c:v>0</c:v>
                </c:pt>
                <c:pt idx="5790">
                  <c:v>0</c:v>
                </c:pt>
                <c:pt idx="5791">
                  <c:v>0</c:v>
                </c:pt>
                <c:pt idx="5792">
                  <c:v>0</c:v>
                </c:pt>
                <c:pt idx="5793">
                  <c:v>0</c:v>
                </c:pt>
                <c:pt idx="5794">
                  <c:v>0</c:v>
                </c:pt>
                <c:pt idx="5795">
                  <c:v>0</c:v>
                </c:pt>
                <c:pt idx="5796">
                  <c:v>0</c:v>
                </c:pt>
                <c:pt idx="5797">
                  <c:v>0</c:v>
                </c:pt>
                <c:pt idx="5798">
                  <c:v>0</c:v>
                </c:pt>
                <c:pt idx="5799">
                  <c:v>0</c:v>
                </c:pt>
                <c:pt idx="5800">
                  <c:v>0</c:v>
                </c:pt>
                <c:pt idx="5801">
                  <c:v>0</c:v>
                </c:pt>
                <c:pt idx="5802">
                  <c:v>0</c:v>
                </c:pt>
                <c:pt idx="5803">
                  <c:v>0</c:v>
                </c:pt>
                <c:pt idx="5804">
                  <c:v>0</c:v>
                </c:pt>
                <c:pt idx="5805">
                  <c:v>0</c:v>
                </c:pt>
                <c:pt idx="5806">
                  <c:v>0</c:v>
                </c:pt>
                <c:pt idx="5807">
                  <c:v>0</c:v>
                </c:pt>
                <c:pt idx="5808">
                  <c:v>0</c:v>
                </c:pt>
                <c:pt idx="5809">
                  <c:v>0</c:v>
                </c:pt>
                <c:pt idx="5810">
                  <c:v>0</c:v>
                </c:pt>
                <c:pt idx="5811">
                  <c:v>0</c:v>
                </c:pt>
                <c:pt idx="5812">
                  <c:v>0</c:v>
                </c:pt>
                <c:pt idx="5813">
                  <c:v>0</c:v>
                </c:pt>
                <c:pt idx="5814">
                  <c:v>0</c:v>
                </c:pt>
                <c:pt idx="5815">
                  <c:v>0</c:v>
                </c:pt>
                <c:pt idx="5816">
                  <c:v>0</c:v>
                </c:pt>
                <c:pt idx="5817">
                  <c:v>0</c:v>
                </c:pt>
                <c:pt idx="5818">
                  <c:v>0</c:v>
                </c:pt>
                <c:pt idx="5819">
                  <c:v>0</c:v>
                </c:pt>
                <c:pt idx="5820">
                  <c:v>0</c:v>
                </c:pt>
                <c:pt idx="5821">
                  <c:v>0</c:v>
                </c:pt>
                <c:pt idx="5822">
                  <c:v>0</c:v>
                </c:pt>
                <c:pt idx="5823">
                  <c:v>0</c:v>
                </c:pt>
                <c:pt idx="5824">
                  <c:v>0</c:v>
                </c:pt>
                <c:pt idx="5825">
                  <c:v>0</c:v>
                </c:pt>
                <c:pt idx="5826">
                  <c:v>0</c:v>
                </c:pt>
                <c:pt idx="5827">
                  <c:v>0</c:v>
                </c:pt>
                <c:pt idx="5828">
                  <c:v>0</c:v>
                </c:pt>
                <c:pt idx="5829">
                  <c:v>0</c:v>
                </c:pt>
                <c:pt idx="5830">
                  <c:v>0</c:v>
                </c:pt>
                <c:pt idx="5831">
                  <c:v>0</c:v>
                </c:pt>
                <c:pt idx="5832">
                  <c:v>0</c:v>
                </c:pt>
                <c:pt idx="5833">
                  <c:v>0</c:v>
                </c:pt>
                <c:pt idx="5834">
                  <c:v>0</c:v>
                </c:pt>
                <c:pt idx="5835">
                  <c:v>0</c:v>
                </c:pt>
                <c:pt idx="5836">
                  <c:v>0</c:v>
                </c:pt>
                <c:pt idx="5837">
                  <c:v>0</c:v>
                </c:pt>
                <c:pt idx="5838">
                  <c:v>0</c:v>
                </c:pt>
                <c:pt idx="5839">
                  <c:v>0</c:v>
                </c:pt>
                <c:pt idx="5840">
                  <c:v>0</c:v>
                </c:pt>
                <c:pt idx="5841">
                  <c:v>0</c:v>
                </c:pt>
                <c:pt idx="5842">
                  <c:v>0</c:v>
                </c:pt>
                <c:pt idx="5843">
                  <c:v>0</c:v>
                </c:pt>
                <c:pt idx="5844">
                  <c:v>0</c:v>
                </c:pt>
                <c:pt idx="5845">
                  <c:v>0</c:v>
                </c:pt>
                <c:pt idx="5846">
                  <c:v>0</c:v>
                </c:pt>
                <c:pt idx="5847">
                  <c:v>0</c:v>
                </c:pt>
                <c:pt idx="5848">
                  <c:v>0</c:v>
                </c:pt>
                <c:pt idx="5849">
                  <c:v>0</c:v>
                </c:pt>
                <c:pt idx="5850">
                  <c:v>0</c:v>
                </c:pt>
                <c:pt idx="5851">
                  <c:v>0</c:v>
                </c:pt>
                <c:pt idx="5852">
                  <c:v>0</c:v>
                </c:pt>
                <c:pt idx="5853">
                  <c:v>0</c:v>
                </c:pt>
                <c:pt idx="5854">
                  <c:v>0</c:v>
                </c:pt>
                <c:pt idx="5855">
                  <c:v>0</c:v>
                </c:pt>
                <c:pt idx="5856">
                  <c:v>0</c:v>
                </c:pt>
                <c:pt idx="5857">
                  <c:v>0</c:v>
                </c:pt>
                <c:pt idx="5858">
                  <c:v>0</c:v>
                </c:pt>
                <c:pt idx="5859">
                  <c:v>0</c:v>
                </c:pt>
                <c:pt idx="5860">
                  <c:v>0</c:v>
                </c:pt>
                <c:pt idx="5861">
                  <c:v>0</c:v>
                </c:pt>
                <c:pt idx="5862">
                  <c:v>0</c:v>
                </c:pt>
                <c:pt idx="5863">
                  <c:v>0</c:v>
                </c:pt>
                <c:pt idx="5864">
                  <c:v>0</c:v>
                </c:pt>
                <c:pt idx="5865">
                  <c:v>0</c:v>
                </c:pt>
                <c:pt idx="5866">
                  <c:v>0</c:v>
                </c:pt>
                <c:pt idx="5867">
                  <c:v>0</c:v>
                </c:pt>
                <c:pt idx="5868">
                  <c:v>0</c:v>
                </c:pt>
                <c:pt idx="5869">
                  <c:v>0</c:v>
                </c:pt>
                <c:pt idx="5870">
                  <c:v>0</c:v>
                </c:pt>
                <c:pt idx="5871">
                  <c:v>0</c:v>
                </c:pt>
                <c:pt idx="5872">
                  <c:v>0</c:v>
                </c:pt>
                <c:pt idx="5873">
                  <c:v>0</c:v>
                </c:pt>
                <c:pt idx="5874">
                  <c:v>0</c:v>
                </c:pt>
                <c:pt idx="5875">
                  <c:v>0</c:v>
                </c:pt>
                <c:pt idx="5876">
                  <c:v>0</c:v>
                </c:pt>
                <c:pt idx="5877">
                  <c:v>0</c:v>
                </c:pt>
                <c:pt idx="5878">
                  <c:v>0</c:v>
                </c:pt>
                <c:pt idx="5879">
                  <c:v>0</c:v>
                </c:pt>
                <c:pt idx="5880">
                  <c:v>0</c:v>
                </c:pt>
                <c:pt idx="5881">
                  <c:v>0</c:v>
                </c:pt>
                <c:pt idx="5882">
                  <c:v>0</c:v>
                </c:pt>
                <c:pt idx="5883">
                  <c:v>0</c:v>
                </c:pt>
                <c:pt idx="5884">
                  <c:v>0</c:v>
                </c:pt>
                <c:pt idx="5885">
                  <c:v>0</c:v>
                </c:pt>
                <c:pt idx="5886">
                  <c:v>0</c:v>
                </c:pt>
                <c:pt idx="5887">
                  <c:v>0</c:v>
                </c:pt>
                <c:pt idx="5888">
                  <c:v>0</c:v>
                </c:pt>
                <c:pt idx="5889">
                  <c:v>0</c:v>
                </c:pt>
                <c:pt idx="5890">
                  <c:v>0</c:v>
                </c:pt>
                <c:pt idx="5891">
                  <c:v>0</c:v>
                </c:pt>
                <c:pt idx="5892">
                  <c:v>0</c:v>
                </c:pt>
                <c:pt idx="5893">
                  <c:v>0</c:v>
                </c:pt>
                <c:pt idx="5894">
                  <c:v>0</c:v>
                </c:pt>
                <c:pt idx="5895">
                  <c:v>0</c:v>
                </c:pt>
                <c:pt idx="5896">
                  <c:v>0</c:v>
                </c:pt>
                <c:pt idx="5897">
                  <c:v>0</c:v>
                </c:pt>
                <c:pt idx="5898">
                  <c:v>0</c:v>
                </c:pt>
                <c:pt idx="5899">
                  <c:v>0</c:v>
                </c:pt>
                <c:pt idx="5900">
                  <c:v>0</c:v>
                </c:pt>
                <c:pt idx="5901">
                  <c:v>0</c:v>
                </c:pt>
                <c:pt idx="5902">
                  <c:v>0</c:v>
                </c:pt>
                <c:pt idx="5903">
                  <c:v>0</c:v>
                </c:pt>
                <c:pt idx="5904">
                  <c:v>0</c:v>
                </c:pt>
                <c:pt idx="5905">
                  <c:v>0</c:v>
                </c:pt>
                <c:pt idx="5906">
                  <c:v>0</c:v>
                </c:pt>
                <c:pt idx="5907">
                  <c:v>0</c:v>
                </c:pt>
                <c:pt idx="5908">
                  <c:v>0</c:v>
                </c:pt>
                <c:pt idx="5909">
                  <c:v>0</c:v>
                </c:pt>
                <c:pt idx="5910">
                  <c:v>0</c:v>
                </c:pt>
                <c:pt idx="5911">
                  <c:v>0</c:v>
                </c:pt>
                <c:pt idx="5912">
                  <c:v>0</c:v>
                </c:pt>
                <c:pt idx="5913">
                  <c:v>0</c:v>
                </c:pt>
                <c:pt idx="5914">
                  <c:v>0</c:v>
                </c:pt>
                <c:pt idx="5915">
                  <c:v>0</c:v>
                </c:pt>
                <c:pt idx="5916">
                  <c:v>0</c:v>
                </c:pt>
                <c:pt idx="5917">
                  <c:v>0</c:v>
                </c:pt>
                <c:pt idx="5918">
                  <c:v>0</c:v>
                </c:pt>
                <c:pt idx="5919">
                  <c:v>0</c:v>
                </c:pt>
                <c:pt idx="5920">
                  <c:v>0</c:v>
                </c:pt>
                <c:pt idx="5921">
                  <c:v>0</c:v>
                </c:pt>
                <c:pt idx="5922">
                  <c:v>0</c:v>
                </c:pt>
                <c:pt idx="5923">
                  <c:v>0</c:v>
                </c:pt>
                <c:pt idx="5924">
                  <c:v>0</c:v>
                </c:pt>
                <c:pt idx="5925">
                  <c:v>0</c:v>
                </c:pt>
                <c:pt idx="5926">
                  <c:v>0</c:v>
                </c:pt>
                <c:pt idx="5927">
                  <c:v>0</c:v>
                </c:pt>
                <c:pt idx="5928">
                  <c:v>0</c:v>
                </c:pt>
                <c:pt idx="5929">
                  <c:v>0</c:v>
                </c:pt>
                <c:pt idx="5930">
                  <c:v>0</c:v>
                </c:pt>
                <c:pt idx="5931">
                  <c:v>0</c:v>
                </c:pt>
                <c:pt idx="5932">
                  <c:v>0</c:v>
                </c:pt>
                <c:pt idx="5933">
                  <c:v>0</c:v>
                </c:pt>
                <c:pt idx="5934">
                  <c:v>0</c:v>
                </c:pt>
                <c:pt idx="5935">
                  <c:v>0</c:v>
                </c:pt>
                <c:pt idx="5936">
                  <c:v>0</c:v>
                </c:pt>
                <c:pt idx="5937">
                  <c:v>0</c:v>
                </c:pt>
                <c:pt idx="5938">
                  <c:v>0</c:v>
                </c:pt>
                <c:pt idx="5939">
                  <c:v>0</c:v>
                </c:pt>
                <c:pt idx="5940">
                  <c:v>0</c:v>
                </c:pt>
                <c:pt idx="5941">
                  <c:v>0</c:v>
                </c:pt>
                <c:pt idx="5942">
                  <c:v>0</c:v>
                </c:pt>
                <c:pt idx="5943">
                  <c:v>0</c:v>
                </c:pt>
                <c:pt idx="5944">
                  <c:v>0</c:v>
                </c:pt>
                <c:pt idx="5945">
                  <c:v>0</c:v>
                </c:pt>
                <c:pt idx="5946">
                  <c:v>0</c:v>
                </c:pt>
                <c:pt idx="5947">
                  <c:v>0</c:v>
                </c:pt>
                <c:pt idx="5948">
                  <c:v>0</c:v>
                </c:pt>
                <c:pt idx="5949">
                  <c:v>0</c:v>
                </c:pt>
                <c:pt idx="5950">
                  <c:v>0</c:v>
                </c:pt>
                <c:pt idx="5951">
                  <c:v>0</c:v>
                </c:pt>
                <c:pt idx="5952">
                  <c:v>0</c:v>
                </c:pt>
                <c:pt idx="5953">
                  <c:v>0</c:v>
                </c:pt>
                <c:pt idx="5954">
                  <c:v>0</c:v>
                </c:pt>
                <c:pt idx="5955">
                  <c:v>0</c:v>
                </c:pt>
                <c:pt idx="5956">
                  <c:v>0</c:v>
                </c:pt>
                <c:pt idx="5957">
                  <c:v>0</c:v>
                </c:pt>
                <c:pt idx="5958">
                  <c:v>0</c:v>
                </c:pt>
                <c:pt idx="5959">
                  <c:v>0</c:v>
                </c:pt>
                <c:pt idx="5960">
                  <c:v>0</c:v>
                </c:pt>
                <c:pt idx="5961">
                  <c:v>0</c:v>
                </c:pt>
                <c:pt idx="5962">
                  <c:v>0</c:v>
                </c:pt>
                <c:pt idx="5963">
                  <c:v>0</c:v>
                </c:pt>
                <c:pt idx="5964">
                  <c:v>0</c:v>
                </c:pt>
                <c:pt idx="5965">
                  <c:v>0</c:v>
                </c:pt>
                <c:pt idx="5966">
                  <c:v>0</c:v>
                </c:pt>
                <c:pt idx="5967">
                  <c:v>0</c:v>
                </c:pt>
                <c:pt idx="5968">
                  <c:v>0</c:v>
                </c:pt>
                <c:pt idx="5969">
                  <c:v>0</c:v>
                </c:pt>
                <c:pt idx="5970">
                  <c:v>0</c:v>
                </c:pt>
                <c:pt idx="5971">
                  <c:v>0</c:v>
                </c:pt>
                <c:pt idx="5972">
                  <c:v>0</c:v>
                </c:pt>
                <c:pt idx="5973">
                  <c:v>0</c:v>
                </c:pt>
                <c:pt idx="5974">
                  <c:v>0</c:v>
                </c:pt>
                <c:pt idx="5975">
                  <c:v>0</c:v>
                </c:pt>
                <c:pt idx="5976">
                  <c:v>0</c:v>
                </c:pt>
                <c:pt idx="5977">
                  <c:v>0</c:v>
                </c:pt>
                <c:pt idx="5978">
                  <c:v>0</c:v>
                </c:pt>
                <c:pt idx="5979">
                  <c:v>0</c:v>
                </c:pt>
                <c:pt idx="5980">
                  <c:v>0</c:v>
                </c:pt>
                <c:pt idx="5981">
                  <c:v>0</c:v>
                </c:pt>
                <c:pt idx="5982">
                  <c:v>0</c:v>
                </c:pt>
                <c:pt idx="5983">
                  <c:v>0</c:v>
                </c:pt>
                <c:pt idx="5984">
                  <c:v>0</c:v>
                </c:pt>
                <c:pt idx="5985">
                  <c:v>0</c:v>
                </c:pt>
                <c:pt idx="5986">
                  <c:v>0</c:v>
                </c:pt>
                <c:pt idx="5987">
                  <c:v>0</c:v>
                </c:pt>
                <c:pt idx="5988">
                  <c:v>0</c:v>
                </c:pt>
                <c:pt idx="5989">
                  <c:v>0</c:v>
                </c:pt>
                <c:pt idx="5990">
                  <c:v>0</c:v>
                </c:pt>
                <c:pt idx="5991">
                  <c:v>0</c:v>
                </c:pt>
                <c:pt idx="5992">
                  <c:v>0</c:v>
                </c:pt>
                <c:pt idx="5993">
                  <c:v>0</c:v>
                </c:pt>
                <c:pt idx="5994">
                  <c:v>0</c:v>
                </c:pt>
                <c:pt idx="5995">
                  <c:v>0</c:v>
                </c:pt>
                <c:pt idx="5996">
                  <c:v>0</c:v>
                </c:pt>
                <c:pt idx="5997">
                  <c:v>0</c:v>
                </c:pt>
                <c:pt idx="5998">
                  <c:v>0</c:v>
                </c:pt>
                <c:pt idx="5999">
                  <c:v>0</c:v>
                </c:pt>
                <c:pt idx="6000">
                  <c:v>0</c:v>
                </c:pt>
                <c:pt idx="6001">
                  <c:v>0</c:v>
                </c:pt>
                <c:pt idx="6002">
                  <c:v>0</c:v>
                </c:pt>
                <c:pt idx="6003">
                  <c:v>0</c:v>
                </c:pt>
                <c:pt idx="6004">
                  <c:v>0</c:v>
                </c:pt>
                <c:pt idx="6005">
                  <c:v>0</c:v>
                </c:pt>
                <c:pt idx="6006">
                  <c:v>0</c:v>
                </c:pt>
                <c:pt idx="6007">
                  <c:v>0</c:v>
                </c:pt>
                <c:pt idx="6008">
                  <c:v>0</c:v>
                </c:pt>
                <c:pt idx="6009">
                  <c:v>0</c:v>
                </c:pt>
                <c:pt idx="6010">
                  <c:v>0</c:v>
                </c:pt>
                <c:pt idx="6011">
                  <c:v>0</c:v>
                </c:pt>
                <c:pt idx="6012">
                  <c:v>0</c:v>
                </c:pt>
              </c:numCache>
            </c:numRef>
          </c:cat>
          <c:val>
            <c:numRef>
              <c:f>Platts!$G$24:$G$6036</c:f>
              <c:numCache>
                <c:formatCode>General</c:formatCode>
                <c:ptCount val="6013"/>
                <c:pt idx="18" formatCode="#,##0_);\(#,##0\);&quot;-  &quot;;&quot; &quot;@&quot; &quot;">
                  <c:v>128.61000000000001</c:v>
                </c:pt>
                <c:pt idx="19" formatCode="#,##0_);\(#,##0\);&quot;-  &quot;;&quot; &quot;@&quot; &quot;">
                  <c:v>128.61000000000001</c:v>
                </c:pt>
                <c:pt idx="20" formatCode="#,##0_);\(#,##0\);&quot;-  &quot;;&quot; &quot;@&quot; &quot;">
                  <c:v>126.38</c:v>
                </c:pt>
                <c:pt idx="21" formatCode="#,##0_);\(#,##0\);&quot;-  &quot;;&quot; &quot;@&quot; &quot;">
                  <c:v>124.71</c:v>
                </c:pt>
                <c:pt idx="22" formatCode="#,##0_);\(#,##0\);&quot;-  &quot;;&quot; &quot;@&quot; &quot;">
                  <c:v>124.79</c:v>
                </c:pt>
                <c:pt idx="23" formatCode="#,##0_);\(#,##0\);&quot;-  &quot;;&quot; &quot;@&quot; &quot;">
                  <c:v>124.71</c:v>
                </c:pt>
                <c:pt idx="24" formatCode="#,##0_);\(#,##0\);&quot;-  &quot;;&quot; &quot;@&quot; &quot;">
                  <c:v>124.21</c:v>
                </c:pt>
                <c:pt idx="25" formatCode="#,##0_);\(#,##0\);&quot;-  &quot;;&quot; &quot;@&quot; &quot;">
                  <c:v>123.47</c:v>
                </c:pt>
                <c:pt idx="26" formatCode="#,##0_);\(#,##0\);&quot;-  &quot;;&quot; &quot;@&quot; &quot;">
                  <c:v>123.52</c:v>
                </c:pt>
                <c:pt idx="27" formatCode="#,##0_);\(#,##0\);&quot;-  &quot;;&quot; &quot;@&quot; &quot;">
                  <c:v>123.11</c:v>
                </c:pt>
                <c:pt idx="28" formatCode="#,##0_);\(#,##0\);&quot;-  &quot;;&quot; &quot;@&quot; &quot;">
                  <c:v>122.22</c:v>
                </c:pt>
                <c:pt idx="29" formatCode="#,##0_);\(#,##0\);&quot;-  &quot;;&quot; &quot;@&quot; &quot;">
                  <c:v>123.25</c:v>
                </c:pt>
                <c:pt idx="30" formatCode="#,##0_);\(#,##0\);&quot;-  &quot;;&quot; &quot;@&quot; &quot;">
                  <c:v>122.75</c:v>
                </c:pt>
                <c:pt idx="31" formatCode="#,##0_);\(#,##0\);&quot;-  &quot;;&quot; &quot;@&quot; &quot;">
                  <c:v>123.31</c:v>
                </c:pt>
                <c:pt idx="32" formatCode="#,##0_);\(#,##0\);&quot;-  &quot;;&quot; &quot;@&quot; &quot;">
                  <c:v>123.03</c:v>
                </c:pt>
                <c:pt idx="33" formatCode="#,##0_);\(#,##0\);&quot;-  &quot;;&quot; &quot;@&quot; &quot;">
                  <c:v>123.31</c:v>
                </c:pt>
                <c:pt idx="34" formatCode="#,##0_);\(#,##0\);&quot;-  &quot;;&quot; &quot;@&quot; &quot;">
                  <c:v>123.74</c:v>
                </c:pt>
                <c:pt idx="35" formatCode="#,##0_);\(#,##0\);&quot;-  &quot;;&quot; &quot;@&quot; &quot;">
                  <c:v>124.25</c:v>
                </c:pt>
                <c:pt idx="36" formatCode="#,##0_);\(#,##0\);&quot;-  &quot;;&quot; &quot;@&quot; &quot;">
                  <c:v>124.59</c:v>
                </c:pt>
                <c:pt idx="37" formatCode="#,##0_);\(#,##0\);&quot;-  &quot;;&quot; &quot;@&quot; &quot;">
                  <c:v>123.97</c:v>
                </c:pt>
                <c:pt idx="38" formatCode="#,##0_);\(#,##0\);&quot;-  &quot;;&quot; &quot;@&quot; &quot;">
                  <c:v>124.47</c:v>
                </c:pt>
                <c:pt idx="39" formatCode="#,##0_);\(#,##0\);&quot;-  &quot;;&quot; &quot;@&quot; &quot;">
                  <c:v>125.04</c:v>
                </c:pt>
                <c:pt idx="40" formatCode="#,##0_);\(#,##0\);&quot;-  &quot;;&quot; &quot;@&quot; &quot;">
                  <c:v>124.6</c:v>
                </c:pt>
                <c:pt idx="41" formatCode="#,##0_);\(#,##0\);&quot;-  &quot;;&quot; &quot;@&quot; &quot;">
                  <c:v>123.69</c:v>
                </c:pt>
                <c:pt idx="42" formatCode="#,##0_);\(#,##0\);&quot;-  &quot;;&quot; &quot;@&quot; &quot;">
                  <c:v>122.79</c:v>
                </c:pt>
                <c:pt idx="43" formatCode="#,##0_);\(#,##0\);&quot;-  &quot;;&quot; &quot;@&quot; &quot;">
                  <c:v>122.48</c:v>
                </c:pt>
                <c:pt idx="44" formatCode="#,##0_);\(#,##0\);&quot;-  &quot;;&quot; &quot;@&quot; &quot;">
                  <c:v>122.3</c:v>
                </c:pt>
                <c:pt idx="45" formatCode="#,##0_);\(#,##0\);&quot;-  &quot;;&quot; &quot;@&quot; &quot;">
                  <c:v>123.06</c:v>
                </c:pt>
                <c:pt idx="46" formatCode="#,##0_);\(#,##0\);&quot;-  &quot;;&quot; &quot;@&quot; &quot;">
                  <c:v>125.03</c:v>
                </c:pt>
                <c:pt idx="47" formatCode="#,##0_);\(#,##0\);&quot;-  &quot;;&quot; &quot;@&quot; &quot;">
                  <c:v>124.94</c:v>
                </c:pt>
                <c:pt idx="48" formatCode="#,##0_);\(#,##0\);&quot;-  &quot;;&quot; &quot;@&quot; &quot;">
                  <c:v>125.24</c:v>
                </c:pt>
                <c:pt idx="49" formatCode="#,##0_);\(#,##0\);&quot;-  &quot;;&quot; &quot;@&quot; &quot;">
                  <c:v>125.12</c:v>
                </c:pt>
                <c:pt idx="50" formatCode="#,##0_);\(#,##0\);&quot;-  &quot;;&quot; &quot;@&quot; &quot;">
                  <c:v>125.3</c:v>
                </c:pt>
                <c:pt idx="51" formatCode="#,##0_);\(#,##0\);&quot;-  &quot;;&quot; &quot;@&quot; &quot;">
                  <c:v>125.58</c:v>
                </c:pt>
                <c:pt idx="52" formatCode="#,##0_);\(#,##0\);&quot;-  &quot;;&quot; &quot;@&quot; &quot;">
                  <c:v>125.93</c:v>
                </c:pt>
                <c:pt idx="53" formatCode="#,##0_);\(#,##0\);&quot;-  &quot;;&quot; &quot;@&quot; &quot;">
                  <c:v>126.83</c:v>
                </c:pt>
                <c:pt idx="54" formatCode="#,##0_);\(#,##0\);&quot;-  &quot;;&quot; &quot;@&quot; &quot;">
                  <c:v>127.48</c:v>
                </c:pt>
                <c:pt idx="55" formatCode="#,##0_);\(#,##0\);&quot;-  &quot;;&quot; &quot;@&quot; &quot;">
                  <c:v>127.62</c:v>
                </c:pt>
                <c:pt idx="56" formatCode="#,##0_);\(#,##0\);&quot;-  &quot;;&quot; &quot;@&quot; &quot;">
                  <c:v>126.19</c:v>
                </c:pt>
                <c:pt idx="57" formatCode="#,##0_);\(#,##0\);&quot;-  &quot;;&quot; &quot;@&quot; &quot;">
                  <c:v>126.51</c:v>
                </c:pt>
                <c:pt idx="58" formatCode="#,##0_);\(#,##0\);&quot;-  &quot;;&quot; &quot;@&quot; &quot;">
                  <c:v>125.59</c:v>
                </c:pt>
                <c:pt idx="59" formatCode="#,##0_);\(#,##0\);&quot;-  &quot;;&quot; &quot;@&quot; &quot;">
                  <c:v>125.05</c:v>
                </c:pt>
                <c:pt idx="60" formatCode="#,##0_);\(#,##0\);&quot;-  &quot;;&quot; &quot;@&quot; &quot;">
                  <c:v>124.14</c:v>
                </c:pt>
                <c:pt idx="61" formatCode="#,##0_);\(#,##0\);&quot;-  &quot;;&quot; &quot;@&quot; &quot;">
                  <c:v>124.13</c:v>
                </c:pt>
                <c:pt idx="62" formatCode="#,##0_);\(#,##0\);&quot;-  &quot;;&quot; &quot;@&quot; &quot;">
                  <c:v>126.34</c:v>
                </c:pt>
                <c:pt idx="63" formatCode="#,##0_);\(#,##0\);&quot;-  &quot;;&quot; &quot;@&quot; &quot;">
                  <c:v>124.88</c:v>
                </c:pt>
                <c:pt idx="64" formatCode="#,##0_);\(#,##0\);&quot;-  &quot;;&quot; &quot;@&quot; &quot;">
                  <c:v>123.33</c:v>
                </c:pt>
                <c:pt idx="65" formatCode="#,##0_);\(#,##0\);&quot;-  &quot;;&quot; &quot;@&quot; &quot;">
                  <c:v>122.67</c:v>
                </c:pt>
                <c:pt idx="66" formatCode="#,##0_);\(#,##0\);&quot;-  &quot;;&quot; &quot;@&quot; &quot;">
                  <c:v>123.4</c:v>
                </c:pt>
                <c:pt idx="67" formatCode="#,##0_);\(#,##0\);&quot;-  &quot;;&quot; &quot;@&quot; &quot;">
                  <c:v>122.32</c:v>
                </c:pt>
                <c:pt idx="68" formatCode="#,##0_);\(#,##0\);&quot;-  &quot;;&quot; &quot;@&quot; &quot;">
                  <c:v>121.94</c:v>
                </c:pt>
                <c:pt idx="69" formatCode="#,##0_);\(#,##0\);&quot;-  &quot;;&quot; &quot;@&quot; &quot;">
                  <c:v>120.66</c:v>
                </c:pt>
                <c:pt idx="70" formatCode="#,##0_);\(#,##0\);&quot;-  &quot;;&quot; &quot;@&quot; &quot;">
                  <c:v>120.59</c:v>
                </c:pt>
                <c:pt idx="71" formatCode="#,##0_);\(#,##0\);&quot;-  &quot;;&quot; &quot;@&quot; &quot;">
                  <c:v>121.41</c:v>
                </c:pt>
                <c:pt idx="72" formatCode="#,##0_);\(#,##0\);&quot;-  &quot;;&quot; &quot;@&quot; &quot;">
                  <c:v>119.96</c:v>
                </c:pt>
                <c:pt idx="73" formatCode="#,##0_);\(#,##0\);&quot;-  &quot;;&quot; &quot;@&quot; &quot;">
                  <c:v>119.68</c:v>
                </c:pt>
                <c:pt idx="74" formatCode="#,##0_);\(#,##0\);&quot;-  &quot;;&quot; &quot;@&quot; &quot;">
                  <c:v>119.25</c:v>
                </c:pt>
                <c:pt idx="75" formatCode="#,##0_);\(#,##0\);&quot;-  &quot;;&quot; &quot;@&quot; &quot;">
                  <c:v>119.62</c:v>
                </c:pt>
                <c:pt idx="76" formatCode="#,##0_);\(#,##0\);&quot;-  &quot;;&quot; &quot;@&quot; &quot;">
                  <c:v>120.46</c:v>
                </c:pt>
                <c:pt idx="77" formatCode="#,##0_);\(#,##0\);&quot;-  &quot;;&quot; &quot;@&quot; &quot;">
                  <c:v>120.03</c:v>
                </c:pt>
                <c:pt idx="78" formatCode="#,##0_);\(#,##0\);&quot;-  &quot;;&quot; &quot;@&quot; &quot;">
                  <c:v>120.69</c:v>
                </c:pt>
                <c:pt idx="79" formatCode="#,##0_);\(#,##0\);&quot;-  &quot;;&quot; &quot;@&quot; &quot;">
                  <c:v>120.4</c:v>
                </c:pt>
                <c:pt idx="80" formatCode="#,##0_);\(#,##0\);&quot;-  &quot;;&quot; &quot;@&quot; &quot;">
                  <c:v>121.1</c:v>
                </c:pt>
                <c:pt idx="81" formatCode="#,##0_);\(#,##0\);&quot;-  &quot;;&quot; &quot;@&quot; &quot;">
                  <c:v>121.78</c:v>
                </c:pt>
                <c:pt idx="82" formatCode="#,##0_);\(#,##0\);&quot;-  &quot;;&quot; &quot;@&quot; &quot;">
                  <c:v>121.13</c:v>
                </c:pt>
                <c:pt idx="83" formatCode="#,##0_);\(#,##0\);&quot;-  &quot;;&quot; &quot;@&quot; &quot;">
                  <c:v>120.24</c:v>
                </c:pt>
                <c:pt idx="84" formatCode="#,##0_);\(#,##0\);&quot;-  &quot;;&quot; &quot;@&quot; &quot;">
                  <c:v>118.67</c:v>
                </c:pt>
                <c:pt idx="85" formatCode="#,##0_);\(#,##0\);&quot;-  &quot;;&quot; &quot;@&quot; &quot;">
                  <c:v>119.17</c:v>
                </c:pt>
                <c:pt idx="86" formatCode="#,##0_);\(#,##0\);&quot;-  &quot;;&quot; &quot;@&quot; &quot;">
                  <c:v>120.36</c:v>
                </c:pt>
                <c:pt idx="87" formatCode="#,##0_);\(#,##0\);&quot;-  &quot;;&quot; &quot;@&quot; &quot;">
                  <c:v>119.46</c:v>
                </c:pt>
                <c:pt idx="88" formatCode="#,##0_);\(#,##0\);&quot;-  &quot;;&quot; &quot;@&quot; &quot;">
                  <c:v>120.6</c:v>
                </c:pt>
                <c:pt idx="89" formatCode="#,##0_);\(#,##0\);&quot;-  &quot;;&quot; &quot;@&quot; &quot;">
                  <c:v>121.4</c:v>
                </c:pt>
                <c:pt idx="90" formatCode="#,##0_);\(#,##0\);&quot;-  &quot;;&quot; &quot;@&quot; &quot;">
                  <c:v>121.14</c:v>
                </c:pt>
                <c:pt idx="91" formatCode="#,##0_);\(#,##0\);&quot;-  &quot;;&quot; &quot;@&quot; &quot;">
                  <c:v>120.93</c:v>
                </c:pt>
                <c:pt idx="92" formatCode="#,##0_);\(#,##0\);&quot;-  &quot;;&quot; &quot;@&quot; &quot;">
                  <c:v>122.34</c:v>
                </c:pt>
                <c:pt idx="93" formatCode="#,##0_);\(#,##0\);&quot;-  &quot;;&quot; &quot;@&quot; &quot;">
                  <c:v>123.26</c:v>
                </c:pt>
                <c:pt idx="94" formatCode="#,##0_);\(#,##0\);&quot;-  &quot;;&quot; &quot;@&quot; &quot;">
                  <c:v>124.34</c:v>
                </c:pt>
                <c:pt idx="95" formatCode="#,##0_);\(#,##0\);&quot;-  &quot;;&quot; &quot;@&quot; &quot;">
                  <c:v>124.19</c:v>
                </c:pt>
                <c:pt idx="96" formatCode="#,##0_);\(#,##0\);&quot;-  &quot;;&quot; &quot;@&quot; &quot;">
                  <c:v>124.19</c:v>
                </c:pt>
                <c:pt idx="97" formatCode="#,##0_);\(#,##0\);&quot;-  &quot;;&quot; &quot;@&quot; &quot;">
                  <c:v>124.13</c:v>
                </c:pt>
                <c:pt idx="98" formatCode="#,##0_);\(#,##0\);&quot;-  &quot;;&quot; &quot;@&quot; &quot;">
                  <c:v>124.31</c:v>
                </c:pt>
                <c:pt idx="99" formatCode="#,##0_);\(#,##0\);&quot;-  &quot;;&quot; &quot;@&quot; &quot;">
                  <c:v>123.47</c:v>
                </c:pt>
                <c:pt idx="100" formatCode="#,##0_);\(#,##0\);&quot;-  &quot;;&quot; &quot;@&quot; &quot;">
                  <c:v>124.25</c:v>
                </c:pt>
                <c:pt idx="101" formatCode="#,##0_);\(#,##0\);&quot;-  &quot;;&quot; &quot;@&quot; &quot;">
                  <c:v>123.7</c:v>
                </c:pt>
                <c:pt idx="102" formatCode="#,##0_);\(#,##0\);&quot;-  &quot;;&quot; &quot;@&quot; &quot;">
                  <c:v>122.93</c:v>
                </c:pt>
                <c:pt idx="103" formatCode="#,##0_);\(#,##0\);&quot;-  &quot;;&quot; &quot;@&quot; &quot;">
                  <c:v>123.12</c:v>
                </c:pt>
                <c:pt idx="104" formatCode="#,##0_);\(#,##0\);&quot;-  &quot;;&quot; &quot;@&quot; &quot;">
                  <c:v>122.02</c:v>
                </c:pt>
                <c:pt idx="105" formatCode="#,##0_);\(#,##0\);&quot;-  &quot;;&quot; &quot;@&quot; &quot;">
                  <c:v>121.74</c:v>
                </c:pt>
                <c:pt idx="106" formatCode="#,##0_);\(#,##0\);&quot;-  &quot;;&quot; &quot;@&quot; &quot;">
                  <c:v>122.18</c:v>
                </c:pt>
                <c:pt idx="107" formatCode="#,##0_);\(#,##0\);&quot;-  &quot;;&quot; &quot;@&quot; &quot;">
                  <c:v>121.88</c:v>
                </c:pt>
                <c:pt idx="108" formatCode="#,##0_);\(#,##0\);&quot;-  &quot;;&quot; &quot;@&quot; &quot;">
                  <c:v>121.58</c:v>
                </c:pt>
                <c:pt idx="109" formatCode="#,##0_);\(#,##0\);&quot;-  &quot;;&quot; &quot;@&quot; &quot;">
                  <c:v>122.2</c:v>
                </c:pt>
                <c:pt idx="110" formatCode="#,##0_);\(#,##0\);&quot;-  &quot;;&quot; &quot;@&quot; &quot;">
                  <c:v>121.85</c:v>
                </c:pt>
                <c:pt idx="111" formatCode="#,##0_);\(#,##0\);&quot;-  &quot;;&quot; &quot;@&quot; &quot;">
                  <c:v>121.9</c:v>
                </c:pt>
                <c:pt idx="112" formatCode="#,##0_);\(#,##0\);&quot;-  &quot;;&quot; &quot;@&quot; &quot;">
                  <c:v>121.83</c:v>
                </c:pt>
                <c:pt idx="113" formatCode="#,##0_);\(#,##0\);&quot;-  &quot;;&quot; &quot;@&quot; &quot;">
                  <c:v>122.24</c:v>
                </c:pt>
                <c:pt idx="114" formatCode="#,##0_);\(#,##0\);&quot;-  &quot;;&quot; &quot;@&quot; &quot;">
                  <c:v>123.22</c:v>
                </c:pt>
                <c:pt idx="115" formatCode="#,##0_);\(#,##0\);&quot;-  &quot;;&quot; &quot;@&quot; &quot;">
                  <c:v>122.99</c:v>
                </c:pt>
                <c:pt idx="116" formatCode="#,##0_);\(#,##0\);&quot;-  &quot;;&quot; &quot;@&quot; &quot;">
                  <c:v>123.09</c:v>
                </c:pt>
                <c:pt idx="117" formatCode="#,##0_);\(#,##0\);&quot;-  &quot;;&quot; &quot;@&quot; &quot;">
                  <c:v>122.79</c:v>
                </c:pt>
                <c:pt idx="118" formatCode="#,##0_);\(#,##0\);&quot;-  &quot;;&quot; &quot;@&quot; &quot;">
                  <c:v>122.59</c:v>
                </c:pt>
                <c:pt idx="119" formatCode="#,##0_);\(#,##0\);&quot;-  &quot;;&quot; &quot;@&quot; &quot;">
                  <c:v>122.86</c:v>
                </c:pt>
                <c:pt idx="120" formatCode="#,##0_);\(#,##0\);&quot;-  &quot;;&quot; &quot;@&quot; &quot;">
                  <c:v>122.67</c:v>
                </c:pt>
                <c:pt idx="121" formatCode="#,##0_);\(#,##0\);&quot;-  &quot;;&quot; &quot;@&quot; &quot;">
                  <c:v>122.59</c:v>
                </c:pt>
                <c:pt idx="122" formatCode="#,##0_);\(#,##0\);&quot;-  &quot;;&quot; &quot;@&quot; &quot;">
                  <c:v>122.54</c:v>
                </c:pt>
                <c:pt idx="123" formatCode="#,##0_);\(#,##0\);&quot;-  &quot;;&quot; &quot;@&quot; &quot;">
                  <c:v>122.5</c:v>
                </c:pt>
                <c:pt idx="124" formatCode="#,##0_);\(#,##0\);&quot;-  &quot;;&quot; &quot;@&quot; &quot;">
                  <c:v>121.64</c:v>
                </c:pt>
                <c:pt idx="125" formatCode="#,##0_);\(#,##0\);&quot;-  &quot;;&quot; &quot;@&quot; &quot;">
                  <c:v>121.35</c:v>
                </c:pt>
                <c:pt idx="126" formatCode="#,##0_);\(#,##0\);&quot;-  &quot;;&quot; &quot;@&quot; &quot;">
                  <c:v>120.01</c:v>
                </c:pt>
                <c:pt idx="127" formatCode="#,##0_);\(#,##0\);&quot;-  &quot;;&quot; &quot;@&quot; &quot;">
                  <c:v>119.59</c:v>
                </c:pt>
                <c:pt idx="128" formatCode="#,##0_);\(#,##0\);&quot;-  &quot;;&quot; &quot;@&quot; &quot;">
                  <c:v>118.8</c:v>
                </c:pt>
                <c:pt idx="129" formatCode="#,##0_);\(#,##0\);&quot;-  &quot;;&quot; &quot;@&quot; &quot;">
                  <c:v>118.65</c:v>
                </c:pt>
                <c:pt idx="130" formatCode="#,##0_);\(#,##0\);&quot;-  &quot;;&quot; &quot;@&quot; &quot;">
                  <c:v>119.15</c:v>
                </c:pt>
                <c:pt idx="131" formatCode="#,##0_);\(#,##0\);&quot;-  &quot;;&quot; &quot;@&quot; &quot;">
                  <c:v>119.5</c:v>
                </c:pt>
                <c:pt idx="132" formatCode="#,##0_);\(#,##0\);&quot;-  &quot;;&quot; &quot;@&quot; &quot;">
                  <c:v>119.81</c:v>
                </c:pt>
                <c:pt idx="133" formatCode="#,##0_);\(#,##0\);&quot;-  &quot;;&quot; &quot;@&quot; &quot;">
                  <c:v>119.59</c:v>
                </c:pt>
                <c:pt idx="134" formatCode="#,##0_);\(#,##0\);&quot;-  &quot;;&quot; &quot;@&quot; &quot;">
                  <c:v>120.21</c:v>
                </c:pt>
                <c:pt idx="135" formatCode="#,##0_);\(#,##0\);&quot;-  &quot;;&quot; &quot;@&quot; &quot;">
                  <c:v>122.93</c:v>
                </c:pt>
                <c:pt idx="136" formatCode="#,##0_);\(#,##0\);&quot;-  &quot;;&quot; &quot;@&quot; &quot;">
                  <c:v>123.96</c:v>
                </c:pt>
                <c:pt idx="137" formatCode="#,##0_);\(#,##0\);&quot;-  &quot;;&quot; &quot;@&quot; &quot;">
                  <c:v>124.22</c:v>
                </c:pt>
                <c:pt idx="138" formatCode="#,##0_);\(#,##0\);&quot;-  &quot;;&quot; &quot;@&quot; &quot;">
                  <c:v>124.61</c:v>
                </c:pt>
                <c:pt idx="139" formatCode="#,##0_);\(#,##0\);&quot;-  &quot;;&quot; &quot;@&quot; &quot;">
                  <c:v>125.97</c:v>
                </c:pt>
                <c:pt idx="140" formatCode="#,##0_);\(#,##0\);&quot;-  &quot;;&quot; &quot;@&quot; &quot;">
                  <c:v>126.69</c:v>
                </c:pt>
                <c:pt idx="141" formatCode="#,##0_);\(#,##0\);&quot;-  &quot;;&quot; &quot;@&quot; &quot;">
                  <c:v>126.72</c:v>
                </c:pt>
                <c:pt idx="142" formatCode="#,##0_);\(#,##0\);&quot;-  &quot;;&quot; &quot;@&quot; &quot;">
                  <c:v>126.08</c:v>
                </c:pt>
                <c:pt idx="143" formatCode="#,##0_);\(#,##0\);&quot;-  &quot;;&quot; &quot;@&quot; &quot;">
                  <c:v>126.02</c:v>
                </c:pt>
                <c:pt idx="144" formatCode="#,##0_);\(#,##0\);&quot;-  &quot;;&quot; &quot;@&quot; &quot;">
                  <c:v>125.56</c:v>
                </c:pt>
                <c:pt idx="145" formatCode="#,##0_);\(#,##0\);&quot;-  &quot;;&quot; &quot;@&quot; &quot;">
                  <c:v>124.82</c:v>
                </c:pt>
                <c:pt idx="146" formatCode="#,##0_);\(#,##0\);&quot;-  &quot;;&quot; &quot;@&quot; &quot;">
                  <c:v>124.31</c:v>
                </c:pt>
                <c:pt idx="147" formatCode="#,##0_);\(#,##0\);&quot;-  &quot;;&quot; &quot;@&quot; &quot;">
                  <c:v>123.15</c:v>
                </c:pt>
                <c:pt idx="148" formatCode="#,##0_);\(#,##0\);&quot;-  &quot;;&quot; &quot;@&quot; &quot;">
                  <c:v>122.97</c:v>
                </c:pt>
                <c:pt idx="149" formatCode="#,##0_);\(#,##0\);&quot;-  &quot;;&quot; &quot;@&quot; &quot;">
                  <c:v>122.3</c:v>
                </c:pt>
                <c:pt idx="150" formatCode="#,##0_);\(#,##0\);&quot;-  &quot;;&quot; &quot;@&quot; &quot;">
                  <c:v>121.49</c:v>
                </c:pt>
                <c:pt idx="151" formatCode="#,##0_);\(#,##0\);&quot;-  &quot;;&quot; &quot;@&quot; &quot;">
                  <c:v>121.51</c:v>
                </c:pt>
                <c:pt idx="152" formatCode="#,##0_);\(#,##0\);&quot;-  &quot;;&quot; &quot;@&quot; &quot;">
                  <c:v>120.84</c:v>
                </c:pt>
                <c:pt idx="153" formatCode="#,##0_);\(#,##0\);&quot;-  &quot;;&quot; &quot;@&quot; &quot;">
                  <c:v>119.87</c:v>
                </c:pt>
                <c:pt idx="154" formatCode="#,##0_);\(#,##0\);&quot;-  &quot;;&quot; &quot;@&quot; &quot;">
                  <c:v>119.49</c:v>
                </c:pt>
                <c:pt idx="155" formatCode="#,##0_);\(#,##0\);&quot;-  &quot;;&quot; &quot;@&quot; &quot;">
                  <c:v>120.3</c:v>
                </c:pt>
                <c:pt idx="156" formatCode="#,##0_);\(#,##0\);&quot;-  &quot;;&quot; &quot;@&quot; &quot;">
                  <c:v>120.02</c:v>
                </c:pt>
                <c:pt idx="157" formatCode="#,##0_);\(#,##0\);&quot;-  &quot;;&quot; &quot;@&quot; &quot;">
                  <c:v>120</c:v>
                </c:pt>
                <c:pt idx="158" formatCode="#,##0_);\(#,##0\);&quot;-  &quot;;&quot; &quot;@&quot; &quot;">
                  <c:v>119.44</c:v>
                </c:pt>
                <c:pt idx="159" formatCode="#,##0_);\(#,##0\);&quot;-  &quot;;&quot; &quot;@&quot; &quot;">
                  <c:v>119.74</c:v>
                </c:pt>
                <c:pt idx="160" formatCode="#,##0_);\(#,##0\);&quot;-  &quot;;&quot; &quot;@&quot; &quot;">
                  <c:v>119.72</c:v>
                </c:pt>
                <c:pt idx="161" formatCode="#,##0_);\(#,##0\);&quot;-  &quot;;&quot; &quot;@&quot; &quot;">
                  <c:v>119.68</c:v>
                </c:pt>
                <c:pt idx="162" formatCode="#,##0_);\(#,##0\);&quot;-  &quot;;&quot; &quot;@&quot; &quot;">
                  <c:v>119.67</c:v>
                </c:pt>
                <c:pt idx="163" formatCode="#,##0_);\(#,##0\);&quot;-  &quot;;&quot; &quot;@&quot; &quot;">
                  <c:v>120.24</c:v>
                </c:pt>
                <c:pt idx="164" formatCode="#,##0_);\(#,##0\);&quot;-  &quot;;&quot; &quot;@&quot; &quot;">
                  <c:v>120.71</c:v>
                </c:pt>
                <c:pt idx="165" formatCode="#,##0_);\(#,##0\);&quot;-  &quot;;&quot; &quot;@&quot; &quot;">
                  <c:v>120.65</c:v>
                </c:pt>
                <c:pt idx="166" formatCode="#,##0_);\(#,##0\);&quot;-  &quot;;&quot; &quot;@&quot; &quot;">
                  <c:v>121.51</c:v>
                </c:pt>
                <c:pt idx="167" formatCode="#,##0_);\(#,##0\);&quot;-  &quot;;&quot; &quot;@&quot; &quot;">
                  <c:v>120.8</c:v>
                </c:pt>
                <c:pt idx="168" formatCode="#,##0_);\(#,##0\);&quot;-  &quot;;&quot; &quot;@&quot; &quot;">
                  <c:v>121.52</c:v>
                </c:pt>
                <c:pt idx="169" formatCode="#,##0_);\(#,##0\);&quot;-  &quot;;&quot; &quot;@&quot; &quot;">
                  <c:v>121.23</c:v>
                </c:pt>
                <c:pt idx="170" formatCode="#,##0_);\(#,##0\);&quot;-  &quot;;&quot; &quot;@&quot; &quot;">
                  <c:v>120.7</c:v>
                </c:pt>
                <c:pt idx="171" formatCode="#,##0_);\(#,##0\);&quot;-  &quot;;&quot; &quot;@&quot; &quot;">
                  <c:v>120.55</c:v>
                </c:pt>
                <c:pt idx="172" formatCode="#,##0_);\(#,##0\);&quot;-  &quot;;&quot; &quot;@&quot; &quot;">
                  <c:v>120.64</c:v>
                </c:pt>
                <c:pt idx="173" formatCode="#,##0_);\(#,##0\);&quot;-  &quot;;&quot; &quot;@&quot; &quot;">
                  <c:v>119.53</c:v>
                </c:pt>
                <c:pt idx="174" formatCode="#,##0_);\(#,##0\);&quot;-  &quot;;&quot; &quot;@&quot; &quot;">
                  <c:v>120.46</c:v>
                </c:pt>
                <c:pt idx="175" formatCode="#,##0_);\(#,##0\);&quot;-  &quot;;&quot; &quot;@&quot; &quot;">
                  <c:v>121.23</c:v>
                </c:pt>
                <c:pt idx="176" formatCode="#,##0_);\(#,##0\);&quot;-  &quot;;&quot; &quot;@&quot; &quot;">
                  <c:v>121.12</c:v>
                </c:pt>
                <c:pt idx="177" formatCode="#,##0_);\(#,##0\);&quot;-  &quot;;&quot; &quot;@&quot; &quot;">
                  <c:v>120.91</c:v>
                </c:pt>
                <c:pt idx="178" formatCode="#,##0_);\(#,##0\);&quot;-  &quot;;&quot; &quot;@&quot; &quot;">
                  <c:v>119.86</c:v>
                </c:pt>
                <c:pt idx="179" formatCode="#,##0_);\(#,##0\);&quot;-  &quot;;&quot; &quot;@&quot; &quot;">
                  <c:v>120.62</c:v>
                </c:pt>
                <c:pt idx="180" formatCode="#,##0_);\(#,##0\);&quot;-  &quot;;&quot; &quot;@&quot; &quot;">
                  <c:v>119.54</c:v>
                </c:pt>
                <c:pt idx="181" formatCode="#,##0_);\(#,##0\);&quot;-  &quot;;&quot; &quot;@&quot; &quot;">
                  <c:v>119.75</c:v>
                </c:pt>
                <c:pt idx="182" formatCode="#,##0_);\(#,##0\);&quot;-  &quot;;&quot; &quot;@&quot; &quot;">
                  <c:v>118.22</c:v>
                </c:pt>
                <c:pt idx="183" formatCode="#,##0_);\(#,##0\);&quot;-  &quot;;&quot; &quot;@&quot; &quot;">
                  <c:v>118.48</c:v>
                </c:pt>
                <c:pt idx="184" formatCode="#,##0_);\(#,##0\);&quot;-  &quot;;&quot; &quot;@&quot; &quot;">
                  <c:v>118.63</c:v>
                </c:pt>
                <c:pt idx="185" formatCode="#,##0_);\(#,##0\);&quot;-  &quot;;&quot; &quot;@&quot; &quot;">
                  <c:v>118.84</c:v>
                </c:pt>
                <c:pt idx="186" formatCode="#,##0_);\(#,##0\);&quot;-  &quot;;&quot; &quot;@&quot; &quot;">
                  <c:v>119.51</c:v>
                </c:pt>
                <c:pt idx="187" formatCode="#,##0_);\(#,##0\);&quot;-  &quot;;&quot; &quot;@&quot; &quot;">
                  <c:v>119.95</c:v>
                </c:pt>
                <c:pt idx="188" formatCode="#,##0_);\(#,##0\);&quot;-  &quot;;&quot; &quot;@&quot; &quot;">
                  <c:v>119.96</c:v>
                </c:pt>
                <c:pt idx="189" formatCode="#,##0_);\(#,##0\);&quot;-  &quot;;&quot; &quot;@&quot; &quot;">
                  <c:v>120.32</c:v>
                </c:pt>
                <c:pt idx="190" formatCode="#,##0_);\(#,##0\);&quot;-  &quot;;&quot; &quot;@&quot; &quot;">
                  <c:v>120.11</c:v>
                </c:pt>
                <c:pt idx="191" formatCode="#,##0_);\(#,##0\);&quot;-  &quot;;&quot; &quot;@&quot; &quot;">
                  <c:v>120.57</c:v>
                </c:pt>
                <c:pt idx="192" formatCode="#,##0_);\(#,##0\);&quot;-  &quot;;&quot; &quot;@&quot; &quot;">
                  <c:v>120.5</c:v>
                </c:pt>
                <c:pt idx="193" formatCode="#,##0_);\(#,##0\);&quot;-  &quot;;&quot; &quot;@&quot; &quot;">
                  <c:v>118.76</c:v>
                </c:pt>
                <c:pt idx="194" formatCode="#,##0_);\(#,##0\);&quot;-  &quot;;&quot; &quot;@&quot; &quot;">
                  <c:v>119.45</c:v>
                </c:pt>
                <c:pt idx="195" formatCode="#,##0_);\(#,##0\);&quot;-  &quot;;&quot; &quot;@&quot; &quot;">
                  <c:v>118.96</c:v>
                </c:pt>
                <c:pt idx="196" formatCode="#,##0_);\(#,##0\);&quot;-  &quot;;&quot; &quot;@&quot; &quot;">
                  <c:v>117.94</c:v>
                </c:pt>
                <c:pt idx="197" formatCode="#,##0_);\(#,##0\);&quot;-  &quot;;&quot; &quot;@&quot; &quot;">
                  <c:v>117.11</c:v>
                </c:pt>
                <c:pt idx="198" formatCode="#,##0_);\(#,##0\);&quot;-  &quot;;&quot; &quot;@&quot; &quot;">
                  <c:v>116.75</c:v>
                </c:pt>
                <c:pt idx="199" formatCode="#,##0_);\(#,##0\);&quot;-  &quot;;&quot; &quot;@&quot; &quot;">
                  <c:v>115.13</c:v>
                </c:pt>
                <c:pt idx="200" formatCode="#,##0_);\(#,##0\);&quot;-  &quot;;&quot; &quot;@&quot; &quot;">
                  <c:v>114.83</c:v>
                </c:pt>
                <c:pt idx="201" formatCode="#,##0_);\(#,##0\);&quot;-  &quot;;&quot; &quot;@&quot; &quot;">
                  <c:v>114.69</c:v>
                </c:pt>
                <c:pt idx="202" formatCode="#,##0_);\(#,##0\);&quot;-  &quot;;&quot; &quot;@&quot; &quot;">
                  <c:v>113.97</c:v>
                </c:pt>
                <c:pt idx="203" formatCode="#,##0_);\(#,##0\);&quot;-  &quot;;&quot; &quot;@&quot; &quot;">
                  <c:v>114.26</c:v>
                </c:pt>
                <c:pt idx="204" formatCode="#,##0_);\(#,##0\);&quot;-  &quot;;&quot; &quot;@&quot; &quot;">
                  <c:v>113.99</c:v>
                </c:pt>
                <c:pt idx="205" formatCode="#,##0_);\(#,##0\);&quot;-  &quot;;&quot; &quot;@&quot; &quot;">
                  <c:v>113.23</c:v>
                </c:pt>
                <c:pt idx="206" formatCode="#,##0_);\(#,##0\);&quot;-  &quot;;&quot; &quot;@&quot; &quot;">
                  <c:v>112.84</c:v>
                </c:pt>
                <c:pt idx="207" formatCode="#,##0_);\(#,##0\);&quot;-  &quot;;&quot; &quot;@&quot; &quot;">
                  <c:v>112.18</c:v>
                </c:pt>
                <c:pt idx="208" formatCode="#,##0_);\(#,##0\);&quot;-  &quot;;&quot; &quot;@&quot; &quot;">
                  <c:v>111.85</c:v>
                </c:pt>
                <c:pt idx="209" formatCode="#,##0_);\(#,##0\);&quot;-  &quot;;&quot; &quot;@&quot; &quot;">
                  <c:v>111.59</c:v>
                </c:pt>
                <c:pt idx="210" formatCode="#,##0_);\(#,##0\);&quot;-  &quot;;&quot; &quot;@&quot; &quot;">
                  <c:v>112.03</c:v>
                </c:pt>
                <c:pt idx="211" formatCode="#,##0_);\(#,##0\);&quot;-  &quot;;&quot; &quot;@&quot; &quot;">
                  <c:v>112.02</c:v>
                </c:pt>
                <c:pt idx="212" formatCode="#,##0_);\(#,##0\);&quot;-  &quot;;&quot; &quot;@&quot; &quot;">
                  <c:v>112.3</c:v>
                </c:pt>
                <c:pt idx="213" formatCode="#,##0_);\(#,##0\);&quot;-  &quot;;&quot; &quot;@&quot; &quot;">
                  <c:v>111.28</c:v>
                </c:pt>
                <c:pt idx="214" formatCode="#,##0_);\(#,##0\);&quot;-  &quot;;&quot; &quot;@&quot; &quot;">
                  <c:v>110.86</c:v>
                </c:pt>
                <c:pt idx="215" formatCode="#,##0_);\(#,##0\);&quot;-  &quot;;&quot; &quot;@&quot; &quot;">
                  <c:v>108.94</c:v>
                </c:pt>
                <c:pt idx="216" formatCode="#,##0_);\(#,##0\);&quot;-  &quot;;&quot; &quot;@&quot; &quot;">
                  <c:v>107.78</c:v>
                </c:pt>
                <c:pt idx="217" formatCode="#,##0_);\(#,##0\);&quot;-  &quot;;&quot; &quot;@&quot; &quot;">
                  <c:v>107.82</c:v>
                </c:pt>
                <c:pt idx="218" formatCode="#,##0_);\(#,##0\);&quot;-  &quot;;&quot; &quot;@&quot; &quot;">
                  <c:v>107.16</c:v>
                </c:pt>
                <c:pt idx="219" formatCode="#,##0_);\(#,##0\);&quot;-  &quot;;&quot; &quot;@&quot; &quot;">
                  <c:v>106.44</c:v>
                </c:pt>
                <c:pt idx="220" formatCode="#,##0_);\(#,##0\);&quot;-  &quot;;&quot; &quot;@&quot; &quot;">
                  <c:v>105.17</c:v>
                </c:pt>
                <c:pt idx="221" formatCode="#,##0_);\(#,##0\);&quot;-  &quot;;&quot; &quot;@&quot; &quot;">
                  <c:v>105.08</c:v>
                </c:pt>
                <c:pt idx="222" formatCode="#,##0_);\(#,##0\);&quot;-  &quot;;&quot; &quot;@&quot; &quot;">
                  <c:v>104.54</c:v>
                </c:pt>
                <c:pt idx="223" formatCode="#,##0_);\(#,##0\);&quot;-  &quot;;&quot; &quot;@&quot; &quot;">
                  <c:v>102.76</c:v>
                </c:pt>
                <c:pt idx="224" formatCode="#,##0_);\(#,##0\);&quot;-  &quot;;&quot; &quot;@&quot; &quot;">
                  <c:v>100.78</c:v>
                </c:pt>
                <c:pt idx="225" formatCode="#,##0_);\(#,##0\);&quot;-  &quot;;&quot; &quot;@&quot; &quot;">
                  <c:v>100.78</c:v>
                </c:pt>
                <c:pt idx="226" formatCode="#,##0_);\(#,##0\);&quot;-  &quot;;&quot; &quot;@&quot; &quot;">
                  <c:v>102.54</c:v>
                </c:pt>
                <c:pt idx="227" formatCode="#,##0_);\(#,##0\);&quot;-  &quot;;&quot; &quot;@&quot; &quot;">
                  <c:v>102.24</c:v>
                </c:pt>
                <c:pt idx="228" formatCode="#,##0_);\(#,##0\);&quot;-  &quot;;&quot; &quot;@&quot; &quot;">
                  <c:v>102.59</c:v>
                </c:pt>
                <c:pt idx="229" formatCode="#,##0_);\(#,##0\);&quot;-  &quot;;&quot; &quot;@&quot; &quot;">
                  <c:v>101.79</c:v>
                </c:pt>
                <c:pt idx="230" formatCode="#,##0_);\(#,##0\);&quot;-  &quot;;&quot; &quot;@&quot; &quot;">
                  <c:v>102.12</c:v>
                </c:pt>
                <c:pt idx="231" formatCode="#,##0_);\(#,##0\);&quot;-  &quot;;&quot; &quot;@&quot; &quot;">
                  <c:v>101.77</c:v>
                </c:pt>
                <c:pt idx="232" formatCode="#,##0_);\(#,##0\);&quot;-  &quot;;&quot; &quot;@&quot; &quot;">
                  <c:v>101.53</c:v>
                </c:pt>
                <c:pt idx="233" formatCode="#,##0_);\(#,##0\);&quot;-  &quot;;&quot; &quot;@&quot; &quot;">
                  <c:v>102.26</c:v>
                </c:pt>
                <c:pt idx="234" formatCode="#,##0_);\(#,##0\);&quot;-  &quot;;&quot; &quot;@&quot; &quot;">
                  <c:v>104.14</c:v>
                </c:pt>
                <c:pt idx="235" formatCode="#,##0_);\(#,##0\);&quot;-  &quot;;&quot; &quot;@&quot; &quot;">
                  <c:v>103.69</c:v>
                </c:pt>
                <c:pt idx="236" formatCode="#,##0_);\(#,##0\);&quot;-  &quot;;&quot; &quot;@&quot; &quot;">
                  <c:v>103.87</c:v>
                </c:pt>
                <c:pt idx="237" formatCode="#,##0_);\(#,##0\);&quot;-  &quot;;&quot; &quot;@&quot; &quot;">
                  <c:v>103.44</c:v>
                </c:pt>
                <c:pt idx="238" formatCode="#,##0_);\(#,##0\);&quot;-  &quot;;&quot; &quot;@&quot; &quot;">
                  <c:v>101.47</c:v>
                </c:pt>
                <c:pt idx="239" formatCode="#,##0_);\(#,##0\);&quot;-  &quot;;&quot; &quot;@&quot; &quot;">
                  <c:v>101.18</c:v>
                </c:pt>
                <c:pt idx="240" formatCode="#,##0_);\(#,##0\);&quot;-  &quot;;&quot; &quot;@&quot; &quot;">
                  <c:v>101.42</c:v>
                </c:pt>
                <c:pt idx="241" formatCode="#,##0_);\(#,##0\);&quot;-  &quot;;&quot; &quot;@&quot; &quot;">
                  <c:v>102.67</c:v>
                </c:pt>
                <c:pt idx="242" formatCode="#,##0_);\(#,##0\);&quot;-  &quot;;&quot; &quot;@&quot; &quot;">
                  <c:v>102.62</c:v>
                </c:pt>
                <c:pt idx="243" formatCode="#,##0_);\(#,##0\);&quot;-  &quot;;&quot; &quot;@&quot; &quot;">
                  <c:v>101.11</c:v>
                </c:pt>
                <c:pt idx="244" formatCode="#,##0_);\(#,##0\);&quot;-  &quot;;&quot; &quot;@&quot; &quot;">
                  <c:v>100.59</c:v>
                </c:pt>
                <c:pt idx="245" formatCode="#,##0_);\(#,##0\);&quot;-  &quot;;&quot; &quot;@&quot; &quot;">
                  <c:v>97.94</c:v>
                </c:pt>
                <c:pt idx="246" formatCode="#,##0_);\(#,##0\);&quot;-  &quot;;&quot; &quot;@&quot; &quot;">
                  <c:v>97.22</c:v>
                </c:pt>
                <c:pt idx="247" formatCode="#,##0_);\(#,##0\);&quot;-  &quot;;&quot; &quot;@&quot; &quot;">
                  <c:v>97.34</c:v>
                </c:pt>
                <c:pt idx="248" formatCode="#,##0_);\(#,##0\);&quot;-  &quot;;&quot; &quot;@&quot; &quot;">
                  <c:v>97.33</c:v>
                </c:pt>
                <c:pt idx="249" formatCode="#,##0_);\(#,##0\);&quot;-  &quot;;&quot; &quot;@&quot; &quot;">
                  <c:v>96.86</c:v>
                </c:pt>
                <c:pt idx="250" formatCode="#,##0_);\(#,##0\);&quot;-  &quot;;&quot; &quot;@&quot; &quot;">
                  <c:v>96.77</c:v>
                </c:pt>
                <c:pt idx="251" formatCode="#,##0_);\(#,##0\);&quot;-  &quot;;&quot; &quot;@&quot; &quot;">
                  <c:v>97.75</c:v>
                </c:pt>
                <c:pt idx="252" formatCode="#,##0_);\(#,##0\);&quot;-  &quot;;&quot; &quot;@&quot; &quot;">
                  <c:v>97.72</c:v>
                </c:pt>
                <c:pt idx="253" formatCode="#,##0_);\(#,##0\);&quot;-  &quot;;&quot; &quot;@&quot; &quot;">
                  <c:v>96.39</c:v>
                </c:pt>
                <c:pt idx="254" formatCode="#,##0_);\(#,##0\);&quot;-  &quot;;&quot; &quot;@&quot; &quot;">
                  <c:v>95.95</c:v>
                </c:pt>
                <c:pt idx="255" formatCode="#,##0_);\(#,##0\);&quot;-  &quot;;&quot; &quot;@&quot; &quot;">
                  <c:v>93.31</c:v>
                </c:pt>
                <c:pt idx="256" formatCode="#,##0_);\(#,##0\);&quot;-  &quot;;&quot; &quot;@&quot; &quot;">
                  <c:v>92.82</c:v>
                </c:pt>
                <c:pt idx="257" formatCode="#,##0_);\(#,##0\);&quot;-  &quot;;&quot; &quot;@&quot; &quot;">
                  <c:v>88.92</c:v>
                </c:pt>
                <c:pt idx="258" formatCode="#,##0_);\(#,##0\);&quot;-  &quot;;&quot; &quot;@&quot; &quot;">
                  <c:v>88.47</c:v>
                </c:pt>
                <c:pt idx="259" formatCode="#,##0_);\(#,##0\);&quot;-  &quot;;&quot; &quot;@&quot; &quot;">
                  <c:v>87.58</c:v>
                </c:pt>
                <c:pt idx="260" formatCode="#,##0_);\(#,##0\);&quot;-  &quot;;&quot; &quot;@&quot; &quot;">
                  <c:v>86.66</c:v>
                </c:pt>
                <c:pt idx="261" formatCode="#,##0_);\(#,##0\);&quot;-  &quot;;&quot; &quot;@&quot; &quot;">
                  <c:v>85.77</c:v>
                </c:pt>
                <c:pt idx="262" formatCode="#,##0_);\(#,##0\);&quot;-  &quot;;&quot; &quot;@&quot; &quot;">
                  <c:v>83.51</c:v>
                </c:pt>
                <c:pt idx="263" formatCode="#,##0_);\(#,##0\);&quot;-  &quot;;&quot; &quot;@&quot; &quot;">
                  <c:v>83.03</c:v>
                </c:pt>
                <c:pt idx="264" formatCode="#,##0_);\(#,##0\);&quot;-  &quot;;&quot; &quot;@&quot; &quot;">
                  <c:v>81.290000000000006</c:v>
                </c:pt>
                <c:pt idx="265" formatCode="#,##0_);\(#,##0\);&quot;-  &quot;;&quot; &quot;@&quot; &quot;">
                  <c:v>80.430000000000007</c:v>
                </c:pt>
                <c:pt idx="266" formatCode="#,##0_);\(#,##0\);&quot;-  &quot;;&quot; &quot;@&quot; &quot;">
                  <c:v>78.5</c:v>
                </c:pt>
                <c:pt idx="267" formatCode="#,##0_);\(#,##0\);&quot;-  &quot;;&quot; &quot;@&quot; &quot;">
                  <c:v>77.87</c:v>
                </c:pt>
                <c:pt idx="268" formatCode="#,##0_);\(#,##0\);&quot;-  &quot;;&quot; &quot;@&quot; &quot;">
                  <c:v>77.040000000000006</c:v>
                </c:pt>
                <c:pt idx="269" formatCode="#,##0_);\(#,##0\);&quot;-  &quot;;&quot; &quot;@&quot; &quot;">
                  <c:v>77.459999999999994</c:v>
                </c:pt>
                <c:pt idx="270" formatCode="#,##0_);\(#,##0\);&quot;-  &quot;;&quot; &quot;@&quot; &quot;">
                  <c:v>76.44</c:v>
                </c:pt>
                <c:pt idx="271" formatCode="#,##0_);\(#,##0\);&quot;-  &quot;;&quot; &quot;@&quot; &quot;">
                  <c:v>76.39</c:v>
                </c:pt>
                <c:pt idx="272" formatCode="#,##0_);\(#,##0\);&quot;-  &quot;;&quot; &quot;@&quot; &quot;">
                  <c:v>74.95</c:v>
                </c:pt>
                <c:pt idx="273" formatCode="#,##0_);\(#,##0\);&quot;-  &quot;;&quot; &quot;@&quot; &quot;">
                  <c:v>76.849999999999994</c:v>
                </c:pt>
                <c:pt idx="274" formatCode="#,##0_);\(#,##0\);&quot;-  &quot;;&quot; &quot;@&quot; &quot;">
                  <c:v>74.959999999999994</c:v>
                </c:pt>
                <c:pt idx="275" formatCode="#,##0_);\(#,##0\);&quot;-  &quot;;&quot; &quot;@&quot; &quot;">
                  <c:v>72.91</c:v>
                </c:pt>
                <c:pt idx="276" formatCode="#,##0_);\(#,##0\);&quot;-  &quot;;&quot; &quot;@&quot; &quot;">
                  <c:v>72.48</c:v>
                </c:pt>
                <c:pt idx="277" formatCode="#,##0_);\(#,##0\);&quot;-  &quot;;&quot; &quot;@&quot; &quot;">
                  <c:v>71.86</c:v>
                </c:pt>
                <c:pt idx="278" formatCode="#,##0_);\(#,##0\);&quot;-  &quot;;&quot; &quot;@&quot; &quot;">
                  <c:v>71.739999999999995</c:v>
                </c:pt>
                <c:pt idx="279" formatCode="#,##0_);\(#,##0\);&quot;-  &quot;;&quot; &quot;@&quot; &quot;">
                  <c:v>69.709999999999994</c:v>
                </c:pt>
                <c:pt idx="280" formatCode="#,##0_);\(#,##0\);&quot;-  &quot;;&quot; &quot;@&quot; &quot;">
                  <c:v>68.540000000000006</c:v>
                </c:pt>
                <c:pt idx="281" formatCode="#,##0_);\(#,##0\);&quot;-  &quot;;&quot; &quot;@&quot; &quot;">
                  <c:v>66.38</c:v>
                </c:pt>
                <c:pt idx="282" formatCode="#,##0_);\(#,##0\);&quot;-  &quot;;&quot; &quot;@&quot; &quot;">
                  <c:v>66.23</c:v>
                </c:pt>
                <c:pt idx="283" formatCode="#,##0_);\(#,##0\);&quot;-  &quot;;&quot; &quot;@&quot; &quot;">
                  <c:v>65.78</c:v>
                </c:pt>
                <c:pt idx="284" formatCode="#,##0_);\(#,##0\);&quot;-  &quot;;&quot; &quot;@&quot; &quot;">
                  <c:v>64.27</c:v>
                </c:pt>
                <c:pt idx="285" formatCode="#,##0_);\(#,##0\);&quot;-  &quot;;&quot; &quot;@&quot; &quot;">
                  <c:v>62.83</c:v>
                </c:pt>
                <c:pt idx="286" formatCode="#,##0_);\(#,##0\);&quot;-  &quot;;&quot; &quot;@&quot; &quot;">
                  <c:v>63.23</c:v>
                </c:pt>
                <c:pt idx="287" formatCode="#,##0_);\(#,##0\);&quot;-  &quot;;&quot; &quot;@&quot; &quot;">
                  <c:v>64.180000000000007</c:v>
                </c:pt>
                <c:pt idx="288" formatCode="#,##0_);\(#,##0\);&quot;-  &quot;;&quot; &quot;@&quot; &quot;">
                  <c:v>64.91</c:v>
                </c:pt>
                <c:pt idx="289" formatCode="#,##0_);\(#,##0\);&quot;-  &quot;;&quot; &quot;@&quot; &quot;">
                  <c:v>65.02</c:v>
                </c:pt>
                <c:pt idx="290" formatCode="#,##0_);\(#,##0\);&quot;-  &quot;;&quot; &quot;@&quot; &quot;">
                  <c:v>64.099999999999994</c:v>
                </c:pt>
                <c:pt idx="291" formatCode="#,##0_);\(#,##0\);&quot;-  &quot;;&quot; &quot;@&quot; &quot;">
                  <c:v>64.05</c:v>
                </c:pt>
                <c:pt idx="292" formatCode="#,##0_);\(#,##0\);&quot;-  &quot;;&quot; &quot;@&quot; &quot;">
                  <c:v>64.39</c:v>
                </c:pt>
                <c:pt idx="293" formatCode="#,##0_);\(#,##0\);&quot;-  &quot;;&quot; &quot;@&quot; &quot;">
                  <c:v>64.92</c:v>
                </c:pt>
                <c:pt idx="294" formatCode="#,##0_);\(#,##0\);&quot;-  &quot;;&quot; &quot;@&quot; &quot;">
                  <c:v>64.09</c:v>
                </c:pt>
                <c:pt idx="295" formatCode="#,##0_);\(#,##0\);&quot;-  &quot;;&quot; &quot;@&quot; &quot;">
                  <c:v>64.59</c:v>
                </c:pt>
                <c:pt idx="296" formatCode="#,##0_);\(#,##0\);&quot;-  &quot;;&quot; &quot;@&quot; &quot;">
                  <c:v>64.42</c:v>
                </c:pt>
                <c:pt idx="297" formatCode="#,##0_);\(#,##0\);&quot;-  &quot;;&quot; &quot;@&quot; &quot;">
                  <c:v>64.12</c:v>
                </c:pt>
                <c:pt idx="298" formatCode="#,##0_);\(#,##0\);&quot;-  &quot;;&quot; &quot;@&quot; &quot;">
                  <c:v>65.75</c:v>
                </c:pt>
                <c:pt idx="299" formatCode="#,##0_);\(#,##0\);&quot;-  &quot;;&quot; &quot;@&quot; &quot;">
                  <c:v>69.25</c:v>
                </c:pt>
                <c:pt idx="300" formatCode="#,##0_);\(#,##0\);&quot;-  &quot;;&quot; &quot;@&quot; &quot;">
                  <c:v>72.790000000000006</c:v>
                </c:pt>
                <c:pt idx="301" formatCode="#,##0_);\(#,##0\);&quot;-  &quot;;&quot; &quot;@&quot; &quot;">
                  <c:v>72.03</c:v>
                </c:pt>
                <c:pt idx="302" formatCode="#,##0_);\(#,##0\);&quot;-  &quot;;&quot; &quot;@&quot; &quot;">
                  <c:v>72.3</c:v>
                </c:pt>
                <c:pt idx="303" formatCode="#,##0_);\(#,##0\);&quot;-  &quot;;&quot; &quot;@&quot; &quot;">
                  <c:v>73.98</c:v>
                </c:pt>
                <c:pt idx="304" formatCode="#,##0_);\(#,##0\);&quot;-  &quot;;&quot; &quot;@&quot; &quot;">
                  <c:v>75.05</c:v>
                </c:pt>
                <c:pt idx="305" formatCode="#,##0_);\(#,##0\);&quot;-  &quot;;&quot; &quot;@&quot; &quot;">
                  <c:v>74.16</c:v>
                </c:pt>
                <c:pt idx="306" formatCode="#,##0_);\(#,##0\);&quot;-  &quot;;&quot; &quot;@&quot; &quot;">
                  <c:v>73.209999999999994</c:v>
                </c:pt>
                <c:pt idx="307" formatCode="#,##0_);\(#,##0\);&quot;-  &quot;;&quot; &quot;@&quot; &quot;">
                  <c:v>75.59</c:v>
                </c:pt>
                <c:pt idx="308" formatCode="#,##0_);\(#,##0\);&quot;-  &quot;;&quot; &quot;@&quot; &quot;">
                  <c:v>77.650000000000006</c:v>
                </c:pt>
                <c:pt idx="309" formatCode="#,##0_);\(#,##0\);&quot;-  &quot;;&quot; &quot;@&quot; &quot;">
                  <c:v>77.7</c:v>
                </c:pt>
                <c:pt idx="310" formatCode="#,##0_);\(#,##0\);&quot;-  &quot;;&quot; &quot;@&quot; &quot;">
                  <c:v>77.5</c:v>
                </c:pt>
                <c:pt idx="311" formatCode="#,##0_);\(#,##0\);&quot;-  &quot;;&quot; &quot;@&quot; &quot;">
                  <c:v>76.39</c:v>
                </c:pt>
                <c:pt idx="312" formatCode="#,##0_);\(#,##0\);&quot;-  &quot;;&quot; &quot;@&quot; &quot;">
                  <c:v>76.17</c:v>
                </c:pt>
                <c:pt idx="313" formatCode="#,##0_);\(#,##0\);&quot;-  &quot;;&quot; &quot;@&quot; &quot;">
                  <c:v>77.47</c:v>
                </c:pt>
                <c:pt idx="314" formatCode="#,##0_);\(#,##0\);&quot;-  &quot;;&quot; &quot;@&quot; &quot;">
                  <c:v>75.569999999999993</c:v>
                </c:pt>
                <c:pt idx="315" formatCode="#,##0_);\(#,##0\);&quot;-  &quot;;&quot; &quot;@&quot; &quot;">
                  <c:v>74.66</c:v>
                </c:pt>
                <c:pt idx="316" formatCode="#,##0_);\(#,##0\);&quot;-  &quot;;&quot; &quot;@&quot; &quot;">
                  <c:v>76.5</c:v>
                </c:pt>
                <c:pt idx="317" formatCode="#,##0_);\(#,##0\);&quot;-  &quot;;&quot; &quot;@&quot; &quot;">
                  <c:v>76.55</c:v>
                </c:pt>
                <c:pt idx="318" formatCode="#,##0_);\(#,##0\);&quot;-  &quot;;&quot; &quot;@&quot; &quot;">
                  <c:v>77.510000000000005</c:v>
                </c:pt>
                <c:pt idx="319" formatCode="#,##0_);\(#,##0\);&quot;-  &quot;;&quot; &quot;@&quot; &quot;">
                  <c:v>76.34</c:v>
                </c:pt>
                <c:pt idx="320" formatCode="#,##0_);\(#,##0\);&quot;-  &quot;;&quot; &quot;@&quot; &quot;">
                  <c:v>76.959999999999994</c:v>
                </c:pt>
                <c:pt idx="321" formatCode="#,##0_);\(#,##0\);&quot;-  &quot;;&quot; &quot;@&quot; &quot;">
                  <c:v>76.03</c:v>
                </c:pt>
                <c:pt idx="322" formatCode="#,##0_);\(#,##0\);&quot;-  &quot;;&quot; &quot;@&quot; &quot;">
                  <c:v>75.62</c:v>
                </c:pt>
                <c:pt idx="323" formatCode="#,##0_);\(#,##0\);&quot;-  &quot;;&quot; &quot;@&quot; &quot;">
                  <c:v>74.59</c:v>
                </c:pt>
                <c:pt idx="324" formatCode="#,##0_);\(#,##0\);&quot;-  &quot;;&quot; &quot;@&quot; &quot;">
                  <c:v>73.260000000000005</c:v>
                </c:pt>
                <c:pt idx="325" formatCode="#,##0_);\(#,##0\);&quot;-  &quot;;&quot; &quot;@&quot; &quot;">
                  <c:v>71.75</c:v>
                </c:pt>
                <c:pt idx="326" formatCode="#,##0_);\(#,##0\);&quot;-  &quot;;&quot; &quot;@&quot; &quot;">
                  <c:v>71.739999999999995</c:v>
                </c:pt>
                <c:pt idx="327" formatCode="#,##0_);\(#,##0\);&quot;-  &quot;;&quot; &quot;@&quot; &quot;">
                  <c:v>71.209999999999994</c:v>
                </c:pt>
                <c:pt idx="328" formatCode="#,##0_);\(#,##0\);&quot;-  &quot;;&quot; &quot;@&quot; &quot;">
                  <c:v>68.989999999999995</c:v>
                </c:pt>
                <c:pt idx="329" formatCode="#,##0_);\(#,##0\);&quot;-  &quot;;&quot; &quot;@&quot; &quot;">
                  <c:v>67.77</c:v>
                </c:pt>
                <c:pt idx="330" formatCode="#,##0_);\(#,##0\);&quot;-  &quot;;&quot; &quot;@&quot; &quot;">
                  <c:v>67.36</c:v>
                </c:pt>
                <c:pt idx="331" formatCode="#,##0_);\(#,##0\);&quot;-  &quot;;&quot; &quot;@&quot; &quot;">
                  <c:v>68.88</c:v>
                </c:pt>
                <c:pt idx="332" formatCode="#,##0_);\(#,##0\);&quot;-  &quot;;&quot; &quot;@&quot; &quot;">
                  <c:v>68.58</c:v>
                </c:pt>
                <c:pt idx="333" formatCode="#,##0_);\(#,##0\);&quot;-  &quot;;&quot; &quot;@&quot; &quot;">
                  <c:v>68.44</c:v>
                </c:pt>
                <c:pt idx="334" formatCode="#,##0_);\(#,##0\);&quot;-  &quot;;&quot; &quot;@&quot; &quot;">
                  <c:v>68.739999999999995</c:v>
                </c:pt>
                <c:pt idx="335" formatCode="#,##0_);\(#,##0\);&quot;-  &quot;;&quot; &quot;@&quot; &quot;">
                  <c:v>68.45</c:v>
                </c:pt>
                <c:pt idx="336" formatCode="#,##0_);\(#,##0\);&quot;-  &quot;;&quot; &quot;@&quot; &quot;">
                  <c:v>68.58</c:v>
                </c:pt>
                <c:pt idx="337" formatCode="#,##0_);\(#,##0\);&quot;-  &quot;;&quot; &quot;@&quot; &quot;">
                  <c:v>71.680000000000007</c:v>
                </c:pt>
                <c:pt idx="338" formatCode="#,##0_);\(#,##0\);&quot;-  &quot;;&quot; &quot;@&quot; &quot;">
                  <c:v>70.28</c:v>
                </c:pt>
                <c:pt idx="339" formatCode="#,##0_);\(#,##0\);&quot;-  &quot;;&quot; &quot;@&quot; &quot;">
                  <c:v>69.540000000000006</c:v>
                </c:pt>
                <c:pt idx="340" formatCode="#,##0_);\(#,##0\);&quot;-  &quot;;&quot; &quot;@&quot; &quot;">
                  <c:v>68.819999999999993</c:v>
                </c:pt>
                <c:pt idx="341" formatCode="#,##0_);\(#,##0\);&quot;-  &quot;;&quot; &quot;@&quot; &quot;">
                  <c:v>69.52</c:v>
                </c:pt>
                <c:pt idx="342" formatCode="#,##0_);\(#,##0\);&quot;-  &quot;;&quot; &quot;@&quot; &quot;">
                  <c:v>68.37</c:v>
                </c:pt>
                <c:pt idx="343" formatCode="#,##0_);\(#,##0\);&quot;-  &quot;;&quot; &quot;@&quot; &quot;">
                  <c:v>69.599999999999994</c:v>
                </c:pt>
                <c:pt idx="344" formatCode="#,##0_);\(#,##0\);&quot;-  &quot;;&quot; &quot;@&quot; &quot;">
                  <c:v>71.069999999999993</c:v>
                </c:pt>
                <c:pt idx="345" formatCode="#,##0_);\(#,##0\);&quot;-  &quot;;&quot; &quot;@&quot; &quot;">
                  <c:v>69.34</c:v>
                </c:pt>
                <c:pt idx="346" formatCode="#,##0_);\(#,##0\);&quot;-  &quot;;&quot; &quot;@&quot; &quot;">
                  <c:v>69.37</c:v>
                </c:pt>
                <c:pt idx="347" formatCode="#,##0_);\(#,##0\);&quot;-  &quot;;&quot; &quot;@&quot; &quot;">
                  <c:v>70.45</c:v>
                </c:pt>
                <c:pt idx="348" formatCode="#,##0_);\(#,##0\);&quot;-  &quot;;&quot; &quot;@&quot; &quot;">
                  <c:v>71.58</c:v>
                </c:pt>
                <c:pt idx="349" formatCode="#,##0_);\(#,##0\);&quot;-  &quot;;&quot; &quot;@&quot; &quot;">
                  <c:v>71.66</c:v>
                </c:pt>
                <c:pt idx="350" formatCode="#,##0_);\(#,##0\);&quot;-  &quot;;&quot; &quot;@&quot; &quot;">
                  <c:v>73.86</c:v>
                </c:pt>
                <c:pt idx="351" formatCode="#,##0_);\(#,##0\);&quot;-  &quot;;&quot; &quot;@&quot; &quot;">
                  <c:v>75.44</c:v>
                </c:pt>
                <c:pt idx="352" formatCode="#,##0_);\(#,##0\);&quot;-  &quot;;&quot; &quot;@&quot; &quot;">
                  <c:v>75.540000000000006</c:v>
                </c:pt>
                <c:pt idx="353" formatCode="#,##0_);\(#,##0\);&quot;-  &quot;;&quot; &quot;@&quot; &quot;">
                  <c:v>75.150000000000006</c:v>
                </c:pt>
                <c:pt idx="354" formatCode="#,##0_);\(#,##0\);&quot;-  &quot;;&quot; &quot;@&quot; &quot;">
                  <c:v>74.5</c:v>
                </c:pt>
                <c:pt idx="355" formatCode="#,##0_);\(#,##0\);&quot;-  &quot;;&quot; &quot;@&quot; &quot;">
                  <c:v>74.23</c:v>
                </c:pt>
                <c:pt idx="356" formatCode="#,##0_);\(#,##0\);&quot;-  &quot;;&quot; &quot;@&quot; &quot;">
                  <c:v>76.02</c:v>
                </c:pt>
                <c:pt idx="357" formatCode="#,##0_);\(#,##0\);&quot;-  &quot;;&quot; &quot;@&quot; &quot;">
                  <c:v>76.72</c:v>
                </c:pt>
                <c:pt idx="358" formatCode="#,##0_);\(#,##0\);&quot;-  &quot;;&quot; &quot;@&quot; &quot;">
                  <c:v>76.599999999999994</c:v>
                </c:pt>
                <c:pt idx="359" formatCode="#,##0_);\(#,##0\);&quot;-  &quot;;&quot; &quot;@&quot; &quot;">
                  <c:v>76.44</c:v>
                </c:pt>
                <c:pt idx="360" formatCode="#,##0_);\(#,##0\);&quot;-  &quot;;&quot; &quot;@&quot; &quot;">
                  <c:v>77.3</c:v>
                </c:pt>
                <c:pt idx="361" formatCode="#,##0_);\(#,##0\);&quot;-  &quot;;&quot; &quot;@&quot; &quot;">
                  <c:v>79.08</c:v>
                </c:pt>
                <c:pt idx="362" formatCode="#,##0_);\(#,##0\);&quot;-  &quot;;&quot; &quot;@&quot; &quot;">
                  <c:v>79.31</c:v>
                </c:pt>
                <c:pt idx="363" formatCode="#,##0_);\(#,##0\);&quot;-  &quot;;&quot; &quot;@&quot; &quot;">
                  <c:v>79.61</c:v>
                </c:pt>
                <c:pt idx="364" formatCode="#,##0_);\(#,##0\);&quot;-  &quot;;&quot; &quot;@&quot; &quot;">
                  <c:v>81.11</c:v>
                </c:pt>
                <c:pt idx="365" formatCode="#,##0_);\(#,##0\);&quot;-  &quot;;&quot; &quot;@&quot; &quot;">
                  <c:v>82.15</c:v>
                </c:pt>
                <c:pt idx="366" formatCode="#,##0_);\(#,##0\);&quot;-  &quot;;&quot; &quot;@&quot; &quot;">
                  <c:v>80.63</c:v>
                </c:pt>
                <c:pt idx="367" formatCode="#,##0_);\(#,##0\);&quot;-  &quot;;&quot; &quot;@&quot; &quot;">
                  <c:v>79.8</c:v>
                </c:pt>
                <c:pt idx="368" formatCode="#,##0_);\(#,##0\);&quot;-  &quot;;&quot; &quot;@&quot; &quot;">
                  <c:v>79.08</c:v>
                </c:pt>
                <c:pt idx="369" formatCode="#,##0_);\(#,##0\);&quot;-  &quot;;&quot; &quot;@&quot; &quot;">
                  <c:v>80.61</c:v>
                </c:pt>
                <c:pt idx="370" formatCode="#,##0_);\(#,##0\);&quot;-  &quot;;&quot; &quot;@&quot; &quot;">
                  <c:v>81.55</c:v>
                </c:pt>
                <c:pt idx="371" formatCode="#,##0_);\(#,##0\);&quot;-  &quot;;&quot; &quot;@&quot; &quot;">
                  <c:v>81.489999999999995</c:v>
                </c:pt>
                <c:pt idx="372" formatCode="#,##0_);\(#,##0\);&quot;-  &quot;;&quot; &quot;@&quot; &quot;">
                  <c:v>82.86</c:v>
                </c:pt>
                <c:pt idx="373" formatCode="#,##0_);\(#,##0\);&quot;-  &quot;;&quot; &quot;@&quot; &quot;">
                  <c:v>81.86</c:v>
                </c:pt>
                <c:pt idx="374" formatCode="#,##0_);\(#,##0\);&quot;-  &quot;;&quot; &quot;@&quot; &quot;">
                  <c:v>79.11</c:v>
                </c:pt>
                <c:pt idx="375" formatCode="#,##0_);\(#,##0\);&quot;-  &quot;;&quot; &quot;@&quot; &quot;">
                  <c:v>79.900000000000006</c:v>
                </c:pt>
                <c:pt idx="376" formatCode="#,##0_);\(#,##0\);&quot;-  &quot;;&quot; &quot;@&quot; &quot;">
                  <c:v>81.03</c:v>
                </c:pt>
                <c:pt idx="377" formatCode="#,##0_);\(#,##0\);&quot;-  &quot;;&quot; &quot;@&quot; &quot;">
                  <c:v>79.739999999999995</c:v>
                </c:pt>
                <c:pt idx="378" formatCode="#,##0_);\(#,##0\);&quot;-  &quot;;&quot; &quot;@&quot; &quot;">
                  <c:v>77.53</c:v>
                </c:pt>
                <c:pt idx="379" formatCode="#,##0_);\(#,##0\);&quot;-  &quot;;&quot; &quot;@&quot; &quot;">
                  <c:v>76.19</c:v>
                </c:pt>
                <c:pt idx="380" formatCode="#,##0_);\(#,##0\);&quot;-  &quot;;&quot; &quot;@&quot; &quot;">
                  <c:v>75.88</c:v>
                </c:pt>
                <c:pt idx="381" formatCode="#,##0_);\(#,##0\);&quot;-  &quot;;&quot; &quot;@&quot; &quot;">
                  <c:v>78.290000000000006</c:v>
                </c:pt>
                <c:pt idx="382" formatCode="#,##0_);\(#,##0\);&quot;-  &quot;;&quot; &quot;@&quot; &quot;">
                  <c:v>77.39</c:v>
                </c:pt>
                <c:pt idx="383" formatCode="#,##0_);\(#,##0\);&quot;-  &quot;;&quot; &quot;@&quot; &quot;">
                  <c:v>78.680000000000007</c:v>
                </c:pt>
                <c:pt idx="384" formatCode="#,##0_);\(#,##0\);&quot;-  &quot;;&quot; &quot;@&quot; &quot;">
                  <c:v>76.989999999999995</c:v>
                </c:pt>
                <c:pt idx="385" formatCode="#,##0_);\(#,##0\);&quot;-  &quot;;&quot; &quot;@&quot; &quot;">
                  <c:v>74.61</c:v>
                </c:pt>
                <c:pt idx="386" formatCode="#,##0_);\(#,##0\);&quot;-  &quot;;&quot; &quot;@&quot; &quot;">
                  <c:v>74.28</c:v>
                </c:pt>
                <c:pt idx="387" formatCode="#,##0_);\(#,##0\);&quot;-  &quot;;&quot; &quot;@&quot; &quot;">
                  <c:v>74.41</c:v>
                </c:pt>
                <c:pt idx="388" formatCode="#,##0_);\(#,##0\);&quot;-  &quot;;&quot; &quot;@&quot; &quot;">
                  <c:v>76.09</c:v>
                </c:pt>
                <c:pt idx="389" formatCode="#,##0_);\(#,##0\);&quot;-  &quot;;&quot; &quot;@&quot; &quot;">
                  <c:v>77.62</c:v>
                </c:pt>
                <c:pt idx="390" formatCode="#,##0_);\(#,##0\);&quot;-  &quot;;&quot; &quot;@&quot; &quot;">
                  <c:v>76.7</c:v>
                </c:pt>
                <c:pt idx="391" formatCode="#,##0_);\(#,##0\);&quot;-  &quot;;&quot; &quot;@&quot; &quot;">
                  <c:v>75.97</c:v>
                </c:pt>
                <c:pt idx="392" formatCode="#,##0_);\(#,##0\);&quot;-  &quot;;&quot; &quot;@&quot; &quot;">
                  <c:v>74.94</c:v>
                </c:pt>
                <c:pt idx="393" formatCode="#,##0_);\(#,##0\);&quot;-  &quot;;&quot; &quot;@&quot; &quot;">
                  <c:v>75.319999999999993</c:v>
                </c:pt>
                <c:pt idx="394" formatCode="#,##0_);\(#,##0\);&quot;-  &quot;;&quot; &quot;@&quot; &quot;">
                  <c:v>76.150000000000006</c:v>
                </c:pt>
                <c:pt idx="395" formatCode="#,##0_);\(#,##0\);&quot;-  &quot;;&quot; &quot;@&quot; &quot;">
                  <c:v>76.459999999999994</c:v>
                </c:pt>
                <c:pt idx="396" formatCode="#,##0_);\(#,##0\);&quot;-  &quot;;&quot; &quot;@&quot; &quot;">
                  <c:v>74.709999999999994</c:v>
                </c:pt>
                <c:pt idx="397" formatCode="#,##0_);\(#,##0\);&quot;-  &quot;;&quot; &quot;@&quot; &quot;">
                  <c:v>74.17</c:v>
                </c:pt>
                <c:pt idx="398" formatCode="#,##0_);\(#,##0\);&quot;-  &quot;;&quot; &quot;@&quot; &quot;">
                  <c:v>75.73</c:v>
                </c:pt>
                <c:pt idx="399" formatCode="#,##0_);\(#,##0\);&quot;-  &quot;;&quot; &quot;@&quot; &quot;">
                  <c:v>75.55</c:v>
                </c:pt>
                <c:pt idx="400" formatCode="#,##0_);\(#,##0\);&quot;-  &quot;;&quot; &quot;@&quot; &quot;">
                  <c:v>74.62</c:v>
                </c:pt>
                <c:pt idx="401" formatCode="#,##0_);\(#,##0\);&quot;-  &quot;;&quot; &quot;@&quot; &quot;">
                  <c:v>74.58</c:v>
                </c:pt>
                <c:pt idx="402" formatCode="#,##0_);\(#,##0\);&quot;-  &quot;;&quot; &quot;@&quot; &quot;">
                  <c:v>73.38</c:v>
                </c:pt>
                <c:pt idx="403" formatCode="#,##0_);\(#,##0\);&quot;-  &quot;;&quot; &quot;@&quot; &quot;">
                  <c:v>74.88</c:v>
                </c:pt>
                <c:pt idx="404" formatCode="#,##0_);\(#,##0\);&quot;-  &quot;;&quot; &quot;@&quot; &quot;">
                  <c:v>74.36</c:v>
                </c:pt>
                <c:pt idx="405" formatCode="#,##0_);\(#,##0\);&quot;-  &quot;;&quot; &quot;@&quot; &quot;">
                  <c:v>74.11</c:v>
                </c:pt>
                <c:pt idx="406" formatCode="#,##0_);\(#,##0\);&quot;-  &quot;;&quot; &quot;@&quot; &quot;">
                  <c:v>73.19</c:v>
                </c:pt>
                <c:pt idx="407" formatCode="#,##0_);\(#,##0\);&quot;-  &quot;;&quot; &quot;@&quot; &quot;">
                  <c:v>69.010000000000005</c:v>
                </c:pt>
                <c:pt idx="408" formatCode="#,##0_);\(#,##0\);&quot;-  &quot;;&quot; &quot;@&quot; &quot;">
                  <c:v>67.78</c:v>
                </c:pt>
                <c:pt idx="409" formatCode="#,##0_);\(#,##0\);&quot;-  &quot;;&quot; &quot;@&quot; &quot;">
                  <c:v>67.52</c:v>
                </c:pt>
                <c:pt idx="410" formatCode="#,##0_);\(#,##0\);&quot;-  &quot;;&quot; &quot;@&quot; &quot;">
                  <c:v>68.8</c:v>
                </c:pt>
                <c:pt idx="411" formatCode="#,##0_);\(#,##0\);&quot;-  &quot;;&quot; &quot;@&quot; &quot;">
                  <c:v>68.650000000000006</c:v>
                </c:pt>
                <c:pt idx="412" formatCode="#,##0_);\(#,##0\);&quot;-  &quot;;&quot; &quot;@&quot; &quot;">
                  <c:v>68.319999999999993</c:v>
                </c:pt>
                <c:pt idx="413" formatCode="#,##0_);\(#,##0\);&quot;-  &quot;;&quot; &quot;@&quot; &quot;">
                  <c:v>67.91</c:v>
                </c:pt>
                <c:pt idx="414" formatCode="#,##0_);\(#,##0\);&quot;-  &quot;;&quot; &quot;@&quot; &quot;">
                  <c:v>66.75</c:v>
                </c:pt>
                <c:pt idx="415" formatCode="#,##0_);\(#,##0\);&quot;-  &quot;;&quot; &quot;@&quot; &quot;">
                  <c:v>66.45</c:v>
                </c:pt>
                <c:pt idx="416" formatCode="#,##0_);\(#,##0\);&quot;-  &quot;;&quot; &quot;@&quot; &quot;">
                  <c:v>66.03</c:v>
                </c:pt>
                <c:pt idx="417" formatCode="#,##0_);\(#,##0\);&quot;-  &quot;;&quot; &quot;@&quot; &quot;">
                  <c:v>65.87</c:v>
                </c:pt>
                <c:pt idx="418" formatCode="#,##0_);\(#,##0\);&quot;-  &quot;;&quot; &quot;@&quot; &quot;">
                  <c:v>66.41</c:v>
                </c:pt>
                <c:pt idx="419" formatCode="#,##0_);\(#,##0\);&quot;-  &quot;;&quot; &quot;@&quot; &quot;">
                  <c:v>66.73</c:v>
                </c:pt>
                <c:pt idx="420" formatCode="#,##0_);\(#,##0\);&quot;-  &quot;;&quot; &quot;@&quot; &quot;">
                  <c:v>66.459999999999994</c:v>
                </c:pt>
                <c:pt idx="421" formatCode="#,##0_);\(#,##0\);&quot;-  &quot;;&quot; &quot;@&quot; &quot;">
                  <c:v>65.34</c:v>
                </c:pt>
                <c:pt idx="422" formatCode="#,##0_);\(#,##0\);&quot;-  &quot;;&quot; &quot;@&quot; &quot;">
                  <c:v>63.97</c:v>
                </c:pt>
                <c:pt idx="423" formatCode="#,##0_);\(#,##0\);&quot;-  &quot;;&quot; &quot;@&quot; &quot;">
                  <c:v>63.94</c:v>
                </c:pt>
                <c:pt idx="424" formatCode="#,##0_);\(#,##0\);&quot;-  &quot;;&quot; &quot;@&quot; &quot;">
                  <c:v>63.69</c:v>
                </c:pt>
                <c:pt idx="425" formatCode="#,##0_);\(#,##0\);&quot;-  &quot;;&quot; &quot;@&quot; &quot;">
                  <c:v>63.87</c:v>
                </c:pt>
                <c:pt idx="426" formatCode="#,##0_);\(#,##0\);&quot;-  &quot;;&quot; &quot;@&quot; &quot;">
                  <c:v>62.99</c:v>
                </c:pt>
                <c:pt idx="427" formatCode="#,##0_);\(#,##0\);&quot;-  &quot;;&quot; &quot;@&quot; &quot;">
                  <c:v>60.96</c:v>
                </c:pt>
                <c:pt idx="428" formatCode="#,##0_);\(#,##0\);&quot;-  &quot;;&quot; &quot;@&quot; &quot;">
                  <c:v>61.1</c:v>
                </c:pt>
                <c:pt idx="429" formatCode="#,##0_);\(#,##0\);&quot;-  &quot;;&quot; &quot;@&quot; &quot;">
                  <c:v>60.67</c:v>
                </c:pt>
                <c:pt idx="430" formatCode="#,##0_);\(#,##0\);&quot;-  &quot;;&quot; &quot;@&quot; &quot;">
                  <c:v>60.11</c:v>
                </c:pt>
                <c:pt idx="431" formatCode="#,##0_);\(#,##0\);&quot;-  &quot;;&quot; &quot;@&quot; &quot;">
                  <c:v>60.13</c:v>
                </c:pt>
                <c:pt idx="432" formatCode="#,##0_);\(#,##0\);&quot;-  &quot;;&quot; &quot;@&quot; &quot;">
                  <c:v>61.5</c:v>
                </c:pt>
                <c:pt idx="433" formatCode="#,##0_);\(#,##0\);&quot;-  &quot;;&quot; &quot;@&quot; &quot;">
                  <c:v>61.09</c:v>
                </c:pt>
                <c:pt idx="434" formatCode="#,##0_);\(#,##0\);&quot;-  &quot;;&quot; &quot;@&quot; &quot;">
                  <c:v>61.52</c:v>
                </c:pt>
                <c:pt idx="435" formatCode="#,##0_);\(#,##0\);&quot;-  &quot;;&quot; &quot;@&quot; &quot;">
                  <c:v>61.52</c:v>
                </c:pt>
                <c:pt idx="436" formatCode="#,##0_);\(#,##0\);&quot;-  &quot;;&quot; &quot;@&quot; &quot;">
                  <c:v>60.74</c:v>
                </c:pt>
                <c:pt idx="437" formatCode="#,##0_);\(#,##0\);&quot;-  &quot;;&quot; &quot;@&quot; &quot;">
                  <c:v>60.69</c:v>
                </c:pt>
                <c:pt idx="438" formatCode="#,##0_);\(#,##0\);&quot;-  &quot;;&quot; &quot;@&quot; &quot;">
                  <c:v>60.31</c:v>
                </c:pt>
                <c:pt idx="439" formatCode="#,##0_);\(#,##0\);&quot;-  &quot;;&quot; &quot;@&quot; &quot;">
                  <c:v>59.79</c:v>
                </c:pt>
                <c:pt idx="440" formatCode="#,##0_);\(#,##0\);&quot;-  &quot;;&quot; &quot;@&quot; &quot;">
                  <c:v>58.85</c:v>
                </c:pt>
                <c:pt idx="441" formatCode="#,##0_);\(#,##0\);&quot;-  &quot;;&quot; &quot;@&quot; &quot;">
                  <c:v>57.51</c:v>
                </c:pt>
                <c:pt idx="442" formatCode="#,##0_);\(#,##0\);&quot;-  &quot;;&quot; &quot;@&quot; &quot;">
                  <c:v>54.86</c:v>
                </c:pt>
                <c:pt idx="443" formatCode="#,##0_);\(#,##0\);&quot;-  &quot;;&quot; &quot;@&quot; &quot;">
                  <c:v>54.84</c:v>
                </c:pt>
                <c:pt idx="444" formatCode="#,##0_);\(#,##0\);&quot;-  &quot;;&quot; &quot;@&quot; &quot;">
                  <c:v>54.61</c:v>
                </c:pt>
                <c:pt idx="445" formatCode="#,##0_);\(#,##0\);&quot;-  &quot;;&quot; &quot;@&quot; &quot;">
                  <c:v>57.42</c:v>
                </c:pt>
                <c:pt idx="446" formatCode="#,##0_);\(#,##0\);&quot;-  &quot;;&quot; &quot;@&quot; &quot;">
                  <c:v>61.04</c:v>
                </c:pt>
                <c:pt idx="447" formatCode="#,##0_);\(#,##0\);&quot;-  &quot;;&quot; &quot;@&quot; &quot;">
                  <c:v>63.02</c:v>
                </c:pt>
                <c:pt idx="448" formatCode="#,##0_);\(#,##0\);&quot;-  &quot;;&quot; &quot;@&quot; &quot;">
                  <c:v>62.01</c:v>
                </c:pt>
                <c:pt idx="449" formatCode="#,##0_);\(#,##0\);&quot;-  &quot;;&quot; &quot;@&quot; &quot;">
                  <c:v>61.62</c:v>
                </c:pt>
                <c:pt idx="450" formatCode="#,##0_);\(#,##0\);&quot;-  &quot;;&quot; &quot;@&quot; &quot;">
                  <c:v>63.26</c:v>
                </c:pt>
                <c:pt idx="451" formatCode="#,##0_);\(#,##0\);&quot;-  &quot;;&quot; &quot;@&quot; &quot;">
                  <c:v>62.64</c:v>
                </c:pt>
                <c:pt idx="452" formatCode="#,##0_);\(#,##0\);&quot;-  &quot;;&quot; &quot;@&quot; &quot;">
                  <c:v>61.66</c:v>
                </c:pt>
                <c:pt idx="453" formatCode="#,##0_);\(#,##0\);&quot;-  &quot;;&quot; &quot;@&quot; &quot;">
                  <c:v>61.79</c:v>
                </c:pt>
                <c:pt idx="454" formatCode="#,##0_);\(#,##0\);&quot;-  &quot;;&quot; &quot;@&quot; &quot;">
                  <c:v>61.17</c:v>
                </c:pt>
                <c:pt idx="455" formatCode="#,##0_);\(#,##0\);&quot;-  &quot;;&quot; &quot;@&quot; &quot;">
                  <c:v>61.12</c:v>
                </c:pt>
                <c:pt idx="456" formatCode="#,##0_);\(#,##0\);&quot;-  &quot;;&quot; &quot;@&quot; &quot;">
                  <c:v>60.62</c:v>
                </c:pt>
                <c:pt idx="457" formatCode="#,##0_);\(#,##0\);&quot;-  &quot;;&quot; &quot;@&quot; &quot;">
                  <c:v>59.23</c:v>
                </c:pt>
                <c:pt idx="458" formatCode="#,##0_);\(#,##0\);&quot;-  &quot;;&quot; &quot;@&quot; &quot;">
                  <c:v>58.63</c:v>
                </c:pt>
                <c:pt idx="459" formatCode="#,##0_);\(#,##0\);&quot;-  &quot;;&quot; &quot;@&quot; &quot;">
                  <c:v>60.31</c:v>
                </c:pt>
                <c:pt idx="460" formatCode="#,##0_);\(#,##0\);&quot;-  &quot;;&quot; &quot;@&quot; &quot;">
                  <c:v>59.96</c:v>
                </c:pt>
                <c:pt idx="461" formatCode="#,##0_);\(#,##0\);&quot;-  &quot;;&quot; &quot;@&quot; &quot;">
                  <c:v>59.21</c:v>
                </c:pt>
                <c:pt idx="462" formatCode="#,##0_);\(#,##0\);&quot;-  &quot;;&quot; &quot;@&quot; &quot;">
                  <c:v>59.45</c:v>
                </c:pt>
                <c:pt idx="463" formatCode="#,##0_);\(#,##0\);&quot;-  &quot;;&quot; &quot;@&quot; &quot;">
                  <c:v>59.83</c:v>
                </c:pt>
                <c:pt idx="464" formatCode="#,##0_);\(#,##0\);&quot;-  &quot;;&quot; &quot;@&quot; &quot;">
                  <c:v>60.56</c:v>
                </c:pt>
                <c:pt idx="465" formatCode="#,##0_);\(#,##0\);&quot;-  &quot;;&quot; &quot;@&quot; &quot;">
                  <c:v>60.67</c:v>
                </c:pt>
                <c:pt idx="466" formatCode="#,##0_);\(#,##0\);&quot;-  &quot;;&quot; &quot;@&quot; &quot;">
                  <c:v>60.24</c:v>
                </c:pt>
                <c:pt idx="467" formatCode="#,##0_);\(#,##0\);&quot;-  &quot;;&quot; &quot;@&quot; &quot;">
                  <c:v>58.91</c:v>
                </c:pt>
                <c:pt idx="468" formatCode="#,##0_);\(#,##0\);&quot;-  &quot;;&quot; &quot;@&quot; &quot;">
                  <c:v>59.87</c:v>
                </c:pt>
                <c:pt idx="469" formatCode="#,##0_);\(#,##0\);&quot;-  &quot;;&quot; &quot;@&quot; &quot;">
                  <c:v>60.27</c:v>
                </c:pt>
                <c:pt idx="470" formatCode="#,##0_);\(#,##0\);&quot;-  &quot;;&quot; &quot;@&quot; &quot;">
                  <c:v>60.47</c:v>
                </c:pt>
                <c:pt idx="471" formatCode="#,##0_);\(#,##0\);&quot;-  &quot;;&quot; &quot;@&quot; &quot;">
                  <c:v>59.74</c:v>
                </c:pt>
                <c:pt idx="472" formatCode="#,##0_);\(#,##0\);&quot;-  &quot;;&quot; &quot;@&quot; &quot;">
                  <c:v>60.87</c:v>
                </c:pt>
                <c:pt idx="473" formatCode="#,##0_);\(#,##0\);&quot;-  &quot;;&quot; &quot;@&quot; &quot;">
                  <c:v>62.58</c:v>
                </c:pt>
                <c:pt idx="474" formatCode="#,##0_);\(#,##0\);&quot;-  &quot;;&quot; &quot;@&quot; &quot;">
                  <c:v>62.82</c:v>
                </c:pt>
                <c:pt idx="475" formatCode="#,##0_);\(#,##0\);&quot;-  &quot;;&quot; &quot;@&quot; &quot;">
                  <c:v>62.8</c:v>
                </c:pt>
                <c:pt idx="476" formatCode="#,##0_);\(#,##0\);&quot;-  &quot;;&quot; &quot;@&quot; &quot;">
                  <c:v>63</c:v>
                </c:pt>
                <c:pt idx="477" formatCode="#,##0_);\(#,##0\);&quot;-  &quot;;&quot; &quot;@&quot; &quot;">
                  <c:v>61.19</c:v>
                </c:pt>
                <c:pt idx="478" formatCode="#,##0_);\(#,##0\);&quot;-  &quot;;&quot; &quot;@&quot; &quot;">
                  <c:v>59.18</c:v>
                </c:pt>
                <c:pt idx="479" formatCode="#,##0_);\(#,##0\);&quot;-  &quot;;&quot; &quot;@&quot; &quot;">
                  <c:v>59.14</c:v>
                </c:pt>
                <c:pt idx="480" formatCode="#,##0_);\(#,##0\);&quot;-  &quot;;&quot; &quot;@&quot; &quot;">
                  <c:v>59.33</c:v>
                </c:pt>
                <c:pt idx="481" formatCode="#,##0_);\(#,##0\);&quot;-  &quot;;&quot; &quot;@&quot; &quot;">
                  <c:v>60.08</c:v>
                </c:pt>
                <c:pt idx="482" formatCode="#,##0_);\(#,##0\);&quot;-  &quot;;&quot; &quot;@&quot; &quot;">
                  <c:v>59.05</c:v>
                </c:pt>
                <c:pt idx="483" formatCode="#,##0_);\(#,##0\);&quot;-  &quot;;&quot; &quot;@&quot; &quot;">
                  <c:v>58.49</c:v>
                </c:pt>
                <c:pt idx="484" formatCode="#,##0_);\(#,##0\);&quot;-  &quot;;&quot; &quot;@&quot; &quot;">
                  <c:v>58.68</c:v>
                </c:pt>
                <c:pt idx="485" formatCode="#,##0_);\(#,##0\);&quot;-  &quot;;&quot; &quot;@&quot; &quot;">
                  <c:v>59.51</c:v>
                </c:pt>
                <c:pt idx="486" formatCode="#,##0_);\(#,##0\);&quot;-  &quot;;&quot; &quot;@&quot; &quot;">
                  <c:v>59.23</c:v>
                </c:pt>
                <c:pt idx="487" formatCode="#,##0_);\(#,##0\);&quot;-  &quot;;&quot; &quot;@&quot; &quot;">
                  <c:v>58.37</c:v>
                </c:pt>
                <c:pt idx="488" formatCode="#,##0_);\(#,##0\);&quot;-  &quot;;&quot; &quot;@&quot; &quot;">
                  <c:v>57.61</c:v>
                </c:pt>
                <c:pt idx="489" formatCode="#,##0_);\(#,##0\);&quot;-  &quot;;&quot; &quot;@&quot; &quot;">
                  <c:v>59.81</c:v>
                </c:pt>
                <c:pt idx="490" formatCode="#,##0_);\(#,##0\);&quot;-  &quot;;&quot; &quot;@&quot; &quot;">
                  <c:v>60.12</c:v>
                </c:pt>
                <c:pt idx="491" formatCode="#,##0_);\(#,##0\);&quot;-  &quot;;&quot; &quot;@&quot; &quot;">
                  <c:v>60.33</c:v>
                </c:pt>
                <c:pt idx="492" formatCode="#,##0_);\(#,##0\);&quot;-  &quot;;&quot; &quot;@&quot; &quot;">
                  <c:v>60.39</c:v>
                </c:pt>
                <c:pt idx="493" formatCode="#,##0_);\(#,##0\);&quot;-  &quot;;&quot; &quot;@&quot; &quot;">
                  <c:v>61.89</c:v>
                </c:pt>
                <c:pt idx="494" formatCode="#,##0_);\(#,##0\);&quot;-  &quot;;&quot; &quot;@&quot; &quot;">
                  <c:v>60.99</c:v>
                </c:pt>
                <c:pt idx="495" formatCode="#,##0_);\(#,##0\);&quot;-  &quot;;&quot; &quot;@&quot; &quot;">
                  <c:v>60.26</c:v>
                </c:pt>
                <c:pt idx="496" formatCode="#,##0_);\(#,##0\);&quot;-  &quot;;&quot; &quot;@&quot; &quot;">
                  <c:v>59.74</c:v>
                </c:pt>
                <c:pt idx="497" formatCode="#,##0_);\(#,##0\);&quot;-  &quot;;&quot; &quot;@&quot; &quot;">
                  <c:v>59.32</c:v>
                </c:pt>
                <c:pt idx="498" formatCode="#,##0_);\(#,##0\);&quot;-  &quot;;&quot; &quot;@&quot; &quot;">
                  <c:v>59.54</c:v>
                </c:pt>
                <c:pt idx="499" formatCode="#,##0_);\(#,##0\);&quot;-  &quot;;&quot; &quot;@&quot; &quot;">
                  <c:v>58.52</c:v>
                </c:pt>
                <c:pt idx="500" formatCode="#,##0_);\(#,##0\);&quot;-  &quot;;&quot; &quot;@&quot; &quot;">
                  <c:v>57.21</c:v>
                </c:pt>
                <c:pt idx="501" formatCode="#,##0_);\(#,##0\);&quot;-  &quot;;&quot; &quot;@&quot; &quot;">
                  <c:v>56.3</c:v>
                </c:pt>
                <c:pt idx="502" formatCode="#,##0_);\(#,##0\);&quot;-  &quot;;&quot; &quot;@&quot; &quot;">
                  <c:v>55.47</c:v>
                </c:pt>
                <c:pt idx="503" formatCode="#,##0_);\(#,##0\);&quot;-  &quot;;&quot; &quot;@&quot; &quot;">
                  <c:v>55.5</c:v>
                </c:pt>
                <c:pt idx="504" formatCode="#,##0_);\(#,##0\);&quot;-  &quot;;&quot; &quot;@&quot; &quot;">
                  <c:v>55.79</c:v>
                </c:pt>
                <c:pt idx="505" formatCode="#,##0_);\(#,##0\);&quot;-  &quot;;&quot; &quot;@&quot; &quot;">
                  <c:v>55.99</c:v>
                </c:pt>
                <c:pt idx="506" formatCode="#,##0_);\(#,##0\);&quot;-  &quot;;&quot; &quot;@&quot; &quot;">
                  <c:v>55.82</c:v>
                </c:pt>
                <c:pt idx="507" formatCode="#,##0_);\(#,##0\);&quot;-  &quot;;&quot; &quot;@&quot; &quot;">
                  <c:v>56.42</c:v>
                </c:pt>
                <c:pt idx="508" formatCode="#,##0_);\(#,##0\);&quot;-  &quot;;&quot; &quot;@&quot; &quot;">
                  <c:v>57.31</c:v>
                </c:pt>
                <c:pt idx="509" formatCode="#,##0_);\(#,##0\);&quot;-  &quot;;&quot; &quot;@&quot; &quot;">
                  <c:v>57.55</c:v>
                </c:pt>
                <c:pt idx="510" formatCode="#,##0_);\(#,##0\);&quot;-  &quot;;&quot; &quot;@&quot; &quot;">
                  <c:v>57.18</c:v>
                </c:pt>
                <c:pt idx="511" formatCode="#,##0_);\(#,##0\);&quot;-  &quot;;&quot; &quot;@&quot; &quot;">
                  <c:v>56.84</c:v>
                </c:pt>
                <c:pt idx="512" formatCode="#,##0_);\(#,##0\);&quot;-  &quot;;&quot; &quot;@&quot; &quot;">
                  <c:v>55.45</c:v>
                </c:pt>
                <c:pt idx="513" formatCode="#,##0_);\(#,##0\);&quot;-  &quot;;&quot; &quot;@&quot; &quot;">
                  <c:v>54.78</c:v>
                </c:pt>
                <c:pt idx="514" formatCode="#,##0_);\(#,##0\);&quot;-  &quot;;&quot; &quot;@&quot; &quot;">
                  <c:v>53.29</c:v>
                </c:pt>
                <c:pt idx="515" formatCode="#,##0_);\(#,##0\);&quot;-  &quot;;&quot; &quot;@&quot; &quot;">
                  <c:v>54.41</c:v>
                </c:pt>
                <c:pt idx="516" formatCode="#,##0_);\(#,##0\);&quot;-  &quot;;&quot; &quot;@&quot; &quot;">
                  <c:v>54.45</c:v>
                </c:pt>
                <c:pt idx="517" formatCode="#,##0_);\(#,##0\);&quot;-  &quot;;&quot; &quot;@&quot; &quot;">
                  <c:v>52.07</c:v>
                </c:pt>
                <c:pt idx="518" formatCode="#,##0_);\(#,##0\);&quot;-  &quot;;&quot; &quot;@&quot; &quot;">
                  <c:v>50.85</c:v>
                </c:pt>
                <c:pt idx="519" formatCode="#,##0_);\(#,##0\);&quot;-  &quot;;&quot; &quot;@&quot; &quot;">
                  <c:v>50.17</c:v>
                </c:pt>
                <c:pt idx="520" formatCode="#,##0_);\(#,##0\);&quot;-  &quot;;&quot; &quot;@&quot; &quot;">
                  <c:v>49.41</c:v>
                </c:pt>
                <c:pt idx="521" formatCode="#,##0_);\(#,##0\);&quot;-  &quot;;&quot; &quot;@&quot; &quot;">
                  <c:v>46.55</c:v>
                </c:pt>
                <c:pt idx="522" formatCode="#,##0_);\(#,##0\);&quot;-  &quot;;&quot; &quot;@&quot; &quot;">
                  <c:v>45.58</c:v>
                </c:pt>
                <c:pt idx="523" formatCode="#,##0_);\(#,##0\);&quot;-  &quot;;&quot; &quot;@&quot; &quot;">
                  <c:v>46.12</c:v>
                </c:pt>
                <c:pt idx="524" formatCode="#,##0_);\(#,##0\);&quot;-  &quot;;&quot; &quot;@&quot; &quot;">
                  <c:v>45.66</c:v>
                </c:pt>
                <c:pt idx="525" formatCode="#,##0_);\(#,##0\);&quot;-  &quot;;&quot; &quot;@&quot; &quot;">
                  <c:v>45.57</c:v>
                </c:pt>
                <c:pt idx="526" formatCode="#,##0_);\(#,##0\);&quot;-  &quot;;&quot; &quot;@&quot; &quot;">
                  <c:v>46.01</c:v>
                </c:pt>
                <c:pt idx="527" formatCode="#,##0_);\(#,##0\);&quot;-  &quot;;&quot; &quot;@&quot; &quot;">
                  <c:v>45.15</c:v>
                </c:pt>
                <c:pt idx="528" formatCode="#,##0_);\(#,##0\);&quot;-  &quot;;&quot; &quot;@&quot; &quot;">
                  <c:v>45.13</c:v>
                </c:pt>
                <c:pt idx="529" formatCode="#,##0_);\(#,##0\);&quot;-  &quot;;&quot; &quot;@&quot; &quot;">
                  <c:v>45.96</c:v>
                </c:pt>
                <c:pt idx="530" formatCode="#,##0_);\(#,##0\);&quot;-  &quot;;&quot; &quot;@&quot; &quot;">
                  <c:v>46.03</c:v>
                </c:pt>
                <c:pt idx="531" formatCode="#,##0_);\(#,##0\);&quot;-  &quot;;&quot; &quot;@&quot; &quot;">
                  <c:v>45.44</c:v>
                </c:pt>
                <c:pt idx="532" formatCode="#,##0_);\(#,##0\);&quot;-  &quot;;&quot; &quot;@&quot; &quot;">
                  <c:v>46.16</c:v>
                </c:pt>
                <c:pt idx="533" formatCode="#,##0_);\(#,##0\);&quot;-  &quot;;&quot; &quot;@&quot; &quot;">
                  <c:v>45.19</c:v>
                </c:pt>
                <c:pt idx="534" formatCode="#,##0_);\(#,##0\);&quot;-  &quot;;&quot; &quot;@&quot; &quot;">
                  <c:v>45.37</c:v>
                </c:pt>
                <c:pt idx="535" formatCode="#,##0_);\(#,##0\);&quot;-  &quot;;&quot; &quot;@&quot; &quot;">
                  <c:v>45.03</c:v>
                </c:pt>
                <c:pt idx="536" formatCode="#,##0_);\(#,##0\);&quot;-  &quot;;&quot; &quot;@&quot; &quot;">
                  <c:v>44.9</c:v>
                </c:pt>
                <c:pt idx="537" formatCode="#,##0_);\(#,##0\);&quot;-  &quot;;&quot; &quot;@&quot; &quot;">
                  <c:v>43.53</c:v>
                </c:pt>
                <c:pt idx="538" formatCode="#,##0_);\(#,##0\);&quot;-  &quot;;&quot; &quot;@&quot; &quot;">
                  <c:v>42.41</c:v>
                </c:pt>
                <c:pt idx="539" formatCode="#,##0_);\(#,##0\);&quot;-  &quot;;&quot; &quot;@&quot; &quot;">
                  <c:v>41.86</c:v>
                </c:pt>
                <c:pt idx="540" formatCode="#,##0_);\(#,##0\);&quot;-  &quot;;&quot; &quot;@&quot; &quot;">
                  <c:v>40.46</c:v>
                </c:pt>
                <c:pt idx="541" formatCode="#,##0_);\(#,##0\);&quot;-  &quot;;&quot; &quot;@&quot; &quot;">
                  <c:v>39.409999999999997</c:v>
                </c:pt>
                <c:pt idx="542" formatCode="#,##0_);\(#,##0\);&quot;-  &quot;;&quot; &quot;@&quot; &quot;">
                  <c:v>38.78</c:v>
                </c:pt>
                <c:pt idx="543" formatCode="#,##0_);\(#,##0\);&quot;-  &quot;;&quot; &quot;@&quot; &quot;">
                  <c:v>38.72</c:v>
                </c:pt>
                <c:pt idx="544" formatCode="#,##0_);\(#,##0\);&quot;-  &quot;;&quot; &quot;@&quot; &quot;">
                  <c:v>37.619999999999997</c:v>
                </c:pt>
                <c:pt idx="545" formatCode="#,##0_);\(#,##0\);&quot;-  &quot;;&quot; &quot;@&quot; &quot;">
                  <c:v>36.83</c:v>
                </c:pt>
                <c:pt idx="546" formatCode="#,##0_);\(#,##0\);&quot;-  &quot;;&quot; &quot;@&quot; &quot;">
                  <c:v>36.47</c:v>
                </c:pt>
                <c:pt idx="547" formatCode="#,##0_);\(#,##0\);&quot;-  &quot;;&quot; &quot;@&quot; &quot;">
                  <c:v>34.229999999999997</c:v>
                </c:pt>
                <c:pt idx="548" formatCode="#,##0_);\(#,##0\);&quot;-  &quot;;&quot; &quot;@&quot; &quot;">
                  <c:v>35.07</c:v>
                </c:pt>
                <c:pt idx="549" formatCode="#,##0_);\(#,##0\);&quot;-  &quot;;&quot; &quot;@&quot; &quot;">
                  <c:v>38.6</c:v>
                </c:pt>
                <c:pt idx="550" formatCode="#,##0_);\(#,##0\);&quot;-  &quot;;&quot; &quot;@&quot; &quot;">
                  <c:v>38.11</c:v>
                </c:pt>
                <c:pt idx="551" formatCode="#,##0_);\(#,##0\);&quot;-  &quot;;&quot; &quot;@&quot; &quot;">
                  <c:v>38.369999999999997</c:v>
                </c:pt>
                <c:pt idx="552" formatCode="#,##0_);\(#,##0\);&quot;-  &quot;;&quot; &quot;@&quot; &quot;">
                  <c:v>40.14</c:v>
                </c:pt>
                <c:pt idx="553" formatCode="#,##0_);\(#,##0\);&quot;-  &quot;;&quot; &quot;@&quot; &quot;">
                  <c:v>42</c:v>
                </c:pt>
                <c:pt idx="554" formatCode="#,##0_);\(#,##0\);&quot;-  &quot;;&quot; &quot;@&quot; &quot;">
                  <c:v>42.74</c:v>
                </c:pt>
                <c:pt idx="555" formatCode="#,##0_);\(#,##0\);&quot;-  &quot;;&quot; &quot;@&quot; &quot;">
                  <c:v>42.09</c:v>
                </c:pt>
                <c:pt idx="556" formatCode="#,##0_);\(#,##0\);&quot;-  &quot;;&quot; &quot;@&quot; &quot;">
                  <c:v>41.37</c:v>
                </c:pt>
                <c:pt idx="557" formatCode="#,##0_);\(#,##0\);&quot;-  &quot;;&quot; &quot;@&quot; &quot;">
                  <c:v>43.33</c:v>
                </c:pt>
                <c:pt idx="558" formatCode="#,##0_);\(#,##0\);&quot;-  &quot;;&quot; &quot;@&quot; &quot;">
                  <c:v>43.85</c:v>
                </c:pt>
                <c:pt idx="559" formatCode="#,##0_);\(#,##0\);&quot;-  &quot;;&quot; &quot;@&quot; &quot;">
                  <c:v>42.87</c:v>
                </c:pt>
                <c:pt idx="560" formatCode="#,##0_);\(#,##0\);&quot;-  &quot;;&quot; &quot;@&quot; &quot;">
                  <c:v>42.48</c:v>
                </c:pt>
                <c:pt idx="561" formatCode="#,##0_);\(#,##0\);&quot;-  &quot;;&quot; &quot;@&quot; &quot;">
                  <c:v>40.42</c:v>
                </c:pt>
                <c:pt idx="562" formatCode="#,##0_);\(#,##0\);&quot;-  &quot;;&quot; &quot;@&quot; &quot;">
                  <c:v>38.92</c:v>
                </c:pt>
                <c:pt idx="563" formatCode="#,##0_);\(#,##0\);&quot;-  &quot;;&quot; &quot;@&quot; &quot;">
                  <c:v>39.22</c:v>
                </c:pt>
                <c:pt idx="564" formatCode="#,##0_);\(#,##0\);&quot;-  &quot;;&quot; &quot;@&quot; &quot;">
                  <c:v>41.63</c:v>
                </c:pt>
                <c:pt idx="565" formatCode="#,##0_);\(#,##0\);&quot;-  &quot;;&quot; &quot;@&quot; &quot;">
                  <c:v>42.12</c:v>
                </c:pt>
                <c:pt idx="566" formatCode="#,##0_);\(#,##0\);&quot;-  &quot;;&quot; &quot;@&quot; &quot;">
                  <c:v>41.68</c:v>
                </c:pt>
                <c:pt idx="567" formatCode="#,##0_);\(#,##0\);&quot;-  &quot;;&quot; &quot;@&quot; &quot;">
                  <c:v>42.62</c:v>
                </c:pt>
                <c:pt idx="568" formatCode="#,##0_);\(#,##0\);&quot;-  &quot;;&quot; &quot;@&quot; &quot;">
                  <c:v>43.07</c:v>
                </c:pt>
                <c:pt idx="569" formatCode="#,##0_);\(#,##0\);&quot;-  &quot;;&quot; &quot;@&quot; &quot;">
                  <c:v>41.62</c:v>
                </c:pt>
                <c:pt idx="570" formatCode="#,##0_);\(#,##0\);&quot;-  &quot;;&quot; &quot;@&quot; &quot;">
                  <c:v>41.94</c:v>
                </c:pt>
                <c:pt idx="571" formatCode="#,##0_);\(#,##0\);&quot;-  &quot;;&quot; &quot;@&quot; &quot;">
                  <c:v>40.770000000000003</c:v>
                </c:pt>
                <c:pt idx="572" formatCode="#,##0_);\(#,##0\);&quot;-  &quot;;&quot; &quot;@&quot; &quot;">
                  <c:v>41.4</c:v>
                </c:pt>
                <c:pt idx="573" formatCode="#,##0_);\(#,##0\);&quot;-  &quot;;&quot; &quot;@&quot; &quot;">
                  <c:v>42.05</c:v>
                </c:pt>
                <c:pt idx="574" formatCode="#,##0_);\(#,##0\);&quot;-  &quot;;&quot; &quot;@&quot; &quot;">
                  <c:v>43.12</c:v>
                </c:pt>
                <c:pt idx="575" formatCode="#,##0_);\(#,##0\);&quot;-  &quot;;&quot; &quot;@&quot; &quot;">
                  <c:v>43.38</c:v>
                </c:pt>
                <c:pt idx="576" formatCode="#,##0_);\(#,##0\);&quot;-  &quot;;&quot; &quot;@&quot; &quot;">
                  <c:v>43.88</c:v>
                </c:pt>
                <c:pt idx="577" formatCode="#,##0_);\(#,##0\);&quot;-  &quot;;&quot; &quot;@&quot; &quot;">
                  <c:v>44.39</c:v>
                </c:pt>
                <c:pt idx="578" formatCode="#,##0_);\(#,##0\);&quot;-  &quot;;&quot; &quot;@&quot; &quot;">
                  <c:v>44.24</c:v>
                </c:pt>
                <c:pt idx="579" formatCode="#,##0_);\(#,##0\);&quot;-  &quot;;&quot; &quot;@&quot; &quot;">
                  <c:v>45.24</c:v>
                </c:pt>
                <c:pt idx="580" formatCode="#,##0_);\(#,##0\);&quot;-  &quot;;&quot; &quot;@&quot; &quot;">
                  <c:v>47.45</c:v>
                </c:pt>
                <c:pt idx="581" formatCode="#,##0_);\(#,##0\);&quot;-  &quot;;&quot; &quot;@&quot; &quot;">
                  <c:v>47.44</c:v>
                </c:pt>
                <c:pt idx="582" formatCode="#,##0_);\(#,##0\);&quot;-  &quot;;&quot; &quot;@&quot; &quot;">
                  <c:v>47.97</c:v>
                </c:pt>
                <c:pt idx="583" formatCode="#,##0_);\(#,##0\);&quot;-  &quot;;&quot; &quot;@&quot; &quot;">
                  <c:v>47.89</c:v>
                </c:pt>
                <c:pt idx="584" formatCode="#,##0_);\(#,##0\);&quot;-  &quot;;&quot; &quot;@&quot; &quot;">
                  <c:v>48.24</c:v>
                </c:pt>
                <c:pt idx="585" formatCode="#,##0_);\(#,##0\);&quot;-  &quot;;&quot; &quot;@&quot; &quot;">
                  <c:v>47.29</c:v>
                </c:pt>
                <c:pt idx="586" formatCode="#,##0_);\(#,##0\);&quot;-  &quot;;&quot; &quot;@&quot; &quot;">
                  <c:v>46.56</c:v>
                </c:pt>
                <c:pt idx="587" formatCode="#,##0_);\(#,##0\);&quot;-  &quot;;&quot; &quot;@&quot; &quot;">
                  <c:v>48.28</c:v>
                </c:pt>
                <c:pt idx="588" formatCode="#,##0_);\(#,##0\);&quot;-  &quot;;&quot; &quot;@&quot; &quot;">
                  <c:v>49.71</c:v>
                </c:pt>
                <c:pt idx="589" formatCode="#,##0_);\(#,##0\);&quot;-  &quot;;&quot; &quot;@&quot; &quot;">
                  <c:v>49.46</c:v>
                </c:pt>
                <c:pt idx="590" formatCode="#,##0_);\(#,##0\);&quot;-  &quot;;&quot; &quot;@&quot; &quot;">
                  <c:v>48.94</c:v>
                </c:pt>
                <c:pt idx="591" formatCode="#,##0_);\(#,##0\);&quot;-  &quot;;&quot; &quot;@&quot; &quot;">
                  <c:v>49.91</c:v>
                </c:pt>
                <c:pt idx="592" formatCode="#,##0_);\(#,##0\);&quot;-  &quot;;&quot; &quot;@&quot; &quot;">
                  <c:v>48.31</c:v>
                </c:pt>
                <c:pt idx="593" formatCode="#,##0_);\(#,##0\);&quot;-  &quot;;&quot; &quot;@&quot; &quot;">
                  <c:v>48.06</c:v>
                </c:pt>
                <c:pt idx="594" formatCode="#,##0_);\(#,##0\);&quot;-  &quot;;&quot; &quot;@&quot; &quot;">
                  <c:v>47.38</c:v>
                </c:pt>
                <c:pt idx="595" formatCode="#,##0_);\(#,##0\);&quot;-  &quot;;&quot; &quot;@&quot; &quot;">
                  <c:v>46.35</c:v>
                </c:pt>
                <c:pt idx="596" formatCode="#,##0_);\(#,##0\);&quot;-  &quot;;&quot; &quot;@&quot; &quot;">
                  <c:v>47.24</c:v>
                </c:pt>
                <c:pt idx="597" formatCode="#,##0_);\(#,##0\);&quot;-  &quot;;&quot; &quot;@&quot; &quot;">
                  <c:v>47.45</c:v>
                </c:pt>
                <c:pt idx="598" formatCode="#,##0_);\(#,##0\);&quot;-  &quot;;&quot; &quot;@&quot; &quot;">
                  <c:v>45.98</c:v>
                </c:pt>
                <c:pt idx="599" formatCode="#,##0_);\(#,##0\);&quot;-  &quot;;&quot; &quot;@&quot; &quot;">
                  <c:v>44.43</c:v>
                </c:pt>
                <c:pt idx="600" formatCode="#,##0_);\(#,##0\);&quot;-  &quot;;&quot; &quot;@&quot; &quot;">
                  <c:v>43.45</c:v>
                </c:pt>
                <c:pt idx="601" formatCode="#,##0_);\(#,##0\);&quot;-  &quot;;&quot; &quot;@&quot; &quot;">
                  <c:v>45.21</c:v>
                </c:pt>
                <c:pt idx="602" formatCode="#,##0_);\(#,##0\);&quot;-  &quot;;&quot; &quot;@&quot; &quot;">
                  <c:v>45.59</c:v>
                </c:pt>
                <c:pt idx="603" formatCode="#,##0_);\(#,##0\);&quot;-  &quot;;&quot; &quot;@&quot; &quot;">
                  <c:v>48.19</c:v>
                </c:pt>
                <c:pt idx="604" formatCode="#,##0_);\(#,##0\);&quot;-  &quot;;&quot; &quot;@&quot; &quot;">
                  <c:v>48.84</c:v>
                </c:pt>
                <c:pt idx="605" formatCode="#,##0_);\(#,##0\);&quot;-  &quot;;&quot; &quot;@&quot; &quot;">
                  <c:v>50.83</c:v>
                </c:pt>
                <c:pt idx="606" formatCode="#,##0_);\(#,##0\);&quot;-  &quot;;&quot; &quot;@&quot; &quot;">
                  <c:v>50.65</c:v>
                </c:pt>
                <c:pt idx="607" formatCode="#,##0_);\(#,##0\);&quot;-  &quot;;&quot; &quot;@&quot; &quot;">
                  <c:v>50.28</c:v>
                </c:pt>
                <c:pt idx="608" formatCode="#,##0_);\(#,##0\);&quot;-  &quot;;&quot; &quot;@&quot; &quot;">
                  <c:v>49.16</c:v>
                </c:pt>
                <c:pt idx="609" formatCode="#,##0_);\(#,##0\);&quot;-  &quot;;&quot; &quot;@&quot; &quot;">
                  <c:v>48.97</c:v>
                </c:pt>
                <c:pt idx="610" formatCode="#,##0_);\(#,##0\);&quot;-  &quot;;&quot; &quot;@&quot; &quot;">
                  <c:v>50.25</c:v>
                </c:pt>
                <c:pt idx="611" formatCode="#,##0_);\(#,##0\);&quot;-  &quot;;&quot; &quot;@&quot; &quot;">
                  <c:v>51.41</c:v>
                </c:pt>
                <c:pt idx="612" formatCode="#,##0_);\(#,##0\);&quot;-  &quot;;&quot; &quot;@&quot; &quot;">
                  <c:v>51.88</c:v>
                </c:pt>
                <c:pt idx="613" formatCode="#,##0_);\(#,##0\);&quot;-  &quot;;&quot; &quot;@&quot; &quot;">
                  <c:v>52.09</c:v>
                </c:pt>
                <c:pt idx="614" formatCode="#,##0_);\(#,##0\);&quot;-  &quot;;&quot; &quot;@&quot; &quot;">
                  <c:v>51.75</c:v>
                </c:pt>
                <c:pt idx="615" formatCode="#,##0_);\(#,##0\);&quot;-  &quot;;&quot; &quot;@&quot; &quot;">
                  <c:v>52.62</c:v>
                </c:pt>
                <c:pt idx="616" formatCode="#,##0_);\(#,##0\);&quot;-  &quot;;&quot; &quot;@&quot; &quot;">
                  <c:v>54.13</c:v>
                </c:pt>
                <c:pt idx="617" formatCode="#,##0_);\(#,##0\);&quot;-  &quot;;&quot; &quot;@&quot; &quot;">
                  <c:v>55.26</c:v>
                </c:pt>
                <c:pt idx="618" formatCode="#,##0_);\(#,##0\);&quot;-  &quot;;&quot; &quot;@&quot; &quot;">
                  <c:v>54.83</c:v>
                </c:pt>
                <c:pt idx="619" formatCode="#,##0_);\(#,##0\);&quot;-  &quot;;&quot; &quot;@&quot; &quot;">
                  <c:v>54.28</c:v>
                </c:pt>
                <c:pt idx="620" formatCode="#,##0_);\(#,##0\);&quot;-  &quot;;&quot; &quot;@&quot; &quot;">
                  <c:v>52.44</c:v>
                </c:pt>
                <c:pt idx="621" formatCode="#,##0_);\(#,##0\);&quot;-  &quot;;&quot; &quot;@&quot; &quot;">
                  <c:v>52.14</c:v>
                </c:pt>
                <c:pt idx="622" formatCode="#,##0_);\(#,##0\);&quot;-  &quot;;&quot; &quot;@&quot; &quot;">
                  <c:v>52.43</c:v>
                </c:pt>
                <c:pt idx="623" formatCode="#,##0_);\(#,##0\);&quot;-  &quot;;&quot; &quot;@&quot; &quot;">
                  <c:v>52.27</c:v>
                </c:pt>
                <c:pt idx="624" formatCode="#,##0_);\(#,##0\);&quot;-  &quot;;&quot; &quot;@&quot; &quot;">
                  <c:v>50.78</c:v>
                </c:pt>
                <c:pt idx="625" formatCode="#,##0_);\(#,##0\);&quot;-  &quot;;&quot; &quot;@&quot; &quot;">
                  <c:v>51.93</c:v>
                </c:pt>
                <c:pt idx="626" formatCode="#,##0_);\(#,##0\);&quot;-  &quot;;&quot; &quot;@&quot; &quot;">
                  <c:v>54.12</c:v>
                </c:pt>
                <c:pt idx="627" formatCode="#,##0_);\(#,##0\);&quot;-  &quot;;&quot; &quot;@&quot; &quot;">
                  <c:v>54.53</c:v>
                </c:pt>
                <c:pt idx="628" formatCode="#,##0_);\(#,##0\);&quot;-  &quot;;&quot; &quot;@&quot; &quot;">
                  <c:v>55.03</c:v>
                </c:pt>
                <c:pt idx="629" formatCode="#,##0_);\(#,##0\);&quot;-  &quot;;&quot; &quot;@&quot; &quot;">
                  <c:v>56.63</c:v>
                </c:pt>
                <c:pt idx="630" formatCode="#,##0_);\(#,##0\);&quot;-  &quot;;&quot; &quot;@&quot; &quot;">
                  <c:v>57.76</c:v>
                </c:pt>
                <c:pt idx="631" formatCode="#,##0_);\(#,##0\);&quot;-  &quot;;&quot; &quot;@&quot; &quot;">
                  <c:v>58.17</c:v>
                </c:pt>
                <c:pt idx="632" formatCode="#,##0_);\(#,##0\);&quot;-  &quot;;&quot; &quot;@&quot; &quot;">
                  <c:v>57.3</c:v>
                </c:pt>
                <c:pt idx="633" formatCode="#,##0_);\(#,##0\);&quot;-  &quot;;&quot; &quot;@&quot; &quot;">
                  <c:v>58.35</c:v>
                </c:pt>
                <c:pt idx="634" formatCode="#,##0_);\(#,##0\);&quot;-  &quot;;&quot; &quot;@&quot; &quot;">
                  <c:v>57.99</c:v>
                </c:pt>
                <c:pt idx="635" formatCode="#,##0_);\(#,##0\);&quot;-  &quot;;&quot; &quot;@&quot; &quot;">
                  <c:v>58.7</c:v>
                </c:pt>
                <c:pt idx="636" formatCode="#,##0_);\(#,##0\);&quot;-  &quot;;&quot; &quot;@&quot; &quot;">
                  <c:v>59.68</c:v>
                </c:pt>
                <c:pt idx="637" formatCode="#,##0_);\(#,##0\);&quot;-  &quot;;&quot; &quot;@&quot; &quot;">
                  <c:v>59.24</c:v>
                </c:pt>
                <c:pt idx="638" formatCode="#,##0_);\(#,##0\);&quot;-  &quot;;&quot; &quot;@&quot; &quot;">
                  <c:v>59.08</c:v>
                </c:pt>
                <c:pt idx="639" formatCode="#,##0_);\(#,##0\);&quot;-  &quot;;&quot; &quot;@&quot; &quot;">
                  <c:v>59.42</c:v>
                </c:pt>
                <c:pt idx="640" formatCode="#,##0_);\(#,##0\);&quot;-  &quot;;&quot; &quot;@&quot; &quot;">
                  <c:v>59.17</c:v>
                </c:pt>
                <c:pt idx="641" formatCode="#,##0_);\(#,##0\);&quot;-  &quot;;&quot; &quot;@&quot; &quot;">
                  <c:v>59.44</c:v>
                </c:pt>
                <c:pt idx="642" formatCode="#,##0_);\(#,##0\);&quot;-  &quot;;&quot; &quot;@&quot; &quot;">
                  <c:v>59.08</c:v>
                </c:pt>
                <c:pt idx="643" formatCode="#,##0_);\(#,##0\);&quot;-  &quot;;&quot; &quot;@&quot; &quot;">
                  <c:v>59.2</c:v>
                </c:pt>
                <c:pt idx="644" formatCode="#,##0_);\(#,##0\);&quot;-  &quot;;&quot; &quot;@&quot; &quot;">
                  <c:v>60.4</c:v>
                </c:pt>
                <c:pt idx="645" formatCode="#,##0_);\(#,##0\);&quot;-  &quot;;&quot; &quot;@&quot; &quot;">
                  <c:v>61.63</c:v>
                </c:pt>
                <c:pt idx="646" formatCode="#,##0_);\(#,##0\);&quot;-  &quot;;&quot; &quot;@&quot; &quot;">
                  <c:v>61.16</c:v>
                </c:pt>
                <c:pt idx="647" formatCode="#,##0_);\(#,##0\);&quot;-  &quot;;&quot; &quot;@&quot; &quot;">
                  <c:v>59.98</c:v>
                </c:pt>
                <c:pt idx="648" formatCode="#,##0_);\(#,##0\);&quot;-  &quot;;&quot; &quot;@&quot; &quot;">
                  <c:v>59.7</c:v>
                </c:pt>
                <c:pt idx="649" formatCode="#,##0_);\(#,##0\);&quot;-  &quot;;&quot; &quot;@&quot; &quot;">
                  <c:v>59.07</c:v>
                </c:pt>
                <c:pt idx="650" formatCode="#,##0_);\(#,##0\);&quot;-  &quot;;&quot; &quot;@&quot; &quot;">
                  <c:v>58.52</c:v>
                </c:pt>
                <c:pt idx="651" formatCode="#,##0_);\(#,##0\);&quot;-  &quot;;&quot; &quot;@&quot; &quot;">
                  <c:v>56.55</c:v>
                </c:pt>
                <c:pt idx="652" formatCode="#,##0_);\(#,##0\);&quot;-  &quot;;&quot; &quot;@&quot; &quot;">
                  <c:v>57.87</c:v>
                </c:pt>
                <c:pt idx="653" formatCode="#,##0_);\(#,##0\);&quot;-  &quot;;&quot; &quot;@&quot; &quot;">
                  <c:v>59.98</c:v>
                </c:pt>
                <c:pt idx="654" formatCode="#,##0_);\(#,##0\);&quot;-  &quot;;&quot; &quot;@&quot; &quot;">
                  <c:v>59.52</c:v>
                </c:pt>
                <c:pt idx="655" formatCode="#,##0_);\(#,##0\);&quot;-  &quot;;&quot; &quot;@&quot; &quot;">
                  <c:v>59.53</c:v>
                </c:pt>
                <c:pt idx="656" formatCode="#,##0_);\(#,##0\);&quot;-  &quot;;&quot; &quot;@&quot; &quot;">
                  <c:v>59.74</c:v>
                </c:pt>
                <c:pt idx="657" formatCode="#,##0_);\(#,##0\);&quot;-  &quot;;&quot; &quot;@&quot; &quot;">
                  <c:v>58.01</c:v>
                </c:pt>
                <c:pt idx="658" formatCode="#,##0_);\(#,##0\);&quot;-  &quot;;&quot; &quot;@&quot; &quot;">
                  <c:v>56.96</c:v>
                </c:pt>
                <c:pt idx="659" formatCode="#,##0_);\(#,##0\);&quot;-  &quot;;&quot; &quot;@&quot; &quot;">
                  <c:v>58.04</c:v>
                </c:pt>
                <c:pt idx="660" formatCode="#,##0_);\(#,##0\);&quot;-  &quot;;&quot; &quot;@&quot; &quot;">
                  <c:v>60.16</c:v>
                </c:pt>
                <c:pt idx="661" formatCode="#,##0_);\(#,##0\);&quot;-  &quot;;&quot; &quot;@&quot; &quot;">
                  <c:v>59.24</c:v>
                </c:pt>
                <c:pt idx="662" formatCode="#,##0_);\(#,##0\);&quot;-  &quot;;&quot; &quot;@&quot; &quot;">
                  <c:v>58.95</c:v>
                </c:pt>
                <c:pt idx="663" formatCode="#,##0_);\(#,##0\);&quot;-  &quot;;&quot; &quot;@&quot; &quot;">
                  <c:v>59.45</c:v>
                </c:pt>
                <c:pt idx="664" formatCode="#,##0_);\(#,##0\);&quot;-  &quot;;&quot; &quot;@&quot; &quot;">
                  <c:v>57.13</c:v>
                </c:pt>
                <c:pt idx="665" formatCode="#,##0_);\(#,##0\);&quot;-  &quot;;&quot; &quot;@&quot; &quot;">
                  <c:v>57.64</c:v>
                </c:pt>
                <c:pt idx="666" formatCode="#,##0_);\(#,##0\);&quot;-  &quot;;&quot; &quot;@&quot; &quot;">
                  <c:v>56.74</c:v>
                </c:pt>
                <c:pt idx="667" formatCode="#,##0_);\(#,##0\);&quot;-  &quot;;&quot; &quot;@&quot; &quot;">
                  <c:v>55.95</c:v>
                </c:pt>
                <c:pt idx="668" formatCode="#,##0_);\(#,##0\);&quot;-  &quot;;&quot; &quot;@&quot; &quot;">
                  <c:v>55.74</c:v>
                </c:pt>
                <c:pt idx="669" formatCode="#,##0_);\(#,##0\);&quot;-  &quot;;&quot; &quot;@&quot; &quot;">
                  <c:v>56.94</c:v>
                </c:pt>
                <c:pt idx="670" formatCode="#,##0_);\(#,##0\);&quot;-  &quot;;&quot; &quot;@&quot; &quot;">
                  <c:v>54.41</c:v>
                </c:pt>
                <c:pt idx="671" formatCode="#,##0_);\(#,##0\);&quot;-  &quot;;&quot; &quot;@&quot; &quot;">
                  <c:v>54.92</c:v>
                </c:pt>
                <c:pt idx="672" formatCode="#,##0_);\(#,##0\);&quot;-  &quot;;&quot; &quot;@&quot; &quot;">
                  <c:v>54.88</c:v>
                </c:pt>
                <c:pt idx="673" formatCode="#,##0_);\(#,##0\);&quot;-  &quot;;&quot; &quot;@&quot; &quot;">
                  <c:v>54.4</c:v>
                </c:pt>
                <c:pt idx="674" formatCode="#,##0_);\(#,##0\);&quot;-  &quot;;&quot; &quot;@&quot; &quot;">
                  <c:v>54.61</c:v>
                </c:pt>
                <c:pt idx="675" formatCode="#,##0_);\(#,##0\);&quot;-  &quot;;&quot; &quot;@&quot; &quot;">
                  <c:v>55.06</c:v>
                </c:pt>
                <c:pt idx="676" formatCode="#,##0_);\(#,##0\);&quot;-  &quot;;&quot; &quot;@&quot; &quot;">
                  <c:v>54.36</c:v>
                </c:pt>
                <c:pt idx="677" formatCode="#,##0_);\(#,##0\);&quot;-  &quot;;&quot; &quot;@&quot; &quot;">
                  <c:v>53.12</c:v>
                </c:pt>
                <c:pt idx="678" formatCode="#,##0_);\(#,##0\);&quot;-  &quot;;&quot; &quot;@&quot; &quot;">
                  <c:v>52.33</c:v>
                </c:pt>
                <c:pt idx="679" formatCode="#,##0_);\(#,##0\);&quot;-  &quot;;&quot; &quot;@&quot; &quot;">
                  <c:v>51.92</c:v>
                </c:pt>
                <c:pt idx="680" formatCode="#,##0_);\(#,##0\);&quot;-  &quot;;&quot; &quot;@&quot; &quot;">
                  <c:v>51.21</c:v>
                </c:pt>
                <c:pt idx="681" formatCode="#,##0_);\(#,##0\);&quot;-  &quot;;&quot; &quot;@&quot; &quot;">
                  <c:v>50.24</c:v>
                </c:pt>
                <c:pt idx="682" formatCode="#,##0_);\(#,##0\);&quot;-  &quot;;&quot; &quot;@&quot; &quot;">
                  <c:v>49.91</c:v>
                </c:pt>
                <c:pt idx="683" formatCode="#,##0_);\(#,##0\);&quot;-  &quot;;&quot; &quot;@&quot; &quot;">
                  <c:v>48.67</c:v>
                </c:pt>
                <c:pt idx="684" formatCode="#,##0_);\(#,##0\);&quot;-  &quot;;&quot; &quot;@&quot; &quot;">
                  <c:v>48.3</c:v>
                </c:pt>
                <c:pt idx="685" formatCode="#,##0_);\(#,##0\);&quot;-  &quot;;&quot; &quot;@&quot; &quot;">
                  <c:v>49.3</c:v>
                </c:pt>
                <c:pt idx="686" formatCode="#,##0_);\(#,##0\);&quot;-  &quot;;&quot; &quot;@&quot; &quot;">
                  <c:v>50.45</c:v>
                </c:pt>
                <c:pt idx="687" formatCode="#,##0_);\(#,##0\);&quot;-  &quot;;&quot; &quot;@&quot; &quot;">
                  <c:v>50.57</c:v>
                </c:pt>
                <c:pt idx="688" formatCode="#,##0_);\(#,##0\);&quot;-  &quot;;&quot; &quot;@&quot; &quot;">
                  <c:v>51.59</c:v>
                </c:pt>
                <c:pt idx="689" formatCode="#,##0_);\(#,##0\);&quot;-  &quot;;&quot; &quot;@&quot; &quot;">
                  <c:v>51.63</c:v>
                </c:pt>
                <c:pt idx="690" formatCode="#,##0_);\(#,##0\);&quot;-  &quot;;&quot; &quot;@&quot; &quot;">
                  <c:v>51.34</c:v>
                </c:pt>
                <c:pt idx="691" formatCode="#,##0_);\(#,##0\);&quot;-  &quot;;&quot; &quot;@&quot; &quot;">
                  <c:v>53.19</c:v>
                </c:pt>
                <c:pt idx="692" formatCode="#,##0_);\(#,##0\);&quot;-  &quot;;&quot; &quot;@&quot; &quot;">
                  <c:v>54.64</c:v>
                </c:pt>
                <c:pt idx="693" formatCode="#,##0_);\(#,##0\);&quot;-  &quot;;&quot; &quot;@&quot; &quot;">
                  <c:v>56.58</c:v>
                </c:pt>
                <c:pt idx="694" formatCode="#,##0_);\(#,##0\);&quot;-  &quot;;&quot; &quot;@&quot; &quot;">
                  <c:v>57.29</c:v>
                </c:pt>
                <c:pt idx="695" formatCode="#,##0_);\(#,##0\);&quot;-  &quot;;&quot; &quot;@&quot; &quot;">
                  <c:v>58.01</c:v>
                </c:pt>
                <c:pt idx="696" formatCode="#,##0_);\(#,##0\);&quot;-  &quot;;&quot; &quot;@&quot; &quot;">
                  <c:v>59.53</c:v>
                </c:pt>
                <c:pt idx="697" formatCode="#,##0_);\(#,##0\);&quot;-  &quot;;&quot; &quot;@&quot; &quot;">
                  <c:v>59.42</c:v>
                </c:pt>
                <c:pt idx="698" formatCode="#,##0_);\(#,##0\);&quot;-  &quot;;&quot; &quot;@&quot; &quot;">
                  <c:v>58.56</c:v>
                </c:pt>
                <c:pt idx="699" formatCode="#,##0_);\(#,##0\);&quot;-  &quot;;&quot; &quot;@&quot; &quot;">
                  <c:v>58.47</c:v>
                </c:pt>
                <c:pt idx="700" formatCode="#,##0_);\(#,##0\);&quot;-  &quot;;&quot; &quot;@&quot; &quot;">
                  <c:v>58.49</c:v>
                </c:pt>
                <c:pt idx="701" formatCode="#,##0_);\(#,##0\);&quot;-  &quot;;&quot; &quot;@&quot; &quot;">
                  <c:v>58.91</c:v>
                </c:pt>
                <c:pt idx="702" formatCode="#,##0_);\(#,##0\);&quot;-  &quot;;&quot; &quot;@&quot; &quot;">
                  <c:v>58.73</c:v>
                </c:pt>
                <c:pt idx="703" formatCode="#,##0_);\(#,##0\);&quot;-  &quot;;&quot; &quot;@&quot; &quot;">
                  <c:v>58.29</c:v>
                </c:pt>
                <c:pt idx="704" formatCode="#,##0_);\(#,##0\);&quot;-  &quot;;&quot; &quot;@&quot; &quot;">
                  <c:v>57.69</c:v>
                </c:pt>
                <c:pt idx="705" formatCode="#,##0_);\(#,##0\);&quot;-  &quot;;&quot; &quot;@&quot; &quot;">
                  <c:v>55.76</c:v>
                </c:pt>
                <c:pt idx="706" formatCode="#,##0_);\(#,##0\);&quot;-  &quot;;&quot; &quot;@&quot; &quot;">
                  <c:v>54.34</c:v>
                </c:pt>
                <c:pt idx="707" formatCode="#,##0_);\(#,##0\);&quot;-  &quot;;&quot; &quot;@&quot; &quot;">
                  <c:v>55.09</c:v>
                </c:pt>
                <c:pt idx="708" formatCode="#,##0_);\(#,##0\);&quot;-  &quot;;&quot; &quot;@&quot; &quot;">
                  <c:v>55.91</c:v>
                </c:pt>
                <c:pt idx="709" formatCode="#,##0_);\(#,##0\);&quot;-  &quot;;&quot; &quot;@&quot; &quot;">
                  <c:v>55.31</c:v>
                </c:pt>
                <c:pt idx="710" formatCode="#,##0_);\(#,##0\);&quot;-  &quot;;&quot; &quot;@&quot; &quot;">
                  <c:v>55.87</c:v>
                </c:pt>
                <c:pt idx="711" formatCode="#,##0_);\(#,##0\);&quot;-  &quot;;&quot; &quot;@&quot; &quot;">
                  <c:v>57.85</c:v>
                </c:pt>
                <c:pt idx="712" formatCode="#,##0_);\(#,##0\);&quot;-  &quot;;&quot; &quot;@&quot; &quot;">
                  <c:v>56.7</c:v>
                </c:pt>
                <c:pt idx="713" formatCode="#,##0_);\(#,##0\);&quot;-  &quot;;&quot; &quot;@&quot; &quot;">
                  <c:v>56.91</c:v>
                </c:pt>
                <c:pt idx="714" formatCode="#,##0_);\(#,##0\);&quot;-  &quot;;&quot; &quot;@&quot; &quot;">
                  <c:v>55.91</c:v>
                </c:pt>
                <c:pt idx="715" formatCode="#,##0_);\(#,##0\);&quot;-  &quot;;&quot; &quot;@&quot; &quot;">
                  <c:v>54.92</c:v>
                </c:pt>
                <c:pt idx="716" formatCode="#,##0_);\(#,##0\);&quot;-  &quot;;&quot; &quot;@&quot; &quot;">
                  <c:v>55.26</c:v>
                </c:pt>
                <c:pt idx="717" formatCode="#,##0_);\(#,##0\);&quot;-  &quot;;&quot; &quot;@&quot; &quot;">
                  <c:v>55.08</c:v>
                </c:pt>
                <c:pt idx="718" formatCode="#,##0_);\(#,##0\);&quot;-  &quot;;&quot; &quot;@&quot; &quot;">
                  <c:v>55.23</c:v>
                </c:pt>
                <c:pt idx="719" formatCode="#,##0_);\(#,##0\);&quot;-  &quot;;&quot; &quot;@&quot; &quot;">
                  <c:v>55.04</c:v>
                </c:pt>
                <c:pt idx="720" formatCode="#,##0_);\(#,##0\);&quot;-  &quot;;&quot; &quot;@&quot; &quot;">
                  <c:v>56.07</c:v>
                </c:pt>
                <c:pt idx="721" formatCode="#,##0_);\(#,##0\);&quot;-  &quot;;&quot; &quot;@&quot; &quot;">
                  <c:v>57.03</c:v>
                </c:pt>
                <c:pt idx="722" formatCode="#,##0_);\(#,##0\);&quot;-  &quot;;&quot; &quot;@&quot; &quot;">
                  <c:v>56.15</c:v>
                </c:pt>
                <c:pt idx="723" formatCode="#,##0_);\(#,##0\);&quot;-  &quot;;&quot; &quot;@&quot; &quot;">
                  <c:v>56.39</c:v>
                </c:pt>
                <c:pt idx="724" formatCode="#,##0_);\(#,##0\);&quot;-  &quot;;&quot; &quot;@&quot; &quot;">
                  <c:v>55.26</c:v>
                </c:pt>
                <c:pt idx="725" formatCode="#,##0_);\(#,##0\);&quot;-  &quot;;&quot; &quot;@&quot; &quot;">
                  <c:v>57.05</c:v>
                </c:pt>
                <c:pt idx="726" formatCode="#,##0_);\(#,##0\);&quot;-  &quot;;&quot; &quot;@&quot; &quot;">
                  <c:v>59.1</c:v>
                </c:pt>
                <c:pt idx="727" formatCode="#,##0_);\(#,##0\);&quot;-  &quot;;&quot; &quot;@&quot; &quot;">
                  <c:v>59.65</c:v>
                </c:pt>
                <c:pt idx="728" formatCode="#,##0_);\(#,##0\);&quot;-  &quot;;&quot; &quot;@&quot; &quot;">
                  <c:v>60.35</c:v>
                </c:pt>
                <c:pt idx="729" formatCode="#,##0_);\(#,##0\);&quot;-  &quot;;&quot; &quot;@&quot; &quot;">
                  <c:v>60.58</c:v>
                </c:pt>
                <c:pt idx="730" formatCode="#,##0_);\(#,##0\);&quot;-  &quot;;&quot; &quot;@&quot; &quot;">
                  <c:v>61.8</c:v>
                </c:pt>
                <c:pt idx="731" formatCode="#,##0_);\(#,##0\);&quot;-  &quot;;&quot; &quot;@&quot; &quot;">
                  <c:v>62.29</c:v>
                </c:pt>
                <c:pt idx="732" formatCode="#,##0_);\(#,##0\);&quot;-  &quot;;&quot; &quot;@&quot; &quot;">
                  <c:v>62.29</c:v>
                </c:pt>
                <c:pt idx="733" formatCode="#,##0_);\(#,##0\);&quot;-  &quot;;&quot; &quot;@&quot; &quot;">
                  <c:v>62.89</c:v>
                </c:pt>
                <c:pt idx="734" formatCode="#,##0_);\(#,##0\);&quot;-  &quot;;&quot; &quot;@&quot; &quot;">
                  <c:v>62.54</c:v>
                </c:pt>
                <c:pt idx="735" formatCode="#,##0_);\(#,##0\);&quot;-  &quot;;&quot; &quot;@&quot; &quot;">
                  <c:v>61.9</c:v>
                </c:pt>
                <c:pt idx="736" formatCode="#,##0_);\(#,##0\);&quot;-  &quot;;&quot; &quot;@&quot; &quot;">
                  <c:v>61.99</c:v>
                </c:pt>
                <c:pt idx="737" formatCode="#,##0_);\(#,##0\);&quot;-  &quot;;&quot; &quot;@&quot; &quot;">
                  <c:v>61.78</c:v>
                </c:pt>
                <c:pt idx="738" formatCode="#,##0_);\(#,##0\);&quot;-  &quot;;&quot; &quot;@&quot; &quot;">
                  <c:v>61.37</c:v>
                </c:pt>
                <c:pt idx="739" formatCode="#,##0_);\(#,##0\);&quot;-  &quot;;&quot; &quot;@&quot; &quot;">
                  <c:v>61.68</c:v>
                </c:pt>
                <c:pt idx="740" formatCode="#,##0_);\(#,##0\);&quot;-  &quot;;&quot; &quot;@&quot; &quot;">
                  <c:v>62.76</c:v>
                </c:pt>
                <c:pt idx="741" formatCode="#,##0_);\(#,##0\);&quot;-  &quot;;&quot; &quot;@&quot; &quot;">
                  <c:v>61.56</c:v>
                </c:pt>
                <c:pt idx="742" formatCode="#,##0_);\(#,##0\);&quot;-  &quot;;&quot; &quot;@&quot; &quot;">
                  <c:v>61.76</c:v>
                </c:pt>
                <c:pt idx="743" formatCode="#,##0_);\(#,##0\);&quot;-  &quot;;&quot; &quot;@&quot; &quot;">
                  <c:v>62.02</c:v>
                </c:pt>
                <c:pt idx="744" formatCode="#,##0_);\(#,##0\);&quot;-  &quot;;&quot; &quot;@&quot; &quot;">
                  <c:v>61.77</c:v>
                </c:pt>
                <c:pt idx="745" formatCode="#,##0_);\(#,##0\);&quot;-  &quot;;&quot; &quot;@&quot; &quot;">
                  <c:v>61.33</c:v>
                </c:pt>
                <c:pt idx="746" formatCode="#,##0_);\(#,##0\);&quot;-  &quot;;&quot; &quot;@&quot; &quot;">
                  <c:v>61.9</c:v>
                </c:pt>
                <c:pt idx="747" formatCode="#,##0_);\(#,##0\);&quot;-  &quot;;&quot; &quot;@&quot; &quot;">
                  <c:v>61.3</c:v>
                </c:pt>
                <c:pt idx="748" formatCode="#,##0_);\(#,##0\);&quot;-  &quot;;&quot; &quot;@&quot; &quot;">
                  <c:v>59.27</c:v>
                </c:pt>
                <c:pt idx="749" formatCode="#,##0_);\(#,##0\);&quot;-  &quot;;&quot; &quot;@&quot; &quot;">
                  <c:v>59.07</c:v>
                </c:pt>
                <c:pt idx="750" formatCode="#,##0_);\(#,##0\);&quot;-  &quot;;&quot; &quot;@&quot; &quot;">
                  <c:v>57.16</c:v>
                </c:pt>
                <c:pt idx="751" formatCode="#,##0_);\(#,##0\);&quot;-  &quot;;&quot; &quot;@&quot; &quot;">
                  <c:v>56.93</c:v>
                </c:pt>
                <c:pt idx="752" formatCode="#,##0_);\(#,##0\);&quot;-  &quot;;&quot; &quot;@&quot; &quot;">
                  <c:v>56.17</c:v>
                </c:pt>
                <c:pt idx="753" formatCode="#,##0_);\(#,##0\);&quot;-  &quot;;&quot; &quot;@&quot; &quot;">
                  <c:v>56.43</c:v>
                </c:pt>
                <c:pt idx="754" formatCode="#,##0_);\(#,##0\);&quot;-  &quot;;&quot; &quot;@&quot; &quot;">
                  <c:v>56.59</c:v>
                </c:pt>
                <c:pt idx="755" formatCode="#,##0_);\(#,##0\);&quot;-  &quot;;&quot; &quot;@&quot; &quot;">
                  <c:v>56.49</c:v>
                </c:pt>
                <c:pt idx="756" formatCode="#,##0_);\(#,##0\);&quot;-  &quot;;&quot; &quot;@&quot; &quot;">
                  <c:v>56.68</c:v>
                </c:pt>
                <c:pt idx="757" formatCode="#,##0_);\(#,##0\);&quot;-  &quot;;&quot; &quot;@&quot; &quot;">
                  <c:v>55.32</c:v>
                </c:pt>
                <c:pt idx="758" formatCode="#,##0_);\(#,##0\);&quot;-  &quot;;&quot; &quot;@&quot; &quot;">
                  <c:v>54.49</c:v>
                </c:pt>
                <c:pt idx="759" formatCode="#,##0_);\(#,##0\);&quot;-  &quot;;&quot; &quot;@&quot; &quot;">
                  <c:v>56.07</c:v>
                </c:pt>
                <c:pt idx="760" formatCode="#,##0_);\(#,##0\);&quot;-  &quot;;&quot; &quot;@&quot; &quot;">
                  <c:v>56.41</c:v>
                </c:pt>
                <c:pt idx="761" formatCode="#,##0_);\(#,##0\);&quot;-  &quot;;&quot; &quot;@&quot; &quot;">
                  <c:v>56.65</c:v>
                </c:pt>
                <c:pt idx="762" formatCode="#,##0_);\(#,##0\);&quot;-  &quot;;&quot; &quot;@&quot; &quot;">
                  <c:v>56.74</c:v>
                </c:pt>
                <c:pt idx="763" formatCode="#,##0_);\(#,##0\);&quot;-  &quot;;&quot; &quot;@&quot; &quot;">
                  <c:v>59.31</c:v>
                </c:pt>
                <c:pt idx="764" formatCode="#,##0_);\(#,##0\);&quot;-  &quot;;&quot; &quot;@&quot; &quot;">
                  <c:v>59.82</c:v>
                </c:pt>
                <c:pt idx="765" formatCode="#,##0_);\(#,##0\);&quot;-  &quot;;&quot; &quot;@&quot; &quot;">
                  <c:v>59.62</c:v>
                </c:pt>
                <c:pt idx="766" formatCode="#,##0_);\(#,##0\);&quot;-  &quot;;&quot; &quot;@&quot; &quot;">
                  <c:v>59.46</c:v>
                </c:pt>
                <c:pt idx="767" formatCode="#,##0_);\(#,##0\);&quot;-  &quot;;&quot; &quot;@&quot; &quot;">
                  <c:v>58.96</c:v>
                </c:pt>
                <c:pt idx="768" formatCode="#,##0_);\(#,##0\);&quot;-  &quot;;&quot; &quot;@&quot; &quot;">
                  <c:v>58.62</c:v>
                </c:pt>
                <c:pt idx="769" formatCode="#,##0_);\(#,##0\);&quot;-  &quot;;&quot; &quot;@&quot; &quot;">
                  <c:v>57.5</c:v>
                </c:pt>
                <c:pt idx="770" formatCode="#,##0_);\(#,##0\);&quot;-  &quot;;&quot; &quot;@&quot; &quot;">
                  <c:v>60.03</c:v>
                </c:pt>
                <c:pt idx="771" formatCode="#,##0_);\(#,##0\);&quot;-  &quot;;&quot; &quot;@&quot; &quot;">
                  <c:v>62.89</c:v>
                </c:pt>
                <c:pt idx="772" formatCode="#,##0_);\(#,##0\);&quot;-  &quot;;&quot; &quot;@&quot; &quot;">
                  <c:v>63.18</c:v>
                </c:pt>
                <c:pt idx="773" formatCode="#,##0_);\(#,##0\);&quot;-  &quot;;&quot; &quot;@&quot; &quot;">
                  <c:v>63.22</c:v>
                </c:pt>
                <c:pt idx="774" formatCode="#,##0_);\(#,##0\);&quot;-  &quot;;&quot; &quot;@&quot; &quot;">
                  <c:v>62.91</c:v>
                </c:pt>
                <c:pt idx="775" formatCode="#,##0_);\(#,##0\);&quot;-  &quot;;&quot; &quot;@&quot; &quot;">
                  <c:v>62.43</c:v>
                </c:pt>
                <c:pt idx="776" formatCode="#,##0_);\(#,##0\);&quot;-  &quot;;&quot; &quot;@&quot; &quot;">
                  <c:v>63.15</c:v>
                </c:pt>
                <c:pt idx="777" formatCode="#,##0_);\(#,##0\);&quot;-  &quot;;&quot; &quot;@&quot; &quot;">
                  <c:v>63.82</c:v>
                </c:pt>
                <c:pt idx="778" formatCode="#,##0_);\(#,##0\);&quot;-  &quot;;&quot; &quot;@&quot; &quot;">
                  <c:v>65.459999999999994</c:v>
                </c:pt>
                <c:pt idx="779" formatCode="#,##0_);\(#,##0\);&quot;-  &quot;;&quot; &quot;@&quot; &quot;">
                  <c:v>64.92</c:v>
                </c:pt>
                <c:pt idx="780" formatCode="#,##0_);\(#,##0\);&quot;-  &quot;;&quot; &quot;@&quot; &quot;">
                  <c:v>64.099999999999994</c:v>
                </c:pt>
                <c:pt idx="781" formatCode="#,##0_);\(#,##0\);&quot;-  &quot;;&quot; &quot;@&quot; &quot;">
                  <c:v>63.23</c:v>
                </c:pt>
                <c:pt idx="782" formatCode="#,##0_);\(#,##0\);&quot;-  &quot;;&quot; &quot;@&quot; &quot;">
                  <c:v>64.260000000000005</c:v>
                </c:pt>
                <c:pt idx="783" formatCode="#,##0_);\(#,##0\);&quot;-  &quot;;&quot; &quot;@&quot; &quot;">
                  <c:v>64.42</c:v>
                </c:pt>
                <c:pt idx="784" formatCode="#,##0_);\(#,##0\);&quot;-  &quot;;&quot; &quot;@&quot; &quot;">
                  <c:v>64.38</c:v>
                </c:pt>
                <c:pt idx="785" formatCode="#,##0_);\(#,##0\);&quot;-  &quot;;&quot; &quot;@&quot; &quot;">
                  <c:v>63.99</c:v>
                </c:pt>
                <c:pt idx="786" formatCode="#,##0_);\(#,##0\);&quot;-  &quot;;&quot; &quot;@&quot; &quot;">
                  <c:v>64.41</c:v>
                </c:pt>
                <c:pt idx="787" formatCode="#,##0_);\(#,##0\);&quot;-  &quot;;&quot; &quot;@&quot; &quot;">
                  <c:v>64.48</c:v>
                </c:pt>
                <c:pt idx="788" formatCode="#,##0_);\(#,##0\);&quot;-  &quot;;&quot; &quot;@&quot; &quot;">
                  <c:v>65.510000000000005</c:v>
                </c:pt>
                <c:pt idx="789" formatCode="#,##0_);\(#,##0\);&quot;-  &quot;;&quot; &quot;@&quot; &quot;">
                  <c:v>66.790000000000006</c:v>
                </c:pt>
                <c:pt idx="790" formatCode="#,##0_);\(#,##0\);&quot;-  &quot;;&quot; &quot;@&quot; &quot;">
                  <c:v>67.13</c:v>
                </c:pt>
                <c:pt idx="791" formatCode="#,##0_);\(#,##0\);&quot;-  &quot;;&quot; &quot;@&quot; &quot;">
                  <c:v>67.11</c:v>
                </c:pt>
                <c:pt idx="792" formatCode="#,##0_);\(#,##0\);&quot;-  &quot;;&quot; &quot;@&quot; &quot;">
                  <c:v>65.8</c:v>
                </c:pt>
                <c:pt idx="793" formatCode="#,##0_);\(#,##0\);&quot;-  &quot;;&quot; &quot;@&quot; &quot;">
                  <c:v>65.95</c:v>
                </c:pt>
                <c:pt idx="794" formatCode="#,##0_);\(#,##0\);&quot;-  &quot;;&quot; &quot;@&quot; &quot;">
                  <c:v>66</c:v>
                </c:pt>
                <c:pt idx="795" formatCode="#,##0_);\(#,##0\);&quot;-  &quot;;&quot; &quot;@&quot; &quot;">
                  <c:v>66.63</c:v>
                </c:pt>
                <c:pt idx="796" formatCode="#,##0_);\(#,##0\);&quot;-  &quot;;&quot; &quot;@&quot; &quot;">
                  <c:v>65.03</c:v>
                </c:pt>
                <c:pt idx="797" formatCode="#,##0_);\(#,##0\);&quot;-  &quot;;&quot; &quot;@&quot; &quot;">
                  <c:v>63.97</c:v>
                </c:pt>
                <c:pt idx="798" formatCode="#,##0_);\(#,##0\);&quot;-  &quot;;&quot; &quot;@&quot; &quot;">
                  <c:v>64.75</c:v>
                </c:pt>
                <c:pt idx="799" formatCode="#,##0_);\(#,##0\);&quot;-  &quot;;&quot; &quot;@&quot; &quot;">
                  <c:v>65.92</c:v>
                </c:pt>
                <c:pt idx="800" formatCode="#,##0_);\(#,##0\);&quot;-  &quot;;&quot; &quot;@&quot; &quot;">
                  <c:v>65.459999999999994</c:v>
                </c:pt>
                <c:pt idx="801" formatCode="#,##0_);\(#,##0\);&quot;-  &quot;;&quot; &quot;@&quot; &quot;">
                  <c:v>65.38</c:v>
                </c:pt>
                <c:pt idx="802" formatCode="#,##0_);\(#,##0\);&quot;-  &quot;;&quot; &quot;@&quot; &quot;">
                  <c:v>65.38</c:v>
                </c:pt>
                <c:pt idx="803" formatCode="#,##0_);\(#,##0\);&quot;-  &quot;;&quot; &quot;@&quot; &quot;">
                  <c:v>64.45</c:v>
                </c:pt>
                <c:pt idx="804" formatCode="#,##0_);\(#,##0\);&quot;-  &quot;;&quot; &quot;@&quot; &quot;">
                  <c:v>64.11</c:v>
                </c:pt>
                <c:pt idx="805" formatCode="#,##0_);\(#,##0\);&quot;-  &quot;;&quot; &quot;@&quot; &quot;">
                  <c:v>64.88</c:v>
                </c:pt>
                <c:pt idx="806" formatCode="#,##0_);\(#,##0\);&quot;-  &quot;;&quot; &quot;@&quot; &quot;">
                  <c:v>64.53</c:v>
                </c:pt>
                <c:pt idx="807" formatCode="#,##0_);\(#,##0\);&quot;-  &quot;;&quot; &quot;@&quot; &quot;">
                  <c:v>65.209999999999994</c:v>
                </c:pt>
                <c:pt idx="808" formatCode="#,##0_);\(#,##0\);&quot;-  &quot;;&quot; &quot;@&quot; &quot;">
                  <c:v>64.72</c:v>
                </c:pt>
                <c:pt idx="809" formatCode="#,##0_);\(#,##0\);&quot;-  &quot;;&quot; &quot;@&quot; &quot;">
                  <c:v>65.739999999999995</c:v>
                </c:pt>
                <c:pt idx="810" formatCode="#,##0_);\(#,##0\);&quot;-  &quot;;&quot; &quot;@&quot; &quot;">
                  <c:v>65.23</c:v>
                </c:pt>
                <c:pt idx="811" formatCode="#,##0_);\(#,##0\);&quot;-  &quot;;&quot; &quot;@&quot; &quot;">
                  <c:v>65.180000000000007</c:v>
                </c:pt>
                <c:pt idx="812" formatCode="#,##0_);\(#,##0\);&quot;-  &quot;;&quot; &quot;@&quot; &quot;">
                  <c:v>65.59</c:v>
                </c:pt>
                <c:pt idx="813" formatCode="#,##0_);\(#,##0\);&quot;-  &quot;;&quot; &quot;@&quot; &quot;">
                  <c:v>66.77</c:v>
                </c:pt>
                <c:pt idx="814" formatCode="#,##0_);\(#,##0\);&quot;-  &quot;;&quot; &quot;@&quot; &quot;">
                  <c:v>66.89</c:v>
                </c:pt>
                <c:pt idx="815" formatCode="#,##0_);\(#,##0\);&quot;-  &quot;;&quot; &quot;@&quot; &quot;">
                  <c:v>67.040000000000006</c:v>
                </c:pt>
                <c:pt idx="816" formatCode="#,##0_);\(#,##0\);&quot;-  &quot;;&quot; &quot;@&quot; &quot;">
                  <c:v>66.45</c:v>
                </c:pt>
                <c:pt idx="817" formatCode="#,##0_);\(#,##0\);&quot;-  &quot;;&quot; &quot;@&quot; &quot;">
                  <c:v>65.680000000000007</c:v>
                </c:pt>
                <c:pt idx="818" formatCode="#,##0_);\(#,##0\);&quot;-  &quot;;&quot; &quot;@&quot; &quot;">
                  <c:v>66.12</c:v>
                </c:pt>
                <c:pt idx="819" formatCode="#,##0_);\(#,##0\);&quot;-  &quot;;&quot; &quot;@&quot; &quot;">
                  <c:v>66.540000000000006</c:v>
                </c:pt>
                <c:pt idx="820" formatCode="#,##0_);\(#,##0\);&quot;-  &quot;;&quot; &quot;@&quot; &quot;">
                  <c:v>67.430000000000007</c:v>
                </c:pt>
                <c:pt idx="821" formatCode="#,##0_);\(#,##0\);&quot;-  &quot;;&quot; &quot;@&quot; &quot;">
                  <c:v>66.39</c:v>
                </c:pt>
                <c:pt idx="822" formatCode="#,##0_);\(#,##0\);&quot;-  &quot;;&quot; &quot;@&quot; &quot;">
                  <c:v>66.650000000000006</c:v>
                </c:pt>
                <c:pt idx="823" formatCode="#,##0_);\(#,##0\);&quot;-  &quot;;&quot; &quot;@&quot; &quot;">
                  <c:v>66.41</c:v>
                </c:pt>
                <c:pt idx="824" formatCode="#,##0_);\(#,##0\);&quot;-  &quot;;&quot; &quot;@&quot; &quot;">
                  <c:v>66.37</c:v>
                </c:pt>
                <c:pt idx="825" formatCode="#,##0_);\(#,##0\);&quot;-  &quot;;&quot; &quot;@&quot; &quot;">
                  <c:v>66.47</c:v>
                </c:pt>
                <c:pt idx="826" formatCode="#,##0_);\(#,##0\);&quot;-  &quot;;&quot; &quot;@&quot; &quot;">
                  <c:v>66.94</c:v>
                </c:pt>
                <c:pt idx="827" formatCode="#,##0_);\(#,##0\);&quot;-  &quot;;&quot; &quot;@&quot; &quot;">
                  <c:v>67.34</c:v>
                </c:pt>
                <c:pt idx="828" formatCode="#,##0_);\(#,##0\);&quot;-  &quot;;&quot; &quot;@&quot; &quot;">
                  <c:v>66.290000000000006</c:v>
                </c:pt>
                <c:pt idx="829" formatCode="#,##0_);\(#,##0\);&quot;-  &quot;;&quot; &quot;@&quot; &quot;">
                  <c:v>67.42</c:v>
                </c:pt>
                <c:pt idx="830" formatCode="#,##0_);\(#,##0\);&quot;-  &quot;;&quot; &quot;@&quot; &quot;">
                  <c:v>66.790000000000006</c:v>
                </c:pt>
                <c:pt idx="831" formatCode="#,##0_);\(#,##0\);&quot;-  &quot;;&quot; &quot;@&quot; &quot;">
                  <c:v>66.930000000000007</c:v>
                </c:pt>
                <c:pt idx="832" formatCode="#,##0_);\(#,##0\);&quot;-  &quot;;&quot; &quot;@&quot; &quot;">
                  <c:v>66.349999999999994</c:v>
                </c:pt>
                <c:pt idx="833" formatCode="#,##0_);\(#,##0\);&quot;-  &quot;;&quot; &quot;@&quot; &quot;">
                  <c:v>66.14</c:v>
                </c:pt>
                <c:pt idx="834" formatCode="#,##0_);\(#,##0\);&quot;-  &quot;;&quot; &quot;@&quot; &quot;">
                  <c:v>64.86</c:v>
                </c:pt>
                <c:pt idx="835" formatCode="#,##0_);\(#,##0\);&quot;-  &quot;;&quot; &quot;@&quot; &quot;">
                  <c:v>64.89</c:v>
                </c:pt>
                <c:pt idx="836" formatCode="#,##0_);\(#,##0\);&quot;-  &quot;;&quot; &quot;@&quot; &quot;">
                  <c:v>65.099999999999994</c:v>
                </c:pt>
                <c:pt idx="837" formatCode="#,##0_);\(#,##0\);&quot;-  &quot;;&quot; &quot;@&quot; &quot;">
                  <c:v>65.33</c:v>
                </c:pt>
                <c:pt idx="838" formatCode="#,##0_);\(#,##0\);&quot;-  &quot;;&quot; &quot;@&quot; &quot;">
                  <c:v>63.95</c:v>
                </c:pt>
                <c:pt idx="839" formatCode="#,##0_);\(#,##0\);&quot;-  &quot;;&quot; &quot;@&quot; &quot;">
                  <c:v>62.01</c:v>
                </c:pt>
                <c:pt idx="840" formatCode="#,##0_);\(#,##0\);&quot;-  &quot;;&quot; &quot;@&quot; &quot;">
                  <c:v>61.11</c:v>
                </c:pt>
                <c:pt idx="841" formatCode="#,##0_);\(#,##0\);&quot;-  &quot;;&quot; &quot;@&quot; &quot;">
                  <c:v>60.7</c:v>
                </c:pt>
                <c:pt idx="842" formatCode="#,##0_);\(#,##0\);&quot;-  &quot;;&quot; &quot;@&quot; &quot;">
                  <c:v>60.14</c:v>
                </c:pt>
                <c:pt idx="843" formatCode="#,##0_);\(#,##0\);&quot;-  &quot;;&quot; &quot;@&quot; &quot;">
                  <c:v>61</c:v>
                </c:pt>
                <c:pt idx="844" formatCode="#,##0_);\(#,##0\);&quot;-  &quot;;&quot; &quot;@&quot; &quot;">
                  <c:v>61.12</c:v>
                </c:pt>
                <c:pt idx="845" formatCode="#,##0_);\(#,##0\);&quot;-  &quot;;&quot; &quot;@&quot; &quot;">
                  <c:v>61.09</c:v>
                </c:pt>
                <c:pt idx="846" formatCode="#,##0_);\(#,##0\);&quot;-  &quot;;&quot; &quot;@&quot; &quot;">
                  <c:v>61.09</c:v>
                </c:pt>
                <c:pt idx="847" formatCode="#,##0_);\(#,##0\);&quot;-  &quot;;&quot; &quot;@&quot; &quot;">
                  <c:v>60.89</c:v>
                </c:pt>
                <c:pt idx="848" formatCode="#,##0_);\(#,##0\);&quot;-  &quot;;&quot; &quot;@&quot; &quot;">
                  <c:v>60.15</c:v>
                </c:pt>
                <c:pt idx="849" formatCode="#,##0_);\(#,##0\);&quot;-  &quot;;&quot; &quot;@&quot; &quot;">
                  <c:v>60.22</c:v>
                </c:pt>
                <c:pt idx="850" formatCode="#,##0_);\(#,##0\);&quot;-  &quot;;&quot; &quot;@&quot; &quot;">
                  <c:v>60.61</c:v>
                </c:pt>
                <c:pt idx="851" formatCode="#,##0_);\(#,##0\);&quot;-  &quot;;&quot; &quot;@&quot; &quot;">
                  <c:v>60.79</c:v>
                </c:pt>
                <c:pt idx="852" formatCode="#,##0_);\(#,##0\);&quot;-  &quot;;&quot; &quot;@&quot; &quot;">
                  <c:v>61.39</c:v>
                </c:pt>
                <c:pt idx="853" formatCode="#,##0_);\(#,##0\);&quot;-  &quot;;&quot; &quot;@&quot; &quot;">
                  <c:v>62.39</c:v>
                </c:pt>
                <c:pt idx="854" formatCode="#,##0_);\(#,##0\);&quot;-  &quot;;&quot; &quot;@&quot; &quot;">
                  <c:v>63.15</c:v>
                </c:pt>
                <c:pt idx="855" formatCode="#,##0_);\(#,##0\);&quot;-  &quot;;&quot; &quot;@&quot; &quot;">
                  <c:v>63.47</c:v>
                </c:pt>
                <c:pt idx="856" formatCode="#,##0_);\(#,##0\);&quot;-  &quot;;&quot; &quot;@&quot; &quot;">
                  <c:v>63.41</c:v>
                </c:pt>
                <c:pt idx="857" formatCode="#,##0_);\(#,##0\);&quot;-  &quot;;&quot; &quot;@&quot; &quot;">
                  <c:v>64.069999999999993</c:v>
                </c:pt>
                <c:pt idx="858" formatCode="#,##0_);\(#,##0\);&quot;-  &quot;;&quot; &quot;@&quot; &quot;">
                  <c:v>64.989999999999995</c:v>
                </c:pt>
                <c:pt idx="859" formatCode="#,##0_);\(#,##0\);&quot;-  &quot;;&quot; &quot;@&quot; &quot;">
                  <c:v>65.239999999999995</c:v>
                </c:pt>
                <c:pt idx="860" formatCode="#,##0_);\(#,##0\);&quot;-  &quot;;&quot; &quot;@&quot; &quot;">
                  <c:v>66.010000000000005</c:v>
                </c:pt>
                <c:pt idx="861" formatCode="#,##0_);\(#,##0\);&quot;-  &quot;;&quot; &quot;@&quot; &quot;">
                  <c:v>66.53</c:v>
                </c:pt>
                <c:pt idx="862" formatCode="#,##0_);\(#,##0\);&quot;-  &quot;;&quot; &quot;@&quot; &quot;">
                  <c:v>66.63</c:v>
                </c:pt>
                <c:pt idx="863" formatCode="#,##0_);\(#,##0\);&quot;-  &quot;;&quot; &quot;@&quot; &quot;">
                  <c:v>67.25</c:v>
                </c:pt>
                <c:pt idx="864" formatCode="#,##0_);\(#,##0\);&quot;-  &quot;;&quot; &quot;@&quot; &quot;">
                  <c:v>66.95</c:v>
                </c:pt>
                <c:pt idx="865" formatCode="#,##0_);\(#,##0\);&quot;-  &quot;;&quot; &quot;@&quot; &quot;">
                  <c:v>66.45</c:v>
                </c:pt>
                <c:pt idx="866" formatCode="#,##0_);\(#,##0\);&quot;-  &quot;;&quot; &quot;@&quot; &quot;">
                  <c:v>65.89</c:v>
                </c:pt>
                <c:pt idx="867" formatCode="#,##0_);\(#,##0\);&quot;-  &quot;;&quot; &quot;@&quot; &quot;">
                  <c:v>65.08</c:v>
                </c:pt>
                <c:pt idx="868" formatCode="#,##0_);\(#,##0\);&quot;-  &quot;;&quot; &quot;@&quot; &quot;">
                  <c:v>64.260000000000005</c:v>
                </c:pt>
                <c:pt idx="869" formatCode="#,##0_);\(#,##0\);&quot;-  &quot;;&quot; &quot;@&quot; &quot;">
                  <c:v>63.33</c:v>
                </c:pt>
                <c:pt idx="870" formatCode="#,##0_);\(#,##0\);&quot;-  &quot;;&quot; &quot;@&quot; &quot;">
                  <c:v>62.82</c:v>
                </c:pt>
                <c:pt idx="871" formatCode="#,##0_);\(#,##0\);&quot;-  &quot;;&quot; &quot;@&quot; &quot;">
                  <c:v>62.45</c:v>
                </c:pt>
                <c:pt idx="872" formatCode="#,##0_);\(#,##0\);&quot;-  &quot;;&quot; &quot;@&quot; &quot;">
                  <c:v>62.36</c:v>
                </c:pt>
                <c:pt idx="873" formatCode="#,##0_);\(#,##0\);&quot;-  &quot;;&quot; &quot;@&quot; &quot;">
                  <c:v>60.96</c:v>
                </c:pt>
                <c:pt idx="874" formatCode="#,##0_);\(#,##0\);&quot;-  &quot;;&quot; &quot;@&quot; &quot;">
                  <c:v>60.99</c:v>
                </c:pt>
                <c:pt idx="875" formatCode="#,##0_);\(#,##0\);&quot;-  &quot;;&quot; &quot;@&quot; &quot;">
                  <c:v>60.57</c:v>
                </c:pt>
                <c:pt idx="876" formatCode="#,##0_);\(#,##0\);&quot;-  &quot;;&quot; &quot;@&quot; &quot;">
                  <c:v>59.76</c:v>
                </c:pt>
                <c:pt idx="877" formatCode="#,##0_);\(#,##0\);&quot;-  &quot;;&quot; &quot;@&quot; &quot;">
                  <c:v>59.4</c:v>
                </c:pt>
                <c:pt idx="878" formatCode="#,##0_);\(#,##0\);&quot;-  &quot;;&quot; &quot;@&quot; &quot;">
                  <c:v>57.4</c:v>
                </c:pt>
                <c:pt idx="879" formatCode="#,##0_);\(#,##0\);&quot;-  &quot;;&quot; &quot;@&quot; &quot;">
                  <c:v>57.88</c:v>
                </c:pt>
                <c:pt idx="880" formatCode="#,##0_);\(#,##0\);&quot;-  &quot;;&quot; &quot;@&quot; &quot;">
                  <c:v>58.21</c:v>
                </c:pt>
                <c:pt idx="881" formatCode="#,##0_);\(#,##0\);&quot;-  &quot;;&quot; &quot;@&quot; &quot;">
                  <c:v>58.18</c:v>
                </c:pt>
                <c:pt idx="882" formatCode="#,##0_);\(#,##0\);&quot;-  &quot;;&quot; &quot;@&quot; &quot;">
                  <c:v>59.1</c:v>
                </c:pt>
                <c:pt idx="883" formatCode="#,##0_);\(#,##0\);&quot;-  &quot;;&quot; &quot;@&quot; &quot;">
                  <c:v>59.75</c:v>
                </c:pt>
                <c:pt idx="884" formatCode="#,##0_);\(#,##0\);&quot;-  &quot;;&quot; &quot;@&quot; &quot;">
                  <c:v>59.63</c:v>
                </c:pt>
                <c:pt idx="885" formatCode="#,##0_);\(#,##0\);&quot;-  &quot;;&quot; &quot;@&quot; &quot;">
                  <c:v>60.53</c:v>
                </c:pt>
                <c:pt idx="886" formatCode="#,##0_);\(#,##0\);&quot;-  &quot;;&quot; &quot;@&quot; &quot;">
                  <c:v>60.85</c:v>
                </c:pt>
                <c:pt idx="887" formatCode="#,##0_);\(#,##0\);&quot;-  &quot;;&quot; &quot;@&quot; &quot;">
                  <c:v>61.31</c:v>
                </c:pt>
                <c:pt idx="888" formatCode="#,##0_);\(#,##0\);&quot;-  &quot;;&quot; &quot;@&quot; &quot;">
                  <c:v>61.65</c:v>
                </c:pt>
                <c:pt idx="889" formatCode="#,##0_);\(#,##0\);&quot;-  &quot;;&quot; &quot;@&quot; &quot;">
                  <c:v>63.19</c:v>
                </c:pt>
                <c:pt idx="890" formatCode="#,##0_);\(#,##0\);&quot;-  &quot;;&quot; &quot;@&quot; &quot;">
                  <c:v>63.96</c:v>
                </c:pt>
                <c:pt idx="891" formatCode="#,##0_);\(#,##0\);&quot;-  &quot;;&quot; &quot;@&quot; &quot;">
                  <c:v>64.14</c:v>
                </c:pt>
                <c:pt idx="892" formatCode="#,##0_);\(#,##0\);&quot;-  &quot;;&quot; &quot;@&quot; &quot;">
                  <c:v>64.510000000000005</c:v>
                </c:pt>
                <c:pt idx="893" formatCode="#,##0_);\(#,##0\);&quot;-  &quot;;&quot; &quot;@&quot; &quot;">
                  <c:v>63.28</c:v>
                </c:pt>
                <c:pt idx="894" formatCode="#,##0_);\(#,##0\);&quot;-  &quot;;&quot; &quot;@&quot; &quot;">
                  <c:v>62.22</c:v>
                </c:pt>
                <c:pt idx="895" formatCode="#,##0_);\(#,##0\);&quot;-  &quot;;&quot; &quot;@&quot; &quot;">
                  <c:v>61.73</c:v>
                </c:pt>
                <c:pt idx="896" formatCode="#,##0_);\(#,##0\);&quot;-  &quot;;&quot; &quot;@&quot; &quot;">
                  <c:v>60.35</c:v>
                </c:pt>
                <c:pt idx="897" formatCode="#,##0_);\(#,##0\);&quot;-  &quot;;&quot; &quot;@&quot; &quot;">
                  <c:v>60.13</c:v>
                </c:pt>
                <c:pt idx="898" formatCode="#,##0_);\(#,##0\);&quot;-  &quot;;&quot; &quot;@&quot; &quot;">
                  <c:v>58.7</c:v>
                </c:pt>
                <c:pt idx="899" formatCode="#,##0_);\(#,##0\);&quot;-  &quot;;&quot; &quot;@&quot; &quot;">
                  <c:v>57.98</c:v>
                </c:pt>
                <c:pt idx="900" formatCode="#,##0_);\(#,##0\);&quot;-  &quot;;&quot; &quot;@&quot; &quot;">
                  <c:v>57.64</c:v>
                </c:pt>
                <c:pt idx="901" formatCode="#,##0_);\(#,##0\);&quot;-  &quot;;&quot; &quot;@&quot; &quot;">
                  <c:v>56.43</c:v>
                </c:pt>
                <c:pt idx="902" formatCode="#,##0_);\(#,##0\);&quot;-  &quot;;&quot; &quot;@&quot; &quot;">
                  <c:v>56.43</c:v>
                </c:pt>
                <c:pt idx="903" formatCode="#,##0_);\(#,##0\);&quot;-  &quot;;&quot; &quot;@&quot; &quot;">
                  <c:v>56.77</c:v>
                </c:pt>
                <c:pt idx="904" formatCode="#,##0_);\(#,##0\);&quot;-  &quot;;&quot; &quot;@&quot; &quot;">
                  <c:v>57.08</c:v>
                </c:pt>
                <c:pt idx="905" formatCode="#,##0_);\(#,##0\);&quot;-  &quot;;&quot; &quot;@&quot; &quot;">
                  <c:v>57.39</c:v>
                </c:pt>
                <c:pt idx="906" formatCode="#,##0_);\(#,##0\);&quot;-  &quot;;&quot; &quot;@&quot; &quot;">
                  <c:v>56.37</c:v>
                </c:pt>
                <c:pt idx="907" formatCode="#,##0_);\(#,##0\);&quot;-  &quot;;&quot; &quot;@&quot; &quot;">
                  <c:v>56.45</c:v>
                </c:pt>
                <c:pt idx="908" formatCode="#,##0_);\(#,##0\);&quot;-  &quot;;&quot; &quot;@&quot; &quot;">
                  <c:v>56.89</c:v>
                </c:pt>
                <c:pt idx="909" formatCode="#,##0_);\(#,##0\);&quot;-  &quot;;&quot; &quot;@&quot; &quot;">
                  <c:v>56.65</c:v>
                </c:pt>
                <c:pt idx="910" formatCode="#,##0_);\(#,##0\);&quot;-  &quot;;&quot; &quot;@&quot; &quot;">
                  <c:v>55.93</c:v>
                </c:pt>
                <c:pt idx="911" formatCode="#,##0_);\(#,##0\);&quot;-  &quot;;&quot; &quot;@&quot; &quot;">
                  <c:v>55.21</c:v>
                </c:pt>
                <c:pt idx="912" formatCode="#,##0_);\(#,##0\);&quot;-  &quot;;&quot; &quot;@&quot; &quot;">
                  <c:v>55.14</c:v>
                </c:pt>
                <c:pt idx="913" formatCode="#,##0_);\(#,##0\);&quot;-  &quot;;&quot; &quot;@&quot; &quot;">
                  <c:v>55.29</c:v>
                </c:pt>
                <c:pt idx="914" formatCode="#,##0_);\(#,##0\);&quot;-  &quot;;&quot; &quot;@&quot; &quot;">
                  <c:v>55.37</c:v>
                </c:pt>
                <c:pt idx="915" formatCode="#,##0_);\(#,##0\);&quot;-  &quot;;&quot; &quot;@&quot; &quot;">
                  <c:v>56.85</c:v>
                </c:pt>
                <c:pt idx="916" formatCode="#,##0_);\(#,##0\);&quot;-  &quot;;&quot; &quot;@&quot; &quot;">
                  <c:v>57.46</c:v>
                </c:pt>
                <c:pt idx="917" formatCode="#,##0_);\(#,##0\);&quot;-  &quot;;&quot; &quot;@&quot; &quot;">
                  <c:v>58.38</c:v>
                </c:pt>
                <c:pt idx="918" formatCode="#,##0_);\(#,##0\);&quot;-  &quot;;&quot; &quot;@&quot; &quot;">
                  <c:v>59.15</c:v>
                </c:pt>
                <c:pt idx="919" formatCode="#,##0_);\(#,##0\);&quot;-  &quot;;&quot; &quot;@&quot; &quot;">
                  <c:v>59.98</c:v>
                </c:pt>
                <c:pt idx="920" formatCode="#,##0_);\(#,##0\);&quot;-  &quot;;&quot; &quot;@&quot; &quot;">
                  <c:v>60.34</c:v>
                </c:pt>
                <c:pt idx="921" formatCode="#,##0_);\(#,##0\);&quot;-  &quot;;&quot; &quot;@&quot; &quot;">
                  <c:v>59.9</c:v>
                </c:pt>
                <c:pt idx="922" formatCode="#,##0_);\(#,##0\);&quot;-  &quot;;&quot; &quot;@&quot; &quot;">
                  <c:v>60.1</c:v>
                </c:pt>
                <c:pt idx="923" formatCode="#,##0_);\(#,##0\);&quot;-  &quot;;&quot; &quot;@&quot; &quot;">
                  <c:v>58.33</c:v>
                </c:pt>
                <c:pt idx="924" formatCode="#,##0_);\(#,##0\);&quot;-  &quot;;&quot; &quot;@&quot; &quot;">
                  <c:v>58.69</c:v>
                </c:pt>
                <c:pt idx="925" formatCode="#,##0_);\(#,##0\);&quot;-  &quot;;&quot; &quot;@&quot; &quot;">
                  <c:v>59.24</c:v>
                </c:pt>
                <c:pt idx="926" formatCode="#,##0_);\(#,##0\);&quot;-  &quot;;&quot; &quot;@&quot; &quot;">
                  <c:v>59.78</c:v>
                </c:pt>
                <c:pt idx="927" formatCode="#,##0_);\(#,##0\);&quot;-  &quot;;&quot; &quot;@&quot; &quot;">
                  <c:v>59.87</c:v>
                </c:pt>
                <c:pt idx="928" formatCode="#,##0_);\(#,##0\);&quot;-  &quot;;&quot; &quot;@&quot; &quot;">
                  <c:v>60.59</c:v>
                </c:pt>
                <c:pt idx="929" formatCode="#,##0_);\(#,##0\);&quot;-  &quot;;&quot; &quot;@&quot; &quot;">
                  <c:v>60.68</c:v>
                </c:pt>
                <c:pt idx="930" formatCode="#,##0_);\(#,##0\);&quot;-  &quot;;&quot; &quot;@&quot; &quot;">
                  <c:v>60.65</c:v>
                </c:pt>
                <c:pt idx="931" formatCode="#,##0_);\(#,##0\);&quot;-  &quot;;&quot; &quot;@&quot; &quot;">
                  <c:v>61.68</c:v>
                </c:pt>
                <c:pt idx="932" formatCode="#,##0_);\(#,##0\);&quot;-  &quot;;&quot; &quot;@&quot; &quot;">
                  <c:v>62.34</c:v>
                </c:pt>
                <c:pt idx="933" formatCode="#,##0_);\(#,##0\);&quot;-  &quot;;&quot; &quot;@&quot; &quot;">
                  <c:v>61.41</c:v>
                </c:pt>
                <c:pt idx="934" formatCode="#,##0_);\(#,##0\);&quot;-  &quot;;&quot; &quot;@&quot; &quot;">
                  <c:v>60.92</c:v>
                </c:pt>
                <c:pt idx="935" formatCode="#,##0_);\(#,##0\);&quot;-  &quot;;&quot; &quot;@&quot; &quot;">
                  <c:v>62.49</c:v>
                </c:pt>
                <c:pt idx="936" formatCode="#,##0_);\(#,##0\);&quot;-  &quot;;&quot; &quot;@&quot; &quot;">
                  <c:v>63.81</c:v>
                </c:pt>
                <c:pt idx="937" formatCode="#,##0_);\(#,##0\);&quot;-  &quot;;&quot; &quot;@&quot; &quot;">
                  <c:v>64.28</c:v>
                </c:pt>
                <c:pt idx="938" formatCode="#,##0_);\(#,##0\);&quot;-  &quot;;&quot; &quot;@&quot; &quot;">
                  <c:v>65.36</c:v>
                </c:pt>
                <c:pt idx="939" formatCode="#,##0_);\(#,##0\);&quot;-  &quot;;&quot; &quot;@&quot; &quot;">
                  <c:v>66.48</c:v>
                </c:pt>
                <c:pt idx="940" formatCode="#,##0_);\(#,##0\);&quot;-  &quot;;&quot; &quot;@&quot; &quot;">
                  <c:v>65.91</c:v>
                </c:pt>
                <c:pt idx="941" formatCode="#,##0_);\(#,##0\);&quot;-  &quot;;&quot; &quot;@&quot; &quot;">
                  <c:v>66.08</c:v>
                </c:pt>
                <c:pt idx="942" formatCode="#,##0_);\(#,##0\);&quot;-  &quot;;&quot; &quot;@&quot; &quot;">
                  <c:v>65.95</c:v>
                </c:pt>
                <c:pt idx="943" formatCode="#,##0_);\(#,##0\);&quot;-  &quot;;&quot; &quot;@&quot; &quot;">
                  <c:v>65.73</c:v>
                </c:pt>
                <c:pt idx="944" formatCode="#,##0_);\(#,##0\);&quot;-  &quot;;&quot; &quot;@&quot; &quot;">
                  <c:v>65.22</c:v>
                </c:pt>
                <c:pt idx="945" formatCode="#,##0_);\(#,##0\);&quot;-  &quot;;&quot; &quot;@&quot; &quot;">
                  <c:v>65.180000000000007</c:v>
                </c:pt>
                <c:pt idx="946" formatCode="#,##0_);\(#,##0\);&quot;-  &quot;;&quot; &quot;@&quot; &quot;">
                  <c:v>65.61</c:v>
                </c:pt>
                <c:pt idx="947" formatCode="#,##0_);\(#,##0\);&quot;-  &quot;;&quot; &quot;@&quot; &quot;">
                  <c:v>65.45</c:v>
                </c:pt>
                <c:pt idx="948" formatCode="#,##0_);\(#,##0\);&quot;-  &quot;;&quot; &quot;@&quot; &quot;">
                  <c:v>64.8</c:v>
                </c:pt>
                <c:pt idx="949" formatCode="#,##0_);\(#,##0\);&quot;-  &quot;;&quot; &quot;@&quot; &quot;">
                  <c:v>64.62</c:v>
                </c:pt>
                <c:pt idx="950" formatCode="#,##0_);\(#,##0\);&quot;-  &quot;;&quot; &quot;@&quot; &quot;">
                  <c:v>64.010000000000005</c:v>
                </c:pt>
                <c:pt idx="951" formatCode="#,##0_);\(#,##0\);&quot;-  &quot;;&quot; &quot;@&quot; &quot;">
                  <c:v>63.85</c:v>
                </c:pt>
                <c:pt idx="952" formatCode="#,##0_);\(#,##0\);&quot;-  &quot;;&quot; &quot;@&quot; &quot;">
                  <c:v>63.73</c:v>
                </c:pt>
                <c:pt idx="953" formatCode="#,##0_);\(#,##0\);&quot;-  &quot;;&quot; &quot;@&quot; &quot;">
                  <c:v>64.7</c:v>
                </c:pt>
                <c:pt idx="954" formatCode="#,##0_);\(#,##0\);&quot;-  &quot;;&quot; &quot;@&quot; &quot;">
                  <c:v>64.16</c:v>
                </c:pt>
                <c:pt idx="955" formatCode="#,##0_);\(#,##0\);&quot;-  &quot;;&quot; &quot;@&quot; &quot;">
                  <c:v>64.62</c:v>
                </c:pt>
                <c:pt idx="956" formatCode="#,##0_);\(#,##0\);&quot;-  &quot;;&quot; &quot;@&quot; &quot;">
                  <c:v>65.41</c:v>
                </c:pt>
                <c:pt idx="957" formatCode="#,##0_);\(#,##0\);&quot;-  &quot;;&quot; &quot;@&quot; &quot;">
                  <c:v>66.16</c:v>
                </c:pt>
                <c:pt idx="958" formatCode="#,##0_);\(#,##0\);&quot;-  &quot;;&quot; &quot;@&quot; &quot;">
                  <c:v>66.19</c:v>
                </c:pt>
                <c:pt idx="959" formatCode="#,##0_);\(#,##0\);&quot;-  &quot;;&quot; &quot;@&quot; &quot;">
                  <c:v>67.010000000000005</c:v>
                </c:pt>
                <c:pt idx="960" formatCode="#,##0_);\(#,##0\);&quot;-  &quot;;&quot; &quot;@&quot; &quot;">
                  <c:v>68.38</c:v>
                </c:pt>
                <c:pt idx="961" formatCode="#,##0_);\(#,##0\);&quot;-  &quot;;&quot; &quot;@&quot; &quot;">
                  <c:v>71.14</c:v>
                </c:pt>
                <c:pt idx="962" formatCode="#,##0_);\(#,##0\);&quot;-  &quot;;&quot; &quot;@&quot; &quot;">
                  <c:v>74.17</c:v>
                </c:pt>
                <c:pt idx="963" formatCode="#,##0_);\(#,##0\);&quot;-  &quot;;&quot; &quot;@&quot; &quot;">
                  <c:v>72.88</c:v>
                </c:pt>
                <c:pt idx="964" formatCode="#,##0_);\(#,##0\);&quot;-  &quot;;&quot; &quot;@&quot; &quot;">
                  <c:v>72.89</c:v>
                </c:pt>
                <c:pt idx="965" formatCode="#,##0_);\(#,##0\);&quot;-  &quot;;&quot; &quot;@&quot; &quot;">
                  <c:v>73.11</c:v>
                </c:pt>
                <c:pt idx="966" formatCode="#,##0_);\(#,##0\);&quot;-  &quot;;&quot; &quot;@&quot; &quot;">
                  <c:v>73.010000000000005</c:v>
                </c:pt>
                <c:pt idx="967" formatCode="#,##0_);\(#,##0\);&quot;-  &quot;;&quot; &quot;@&quot; &quot;">
                  <c:v>72.97</c:v>
                </c:pt>
                <c:pt idx="968" formatCode="#,##0_);\(#,##0\);&quot;-  &quot;;&quot; &quot;@&quot; &quot;">
                  <c:v>72.06</c:v>
                </c:pt>
                <c:pt idx="969" formatCode="#,##0_);\(#,##0\);&quot;-  &quot;;&quot; &quot;@&quot; &quot;">
                  <c:v>70.23</c:v>
                </c:pt>
                <c:pt idx="970" formatCode="#,##0_);\(#,##0\);&quot;-  &quot;;&quot; &quot;@&quot; &quot;">
                  <c:v>69.45</c:v>
                </c:pt>
                <c:pt idx="971" formatCode="#,##0_);\(#,##0\);&quot;-  &quot;;&quot; &quot;@&quot; &quot;">
                  <c:v>70.19</c:v>
                </c:pt>
                <c:pt idx="972" formatCode="#,##0_);\(#,##0\);&quot;-  &quot;;&quot; &quot;@&quot; &quot;">
                  <c:v>70.69</c:v>
                </c:pt>
                <c:pt idx="973" formatCode="#,##0_);\(#,##0\);&quot;-  &quot;;&quot; &quot;@&quot; &quot;">
                  <c:v>71.25</c:v>
                </c:pt>
                <c:pt idx="974" formatCode="#,##0_);\(#,##0\);&quot;-  &quot;;&quot; &quot;@&quot; &quot;">
                  <c:v>70.61</c:v>
                </c:pt>
                <c:pt idx="975" formatCode="#,##0_);\(#,##0\);&quot;-  &quot;;&quot; &quot;@&quot; &quot;">
                  <c:v>70.56</c:v>
                </c:pt>
                <c:pt idx="976" formatCode="#,##0_);\(#,##0\);&quot;-  &quot;;&quot; &quot;@&quot; &quot;">
                  <c:v>71.45</c:v>
                </c:pt>
                <c:pt idx="977" formatCode="#,##0_);\(#,##0\);&quot;-  &quot;;&quot; &quot;@&quot; &quot;">
                  <c:v>71.37</c:v>
                </c:pt>
                <c:pt idx="978" formatCode="#,##0_);\(#,##0\);&quot;-  &quot;;&quot; &quot;@&quot; &quot;">
                  <c:v>71.260000000000005</c:v>
                </c:pt>
                <c:pt idx="979" formatCode="#,##0_);\(#,##0\);&quot;-  &quot;;&quot; &quot;@&quot; &quot;">
                  <c:v>72.23</c:v>
                </c:pt>
                <c:pt idx="980" formatCode="#,##0_);\(#,##0\);&quot;-  &quot;;&quot; &quot;@&quot; &quot;">
                  <c:v>72.48</c:v>
                </c:pt>
                <c:pt idx="981" formatCode="#,##0_);\(#,##0\);&quot;-  &quot;;&quot; &quot;@&quot; &quot;">
                  <c:v>72.83</c:v>
                </c:pt>
                <c:pt idx="982" formatCode="#,##0_);\(#,##0\);&quot;-  &quot;;&quot; &quot;@&quot; &quot;">
                  <c:v>72.75</c:v>
                </c:pt>
                <c:pt idx="983" formatCode="#,##0_);\(#,##0\);&quot;-  &quot;;&quot; &quot;@&quot; &quot;">
                  <c:v>72</c:v>
                </c:pt>
                <c:pt idx="984" formatCode="#,##0_);\(#,##0\);&quot;-  &quot;;&quot; &quot;@&quot; &quot;">
                  <c:v>70.040000000000006</c:v>
                </c:pt>
                <c:pt idx="985" formatCode="#,##0_);\(#,##0\);&quot;-  &quot;;&quot; &quot;@&quot; &quot;">
                  <c:v>69.16</c:v>
                </c:pt>
                <c:pt idx="986" formatCode="#,##0_);\(#,##0\);&quot;-  &quot;;&quot; &quot;@&quot; &quot;">
                  <c:v>69.22</c:v>
                </c:pt>
                <c:pt idx="987" formatCode="#,##0_);\(#,##0\);&quot;-  &quot;;&quot; &quot;@&quot; &quot;">
                  <c:v>70.39</c:v>
                </c:pt>
                <c:pt idx="988" formatCode="#,##0_);\(#,##0\);&quot;-  &quot;;&quot; &quot;@&quot; &quot;">
                  <c:v>69.08</c:v>
                </c:pt>
                <c:pt idx="989" formatCode="#,##0_);\(#,##0\);&quot;-  &quot;;&quot; &quot;@&quot; &quot;">
                  <c:v>68.260000000000005</c:v>
                </c:pt>
                <c:pt idx="990" formatCode="#,##0_);\(#,##0\);&quot;-  &quot;;&quot; &quot;@&quot; &quot;">
                  <c:v>69.02</c:v>
                </c:pt>
                <c:pt idx="991" formatCode="#,##0_);\(#,##0\);&quot;-  &quot;;&quot; &quot;@&quot; &quot;">
                  <c:v>69.349999999999994</c:v>
                </c:pt>
                <c:pt idx="992" formatCode="#,##0_);\(#,##0\);&quot;-  &quot;;&quot; &quot;@&quot; &quot;">
                  <c:v>68.760000000000005</c:v>
                </c:pt>
                <c:pt idx="993" formatCode="#,##0_);\(#,##0\);&quot;-  &quot;;&quot; &quot;@&quot; &quot;">
                  <c:v>69.900000000000006</c:v>
                </c:pt>
                <c:pt idx="994" formatCode="#,##0_);\(#,##0\);&quot;-  &quot;;&quot; &quot;@&quot; &quot;">
                  <c:v>70.489999999999995</c:v>
                </c:pt>
                <c:pt idx="995" formatCode="#,##0_);\(#,##0\);&quot;-  &quot;;&quot; &quot;@&quot; &quot;">
                  <c:v>70.540000000000006</c:v>
                </c:pt>
                <c:pt idx="996" formatCode="#,##0_);\(#,##0\);&quot;-  &quot;;&quot; &quot;@&quot; &quot;">
                  <c:v>70.66</c:v>
                </c:pt>
                <c:pt idx="997" formatCode="#,##0_);\(#,##0\);&quot;-  &quot;;&quot; &quot;@&quot; &quot;">
                  <c:v>69.86</c:v>
                </c:pt>
                <c:pt idx="998" formatCode="#,##0_);\(#,##0\);&quot;-  &quot;;&quot; &quot;@&quot; &quot;">
                  <c:v>70.58</c:v>
                </c:pt>
                <c:pt idx="999" formatCode="#,##0_);\(#,##0\);&quot;-  &quot;;&quot; &quot;@&quot; &quot;">
                  <c:v>70.03</c:v>
                </c:pt>
                <c:pt idx="1000" formatCode="#,##0_);\(#,##0\);&quot;-  &quot;;&quot; &quot;@&quot; &quot;">
                  <c:v>70.56</c:v>
                </c:pt>
                <c:pt idx="1001" formatCode="#,##0_);\(#,##0\);&quot;-  &quot;;&quot; &quot;@&quot; &quot;">
                  <c:v>71.13</c:v>
                </c:pt>
                <c:pt idx="1002" formatCode="#,##0_);\(#,##0\);&quot;-  &quot;;&quot; &quot;@&quot; &quot;">
                  <c:v>71.55</c:v>
                </c:pt>
                <c:pt idx="1003" formatCode="#,##0_);\(#,##0\);&quot;-  &quot;;&quot; &quot;@&quot; &quot;">
                  <c:v>72.87</c:v>
                </c:pt>
                <c:pt idx="1004" formatCode="#,##0_);\(#,##0\);&quot;-  &quot;;&quot; &quot;@&quot; &quot;">
                  <c:v>73.31</c:v>
                </c:pt>
                <c:pt idx="1005" formatCode="#,##0_);\(#,##0\);&quot;-  &quot;;&quot; &quot;@&quot; &quot;">
                  <c:v>73.58</c:v>
                </c:pt>
                <c:pt idx="1006" formatCode="#,##0_);\(#,##0\);&quot;-  &quot;;&quot; &quot;@&quot; &quot;">
                  <c:v>73.63</c:v>
                </c:pt>
                <c:pt idx="1007" formatCode="#,##0_);\(#,##0\);&quot;-  &quot;;&quot; &quot;@&quot; &quot;">
                  <c:v>73.2</c:v>
                </c:pt>
                <c:pt idx="1008" formatCode="#,##0_);\(#,##0\);&quot;-  &quot;;&quot; &quot;@&quot; &quot;">
                  <c:v>74.14</c:v>
                </c:pt>
                <c:pt idx="1009" formatCode="#,##0_);\(#,##0\);&quot;-  &quot;;&quot; &quot;@&quot; &quot;">
                  <c:v>76.400000000000006</c:v>
                </c:pt>
                <c:pt idx="1010" formatCode="#,##0_);\(#,##0\);&quot;-  &quot;;&quot; &quot;@&quot; &quot;">
                  <c:v>76.45</c:v>
                </c:pt>
                <c:pt idx="1011" formatCode="#,##0_);\(#,##0\);&quot;-  &quot;;&quot; &quot;@&quot; &quot;">
                  <c:v>76.31</c:v>
                </c:pt>
                <c:pt idx="1012" formatCode="#,##0_);\(#,##0\);&quot;-  &quot;;&quot; &quot;@&quot; &quot;">
                  <c:v>76.84</c:v>
                </c:pt>
                <c:pt idx="1013" formatCode="#,##0_);\(#,##0\);&quot;-  &quot;;&quot; &quot;@&quot; &quot;">
                  <c:v>76.58</c:v>
                </c:pt>
                <c:pt idx="1014" formatCode="#,##0_);\(#,##0\);&quot;-  &quot;;&quot; &quot;@&quot; &quot;">
                  <c:v>76.11</c:v>
                </c:pt>
                <c:pt idx="1015" formatCode="#,##0_);\(#,##0\);&quot;-  &quot;;&quot; &quot;@&quot; &quot;">
                  <c:v>74.95</c:v>
                </c:pt>
                <c:pt idx="1016" formatCode="#,##0_);\(#,##0\);&quot;-  &quot;;&quot; &quot;@&quot; &quot;">
                  <c:v>74.97</c:v>
                </c:pt>
                <c:pt idx="1017" formatCode="#,##0_);\(#,##0\);&quot;-  &quot;;&quot; &quot;@&quot; &quot;">
                  <c:v>75.16</c:v>
                </c:pt>
                <c:pt idx="1018" formatCode="#,##0_);\(#,##0\);&quot;-  &quot;;&quot; &quot;@&quot; &quot;">
                  <c:v>76.5</c:v>
                </c:pt>
                <c:pt idx="1019" formatCode="#,##0_);\(#,##0\);&quot;-  &quot;;&quot; &quot;@&quot; &quot;">
                  <c:v>76.209999999999994</c:v>
                </c:pt>
                <c:pt idx="1020" formatCode="#,##0_);\(#,##0\);&quot;-  &quot;;&quot; &quot;@&quot; &quot;">
                  <c:v>76.67</c:v>
                </c:pt>
                <c:pt idx="1021" formatCode="#,##0_);\(#,##0\);&quot;-  &quot;;&quot; &quot;@&quot; &quot;">
                  <c:v>77.12</c:v>
                </c:pt>
                <c:pt idx="1022" formatCode="#,##0_);\(#,##0\);&quot;-  &quot;;&quot; &quot;@&quot; &quot;">
                  <c:v>77.069999999999993</c:v>
                </c:pt>
                <c:pt idx="1023" formatCode="#,##0_);\(#,##0\);&quot;-  &quot;;&quot; &quot;@&quot; &quot;">
                  <c:v>77.2</c:v>
                </c:pt>
                <c:pt idx="1024" formatCode="#,##0_);\(#,##0\);&quot;-  &quot;;&quot; &quot;@&quot; &quot;">
                  <c:v>77.290000000000006</c:v>
                </c:pt>
                <c:pt idx="1025" formatCode="#,##0_);\(#,##0\);&quot;-  &quot;;&quot; &quot;@&quot; &quot;">
                  <c:v>77.17</c:v>
                </c:pt>
                <c:pt idx="1026" formatCode="#,##0_);\(#,##0\);&quot;-  &quot;;&quot; &quot;@&quot; &quot;">
                  <c:v>76.03</c:v>
                </c:pt>
                <c:pt idx="1027" formatCode="#,##0_);\(#,##0\);&quot;-  &quot;;&quot; &quot;@&quot; &quot;">
                  <c:v>75.14</c:v>
                </c:pt>
                <c:pt idx="1028" formatCode="#,##0_);\(#,##0\);&quot;-  &quot;;&quot; &quot;@&quot; &quot;">
                  <c:v>76.48</c:v>
                </c:pt>
                <c:pt idx="1029" formatCode="#,##0_);\(#,##0\);&quot;-  &quot;;&quot; &quot;@&quot; &quot;">
                  <c:v>75.510000000000005</c:v>
                </c:pt>
                <c:pt idx="1030" formatCode="#,##0_);\(#,##0\);&quot;-  &quot;;&quot; &quot;@&quot; &quot;">
                  <c:v>75.98</c:v>
                </c:pt>
                <c:pt idx="1031" formatCode="#,##0_);\(#,##0\);&quot;-  &quot;;&quot; &quot;@&quot; &quot;">
                  <c:v>74.790000000000006</c:v>
                </c:pt>
                <c:pt idx="1032" formatCode="#,##0_);\(#,##0\);&quot;-  &quot;;&quot; &quot;@&quot; &quot;">
                  <c:v>75.05</c:v>
                </c:pt>
                <c:pt idx="1033" formatCode="#,##0_);\(#,##0\);&quot;-  &quot;;&quot; &quot;@&quot; &quot;">
                  <c:v>76.83</c:v>
                </c:pt>
                <c:pt idx="1034" formatCode="#,##0_);\(#,##0\);&quot;-  &quot;;&quot; &quot;@&quot; &quot;">
                  <c:v>77.72</c:v>
                </c:pt>
                <c:pt idx="1035" formatCode="#,##0_);\(#,##0\);&quot;-  &quot;;&quot; &quot;@&quot; &quot;">
                  <c:v>77.69</c:v>
                </c:pt>
                <c:pt idx="1036" formatCode="#,##0_);\(#,##0\);&quot;-  &quot;;&quot; &quot;@&quot; &quot;">
                  <c:v>76.42</c:v>
                </c:pt>
                <c:pt idx="1037" formatCode="#,##0_);\(#,##0\);&quot;-  &quot;;&quot; &quot;@&quot; &quot;">
                  <c:v>75.78</c:v>
                </c:pt>
                <c:pt idx="1038" formatCode="#,##0_);\(#,##0\);&quot;-  &quot;;&quot; &quot;@&quot; &quot;">
                  <c:v>76.150000000000006</c:v>
                </c:pt>
                <c:pt idx="1039" formatCode="#,##0_);\(#,##0\);&quot;-  &quot;;&quot; &quot;@&quot; &quot;">
                  <c:v>76.599999999999994</c:v>
                </c:pt>
                <c:pt idx="1040" formatCode="#,##0_);\(#,##0\);&quot;-  &quot;;&quot; &quot;@&quot; &quot;">
                  <c:v>76.92</c:v>
                </c:pt>
                <c:pt idx="1041" formatCode="#,##0_);\(#,##0\);&quot;-  &quot;;&quot; &quot;@&quot; &quot;">
                  <c:v>77.400000000000006</c:v>
                </c:pt>
                <c:pt idx="1042" formatCode="#,##0_);\(#,##0\);&quot;-  &quot;;&quot; &quot;@&quot; &quot;">
                  <c:v>77.87</c:v>
                </c:pt>
                <c:pt idx="1043" formatCode="#,##0_);\(#,##0\);&quot;-  &quot;;&quot; &quot;@&quot; &quot;">
                  <c:v>78.040000000000006</c:v>
                </c:pt>
                <c:pt idx="1044" formatCode="#,##0_);\(#,##0\);&quot;-  &quot;;&quot; &quot;@&quot; &quot;">
                  <c:v>79.19</c:v>
                </c:pt>
                <c:pt idx="1045" formatCode="#,##0_);\(#,##0\);&quot;-  &quot;;&quot; &quot;@&quot; &quot;">
                  <c:v>80.38</c:v>
                </c:pt>
                <c:pt idx="1046" formatCode="#,##0_);\(#,##0\);&quot;-  &quot;;&quot; &quot;@&quot; &quot;">
                  <c:v>80.62</c:v>
                </c:pt>
                <c:pt idx="1047" formatCode="#,##0_);\(#,##0\);&quot;-  &quot;;&quot; &quot;@&quot; &quot;">
                  <c:v>81.290000000000006</c:v>
                </c:pt>
                <c:pt idx="1048" formatCode="#,##0_);\(#,##0\);&quot;-  &quot;;&quot; &quot;@&quot; &quot;">
                  <c:v>80.959999999999994</c:v>
                </c:pt>
                <c:pt idx="1049" formatCode="#,##0_);\(#,##0\);&quot;-  &quot;;&quot; &quot;@&quot; &quot;">
                  <c:v>82.01</c:v>
                </c:pt>
                <c:pt idx="1050" formatCode="#,##0_);\(#,##0\);&quot;-  &quot;;&quot; &quot;@&quot; &quot;">
                  <c:v>82.38</c:v>
                </c:pt>
                <c:pt idx="1051" formatCode="#,##0_);\(#,##0\);&quot;-  &quot;;&quot; &quot;@&quot; &quot;">
                  <c:v>81.93</c:v>
                </c:pt>
                <c:pt idx="1052" formatCode="#,##0_);\(#,##0\);&quot;-  &quot;;&quot; &quot;@&quot; &quot;">
                  <c:v>81.38</c:v>
                </c:pt>
                <c:pt idx="1053" formatCode="#,##0_);\(#,##0\);&quot;-  &quot;;&quot; &quot;@&quot; &quot;">
                  <c:v>81.95</c:v>
                </c:pt>
                <c:pt idx="1054" formatCode="#,##0_);\(#,##0\);&quot;-  &quot;;&quot; &quot;@&quot; &quot;">
                  <c:v>82.76</c:v>
                </c:pt>
                <c:pt idx="1055" formatCode="#,##0_);\(#,##0\);&quot;-  &quot;;&quot; &quot;@&quot; &quot;">
                  <c:v>82.83</c:v>
                </c:pt>
                <c:pt idx="1056" formatCode="#,##0_);\(#,##0\);&quot;-  &quot;;&quot; &quot;@&quot; &quot;">
                  <c:v>82.83</c:v>
                </c:pt>
                <c:pt idx="1057" formatCode="#,##0_);\(#,##0\);&quot;-  &quot;;&quot; &quot;@&quot; &quot;">
                  <c:v>83.25</c:v>
                </c:pt>
                <c:pt idx="1058" formatCode="#,##0_);\(#,##0\);&quot;-  &quot;;&quot; &quot;@&quot; &quot;">
                  <c:v>82.65</c:v>
                </c:pt>
                <c:pt idx="1059" formatCode="#,##0_);\(#,##0\);&quot;-  &quot;;&quot; &quot;@&quot; &quot;">
                  <c:v>82.8</c:v>
                </c:pt>
                <c:pt idx="1060" formatCode="#,##0_);\(#,##0\);&quot;-  &quot;;&quot; &quot;@&quot; &quot;">
                  <c:v>82.64</c:v>
                </c:pt>
                <c:pt idx="1061" formatCode="#,##0_);\(#,##0\);&quot;-  &quot;;&quot; &quot;@&quot; &quot;">
                  <c:v>82.35</c:v>
                </c:pt>
                <c:pt idx="1062" formatCode="#,##0_);\(#,##0\);&quot;-  &quot;;&quot; &quot;@&quot; &quot;">
                  <c:v>82.56</c:v>
                </c:pt>
                <c:pt idx="1063" formatCode="#,##0_);\(#,##0\);&quot;-  &quot;;&quot; &quot;@&quot; &quot;">
                  <c:v>83.42</c:v>
                </c:pt>
                <c:pt idx="1064" formatCode="#,##0_);\(#,##0\);&quot;-  &quot;;&quot; &quot;@&quot; &quot;">
                  <c:v>84.18</c:v>
                </c:pt>
                <c:pt idx="1065" formatCode="#,##0_);\(#,##0\);&quot;-  &quot;;&quot; &quot;@&quot; &quot;">
                  <c:v>85.09</c:v>
                </c:pt>
                <c:pt idx="1066" formatCode="#,##0_);\(#,##0\);&quot;-  &quot;;&quot; &quot;@&quot; &quot;">
                  <c:v>85.48</c:v>
                </c:pt>
                <c:pt idx="1067" formatCode="#,##0_);\(#,##0\);&quot;-  &quot;;&quot; &quot;@&quot; &quot;">
                  <c:v>84.53</c:v>
                </c:pt>
                <c:pt idx="1068" formatCode="#,##0_);\(#,##0\);&quot;-  &quot;;&quot; &quot;@&quot; &quot;">
                  <c:v>83.2</c:v>
                </c:pt>
                <c:pt idx="1069" formatCode="#,##0_);\(#,##0\);&quot;-  &quot;;&quot; &quot;@&quot; &quot;">
                  <c:v>83.22</c:v>
                </c:pt>
                <c:pt idx="1070" formatCode="#,##0_);\(#,##0\);&quot;-  &quot;;&quot; &quot;@&quot; &quot;">
                  <c:v>84.56</c:v>
                </c:pt>
                <c:pt idx="1071" formatCode="#,##0_);\(#,##0\);&quot;-  &quot;;&quot; &quot;@&quot; &quot;">
                  <c:v>84.15</c:v>
                </c:pt>
                <c:pt idx="1072" formatCode="#,##0_);\(#,##0\);&quot;-  &quot;;&quot; &quot;@&quot; &quot;">
                  <c:v>82.9</c:v>
                </c:pt>
                <c:pt idx="1073" formatCode="#,##0_);\(#,##0\);&quot;-  &quot;;&quot; &quot;@&quot; &quot;">
                  <c:v>81.63</c:v>
                </c:pt>
                <c:pt idx="1074" formatCode="#,##0_);\(#,##0\);&quot;-  &quot;;&quot; &quot;@&quot; &quot;">
                  <c:v>80.17</c:v>
                </c:pt>
                <c:pt idx="1075" formatCode="#,##0_);\(#,##0\);&quot;-  &quot;;&quot; &quot;@&quot; &quot;">
                  <c:v>78.61</c:v>
                </c:pt>
                <c:pt idx="1076" formatCode="#,##0_);\(#,##0\);&quot;-  &quot;;&quot; &quot;@&quot; &quot;">
                  <c:v>76.67</c:v>
                </c:pt>
                <c:pt idx="1077" formatCode="#,##0_);\(#,##0\);&quot;-  &quot;;&quot; &quot;@&quot; &quot;">
                  <c:v>76.36</c:v>
                </c:pt>
                <c:pt idx="1078" formatCode="#,##0_);\(#,##0\);&quot;-  &quot;;&quot; &quot;@&quot; &quot;">
                  <c:v>75.91</c:v>
                </c:pt>
                <c:pt idx="1079" formatCode="#,##0_);\(#,##0\);&quot;-  &quot;;&quot; &quot;@&quot; &quot;">
                  <c:v>76.91</c:v>
                </c:pt>
                <c:pt idx="1080" formatCode="#,##0_);\(#,##0\);&quot;-  &quot;;&quot; &quot;@&quot; &quot;">
                  <c:v>78</c:v>
                </c:pt>
                <c:pt idx="1081" formatCode="#,##0_);\(#,##0\);&quot;-  &quot;;&quot; &quot;@&quot; &quot;">
                  <c:v>78.88</c:v>
                </c:pt>
                <c:pt idx="1082" formatCode="#,##0_);\(#,##0\);&quot;-  &quot;;&quot; &quot;@&quot; &quot;">
                  <c:v>79.319999999999993</c:v>
                </c:pt>
                <c:pt idx="1083" formatCode="#,##0_);\(#,##0\);&quot;-  &quot;;&quot; &quot;@&quot; &quot;">
                  <c:v>79.52</c:v>
                </c:pt>
                <c:pt idx="1084" formatCode="#,##0_);\(#,##0\);&quot;-  &quot;;&quot; &quot;@&quot; &quot;">
                  <c:v>79.83</c:v>
                </c:pt>
                <c:pt idx="1085" formatCode="#,##0_);\(#,##0\);&quot;-  &quot;;&quot; &quot;@&quot; &quot;">
                  <c:v>81.06</c:v>
                </c:pt>
                <c:pt idx="1086" formatCode="#,##0_);\(#,##0\);&quot;-  &quot;;&quot; &quot;@&quot; &quot;">
                  <c:v>82.59</c:v>
                </c:pt>
                <c:pt idx="1087" formatCode="#,##0_);\(#,##0\);&quot;-  &quot;;&quot; &quot;@&quot; &quot;">
                  <c:v>83.67</c:v>
                </c:pt>
                <c:pt idx="1088" formatCode="#,##0_);\(#,##0\);&quot;-  &quot;;&quot; &quot;@&quot; &quot;">
                  <c:v>82.51</c:v>
                </c:pt>
                <c:pt idx="1089" formatCode="#,##0_);\(#,##0\);&quot;-  &quot;;&quot; &quot;@&quot; &quot;">
                  <c:v>80.290000000000006</c:v>
                </c:pt>
                <c:pt idx="1090" formatCode="#,##0_);\(#,##0\);&quot;-  &quot;;&quot; &quot;@&quot; &quot;">
                  <c:v>79.16</c:v>
                </c:pt>
                <c:pt idx="1091" formatCode="#,##0_);\(#,##0\);&quot;-  &quot;;&quot; &quot;@&quot; &quot;">
                  <c:v>79.09</c:v>
                </c:pt>
                <c:pt idx="1092" formatCode="#,##0_);\(#,##0\);&quot;-  &quot;;&quot; &quot;@&quot; &quot;">
                  <c:v>79.75</c:v>
                </c:pt>
                <c:pt idx="1093" formatCode="#,##0_);\(#,##0\);&quot;-  &quot;;&quot; &quot;@&quot; &quot;">
                  <c:v>79.37</c:v>
                </c:pt>
                <c:pt idx="1094" formatCode="#,##0_);\(#,##0\);&quot;-  &quot;;&quot; &quot;@&quot; &quot;">
                  <c:v>78.430000000000007</c:v>
                </c:pt>
                <c:pt idx="1095" formatCode="#,##0_);\(#,##0\);&quot;-  &quot;;&quot; &quot;@&quot; &quot;">
                  <c:v>77.58</c:v>
                </c:pt>
                <c:pt idx="1096" formatCode="#,##0_);\(#,##0\);&quot;-  &quot;;&quot; &quot;@&quot; &quot;">
                  <c:v>78.260000000000005</c:v>
                </c:pt>
                <c:pt idx="1097" formatCode="#,##0_);\(#,##0\);&quot;-  &quot;;&quot; &quot;@&quot; &quot;">
                  <c:v>77.53</c:v>
                </c:pt>
                <c:pt idx="1098" formatCode="#,##0_);\(#,##0\);&quot;-  &quot;;&quot; &quot;@&quot; &quot;">
                  <c:v>77.459999999999994</c:v>
                </c:pt>
                <c:pt idx="1099" formatCode="#,##0_);\(#,##0\);&quot;-  &quot;;&quot; &quot;@&quot; &quot;">
                  <c:v>77.680000000000007</c:v>
                </c:pt>
                <c:pt idx="1100" formatCode="#,##0_);\(#,##0\);&quot;-  &quot;;&quot; &quot;@&quot; &quot;">
                  <c:v>77.64</c:v>
                </c:pt>
                <c:pt idx="1101" formatCode="#,##0_);\(#,##0\);&quot;-  &quot;;&quot; &quot;@&quot; &quot;">
                  <c:v>78.2</c:v>
                </c:pt>
                <c:pt idx="1102" formatCode="#,##0_);\(#,##0\);&quot;-  &quot;;&quot; &quot;@&quot; &quot;">
                  <c:v>78.569999999999993</c:v>
                </c:pt>
                <c:pt idx="1103" formatCode="#,##0_);\(#,##0\);&quot;-  &quot;;&quot; &quot;@&quot; &quot;">
                  <c:v>80.11</c:v>
                </c:pt>
                <c:pt idx="1104" formatCode="#,##0_);\(#,##0\);&quot;-  &quot;;&quot; &quot;@&quot; &quot;">
                  <c:v>82.13</c:v>
                </c:pt>
                <c:pt idx="1105" formatCode="#,##0_);\(#,##0\);&quot;-  &quot;;&quot; &quot;@&quot; &quot;">
                  <c:v>82.22</c:v>
                </c:pt>
                <c:pt idx="1106" formatCode="#,##0_);\(#,##0\);&quot;-  &quot;;&quot; &quot;@&quot; &quot;">
                  <c:v>83.05</c:v>
                </c:pt>
                <c:pt idx="1107" formatCode="#,##0_);\(#,##0\);&quot;-  &quot;;&quot; &quot;@&quot; &quot;">
                  <c:v>83.45</c:v>
                </c:pt>
                <c:pt idx="1108" formatCode="#,##0_);\(#,##0\);&quot;-  &quot;;&quot; &quot;@&quot; &quot;">
                  <c:v>84.05</c:v>
                </c:pt>
                <c:pt idx="1109" formatCode="#,##0_);\(#,##0\);&quot;-  &quot;;&quot; &quot;@&quot; &quot;">
                  <c:v>83.71</c:v>
                </c:pt>
                <c:pt idx="1110" formatCode="#,##0_);\(#,##0\);&quot;-  &quot;;&quot; &quot;@&quot; &quot;">
                  <c:v>83.43</c:v>
                </c:pt>
                <c:pt idx="1111" formatCode="#,##0_);\(#,##0\);&quot;-  &quot;;&quot; &quot;@&quot; &quot;">
                  <c:v>83.05</c:v>
                </c:pt>
                <c:pt idx="1112" formatCode="#,##0_);\(#,##0\);&quot;-  &quot;;&quot; &quot;@&quot; &quot;">
                  <c:v>83.26</c:v>
                </c:pt>
                <c:pt idx="1113" formatCode="#,##0_);\(#,##0\);&quot;-  &quot;;&quot; &quot;@&quot; &quot;">
                  <c:v>82.8</c:v>
                </c:pt>
                <c:pt idx="1114" formatCode="#,##0_);\(#,##0\);&quot;-  &quot;;&quot; &quot;@&quot; &quot;">
                  <c:v>82.82</c:v>
                </c:pt>
                <c:pt idx="1115" formatCode="#,##0_);\(#,##0\);&quot;-  &quot;;&quot; &quot;@&quot; &quot;">
                  <c:v>82.26</c:v>
                </c:pt>
                <c:pt idx="1116" formatCode="#,##0_);\(#,##0\);&quot;-  &quot;;&quot; &quot;@&quot; &quot;">
                  <c:v>83.52</c:v>
                </c:pt>
                <c:pt idx="1117" formatCode="#,##0_);\(#,##0\);&quot;-  &quot;;&quot; &quot;@&quot; &quot;">
                  <c:v>85.86</c:v>
                </c:pt>
                <c:pt idx="1118" formatCode="#,##0_);\(#,##0\);&quot;-  &quot;;&quot; &quot;@&quot; &quot;">
                  <c:v>87.43</c:v>
                </c:pt>
                <c:pt idx="1119" formatCode="#,##0_);\(#,##0\);&quot;-  &quot;;&quot; &quot;@&quot; &quot;">
                  <c:v>87.01</c:v>
                </c:pt>
                <c:pt idx="1120" formatCode="#,##0_);\(#,##0\);&quot;-  &quot;;&quot; &quot;@&quot; &quot;">
                  <c:v>87.6</c:v>
                </c:pt>
                <c:pt idx="1121" formatCode="#,##0_);\(#,##0\);&quot;-  &quot;;&quot; &quot;@&quot; &quot;">
                  <c:v>86.67</c:v>
                </c:pt>
                <c:pt idx="1122" formatCode="#,##0_);\(#,##0\);&quot;-  &quot;;&quot; &quot;@&quot; &quot;">
                  <c:v>86.18</c:v>
                </c:pt>
                <c:pt idx="1123" formatCode="#,##0_);\(#,##0\);&quot;-  &quot;;&quot; &quot;@&quot; &quot;">
                  <c:v>87.19</c:v>
                </c:pt>
                <c:pt idx="1124" formatCode="#,##0_);\(#,##0\);&quot;-  &quot;;&quot; &quot;@&quot; &quot;">
                  <c:v>88.54</c:v>
                </c:pt>
                <c:pt idx="1125" formatCode="#,##0_);\(#,##0\);&quot;-  &quot;;&quot; &quot;@&quot; &quot;">
                  <c:v>88.34</c:v>
                </c:pt>
                <c:pt idx="1126" formatCode="#,##0_);\(#,##0\);&quot;-  &quot;;&quot; &quot;@&quot; &quot;">
                  <c:v>88.93</c:v>
                </c:pt>
                <c:pt idx="1127" formatCode="#,##0_);\(#,##0\);&quot;-  &quot;;&quot; &quot;@&quot; &quot;">
                  <c:v>89.11</c:v>
                </c:pt>
                <c:pt idx="1128" formatCode="#,##0_);\(#,##0\);&quot;-  &quot;;&quot; &quot;@&quot; &quot;">
                  <c:v>88.79</c:v>
                </c:pt>
                <c:pt idx="1129" formatCode="#,##0_);\(#,##0\);&quot;-  &quot;;&quot; &quot;@&quot; &quot;">
                  <c:v>89.65</c:v>
                </c:pt>
                <c:pt idx="1130" formatCode="#,##0_);\(#,##0\);&quot;-  &quot;;&quot; &quot;@&quot; &quot;">
                  <c:v>89.34</c:v>
                </c:pt>
                <c:pt idx="1131" formatCode="#,##0_);\(#,##0\);&quot;-  &quot;;&quot; &quot;@&quot; &quot;">
                  <c:v>89.42</c:v>
                </c:pt>
                <c:pt idx="1132" formatCode="#,##0_);\(#,##0\);&quot;-  &quot;;&quot; &quot;@&quot; &quot;">
                  <c:v>88.14</c:v>
                </c:pt>
                <c:pt idx="1133" formatCode="#,##0_);\(#,##0\);&quot;-  &quot;;&quot; &quot;@&quot; &quot;">
                  <c:v>88.31</c:v>
                </c:pt>
                <c:pt idx="1134" formatCode="#,##0_);\(#,##0\);&quot;-  &quot;;&quot; &quot;@&quot; &quot;">
                  <c:v>88.03</c:v>
                </c:pt>
                <c:pt idx="1135" formatCode="#,##0_);\(#,##0\);&quot;-  &quot;;&quot; &quot;@&quot; &quot;">
                  <c:v>88.85</c:v>
                </c:pt>
                <c:pt idx="1136" formatCode="#,##0_);\(#,##0\);&quot;-  &quot;;&quot; &quot;@&quot; &quot;">
                  <c:v>90.07</c:v>
                </c:pt>
                <c:pt idx="1137" formatCode="#,##0_);\(#,##0\);&quot;-  &quot;;&quot; &quot;@&quot; &quot;">
                  <c:v>89.46</c:v>
                </c:pt>
                <c:pt idx="1138" formatCode="#,##0_);\(#,##0\);&quot;-  &quot;;&quot; &quot;@&quot; &quot;">
                  <c:v>91.92</c:v>
                </c:pt>
                <c:pt idx="1139" formatCode="#,##0_);\(#,##0\);&quot;-  &quot;;&quot; &quot;@&quot; &quot;">
                  <c:v>91.92</c:v>
                </c:pt>
                <c:pt idx="1140" formatCode="#,##0_);\(#,##0\);&quot;-  &quot;;&quot; &quot;@&quot; &quot;">
                  <c:v>92.12</c:v>
                </c:pt>
                <c:pt idx="1141" formatCode="#,##0_);\(#,##0\);&quot;-  &quot;;&quot; &quot;@&quot; &quot;">
                  <c:v>92.47</c:v>
                </c:pt>
                <c:pt idx="1142" formatCode="#,##0_);\(#,##0\);&quot;-  &quot;;&quot; &quot;@&quot; &quot;">
                  <c:v>93.01</c:v>
                </c:pt>
                <c:pt idx="1143" formatCode="#,##0_);\(#,##0\);&quot;-  &quot;;&quot; &quot;@&quot; &quot;">
                  <c:v>92.92</c:v>
                </c:pt>
                <c:pt idx="1144" formatCode="#,##0_);\(#,##0\);&quot;-  &quot;;&quot; &quot;@&quot; &quot;">
                  <c:v>94.41</c:v>
                </c:pt>
                <c:pt idx="1145" formatCode="#,##0_);\(#,##0\);&quot;-  &quot;;&quot; &quot;@&quot; &quot;">
                  <c:v>93.98</c:v>
                </c:pt>
                <c:pt idx="1146" formatCode="#,##0_);\(#,##0\);&quot;-  &quot;;&quot; &quot;@&quot; &quot;">
                  <c:v>93.93</c:v>
                </c:pt>
                <c:pt idx="1147" formatCode="#,##0_);\(#,##0\);&quot;-  &quot;;&quot; &quot;@&quot; &quot;">
                  <c:v>94.37</c:v>
                </c:pt>
                <c:pt idx="1148" formatCode="#,##0_);\(#,##0\);&quot;-  &quot;;&quot; &quot;@&quot; &quot;">
                  <c:v>93.96</c:v>
                </c:pt>
                <c:pt idx="1149" formatCode="#,##0_);\(#,##0\);&quot;-  &quot;;&quot; &quot;@&quot; &quot;">
                  <c:v>93.79</c:v>
                </c:pt>
                <c:pt idx="1150" formatCode="#,##0_);\(#,##0\);&quot;-  &quot;;&quot; &quot;@&quot; &quot;">
                  <c:v>91.52</c:v>
                </c:pt>
                <c:pt idx="1151" formatCode="#,##0_);\(#,##0\);&quot;-  &quot;;&quot; &quot;@&quot; &quot;">
                  <c:v>90.15</c:v>
                </c:pt>
                <c:pt idx="1152" formatCode="#,##0_);\(#,##0\);&quot;-  &quot;;&quot; &quot;@&quot; &quot;">
                  <c:v>91.57</c:v>
                </c:pt>
                <c:pt idx="1153" formatCode="#,##0_);\(#,##0\);&quot;-  &quot;;&quot; &quot;@&quot; &quot;">
                  <c:v>91.58</c:v>
                </c:pt>
                <c:pt idx="1154" formatCode="#,##0_);\(#,##0\);&quot;-  &quot;;&quot; &quot;@&quot; &quot;">
                  <c:v>90.4</c:v>
                </c:pt>
                <c:pt idx="1155" formatCode="#,##0_);\(#,##0\);&quot;-  &quot;;&quot; &quot;@&quot; &quot;">
                  <c:v>89.44</c:v>
                </c:pt>
                <c:pt idx="1156" formatCode="#,##0_);\(#,##0\);&quot;-  &quot;;&quot; &quot;@&quot; &quot;">
                  <c:v>88.68</c:v>
                </c:pt>
                <c:pt idx="1157" formatCode="#,##0_);\(#,##0\);&quot;-  &quot;;&quot; &quot;@&quot; &quot;">
                  <c:v>88.08</c:v>
                </c:pt>
                <c:pt idx="1158" formatCode="#,##0_);\(#,##0\);&quot;-  &quot;;&quot; &quot;@&quot; &quot;">
                  <c:v>89.61</c:v>
                </c:pt>
                <c:pt idx="1159" formatCode="#,##0_);\(#,##0\);&quot;-  &quot;;&quot; &quot;@&quot; &quot;">
                  <c:v>89.9</c:v>
                </c:pt>
                <c:pt idx="1160" formatCode="#,##0_);\(#,##0\);&quot;-  &quot;;&quot; &quot;@&quot; &quot;">
                  <c:v>89.58</c:v>
                </c:pt>
                <c:pt idx="1161" formatCode="#,##0_);\(#,##0\);&quot;-  &quot;;&quot; &quot;@&quot; &quot;">
                  <c:v>89.57</c:v>
                </c:pt>
                <c:pt idx="1162" formatCode="#,##0_);\(#,##0\);&quot;-  &quot;;&quot; &quot;@&quot; &quot;">
                  <c:v>89.53</c:v>
                </c:pt>
                <c:pt idx="1163" formatCode="#,##0_);\(#,##0\);&quot;-  &quot;;&quot; &quot;@&quot; &quot;">
                  <c:v>88.87</c:v>
                </c:pt>
                <c:pt idx="1164" formatCode="#,##0_);\(#,##0\);&quot;-  &quot;;&quot; &quot;@&quot; &quot;">
                  <c:v>86.93</c:v>
                </c:pt>
                <c:pt idx="1165" formatCode="#,##0_);\(#,##0\);&quot;-  &quot;;&quot; &quot;@&quot; &quot;">
                  <c:v>87.07</c:v>
                </c:pt>
                <c:pt idx="1166" formatCode="#,##0_);\(#,##0\);&quot;-  &quot;;&quot; &quot;@&quot; &quot;">
                  <c:v>87.29</c:v>
                </c:pt>
                <c:pt idx="1167" formatCode="#,##0_);\(#,##0\);&quot;-  &quot;;&quot; &quot;@&quot; &quot;">
                  <c:v>87.32</c:v>
                </c:pt>
                <c:pt idx="1168" formatCode="#,##0_);\(#,##0\);&quot;-  &quot;;&quot; &quot;@&quot; &quot;">
                  <c:v>85.62</c:v>
                </c:pt>
                <c:pt idx="1169" formatCode="#,##0_);\(#,##0\);&quot;-  &quot;;&quot; &quot;@&quot; &quot;">
                  <c:v>87.18</c:v>
                </c:pt>
                <c:pt idx="1170" formatCode="#,##0_);\(#,##0\);&quot;-  &quot;;&quot; &quot;@&quot; &quot;">
                  <c:v>86.83</c:v>
                </c:pt>
                <c:pt idx="1171" formatCode="#,##0_);\(#,##0\);&quot;-  &quot;;&quot; &quot;@&quot; &quot;">
                  <c:v>87.36</c:v>
                </c:pt>
                <c:pt idx="1172" formatCode="#,##0_);\(#,##0\);&quot;-  &quot;;&quot; &quot;@&quot; &quot;">
                  <c:v>89.41</c:v>
                </c:pt>
                <c:pt idx="1173" formatCode="#,##0_);\(#,##0\);&quot;-  &quot;;&quot; &quot;@&quot; &quot;">
                  <c:v>89.73</c:v>
                </c:pt>
                <c:pt idx="1174" formatCode="#,##0_);\(#,##0\);&quot;-  &quot;;&quot; &quot;@&quot; &quot;">
                  <c:v>90.88</c:v>
                </c:pt>
                <c:pt idx="1175" formatCode="#,##0_);\(#,##0\);&quot;-  &quot;;&quot; &quot;@&quot; &quot;">
                  <c:v>89.43</c:v>
                </c:pt>
                <c:pt idx="1176" formatCode="#,##0_);\(#,##0\);&quot;-  &quot;;&quot; &quot;@&quot; &quot;">
                  <c:v>89.18</c:v>
                </c:pt>
                <c:pt idx="1177" formatCode="#,##0_);\(#,##0\);&quot;-  &quot;;&quot; &quot;@&quot; &quot;">
                  <c:v>89.71</c:v>
                </c:pt>
                <c:pt idx="1178" formatCode="#,##0_);\(#,##0\);&quot;-  &quot;;&quot; &quot;@&quot; &quot;">
                  <c:v>90.4</c:v>
                </c:pt>
                <c:pt idx="1179" formatCode="#,##0_);\(#,##0\);&quot;-  &quot;;&quot; &quot;@&quot; &quot;">
                  <c:v>90.21</c:v>
                </c:pt>
                <c:pt idx="1180" formatCode="#,##0_);\(#,##0\);&quot;-  &quot;;&quot; &quot;@&quot; &quot;">
                  <c:v>91.1</c:v>
                </c:pt>
                <c:pt idx="1181" formatCode="#,##0_);\(#,##0\);&quot;-  &quot;;&quot; &quot;@&quot; &quot;">
                  <c:v>92.23</c:v>
                </c:pt>
                <c:pt idx="1182" formatCode="#,##0_);\(#,##0\);&quot;-  &quot;;&quot; &quot;@&quot; &quot;">
                  <c:v>89.03</c:v>
                </c:pt>
                <c:pt idx="1183" formatCode="#,##0_);\(#,##0\);&quot;-  &quot;;&quot; &quot;@&quot; &quot;">
                  <c:v>87.65</c:v>
                </c:pt>
                <c:pt idx="1184" formatCode="#,##0_);\(#,##0\);&quot;-  &quot;;&quot; &quot;@&quot; &quot;">
                  <c:v>88.12</c:v>
                </c:pt>
                <c:pt idx="1185" formatCode="#,##0_);\(#,##0\);&quot;-  &quot;;&quot; &quot;@&quot; &quot;">
                  <c:v>86.15</c:v>
                </c:pt>
                <c:pt idx="1186" formatCode="#,##0_);\(#,##0\);&quot;-  &quot;;&quot; &quot;@&quot; &quot;">
                  <c:v>85.73</c:v>
                </c:pt>
                <c:pt idx="1187" formatCode="#,##0_);\(#,##0\);&quot;-  &quot;;&quot; &quot;@&quot; &quot;">
                  <c:v>85.98</c:v>
                </c:pt>
                <c:pt idx="1188" formatCode="#,##0_);\(#,##0\);&quot;-  &quot;;&quot; &quot;@&quot; &quot;">
                  <c:v>86.65</c:v>
                </c:pt>
                <c:pt idx="1189" formatCode="#,##0_);\(#,##0\);&quot;-  &quot;;&quot; &quot;@&quot; &quot;">
                  <c:v>87.27</c:v>
                </c:pt>
                <c:pt idx="1190" formatCode="#,##0_);\(#,##0\);&quot;-  &quot;;&quot; &quot;@&quot; &quot;">
                  <c:v>87.87</c:v>
                </c:pt>
                <c:pt idx="1191" formatCode="#,##0_);\(#,##0\);&quot;-  &quot;;&quot; &quot;@&quot; &quot;">
                  <c:v>88.43</c:v>
                </c:pt>
                <c:pt idx="1192" formatCode="#,##0_);\(#,##0\);&quot;-  &quot;;&quot; &quot;@&quot; &quot;">
                  <c:v>89.17</c:v>
                </c:pt>
                <c:pt idx="1193" formatCode="#,##0_);\(#,##0\);&quot;-  &quot;;&quot; &quot;@&quot; &quot;">
                  <c:v>90.21</c:v>
                </c:pt>
                <c:pt idx="1194" formatCode="#,##0_);\(#,##0\);&quot;-  &quot;;&quot; &quot;@&quot; &quot;">
                  <c:v>89.91</c:v>
                </c:pt>
                <c:pt idx="1195" formatCode="#,##0_);\(#,##0\);&quot;-  &quot;;&quot; &quot;@&quot; &quot;">
                  <c:v>90.26</c:v>
                </c:pt>
                <c:pt idx="1196" formatCode="#,##0_);\(#,##0\);&quot;-  &quot;;&quot; &quot;@&quot; &quot;">
                  <c:v>89.15</c:v>
                </c:pt>
                <c:pt idx="1197" formatCode="#,##0_);\(#,##0\);&quot;-  &quot;;&quot; &quot;@&quot; &quot;">
                  <c:v>87.39</c:v>
                </c:pt>
                <c:pt idx="1198" formatCode="#,##0_);\(#,##0\);&quot;-  &quot;;&quot; &quot;@&quot; &quot;">
                  <c:v>87.93</c:v>
                </c:pt>
                <c:pt idx="1199" formatCode="#,##0_);\(#,##0\);&quot;-  &quot;;&quot; &quot;@&quot; &quot;">
                  <c:v>88.06</c:v>
                </c:pt>
                <c:pt idx="1200" formatCode="#,##0_);\(#,##0\);&quot;-  &quot;;&quot; &quot;@&quot; &quot;">
                  <c:v>88.66</c:v>
                </c:pt>
                <c:pt idx="1201" formatCode="#,##0_);\(#,##0\);&quot;-  &quot;;&quot; &quot;@&quot; &quot;">
                  <c:v>89.34</c:v>
                </c:pt>
                <c:pt idx="1202" formatCode="#,##0_);\(#,##0\);&quot;-  &quot;;&quot; &quot;@&quot; &quot;">
                  <c:v>87.87</c:v>
                </c:pt>
                <c:pt idx="1203" formatCode="#,##0_);\(#,##0\);&quot;-  &quot;;&quot; &quot;@&quot; &quot;">
                  <c:v>87.88</c:v>
                </c:pt>
                <c:pt idx="1204" formatCode="#,##0_);\(#,##0\);&quot;-  &quot;;&quot; &quot;@&quot; &quot;">
                  <c:v>87.96</c:v>
                </c:pt>
                <c:pt idx="1205" formatCode="#,##0_);\(#,##0\);&quot;-  &quot;;&quot; &quot;@&quot; &quot;">
                  <c:v>88.16</c:v>
                </c:pt>
                <c:pt idx="1206" formatCode="#,##0_);\(#,##0\);&quot;-  &quot;;&quot; &quot;@&quot; &quot;">
                  <c:v>88.22</c:v>
                </c:pt>
                <c:pt idx="1207" formatCode="#,##0_);\(#,##0\);&quot;-  &quot;;&quot; &quot;@&quot; &quot;">
                  <c:v>86.65</c:v>
                </c:pt>
                <c:pt idx="1208" formatCode="#,##0_);\(#,##0\);&quot;-  &quot;;&quot; &quot;@&quot; &quot;">
                  <c:v>86.63</c:v>
                </c:pt>
                <c:pt idx="1209" formatCode="#,##0_);\(#,##0\);&quot;-  &quot;;&quot; &quot;@&quot; &quot;">
                  <c:v>86.97</c:v>
                </c:pt>
                <c:pt idx="1210" formatCode="#,##0_);\(#,##0\);&quot;-  &quot;;&quot; &quot;@&quot; &quot;">
                  <c:v>87.32</c:v>
                </c:pt>
                <c:pt idx="1211" formatCode="#,##0_);\(#,##0\);&quot;-  &quot;;&quot; &quot;@&quot; &quot;">
                  <c:v>87.56</c:v>
                </c:pt>
                <c:pt idx="1212" formatCode="#,##0_);\(#,##0\);&quot;-  &quot;;&quot; &quot;@&quot; &quot;">
                  <c:v>88.75</c:v>
                </c:pt>
                <c:pt idx="1213" formatCode="#,##0_);\(#,##0\);&quot;-  &quot;;&quot; &quot;@&quot; &quot;">
                  <c:v>89.56</c:v>
                </c:pt>
                <c:pt idx="1214" formatCode="#,##0_);\(#,##0\);&quot;-  &quot;;&quot; &quot;@&quot; &quot;">
                  <c:v>90.94</c:v>
                </c:pt>
                <c:pt idx="1215" formatCode="#,##0_);\(#,##0\);&quot;-  &quot;;&quot; &quot;@&quot; &quot;">
                  <c:v>91.07</c:v>
                </c:pt>
                <c:pt idx="1216" formatCode="#,##0_);\(#,##0\);&quot;-  &quot;;&quot; &quot;@&quot; &quot;">
                  <c:v>91.36</c:v>
                </c:pt>
                <c:pt idx="1217" formatCode="#,##0_);\(#,##0\);&quot;-  &quot;;&quot; &quot;@&quot; &quot;">
                  <c:v>91.8</c:v>
                </c:pt>
                <c:pt idx="1218" formatCode="#,##0_);\(#,##0\);&quot;-  &quot;;&quot; &quot;@&quot; &quot;">
                  <c:v>92.37</c:v>
                </c:pt>
                <c:pt idx="1219" formatCode="#,##0_);\(#,##0\);&quot;-  &quot;;&quot; &quot;@&quot; &quot;">
                  <c:v>92.36</c:v>
                </c:pt>
                <c:pt idx="1220" formatCode="#,##0_);\(#,##0\);&quot;-  &quot;;&quot; &quot;@&quot; &quot;">
                  <c:v>92.86</c:v>
                </c:pt>
                <c:pt idx="1221" formatCode="#,##0_);\(#,##0\);&quot;-  &quot;;&quot; &quot;@&quot; &quot;">
                  <c:v>93.43</c:v>
                </c:pt>
                <c:pt idx="1222" formatCode="#,##0_);\(#,##0\);&quot;-  &quot;;&quot; &quot;@&quot; &quot;">
                  <c:v>92.04</c:v>
                </c:pt>
                <c:pt idx="1223" formatCode="#,##0_);\(#,##0\);&quot;-  &quot;;&quot; &quot;@&quot; &quot;">
                  <c:v>91.08</c:v>
                </c:pt>
                <c:pt idx="1224" formatCode="#,##0_);\(#,##0\);&quot;-  &quot;;&quot; &quot;@&quot; &quot;">
                  <c:v>91.19</c:v>
                </c:pt>
                <c:pt idx="1225" formatCode="#,##0_);\(#,##0\);&quot;-  &quot;;&quot; &quot;@&quot; &quot;">
                  <c:v>91.74</c:v>
                </c:pt>
                <c:pt idx="1226" formatCode="#,##0_);\(#,##0\);&quot;-  &quot;;&quot; &quot;@&quot; &quot;">
                  <c:v>92.52</c:v>
                </c:pt>
                <c:pt idx="1227" formatCode="#,##0_);\(#,##0\);&quot;-  &quot;;&quot; &quot;@&quot; &quot;">
                  <c:v>93.06</c:v>
                </c:pt>
                <c:pt idx="1228" formatCode="#,##0_);\(#,##0\);&quot;-  &quot;;&quot; &quot;@&quot; &quot;">
                  <c:v>91.8</c:v>
                </c:pt>
                <c:pt idx="1229" formatCode="#,##0_);\(#,##0\);&quot;-  &quot;;&quot; &quot;@&quot; &quot;">
                  <c:v>90.83</c:v>
                </c:pt>
                <c:pt idx="1230" formatCode="#,##0_);\(#,##0\);&quot;-  &quot;;&quot; &quot;@&quot; &quot;">
                  <c:v>90.78</c:v>
                </c:pt>
                <c:pt idx="1231" formatCode="#,##0_);\(#,##0\);&quot;-  &quot;;&quot; &quot;@&quot; &quot;">
                  <c:v>91.24</c:v>
                </c:pt>
                <c:pt idx="1232" formatCode="#,##0_);\(#,##0\);&quot;-  &quot;;&quot; &quot;@&quot; &quot;">
                  <c:v>92.03</c:v>
                </c:pt>
                <c:pt idx="1233" formatCode="#,##0_);\(#,##0\);&quot;-  &quot;;&quot; &quot;@&quot; &quot;">
                  <c:v>91.84</c:v>
                </c:pt>
                <c:pt idx="1234" formatCode="#,##0_);\(#,##0\);&quot;-  &quot;;&quot; &quot;@&quot; &quot;">
                  <c:v>91.65</c:v>
                </c:pt>
                <c:pt idx="1235" formatCode="#,##0_);\(#,##0\);&quot;-  &quot;;&quot; &quot;@&quot; &quot;">
                  <c:v>93.56</c:v>
                </c:pt>
                <c:pt idx="1236" formatCode="#,##0_);\(#,##0\);&quot;-  &quot;;&quot; &quot;@&quot; &quot;">
                  <c:v>94.65</c:v>
                </c:pt>
                <c:pt idx="1237" formatCode="#,##0_);\(#,##0\);&quot;-  &quot;;&quot; &quot;@&quot; &quot;">
                  <c:v>94.61</c:v>
                </c:pt>
                <c:pt idx="1238" formatCode="#,##0_);\(#,##0\);&quot;-  &quot;;&quot; &quot;@&quot; &quot;">
                  <c:v>95.35</c:v>
                </c:pt>
                <c:pt idx="1239" formatCode="#,##0_);\(#,##0\);&quot;-  &quot;;&quot; &quot;@&quot; &quot;">
                  <c:v>96.16</c:v>
                </c:pt>
                <c:pt idx="1240" formatCode="#,##0_);\(#,##0\);&quot;-  &quot;;&quot; &quot;@&quot; &quot;">
                  <c:v>97.91</c:v>
                </c:pt>
                <c:pt idx="1241" formatCode="#,##0_);\(#,##0\);&quot;-  &quot;;&quot; &quot;@&quot; &quot;">
                  <c:v>98.71</c:v>
                </c:pt>
                <c:pt idx="1242" formatCode="#,##0_);\(#,##0\);&quot;-  &quot;;&quot; &quot;@&quot; &quot;">
                  <c:v>99.4</c:v>
                </c:pt>
                <c:pt idx="1243" formatCode="#,##0_);\(#,##0\);&quot;-  &quot;;&quot; &quot;@&quot; &quot;">
                  <c:v>99.23</c:v>
                </c:pt>
                <c:pt idx="1244" formatCode="#,##0_);\(#,##0\);&quot;-  &quot;;&quot; &quot;@&quot; &quot;">
                  <c:v>98.77</c:v>
                </c:pt>
                <c:pt idx="1245" formatCode="#,##0_);\(#,##0\);&quot;-  &quot;;&quot; &quot;@&quot; &quot;">
                  <c:v>98.11</c:v>
                </c:pt>
                <c:pt idx="1246" formatCode="#,##0_);\(#,##0\);&quot;-  &quot;;&quot; &quot;@&quot; &quot;">
                  <c:v>99.36</c:v>
                </c:pt>
                <c:pt idx="1247" formatCode="#,##0_);\(#,##0\);&quot;-  &quot;;&quot; &quot;@&quot; &quot;">
                  <c:v>98.65</c:v>
                </c:pt>
                <c:pt idx="1248" formatCode="#,##0_);\(#,##0\);&quot;-  &quot;;&quot; &quot;@&quot; &quot;">
                  <c:v>96.25</c:v>
                </c:pt>
                <c:pt idx="1249" formatCode="#,##0_);\(#,##0\);&quot;-  &quot;;&quot; &quot;@&quot; &quot;">
                  <c:v>95.73</c:v>
                </c:pt>
                <c:pt idx="1250" formatCode="#,##0_);\(#,##0\);&quot;-  &quot;;&quot; &quot;@&quot; &quot;">
                  <c:v>95.64</c:v>
                </c:pt>
                <c:pt idx="1251" formatCode="#,##0_);\(#,##0\);&quot;-  &quot;;&quot; &quot;@&quot; &quot;">
                  <c:v>95.74</c:v>
                </c:pt>
                <c:pt idx="1252" formatCode="#,##0_);\(#,##0\);&quot;-  &quot;;&quot; &quot;@&quot; &quot;">
                  <c:v>95.59</c:v>
                </c:pt>
                <c:pt idx="1253" formatCode="#,##0_);\(#,##0\);&quot;-  &quot;;&quot; &quot;@&quot; &quot;">
                  <c:v>95.18</c:v>
                </c:pt>
                <c:pt idx="1254" formatCode="#,##0_);\(#,##0\);&quot;-  &quot;;&quot; &quot;@&quot; &quot;">
                  <c:v>95.26</c:v>
                </c:pt>
                <c:pt idx="1255" formatCode="#,##0_);\(#,##0\);&quot;-  &quot;;&quot; &quot;@&quot; &quot;">
                  <c:v>95.87</c:v>
                </c:pt>
                <c:pt idx="1256" formatCode="#,##0_);\(#,##0\);&quot;-  &quot;;&quot; &quot;@&quot; &quot;">
                  <c:v>93.84</c:v>
                </c:pt>
                <c:pt idx="1257" formatCode="#,##0_);\(#,##0\);&quot;-  &quot;;&quot; &quot;@&quot; &quot;">
                  <c:v>93.11</c:v>
                </c:pt>
                <c:pt idx="1258" formatCode="#,##0_);\(#,##0\);&quot;-  &quot;;&quot; &quot;@&quot; &quot;">
                  <c:v>93.79</c:v>
                </c:pt>
                <c:pt idx="1259" formatCode="#,##0_);\(#,##0\);&quot;-  &quot;;&quot; &quot;@&quot; &quot;">
                  <c:v>94.69</c:v>
                </c:pt>
                <c:pt idx="1260" formatCode="#,##0_);\(#,##0\);&quot;-  &quot;;&quot; &quot;@&quot; &quot;">
                  <c:v>94.33</c:v>
                </c:pt>
                <c:pt idx="1261" formatCode="#,##0_);\(#,##0\);&quot;-  &quot;;&quot; &quot;@&quot; &quot;">
                  <c:v>93.43</c:v>
                </c:pt>
                <c:pt idx="1262" formatCode="#,##0_);\(#,##0\);&quot;-  &quot;;&quot; &quot;@&quot; &quot;">
                  <c:v>93.47</c:v>
                </c:pt>
                <c:pt idx="1263" formatCode="#,##0_);\(#,##0\);&quot;-  &quot;;&quot; &quot;@&quot; &quot;">
                  <c:v>91.06</c:v>
                </c:pt>
                <c:pt idx="1264" formatCode="#,##0_);\(#,##0\);&quot;-  &quot;;&quot; &quot;@&quot; &quot;">
                  <c:v>89.9</c:v>
                </c:pt>
                <c:pt idx="1265" formatCode="#,##0_);\(#,##0\);&quot;-  &quot;;&quot; &quot;@&quot; &quot;">
                  <c:v>90.03</c:v>
                </c:pt>
                <c:pt idx="1266" formatCode="#,##0_);\(#,##0\);&quot;-  &quot;;&quot; &quot;@&quot; &quot;">
                  <c:v>89.4</c:v>
                </c:pt>
                <c:pt idx="1267" formatCode="#,##0_);\(#,##0\);&quot;-  &quot;;&quot; &quot;@&quot; &quot;">
                  <c:v>90.69</c:v>
                </c:pt>
                <c:pt idx="1268" formatCode="#,##0_);\(#,##0\);&quot;-  &quot;;&quot; &quot;@&quot; &quot;">
                  <c:v>89.54</c:v>
                </c:pt>
                <c:pt idx="1269" formatCode="#,##0_);\(#,##0\);&quot;-  &quot;;&quot; &quot;@&quot; &quot;">
                  <c:v>88.32</c:v>
                </c:pt>
                <c:pt idx="1270" formatCode="#,##0_);\(#,##0\);&quot;-  &quot;;&quot; &quot;@&quot; &quot;">
                  <c:v>88.76</c:v>
                </c:pt>
                <c:pt idx="1271" formatCode="#,##0_);\(#,##0\);&quot;-  &quot;;&quot; &quot;@&quot; &quot;">
                  <c:v>85.55</c:v>
                </c:pt>
                <c:pt idx="1272" formatCode="#,##0_);\(#,##0\);&quot;-  &quot;;&quot; &quot;@&quot; &quot;">
                  <c:v>85.11</c:v>
                </c:pt>
                <c:pt idx="1273" formatCode="#,##0_);\(#,##0\);&quot;-  &quot;;&quot; &quot;@&quot; &quot;">
                  <c:v>85.2</c:v>
                </c:pt>
                <c:pt idx="1274" formatCode="#,##0_);\(#,##0\);&quot;-  &quot;;&quot; &quot;@&quot; &quot;">
                  <c:v>85.2</c:v>
                </c:pt>
                <c:pt idx="1275" formatCode="#,##0_);\(#,##0\);&quot;-  &quot;;&quot; &quot;@&quot; &quot;">
                  <c:v>85.08</c:v>
                </c:pt>
                <c:pt idx="1276" formatCode="#,##0_);\(#,##0\);&quot;-  &quot;;&quot; &quot;@&quot; &quot;">
                  <c:v>82.3</c:v>
                </c:pt>
                <c:pt idx="1277" formatCode="#,##0_);\(#,##0\);&quot;-  &quot;;&quot; &quot;@&quot; &quot;">
                  <c:v>80.95</c:v>
                </c:pt>
                <c:pt idx="1278" formatCode="#,##0_);\(#,##0\);&quot;-  &quot;;&quot; &quot;@&quot; &quot;">
                  <c:v>80.42</c:v>
                </c:pt>
                <c:pt idx="1279" formatCode="#,##0_);\(#,##0\);&quot;-  &quot;;&quot; &quot;@&quot; &quot;">
                  <c:v>79.23</c:v>
                </c:pt>
                <c:pt idx="1280" formatCode="#,##0_);\(#,##0\);&quot;-  &quot;;&quot; &quot;@&quot; &quot;">
                  <c:v>77.86</c:v>
                </c:pt>
                <c:pt idx="1281" formatCode="#,##0_);\(#,##0\);&quot;-  &quot;;&quot; &quot;@&quot; &quot;">
                  <c:v>77.349999999999994</c:v>
                </c:pt>
                <c:pt idx="1282" formatCode="#,##0_);\(#,##0\);&quot;-  &quot;;&quot; &quot;@&quot; &quot;">
                  <c:v>76.22</c:v>
                </c:pt>
                <c:pt idx="1283" formatCode="#,##0_);\(#,##0\);&quot;-  &quot;;&quot; &quot;@&quot; &quot;">
                  <c:v>75.48</c:v>
                </c:pt>
                <c:pt idx="1284" formatCode="#,##0_);\(#,##0\);&quot;-  &quot;;&quot; &quot;@&quot; &quot;">
                  <c:v>74.94</c:v>
                </c:pt>
                <c:pt idx="1285" formatCode="#,##0_);\(#,##0\);&quot;-  &quot;;&quot; &quot;@&quot; &quot;">
                  <c:v>77.239999999999995</c:v>
                </c:pt>
                <c:pt idx="1286" formatCode="#,##0_);\(#,##0\);&quot;-  &quot;;&quot; &quot;@&quot; &quot;">
                  <c:v>77.58</c:v>
                </c:pt>
                <c:pt idx="1287" formatCode="#,##0_);\(#,##0\);&quot;-  &quot;;&quot; &quot;@&quot; &quot;">
                  <c:v>76.819999999999993</c:v>
                </c:pt>
                <c:pt idx="1288" formatCode="#,##0_);\(#,##0\);&quot;-  &quot;;&quot; &quot;@&quot; &quot;">
                  <c:v>75.08</c:v>
                </c:pt>
                <c:pt idx="1289" formatCode="#,##0_);\(#,##0\);&quot;-  &quot;;&quot; &quot;@&quot; &quot;">
                  <c:v>76.680000000000007</c:v>
                </c:pt>
                <c:pt idx="1290" formatCode="#,##0_);\(#,##0\);&quot;-  &quot;;&quot; &quot;@&quot; &quot;">
                  <c:v>75.540000000000006</c:v>
                </c:pt>
                <c:pt idx="1291" formatCode="#,##0_);\(#,##0\);&quot;-  &quot;;&quot; &quot;@&quot; &quot;">
                  <c:v>75.17</c:v>
                </c:pt>
                <c:pt idx="1292" formatCode="#,##0_);\(#,##0\);&quot;-  &quot;;&quot; &quot;@&quot; &quot;">
                  <c:v>75.61</c:v>
                </c:pt>
                <c:pt idx="1293" formatCode="#,##0_);\(#,##0\);&quot;-  &quot;;&quot; &quot;@&quot; &quot;">
                  <c:v>75.78</c:v>
                </c:pt>
                <c:pt idx="1294" formatCode="#,##0_);\(#,##0\);&quot;-  &quot;;&quot; &quot;@&quot; &quot;">
                  <c:v>75.290000000000006</c:v>
                </c:pt>
                <c:pt idx="1295" formatCode="#,##0_);\(#,##0\);&quot;-  &quot;;&quot; &quot;@&quot; &quot;">
                  <c:v>74.62</c:v>
                </c:pt>
                <c:pt idx="1296" formatCode="#,##0_);\(#,##0\);&quot;-  &quot;;&quot; &quot;@&quot; &quot;">
                  <c:v>72.03</c:v>
                </c:pt>
                <c:pt idx="1297" formatCode="#,##0_);\(#,##0\);&quot;-  &quot;;&quot; &quot;@&quot; &quot;">
                  <c:v>72.510000000000005</c:v>
                </c:pt>
                <c:pt idx="1298" formatCode="#,##0_);\(#,##0\);&quot;-  &quot;;&quot; &quot;@&quot; &quot;">
                  <c:v>70.69</c:v>
                </c:pt>
                <c:pt idx="1299" formatCode="#,##0_);\(#,##0\);&quot;-  &quot;;&quot; &quot;@&quot; &quot;">
                  <c:v>69.67</c:v>
                </c:pt>
                <c:pt idx="1300" formatCode="#,##0_);\(#,##0\);&quot;-  &quot;;&quot; &quot;@&quot; &quot;">
                  <c:v>68.67</c:v>
                </c:pt>
                <c:pt idx="1301" formatCode="#,##0_);\(#,##0\);&quot;-  &quot;;&quot; &quot;@&quot; &quot;">
                  <c:v>68.349999999999994</c:v>
                </c:pt>
                <c:pt idx="1302" formatCode="#,##0_);\(#,##0\);&quot;-  &quot;;&quot; &quot;@&quot; &quot;">
                  <c:v>67.489999999999995</c:v>
                </c:pt>
                <c:pt idx="1303" formatCode="#,##0_);\(#,##0\);&quot;-  &quot;;&quot; &quot;@&quot; &quot;">
                  <c:v>69.05</c:v>
                </c:pt>
                <c:pt idx="1304" formatCode="#,##0_);\(#,##0\);&quot;-  &quot;;&quot; &quot;@&quot; &quot;">
                  <c:v>70.39</c:v>
                </c:pt>
                <c:pt idx="1305" formatCode="#,##0_);\(#,##0\);&quot;-  &quot;;&quot; &quot;@&quot; &quot;">
                  <c:v>72.150000000000006</c:v>
                </c:pt>
                <c:pt idx="1306" formatCode="#,##0_);\(#,##0\);&quot;-  &quot;;&quot; &quot;@&quot; &quot;">
                  <c:v>73.760000000000005</c:v>
                </c:pt>
                <c:pt idx="1307" formatCode="#,##0_);\(#,##0\);&quot;-  &quot;;&quot; &quot;@&quot; &quot;">
                  <c:v>74.72</c:v>
                </c:pt>
                <c:pt idx="1308" formatCode="#,##0_);\(#,##0\);&quot;-  &quot;;&quot; &quot;@&quot; &quot;">
                  <c:v>76.61</c:v>
                </c:pt>
                <c:pt idx="1309" formatCode="#,##0_);\(#,##0\);&quot;-  &quot;;&quot; &quot;@&quot; &quot;">
                  <c:v>77.72</c:v>
                </c:pt>
                <c:pt idx="1310" formatCode="#,##0_);\(#,##0\);&quot;-  &quot;;&quot; &quot;@&quot; &quot;">
                  <c:v>77.56</c:v>
                </c:pt>
                <c:pt idx="1311" formatCode="#,##0_);\(#,##0\);&quot;-  &quot;;&quot; &quot;@&quot; &quot;">
                  <c:v>76.349999999999994</c:v>
                </c:pt>
                <c:pt idx="1312" formatCode="#,##0_);\(#,##0\);&quot;-  &quot;;&quot; &quot;@&quot; &quot;">
                  <c:v>75.94</c:v>
                </c:pt>
                <c:pt idx="1313" formatCode="#,##0_);\(#,##0\);&quot;-  &quot;;&quot; &quot;@&quot; &quot;">
                  <c:v>76.650000000000006</c:v>
                </c:pt>
                <c:pt idx="1314" formatCode="#,##0_);\(#,##0\);&quot;-  &quot;;&quot; &quot;@&quot; &quot;">
                  <c:v>76.25</c:v>
                </c:pt>
                <c:pt idx="1315" formatCode="#,##0_);\(#,##0\);&quot;-  &quot;;&quot; &quot;@&quot; &quot;">
                  <c:v>77.52</c:v>
                </c:pt>
                <c:pt idx="1316" formatCode="#,##0_);\(#,##0\);&quot;-  &quot;;&quot; &quot;@&quot; &quot;">
                  <c:v>77.510000000000005</c:v>
                </c:pt>
                <c:pt idx="1317" formatCode="#,##0_);\(#,##0\);&quot;-  &quot;;&quot; &quot;@&quot; &quot;">
                  <c:v>76.739999999999995</c:v>
                </c:pt>
                <c:pt idx="1318" formatCode="#,##0_);\(#,##0\);&quot;-  &quot;;&quot; &quot;@&quot; &quot;">
                  <c:v>76.760000000000005</c:v>
                </c:pt>
                <c:pt idx="1319" formatCode="#,##0_);\(#,##0\);&quot;-  &quot;;&quot; &quot;@&quot; &quot;">
                  <c:v>76.430000000000007</c:v>
                </c:pt>
                <c:pt idx="1320" formatCode="#,##0_);\(#,##0\);&quot;-  &quot;;&quot; &quot;@&quot; &quot;">
                  <c:v>76.8</c:v>
                </c:pt>
                <c:pt idx="1321" formatCode="#,##0_);\(#,##0\);&quot;-  &quot;;&quot; &quot;@&quot; &quot;">
                  <c:v>75.14</c:v>
                </c:pt>
                <c:pt idx="1322" formatCode="#,##0_);\(#,##0\);&quot;-  &quot;;&quot; &quot;@&quot; &quot;">
                  <c:v>76.78</c:v>
                </c:pt>
                <c:pt idx="1323" formatCode="#,##0_);\(#,##0\);&quot;-  &quot;;&quot; &quot;@&quot; &quot;">
                  <c:v>77.58</c:v>
                </c:pt>
                <c:pt idx="1324" formatCode="#,##0_);\(#,##0\);&quot;-  &quot;;&quot; &quot;@&quot; &quot;">
                  <c:v>77.47</c:v>
                </c:pt>
                <c:pt idx="1325" formatCode="#,##0_);\(#,##0\);&quot;-  &quot;;&quot; &quot;@&quot; &quot;">
                  <c:v>77.69</c:v>
                </c:pt>
                <c:pt idx="1326" formatCode="#,##0_);\(#,##0\);&quot;-  &quot;;&quot; &quot;@&quot; &quot;">
                  <c:v>78.47</c:v>
                </c:pt>
                <c:pt idx="1327" formatCode="#,##0_);\(#,##0\);&quot;-  &quot;;&quot; &quot;@&quot; &quot;">
                  <c:v>78.25</c:v>
                </c:pt>
                <c:pt idx="1328" formatCode="#,##0_);\(#,##0\);&quot;-  &quot;;&quot; &quot;@&quot; &quot;">
                  <c:v>78.28</c:v>
                </c:pt>
                <c:pt idx="1329" formatCode="#,##0_);\(#,##0\);&quot;-  &quot;;&quot; &quot;@&quot; &quot;">
                  <c:v>77.7</c:v>
                </c:pt>
                <c:pt idx="1330" formatCode="#,##0_);\(#,##0\);&quot;-  &quot;;&quot; &quot;@&quot; &quot;">
                  <c:v>77.75</c:v>
                </c:pt>
                <c:pt idx="1331" formatCode="#,##0_);\(#,##0\);&quot;-  &quot;;&quot; &quot;@&quot; &quot;">
                  <c:v>77.3</c:v>
                </c:pt>
                <c:pt idx="1332" formatCode="#,##0_);\(#,##0\);&quot;-  &quot;;&quot; &quot;@&quot; &quot;">
                  <c:v>77.7</c:v>
                </c:pt>
                <c:pt idx="1333" formatCode="#,##0_);\(#,##0\);&quot;-  &quot;;&quot; &quot;@&quot; &quot;">
                  <c:v>79.05</c:v>
                </c:pt>
                <c:pt idx="1334" formatCode="#,##0_);\(#,##0\);&quot;-  &quot;;&quot; &quot;@&quot; &quot;">
                  <c:v>80.28</c:v>
                </c:pt>
                <c:pt idx="1335" formatCode="#,##0_);\(#,##0\);&quot;-  &quot;;&quot; &quot;@&quot; &quot;">
                  <c:v>81.98</c:v>
                </c:pt>
                <c:pt idx="1336" formatCode="#,##0_);\(#,##0\);&quot;-  &quot;;&quot; &quot;@&quot; &quot;">
                  <c:v>82.61</c:v>
                </c:pt>
                <c:pt idx="1337" formatCode="#,##0_);\(#,##0\);&quot;-  &quot;;&quot; &quot;@&quot; &quot;">
                  <c:v>81.87</c:v>
                </c:pt>
                <c:pt idx="1338" formatCode="#,##0_);\(#,##0\);&quot;-  &quot;;&quot; &quot;@&quot; &quot;">
                  <c:v>82.06</c:v>
                </c:pt>
                <c:pt idx="1339" formatCode="#,##0_);\(#,##0\);&quot;-  &quot;;&quot; &quot;@&quot; &quot;">
                  <c:v>82.52</c:v>
                </c:pt>
                <c:pt idx="1340" formatCode="#,##0_);\(#,##0\);&quot;-  &quot;;&quot; &quot;@&quot; &quot;">
                  <c:v>82.54</c:v>
                </c:pt>
                <c:pt idx="1341" formatCode="#,##0_);\(#,##0\);&quot;-  &quot;;&quot; &quot;@&quot; &quot;">
                  <c:v>80.83</c:v>
                </c:pt>
                <c:pt idx="1342" formatCode="#,##0_);\(#,##0\);&quot;-  &quot;;&quot; &quot;@&quot; &quot;">
                  <c:v>81</c:v>
                </c:pt>
                <c:pt idx="1343" formatCode="#,##0_);\(#,##0\);&quot;-  &quot;;&quot; &quot;@&quot; &quot;">
                  <c:v>81.87</c:v>
                </c:pt>
                <c:pt idx="1344" formatCode="#,##0_);\(#,##0\);&quot;-  &quot;;&quot; &quot;@&quot; &quot;">
                  <c:v>82.12</c:v>
                </c:pt>
                <c:pt idx="1345" formatCode="#,##0_);\(#,##0\);&quot;-  &quot;;&quot; &quot;@&quot; &quot;">
                  <c:v>81.44</c:v>
                </c:pt>
                <c:pt idx="1346" formatCode="#,##0_);\(#,##0\);&quot;-  &quot;;&quot; &quot;@&quot; &quot;">
                  <c:v>81.42</c:v>
                </c:pt>
                <c:pt idx="1347" formatCode="#,##0_);\(#,##0\);&quot;-  &quot;;&quot; &quot;@&quot; &quot;">
                  <c:v>81.260000000000005</c:v>
                </c:pt>
                <c:pt idx="1348" formatCode="#,##0_);\(#,##0\);&quot;-  &quot;;&quot; &quot;@&quot; &quot;">
                  <c:v>81.36</c:v>
                </c:pt>
                <c:pt idx="1349" formatCode="#,##0_);\(#,##0\);&quot;-  &quot;;&quot; &quot;@&quot; &quot;">
                  <c:v>81.39</c:v>
                </c:pt>
                <c:pt idx="1350" formatCode="#,##0_);\(#,##0\);&quot;-  &quot;;&quot; &quot;@&quot; &quot;">
                  <c:v>80.3</c:v>
                </c:pt>
                <c:pt idx="1351" formatCode="#,##0_);\(#,##0\);&quot;-  &quot;;&quot; &quot;@&quot; &quot;">
                  <c:v>80.77</c:v>
                </c:pt>
                <c:pt idx="1352" formatCode="#,##0_);\(#,##0\);&quot;-  &quot;;&quot; &quot;@&quot; &quot;">
                  <c:v>80.8</c:v>
                </c:pt>
                <c:pt idx="1353" formatCode="#,##0_);\(#,##0\);&quot;-  &quot;;&quot; &quot;@&quot; &quot;">
                  <c:v>81.13</c:v>
                </c:pt>
                <c:pt idx="1354" formatCode="#,##0_);\(#,##0\);&quot;-  &quot;;&quot; &quot;@&quot; &quot;">
                  <c:v>81.239999999999995</c:v>
                </c:pt>
                <c:pt idx="1355" formatCode="#,##0_);\(#,##0\);&quot;-  &quot;;&quot; &quot;@&quot; &quot;">
                  <c:v>80.8</c:v>
                </c:pt>
                <c:pt idx="1356" formatCode="#,##0_);\(#,##0\);&quot;-  &quot;;&quot; &quot;@&quot; &quot;">
                  <c:v>80.58</c:v>
                </c:pt>
                <c:pt idx="1357" formatCode="#,##0_);\(#,##0\);&quot;-  &quot;;&quot; &quot;@&quot; &quot;">
                  <c:v>81.36</c:v>
                </c:pt>
                <c:pt idx="1358" formatCode="#,##0_);\(#,##0\);&quot;-  &quot;;&quot; &quot;@&quot; &quot;">
                  <c:v>82.21</c:v>
                </c:pt>
                <c:pt idx="1359" formatCode="#,##0_);\(#,##0\);&quot;-  &quot;;&quot; &quot;@&quot; &quot;">
                  <c:v>81.64</c:v>
                </c:pt>
                <c:pt idx="1360" formatCode="#,##0_);\(#,##0\);&quot;-  &quot;;&quot; &quot;@&quot; &quot;">
                  <c:v>80.55</c:v>
                </c:pt>
                <c:pt idx="1361" formatCode="#,##0_);\(#,##0\);&quot;-  &quot;;&quot; &quot;@&quot; &quot;">
                  <c:v>81.06</c:v>
                </c:pt>
                <c:pt idx="1362" formatCode="#,##0_);\(#,##0\);&quot;-  &quot;;&quot; &quot;@&quot; &quot;">
                  <c:v>81.540000000000006</c:v>
                </c:pt>
                <c:pt idx="1363" formatCode="#,##0_);\(#,##0\);&quot;-  &quot;;&quot; &quot;@&quot; &quot;">
                  <c:v>81.37</c:v>
                </c:pt>
                <c:pt idx="1364" formatCode="#,##0_);\(#,##0\);&quot;-  &quot;;&quot; &quot;@&quot; &quot;">
                  <c:v>80.540000000000006</c:v>
                </c:pt>
                <c:pt idx="1365" formatCode="#,##0_);\(#,##0\);&quot;-  &quot;;&quot; &quot;@&quot; &quot;">
                  <c:v>80.78</c:v>
                </c:pt>
                <c:pt idx="1366" formatCode="#,##0_);\(#,##0\);&quot;-  &quot;;&quot; &quot;@&quot; &quot;">
                  <c:v>81.489999999999995</c:v>
                </c:pt>
                <c:pt idx="1367" formatCode="#,##0_);\(#,##0\);&quot;-  &quot;;&quot; &quot;@&quot; &quot;">
                  <c:v>82.04</c:v>
                </c:pt>
                <c:pt idx="1368" formatCode="#,##0_);\(#,##0\);&quot;-  &quot;;&quot; &quot;@&quot; &quot;">
                  <c:v>82.07</c:v>
                </c:pt>
                <c:pt idx="1369" formatCode="#,##0_);\(#,##0\);&quot;-  &quot;;&quot; &quot;@&quot; &quot;">
                  <c:v>82</c:v>
                </c:pt>
                <c:pt idx="1370" formatCode="#,##0_);\(#,##0\);&quot;-  &quot;;&quot; &quot;@&quot; &quot;">
                  <c:v>82.75</c:v>
                </c:pt>
                <c:pt idx="1371" formatCode="#,##0_);\(#,##0\);&quot;-  &quot;;&quot; &quot;@&quot; &quot;">
                  <c:v>83.8</c:v>
                </c:pt>
                <c:pt idx="1372" formatCode="#,##0_);\(#,##0\);&quot;-  &quot;;&quot; &quot;@&quot; &quot;">
                  <c:v>83.52</c:v>
                </c:pt>
                <c:pt idx="1373" formatCode="#,##0_);\(#,##0\);&quot;-  &quot;;&quot; &quot;@&quot; &quot;">
                  <c:v>84.3</c:v>
                </c:pt>
                <c:pt idx="1374" formatCode="#,##0_);\(#,##0\);&quot;-  &quot;;&quot; &quot;@&quot; &quot;">
                  <c:v>84.31</c:v>
                </c:pt>
                <c:pt idx="1375" formatCode="#,##0_);\(#,##0\);&quot;-  &quot;;&quot; &quot;@&quot; &quot;">
                  <c:v>84.55</c:v>
                </c:pt>
                <c:pt idx="1376" formatCode="#,##0_);\(#,##0\);&quot;-  &quot;;&quot; &quot;@&quot; &quot;">
                  <c:v>84.11</c:v>
                </c:pt>
                <c:pt idx="1377" formatCode="#,##0_);\(#,##0\);&quot;-  &quot;;&quot; &quot;@&quot; &quot;">
                  <c:v>84.57</c:v>
                </c:pt>
                <c:pt idx="1378" formatCode="#,##0_);\(#,##0\);&quot;-  &quot;;&quot; &quot;@&quot; &quot;">
                  <c:v>84.85</c:v>
                </c:pt>
                <c:pt idx="1379" formatCode="#,##0_);\(#,##0\);&quot;-  &quot;;&quot; &quot;@&quot; &quot;">
                  <c:v>84.69</c:v>
                </c:pt>
                <c:pt idx="1380" formatCode="#,##0_);\(#,##0\);&quot;-  &quot;;&quot; &quot;@&quot; &quot;">
                  <c:v>85.75</c:v>
                </c:pt>
                <c:pt idx="1381" formatCode="#,##0_);\(#,##0\);&quot;-  &quot;;&quot; &quot;@&quot; &quot;">
                  <c:v>86.62</c:v>
                </c:pt>
                <c:pt idx="1382" formatCode="#,##0_);\(#,##0\);&quot;-  &quot;;&quot; &quot;@&quot; &quot;">
                  <c:v>86.19</c:v>
                </c:pt>
                <c:pt idx="1383" formatCode="#,##0_);\(#,##0\);&quot;-  &quot;;&quot; &quot;@&quot; &quot;">
                  <c:v>86.58</c:v>
                </c:pt>
                <c:pt idx="1384" formatCode="#,##0_);\(#,##0\);&quot;-  &quot;;&quot; &quot;@&quot; &quot;">
                  <c:v>84.68</c:v>
                </c:pt>
                <c:pt idx="1385" formatCode="#,##0_);\(#,##0\);&quot;-  &quot;;&quot; &quot;@&quot; &quot;">
                  <c:v>84.05</c:v>
                </c:pt>
                <c:pt idx="1386" formatCode="#,##0_);\(#,##0\);&quot;-  &quot;;&quot; &quot;@&quot; &quot;">
                  <c:v>84.95</c:v>
                </c:pt>
                <c:pt idx="1387" formatCode="#,##0_);\(#,##0\);&quot;-  &quot;;&quot; &quot;@&quot; &quot;">
                  <c:v>85.27</c:v>
                </c:pt>
                <c:pt idx="1388" formatCode="#,##0_);\(#,##0\);&quot;-  &quot;;&quot; &quot;@&quot; &quot;">
                  <c:v>84.86</c:v>
                </c:pt>
                <c:pt idx="1389" formatCode="#,##0_);\(#,##0\);&quot;-  &quot;;&quot; &quot;@&quot; &quot;">
                  <c:v>85.31</c:v>
                </c:pt>
                <c:pt idx="1390" formatCode="#,##0_);\(#,##0\);&quot;-  &quot;;&quot; &quot;@&quot; &quot;">
                  <c:v>85.42</c:v>
                </c:pt>
                <c:pt idx="1391" formatCode="#,##0_);\(#,##0\);&quot;-  &quot;;&quot; &quot;@&quot; &quot;">
                  <c:v>84.89</c:v>
                </c:pt>
                <c:pt idx="1392" formatCode="#,##0_);\(#,##0\);&quot;-  &quot;;&quot; &quot;@&quot; &quot;">
                  <c:v>85.3</c:v>
                </c:pt>
                <c:pt idx="1393" formatCode="#,##0_);\(#,##0\);&quot;-  &quot;;&quot; &quot;@&quot; &quot;">
                  <c:v>84.68</c:v>
                </c:pt>
                <c:pt idx="1394" formatCode="#,##0_);\(#,##0\);&quot;-  &quot;;&quot; &quot;@&quot; &quot;">
                  <c:v>84.97</c:v>
                </c:pt>
                <c:pt idx="1395" formatCode="#,##0_);\(#,##0\);&quot;-  &quot;;&quot; &quot;@&quot; &quot;">
                  <c:v>85.21</c:v>
                </c:pt>
                <c:pt idx="1396" formatCode="#,##0_);\(#,##0\);&quot;-  &quot;;&quot; &quot;@&quot; &quot;">
                  <c:v>85.17</c:v>
                </c:pt>
                <c:pt idx="1397" formatCode="#,##0_);\(#,##0\);&quot;-  &quot;;&quot; &quot;@&quot; &quot;">
                  <c:v>86.53</c:v>
                </c:pt>
                <c:pt idx="1398" formatCode="#,##0_);\(#,##0\);&quot;-  &quot;;&quot; &quot;@&quot; &quot;">
                  <c:v>88.56</c:v>
                </c:pt>
                <c:pt idx="1399" formatCode="#,##0_);\(#,##0\);&quot;-  &quot;;&quot; &quot;@&quot; &quot;">
                  <c:v>87.98</c:v>
                </c:pt>
                <c:pt idx="1400" formatCode="#,##0_);\(#,##0\);&quot;-  &quot;;&quot; &quot;@&quot; &quot;">
                  <c:v>87.48</c:v>
                </c:pt>
                <c:pt idx="1401" formatCode="#,##0_);\(#,##0\);&quot;-  &quot;;&quot; &quot;@&quot; &quot;">
                  <c:v>86.26</c:v>
                </c:pt>
                <c:pt idx="1402" formatCode="#,##0_);\(#,##0\);&quot;-  &quot;;&quot; &quot;@&quot; &quot;">
                  <c:v>84.65</c:v>
                </c:pt>
                <c:pt idx="1403" formatCode="#,##0_);\(#,##0\);&quot;-  &quot;;&quot; &quot;@&quot; &quot;">
                  <c:v>82</c:v>
                </c:pt>
                <c:pt idx="1404" formatCode="#,##0_);\(#,##0\);&quot;-  &quot;;&quot; &quot;@&quot; &quot;">
                  <c:v>81.31</c:v>
                </c:pt>
                <c:pt idx="1405" formatCode="#,##0_);\(#,##0\);&quot;-  &quot;;&quot; &quot;@&quot; &quot;">
                  <c:v>82.64</c:v>
                </c:pt>
                <c:pt idx="1406" formatCode="#,##0_);\(#,##0\);&quot;-  &quot;;&quot; &quot;@&quot; &quot;">
                  <c:v>81.430000000000007</c:v>
                </c:pt>
                <c:pt idx="1407" formatCode="#,##0_);\(#,##0\);&quot;-  &quot;;&quot; &quot;@&quot; &quot;">
                  <c:v>80.209999999999994</c:v>
                </c:pt>
                <c:pt idx="1408" formatCode="#,##0_);\(#,##0\);&quot;-  &quot;;&quot; &quot;@&quot; &quot;">
                  <c:v>77.22</c:v>
                </c:pt>
                <c:pt idx="1409" formatCode="#,##0_);\(#,##0\);&quot;-  &quot;;&quot; &quot;@&quot; &quot;">
                  <c:v>74.88</c:v>
                </c:pt>
                <c:pt idx="1410" formatCode="#,##0_);\(#,##0\);&quot;-  &quot;;&quot; &quot;@&quot; &quot;">
                  <c:v>75.08</c:v>
                </c:pt>
                <c:pt idx="1411" formatCode="#,##0_);\(#,##0\);&quot;-  &quot;;&quot; &quot;@&quot; &quot;">
                  <c:v>73.819999999999993</c:v>
                </c:pt>
                <c:pt idx="1412" formatCode="#,##0_);\(#,##0\);&quot;-  &quot;;&quot; &quot;@&quot; &quot;">
                  <c:v>73.73</c:v>
                </c:pt>
                <c:pt idx="1413" formatCode="#,##0_);\(#,##0\);&quot;-  &quot;;&quot; &quot;@&quot; &quot;">
                  <c:v>75.47</c:v>
                </c:pt>
                <c:pt idx="1414" formatCode="#,##0_);\(#,##0\);&quot;-  &quot;;&quot; &quot;@&quot; &quot;">
                  <c:v>75.16</c:v>
                </c:pt>
                <c:pt idx="1415" formatCode="#,##0_);\(#,##0\);&quot;-  &quot;;&quot; &quot;@&quot; &quot;">
                  <c:v>75.22</c:v>
                </c:pt>
                <c:pt idx="1416" formatCode="#,##0_);\(#,##0\);&quot;-  &quot;;&quot; &quot;@&quot; &quot;">
                  <c:v>73.97</c:v>
                </c:pt>
                <c:pt idx="1417" formatCode="#,##0_);\(#,##0\);&quot;-  &quot;;&quot; &quot;@&quot; &quot;">
                  <c:v>74.87</c:v>
                </c:pt>
                <c:pt idx="1418" formatCode="#,##0_);\(#,##0\);&quot;-  &quot;;&quot; &quot;@&quot; &quot;">
                  <c:v>75.489999999999995</c:v>
                </c:pt>
                <c:pt idx="1419" formatCode="#,##0_);\(#,##0\);&quot;-  &quot;;&quot; &quot;@&quot; &quot;">
                  <c:v>74.92</c:v>
                </c:pt>
                <c:pt idx="1420" formatCode="#,##0_);\(#,##0\);&quot;-  &quot;;&quot; &quot;@&quot; &quot;">
                  <c:v>75.23</c:v>
                </c:pt>
                <c:pt idx="1421" formatCode="#,##0_);\(#,##0\);&quot;-  &quot;;&quot; &quot;@&quot; &quot;">
                  <c:v>75.31</c:v>
                </c:pt>
                <c:pt idx="1422" formatCode="#,##0_);\(#,##0\);&quot;-  &quot;;&quot; &quot;@&quot; &quot;">
                  <c:v>77.55</c:v>
                </c:pt>
                <c:pt idx="1423" formatCode="#,##0_);\(#,##0\);&quot;-  &quot;;&quot; &quot;@&quot; &quot;">
                  <c:v>79.069999999999993</c:v>
                </c:pt>
                <c:pt idx="1424" formatCode="#,##0_);\(#,##0\);&quot;-  &quot;;&quot; &quot;@&quot; &quot;">
                  <c:v>78.97</c:v>
                </c:pt>
                <c:pt idx="1425" formatCode="#,##0_);\(#,##0\);&quot;-  &quot;;&quot; &quot;@&quot; &quot;">
                  <c:v>79.45</c:v>
                </c:pt>
                <c:pt idx="1426" formatCode="#,##0_);\(#,##0\);&quot;-  &quot;;&quot; &quot;@&quot; &quot;">
                  <c:v>81.23</c:v>
                </c:pt>
                <c:pt idx="1427" formatCode="#,##0_);\(#,##0\);&quot;-  &quot;;&quot; &quot;@&quot; &quot;">
                  <c:v>80.81</c:v>
                </c:pt>
                <c:pt idx="1428" formatCode="#,##0_);\(#,##0\);&quot;-  &quot;;&quot; &quot;@&quot; &quot;">
                  <c:v>80.59</c:v>
                </c:pt>
                <c:pt idx="1429" formatCode="#,##0_);\(#,##0\);&quot;-  &quot;;&quot; &quot;@&quot; &quot;">
                  <c:v>81.239999999999995</c:v>
                </c:pt>
                <c:pt idx="1430" formatCode="#,##0_);\(#,##0\);&quot;-  &quot;;&quot; &quot;@&quot; &quot;">
                  <c:v>78.98</c:v>
                </c:pt>
                <c:pt idx="1431" formatCode="#,##0_);\(#,##0\);&quot;-  &quot;;&quot; &quot;@&quot; &quot;">
                  <c:v>78.430000000000007</c:v>
                </c:pt>
                <c:pt idx="1432" formatCode="#,##0_);\(#,##0\);&quot;-  &quot;;&quot; &quot;@&quot; &quot;">
                  <c:v>78.61</c:v>
                </c:pt>
                <c:pt idx="1433" formatCode="#,##0_);\(#,##0\);&quot;-  &quot;;&quot; &quot;@&quot; &quot;">
                  <c:v>78.7</c:v>
                </c:pt>
                <c:pt idx="1434" formatCode="#,##0_);\(#,##0\);&quot;-  &quot;;&quot; &quot;@&quot; &quot;">
                  <c:v>79.22</c:v>
                </c:pt>
                <c:pt idx="1435" formatCode="#,##0_);\(#,##0\);&quot;-  &quot;;&quot; &quot;@&quot; &quot;">
                  <c:v>79.44</c:v>
                </c:pt>
                <c:pt idx="1436" formatCode="#,##0_);\(#,##0\);&quot;-  &quot;;&quot; &quot;@&quot; &quot;">
                  <c:v>82.53</c:v>
                </c:pt>
                <c:pt idx="1437" formatCode="#,##0_);\(#,##0\);&quot;-  &quot;;&quot; &quot;@&quot; &quot;">
                  <c:v>83.33</c:v>
                </c:pt>
                <c:pt idx="1438" formatCode="#,##0_);\(#,##0\);&quot;-  &quot;;&quot; &quot;@&quot; &quot;">
                  <c:v>82.9</c:v>
                </c:pt>
                <c:pt idx="1439" formatCode="#,##0_);\(#,##0\);&quot;-  &quot;;&quot; &quot;@&quot; &quot;">
                  <c:v>81.96</c:v>
                </c:pt>
                <c:pt idx="1440" formatCode="#,##0_);\(#,##0\);&quot;-  &quot;;&quot; &quot;@&quot; &quot;">
                  <c:v>80.87</c:v>
                </c:pt>
                <c:pt idx="1441" formatCode="#,##0_);\(#,##0\);&quot;-  &quot;;&quot; &quot;@&quot; &quot;">
                  <c:v>79.760000000000005</c:v>
                </c:pt>
                <c:pt idx="1442" formatCode="#,##0_);\(#,##0\);&quot;-  &quot;;&quot; &quot;@&quot; &quot;">
                  <c:v>78.489999999999995</c:v>
                </c:pt>
                <c:pt idx="1443" formatCode="#,##0_);\(#,##0\);&quot;-  &quot;;&quot; &quot;@&quot; &quot;">
                  <c:v>79.319999999999993</c:v>
                </c:pt>
                <c:pt idx="1444" formatCode="#,##0_);\(#,##0\);&quot;-  &quot;;&quot; &quot;@&quot; &quot;">
                  <c:v>80.06</c:v>
                </c:pt>
                <c:pt idx="1445" formatCode="#,##0_);\(#,##0\);&quot;-  &quot;;&quot; &quot;@&quot; &quot;">
                  <c:v>80.16</c:v>
                </c:pt>
                <c:pt idx="1446" formatCode="#,##0_);\(#,##0\);&quot;-  &quot;;&quot; &quot;@&quot; &quot;">
                  <c:v>80.52</c:v>
                </c:pt>
                <c:pt idx="1447" formatCode="#,##0_);\(#,##0\);&quot;-  &quot;;&quot; &quot;@&quot; &quot;">
                  <c:v>80.34</c:v>
                </c:pt>
                <c:pt idx="1448" formatCode="#,##0_);\(#,##0\);&quot;-  &quot;;&quot; &quot;@&quot; &quot;">
                  <c:v>80.06</c:v>
                </c:pt>
                <c:pt idx="1449" formatCode="#,##0_);\(#,##0\);&quot;-  &quot;;&quot; &quot;@&quot; &quot;">
                  <c:v>80.290000000000006</c:v>
                </c:pt>
                <c:pt idx="1450" formatCode="#,##0_);\(#,##0\);&quot;-  &quot;;&quot; &quot;@&quot; &quot;">
                  <c:v>81.36</c:v>
                </c:pt>
                <c:pt idx="1451" formatCode="#,##0_);\(#,##0\);&quot;-  &quot;;&quot; &quot;@&quot; &quot;">
                  <c:v>82.17</c:v>
                </c:pt>
                <c:pt idx="1452" formatCode="#,##0_);\(#,##0\);&quot;-  &quot;;&quot; &quot;@&quot; &quot;">
                  <c:v>78.849999999999994</c:v>
                </c:pt>
                <c:pt idx="1453" formatCode="#,##0_);\(#,##0\);&quot;-  &quot;;&quot; &quot;@&quot; &quot;">
                  <c:v>78.12</c:v>
                </c:pt>
                <c:pt idx="1454" formatCode="#,##0_);\(#,##0\);&quot;-  &quot;;&quot; &quot;@&quot; &quot;">
                  <c:v>76.48</c:v>
                </c:pt>
                <c:pt idx="1455" formatCode="#,##0_);\(#,##0\);&quot;-  &quot;;&quot; &quot;@&quot; &quot;">
                  <c:v>75.95</c:v>
                </c:pt>
                <c:pt idx="1456" formatCode="#,##0_);\(#,##0\);&quot;-  &quot;;&quot; &quot;@&quot; &quot;">
                  <c:v>73.33</c:v>
                </c:pt>
                <c:pt idx="1457" formatCode="#,##0_);\(#,##0\);&quot;-  &quot;;&quot; &quot;@&quot; &quot;">
                  <c:v>73.53</c:v>
                </c:pt>
                <c:pt idx="1458" formatCode="#,##0_);\(#,##0\);&quot;-  &quot;;&quot; &quot;@&quot; &quot;">
                  <c:v>74.459999999999994</c:v>
                </c:pt>
                <c:pt idx="1459" formatCode="#,##0_);\(#,##0\);&quot;-  &quot;;&quot; &quot;@&quot; &quot;">
                  <c:v>74.37</c:v>
                </c:pt>
                <c:pt idx="1460" formatCode="#,##0_);\(#,##0\);&quot;-  &quot;;&quot; &quot;@&quot; &quot;">
                  <c:v>76.84</c:v>
                </c:pt>
                <c:pt idx="1461" formatCode="#,##0_);\(#,##0\);&quot;-  &quot;;&quot; &quot;@&quot; &quot;">
                  <c:v>76.25</c:v>
                </c:pt>
                <c:pt idx="1462" formatCode="#,##0_);\(#,##0\);&quot;-  &quot;;&quot; &quot;@&quot; &quot;">
                  <c:v>75.47</c:v>
                </c:pt>
                <c:pt idx="1463" formatCode="#,##0_);\(#,##0\);&quot;-  &quot;;&quot; &quot;@&quot; &quot;">
                  <c:v>75.64</c:v>
                </c:pt>
                <c:pt idx="1464" formatCode="#,##0_);\(#,##0\);&quot;-  &quot;;&quot; &quot;@&quot; &quot;">
                  <c:v>76.150000000000006</c:v>
                </c:pt>
                <c:pt idx="1465" formatCode="#,##0_);\(#,##0\);&quot;-  &quot;;&quot; &quot;@&quot; &quot;">
                  <c:v>76.86</c:v>
                </c:pt>
                <c:pt idx="1466" formatCode="#,##0_);\(#,##0\);&quot;-  &quot;;&quot; &quot;@&quot; &quot;">
                  <c:v>77.41</c:v>
                </c:pt>
                <c:pt idx="1467" formatCode="#,##0_);\(#,##0\);&quot;-  &quot;;&quot; &quot;@&quot; &quot;">
                  <c:v>76.95</c:v>
                </c:pt>
                <c:pt idx="1468" formatCode="#,##0_);\(#,##0\);&quot;-  &quot;;&quot; &quot;@&quot; &quot;">
                  <c:v>75.89</c:v>
                </c:pt>
                <c:pt idx="1469" formatCode="#,##0_);\(#,##0\);&quot;-  &quot;;&quot; &quot;@&quot; &quot;">
                  <c:v>75.41</c:v>
                </c:pt>
                <c:pt idx="1470" formatCode="#,##0_);\(#,##0\);&quot;-  &quot;;&quot; &quot;@&quot; &quot;">
                  <c:v>75.650000000000006</c:v>
                </c:pt>
                <c:pt idx="1471" formatCode="#,##0_);\(#,##0\);&quot;-  &quot;;&quot; &quot;@&quot; &quot;">
                  <c:v>76.97</c:v>
                </c:pt>
                <c:pt idx="1472" formatCode="#,##0_);\(#,##0\);&quot;-  &quot;;&quot; &quot;@&quot; &quot;">
                  <c:v>77.41</c:v>
                </c:pt>
                <c:pt idx="1473" formatCode="#,##0_);\(#,##0\);&quot;-  &quot;;&quot; &quot;@&quot; &quot;">
                  <c:v>76.400000000000006</c:v>
                </c:pt>
                <c:pt idx="1474" formatCode="#,##0_);\(#,##0\);&quot;-  &quot;;&quot; &quot;@&quot; &quot;">
                  <c:v>75.540000000000006</c:v>
                </c:pt>
                <c:pt idx="1475" formatCode="#,##0_);\(#,##0\);&quot;-  &quot;;&quot; &quot;@&quot; &quot;">
                  <c:v>74.14</c:v>
                </c:pt>
                <c:pt idx="1476" formatCode="#,##0_);\(#,##0\);&quot;-  &quot;;&quot; &quot;@&quot; &quot;">
                  <c:v>76.599999999999994</c:v>
                </c:pt>
                <c:pt idx="1477" formatCode="#,##0_);\(#,##0\);&quot;-  &quot;;&quot; &quot;@&quot; &quot;">
                  <c:v>77.63</c:v>
                </c:pt>
                <c:pt idx="1478" formatCode="#,##0_);\(#,##0\);&quot;-  &quot;;&quot; &quot;@&quot; &quot;">
                  <c:v>77.34</c:v>
                </c:pt>
                <c:pt idx="1479" formatCode="#,##0_);\(#,##0\);&quot;-  &quot;;&quot; &quot;@&quot; &quot;">
                  <c:v>78.64</c:v>
                </c:pt>
                <c:pt idx="1480" formatCode="#,##0_);\(#,##0\);&quot;-  &quot;;&quot; &quot;@&quot; &quot;">
                  <c:v>79.459999999999994</c:v>
                </c:pt>
                <c:pt idx="1481" formatCode="#,##0_);\(#,##0\);&quot;-  &quot;;&quot; &quot;@&quot; &quot;">
                  <c:v>78.59</c:v>
                </c:pt>
                <c:pt idx="1482" formatCode="#,##0_);\(#,##0\);&quot;-  &quot;;&quot; &quot;@&quot; &quot;">
                  <c:v>77.14</c:v>
                </c:pt>
                <c:pt idx="1483" formatCode="#,##0_);\(#,##0\);&quot;-  &quot;;&quot; &quot;@&quot; &quot;">
                  <c:v>76.66</c:v>
                </c:pt>
                <c:pt idx="1484" formatCode="#,##0_);\(#,##0\);&quot;-  &quot;;&quot; &quot;@&quot; &quot;">
                  <c:v>84.77</c:v>
                </c:pt>
                <c:pt idx="1485" formatCode="#,##0_);\(#,##0\);&quot;-  &quot;;&quot; &quot;@&quot; &quot;">
                  <c:v>83.9</c:v>
                </c:pt>
                <c:pt idx="1486" formatCode="#,##0_);\(#,##0\);&quot;-  &quot;;&quot; &quot;@&quot; &quot;">
                  <c:v>82.04</c:v>
                </c:pt>
                <c:pt idx="1487" formatCode="#,##0_);\(#,##0\);&quot;-  &quot;;&quot; &quot;@&quot; &quot;">
                  <c:v>83.06</c:v>
                </c:pt>
                <c:pt idx="1488" formatCode="#,##0_);\(#,##0\);&quot;-  &quot;;&quot; &quot;@&quot; &quot;">
                  <c:v>83.15</c:v>
                </c:pt>
                <c:pt idx="1489" formatCode="#,##0_);\(#,##0\);&quot;-  &quot;;&quot; &quot;@&quot; &quot;">
                  <c:v>82.58</c:v>
                </c:pt>
                <c:pt idx="1490" formatCode="#,##0_);\(#,##0\);&quot;-  &quot;;&quot; &quot;@&quot; &quot;">
                  <c:v>81.66</c:v>
                </c:pt>
                <c:pt idx="1491" formatCode="#,##0_);\(#,##0\);&quot;-  &quot;;&quot; &quot;@&quot; &quot;">
                  <c:v>80.540000000000006</c:v>
                </c:pt>
                <c:pt idx="1492" formatCode="#,##0_);\(#,##0\);&quot;-  &quot;;&quot; &quot;@&quot; &quot;">
                  <c:v>80.84</c:v>
                </c:pt>
                <c:pt idx="1493" formatCode="#,##0_);\(#,##0\);&quot;-  &quot;;&quot; &quot;@&quot; &quot;">
                  <c:v>81.19</c:v>
                </c:pt>
                <c:pt idx="1494" formatCode="#,##0_);\(#,##0\);&quot;-  &quot;;&quot; &quot;@&quot; &quot;">
                  <c:v>79.569999999999993</c:v>
                </c:pt>
                <c:pt idx="1495" formatCode="#,##0_);\(#,##0\);&quot;-  &quot;;&quot; &quot;@&quot; &quot;">
                  <c:v>78.88</c:v>
                </c:pt>
                <c:pt idx="1496" formatCode="#,##0_);\(#,##0\);&quot;-  &quot;;&quot; &quot;@&quot; &quot;">
                  <c:v>77.63</c:v>
                </c:pt>
                <c:pt idx="1497" formatCode="#,##0_);\(#,##0\);&quot;-  &quot;;&quot; &quot;@&quot; &quot;">
                  <c:v>77.260000000000005</c:v>
                </c:pt>
                <c:pt idx="1498" formatCode="#,##0_);\(#,##0\);&quot;-  &quot;;&quot; &quot;@&quot; &quot;">
                  <c:v>78.349999999999994</c:v>
                </c:pt>
                <c:pt idx="1499" formatCode="#,##0_);\(#,##0\);&quot;-  &quot;;&quot; &quot;@&quot; &quot;">
                  <c:v>78.58</c:v>
                </c:pt>
                <c:pt idx="1500" formatCode="#,##0_);\(#,##0\);&quot;-  &quot;;&quot; &quot;@&quot; &quot;">
                  <c:v>78.12</c:v>
                </c:pt>
                <c:pt idx="1501" formatCode="#,##0_);\(#,##0\);&quot;-  &quot;;&quot; &quot;@&quot; &quot;">
                  <c:v>78.680000000000007</c:v>
                </c:pt>
                <c:pt idx="1502" formatCode="#,##0_);\(#,##0\);&quot;-  &quot;;&quot; &quot;@&quot; &quot;">
                  <c:v>78.34</c:v>
                </c:pt>
                <c:pt idx="1503" formatCode="#,##0_);\(#,##0\);&quot;-  &quot;;&quot; &quot;@&quot; &quot;">
                  <c:v>80.12</c:v>
                </c:pt>
                <c:pt idx="1504" formatCode="#,##0_);\(#,##0\);&quot;-  &quot;;&quot; &quot;@&quot; &quot;">
                  <c:v>78.25</c:v>
                </c:pt>
                <c:pt idx="1505" formatCode="#,##0_);\(#,##0\);&quot;-  &quot;;&quot; &quot;@&quot; &quot;">
                  <c:v>77.94</c:v>
                </c:pt>
                <c:pt idx="1506" formatCode="#,##0_);\(#,##0\);&quot;-  &quot;;&quot; &quot;@&quot; &quot;">
                  <c:v>78.650000000000006</c:v>
                </c:pt>
                <c:pt idx="1507" formatCode="#,##0_);\(#,##0\);&quot;-  &quot;;&quot; &quot;@&quot; &quot;">
                  <c:v>78.52</c:v>
                </c:pt>
                <c:pt idx="1508" formatCode="#,##0_);\(#,##0\);&quot;-  &quot;;&quot; &quot;@&quot; &quot;">
                  <c:v>79.05</c:v>
                </c:pt>
                <c:pt idx="1509" formatCode="#,##0_);\(#,##0\);&quot;-  &quot;;&quot; &quot;@&quot; &quot;">
                  <c:v>78.52</c:v>
                </c:pt>
                <c:pt idx="1510" formatCode="#,##0_);\(#,##0\);&quot;-  &quot;;&quot; &quot;@&quot; &quot;">
                  <c:v>78.91</c:v>
                </c:pt>
                <c:pt idx="1511" formatCode="#,##0_);\(#,##0\);&quot;-  &quot;;&quot; &quot;@&quot; &quot;">
                  <c:v>78.959999999999994</c:v>
                </c:pt>
                <c:pt idx="1512" formatCode="#,##0_);\(#,##0\);&quot;-  &quot;;&quot; &quot;@&quot; &quot;">
                  <c:v>80.069999999999993</c:v>
                </c:pt>
                <c:pt idx="1513" formatCode="#,##0_);\(#,##0\);&quot;-  &quot;;&quot; &quot;@&quot; &quot;">
                  <c:v>80.03</c:v>
                </c:pt>
                <c:pt idx="1514" formatCode="#,##0_);\(#,##0\);&quot;-  &quot;;&quot; &quot;@&quot; &quot;">
                  <c:v>79.55</c:v>
                </c:pt>
                <c:pt idx="1515" formatCode="#,##0_);\(#,##0\);&quot;-  &quot;;&quot; &quot;@&quot; &quot;">
                  <c:v>79.599999999999994</c:v>
                </c:pt>
                <c:pt idx="1516" formatCode="#,##0_);\(#,##0\);&quot;-  &quot;;&quot; &quot;@&quot; &quot;">
                  <c:v>78.430000000000007</c:v>
                </c:pt>
                <c:pt idx="1517" formatCode="#,##0_);\(#,##0\);&quot;-  &quot;;&quot; &quot;@&quot; &quot;">
                  <c:v>78.42</c:v>
                </c:pt>
                <c:pt idx="1518" formatCode="#,##0_);\(#,##0\);&quot;-  &quot;;&quot; &quot;@&quot; &quot;">
                  <c:v>77.94</c:v>
                </c:pt>
                <c:pt idx="1519" formatCode="#,##0_);\(#,##0\);&quot;-  &quot;;&quot; &quot;@&quot; &quot;">
                  <c:v>80.010000000000005</c:v>
                </c:pt>
                <c:pt idx="1520" formatCode="#,##0_);\(#,##0\);&quot;-  &quot;;&quot; &quot;@&quot; &quot;">
                  <c:v>80.459999999999994</c:v>
                </c:pt>
                <c:pt idx="1521" formatCode="#,##0_);\(#,##0\);&quot;-  &quot;;&quot; &quot;@&quot; &quot;">
                  <c:v>79.73</c:v>
                </c:pt>
                <c:pt idx="1522" formatCode="#,##0_);\(#,##0\);&quot;-  &quot;;&quot; &quot;@&quot; &quot;">
                  <c:v>78.92</c:v>
                </c:pt>
                <c:pt idx="1523" formatCode="#,##0_);\(#,##0\);&quot;-  &quot;;&quot; &quot;@&quot; &quot;">
                  <c:v>78.03</c:v>
                </c:pt>
                <c:pt idx="1524" formatCode="#,##0_);\(#,##0\);&quot;-  &quot;;&quot; &quot;@&quot; &quot;">
                  <c:v>77.819999999999993</c:v>
                </c:pt>
                <c:pt idx="1525" formatCode="#,##0_);\(#,##0\);&quot;-  &quot;;&quot; &quot;@&quot; &quot;">
                  <c:v>77.510000000000005</c:v>
                </c:pt>
                <c:pt idx="1526" formatCode="#,##0_);\(#,##0\);&quot;-  &quot;;&quot; &quot;@&quot; &quot;">
                  <c:v>77.09</c:v>
                </c:pt>
                <c:pt idx="1527" formatCode="#,##0_);\(#,##0\);&quot;-  &quot;;&quot; &quot;@&quot; &quot;">
                  <c:v>77.349999999999994</c:v>
                </c:pt>
                <c:pt idx="1528" formatCode="#,##0_);\(#,##0\);&quot;-  &quot;;&quot; &quot;@&quot; &quot;">
                  <c:v>78.36</c:v>
                </c:pt>
                <c:pt idx="1529" formatCode="#,##0_);\(#,##0\);&quot;-  &quot;;&quot; &quot;@&quot; &quot;">
                  <c:v>77.02</c:v>
                </c:pt>
                <c:pt idx="1530" formatCode="#,##0_);\(#,##0\);&quot;-  &quot;;&quot; &quot;@&quot; &quot;">
                  <c:v>75.67</c:v>
                </c:pt>
                <c:pt idx="1531" formatCode="#,##0_);\(#,##0\);&quot;-  &quot;;&quot; &quot;@&quot; &quot;">
                  <c:v>76.180000000000007</c:v>
                </c:pt>
                <c:pt idx="1532" formatCode="#,##0_);\(#,##0\);&quot;-  &quot;;&quot; &quot;@&quot; &quot;">
                  <c:v>77.84</c:v>
                </c:pt>
                <c:pt idx="1533" formatCode="#,##0_);\(#,##0\);&quot;-  &quot;;&quot; &quot;@&quot; &quot;">
                  <c:v>78.19</c:v>
                </c:pt>
                <c:pt idx="1534" formatCode="#,##0_);\(#,##0\);&quot;-  &quot;;&quot; &quot;@&quot; &quot;">
                  <c:v>78.64</c:v>
                </c:pt>
                <c:pt idx="1535" formatCode="#,##0_);\(#,##0\);&quot;-  &quot;;&quot; &quot;@&quot; &quot;">
                  <c:v>79.28</c:v>
                </c:pt>
                <c:pt idx="1536" formatCode="#,##0_);\(#,##0\);&quot;-  &quot;;&quot; &quot;@&quot; &quot;">
                  <c:v>78.900000000000006</c:v>
                </c:pt>
                <c:pt idx="1537" formatCode="#,##0_);\(#,##0\);&quot;-  &quot;;&quot; &quot;@&quot; &quot;">
                  <c:v>78.75</c:v>
                </c:pt>
                <c:pt idx="1538" formatCode="#,##0_);\(#,##0\);&quot;-  &quot;;&quot; &quot;@&quot; &quot;">
                  <c:v>78.239999999999995</c:v>
                </c:pt>
                <c:pt idx="1539" formatCode="#,##0_);\(#,##0\);&quot;-  &quot;;&quot; &quot;@&quot; &quot;">
                  <c:v>76.52</c:v>
                </c:pt>
                <c:pt idx="1540" formatCode="#,##0_);\(#,##0\);&quot;-  &quot;;&quot; &quot;@&quot; &quot;">
                  <c:v>76.12</c:v>
                </c:pt>
                <c:pt idx="1541" formatCode="#,##0_);\(#,##0\);&quot;-  &quot;;&quot; &quot;@&quot; &quot;">
                  <c:v>77.17</c:v>
                </c:pt>
                <c:pt idx="1542" formatCode="#,##0_);\(#,##0\);&quot;-  &quot;;&quot; &quot;@&quot; &quot;">
                  <c:v>77.64</c:v>
                </c:pt>
                <c:pt idx="1543" formatCode="#,##0_);\(#,##0\);&quot;-  &quot;;&quot; &quot;@&quot; &quot;">
                  <c:v>78.290000000000006</c:v>
                </c:pt>
                <c:pt idx="1544" formatCode="#,##0_);\(#,##0\);&quot;-  &quot;;&quot; &quot;@&quot; &quot;">
                  <c:v>78.16</c:v>
                </c:pt>
                <c:pt idx="1545" formatCode="#,##0_);\(#,##0\);&quot;-  &quot;;&quot; &quot;@&quot; &quot;">
                  <c:v>78.64</c:v>
                </c:pt>
                <c:pt idx="1546" formatCode="#,##0_);\(#,##0\);&quot;-  &quot;;&quot; &quot;@&quot; &quot;">
                  <c:v>77.7</c:v>
                </c:pt>
                <c:pt idx="1547" formatCode="#,##0_);\(#,##0\);&quot;-  &quot;;&quot; &quot;@&quot; &quot;">
                  <c:v>78.42</c:v>
                </c:pt>
                <c:pt idx="1548" formatCode="#,##0_);\(#,##0\);&quot;-  &quot;;&quot; &quot;@&quot; &quot;">
                  <c:v>79.78</c:v>
                </c:pt>
                <c:pt idx="1549" formatCode="#,##0_);\(#,##0\);&quot;-  &quot;;&quot; &quot;@&quot; &quot;">
                  <c:v>80.84</c:v>
                </c:pt>
                <c:pt idx="1550" formatCode="#,##0_);\(#,##0\);&quot;-  &quot;;&quot; &quot;@&quot; &quot;">
                  <c:v>81.650000000000006</c:v>
                </c:pt>
                <c:pt idx="1551" formatCode="#,##0_);\(#,##0\);&quot;-  &quot;;&quot; &quot;@&quot; &quot;">
                  <c:v>81.61</c:v>
                </c:pt>
                <c:pt idx="1552" formatCode="#,##0_);\(#,##0\);&quot;-  &quot;;&quot; &quot;@&quot; &quot;">
                  <c:v>81.89</c:v>
                </c:pt>
                <c:pt idx="1553" formatCode="#,##0_);\(#,##0\);&quot;-  &quot;;&quot; &quot;@&quot; &quot;">
                  <c:v>82.16</c:v>
                </c:pt>
                <c:pt idx="1554" formatCode="#,##0_);\(#,##0\);&quot;-  &quot;;&quot; &quot;@&quot; &quot;">
                  <c:v>81.83</c:v>
                </c:pt>
                <c:pt idx="1555" formatCode="#,##0_);\(#,##0\);&quot;-  &quot;;&quot; &quot;@&quot; &quot;">
                  <c:v>82.47</c:v>
                </c:pt>
                <c:pt idx="1556" formatCode="#,##0_);\(#,##0\);&quot;-  &quot;;&quot; &quot;@&quot; &quot;">
                  <c:v>82.94</c:v>
                </c:pt>
                <c:pt idx="1557" formatCode="#,##0_);\(#,##0\);&quot;-  &quot;;&quot; &quot;@&quot; &quot;">
                  <c:v>83.44</c:v>
                </c:pt>
                <c:pt idx="1558" formatCode="#,##0_);\(#,##0\);&quot;-  &quot;;&quot; &quot;@&quot; &quot;">
                  <c:v>83.16</c:v>
                </c:pt>
                <c:pt idx="1559" formatCode="#,##0_);\(#,##0\);&quot;-  &quot;;&quot; &quot;@&quot; &quot;">
                  <c:v>82.36</c:v>
                </c:pt>
                <c:pt idx="1560" formatCode="#,##0_);\(#,##0\);&quot;-  &quot;;&quot; &quot;@&quot; &quot;">
                  <c:v>82.36</c:v>
                </c:pt>
                <c:pt idx="1561" formatCode="#,##0_);\(#,##0\);&quot;-  &quot;;&quot; &quot;@&quot; &quot;">
                  <c:v>84.02</c:v>
                </c:pt>
                <c:pt idx="1562" formatCode="#,##0_);\(#,##0\);&quot;-  &quot;;&quot; &quot;@&quot; &quot;">
                  <c:v>83.39</c:v>
                </c:pt>
                <c:pt idx="1563" formatCode="#,##0_);\(#,##0\);&quot;-  &quot;;&quot; &quot;@&quot; &quot;">
                  <c:v>82.59</c:v>
                </c:pt>
                <c:pt idx="1564" formatCode="#,##0_);\(#,##0\);&quot;-  &quot;;&quot; &quot;@&quot; &quot;">
                  <c:v>81.06</c:v>
                </c:pt>
                <c:pt idx="1565" formatCode="#,##0_);\(#,##0\);&quot;-  &quot;;&quot; &quot;@&quot; &quot;">
                  <c:v>79.63</c:v>
                </c:pt>
                <c:pt idx="1566" formatCode="#,##0_);\(#,##0\);&quot;-  &quot;;&quot; &quot;@&quot; &quot;">
                  <c:v>79.040000000000006</c:v>
                </c:pt>
                <c:pt idx="1567" formatCode="#,##0_);\(#,##0\);&quot;-  &quot;;&quot; &quot;@&quot; &quot;">
                  <c:v>77.599999999999994</c:v>
                </c:pt>
                <c:pt idx="1568" formatCode="#,##0_);\(#,##0\);&quot;-  &quot;;&quot; &quot;@&quot; &quot;">
                  <c:v>77.52</c:v>
                </c:pt>
                <c:pt idx="1569" formatCode="#,##0_);\(#,##0\);&quot;-  &quot;;&quot; &quot;@&quot; &quot;">
                  <c:v>76.91</c:v>
                </c:pt>
                <c:pt idx="1570" formatCode="#,##0_);\(#,##0\);&quot;-  &quot;;&quot; &quot;@&quot; &quot;">
                  <c:v>76.760000000000005</c:v>
                </c:pt>
                <c:pt idx="1571" formatCode="#,##0_);\(#,##0\);&quot;-  &quot;;&quot; &quot;@&quot; &quot;">
                  <c:v>76.63</c:v>
                </c:pt>
                <c:pt idx="1572" formatCode="#,##0_);\(#,##0\);&quot;-  &quot;;&quot; &quot;@&quot; &quot;">
                  <c:v>77.209999999999994</c:v>
                </c:pt>
                <c:pt idx="1573" formatCode="#,##0_);\(#,##0\);&quot;-  &quot;;&quot; &quot;@&quot; &quot;">
                  <c:v>75.959999999999994</c:v>
                </c:pt>
                <c:pt idx="1574" formatCode="#,##0_);\(#,##0\);&quot;-  &quot;;&quot; &quot;@&quot; &quot;">
                  <c:v>74.739999999999995</c:v>
                </c:pt>
                <c:pt idx="1575" formatCode="#,##0_);\(#,##0\);&quot;-  &quot;;&quot; &quot;@&quot; &quot;">
                  <c:v>73.989999999999995</c:v>
                </c:pt>
                <c:pt idx="1576" formatCode="#,##0_);\(#,##0\);&quot;-  &quot;;&quot; &quot;@&quot; &quot;">
                  <c:v>72.709999999999994</c:v>
                </c:pt>
                <c:pt idx="1577" formatCode="#,##0_);\(#,##0\);&quot;-  &quot;;&quot; &quot;@&quot; &quot;">
                  <c:v>70.510000000000005</c:v>
                </c:pt>
                <c:pt idx="1578" formatCode="#,##0_);\(#,##0\);&quot;-  &quot;;&quot; &quot;@&quot; &quot;">
                  <c:v>70.349999999999994</c:v>
                </c:pt>
                <c:pt idx="1579" formatCode="#,##0_);\(#,##0\);&quot;-  &quot;;&quot; &quot;@&quot; &quot;">
                  <c:v>70.3</c:v>
                </c:pt>
                <c:pt idx="1580" formatCode="#,##0_);\(#,##0\);&quot;-  &quot;;&quot; &quot;@&quot; &quot;">
                  <c:v>67.510000000000005</c:v>
                </c:pt>
                <c:pt idx="1581" formatCode="#,##0_);\(#,##0\);&quot;-  &quot;;&quot; &quot;@&quot; &quot;">
                  <c:v>66.209999999999994</c:v>
                </c:pt>
                <c:pt idx="1582" formatCode="#,##0_);\(#,##0\);&quot;-  &quot;;&quot; &quot;@&quot; &quot;">
                  <c:v>63.73</c:v>
                </c:pt>
                <c:pt idx="1583" formatCode="#,##0_);\(#,##0\);&quot;-  &quot;;&quot; &quot;@&quot; &quot;">
                  <c:v>64.41</c:v>
                </c:pt>
                <c:pt idx="1584" formatCode="#,##0_);\(#,##0\);&quot;-  &quot;;&quot; &quot;@&quot; &quot;">
                  <c:v>66.2</c:v>
                </c:pt>
                <c:pt idx="1585" formatCode="#,##0_);\(#,##0\);&quot;-  &quot;;&quot; &quot;@&quot; &quot;">
                  <c:v>67.040000000000006</c:v>
                </c:pt>
                <c:pt idx="1586" formatCode="#,##0_);\(#,##0\);&quot;-  &quot;;&quot; &quot;@&quot; &quot;">
                  <c:v>66.349999999999994</c:v>
                </c:pt>
                <c:pt idx="1587" formatCode="#,##0_);\(#,##0\);&quot;-  &quot;;&quot; &quot;@&quot; &quot;">
                  <c:v>64.680000000000007</c:v>
                </c:pt>
                <c:pt idx="1588" formatCode="#,##0_);\(#,##0\);&quot;-  &quot;;&quot; &quot;@&quot; &quot;">
                  <c:v>65.13</c:v>
                </c:pt>
                <c:pt idx="1589" formatCode="#,##0_);\(#,##0\);&quot;-  &quot;;&quot; &quot;@&quot; &quot;">
                  <c:v>66.98</c:v>
                </c:pt>
                <c:pt idx="1590" formatCode="#,##0_);\(#,##0\);&quot;-  &quot;;&quot; &quot;@&quot; &quot;">
                  <c:v>67.14</c:v>
                </c:pt>
                <c:pt idx="1591" formatCode="#,##0_);\(#,##0\);&quot;-  &quot;;&quot; &quot;@&quot; &quot;">
                  <c:v>67.489999999999995</c:v>
                </c:pt>
                <c:pt idx="1592" formatCode="#,##0_);\(#,##0\);&quot;-  &quot;;&quot; &quot;@&quot; &quot;">
                  <c:v>67.39</c:v>
                </c:pt>
                <c:pt idx="1593" formatCode="#,##0_);\(#,##0\);&quot;-  &quot;;&quot; &quot;@&quot; &quot;">
                  <c:v>66.34</c:v>
                </c:pt>
                <c:pt idx="1594" formatCode="#,##0_);\(#,##0\);&quot;-  &quot;;&quot; &quot;@&quot; &quot;">
                  <c:v>67.78</c:v>
                </c:pt>
                <c:pt idx="1595" formatCode="#,##0_);\(#,##0\);&quot;-  &quot;;&quot; &quot;@&quot; &quot;">
                  <c:v>67.86</c:v>
                </c:pt>
                <c:pt idx="1596" formatCode="#,##0_);\(#,##0\);&quot;-  &quot;;&quot; &quot;@&quot; &quot;">
                  <c:v>67.05</c:v>
                </c:pt>
                <c:pt idx="1597" formatCode="#,##0_);\(#,##0\);&quot;-  &quot;;&quot; &quot;@&quot; &quot;">
                  <c:v>64.349999999999994</c:v>
                </c:pt>
                <c:pt idx="1598" formatCode="#,##0_);\(#,##0\);&quot;-  &quot;;&quot; &quot;@&quot; &quot;">
                  <c:v>63.64</c:v>
                </c:pt>
                <c:pt idx="1599" formatCode="#,##0_);\(#,##0\);&quot;-  &quot;;&quot; &quot;@&quot; &quot;">
                  <c:v>61.05</c:v>
                </c:pt>
                <c:pt idx="1600" formatCode="#,##0_);\(#,##0\);&quot;-  &quot;;&quot; &quot;@&quot; &quot;">
                  <c:v>59.01</c:v>
                </c:pt>
                <c:pt idx="1601" formatCode="#,##0_);\(#,##0\);&quot;-  &quot;;&quot; &quot;@&quot; &quot;">
                  <c:v>58.37</c:v>
                </c:pt>
                <c:pt idx="1602" formatCode="#,##0_);\(#,##0\);&quot;-  &quot;;&quot; &quot;@&quot; &quot;">
                  <c:v>60.13</c:v>
                </c:pt>
                <c:pt idx="1603" formatCode="#,##0_);\(#,##0\);&quot;-  &quot;;&quot; &quot;@&quot; &quot;">
                  <c:v>60.26</c:v>
                </c:pt>
                <c:pt idx="1604" formatCode="#,##0_);\(#,##0\);&quot;-  &quot;;&quot; &quot;@&quot; &quot;">
                  <c:v>59.89</c:v>
                </c:pt>
                <c:pt idx="1605" formatCode="#,##0_);\(#,##0\);&quot;-  &quot;;&quot; &quot;@&quot; &quot;">
                  <c:v>58.66</c:v>
                </c:pt>
                <c:pt idx="1606" formatCode="#,##0_);\(#,##0\);&quot;-  &quot;;&quot; &quot;@&quot; &quot;">
                  <c:v>54.32</c:v>
                </c:pt>
                <c:pt idx="1607" formatCode="#,##0_);\(#,##0\);&quot;-  &quot;;&quot; &quot;@&quot; &quot;">
                  <c:v>44.68</c:v>
                </c:pt>
                <c:pt idx="1608" formatCode="#,##0_);\(#,##0\);&quot;-  &quot;;&quot; &quot;@&quot; &quot;">
                  <c:v>47.06</c:v>
                </c:pt>
                <c:pt idx="1609" formatCode="#,##0_);\(#,##0\);&quot;-  &quot;;&quot; &quot;@&quot; &quot;">
                  <c:v>46.84</c:v>
                </c:pt>
                <c:pt idx="1610" formatCode="#,##0_);\(#,##0\);&quot;-  &quot;;&quot; &quot;@&quot; &quot;">
                  <c:v>42.34</c:v>
                </c:pt>
                <c:pt idx="1611" formatCode="#,##0_);\(#,##0\);&quot;-  &quot;;&quot; &quot;@&quot; &quot;">
                  <c:v>42.19</c:v>
                </c:pt>
                <c:pt idx="1612" formatCode="#,##0_);\(#,##0\);&quot;-  &quot;;&quot; &quot;@&quot; &quot;">
                  <c:v>36.840000000000003</c:v>
                </c:pt>
                <c:pt idx="1613" formatCode="#,##0_);\(#,##0\);&quot;-  &quot;;&quot; &quot;@&quot; &quot;">
                  <c:v>35.07</c:v>
                </c:pt>
                <c:pt idx="1614" formatCode="#,##0_);\(#,##0\);&quot;-  &quot;;&quot; &quot;@&quot; &quot;">
                  <c:v>28.82</c:v>
                </c:pt>
                <c:pt idx="1615" formatCode="#,##0_);\(#,##0\);&quot;-  &quot;;&quot; &quot;@&quot; &quot;">
                  <c:v>29.56</c:v>
                </c:pt>
                <c:pt idx="1616" formatCode="#,##0_);\(#,##0\);&quot;-  &quot;;&quot; &quot;@&quot; &quot;">
                  <c:v>30.07</c:v>
                </c:pt>
                <c:pt idx="1617" formatCode="#,##0_);\(#,##0\);&quot;-  &quot;;&quot; &quot;@&quot; &quot;">
                  <c:v>26.63</c:v>
                </c:pt>
                <c:pt idx="1618" formatCode="#,##0_);\(#,##0\);&quot;-  &quot;;&quot; &quot;@&quot; &quot;">
                  <c:v>29.56</c:v>
                </c:pt>
                <c:pt idx="1619" formatCode="#,##0_);\(#,##0\);&quot;-  &quot;;&quot; &quot;@&quot; &quot;">
                  <c:v>31.4</c:v>
                </c:pt>
                <c:pt idx="1620" formatCode="#,##0_);\(#,##0\);&quot;-  &quot;;&quot; &quot;@&quot; &quot;">
                  <c:v>30.6</c:v>
                </c:pt>
                <c:pt idx="1621" formatCode="#,##0_);\(#,##0\);&quot;-  &quot;;&quot; &quot;@&quot; &quot;">
                  <c:v>31.01</c:v>
                </c:pt>
                <c:pt idx="1622" formatCode="#,##0_);\(#,##0\);&quot;-  &quot;;&quot; &quot;@&quot; &quot;">
                  <c:v>28.42</c:v>
                </c:pt>
                <c:pt idx="1623" formatCode="#,##0_);\(#,##0\);&quot;-  &quot;;&quot; &quot;@&quot; &quot;">
                  <c:v>28.28</c:v>
                </c:pt>
                <c:pt idx="1624" formatCode="#,##0_);\(#,##0\);&quot;-  &quot;;&quot; &quot;@&quot; &quot;">
                  <c:v>25.43</c:v>
                </c:pt>
                <c:pt idx="1625" formatCode="#,##0_);\(#,##0\);&quot;-  &quot;;&quot; &quot;@&quot; &quot;">
                  <c:v>26.91</c:v>
                </c:pt>
                <c:pt idx="1626" formatCode="#,##0_);\(#,##0\);&quot;-  &quot;;&quot; &quot;@&quot; &quot;">
                  <c:v>29.92</c:v>
                </c:pt>
                <c:pt idx="1627" formatCode="#,##0_);\(#,##0\);&quot;-  &quot;;&quot; &quot;@&quot; &quot;">
                  <c:v>29.11</c:v>
                </c:pt>
                <c:pt idx="1628" formatCode="#,##0_);\(#,##0\);&quot;-  &quot;;&quot; &quot;@&quot; &quot;">
                  <c:v>28.3</c:v>
                </c:pt>
                <c:pt idx="1629" formatCode="#,##0_);\(#,##0\);&quot;-  &quot;;&quot; &quot;@&quot; &quot;">
                  <c:v>27.07</c:v>
                </c:pt>
                <c:pt idx="1630" formatCode="#,##0_);\(#,##0\);&quot;-  &quot;;&quot; &quot;@&quot; &quot;">
                  <c:v>25.64</c:v>
                </c:pt>
                <c:pt idx="1631" formatCode="#,##0_);\(#,##0\);&quot;-  &quot;;&quot; &quot;@&quot; &quot;">
                  <c:v>25.71</c:v>
                </c:pt>
                <c:pt idx="1632" formatCode="#,##0_);\(#,##0\);&quot;-  &quot;;&quot; &quot;@&quot; &quot;">
                  <c:v>25.02</c:v>
                </c:pt>
                <c:pt idx="1633" formatCode="#,##0_);\(#,##0\);&quot;-  &quot;;&quot; &quot;@&quot; &quot;">
                  <c:v>24.18</c:v>
                </c:pt>
                <c:pt idx="1634" formatCode="#,##0_);\(#,##0\);&quot;-  &quot;;&quot; &quot;@&quot; &quot;">
                  <c:v>25.39</c:v>
                </c:pt>
                <c:pt idx="1635" formatCode="#,##0_);\(#,##0\);&quot;-  &quot;;&quot; &quot;@&quot; &quot;">
                  <c:v>26.74</c:v>
                </c:pt>
                <c:pt idx="1636" formatCode="#,##0_);\(#,##0\);&quot;-  &quot;;&quot; &quot;@&quot; &quot;">
                  <c:v>24.96</c:v>
                </c:pt>
                <c:pt idx="1637" formatCode="#,##0_);\(#,##0\);&quot;-  &quot;;&quot; &quot;@&quot; &quot;">
                  <c:v>18.21</c:v>
                </c:pt>
                <c:pt idx="1638" formatCode="#,##0_);\(#,##0\);&quot;-  &quot;;&quot; &quot;@&quot; &quot;">
                  <c:v>17.579999999999998</c:v>
                </c:pt>
                <c:pt idx="1639" formatCode="#,##0_);\(#,##0\);&quot;-  &quot;;&quot; &quot;@&quot; &quot;">
                  <c:v>19.38</c:v>
                </c:pt>
                <c:pt idx="1640" formatCode="#,##0_);\(#,##0\);&quot;-  &quot;;&quot; &quot;@&quot; &quot;">
                  <c:v>17.04</c:v>
                </c:pt>
                <c:pt idx="1641" formatCode="#,##0_);\(#,##0\);&quot;-  &quot;;&quot; &quot;@&quot; &quot;">
                  <c:v>15.43</c:v>
                </c:pt>
                <c:pt idx="1642" formatCode="#,##0_);\(#,##0\);&quot;-  &quot;;&quot; &quot;@&quot; &quot;">
                  <c:v>15.29</c:v>
                </c:pt>
                <c:pt idx="1643" formatCode="#,##0_);\(#,##0\);&quot;-  &quot;;&quot; &quot;@&quot; &quot;">
                  <c:v>17.86</c:v>
                </c:pt>
                <c:pt idx="1644" formatCode="#,##0_);\(#,##0\);&quot;-  &quot;;&quot; &quot;@&quot; &quot;">
                  <c:v>20.66</c:v>
                </c:pt>
                <c:pt idx="1645" formatCode="#,##0_);\(#,##0\);&quot;-  &quot;;&quot; &quot;@&quot; &quot;">
                  <c:v>19.89</c:v>
                </c:pt>
                <c:pt idx="1646" formatCode="#,##0_);\(#,##0\);&quot;-  &quot;;&quot; &quot;@&quot; &quot;">
                  <c:v>20.010000000000002</c:v>
                </c:pt>
                <c:pt idx="1647" formatCode="#,##0_);\(#,##0\);&quot;-  &quot;;&quot; &quot;@&quot; &quot;">
                  <c:v>23.96</c:v>
                </c:pt>
                <c:pt idx="1648" formatCode="#,##0_);\(#,##0\);&quot;-  &quot;;&quot; &quot;@&quot; &quot;">
                  <c:v>24.12</c:v>
                </c:pt>
                <c:pt idx="1649" formatCode="#,##0_);\(#,##0\);&quot;-  &quot;;&quot; &quot;@&quot; &quot;">
                  <c:v>25.48</c:v>
                </c:pt>
                <c:pt idx="1650" formatCode="#,##0_);\(#,##0\);&quot;-  &quot;;&quot; &quot;@&quot; &quot;">
                  <c:v>26.17</c:v>
                </c:pt>
                <c:pt idx="1651" formatCode="#,##0_);\(#,##0\);&quot;-  &quot;;&quot; &quot;@&quot; &quot;">
                  <c:v>26.85</c:v>
                </c:pt>
                <c:pt idx="1652" formatCode="#,##0_);\(#,##0\);&quot;-  &quot;;&quot; &quot;@&quot; &quot;">
                  <c:v>25.41</c:v>
                </c:pt>
                <c:pt idx="1653" formatCode="#,##0_);\(#,##0\);&quot;-  &quot;;&quot; &quot;@&quot; &quot;">
                  <c:v>25.14</c:v>
                </c:pt>
                <c:pt idx="1654" formatCode="#,##0_);\(#,##0\);&quot;-  &quot;;&quot; &quot;@&quot; &quot;">
                  <c:v>27.94</c:v>
                </c:pt>
                <c:pt idx="1655" formatCode="#,##0_);\(#,##0\);&quot;-  &quot;;&quot; &quot;@&quot; &quot;">
                  <c:v>30.38</c:v>
                </c:pt>
                <c:pt idx="1656" formatCode="#,##0_);\(#,##0\);&quot;-  &quot;;&quot; &quot;@&quot; &quot;">
                  <c:v>34.409999999999997</c:v>
                </c:pt>
                <c:pt idx="1657" formatCode="#,##0_);\(#,##0\);&quot;-  &quot;;&quot; &quot;@&quot; &quot;">
                  <c:v>34.6</c:v>
                </c:pt>
                <c:pt idx="1658" formatCode="#,##0_);\(#,##0\);&quot;-  &quot;;&quot; &quot;@&quot; &quot;">
                  <c:v>34.979999999999997</c:v>
                </c:pt>
                <c:pt idx="1659" formatCode="#,##0_);\(#,##0\);&quot;-  &quot;;&quot; &quot;@&quot; &quot;">
                  <c:v>35.619999999999997</c:v>
                </c:pt>
                <c:pt idx="1660" formatCode="#,##0_);\(#,##0\);&quot;-  &quot;;&quot; &quot;@&quot; &quot;">
                  <c:v>34.89</c:v>
                </c:pt>
                <c:pt idx="1661" formatCode="#,##0_);\(#,##0\);&quot;-  &quot;;&quot; &quot;@&quot; &quot;">
                  <c:v>37.1</c:v>
                </c:pt>
                <c:pt idx="1662" formatCode="#,##0_);\(#,##0\);&quot;-  &quot;;&quot; &quot;@&quot; &quot;">
                  <c:v>36.200000000000003</c:v>
                </c:pt>
                <c:pt idx="1663" formatCode="#,##0_);\(#,##0\);&quot;-  &quot;;&quot; &quot;@&quot; &quot;">
                  <c:v>34.270000000000003</c:v>
                </c:pt>
                <c:pt idx="1664" formatCode="#,##0_);\(#,##0\);&quot;-  &quot;;&quot; &quot;@&quot; &quot;">
                  <c:v>35.36</c:v>
                </c:pt>
                <c:pt idx="1665" formatCode="#,##0_);\(#,##0\);&quot;-  &quot;;&quot; &quot;@&quot; &quot;">
                  <c:v>36.520000000000003</c:v>
                </c:pt>
                <c:pt idx="1666" formatCode="#,##0_);\(#,##0\);&quot;-  &quot;;&quot; &quot;@&quot; &quot;">
                  <c:v>38.409999999999997</c:v>
                </c:pt>
                <c:pt idx="1667" formatCode="#,##0_);\(#,##0\);&quot;-  &quot;;&quot; &quot;@&quot; &quot;">
                  <c:v>38.03</c:v>
                </c:pt>
                <c:pt idx="1668" formatCode="#,##0_);\(#,##0\);&quot;-  &quot;;&quot; &quot;@&quot; &quot;">
                  <c:v>38.04</c:v>
                </c:pt>
                <c:pt idx="1669" formatCode="#,##0_);\(#,##0\);&quot;-  &quot;;&quot; &quot;@&quot; &quot;">
                  <c:v>41.27</c:v>
                </c:pt>
                <c:pt idx="1670" formatCode="#,##0_);\(#,##0\);&quot;-  &quot;;&quot; &quot;@&quot; &quot;">
                  <c:v>41.64</c:v>
                </c:pt>
                <c:pt idx="1671" formatCode="#,##0_);\(#,##0\);&quot;-  &quot;;&quot; &quot;@&quot; &quot;">
                  <c:v>41.65</c:v>
                </c:pt>
                <c:pt idx="1672" formatCode="#,##0_);\(#,##0\);&quot;-  &quot;;&quot; &quot;@&quot; &quot;">
                  <c:v>42.61</c:v>
                </c:pt>
                <c:pt idx="1673" formatCode="#,##0_);\(#,##0\);&quot;-  &quot;;&quot; &quot;@&quot; &quot;">
                  <c:v>40.51</c:v>
                </c:pt>
                <c:pt idx="1674" formatCode="#,##0_);\(#,##0\);&quot;-  &quot;;&quot; &quot;@&quot; &quot;">
                  <c:v>40.44</c:v>
                </c:pt>
                <c:pt idx="1675" formatCode="#,##0_);\(#,##0\);&quot;-  &quot;;&quot; &quot;@&quot; &quot;">
                  <c:v>41.24</c:v>
                </c:pt>
                <c:pt idx="1676" formatCode="#,##0_);\(#,##0\);&quot;-  &quot;;&quot; &quot;@&quot; &quot;">
                  <c:v>43.09</c:v>
                </c:pt>
                <c:pt idx="1677" formatCode="#,##0_);\(#,##0\);&quot;-  &quot;;&quot; &quot;@&quot; &quot;">
                  <c:v>43.31</c:v>
                </c:pt>
                <c:pt idx="1678" formatCode="#,##0_);\(#,##0\);&quot;-  &quot;;&quot; &quot;@&quot; &quot;">
                  <c:v>44.12</c:v>
                </c:pt>
                <c:pt idx="1679" formatCode="#,##0_);\(#,##0\);&quot;-  &quot;;&quot; &quot;@&quot; &quot;">
                  <c:v>45.51</c:v>
                </c:pt>
                <c:pt idx="1680" formatCode="#,##0_);\(#,##0\);&quot;-  &quot;;&quot; &quot;@&quot; &quot;">
                  <c:v>45.72</c:v>
                </c:pt>
                <c:pt idx="1681" formatCode="#,##0_);\(#,##0\);&quot;-  &quot;;&quot; &quot;@&quot; &quot;">
                  <c:v>45.43</c:v>
                </c:pt>
                <c:pt idx="1682" formatCode="#,##0_);\(#,##0\);&quot;-  &quot;;&quot; &quot;@&quot; &quot;">
                  <c:v>43.12</c:v>
                </c:pt>
                <c:pt idx="1683" formatCode="#,##0_);\(#,##0\);&quot;-  &quot;;&quot; &quot;@&quot; &quot;">
                  <c:v>42.47</c:v>
                </c:pt>
                <c:pt idx="1684" formatCode="#,##0_);\(#,##0\);&quot;-  &quot;;&quot; &quot;@&quot; &quot;">
                  <c:v>41.82</c:v>
                </c:pt>
                <c:pt idx="1685" formatCode="#,##0_);\(#,##0\);&quot;-  &quot;;&quot; &quot;@&quot; &quot;">
                  <c:v>42.44</c:v>
                </c:pt>
                <c:pt idx="1686" formatCode="#,##0_);\(#,##0\);&quot;-  &quot;;&quot; &quot;@&quot; &quot;">
                  <c:v>43.02</c:v>
                </c:pt>
                <c:pt idx="1687" formatCode="#,##0_);\(#,##0\);&quot;-  &quot;;&quot; &quot;@&quot; &quot;">
                  <c:v>43.49</c:v>
                </c:pt>
                <c:pt idx="1688" formatCode="#,##0_);\(#,##0\);&quot;-  &quot;;&quot; &quot;@&quot; &quot;">
                  <c:v>44.29</c:v>
                </c:pt>
                <c:pt idx="1689" formatCode="#,##0_);\(#,##0\);&quot;-  &quot;;&quot; &quot;@&quot; &quot;">
                  <c:v>44.76</c:v>
                </c:pt>
                <c:pt idx="1690" formatCode="#,##0_);\(#,##0\);&quot;-  &quot;;&quot; &quot;@&quot; &quot;">
                  <c:v>45.16</c:v>
                </c:pt>
                <c:pt idx="1691" formatCode="#,##0_);\(#,##0\);&quot;-  &quot;;&quot; &quot;@&quot; &quot;">
                  <c:v>45.43</c:v>
                </c:pt>
                <c:pt idx="1692" formatCode="#,##0_);\(#,##0\);&quot;-  &quot;;&quot; &quot;@&quot; &quot;">
                  <c:v>45.27</c:v>
                </c:pt>
                <c:pt idx="1693" formatCode="#,##0_);\(#,##0\);&quot;-  &quot;;&quot; &quot;@&quot; &quot;">
                  <c:v>45.1</c:v>
                </c:pt>
                <c:pt idx="1694" formatCode="#,##0_);\(#,##0\);&quot;-  &quot;;&quot; &quot;@&quot; &quot;">
                  <c:v>45.58</c:v>
                </c:pt>
                <c:pt idx="1695" formatCode="#,##0_);\(#,##0\);&quot;-  &quot;;&quot; &quot;@&quot; &quot;">
                  <c:v>45.42</c:v>
                </c:pt>
                <c:pt idx="1696" formatCode="#,##0_);\(#,##0\);&quot;-  &quot;;&quot; &quot;@&quot; &quot;">
                  <c:v>44.8</c:v>
                </c:pt>
                <c:pt idx="1697" formatCode="#,##0_);\(#,##0\);&quot;-  &quot;;&quot; &quot;@&quot; &quot;">
                  <c:v>45.59</c:v>
                </c:pt>
                <c:pt idx="1698" formatCode="#,##0_);\(#,##0\);&quot;-  &quot;;&quot; &quot;@&quot; &quot;">
                  <c:v>45.39</c:v>
                </c:pt>
                <c:pt idx="1699" formatCode="#,##0_);\(#,##0\);&quot;-  &quot;;&quot; &quot;@&quot; &quot;">
                  <c:v>45.09</c:v>
                </c:pt>
                <c:pt idx="1700" formatCode="#,##0_);\(#,##0\);&quot;-  &quot;;&quot; &quot;@&quot; &quot;">
                  <c:v>45.5</c:v>
                </c:pt>
                <c:pt idx="1701" formatCode="#,##0_);\(#,##0\);&quot;-  &quot;;&quot; &quot;@&quot; &quot;">
                  <c:v>47.32</c:v>
                </c:pt>
                <c:pt idx="1702" formatCode="#,##0_);\(#,##0\);&quot;-  &quot;;&quot; &quot;@&quot; &quot;">
                  <c:v>47.09</c:v>
                </c:pt>
                <c:pt idx="1703" formatCode="#,##0_);\(#,##0\);&quot;-  &quot;;&quot; &quot;@&quot; &quot;">
                  <c:v>46.91</c:v>
                </c:pt>
                <c:pt idx="1704" formatCode="#,##0_);\(#,##0\);&quot;-  &quot;;&quot; &quot;@&quot; &quot;">
                  <c:v>46.32</c:v>
                </c:pt>
                <c:pt idx="1705" formatCode="#,##0_);\(#,##0\);&quot;-  &quot;;&quot; &quot;@&quot; &quot;">
                  <c:v>46.16</c:v>
                </c:pt>
                <c:pt idx="1706" formatCode="#,##0_);\(#,##0\);&quot;-  &quot;;&quot; &quot;@&quot; &quot;">
                  <c:v>46.1</c:v>
                </c:pt>
                <c:pt idx="1707" formatCode="#,##0_);\(#,##0\);&quot;-  &quot;;&quot; &quot;@&quot; &quot;">
                  <c:v>46.47</c:v>
                </c:pt>
                <c:pt idx="1708" formatCode="#,##0_);\(#,##0\);&quot;-  &quot;;&quot; &quot;@&quot; &quot;">
                  <c:v>44.82</c:v>
                </c:pt>
                <c:pt idx="1709" formatCode="#,##0_);\(#,##0\);&quot;-  &quot;;&quot; &quot;@&quot; &quot;">
                  <c:v>45.24</c:v>
                </c:pt>
                <c:pt idx="1710" formatCode="#,##0_);\(#,##0\);&quot;-  &quot;;&quot; &quot;@&quot; &quot;">
                  <c:v>45.37</c:v>
                </c:pt>
                <c:pt idx="1711" formatCode="#,##0_);\(#,##0\);&quot;-  &quot;;&quot; &quot;@&quot; &quot;">
                  <c:v>45.88</c:v>
                </c:pt>
                <c:pt idx="1712" formatCode="#,##0_);\(#,##0\);&quot;-  &quot;;&quot; &quot;@&quot; &quot;">
                  <c:v>47.05</c:v>
                </c:pt>
                <c:pt idx="1713" formatCode="#,##0_);\(#,##0\);&quot;-  &quot;;&quot; &quot;@&quot; &quot;">
                  <c:v>46.13</c:v>
                </c:pt>
                <c:pt idx="1714" formatCode="#,##0_);\(#,##0\);&quot;-  &quot;;&quot; &quot;@&quot; &quot;">
                  <c:v>45.38</c:v>
                </c:pt>
                <c:pt idx="1715" formatCode="#,##0_);\(#,##0\);&quot;-  &quot;;&quot; &quot;@&quot; &quot;">
                  <c:v>45.56</c:v>
                </c:pt>
                <c:pt idx="1716" formatCode="#,##0_);\(#,##0\);&quot;-  &quot;;&quot; &quot;@&quot; &quot;">
                  <c:v>45.53</c:v>
                </c:pt>
                <c:pt idx="1717" formatCode="#,##0_);\(#,##0\);&quot;-  &quot;;&quot; &quot;@&quot; &quot;">
                  <c:v>45.81</c:v>
                </c:pt>
                <c:pt idx="1718" formatCode="#,##0_);\(#,##0\);&quot;-  &quot;;&quot; &quot;@&quot; &quot;">
                  <c:v>45.58</c:v>
                </c:pt>
                <c:pt idx="1719" formatCode="#,##0_);\(#,##0\);&quot;-  &quot;;&quot; &quot;@&quot; &quot;">
                  <c:v>45.11</c:v>
                </c:pt>
                <c:pt idx="1720" formatCode="#,##0_);\(#,##0\);&quot;-  &quot;;&quot; &quot;@&quot; &quot;">
                  <c:v>45.05</c:v>
                </c:pt>
                <c:pt idx="1721" formatCode="#,##0_);\(#,##0\);&quot;-  &quot;;&quot; &quot;@&quot; &quot;">
                  <c:v>45.61</c:v>
                </c:pt>
                <c:pt idx="1722" formatCode="#,##0_);\(#,##0\);&quot;-  &quot;;&quot; &quot;@&quot; &quot;">
                  <c:v>45.42</c:v>
                </c:pt>
                <c:pt idx="1723" formatCode="#,##0_);\(#,##0\);&quot;-  &quot;;&quot; &quot;@&quot; &quot;">
                  <c:v>44.87</c:v>
                </c:pt>
                <c:pt idx="1724" formatCode="#,##0_);\(#,##0\);&quot;-  &quot;;&quot; &quot;@&quot; &quot;">
                  <c:v>43.95</c:v>
                </c:pt>
                <c:pt idx="1725" formatCode="#,##0_);\(#,##0\);&quot;-  &quot;;&quot; &quot;@&quot; &quot;">
                  <c:v>45.34</c:v>
                </c:pt>
                <c:pt idx="1726" formatCode="#,##0_);\(#,##0\);&quot;-  &quot;;&quot; &quot;@&quot; &quot;">
                  <c:v>46.38</c:v>
                </c:pt>
                <c:pt idx="1727" formatCode="#,##0_);\(#,##0\);&quot;-  &quot;;&quot; &quot;@&quot; &quot;">
                  <c:v>45.63</c:v>
                </c:pt>
                <c:pt idx="1728" formatCode="#,##0_);\(#,##0\);&quot;-  &quot;;&quot; &quot;@&quot; &quot;">
                  <c:v>44.33</c:v>
                </c:pt>
                <c:pt idx="1729" formatCode="#,##0_);\(#,##0\);&quot;-  &quot;;&quot; &quot;@&quot; &quot;">
                  <c:v>44.53</c:v>
                </c:pt>
                <c:pt idx="1730" formatCode="#,##0_);\(#,##0\);&quot;-  &quot;;&quot; &quot;@&quot; &quot;">
                  <c:v>44.44</c:v>
                </c:pt>
                <c:pt idx="1731" formatCode="#,##0_);\(#,##0\);&quot;-  &quot;;&quot; &quot;@&quot; &quot;">
                  <c:v>44.68</c:v>
                </c:pt>
                <c:pt idx="1732" formatCode="#,##0_);\(#,##0\);&quot;-  &quot;;&quot; &quot;@&quot; &quot;">
                  <c:v>43.48</c:v>
                </c:pt>
                <c:pt idx="1733" formatCode="#,##0_);\(#,##0\);&quot;-  &quot;;&quot; &quot;@&quot; &quot;">
                  <c:v>41.83</c:v>
                </c:pt>
                <c:pt idx="1734" formatCode="#,##0_);\(#,##0\);&quot;-  &quot;;&quot; &quot;@&quot; &quot;">
                  <c:v>41.93</c:v>
                </c:pt>
                <c:pt idx="1735" formatCode="#,##0_);\(#,##0\);&quot;-  &quot;;&quot; &quot;@&quot; &quot;">
                  <c:v>41.04</c:v>
                </c:pt>
                <c:pt idx="1736" formatCode="#,##0_);\(#,##0\);&quot;-  &quot;;&quot; &quot;@&quot; &quot;">
                  <c:v>38.85</c:v>
                </c:pt>
                <c:pt idx="1737" formatCode="#,##0_);\(#,##0\);&quot;-  &quot;;&quot; &quot;@&quot; &quot;">
                  <c:v>39.25</c:v>
                </c:pt>
                <c:pt idx="1738" formatCode="#,##0_);\(#,##0\);&quot;-  &quot;;&quot; &quot;@&quot; &quot;">
                  <c:v>39.14</c:v>
                </c:pt>
                <c:pt idx="1739" formatCode="#,##0_);\(#,##0\);&quot;-  &quot;;&quot; &quot;@&quot; &quot;">
                  <c:v>39.450000000000003</c:v>
                </c:pt>
                <c:pt idx="1740" formatCode="#,##0_);\(#,##0\);&quot;-  &quot;;&quot; &quot;@&quot; &quot;">
                  <c:v>39.44</c:v>
                </c:pt>
                <c:pt idx="1741" formatCode="#,##0_);\(#,##0\);&quot;-  &quot;;&quot; &quot;@&quot; &quot;">
                  <c:v>39.380000000000003</c:v>
                </c:pt>
                <c:pt idx="1742" formatCode="#,##0_);\(#,##0\);&quot;-  &quot;;&quot; &quot;@&quot; &quot;">
                  <c:v>40.409999999999997</c:v>
                </c:pt>
                <c:pt idx="1743" formatCode="#,##0_);\(#,##0\);&quot;-  &quot;;&quot; &quot;@&quot; &quot;">
                  <c:v>42.27</c:v>
                </c:pt>
                <c:pt idx="1744" formatCode="#,##0_);\(#,##0\);&quot;-  &quot;;&quot; &quot;@&quot; &quot;">
                  <c:v>42.66</c:v>
                </c:pt>
                <c:pt idx="1745" formatCode="#,##0_);\(#,##0\);&quot;-  &quot;;&quot; &quot;@&quot; &quot;">
                  <c:v>40.75</c:v>
                </c:pt>
                <c:pt idx="1746" formatCode="#,##0_);\(#,##0\);&quot;-  &quot;;&quot; &quot;@&quot; &quot;">
                  <c:v>40.65</c:v>
                </c:pt>
                <c:pt idx="1747" formatCode="#,##0_);\(#,##0\);&quot;-  &quot;;&quot; &quot;@&quot; &quot;">
                  <c:v>40.840000000000003</c:v>
                </c:pt>
                <c:pt idx="1748" formatCode="#,##0_);\(#,##0\);&quot;-  &quot;;&quot; &quot;@&quot; &quot;">
                  <c:v>40.89</c:v>
                </c:pt>
                <c:pt idx="1749" formatCode="#,##0_);\(#,##0\);&quot;-  &quot;;&quot; &quot;@&quot; &quot;">
                  <c:v>41.86</c:v>
                </c:pt>
                <c:pt idx="1750" formatCode="#,##0_);\(#,##0\);&quot;-  &quot;;&quot; &quot;@&quot; &quot;">
                  <c:v>42.17</c:v>
                </c:pt>
                <c:pt idx="1751" formatCode="#,##0_);\(#,##0\);&quot;-  &quot;;&quot; &quot;@&quot; &quot;">
                  <c:v>41.66</c:v>
                </c:pt>
                <c:pt idx="1752" formatCode="#,##0_);\(#,##0\);&quot;-  &quot;;&quot; &quot;@&quot; &quot;">
                  <c:v>42.09</c:v>
                </c:pt>
                <c:pt idx="1753" formatCode="#,##0_);\(#,##0\);&quot;-  &quot;;&quot; &quot;@&quot; &quot;">
                  <c:v>41.53</c:v>
                </c:pt>
                <c:pt idx="1754" formatCode="#,##0_);\(#,##0\);&quot;-  &quot;;&quot; &quot;@&quot; &quot;">
                  <c:v>40.28</c:v>
                </c:pt>
                <c:pt idx="1755" formatCode="#,##0_);\(#,##0\);&quot;-  &quot;;&quot; &quot;@&quot; &quot;">
                  <c:v>42.41</c:v>
                </c:pt>
                <c:pt idx="1756" formatCode="#,##0_);\(#,##0\);&quot;-  &quot;;&quot; &quot;@&quot; &quot;">
                  <c:v>44.64</c:v>
                </c:pt>
                <c:pt idx="1757" formatCode="#,##0_);\(#,##0\);&quot;-  &quot;;&quot; &quot;@&quot; &quot;">
                  <c:v>43.56</c:v>
                </c:pt>
                <c:pt idx="1758" formatCode="#,##0_);\(#,##0\);&quot;-  &quot;;&quot; &quot;@&quot; &quot;">
                  <c:v>44.62</c:v>
                </c:pt>
                <c:pt idx="1759" formatCode="#,##0_);\(#,##0\);&quot;-  &quot;;&quot; &quot;@&quot; &quot;">
                  <c:v>44.78</c:v>
                </c:pt>
                <c:pt idx="1760" formatCode="#,##0_);\(#,##0\);&quot;-  &quot;;&quot; &quot;@&quot; &quot;">
                  <c:v>43.5</c:v>
                </c:pt>
                <c:pt idx="1761" formatCode="#,##0_);\(#,##0\);&quot;-  &quot;;&quot; &quot;@&quot; &quot;">
                  <c:v>43.92</c:v>
                </c:pt>
                <c:pt idx="1762" formatCode="#,##0_);\(#,##0\);&quot;-  &quot;;&quot; &quot;@&quot; &quot;">
                  <c:v>44.81</c:v>
                </c:pt>
                <c:pt idx="1763" formatCode="#,##0_);\(#,##0\);&quot;-  &quot;;&quot; &quot;@&quot; &quot;">
                  <c:v>44.83</c:v>
                </c:pt>
                <c:pt idx="1764" formatCode="#,##0_);\(#,##0\);&quot;-  &quot;;&quot; &quot;@&quot; &quot;">
                  <c:v>44.83</c:v>
                </c:pt>
                <c:pt idx="1765" formatCode="#,##0_);\(#,##0\);&quot;-  &quot;;&quot; &quot;@&quot; &quot;">
                  <c:v>44.25</c:v>
                </c:pt>
                <c:pt idx="1766" formatCode="#,##0_);\(#,##0\);&quot;-  &quot;;&quot; &quot;@&quot; &quot;">
                  <c:v>44.14</c:v>
                </c:pt>
                <c:pt idx="1767" formatCode="#,##0_);\(#,##0\);&quot;-  &quot;;&quot; &quot;@&quot; &quot;">
                  <c:v>43.35</c:v>
                </c:pt>
                <c:pt idx="1768" formatCode="#,##0_);\(#,##0\);&quot;-  &quot;;&quot; &quot;@&quot; &quot;">
                  <c:v>44.37</c:v>
                </c:pt>
                <c:pt idx="1769" formatCode="#,##0_);\(#,##0\);&quot;-  &quot;;&quot; &quot;@&quot; &quot;">
                  <c:v>44.65</c:v>
                </c:pt>
                <c:pt idx="1770" formatCode="#,##0_);\(#,##0\);&quot;-  &quot;;&quot; &quot;@&quot; &quot;">
                  <c:v>43.29</c:v>
                </c:pt>
                <c:pt idx="1771" formatCode="#,##0_);\(#,##0\);&quot;-  &quot;;&quot; &quot;@&quot; &quot;">
                  <c:v>44.02</c:v>
                </c:pt>
                <c:pt idx="1772" formatCode="#,##0_);\(#,##0\);&quot;-  &quot;;&quot; &quot;@&quot; &quot;">
                  <c:v>42.32</c:v>
                </c:pt>
                <c:pt idx="1773" formatCode="#,##0_);\(#,##0\);&quot;-  &quot;;&quot; &quot;@&quot; &quot;">
                  <c:v>41.41</c:v>
                </c:pt>
                <c:pt idx="1774" formatCode="#,##0_);\(#,##0\);&quot;-  &quot;;&quot; &quot;@&quot; &quot;">
                  <c:v>41.55</c:v>
                </c:pt>
                <c:pt idx="1775" formatCode="#,##0_);\(#,##0\);&quot;-  &quot;;&quot; &quot;@&quot; &quot;">
                  <c:v>41.78</c:v>
                </c:pt>
                <c:pt idx="1776" formatCode="#,##0_);\(#,##0\);&quot;-  &quot;;&quot; &quot;@&quot; &quot;">
                  <c:v>43.02</c:v>
                </c:pt>
                <c:pt idx="1777" formatCode="#,##0_);\(#,##0\);&quot;-  &quot;;&quot; &quot;@&quot; &quot;">
                  <c:v>44.69</c:v>
                </c:pt>
                <c:pt idx="1778" formatCode="#,##0_);\(#,##0\);&quot;-  &quot;;&quot; &quot;@&quot; &quot;">
                  <c:v>44.87</c:v>
                </c:pt>
                <c:pt idx="1779" formatCode="#,##0_);\(#,##0\);&quot;-  &quot;;&quot; &quot;@&quot; &quot;">
                  <c:v>44.16</c:v>
                </c:pt>
                <c:pt idx="1780" formatCode="#,##0_);\(#,##0\);&quot;-  &quot;;&quot; &quot;@&quot; &quot;">
                  <c:v>46.4</c:v>
                </c:pt>
                <c:pt idx="1781" formatCode="#,##0_);\(#,##0\);&quot;-  &quot;;&quot; &quot;@&quot; &quot;">
                  <c:v>47.77</c:v>
                </c:pt>
                <c:pt idx="1782" formatCode="#,##0_);\(#,##0\);&quot;-  &quot;;&quot; &quot;@&quot; &quot;">
                  <c:v>48.22</c:v>
                </c:pt>
                <c:pt idx="1783" formatCode="#,##0_);\(#,##0\);&quot;-  &quot;;&quot; &quot;@&quot; &quot;">
                  <c:v>47.3</c:v>
                </c:pt>
                <c:pt idx="1784" formatCode="#,##0_);\(#,##0\);&quot;-  &quot;;&quot; &quot;@&quot; &quot;">
                  <c:v>45.87</c:v>
                </c:pt>
                <c:pt idx="1785" formatCode="#,##0_);\(#,##0\);&quot;-  &quot;;&quot; &quot;@&quot; &quot;">
                  <c:v>46.63</c:v>
                </c:pt>
                <c:pt idx="1786" formatCode="#,##0_);\(#,##0\);&quot;-  &quot;;&quot; &quot;@&quot; &quot;">
                  <c:v>46.75</c:v>
                </c:pt>
                <c:pt idx="1787" formatCode="#,##0_);\(#,##0\);&quot;-  &quot;;&quot; &quot;@&quot; &quot;">
                  <c:v>47.89</c:v>
                </c:pt>
                <c:pt idx="1788" formatCode="#,##0_);\(#,##0\);&quot;-  &quot;;&quot; &quot;@&quot; &quot;">
                  <c:v>48.32</c:v>
                </c:pt>
                <c:pt idx="1789" formatCode="#,##0_);\(#,##0\);&quot;-  &quot;;&quot; &quot;@&quot; &quot;">
                  <c:v>48.62</c:v>
                </c:pt>
                <c:pt idx="1790" formatCode="#,##0_);\(#,##0\);&quot;-  &quot;;&quot; &quot;@&quot; &quot;">
                  <c:v>49.55</c:v>
                </c:pt>
                <c:pt idx="1791" formatCode="#,##0_);\(#,##0\);&quot;-  &quot;;&quot; &quot;@&quot; &quot;">
                  <c:v>51.35</c:v>
                </c:pt>
                <c:pt idx="1792" formatCode="#,##0_);\(#,##0\);&quot;-  &quot;;&quot; &quot;@&quot; &quot;">
                  <c:v>52.38</c:v>
                </c:pt>
                <c:pt idx="1793" formatCode="#,##0_);\(#,##0\);&quot;-  &quot;;&quot; &quot;@&quot; &quot;">
                  <c:v>52.34</c:v>
                </c:pt>
                <c:pt idx="1794" formatCode="#,##0_);\(#,##0\);&quot;-  &quot;;&quot; &quot;@&quot; &quot;">
                  <c:v>52.52</c:v>
                </c:pt>
                <c:pt idx="1795" formatCode="#,##0_);\(#,##0\);&quot;-  &quot;;&quot; &quot;@&quot; &quot;">
                  <c:v>52.14</c:v>
                </c:pt>
                <c:pt idx="1796" formatCode="#,##0_);\(#,##0\);&quot;-  &quot;;&quot; &quot;@&quot; &quot;">
                  <c:v>51.98</c:v>
                </c:pt>
                <c:pt idx="1797" formatCode="#,##0_);\(#,##0\);&quot;-  &quot;;&quot; &quot;@&quot; &quot;">
                  <c:v>52.41</c:v>
                </c:pt>
                <c:pt idx="1798" formatCode="#,##0_);\(#,##0\);&quot;-  &quot;;&quot; &quot;@&quot; &quot;">
                  <c:v>53.24</c:v>
                </c:pt>
                <c:pt idx="1799" formatCode="#,##0_);\(#,##0\);&quot;-  &quot;;&quot; &quot;@&quot; &quot;">
                  <c:v>54.1</c:v>
                </c:pt>
                <c:pt idx="1800" formatCode="#,##0_);\(#,##0\);&quot;-  &quot;;&quot; &quot;@&quot; &quot;">
                  <c:v>53.9</c:v>
                </c:pt>
                <c:pt idx="1801" formatCode="#,##0_);\(#,##0\);&quot;-  &quot;;&quot; &quot;@&quot; &quot;">
                  <c:v>53.98</c:v>
                </c:pt>
                <c:pt idx="1802" formatCode="#,##0_);\(#,##0\);&quot;-  &quot;;&quot; &quot;@&quot; &quot;">
                  <c:v>53.6</c:v>
                </c:pt>
                <c:pt idx="1803" formatCode="#,##0_);\(#,##0\);&quot;-  &quot;;&quot; &quot;@&quot; &quot;">
                  <c:v>54.83</c:v>
                </c:pt>
                <c:pt idx="1804" formatCode="#,##0_);\(#,##0\);&quot;-  &quot;;&quot; &quot;@&quot; &quot;">
                  <c:v>55.01</c:v>
                </c:pt>
                <c:pt idx="1805" formatCode="#,##0_);\(#,##0\);&quot;-  &quot;;&quot; &quot;@&quot; &quot;">
                  <c:v>55.71</c:v>
                </c:pt>
                <c:pt idx="1806" formatCode="#,##0_);\(#,##0\);&quot;-  &quot;;&quot; &quot;@&quot; &quot;">
                  <c:v>56.13</c:v>
                </c:pt>
                <c:pt idx="1807" formatCode="#,##0_);\(#,##0\);&quot;-  &quot;;&quot; &quot;@&quot; &quot;">
                  <c:v>56.56</c:v>
                </c:pt>
                <c:pt idx="1808" formatCode="#,##0_);\(#,##0\);&quot;-  &quot;;&quot; &quot;@&quot; &quot;">
                  <c:v>57.41</c:v>
                </c:pt>
                <c:pt idx="1809" formatCode="#,##0_);\(#,##0\);&quot;-  &quot;;&quot; &quot;@&quot; &quot;">
                  <c:v>57.94</c:v>
                </c:pt>
                <c:pt idx="1810" formatCode="#,##0_);\(#,##0\);&quot;-  &quot;;&quot; &quot;@&quot; &quot;">
                  <c:v>55.95</c:v>
                </c:pt>
                <c:pt idx="1811" formatCode="#,##0_);\(#,##0\);&quot;-  &quot;;&quot; &quot;@&quot; &quot;">
                  <c:v>55.8</c:v>
                </c:pt>
                <c:pt idx="1812" formatCode="#,##0_);\(#,##0\);&quot;-  &quot;;&quot; &quot;@&quot; &quot;">
                  <c:v>56.81</c:v>
                </c:pt>
                <c:pt idx="1813" formatCode="#,##0_);\(#,##0\);&quot;-  &quot;;&quot; &quot;@&quot; &quot;">
                  <c:v>56.96</c:v>
                </c:pt>
                <c:pt idx="1814" formatCode="#,##0_);\(#,##0\);&quot;-  &quot;;&quot; &quot;@&quot; &quot;">
                  <c:v>56.89</c:v>
                </c:pt>
                <c:pt idx="1815" formatCode="#,##0_);\(#,##0\);&quot;-  &quot;;&quot; &quot;@&quot; &quot;">
                  <c:v>56.95</c:v>
                </c:pt>
                <c:pt idx="1816" formatCode="#,##0_);\(#,##0\);&quot;-  &quot;;&quot; &quot;@&quot; &quot;">
                  <c:v>56.7</c:v>
                </c:pt>
                <c:pt idx="1817" formatCode="#,##0_);\(#,##0\);&quot;-  &quot;;&quot; &quot;@&quot; &quot;">
                  <c:v>56.46</c:v>
                </c:pt>
                <c:pt idx="1818" formatCode="#,##0_);\(#,##0\);&quot;-  &quot;;&quot; &quot;@&quot; &quot;">
                  <c:v>56.36</c:v>
                </c:pt>
                <c:pt idx="1819" formatCode="#,##0_);\(#,##0\);&quot;-  &quot;;&quot; &quot;@&quot; &quot;">
                  <c:v>57.01</c:v>
                </c:pt>
                <c:pt idx="1820" formatCode="#,##0_);\(#,##0\);&quot;-  &quot;;&quot; &quot;@&quot; &quot;">
                  <c:v>57.95</c:v>
                </c:pt>
                <c:pt idx="1821" formatCode="#,##0_);\(#,##0\);&quot;-  &quot;;&quot; &quot;@&quot; &quot;">
                  <c:v>58.39</c:v>
                </c:pt>
                <c:pt idx="1822" formatCode="#,##0_);\(#,##0\);&quot;-  &quot;;&quot; &quot;@&quot; &quot;">
                  <c:v>59.88</c:v>
                </c:pt>
                <c:pt idx="1823" formatCode="#,##0_);\(#,##0\);&quot;-  &quot;;&quot; &quot;@&quot; &quot;">
                  <c:v>59.89</c:v>
                </c:pt>
                <c:pt idx="1824" formatCode="#,##0_);\(#,##0\);&quot;-  &quot;;&quot; &quot;@&quot; &quot;">
                  <c:v>61.06</c:v>
                </c:pt>
                <c:pt idx="1825" formatCode="#,##0_);\(#,##0\);&quot;-  &quot;;&quot; &quot;@&quot; &quot;">
                  <c:v>61.14</c:v>
                </c:pt>
                <c:pt idx="1826" formatCode="#,##0_);\(#,##0\);&quot;-  &quot;;&quot; &quot;@&quot; &quot;">
                  <c:v>61.19</c:v>
                </c:pt>
                <c:pt idx="1827" formatCode="#,##0_);\(#,##0\);&quot;-  &quot;;&quot; &quot;@&quot; &quot;">
                  <c:v>60.49</c:v>
                </c:pt>
                <c:pt idx="1828" formatCode="#,##0_);\(#,##0\);&quot;-  &quot;;&quot; &quot;@&quot; &quot;">
                  <c:v>60.34</c:v>
                </c:pt>
                <c:pt idx="1829" formatCode="#,##0_);\(#,##0\);&quot;-  &quot;;&quot; &quot;@&quot; &quot;">
                  <c:v>60.62</c:v>
                </c:pt>
                <c:pt idx="1830" formatCode="#,##0_);\(#,##0\);&quot;-  &quot;;&quot; &quot;@&quot; &quot;">
                  <c:v>60.91</c:v>
                </c:pt>
                <c:pt idx="1831" formatCode="#,##0_);\(#,##0\);&quot;-  &quot;;&quot; &quot;@&quot; &quot;">
                  <c:v>60.27</c:v>
                </c:pt>
                <c:pt idx="1832" formatCode="#,##0_);\(#,##0\);&quot;-  &quot;;&quot; &quot;@&quot; &quot;">
                  <c:v>59.19</c:v>
                </c:pt>
                <c:pt idx="1833" formatCode="#,##0_);\(#,##0\);&quot;-  &quot;;&quot; &quot;@&quot; &quot;">
                  <c:v>59.4</c:v>
                </c:pt>
                <c:pt idx="1834" formatCode="#,##0_);\(#,##0\);&quot;-  &quot;;&quot; &quot;@&quot; &quot;">
                  <c:v>59.52</c:v>
                </c:pt>
                <c:pt idx="1835" formatCode="#,##0_);\(#,##0\);&quot;-  &quot;;&quot; &quot;@&quot; &quot;">
                  <c:v>60.02</c:v>
                </c:pt>
                <c:pt idx="1836" formatCode="#,##0_);\(#,##0\);&quot;-  &quot;;&quot; &quot;@&quot; &quot;">
                  <c:v>59.59</c:v>
                </c:pt>
                <c:pt idx="1837" formatCode="#,##0_);\(#,##0\);&quot;-  &quot;;&quot; &quot;@&quot; &quot;">
                  <c:v>59.44</c:v>
                </c:pt>
                <c:pt idx="1838" formatCode="#,##0_);\(#,##0\);&quot;-  &quot;;&quot; &quot;@&quot; &quot;">
                  <c:v>60.65</c:v>
                </c:pt>
                <c:pt idx="1839" formatCode="#,##0_);\(#,##0\);&quot;-  &quot;;&quot; &quot;@&quot; &quot;">
                  <c:v>62.29</c:v>
                </c:pt>
                <c:pt idx="1840" formatCode="#,##0_);\(#,##0\);&quot;-  &quot;;&quot; &quot;@&quot; &quot;">
                  <c:v>63.12</c:v>
                </c:pt>
                <c:pt idx="1841" formatCode="#,##0_);\(#,##0\);&quot;-  &quot;;&quot; &quot;@&quot; &quot;">
                  <c:v>63.48</c:v>
                </c:pt>
                <c:pt idx="1842" formatCode="#,##0_);\(#,##0\);&quot;-  &quot;;&quot; &quot;@&quot; &quot;">
                  <c:v>64.319999999999993</c:v>
                </c:pt>
                <c:pt idx="1843" formatCode="#,##0_);\(#,##0\);&quot;-  &quot;;&quot; &quot;@&quot; &quot;">
                  <c:v>65.28</c:v>
                </c:pt>
                <c:pt idx="1844" formatCode="#,##0_);\(#,##0\);&quot;-  &quot;;&quot; &quot;@&quot; &quot;">
                  <c:v>65.92</c:v>
                </c:pt>
                <c:pt idx="1845" formatCode="#,##0_);\(#,##0\);&quot;-  &quot;;&quot; &quot;@&quot; &quot;">
                  <c:v>66.209999999999994</c:v>
                </c:pt>
                <c:pt idx="1846" formatCode="#,##0_);\(#,##0\);&quot;-  &quot;;&quot; &quot;@&quot; &quot;">
                  <c:v>65.739999999999995</c:v>
                </c:pt>
                <c:pt idx="1847" formatCode="#,##0_);\(#,##0\);&quot;-  &quot;;&quot; &quot;@&quot; &quot;">
                  <c:v>66.17</c:v>
                </c:pt>
                <c:pt idx="1848" formatCode="#,##0_);\(#,##0\);&quot;-  &quot;;&quot; &quot;@&quot; &quot;">
                  <c:v>67.39</c:v>
                </c:pt>
                <c:pt idx="1849" formatCode="#,##0_);\(#,##0\);&quot;-  &quot;;&quot; &quot;@&quot; &quot;">
                  <c:v>68.45</c:v>
                </c:pt>
                <c:pt idx="1850" formatCode="#,##0_);\(#,##0\);&quot;-  &quot;;&quot; &quot;@&quot; &quot;">
                  <c:v>68.760000000000005</c:v>
                </c:pt>
                <c:pt idx="1851" formatCode="#,##0_);\(#,##0\);&quot;-  &quot;;&quot; &quot;@&quot; &quot;">
                  <c:v>69.150000000000006</c:v>
                </c:pt>
                <c:pt idx="1852" formatCode="#,##0_);\(#,##0\);&quot;-  &quot;;&quot; &quot;@&quot; &quot;">
                  <c:v>68.25</c:v>
                </c:pt>
                <c:pt idx="1853" formatCode="#,##0_);\(#,##0\);&quot;-  &quot;;&quot; &quot;@&quot; &quot;">
                  <c:v>69.12</c:v>
                </c:pt>
                <c:pt idx="1854" formatCode="#,##0_);\(#,##0\);&quot;-  &quot;;&quot; &quot;@&quot; &quot;">
                  <c:v>70.28</c:v>
                </c:pt>
                <c:pt idx="1855" formatCode="#,##0_);\(#,##0\);&quot;-  &quot;;&quot; &quot;@&quot; &quot;">
                  <c:v>71.099999999999994</c:v>
                </c:pt>
                <c:pt idx="1856" formatCode="#,##0_);\(#,##0\);&quot;-  &quot;;&quot; &quot;@&quot; &quot;">
                  <c:v>71.72</c:v>
                </c:pt>
                <c:pt idx="1857" formatCode="#,##0_);\(#,##0\);&quot;-  &quot;;&quot; &quot;@&quot; &quot;">
                  <c:v>69.98</c:v>
                </c:pt>
                <c:pt idx="1858" formatCode="#,##0_);\(#,##0\);&quot;-  &quot;;&quot; &quot;@&quot; &quot;">
                  <c:v>69.19</c:v>
                </c:pt>
                <c:pt idx="1859" formatCode="#,##0_);\(#,##0\);&quot;-  &quot;;&quot; &quot;@&quot; &quot;">
                  <c:v>67.69</c:v>
                </c:pt>
                <c:pt idx="1860" formatCode="#,##0_);\(#,##0\);&quot;-  &quot;;&quot; &quot;@&quot; &quot;">
                  <c:v>68.349999999999994</c:v>
                </c:pt>
                <c:pt idx="1861" formatCode="#,##0_);\(#,##0\);&quot;-  &quot;;&quot; &quot;@&quot; &quot;">
                  <c:v>70.180000000000007</c:v>
                </c:pt>
                <c:pt idx="1862" formatCode="#,##0_);\(#,##0\);&quot;-  &quot;;&quot; &quot;@&quot; &quot;">
                  <c:v>72.209999999999994</c:v>
                </c:pt>
                <c:pt idx="1863" formatCode="#,##0_);\(#,##0\);&quot;-  &quot;;&quot; &quot;@&quot; &quot;">
                  <c:v>72.06</c:v>
                </c:pt>
                <c:pt idx="1864" formatCode="#,##0_);\(#,##0\);&quot;-  &quot;;&quot; &quot;@&quot; &quot;">
                  <c:v>71.239999999999995</c:v>
                </c:pt>
                <c:pt idx="1865" formatCode="#,##0_);\(#,##0\);&quot;-  &quot;;&quot; &quot;@&quot; &quot;">
                  <c:v>70.760000000000005</c:v>
                </c:pt>
                <c:pt idx="1866" formatCode="#,##0_);\(#,##0\);&quot;-  &quot;;&quot; &quot;@&quot; &quot;">
                  <c:v>72.180000000000007</c:v>
                </c:pt>
                <c:pt idx="1867" formatCode="#,##0_);\(#,##0\);&quot;-  &quot;;&quot; &quot;@&quot; &quot;">
                  <c:v>72.900000000000006</c:v>
                </c:pt>
                <c:pt idx="1868" formatCode="#,##0_);\(#,##0\);&quot;-  &quot;;&quot; &quot;@&quot; &quot;">
                  <c:v>72.25</c:v>
                </c:pt>
                <c:pt idx="1869" formatCode="#,##0_);\(#,##0\);&quot;-  &quot;;&quot; &quot;@&quot; &quot;">
                  <c:v>71.22</c:v>
                </c:pt>
                <c:pt idx="1870" formatCode="#,##0_);\(#,##0\);&quot;-  &quot;;&quot; &quot;@&quot; &quot;">
                  <c:v>70.66</c:v>
                </c:pt>
                <c:pt idx="1871" formatCode="#,##0_);\(#,##0\);&quot;-  &quot;;&quot; &quot;@&quot; &quot;">
                  <c:v>67.45</c:v>
                </c:pt>
                <c:pt idx="1872" formatCode="#,##0_);\(#,##0\);&quot;-  &quot;;&quot; &quot;@&quot; &quot;">
                  <c:v>67.22</c:v>
                </c:pt>
                <c:pt idx="1873" formatCode="#,##0_);\(#,##0\);&quot;-  &quot;;&quot; &quot;@&quot; &quot;">
                  <c:v>67.599999999999994</c:v>
                </c:pt>
                <c:pt idx="1874" formatCode="#,##0_);\(#,##0\);&quot;-  &quot;;&quot; &quot;@&quot; &quot;">
                  <c:v>65.25</c:v>
                </c:pt>
                <c:pt idx="1875" formatCode="#,##0_);\(#,##0\);&quot;-  &quot;;&quot; &quot;@&quot; &quot;">
                  <c:v>66.77</c:v>
                </c:pt>
                <c:pt idx="1876" formatCode="#,##0_);\(#,##0\);&quot;-  &quot;;&quot; &quot;@&quot; &quot;">
                  <c:v>64.84</c:v>
                </c:pt>
                <c:pt idx="1877" formatCode="#,##0_);\(#,##0\);&quot;-  &quot;;&quot; &quot;@&quot; &quot;">
                  <c:v>66.92</c:v>
                </c:pt>
                <c:pt idx="1878" formatCode="#,##0_);\(#,##0\);&quot;-  &quot;;&quot; &quot;@&quot; &quot;">
                  <c:v>66.989999999999995</c:v>
                </c:pt>
                <c:pt idx="1879" formatCode="#,##0_);\(#,##0\);&quot;-  &quot;;&quot; &quot;@&quot; &quot;">
                  <c:v>66.94</c:v>
                </c:pt>
                <c:pt idx="1880" formatCode="#,##0_);\(#,##0\);&quot;-  &quot;;&quot; &quot;@&quot; &quot;">
                  <c:v>66.34</c:v>
                </c:pt>
                <c:pt idx="1881" formatCode="#,##0_);\(#,##0\);&quot;-  &quot;;&quot; &quot;@&quot; &quot;">
                  <c:v>66.58</c:v>
                </c:pt>
                <c:pt idx="1882" formatCode="#,##0_);\(#,##0\);&quot;-  &quot;;&quot; &quot;@&quot; &quot;">
                  <c:v>65.95</c:v>
                </c:pt>
                <c:pt idx="1883" formatCode="#,##0_);\(#,##0\);&quot;-  &quot;;&quot; &quot;@&quot; &quot;">
                  <c:v>66.59</c:v>
                </c:pt>
                <c:pt idx="1884" formatCode="#,##0_);\(#,##0\);&quot;-  &quot;;&quot; &quot;@&quot; &quot;">
                  <c:v>66.44</c:v>
                </c:pt>
                <c:pt idx="1885" formatCode="#,##0_);\(#,##0\);&quot;-  &quot;;&quot; &quot;@&quot; &quot;">
                  <c:v>66.849999999999994</c:v>
                </c:pt>
                <c:pt idx="1886" formatCode="#,##0_);\(#,##0\);&quot;-  &quot;;&quot; &quot;@&quot; &quot;">
                  <c:v>66.89</c:v>
                </c:pt>
                <c:pt idx="1887" formatCode="#,##0_);\(#,##0\);&quot;-  &quot;;&quot; &quot;@&quot; &quot;">
                  <c:v>67.319999999999993</c:v>
                </c:pt>
                <c:pt idx="1888" formatCode="#,##0_);\(#,##0\);&quot;-  &quot;;&quot; &quot;@&quot; &quot;">
                  <c:v>67.400000000000006</c:v>
                </c:pt>
                <c:pt idx="1889" formatCode="#,##0_);\(#,##0\);&quot;-  &quot;;&quot; &quot;@&quot; &quot;">
                  <c:v>69.849999999999994</c:v>
                </c:pt>
                <c:pt idx="1890" formatCode="#,##0_);\(#,##0\);&quot;-  &quot;;&quot; &quot;@&quot; &quot;">
                  <c:v>70.62</c:v>
                </c:pt>
                <c:pt idx="1891" formatCode="#,##0_);\(#,##0\);&quot;-  &quot;;&quot; &quot;@&quot; &quot;">
                  <c:v>70.89</c:v>
                </c:pt>
                <c:pt idx="1892" formatCode="#,##0_);\(#,##0\);&quot;-  &quot;;&quot; &quot;@&quot; &quot;">
                  <c:v>70.69</c:v>
                </c:pt>
                <c:pt idx="1893" formatCode="#,##0_);\(#,##0\);&quot;-  &quot;;&quot; &quot;@&quot; &quot;">
                  <c:v>70.180000000000007</c:v>
                </c:pt>
                <c:pt idx="1894" formatCode="#,##0_);\(#,##0\);&quot;-  &quot;;&quot; &quot;@&quot; &quot;">
                  <c:v>69.28</c:v>
                </c:pt>
                <c:pt idx="1895" formatCode="#,##0_);\(#,##0\);&quot;-  &quot;;&quot; &quot;@&quot; &quot;">
                  <c:v>69.22</c:v>
                </c:pt>
                <c:pt idx="1896" formatCode="#,##0_);\(#,##0\);&quot;-  &quot;;&quot; &quot;@&quot; &quot;">
                  <c:v>69.91</c:v>
                </c:pt>
                <c:pt idx="1897" formatCode="#,##0_);\(#,##0\);&quot;-  &quot;;&quot; &quot;@&quot; &quot;">
                  <c:v>69.72</c:v>
                </c:pt>
                <c:pt idx="1898" formatCode="#,##0_);\(#,##0\);&quot;-  &quot;;&quot; &quot;@&quot; &quot;">
                  <c:v>70.540000000000006</c:v>
                </c:pt>
                <c:pt idx="1899" formatCode="#,##0_);\(#,##0\);&quot;-  &quot;;&quot; &quot;@&quot; &quot;">
                  <c:v>71.58</c:v>
                </c:pt>
                <c:pt idx="1900" formatCode="#,##0_);\(#,##0\);&quot;-  &quot;;&quot; &quot;@&quot; &quot;">
                  <c:v>72.53</c:v>
                </c:pt>
                <c:pt idx="1901" formatCode="#,##0_);\(#,##0\);&quot;-  &quot;;&quot; &quot;@&quot; &quot;">
                  <c:v>71.5</c:v>
                </c:pt>
                <c:pt idx="1902" formatCode="#,##0_);\(#,##0\);&quot;-  &quot;;&quot; &quot;@&quot; &quot;">
                  <c:v>71.59</c:v>
                </c:pt>
                <c:pt idx="1903" formatCode="#,##0_);\(#,##0\);&quot;-  &quot;;&quot; &quot;@&quot; &quot;">
                  <c:v>73.44</c:v>
                </c:pt>
                <c:pt idx="1904" formatCode="#,##0_);\(#,##0\);&quot;-  &quot;;&quot; &quot;@&quot; &quot;">
                  <c:v>74.319999999999993</c:v>
                </c:pt>
                <c:pt idx="1905" formatCode="#,##0_);\(#,##0\);&quot;-  &quot;;&quot; &quot;@&quot; &quot;">
                  <c:v>73.430000000000007</c:v>
                </c:pt>
                <c:pt idx="1906" formatCode="#,##0_);\(#,##0\);&quot;-  &quot;;&quot; &quot;@&quot; &quot;">
                  <c:v>73.39</c:v>
                </c:pt>
                <c:pt idx="1907" formatCode="#,##0_);\(#,##0\);&quot;-  &quot;;&quot; &quot;@&quot; &quot;">
                  <c:v>73.959999999999994</c:v>
                </c:pt>
                <c:pt idx="1908" formatCode="#,##0_);\(#,##0\);&quot;-  &quot;;&quot; &quot;@&quot; &quot;">
                  <c:v>74.209999999999994</c:v>
                </c:pt>
                <c:pt idx="1909" formatCode="#,##0_);\(#,##0\);&quot;-  &quot;;&quot; &quot;@&quot; &quot;">
                  <c:v>75.33</c:v>
                </c:pt>
                <c:pt idx="1910" formatCode="#,##0_);\(#,##0\);&quot;-  &quot;;&quot; &quot;@&quot; &quot;">
                  <c:v>73.22</c:v>
                </c:pt>
                <c:pt idx="1911" formatCode="#,##0_);\(#,##0\);&quot;-  &quot;;&quot; &quot;@&quot; &quot;">
                  <c:v>73.36</c:v>
                </c:pt>
                <c:pt idx="1912" formatCode="#,##0_);\(#,##0\);&quot;-  &quot;;&quot; &quot;@&quot; &quot;">
                  <c:v>74.52</c:v>
                </c:pt>
                <c:pt idx="1913" formatCode="#,##0_);\(#,##0\);&quot;-  &quot;;&quot; &quot;@&quot; &quot;">
                  <c:v>74.709999999999994</c:v>
                </c:pt>
                <c:pt idx="1914" formatCode="#,##0_);\(#,##0\);&quot;-  &quot;;&quot; &quot;@&quot; &quot;">
                  <c:v>72.28</c:v>
                </c:pt>
                <c:pt idx="1915" formatCode="#,##0_);\(#,##0\);&quot;-  &quot;;&quot; &quot;@&quot; &quot;">
                  <c:v>71.290000000000006</c:v>
                </c:pt>
                <c:pt idx="1916" formatCode="#,##0_);\(#,##0\);&quot;-  &quot;;&quot; &quot;@&quot; &quot;">
                  <c:v>71.28</c:v>
                </c:pt>
                <c:pt idx="1917" formatCode="#,##0_);\(#,##0\);&quot;-  &quot;;&quot; &quot;@&quot; &quot;">
                  <c:v>73.290000000000006</c:v>
                </c:pt>
                <c:pt idx="1918" formatCode="#,##0_);\(#,##0\);&quot;-  &quot;;&quot; &quot;@&quot; &quot;">
                  <c:v>73.400000000000006</c:v>
                </c:pt>
                <c:pt idx="1919" formatCode="#,##0_);\(#,##0\);&quot;-  &quot;;&quot; &quot;@&quot; &quot;">
                  <c:v>73.760000000000005</c:v>
                </c:pt>
                <c:pt idx="1920" formatCode="#,##0_);\(#,##0\);&quot;-  &quot;;&quot; &quot;@&quot; &quot;">
                  <c:v>73.77</c:v>
                </c:pt>
                <c:pt idx="1921" formatCode="#,##0_);\(#,##0\);&quot;-  &quot;;&quot; &quot;@&quot; &quot;">
                  <c:v>73.849999999999994</c:v>
                </c:pt>
                <c:pt idx="1922" formatCode="#,##0_);\(#,##0\);&quot;-  &quot;;&quot; &quot;@&quot; &quot;">
                  <c:v>75.209999999999994</c:v>
                </c:pt>
                <c:pt idx="1923" formatCode="#,##0_);\(#,##0\);&quot;-  &quot;;&quot; &quot;@&quot; &quot;">
                  <c:v>76.099999999999994</c:v>
                </c:pt>
                <c:pt idx="1924" formatCode="#,##0_);\(#,##0\);&quot;-  &quot;;&quot; &quot;@&quot; &quot;">
                  <c:v>76.02</c:v>
                </c:pt>
                <c:pt idx="1925" formatCode="#,##0_);\(#,##0\);&quot;-  &quot;;&quot; &quot;@&quot; &quot;">
                  <c:v>76.38</c:v>
                </c:pt>
                <c:pt idx="1926" formatCode="#,##0_);\(#,##0\);&quot;-  &quot;;&quot; &quot;@&quot; &quot;">
                  <c:v>76.05</c:v>
                </c:pt>
                <c:pt idx="1927" formatCode="#,##0_);\(#,##0\);&quot;-  &quot;;&quot; &quot;@&quot; &quot;">
                  <c:v>76.23</c:v>
                </c:pt>
                <c:pt idx="1928" formatCode="#,##0_);\(#,##0\);&quot;-  &quot;;&quot; &quot;@&quot; &quot;">
                  <c:v>76.92</c:v>
                </c:pt>
                <c:pt idx="1929" formatCode="#,##0_);\(#,##0\);&quot;-  &quot;;&quot; &quot;@&quot; &quot;">
                  <c:v>77.290000000000006</c:v>
                </c:pt>
                <c:pt idx="1930" formatCode="#,##0_);\(#,##0\);&quot;-  &quot;;&quot; &quot;@&quot; &quot;">
                  <c:v>77.400000000000006</c:v>
                </c:pt>
                <c:pt idx="1931" formatCode="#,##0_);\(#,##0\);&quot;-  &quot;;&quot; &quot;@&quot; &quot;">
                  <c:v>77.66</c:v>
                </c:pt>
                <c:pt idx="1932" formatCode="#,##0_);\(#,##0\);&quot;-  &quot;;&quot; &quot;@&quot; &quot;">
                  <c:v>77.959999999999994</c:v>
                </c:pt>
                <c:pt idx="1933" formatCode="#,##0_);\(#,##0\);&quot;-  &quot;;&quot; &quot;@&quot; &quot;">
                  <c:v>78.69</c:v>
                </c:pt>
                <c:pt idx="1934" formatCode="#,##0_);\(#,##0\);&quot;-  &quot;;&quot; &quot;@&quot; &quot;">
                  <c:v>77.31</c:v>
                </c:pt>
                <c:pt idx="1935" formatCode="#,##0_);\(#,##0\);&quot;-  &quot;;&quot; &quot;@&quot; &quot;">
                  <c:v>77.34</c:v>
                </c:pt>
                <c:pt idx="1936" formatCode="#,##0_);\(#,##0\);&quot;-  &quot;;&quot; &quot;@&quot; &quot;">
                  <c:v>78.27</c:v>
                </c:pt>
                <c:pt idx="1937" formatCode="#,##0_);\(#,##0\);&quot;-  &quot;;&quot; &quot;@&quot; &quot;">
                  <c:v>78.98</c:v>
                </c:pt>
                <c:pt idx="1938" formatCode="#,##0_);\(#,##0\);&quot;-  &quot;;&quot; &quot;@&quot; &quot;">
                  <c:v>79.55</c:v>
                </c:pt>
                <c:pt idx="1939" formatCode="#,##0_);\(#,##0\);&quot;-  &quot;;&quot; &quot;@&quot; &quot;">
                  <c:v>79.45</c:v>
                </c:pt>
                <c:pt idx="1940" formatCode="#,##0_);\(#,##0\);&quot;-  &quot;;&quot; &quot;@&quot; &quot;">
                  <c:v>79.58</c:v>
                </c:pt>
                <c:pt idx="1941" formatCode="#,##0_);\(#,##0\);&quot;-  &quot;;&quot; &quot;@&quot; &quot;">
                  <c:v>78.599999999999994</c:v>
                </c:pt>
                <c:pt idx="1942" formatCode="#,##0_);\(#,##0\);&quot;-  &quot;;&quot; &quot;@&quot; &quot;">
                  <c:v>78.48</c:v>
                </c:pt>
                <c:pt idx="1943" formatCode="#,##0_);\(#,##0\);&quot;-  &quot;;&quot; &quot;@&quot; &quot;">
                  <c:v>78.48</c:v>
                </c:pt>
                <c:pt idx="1944" formatCode="#,##0_);\(#,##0\);&quot;-  &quot;;&quot; &quot;@&quot; &quot;">
                  <c:v>79.81</c:v>
                </c:pt>
                <c:pt idx="1945" formatCode="#,##0_);\(#,##0\);&quot;-  &quot;;&quot; &quot;@&quot; &quot;">
                  <c:v>80.53</c:v>
                </c:pt>
                <c:pt idx="1946" formatCode="#,##0_);\(#,##0\);&quot;-  &quot;;&quot; &quot;@&quot; &quot;">
                  <c:v>80.959999999999994</c:v>
                </c:pt>
                <c:pt idx="1947" formatCode="#,##0_);\(#,##0\);&quot;-  &quot;;&quot; &quot;@&quot; &quot;">
                  <c:v>79.39</c:v>
                </c:pt>
                <c:pt idx="1948" formatCode="#,##0_);\(#,##0\);&quot;-  &quot;;&quot; &quot;@&quot; &quot;">
                  <c:v>78.150000000000006</c:v>
                </c:pt>
                <c:pt idx="1949" formatCode="#,##0_);\(#,##0\);&quot;-  &quot;;&quot; &quot;@&quot; &quot;">
                  <c:v>78.34</c:v>
                </c:pt>
                <c:pt idx="1950" formatCode="#,##0_);\(#,##0\);&quot;-  &quot;;&quot; &quot;@&quot; &quot;">
                  <c:v>80.36</c:v>
                </c:pt>
                <c:pt idx="1951" formatCode="#,##0_);\(#,##0\);&quot;-  &quot;;&quot; &quot;@&quot; &quot;">
                  <c:v>80.31</c:v>
                </c:pt>
                <c:pt idx="1952" formatCode="#,##0_);\(#,##0\);&quot;-  &quot;;&quot; &quot;@&quot; &quot;">
                  <c:v>81.34</c:v>
                </c:pt>
                <c:pt idx="1953" formatCode="#,##0_);\(#,##0\);&quot;-  &quot;;&quot; &quot;@&quot; &quot;">
                  <c:v>80.66</c:v>
                </c:pt>
                <c:pt idx="1954" formatCode="#,##0_);\(#,##0\);&quot;-  &quot;;&quot; &quot;@&quot; &quot;">
                  <c:v>79.02</c:v>
                </c:pt>
                <c:pt idx="1955" formatCode="#,##0_);\(#,##0\);&quot;-  &quot;;&quot; &quot;@&quot; &quot;">
                  <c:v>78.8</c:v>
                </c:pt>
                <c:pt idx="1956" formatCode="#,##0_);\(#,##0\);&quot;-  &quot;;&quot; &quot;@&quot; &quot;">
                  <c:v>75.08</c:v>
                </c:pt>
                <c:pt idx="1957" formatCode="#,##0_);\(#,##0\);&quot;-  &quot;;&quot; &quot;@&quot; &quot;">
                  <c:v>75.58</c:v>
                </c:pt>
                <c:pt idx="1958" formatCode="#,##0_);\(#,##0\);&quot;-  &quot;;&quot; &quot;@&quot; &quot;">
                  <c:v>77.09</c:v>
                </c:pt>
                <c:pt idx="1959" formatCode="#,##0_);\(#,##0\);&quot;-  &quot;;&quot; &quot;@&quot; &quot;">
                  <c:v>78.92</c:v>
                </c:pt>
                <c:pt idx="1960" formatCode="#,##0_);\(#,##0\);&quot;-  &quot;;&quot; &quot;@&quot; &quot;">
                  <c:v>79.53</c:v>
                </c:pt>
                <c:pt idx="1961" formatCode="#,##0_);\(#,##0\);&quot;-  &quot;;&quot; &quot;@&quot; &quot;">
                  <c:v>79.83</c:v>
                </c:pt>
                <c:pt idx="1962" formatCode="#,##0_);\(#,##0\);&quot;-  &quot;;&quot; &quot;@&quot; &quot;">
                  <c:v>80.14</c:v>
                </c:pt>
                <c:pt idx="1963" formatCode="#,##0_);\(#,##0\);&quot;-  &quot;;&quot; &quot;@&quot; &quot;">
                  <c:v>80.48</c:v>
                </c:pt>
                <c:pt idx="1964" formatCode="#,##0_);\(#,##0\);&quot;-  &quot;;&quot; &quot;@&quot; &quot;">
                  <c:v>81.709999999999994</c:v>
                </c:pt>
                <c:pt idx="1965" formatCode="#,##0_);\(#,##0\);&quot;-  &quot;;&quot; &quot;@&quot; &quot;">
                  <c:v>83.1</c:v>
                </c:pt>
                <c:pt idx="1966" formatCode="#,##0_);\(#,##0\);&quot;-  &quot;;&quot; &quot;@&quot; &quot;">
                  <c:v>80.739999999999995</c:v>
                </c:pt>
                <c:pt idx="1967" formatCode="#,##0_);\(#,##0\);&quot;-  &quot;;&quot; &quot;@&quot; &quot;">
                  <c:v>78.8</c:v>
                </c:pt>
                <c:pt idx="1968" formatCode="#,##0_);\(#,##0\);&quot;-  &quot;;&quot; &quot;@&quot; &quot;">
                  <c:v>77.33</c:v>
                </c:pt>
                <c:pt idx="1969" formatCode="#,##0_);\(#,##0\);&quot;-  &quot;;&quot; &quot;@&quot; &quot;">
                  <c:v>77.63</c:v>
                </c:pt>
                <c:pt idx="1970" formatCode="#,##0_);\(#,##0\);&quot;-  &quot;;&quot; &quot;@&quot; &quot;">
                  <c:v>77.64</c:v>
                </c:pt>
                <c:pt idx="1971" formatCode="#,##0_);\(#,##0\);&quot;-  &quot;;&quot; &quot;@&quot; &quot;">
                  <c:v>76.13</c:v>
                </c:pt>
                <c:pt idx="1972" formatCode="#,##0_);\(#,##0\);&quot;-  &quot;;&quot; &quot;@&quot; &quot;">
                  <c:v>76.88</c:v>
                </c:pt>
                <c:pt idx="1973" formatCode="#,##0_);\(#,##0\);&quot;-  &quot;;&quot; &quot;@&quot; &quot;">
                  <c:v>77.22</c:v>
                </c:pt>
                <c:pt idx="1974" formatCode="#,##0_);\(#,##0\);&quot;-  &quot;;&quot; &quot;@&quot; &quot;">
                  <c:v>77.650000000000006</c:v>
                </c:pt>
                <c:pt idx="1975" formatCode="#,##0_);\(#,##0\);&quot;-  &quot;;&quot; &quot;@&quot; &quot;">
                  <c:v>77</c:v>
                </c:pt>
                <c:pt idx="1976" formatCode="#,##0_);\(#,##0\);&quot;-  &quot;;&quot; &quot;@&quot; &quot;">
                  <c:v>75.58</c:v>
                </c:pt>
                <c:pt idx="1977" formatCode="#,##0_);\(#,##0\);&quot;-  &quot;;&quot; &quot;@&quot; &quot;">
                  <c:v>75.23</c:v>
                </c:pt>
                <c:pt idx="1978" formatCode="#,##0_);\(#,##0\);&quot;-  &quot;;&quot; &quot;@&quot; &quot;">
                  <c:v>74.75</c:v>
                </c:pt>
                <c:pt idx="1979" formatCode="#,##0_);\(#,##0\);&quot;-  &quot;;&quot; &quot;@&quot; &quot;">
                  <c:v>71.930000000000007</c:v>
                </c:pt>
                <c:pt idx="1980" formatCode="#,##0_);\(#,##0\);&quot;-  &quot;;&quot; &quot;@&quot; &quot;">
                  <c:v>71.25</c:v>
                </c:pt>
                <c:pt idx="1981" formatCode="#,##0_);\(#,##0\);&quot;-  &quot;;&quot; &quot;@&quot; &quot;">
                  <c:v>74.540000000000006</c:v>
                </c:pt>
                <c:pt idx="1982" formatCode="#,##0_);\(#,##0\);&quot;-  &quot;;&quot; &quot;@&quot; &quot;">
                  <c:v>76.94</c:v>
                </c:pt>
                <c:pt idx="1983" formatCode="#,##0_);\(#,##0\);&quot;-  &quot;;&quot; &quot;@&quot; &quot;">
                  <c:v>78.37</c:v>
                </c:pt>
                <c:pt idx="1984" formatCode="#,##0_);\(#,##0\);&quot;-  &quot;;&quot; &quot;@&quot; &quot;">
                  <c:v>78.05</c:v>
                </c:pt>
                <c:pt idx="1985" formatCode="#,##0_);\(#,##0\);&quot;-  &quot;;&quot; &quot;@&quot; &quot;">
                  <c:v>79.19</c:v>
                </c:pt>
                <c:pt idx="1986" formatCode="#,##0_);\(#,##0\);&quot;-  &quot;;&quot; &quot;@&quot; &quot;">
                  <c:v>79.89</c:v>
                </c:pt>
                <c:pt idx="1987" formatCode="#,##0_);\(#,##0\);&quot;-  &quot;;&quot; &quot;@&quot; &quot;">
                  <c:v>79.41</c:v>
                </c:pt>
                <c:pt idx="1988" formatCode="#,##0_);\(#,##0\);&quot;-  &quot;;&quot; &quot;@&quot; &quot;">
                  <c:v>79.3</c:v>
                </c:pt>
                <c:pt idx="1989" formatCode="#,##0_);\(#,##0\);&quot;-  &quot;;&quot; &quot;@&quot; &quot;">
                  <c:v>80.69</c:v>
                </c:pt>
                <c:pt idx="1990" formatCode="#,##0_);\(#,##0\);&quot;-  &quot;;&quot; &quot;@&quot; &quot;">
                  <c:v>80.83</c:v>
                </c:pt>
                <c:pt idx="1991" formatCode="#,##0_);\(#,##0\);&quot;-  &quot;;&quot; &quot;@&quot; &quot;">
                  <c:v>80.17</c:v>
                </c:pt>
                <c:pt idx="1992" formatCode="#,##0_);\(#,##0\);&quot;-  &quot;;&quot; &quot;@&quot; &quot;">
                  <c:v>79.53</c:v>
                </c:pt>
                <c:pt idx="1993" formatCode="#,##0_);\(#,##0\);&quot;-  &quot;;&quot; &quot;@&quot; &quot;">
                  <c:v>79.64</c:v>
                </c:pt>
                <c:pt idx="1994" formatCode="#,##0_);\(#,##0\);&quot;-  &quot;;&quot; &quot;@&quot; &quot;">
                  <c:v>79.319999999999993</c:v>
                </c:pt>
                <c:pt idx="1995" formatCode="#,##0_);\(#,##0\);&quot;-  &quot;;&quot; &quot;@&quot; &quot;">
                  <c:v>80.45</c:v>
                </c:pt>
                <c:pt idx="1996" formatCode="#,##0_);\(#,##0\);&quot;-  &quot;;&quot; &quot;@&quot; &quot;">
                  <c:v>81.14</c:v>
                </c:pt>
                <c:pt idx="1997" formatCode="#,##0_);\(#,##0\);&quot;-  &quot;;&quot; &quot;@&quot; &quot;">
                  <c:v>81.41</c:v>
                </c:pt>
                <c:pt idx="1998" formatCode="#,##0_);\(#,##0\);&quot;-  &quot;;&quot; &quot;@&quot; &quot;">
                  <c:v>82.76</c:v>
                </c:pt>
                <c:pt idx="1999" formatCode="#,##0_);\(#,##0\);&quot;-  &quot;;&quot; &quot;@&quot; &quot;">
                  <c:v>83.1</c:v>
                </c:pt>
                <c:pt idx="2000" formatCode="#,##0_);\(#,##0\);&quot;-  &quot;;&quot; &quot;@&quot; &quot;">
                  <c:v>83.24</c:v>
                </c:pt>
                <c:pt idx="2001" formatCode="#,##0_);\(#,##0\);&quot;-  &quot;;&quot; &quot;@&quot; &quot;">
                  <c:v>82.04</c:v>
                </c:pt>
                <c:pt idx="2002" formatCode="#,##0_);\(#,##0\);&quot;-  &quot;;&quot; &quot;@&quot; &quot;">
                  <c:v>82.23</c:v>
                </c:pt>
                <c:pt idx="2003" formatCode="#,##0_);\(#,##0\);&quot;-  &quot;;&quot; &quot;@&quot; &quot;">
                  <c:v>84.06</c:v>
                </c:pt>
                <c:pt idx="2004" formatCode="#,##0_);\(#,##0\);&quot;-  &quot;;&quot; &quot;@&quot; &quot;">
                  <c:v>85.5</c:v>
                </c:pt>
                <c:pt idx="2005" formatCode="#,##0_);\(#,##0\);&quot;-  &quot;;&quot; &quot;@&quot; &quot;">
                  <c:v>86.52</c:v>
                </c:pt>
                <c:pt idx="2006" formatCode="#,##0_);\(#,##0\);&quot;-  &quot;;&quot; &quot;@&quot; &quot;">
                  <c:v>88.18</c:v>
                </c:pt>
                <c:pt idx="2007" formatCode="#,##0_);\(#,##0\);&quot;-  &quot;;&quot; &quot;@&quot; &quot;">
                  <c:v>87.91</c:v>
                </c:pt>
                <c:pt idx="2008" formatCode="#,##0_);\(#,##0\);&quot;-  &quot;;&quot; &quot;@&quot; &quot;">
                  <c:v>87.89</c:v>
                </c:pt>
                <c:pt idx="2009" formatCode="#,##0_);\(#,##0\);&quot;-  &quot;;&quot; &quot;@&quot; &quot;">
                  <c:v>88.86</c:v>
                </c:pt>
                <c:pt idx="2010" formatCode="#,##0_);\(#,##0\);&quot;-  &quot;;&quot; &quot;@&quot; &quot;">
                  <c:v>89.34</c:v>
                </c:pt>
                <c:pt idx="2011" formatCode="#,##0_);\(#,##0\);&quot;-  &quot;;&quot; &quot;@&quot; &quot;">
                  <c:v>91.66</c:v>
                </c:pt>
                <c:pt idx="2012" formatCode="#,##0_);\(#,##0\);&quot;-  &quot;;&quot; &quot;@&quot; &quot;">
                  <c:v>94.39</c:v>
                </c:pt>
                <c:pt idx="2013" formatCode="#,##0_);\(#,##0\);&quot;-  &quot;;&quot; &quot;@&quot; &quot;">
                  <c:v>93.43</c:v>
                </c:pt>
                <c:pt idx="2014" formatCode="#,##0_);\(#,##0\);&quot;-  &quot;;&quot; &quot;@&quot; &quot;">
                  <c:v>92.52</c:v>
                </c:pt>
                <c:pt idx="2015" formatCode="#,##0_);\(#,##0\);&quot;-  &quot;;&quot; &quot;@&quot; &quot;">
                  <c:v>94.56</c:v>
                </c:pt>
                <c:pt idx="2016" formatCode="#,##0_);\(#,##0\);&quot;-  &quot;;&quot; &quot;@&quot; &quot;">
                  <c:v>95.89</c:v>
                </c:pt>
                <c:pt idx="2017" formatCode="#,##0_);\(#,##0\);&quot;-  &quot;;&quot; &quot;@&quot; &quot;">
                  <c:v>95.52</c:v>
                </c:pt>
                <c:pt idx="2018" formatCode="#,##0_);\(#,##0\);&quot;-  &quot;;&quot; &quot;@&quot; &quot;">
                  <c:v>95.44</c:v>
                </c:pt>
                <c:pt idx="2019" formatCode="#,##0_);\(#,##0\);&quot;-  &quot;;&quot; &quot;@&quot; &quot;">
                  <c:v>96.62</c:v>
                </c:pt>
                <c:pt idx="2020" formatCode="#,##0_);\(#,##0\);&quot;-  &quot;;&quot; &quot;@&quot; &quot;">
                  <c:v>98.04</c:v>
                </c:pt>
                <c:pt idx="2021" formatCode="#,##0_);\(#,##0\);&quot;-  &quot;;&quot; &quot;@&quot; &quot;">
                  <c:v>97.49</c:v>
                </c:pt>
                <c:pt idx="2022" formatCode="#,##0_);\(#,##0\);&quot;-  &quot;;&quot; &quot;@&quot; &quot;">
                  <c:v>97.41</c:v>
                </c:pt>
                <c:pt idx="2023" formatCode="#,##0_);\(#,##0\);&quot;-  &quot;;&quot; &quot;@&quot; &quot;">
                  <c:v>97.9</c:v>
                </c:pt>
                <c:pt idx="2024" formatCode="#,##0_);\(#,##0\);&quot;-  &quot;;&quot; &quot;@&quot; &quot;">
                  <c:v>96.49</c:v>
                </c:pt>
                <c:pt idx="2025" formatCode="#,##0_);\(#,##0\);&quot;-  &quot;;&quot; &quot;@&quot; &quot;">
                  <c:v>96.77</c:v>
                </c:pt>
                <c:pt idx="2026" formatCode="#,##0_);\(#,##0\);&quot;-  &quot;;&quot; &quot;@&quot; &quot;">
                  <c:v>97.93</c:v>
                </c:pt>
                <c:pt idx="2027" formatCode="#,##0_);\(#,##0\);&quot;-  &quot;;&quot; &quot;@&quot; &quot;">
                  <c:v>98.12</c:v>
                </c:pt>
                <c:pt idx="2028" formatCode="#,##0_);\(#,##0\);&quot;-  &quot;;&quot; &quot;@&quot; &quot;">
                  <c:v>96.41</c:v>
                </c:pt>
                <c:pt idx="2029" formatCode="#,##0_);\(#,##0\);&quot;-  &quot;;&quot; &quot;@&quot; &quot;">
                  <c:v>95.38</c:v>
                </c:pt>
                <c:pt idx="2030" formatCode="#,##0_);\(#,##0\);&quot;-  &quot;;&quot; &quot;@&quot; &quot;">
                  <c:v>95.52</c:v>
                </c:pt>
                <c:pt idx="2031" formatCode="#,##0_);\(#,##0\);&quot;-  &quot;;&quot; &quot;@&quot; &quot;">
                  <c:v>96.11</c:v>
                </c:pt>
                <c:pt idx="2032" formatCode="#,##0_);\(#,##0\);&quot;-  &quot;;&quot; &quot;@&quot; &quot;">
                  <c:v>96.29</c:v>
                </c:pt>
                <c:pt idx="2033" formatCode="#,##0_);\(#,##0\);&quot;-  &quot;;&quot; &quot;@&quot; &quot;">
                  <c:v>93.94</c:v>
                </c:pt>
                <c:pt idx="2034" formatCode="#,##0_);\(#,##0\);&quot;-  &quot;;&quot; &quot;@&quot; &quot;">
                  <c:v>93.71</c:v>
                </c:pt>
                <c:pt idx="2035" formatCode="#,##0_);\(#,##0\);&quot;-  &quot;;&quot; &quot;@&quot; &quot;">
                  <c:v>94.43</c:v>
                </c:pt>
                <c:pt idx="2036" formatCode="#,##0_);\(#,##0\);&quot;-  &quot;;&quot; &quot;@&quot; &quot;">
                  <c:v>95.44</c:v>
                </c:pt>
                <c:pt idx="2037" formatCode="#,##0_);\(#,##0\);&quot;-  &quot;;&quot; &quot;@&quot; &quot;">
                  <c:v>96.36</c:v>
                </c:pt>
                <c:pt idx="2038" formatCode="#,##0_);\(#,##0\);&quot;-  &quot;;&quot; &quot;@&quot; &quot;">
                  <c:v>95.83</c:v>
                </c:pt>
                <c:pt idx="2039" formatCode="#,##0_);\(#,##0\);&quot;-  &quot;;&quot; &quot;@&quot; &quot;">
                  <c:v>94.02</c:v>
                </c:pt>
                <c:pt idx="2040" formatCode="#,##0_);\(#,##0\);&quot;-  &quot;;&quot; &quot;@&quot; &quot;">
                  <c:v>92.73</c:v>
                </c:pt>
                <c:pt idx="2041" formatCode="#,##0_);\(#,##0\);&quot;-  &quot;;&quot; &quot;@&quot; &quot;">
                  <c:v>91.56</c:v>
                </c:pt>
                <c:pt idx="2042" formatCode="#,##0_);\(#,##0\);&quot;-  &quot;;&quot; &quot;@&quot; &quot;">
                  <c:v>92.9</c:v>
                </c:pt>
                <c:pt idx="2043" formatCode="#,##0_);\(#,##0\);&quot;-  &quot;;&quot; &quot;@&quot; &quot;">
                  <c:v>91.04</c:v>
                </c:pt>
                <c:pt idx="2044" formatCode="#,##0_);\(#,##0\);&quot;-  &quot;;&quot; &quot;@&quot; &quot;">
                  <c:v>90.86</c:v>
                </c:pt>
                <c:pt idx="2045" formatCode="#,##0_);\(#,##0\);&quot;-  &quot;;&quot; &quot;@&quot; &quot;">
                  <c:v>88.71</c:v>
                </c:pt>
                <c:pt idx="2046" formatCode="#,##0_);\(#,##0\);&quot;-  &quot;;&quot; &quot;@&quot; &quot;">
                  <c:v>89.41</c:v>
                </c:pt>
                <c:pt idx="2047" formatCode="#,##0_);\(#,##0\);&quot;-  &quot;;&quot; &quot;@&quot; &quot;">
                  <c:v>91.08</c:v>
                </c:pt>
                <c:pt idx="2048" formatCode="#,##0_);\(#,##0\);&quot;-  &quot;;&quot; &quot;@&quot; &quot;">
                  <c:v>92.36</c:v>
                </c:pt>
                <c:pt idx="2049" formatCode="#,##0_);\(#,##0\);&quot;-  &quot;;&quot; &quot;@&quot; &quot;">
                  <c:v>92.15</c:v>
                </c:pt>
                <c:pt idx="2050" formatCode="#,##0_);\(#,##0\);&quot;-  &quot;;&quot; &quot;@&quot; &quot;">
                  <c:v>86.9</c:v>
                </c:pt>
                <c:pt idx="2051" formatCode="#,##0_);\(#,##0\);&quot;-  &quot;;&quot; &quot;@&quot; &quot;">
                  <c:v>83.16</c:v>
                </c:pt>
                <c:pt idx="2052" formatCode="#,##0_);\(#,##0\);&quot;-  &quot;;&quot; &quot;@&quot; &quot;">
                  <c:v>79.81</c:v>
                </c:pt>
                <c:pt idx="2053" formatCode="#,##0_);\(#,##0\);&quot;-  &quot;;&quot; &quot;@&quot; &quot;">
                  <c:v>81.27</c:v>
                </c:pt>
                <c:pt idx="2054" formatCode="#,##0_);\(#,##0\);&quot;-  &quot;;&quot; &quot;@&quot; &quot;">
                  <c:v>81.16</c:v>
                </c:pt>
                <c:pt idx="2055" formatCode="#,##0_);\(#,##0\);&quot;-  &quot;;&quot; &quot;@&quot; &quot;">
                  <c:v>82.22</c:v>
                </c:pt>
                <c:pt idx="2056" formatCode="#,##0_);\(#,##0\);&quot;-  &quot;;&quot; &quot;@&quot; &quot;">
                  <c:v>83.38</c:v>
                </c:pt>
                <c:pt idx="2057" formatCode="#,##0_);\(#,##0\);&quot;-  &quot;;&quot; &quot;@&quot; &quot;">
                  <c:v>86.35</c:v>
                </c:pt>
                <c:pt idx="2058" formatCode="#,##0_);\(#,##0\);&quot;-  &quot;;&quot; &quot;@&quot; &quot;">
                  <c:v>87.36</c:v>
                </c:pt>
                <c:pt idx="2059" formatCode="#,##0_);\(#,##0\);&quot;-  &quot;;&quot; &quot;@&quot; &quot;">
                  <c:v>87.49</c:v>
                </c:pt>
                <c:pt idx="2060" formatCode="#,##0_);\(#,##0\);&quot;-  &quot;;&quot; &quot;@&quot; &quot;">
                  <c:v>87.4</c:v>
                </c:pt>
                <c:pt idx="2061" formatCode="#,##0_);\(#,##0\);&quot;-  &quot;;&quot; &quot;@&quot; &quot;">
                  <c:v>87.58</c:v>
                </c:pt>
                <c:pt idx="2062" formatCode="#,##0_);\(#,##0\);&quot;-  &quot;;&quot; &quot;@&quot; &quot;">
                  <c:v>86.93</c:v>
                </c:pt>
                <c:pt idx="2063" formatCode="#,##0_);\(#,##0\);&quot;-  &quot;;&quot; &quot;@&quot; &quot;">
                  <c:v>86.37</c:v>
                </c:pt>
                <c:pt idx="2064" formatCode="#,##0_);\(#,##0\);&quot;-  &quot;;&quot; &quot;@&quot; &quot;">
                  <c:v>87.98</c:v>
                </c:pt>
                <c:pt idx="2065" formatCode="#,##0_);\(#,##0\);&quot;-  &quot;;&quot; &quot;@&quot; &quot;">
                  <c:v>86.69</c:v>
                </c:pt>
                <c:pt idx="2066" formatCode="#,##0_);\(#,##0\);&quot;-  &quot;;&quot; &quot;@&quot; &quot;">
                  <c:v>83.33</c:v>
                </c:pt>
                <c:pt idx="2067" formatCode="#,##0_);\(#,##0\);&quot;-  &quot;;&quot; &quot;@&quot; &quot;">
                  <c:v>86.01</c:v>
                </c:pt>
                <c:pt idx="2068" formatCode="#,##0_);\(#,##0\);&quot;-  &quot;;&quot; &quot;@&quot; &quot;">
                  <c:v>87.92</c:v>
                </c:pt>
                <c:pt idx="2069" formatCode="#,##0_);\(#,##0\);&quot;-  &quot;;&quot; &quot;@&quot; &quot;">
                  <c:v>89.33</c:v>
                </c:pt>
                <c:pt idx="2070" formatCode="#,##0_);\(#,##0\);&quot;-  &quot;;&quot; &quot;@&quot; &quot;">
                  <c:v>89.04</c:v>
                </c:pt>
                <c:pt idx="2071" formatCode="#,##0_);\(#,##0\);&quot;-  &quot;;&quot; &quot;@&quot; &quot;">
                  <c:v>89.56</c:v>
                </c:pt>
                <c:pt idx="2072" formatCode="#,##0_);\(#,##0\);&quot;-  &quot;;&quot; &quot;@&quot; &quot;">
                  <c:v>90.36</c:v>
                </c:pt>
                <c:pt idx="2073" formatCode="#,##0_);\(#,##0\);&quot;-  &quot;;&quot; &quot;@&quot; &quot;">
                  <c:v>91.37</c:v>
                </c:pt>
                <c:pt idx="2074" formatCode="#,##0_);\(#,##0\);&quot;-  &quot;;&quot; &quot;@&quot; &quot;">
                  <c:v>91.91</c:v>
                </c:pt>
                <c:pt idx="2075" formatCode="#,##0_);\(#,##0\);&quot;-  &quot;;&quot; &quot;@&quot; &quot;">
                  <c:v>91.41</c:v>
                </c:pt>
                <c:pt idx="2076" formatCode="#,##0_);\(#,##0\);&quot;-  &quot;;&quot; &quot;@&quot; &quot;">
                  <c:v>90.93</c:v>
                </c:pt>
                <c:pt idx="2077" formatCode="#,##0_);\(#,##0\);&quot;-  &quot;;&quot; &quot;@&quot; &quot;">
                  <c:v>92.99</c:v>
                </c:pt>
                <c:pt idx="2078" formatCode="#,##0_);\(#,##0\);&quot;-  &quot;;&quot; &quot;@&quot; &quot;">
                  <c:v>94.97</c:v>
                </c:pt>
                <c:pt idx="2079" formatCode="#,##0_);\(#,##0\);&quot;-  &quot;;&quot; &quot;@&quot; &quot;">
                  <c:v>96.15</c:v>
                </c:pt>
                <c:pt idx="2080" formatCode="#,##0_);\(#,##0\);&quot;-  &quot;;&quot; &quot;@&quot; &quot;">
                  <c:v>97.41</c:v>
                </c:pt>
                <c:pt idx="2081" formatCode="#,##0_);\(#,##0\);&quot;-  &quot;;&quot; &quot;@&quot; &quot;">
                  <c:v>97.64</c:v>
                </c:pt>
                <c:pt idx="2082" formatCode="#,##0_);\(#,##0\);&quot;-  &quot;;&quot; &quot;@&quot; &quot;">
                  <c:v>99.28</c:v>
                </c:pt>
                <c:pt idx="2083" formatCode="#,##0_);\(#,##0\);&quot;-  &quot;;&quot; &quot;@&quot; &quot;">
                  <c:v>100.89</c:v>
                </c:pt>
                <c:pt idx="2084" formatCode="#,##0_);\(#,##0\);&quot;-  &quot;;&quot; &quot;@&quot; &quot;">
                  <c:v>101.58</c:v>
                </c:pt>
                <c:pt idx="2085" formatCode="#,##0_);\(#,##0\);&quot;-  &quot;;&quot; &quot;@&quot; &quot;">
                  <c:v>102.87</c:v>
                </c:pt>
                <c:pt idx="2086" formatCode="#,##0_);\(#,##0\);&quot;-  &quot;;&quot; &quot;@&quot; &quot;">
                  <c:v>103.73</c:v>
                </c:pt>
                <c:pt idx="2087" formatCode="#,##0_);\(#,##0\);&quot;-  &quot;;&quot; &quot;@&quot; &quot;">
                  <c:v>104.36</c:v>
                </c:pt>
                <c:pt idx="2088" formatCode="#,##0_);\(#,##0\);&quot;-  &quot;;&quot; &quot;@&quot; &quot;">
                  <c:v>104.42</c:v>
                </c:pt>
                <c:pt idx="2089" formatCode="#,##0_);\(#,##0\);&quot;-  &quot;;&quot; &quot;@&quot; &quot;">
                  <c:v>103.47</c:v>
                </c:pt>
                <c:pt idx="2090" formatCode="#,##0_);\(#,##0\);&quot;-  &quot;;&quot; &quot;@&quot; &quot;">
                  <c:v>103.01</c:v>
                </c:pt>
                <c:pt idx="2091" formatCode="#,##0_);\(#,##0\);&quot;-  &quot;;&quot; &quot;@&quot; &quot;">
                  <c:v>101.61</c:v>
                </c:pt>
                <c:pt idx="2092" formatCode="#,##0_);\(#,##0\);&quot;-  &quot;;&quot; &quot;@&quot; &quot;">
                  <c:v>102.15</c:v>
                </c:pt>
                <c:pt idx="2093" formatCode="#,##0_);\(#,##0\);&quot;-  &quot;;&quot; &quot;@&quot; &quot;">
                  <c:v>104.54</c:v>
                </c:pt>
                <c:pt idx="2094" formatCode="#,##0_);\(#,##0\);&quot;-  &quot;;&quot; &quot;@&quot; &quot;">
                  <c:v>105.39</c:v>
                </c:pt>
                <c:pt idx="2095" formatCode="#,##0_);\(#,##0\);&quot;-  &quot;;&quot; &quot;@&quot; &quot;">
                  <c:v>105.7</c:v>
                </c:pt>
                <c:pt idx="2096" formatCode="#,##0_);\(#,##0\);&quot;-  &quot;;&quot; &quot;@&quot; &quot;">
                  <c:v>105.76</c:v>
                </c:pt>
                <c:pt idx="2097" formatCode="#,##0_);\(#,##0\);&quot;-  &quot;;&quot; &quot;@&quot; &quot;">
                  <c:v>106.4</c:v>
                </c:pt>
                <c:pt idx="2098" formatCode="#,##0_);\(#,##0\);&quot;-  &quot;;&quot; &quot;@&quot; &quot;">
                  <c:v>107.06</c:v>
                </c:pt>
                <c:pt idx="2099" formatCode="#,##0_);\(#,##0\);&quot;-  &quot;;&quot; &quot;@&quot; &quot;">
                  <c:v>109.1</c:v>
                </c:pt>
                <c:pt idx="2100" formatCode="#,##0_);\(#,##0\);&quot;-  &quot;;&quot; &quot;@&quot; &quot;">
                  <c:v>111.73</c:v>
                </c:pt>
                <c:pt idx="2101" formatCode="#,##0_);\(#,##0\);&quot;-  &quot;;&quot; &quot;@&quot; &quot;">
                  <c:v>111.43</c:v>
                </c:pt>
                <c:pt idx="2102" formatCode="#,##0_);\(#,##0\);&quot;-  &quot;;&quot; &quot;@&quot; &quot;">
                  <c:v>108.27</c:v>
                </c:pt>
                <c:pt idx="2103" formatCode="#,##0_);\(#,##0\);&quot;-  &quot;;&quot; &quot;@&quot; &quot;">
                  <c:v>108.89</c:v>
                </c:pt>
                <c:pt idx="2104" formatCode="#,##0_);\(#,##0\);&quot;-  &quot;;&quot; &quot;@&quot; &quot;">
                  <c:v>109.92</c:v>
                </c:pt>
                <c:pt idx="2105" formatCode="#,##0_);\(#,##0\);&quot;-  &quot;;&quot; &quot;@&quot; &quot;">
                  <c:v>111.17</c:v>
                </c:pt>
                <c:pt idx="2106" formatCode="#,##0_);\(#,##0\);&quot;-  &quot;;&quot; &quot;@&quot; &quot;">
                  <c:v>112.86</c:v>
                </c:pt>
                <c:pt idx="2107" formatCode="#,##0_);\(#,##0\);&quot;-  &quot;;&quot; &quot;@&quot; &quot;">
                  <c:v>109.78</c:v>
                </c:pt>
                <c:pt idx="2108" formatCode="#,##0_);\(#,##0\);&quot;-  &quot;;&quot; &quot;@&quot; &quot;">
                  <c:v>109.79</c:v>
                </c:pt>
                <c:pt idx="2109" formatCode="#,##0_);\(#,##0\);&quot;-  &quot;;&quot; &quot;@&quot; &quot;">
                  <c:v>107.4</c:v>
                </c:pt>
                <c:pt idx="2110" formatCode="#,##0_);\(#,##0\);&quot;-  &quot;;&quot; &quot;@&quot; &quot;">
                  <c:v>107.08</c:v>
                </c:pt>
                <c:pt idx="2111" formatCode="#,##0_);\(#,##0\);&quot;-  &quot;;&quot; &quot;@&quot; &quot;">
                  <c:v>107.69</c:v>
                </c:pt>
                <c:pt idx="2112" formatCode="#,##0_);\(#,##0\);&quot;-  &quot;;&quot; &quot;@&quot; &quot;">
                  <c:v>110.7</c:v>
                </c:pt>
                <c:pt idx="2113" formatCode="#,##0_);\(#,##0\);&quot;-  &quot;;&quot; &quot;@&quot; &quot;">
                  <c:v>109.73</c:v>
                </c:pt>
                <c:pt idx="2114" formatCode="#,##0_);\(#,##0\);&quot;-  &quot;;&quot; &quot;@&quot; &quot;">
                  <c:v>114.38</c:v>
                </c:pt>
                <c:pt idx="2115" formatCode="#,##0_);\(#,##0\);&quot;-  &quot;;&quot; &quot;@&quot; &quot;">
                  <c:v>111.13</c:v>
                </c:pt>
                <c:pt idx="2116" formatCode="#,##0_);\(#,##0\);&quot;-  &quot;;&quot; &quot;@&quot; &quot;">
                  <c:v>114.81</c:v>
                </c:pt>
                <c:pt idx="2117" formatCode="#,##0_);\(#,##0\);&quot;-  &quot;;&quot; &quot;@&quot; &quot;">
                  <c:v>122.14</c:v>
                </c:pt>
                <c:pt idx="2118" formatCode="#,##0_);\(#,##0\);&quot;-  &quot;;&quot; &quot;@&quot; &quot;">
                  <c:v>132.88999999999999</c:v>
                </c:pt>
                <c:pt idx="2119" formatCode="#,##0_);\(#,##0\);&quot;-  &quot;;&quot; &quot;@&quot; &quot;">
                  <c:v>134.94999999999999</c:v>
                </c:pt>
                <c:pt idx="2120" formatCode="#,##0_);\(#,##0\);&quot;-  &quot;;&quot; &quot;@&quot; &quot;">
                  <c:v>141.69999999999999</c:v>
                </c:pt>
                <c:pt idx="2121" formatCode="#,##0_);\(#,##0\);&quot;-  &quot;;&quot; &quot;@&quot; &quot;">
                  <c:v>152.44</c:v>
                </c:pt>
                <c:pt idx="2122" formatCode="#,##0_);\(#,##0\);&quot;-  &quot;;&quot; &quot;@&quot; &quot;">
                  <c:v>165.88</c:v>
                </c:pt>
                <c:pt idx="2123" formatCode="#,##0_);\(#,##0\);&quot;-  &quot;;&quot; &quot;@&quot; &quot;">
                  <c:v>148.18</c:v>
                </c:pt>
                <c:pt idx="2124" formatCode="#,##0_);\(#,##0\);&quot;-  &quot;;&quot; &quot;@&quot; &quot;">
                  <c:v>134.28</c:v>
                </c:pt>
                <c:pt idx="2125" formatCode="#,##0_);\(#,##0\);&quot;-  &quot;;&quot; &quot;@&quot; &quot;">
                  <c:v>132.86000000000001</c:v>
                </c:pt>
                <c:pt idx="2126" formatCode="#,##0_);\(#,##0\);&quot;-  &quot;;&quot; &quot;@&quot; &quot;">
                  <c:v>128.38</c:v>
                </c:pt>
                <c:pt idx="2127" formatCode="#,##0_);\(#,##0\);&quot;-  &quot;;&quot; &quot;@&quot; &quot;">
                  <c:v>119.2</c:v>
                </c:pt>
                <c:pt idx="2128" formatCode="#,##0_);\(#,##0\);&quot;-  &quot;;&quot; &quot;@&quot; &quot;">
                  <c:v>121.5</c:v>
                </c:pt>
                <c:pt idx="2129" formatCode="#,##0_);\(#,##0\);&quot;-  &quot;;&quot; &quot;@&quot; &quot;">
                  <c:v>135.01</c:v>
                </c:pt>
                <c:pt idx="2130" formatCode="#,##0_);\(#,##0\);&quot;-  &quot;;&quot; &quot;@&quot; &quot;">
                  <c:v>140.26</c:v>
                </c:pt>
                <c:pt idx="2131" formatCode="#,##0_);\(#,##0\);&quot;-  &quot;;&quot; &quot;@&quot; &quot;">
                  <c:v>149.6</c:v>
                </c:pt>
                <c:pt idx="2132" formatCode="#,##0_);\(#,##0\);&quot;-  &quot;;&quot; &quot;@&quot; &quot;">
                  <c:v>151.5</c:v>
                </c:pt>
                <c:pt idx="2133" formatCode="#,##0_);\(#,##0\);&quot;-  &quot;;&quot; &quot;@&quot; &quot;">
                  <c:v>161.21</c:v>
                </c:pt>
                <c:pt idx="2134" formatCode="#,##0_);\(#,##0\);&quot;-  &quot;;&quot; &quot;@&quot; &quot;">
                  <c:v>164.89</c:v>
                </c:pt>
                <c:pt idx="2135" formatCode="#,##0_);\(#,##0\);&quot;-  &quot;;&quot; &quot;@&quot; &quot;">
                  <c:v>161.63</c:v>
                </c:pt>
                <c:pt idx="2136" formatCode="#,##0_);\(#,##0\);&quot;-  &quot;;&quot; &quot;@&quot; &quot;">
                  <c:v>154.82</c:v>
                </c:pt>
                <c:pt idx="2137" formatCode="#,##0_);\(#,##0\);&quot;-  &quot;;&quot; &quot;@&quot; &quot;">
                  <c:v>150.72</c:v>
                </c:pt>
                <c:pt idx="2138" formatCode="#,##0_);\(#,##0\);&quot;-  &quot;;&quot; &quot;@&quot; &quot;">
                  <c:v>154.01</c:v>
                </c:pt>
                <c:pt idx="2139" formatCode="#,##0_);\(#,##0\);&quot;-  &quot;;&quot; &quot;@&quot; &quot;">
                  <c:v>151.03</c:v>
                </c:pt>
                <c:pt idx="2140" formatCode="#,##0_);\(#,##0\);&quot;-  &quot;;&quot; &quot;@&quot; &quot;">
                  <c:v>157.97999999999999</c:v>
                </c:pt>
                <c:pt idx="2141" formatCode="#,##0_);\(#,##0\);&quot;-  &quot;;&quot; &quot;@&quot; &quot;">
                  <c:v>168</c:v>
                </c:pt>
                <c:pt idx="2142" formatCode="#,##0_);\(#,##0\);&quot;-  &quot;;&quot; &quot;@&quot; &quot;">
                  <c:v>163.99</c:v>
                </c:pt>
                <c:pt idx="2143" formatCode="#,##0_);\(#,##0\);&quot;-  &quot;;&quot; &quot;@&quot; &quot;">
                  <c:v>160.01</c:v>
                </c:pt>
                <c:pt idx="2144" formatCode="#,##0_);\(#,##0\);&quot;-  &quot;;&quot; &quot;@&quot; &quot;">
                  <c:v>153.05000000000001</c:v>
                </c:pt>
                <c:pt idx="2145" formatCode="#,##0_);\(#,##0\);&quot;-  &quot;;&quot; &quot;@&quot; &quot;">
                  <c:v>152.87</c:v>
                </c:pt>
                <c:pt idx="2146" formatCode="#,##0_);\(#,##0\);&quot;-  &quot;;&quot; &quot;@&quot; &quot;">
                  <c:v>147.15</c:v>
                </c:pt>
                <c:pt idx="2147" formatCode="#,##0_);\(#,##0\);&quot;-  &quot;;&quot; &quot;@&quot; &quot;">
                  <c:v>149.71</c:v>
                </c:pt>
                <c:pt idx="2148" formatCode="#,##0_);\(#,##0\);&quot;-  &quot;;&quot; &quot;@&quot; &quot;">
                  <c:v>154.78</c:v>
                </c:pt>
                <c:pt idx="2149" formatCode="#,##0_);\(#,##0\);&quot;-  &quot;;&quot; &quot;@&quot; &quot;">
                  <c:v>160.38</c:v>
                </c:pt>
                <c:pt idx="2150" formatCode="#,##0_);\(#,##0\);&quot;-  &quot;;&quot; &quot;@&quot; &quot;">
                  <c:v>159.77000000000001</c:v>
                </c:pt>
                <c:pt idx="2151" formatCode="#,##0_);\(#,##0\);&quot;-  &quot;;&quot; &quot;@&quot; &quot;">
                  <c:v>157.43</c:v>
                </c:pt>
                <c:pt idx="2152" formatCode="#,##0_);\(#,##0\);&quot;-  &quot;;&quot; &quot;@&quot; &quot;">
                  <c:v>158.72999999999999</c:v>
                </c:pt>
                <c:pt idx="2153" formatCode="#,##0_);\(#,##0\);&quot;-  &quot;;&quot; &quot;@&quot; &quot;">
                  <c:v>154.22</c:v>
                </c:pt>
                <c:pt idx="2154" formatCode="#,##0_);\(#,##0\);&quot;-  &quot;;&quot; &quot;@&quot; &quot;">
                  <c:v>152.79</c:v>
                </c:pt>
                <c:pt idx="2155" formatCode="#,##0_);\(#,##0\);&quot;-  &quot;;&quot; &quot;@&quot; &quot;">
                  <c:v>150.19999999999999</c:v>
                </c:pt>
                <c:pt idx="2156" formatCode="#,##0_);\(#,##0\);&quot;-  &quot;;&quot; &quot;@&quot; &quot;">
                  <c:v>157.07</c:v>
                </c:pt>
                <c:pt idx="2157" formatCode="#,##0_);\(#,##0\);&quot;-  &quot;;&quot; &quot;@&quot; &quot;">
                  <c:v>165.43</c:v>
                </c:pt>
                <c:pt idx="2158" formatCode="#,##0_);\(#,##0\);&quot;-  &quot;;&quot; &quot;@&quot; &quot;">
                  <c:v>169.59</c:v>
                </c:pt>
                <c:pt idx="2159" formatCode="#,##0_);\(#,##0\);&quot;-  &quot;;&quot; &quot;@&quot; &quot;">
                  <c:v>174.38</c:v>
                </c:pt>
                <c:pt idx="2160" formatCode="#,##0_);\(#,##0\);&quot;-  &quot;;&quot; &quot;@&quot; &quot;">
                  <c:v>176.4</c:v>
                </c:pt>
                <c:pt idx="2161" formatCode="#,##0_);\(#,##0\);&quot;-  &quot;;&quot; &quot;@&quot; &quot;">
                  <c:v>174.27</c:v>
                </c:pt>
                <c:pt idx="2162" formatCode="#,##0_);\(#,##0\);&quot;-  &quot;;&quot; &quot;@&quot; &quot;">
                  <c:v>178.71</c:v>
                </c:pt>
                <c:pt idx="2163" formatCode="#,##0_);\(#,##0\);&quot;-  &quot;;&quot; &quot;@&quot; &quot;">
                  <c:v>178.14</c:v>
                </c:pt>
                <c:pt idx="2164" formatCode="#,##0_);\(#,##0\);&quot;-  &quot;;&quot; &quot;@&quot; &quot;">
                  <c:v>176.29</c:v>
                </c:pt>
                <c:pt idx="2165" formatCode="#,##0_);\(#,##0\);&quot;-  &quot;;&quot; &quot;@&quot; &quot;">
                  <c:v>171.53</c:v>
                </c:pt>
                <c:pt idx="2166" formatCode="#,##0_);\(#,##0\);&quot;-  &quot;;&quot; &quot;@&quot; &quot;">
                  <c:v>170.5</c:v>
                </c:pt>
                <c:pt idx="2167" formatCode="#,##0_);\(#,##0\);&quot;-  &quot;;&quot; &quot;@&quot; &quot;">
                  <c:v>170.11</c:v>
                </c:pt>
                <c:pt idx="2168" formatCode="#,##0_);\(#,##0\);&quot;-  &quot;;&quot; &quot;@&quot; &quot;">
                  <c:v>164.91</c:v>
                </c:pt>
                <c:pt idx="2169" formatCode="#,##0_);\(#,##0\);&quot;-  &quot;;&quot; &quot;@&quot; &quot;">
                  <c:v>166.4</c:v>
                </c:pt>
                <c:pt idx="2170" formatCode="#,##0_);\(#,##0\);&quot;-  &quot;;&quot; &quot;@&quot; &quot;">
                  <c:v>160.57</c:v>
                </c:pt>
                <c:pt idx="2171" formatCode="#,##0_);\(#,##0\);&quot;-  &quot;;&quot; &quot;@&quot; &quot;">
                  <c:v>156.24</c:v>
                </c:pt>
                <c:pt idx="2172" formatCode="#,##0_);\(#,##0\);&quot;-  &quot;;&quot; &quot;@&quot; &quot;">
                  <c:v>149.06</c:v>
                </c:pt>
                <c:pt idx="2173" formatCode="#,##0_);\(#,##0\);&quot;-  &quot;;&quot; &quot;@&quot; &quot;">
                  <c:v>145.44999999999999</c:v>
                </c:pt>
                <c:pt idx="2174" formatCode="#,##0_);\(#,##0\);&quot;-  &quot;;&quot; &quot;@&quot; &quot;">
                  <c:v>146.53</c:v>
                </c:pt>
                <c:pt idx="2175" formatCode="#,##0_);\(#,##0\);&quot;-  &quot;;&quot; &quot;@&quot; &quot;">
                  <c:v>148.38</c:v>
                </c:pt>
                <c:pt idx="2176" formatCode="#,##0_);\(#,##0\);&quot;-  &quot;;&quot; &quot;@&quot; &quot;">
                  <c:v>149.33000000000001</c:v>
                </c:pt>
                <c:pt idx="2177" formatCode="#,##0_);\(#,##0\);&quot;-  &quot;;&quot; &quot;@&quot; &quot;">
                  <c:v>152.05000000000001</c:v>
                </c:pt>
                <c:pt idx="2178" formatCode="#,##0_);\(#,##0\);&quot;-  &quot;;&quot; &quot;@&quot; &quot;">
                  <c:v>155.52000000000001</c:v>
                </c:pt>
                <c:pt idx="2179" formatCode="#,##0_);\(#,##0\);&quot;-  &quot;;&quot; &quot;@&quot; &quot;">
                  <c:v>158.04</c:v>
                </c:pt>
                <c:pt idx="2180" formatCode="#,##0_);\(#,##0\);&quot;-  &quot;;&quot; &quot;@&quot; &quot;">
                  <c:v>159.38999999999999</c:v>
                </c:pt>
                <c:pt idx="2181" formatCode="#,##0_);\(#,##0\);&quot;-  &quot;;&quot; &quot;@&quot; &quot;">
                  <c:v>163.13999999999999</c:v>
                </c:pt>
                <c:pt idx="2182" formatCode="#,##0_);\(#,##0\);&quot;-  &quot;;&quot; &quot;@&quot; &quot;">
                  <c:v>166.54</c:v>
                </c:pt>
                <c:pt idx="2183" formatCode="#,##0_);\(#,##0\);&quot;-  &quot;;&quot; &quot;@&quot; &quot;">
                  <c:v>166.74</c:v>
                </c:pt>
                <c:pt idx="2184" formatCode="#,##0_);\(#,##0\);&quot;-  &quot;;&quot; &quot;@&quot; &quot;">
                  <c:v>170.5</c:v>
                </c:pt>
                <c:pt idx="2185" formatCode="#,##0_);\(#,##0\);&quot;-  &quot;;&quot; &quot;@&quot; &quot;">
                  <c:v>175.59</c:v>
                </c:pt>
                <c:pt idx="2186" formatCode="#,##0_);\(#,##0\);&quot;-  &quot;;&quot; &quot;@&quot; &quot;">
                  <c:v>173.98</c:v>
                </c:pt>
                <c:pt idx="2187" formatCode="#,##0_);\(#,##0\);&quot;-  &quot;;&quot; &quot;@&quot; &quot;">
                  <c:v>172.16</c:v>
                </c:pt>
                <c:pt idx="2188" formatCode="#,##0_);\(#,##0\);&quot;-  &quot;;&quot; &quot;@&quot; &quot;">
                  <c:v>176.33</c:v>
                </c:pt>
                <c:pt idx="2189" formatCode="#,##0_);\(#,##0\);&quot;-  &quot;;&quot; &quot;@&quot; &quot;">
                  <c:v>176.56</c:v>
                </c:pt>
                <c:pt idx="2190" formatCode="#,##0_);\(#,##0\);&quot;-  &quot;;&quot; &quot;@&quot; &quot;">
                  <c:v>173.41</c:v>
                </c:pt>
                <c:pt idx="2191" formatCode="#,##0_);\(#,##0\);&quot;-  &quot;;&quot; &quot;@&quot; &quot;">
                  <c:v>177.56</c:v>
                </c:pt>
                <c:pt idx="2192" formatCode="#,##0_);\(#,##0\);&quot;-  &quot;;&quot; &quot;@&quot; &quot;">
                  <c:v>181.9</c:v>
                </c:pt>
                <c:pt idx="2193" formatCode="#,##0_);\(#,##0\);&quot;-  &quot;;&quot; &quot;@&quot; &quot;">
                  <c:v>181.17</c:v>
                </c:pt>
                <c:pt idx="2194" formatCode="#,##0_);\(#,##0\);&quot;-  &quot;;&quot; &quot;@&quot; &quot;">
                  <c:v>177.06</c:v>
                </c:pt>
                <c:pt idx="2195" formatCode="#,##0_);\(#,##0\);&quot;-  &quot;;&quot; &quot;@&quot; &quot;">
                  <c:v>175.95</c:v>
                </c:pt>
                <c:pt idx="2196" formatCode="#,##0_);\(#,##0\);&quot;-  &quot;;&quot; &quot;@&quot; &quot;">
                  <c:v>177.59</c:v>
                </c:pt>
                <c:pt idx="2197" formatCode="#,##0_);\(#,##0\);&quot;-  &quot;;&quot; &quot;@&quot; &quot;">
                  <c:v>174.22</c:v>
                </c:pt>
                <c:pt idx="2198" formatCode="#,##0_);\(#,##0\);&quot;-  &quot;;&quot; &quot;@&quot; &quot;">
                  <c:v>172.86</c:v>
                </c:pt>
                <c:pt idx="2199" formatCode="#,##0_);\(#,##0\);&quot;-  &quot;;&quot; &quot;@&quot; &quot;">
                  <c:v>172.73</c:v>
                </c:pt>
                <c:pt idx="2200" formatCode="#,##0_);\(#,##0\);&quot;-  &quot;;&quot; &quot;@&quot; &quot;">
                  <c:v>168.06</c:v>
                </c:pt>
                <c:pt idx="2201" formatCode="#,##0_);\(#,##0\);&quot;-  &quot;;&quot; &quot;@&quot; &quot;">
                  <c:v>165.66</c:v>
                </c:pt>
                <c:pt idx="2202" formatCode="#,##0_);\(#,##0\);&quot;-  &quot;;&quot; &quot;@&quot; &quot;">
                  <c:v>160.55000000000001</c:v>
                </c:pt>
                <c:pt idx="2203" formatCode="#,##0_);\(#,##0\);&quot;-  &quot;;&quot; &quot;@&quot; &quot;">
                  <c:v>154.9</c:v>
                </c:pt>
                <c:pt idx="2204" formatCode="#,##0_);\(#,##0\);&quot;-  &quot;;&quot; &quot;@&quot; &quot;">
                  <c:v>159.54</c:v>
                </c:pt>
                <c:pt idx="2205" formatCode="#,##0_);\(#,##0\);&quot;-  &quot;;&quot; &quot;@&quot; &quot;">
                  <c:v>158.66999999999999</c:v>
                </c:pt>
                <c:pt idx="2206" formatCode="#,##0_);\(#,##0\);&quot;-  &quot;;&quot; &quot;@&quot; &quot;">
                  <c:v>148.44</c:v>
                </c:pt>
                <c:pt idx="2207" formatCode="#,##0_);\(#,##0\);&quot;-  &quot;;&quot; &quot;@&quot; &quot;">
                  <c:v>138.41999999999999</c:v>
                </c:pt>
                <c:pt idx="2208" formatCode="#,##0_);\(#,##0\);&quot;-  &quot;;&quot; &quot;@&quot; &quot;">
                  <c:v>142.99</c:v>
                </c:pt>
                <c:pt idx="2209" formatCode="#,##0_);\(#,##0\);&quot;-  &quot;;&quot; &quot;@&quot; &quot;">
                  <c:v>146.16999999999999</c:v>
                </c:pt>
                <c:pt idx="2210" formatCode="#,##0_);\(#,##0\);&quot;-  &quot;;&quot; &quot;@&quot; &quot;">
                  <c:v>149.63999999999999</c:v>
                </c:pt>
                <c:pt idx="2211" formatCode="#,##0_);\(#,##0\);&quot;-  &quot;;&quot; &quot;@&quot; &quot;">
                  <c:v>146.55000000000001</c:v>
                </c:pt>
                <c:pt idx="2212" formatCode="#,##0_);\(#,##0\);&quot;-  &quot;;&quot; &quot;@&quot; &quot;">
                  <c:v>146.88999999999999</c:v>
                </c:pt>
                <c:pt idx="2213" formatCode="#,##0_);\(#,##0\);&quot;-  &quot;;&quot; &quot;@&quot; &quot;">
                  <c:v>143.75</c:v>
                </c:pt>
                <c:pt idx="2214" formatCode="#,##0_);\(#,##0\);&quot;-  &quot;;&quot; &quot;@&quot; &quot;">
                  <c:v>146.35</c:v>
                </c:pt>
                <c:pt idx="2215" formatCode="#,##0_);\(#,##0\);&quot;-  &quot;;&quot; &quot;@&quot; &quot;">
                  <c:v>145.63</c:v>
                </c:pt>
                <c:pt idx="2216" formatCode="#,##0_);\(#,##0\);&quot;-  &quot;;&quot; &quot;@&quot; &quot;">
                  <c:v>142.97999999999999</c:v>
                </c:pt>
                <c:pt idx="2217" formatCode="#,##0_);\(#,##0\);&quot;-  &quot;;&quot; &quot;@&quot; &quot;">
                  <c:v>141.86000000000001</c:v>
                </c:pt>
                <c:pt idx="2218" formatCode="#,##0_);\(#,##0\);&quot;-  &quot;;&quot; &quot;@&quot; &quot;">
                  <c:v>139.4</c:v>
                </c:pt>
                <c:pt idx="2219" formatCode="#,##0_);\(#,##0\);&quot;-  &quot;;&quot; &quot;@&quot; &quot;">
                  <c:v>138.38999999999999</c:v>
                </c:pt>
                <c:pt idx="2220" formatCode="#,##0_);\(#,##0\);&quot;-  &quot;;&quot; &quot;@&quot; &quot;">
                  <c:v>137.13999999999999</c:v>
                </c:pt>
                <c:pt idx="2221" formatCode="#,##0_);\(#,##0\);&quot;-  &quot;;&quot; &quot;@&quot; &quot;">
                  <c:v>140.38999999999999</c:v>
                </c:pt>
                <c:pt idx="2222" formatCode="#,##0_);\(#,##0\);&quot;-  &quot;;&quot; &quot;@&quot; &quot;">
                  <c:v>143.47</c:v>
                </c:pt>
                <c:pt idx="2223" formatCode="#,##0_);\(#,##0\);&quot;-  &quot;;&quot; &quot;@&quot; &quot;">
                  <c:v>144.57</c:v>
                </c:pt>
                <c:pt idx="2224" formatCode="#,##0_);\(#,##0\);&quot;-  &quot;;&quot; &quot;@&quot; &quot;">
                  <c:v>143.04</c:v>
                </c:pt>
                <c:pt idx="2225" formatCode="#,##0_);\(#,##0\);&quot;-  &quot;;&quot; &quot;@&quot; &quot;">
                  <c:v>136.62</c:v>
                </c:pt>
                <c:pt idx="2226" formatCode="#,##0_);\(#,##0\);&quot;-  &quot;;&quot; &quot;@&quot; &quot;">
                  <c:v>132.65</c:v>
                </c:pt>
                <c:pt idx="2227" formatCode="#,##0_);\(#,##0\);&quot;-  &quot;;&quot; &quot;@&quot; &quot;">
                  <c:v>133.78</c:v>
                </c:pt>
                <c:pt idx="2228" formatCode="#,##0_);\(#,##0\);&quot;-  &quot;;&quot; &quot;@&quot; &quot;">
                  <c:v>132.1</c:v>
                </c:pt>
                <c:pt idx="2229" formatCode="#,##0_);\(#,##0\);&quot;-  &quot;;&quot; &quot;@&quot; &quot;">
                  <c:v>128.21</c:v>
                </c:pt>
                <c:pt idx="2230" formatCode="#,##0_);\(#,##0\);&quot;-  &quot;;&quot; &quot;@&quot; &quot;">
                  <c:v>124.59</c:v>
                </c:pt>
                <c:pt idx="2231" formatCode="#,##0_);\(#,##0\);&quot;-  &quot;;&quot; &quot;@&quot; &quot;">
                  <c:v>129.03</c:v>
                </c:pt>
                <c:pt idx="2232" formatCode="#,##0_);\(#,##0\);&quot;-  &quot;;&quot; &quot;@&quot; &quot;">
                  <c:v>131.71</c:v>
                </c:pt>
                <c:pt idx="2233" formatCode="#,##0_);\(#,##0\);&quot;-  &quot;;&quot; &quot;@&quot; &quot;">
                  <c:v>135.6</c:v>
                </c:pt>
                <c:pt idx="2234" formatCode="#,##0_);\(#,##0\);&quot;-  &quot;;&quot; &quot;@&quot; &quot;">
                  <c:v>138.49</c:v>
                </c:pt>
                <c:pt idx="2235" formatCode="#,##0_);\(#,##0\);&quot;-  &quot;;&quot; &quot;@&quot; &quot;">
                  <c:v>135.34</c:v>
                </c:pt>
                <c:pt idx="2236" formatCode="#,##0_);\(#,##0\);&quot;-  &quot;;&quot; &quot;@&quot; &quot;">
                  <c:v>135.85</c:v>
                </c:pt>
                <c:pt idx="2237" formatCode="#,##0_);\(#,##0\);&quot;-  &quot;;&quot; &quot;@&quot; &quot;">
                  <c:v>138.78</c:v>
                </c:pt>
                <c:pt idx="2238" formatCode="#,##0_);\(#,##0\);&quot;-  &quot;;&quot; &quot;@&quot; &quot;">
                  <c:v>141.69</c:v>
                </c:pt>
                <c:pt idx="2239" formatCode="#,##0_);\(#,##0\);&quot;-  &quot;;&quot; &quot;@&quot; &quot;">
                  <c:v>143.47999999999999</c:v>
                </c:pt>
                <c:pt idx="2240" formatCode="#,##0_);\(#,##0\);&quot;-  &quot;;&quot; &quot;@&quot; &quot;">
                  <c:v>145.94999999999999</c:v>
                </c:pt>
                <c:pt idx="2241" formatCode="#,##0_);\(#,##0\);&quot;-  &quot;;&quot; &quot;@&quot; &quot;">
                  <c:v>149.24</c:v>
                </c:pt>
                <c:pt idx="2242" formatCode="#,##0_);\(#,##0\);&quot;-  &quot;;&quot; &quot;@&quot; &quot;">
                  <c:v>154.38999999999999</c:v>
                </c:pt>
                <c:pt idx="2243" formatCode="#,##0_);\(#,##0\);&quot;-  &quot;;&quot; &quot;@&quot; &quot;">
                  <c:v>154.91999999999999</c:v>
                </c:pt>
                <c:pt idx="2244" formatCode="#,##0_);\(#,##0\);&quot;-  &quot;;&quot; &quot;@&quot; &quot;">
                  <c:v>155.15</c:v>
                </c:pt>
                <c:pt idx="2245" formatCode="#,##0_);\(#,##0\);&quot;-  &quot;;&quot; &quot;@&quot; &quot;">
                  <c:v>153.21</c:v>
                </c:pt>
                <c:pt idx="2246" formatCode="#,##0_);\(#,##0\);&quot;-  &quot;;&quot; &quot;@&quot; &quot;">
                  <c:v>148.37</c:v>
                </c:pt>
                <c:pt idx="2247" formatCode="#,##0_);\(#,##0\);&quot;-  &quot;;&quot; &quot;@&quot; &quot;">
                  <c:v>144.1</c:v>
                </c:pt>
                <c:pt idx="2248" formatCode="#,##0_);\(#,##0\);&quot;-  &quot;;&quot; &quot;@&quot; &quot;">
                  <c:v>138.36000000000001</c:v>
                </c:pt>
                <c:pt idx="2249" formatCode="#,##0_);\(#,##0\);&quot;-  &quot;;&quot; &quot;@&quot; &quot;">
                  <c:v>140.62</c:v>
                </c:pt>
                <c:pt idx="2250" formatCode="#,##0_);\(#,##0\);&quot;-  &quot;;&quot; &quot;@&quot; &quot;">
                  <c:v>143.16</c:v>
                </c:pt>
                <c:pt idx="2251" formatCode="#,##0_);\(#,##0\);&quot;-  &quot;;&quot; &quot;@&quot; &quot;">
                  <c:v>140.28</c:v>
                </c:pt>
                <c:pt idx="2252" formatCode="#,##0_);\(#,##0\);&quot;-  &quot;;&quot; &quot;@&quot; &quot;">
                  <c:v>139.69</c:v>
                </c:pt>
                <c:pt idx="2253" formatCode="#,##0_);\(#,##0\);&quot;-  &quot;;&quot; &quot;@&quot; &quot;">
                  <c:v>137.62</c:v>
                </c:pt>
                <c:pt idx="2254" formatCode="#,##0_);\(#,##0\);&quot;-  &quot;;&quot; &quot;@&quot; &quot;">
                  <c:v>139.5</c:v>
                </c:pt>
                <c:pt idx="2255" formatCode="#,##0_);\(#,##0\);&quot;-  &quot;;&quot; &quot;@&quot; &quot;">
                  <c:v>141.66999999999999</c:v>
                </c:pt>
                <c:pt idx="2256" formatCode="#,##0_);\(#,##0\);&quot;-  &quot;;&quot; &quot;@&quot; &quot;">
                  <c:v>139.56</c:v>
                </c:pt>
                <c:pt idx="2257" formatCode="#,##0_);\(#,##0\);&quot;-  &quot;;&quot; &quot;@&quot; &quot;">
                  <c:v>130.59</c:v>
                </c:pt>
                <c:pt idx="2258" formatCode="#,##0_);\(#,##0\);&quot;-  &quot;;&quot; &quot;@&quot; &quot;">
                  <c:v>122.13</c:v>
                </c:pt>
                <c:pt idx="2259" formatCode="#,##0_);\(#,##0\);&quot;-  &quot;;&quot; &quot;@&quot; &quot;">
                  <c:v>121.64</c:v>
                </c:pt>
                <c:pt idx="2260" formatCode="#,##0_);\(#,##0\);&quot;-  &quot;;&quot; &quot;@&quot; &quot;">
                  <c:v>124.71</c:v>
                </c:pt>
                <c:pt idx="2261" formatCode="#,##0_);\(#,##0\);&quot;-  &quot;;&quot; &quot;@&quot; &quot;">
                  <c:v>130.1</c:v>
                </c:pt>
                <c:pt idx="2262" formatCode="#,##0_);\(#,##0\);&quot;-  &quot;;&quot; &quot;@&quot; &quot;">
                  <c:v>129.86000000000001</c:v>
                </c:pt>
                <c:pt idx="2263" formatCode="#,##0_);\(#,##0\);&quot;-  &quot;;&quot; &quot;@&quot; &quot;">
                  <c:v>131.63</c:v>
                </c:pt>
                <c:pt idx="2264" formatCode="#,##0_);\(#,##0\);&quot;-  &quot;;&quot; &quot;@&quot; &quot;">
                  <c:v>127.36</c:v>
                </c:pt>
                <c:pt idx="2265" formatCode="#,##0_);\(#,##0\);&quot;-  &quot;;&quot; &quot;@&quot; &quot;">
                  <c:v>124.3</c:v>
                </c:pt>
                <c:pt idx="2266" formatCode="#,##0_);\(#,##0\);&quot;-  &quot;;&quot; &quot;@&quot; &quot;">
                  <c:v>129.18</c:v>
                </c:pt>
                <c:pt idx="2267" formatCode="#,##0_);\(#,##0\);&quot;-  &quot;;&quot; &quot;@&quot; &quot;">
                  <c:v>135</c:v>
                </c:pt>
                <c:pt idx="2268" formatCode="#,##0_);\(#,##0\);&quot;-  &quot;;&quot; &quot;@&quot; &quot;">
                  <c:v>135.38</c:v>
                </c:pt>
                <c:pt idx="2269" formatCode="#,##0_);\(#,##0\);&quot;-  &quot;;&quot; &quot;@&quot; &quot;">
                  <c:v>130.04</c:v>
                </c:pt>
                <c:pt idx="2270" formatCode="#,##0_);\(#,##0\);&quot;-  &quot;;&quot; &quot;@&quot; &quot;">
                  <c:v>133.34</c:v>
                </c:pt>
                <c:pt idx="2271" formatCode="#,##0_);\(#,##0\);&quot;-  &quot;;&quot; &quot;@&quot; &quot;">
                  <c:v>138.09</c:v>
                </c:pt>
                <c:pt idx="2272" formatCode="#,##0_);\(#,##0\);&quot;-  &quot;;&quot; &quot;@&quot; &quot;">
                  <c:v>143.94</c:v>
                </c:pt>
                <c:pt idx="2273" formatCode="#,##0_);\(#,##0\);&quot;-  &quot;;&quot; &quot;@&quot; &quot;">
                  <c:v>149.53</c:v>
                </c:pt>
                <c:pt idx="2274" formatCode="#,##0_);\(#,##0\);&quot;-  &quot;;&quot; &quot;@&quot; &quot;">
                  <c:v>155.77000000000001</c:v>
                </c:pt>
                <c:pt idx="2275" formatCode="#,##0_);\(#,##0\);&quot;-  &quot;;&quot; &quot;@&quot; &quot;">
                  <c:v>150.87</c:v>
                </c:pt>
                <c:pt idx="2276" formatCode="#,##0_);\(#,##0\);&quot;-  &quot;;&quot; &quot;@&quot; &quot;">
                  <c:v>144.63</c:v>
                </c:pt>
                <c:pt idx="2277" formatCode="#,##0_);\(#,##0\);&quot;-  &quot;;&quot; &quot;@&quot; &quot;">
                  <c:v>146.77000000000001</c:v>
                </c:pt>
                <c:pt idx="2278" formatCode="#,##0_);\(#,##0\);&quot;-  &quot;;&quot; &quot;@&quot; &quot;">
                  <c:v>148.29</c:v>
                </c:pt>
                <c:pt idx="2279" formatCode="#,##0_);\(#,##0\);&quot;-  &quot;;&quot; &quot;@&quot; &quot;">
                  <c:v>144.44999999999999</c:v>
                </c:pt>
                <c:pt idx="2280" formatCode="#,##0_);\(#,##0\);&quot;-  &quot;;&quot; &quot;@&quot; &quot;">
                  <c:v>145.16</c:v>
                </c:pt>
                <c:pt idx="2281" formatCode="#,##0_);\(#,##0\);&quot;-  &quot;;&quot; &quot;@&quot; &quot;">
                  <c:v>141.04</c:v>
                </c:pt>
                <c:pt idx="2282" formatCode="#,##0_);\(#,##0\);&quot;-  &quot;;&quot; &quot;@&quot; &quot;">
                  <c:v>135.30000000000001</c:v>
                </c:pt>
                <c:pt idx="2283" formatCode="#,##0_);\(#,##0\);&quot;-  &quot;;&quot; &quot;@&quot; &quot;">
                  <c:v>133.53</c:v>
                </c:pt>
                <c:pt idx="2284" formatCode="#,##0_);\(#,##0\);&quot;-  &quot;;&quot; &quot;@&quot; &quot;">
                  <c:v>131.93</c:v>
                </c:pt>
                <c:pt idx="2285" formatCode="#,##0_);\(#,##0\);&quot;-  &quot;;&quot; &quot;@&quot; &quot;">
                  <c:v>135.19</c:v>
                </c:pt>
                <c:pt idx="2286" formatCode="#,##0_);\(#,##0\);&quot;-  &quot;;&quot; &quot;@&quot; &quot;">
                  <c:v>134.97999999999999</c:v>
                </c:pt>
                <c:pt idx="2287" formatCode="#,##0_);\(#,##0\);&quot;-  &quot;;&quot; &quot;@&quot; &quot;">
                  <c:v>137.93</c:v>
                </c:pt>
                <c:pt idx="2288" formatCode="#,##0_);\(#,##0\);&quot;-  &quot;;&quot; &quot;@&quot; &quot;">
                  <c:v>139.19</c:v>
                </c:pt>
                <c:pt idx="2289" formatCode="#,##0_);\(#,##0\);&quot;-  &quot;;&quot; &quot;@&quot; &quot;">
                  <c:v>139.13</c:v>
                </c:pt>
                <c:pt idx="2290" formatCode="#,##0_);\(#,##0\);&quot;-  &quot;;&quot; &quot;@&quot; &quot;">
                  <c:v>135.11000000000001</c:v>
                </c:pt>
                <c:pt idx="2291" formatCode="#,##0_);\(#,##0\);&quot;-  &quot;;&quot; &quot;@&quot; &quot;">
                  <c:v>132.94999999999999</c:v>
                </c:pt>
                <c:pt idx="2292" formatCode="#,##0_);\(#,##0\);&quot;-  &quot;;&quot; &quot;@&quot; &quot;">
                  <c:v>134.13999999999999</c:v>
                </c:pt>
                <c:pt idx="2293" formatCode="#,##0_);\(#,##0\);&quot;-  &quot;;&quot; &quot;@&quot; &quot;">
                  <c:v>139.96</c:v>
                </c:pt>
                <c:pt idx="2294" formatCode="#,##0_);\(#,##0\);&quot;-  &quot;;&quot; &quot;@&quot; &quot;">
                  <c:v>144.33000000000001</c:v>
                </c:pt>
                <c:pt idx="2295" formatCode="#,##0_);\(#,##0\);&quot;-  &quot;;&quot; &quot;@&quot; &quot;">
                  <c:v>141.35</c:v>
                </c:pt>
                <c:pt idx="2296" formatCode="#,##0_);\(#,##0\);&quot;-  &quot;;&quot; &quot;@&quot; &quot;">
                  <c:v>140.76</c:v>
                </c:pt>
                <c:pt idx="2297" formatCode="#,##0_);\(#,##0\);&quot;-  &quot;;&quot; &quot;@&quot; &quot;">
                  <c:v>137.13999999999999</c:v>
                </c:pt>
                <c:pt idx="2298" formatCode="#,##0_);\(#,##0\);&quot;-  &quot;;&quot; &quot;@&quot; &quot;">
                  <c:v>135.72</c:v>
                </c:pt>
                <c:pt idx="2299" formatCode="#,##0_);\(#,##0\);&quot;-  &quot;;&quot; &quot;@&quot; &quot;">
                  <c:v>136.63</c:v>
                </c:pt>
                <c:pt idx="2300" formatCode="#,##0_);\(#,##0\);&quot;-  &quot;;&quot; &quot;@&quot; &quot;">
                  <c:v>135.76</c:v>
                </c:pt>
                <c:pt idx="2301" formatCode="#,##0_);\(#,##0\);&quot;-  &quot;;&quot; &quot;@&quot; &quot;">
                  <c:v>135.54</c:v>
                </c:pt>
                <c:pt idx="2302" formatCode="#,##0_);\(#,##0\);&quot;-  &quot;;&quot; &quot;@&quot; &quot;">
                  <c:v>135.16</c:v>
                </c:pt>
                <c:pt idx="2303" formatCode="#,##0_);\(#,##0\);&quot;-  &quot;;&quot; &quot;@&quot; &quot;">
                  <c:v>132.19</c:v>
                </c:pt>
                <c:pt idx="2304" formatCode="#,##0_);\(#,##0\);&quot;-  &quot;;&quot; &quot;@&quot; &quot;">
                  <c:v>131.27000000000001</c:v>
                </c:pt>
                <c:pt idx="2305" formatCode="#,##0_);\(#,##0\);&quot;-  &quot;;&quot; &quot;@&quot; &quot;">
                  <c:v>128.63999999999999</c:v>
                </c:pt>
                <c:pt idx="2306" formatCode="#,##0_);\(#,##0\);&quot;-  &quot;;&quot; &quot;@&quot; &quot;">
                  <c:v>128.54</c:v>
                </c:pt>
                <c:pt idx="2307" formatCode="#,##0_);\(#,##0\);&quot;-  &quot;;&quot; &quot;@&quot; &quot;">
                  <c:v>126.13</c:v>
                </c:pt>
                <c:pt idx="2308" formatCode="#,##0_);\(#,##0\);&quot;-  &quot;;&quot; &quot;@&quot; &quot;">
                  <c:v>124.45</c:v>
                </c:pt>
                <c:pt idx="2309" formatCode="#,##0_);\(#,##0\);&quot;-  &quot;;&quot; &quot;@&quot; &quot;">
                  <c:v>123.95</c:v>
                </c:pt>
                <c:pt idx="2310" formatCode="#,##0_);\(#,##0\);&quot;-  &quot;;&quot; &quot;@&quot; &quot;">
                  <c:v>118.87</c:v>
                </c:pt>
                <c:pt idx="2311" formatCode="#,##0_);\(#,##0\);&quot;-  &quot;;&quot; &quot;@&quot; &quot;">
                  <c:v>122.35</c:v>
                </c:pt>
                <c:pt idx="2312" formatCode="#,##0_);\(#,##0\);&quot;-  &quot;;&quot; &quot;@&quot; &quot;">
                  <c:v>126.54</c:v>
                </c:pt>
                <c:pt idx="2313" formatCode="#,##0_);\(#,##0\);&quot;-  &quot;;&quot; &quot;@&quot; &quot;">
                  <c:v>126.38</c:v>
                </c:pt>
                <c:pt idx="2314" formatCode="#,##0_);\(#,##0\);&quot;-  &quot;;&quot; &quot;@&quot; &quot;">
                  <c:v>122.7</c:v>
                </c:pt>
                <c:pt idx="2315" formatCode="#,##0_);\(#,##0\);&quot;-  &quot;;&quot; &quot;@&quot; &quot;">
                  <c:v>118.13</c:v>
                </c:pt>
                <c:pt idx="2316" formatCode="#,##0_);\(#,##0\);&quot;-  &quot;;&quot; &quot;@&quot; &quot;">
                  <c:v>112.64</c:v>
                </c:pt>
                <c:pt idx="2317" formatCode="#,##0_);\(#,##0\);&quot;-  &quot;;&quot; &quot;@&quot; &quot;">
                  <c:v>108.24</c:v>
                </c:pt>
                <c:pt idx="2318" formatCode="#,##0_);\(#,##0\);&quot;-  &quot;;&quot; &quot;@&quot; &quot;">
                  <c:v>109.26</c:v>
                </c:pt>
                <c:pt idx="2319" formatCode="#,##0_);\(#,##0\);&quot;-  &quot;;&quot; &quot;@&quot; &quot;">
                  <c:v>108.54</c:v>
                </c:pt>
                <c:pt idx="2320" formatCode="#,##0_);\(#,##0\);&quot;-  &quot;;&quot; &quot;@&quot; &quot;">
                  <c:v>111.72</c:v>
                </c:pt>
                <c:pt idx="2321" formatCode="#,##0_);\(#,##0\);&quot;-  &quot;;&quot; &quot;@&quot; &quot;">
                  <c:v>117</c:v>
                </c:pt>
                <c:pt idx="2322" formatCode="#,##0_);\(#,##0\);&quot;-  &quot;;&quot; &quot;@&quot; &quot;">
                  <c:v>124.03</c:v>
                </c:pt>
                <c:pt idx="2323" formatCode="#,##0_);\(#,##0\);&quot;-  &quot;;&quot; &quot;@&quot; &quot;">
                  <c:v>124.88</c:v>
                </c:pt>
                <c:pt idx="2324" formatCode="#,##0_);\(#,##0\);&quot;-  &quot;;&quot; &quot;@&quot; &quot;">
                  <c:v>120.01</c:v>
                </c:pt>
                <c:pt idx="2325" formatCode="#,##0_);\(#,##0\);&quot;-  &quot;;&quot; &quot;@&quot; &quot;">
                  <c:v>117.48</c:v>
                </c:pt>
                <c:pt idx="2326" formatCode="#,##0_);\(#,##0\);&quot;-  &quot;;&quot; &quot;@&quot; &quot;">
                  <c:v>116.64</c:v>
                </c:pt>
                <c:pt idx="2327" formatCode="#,##0_);\(#,##0\);&quot;-  &quot;;&quot; &quot;@&quot; &quot;">
                  <c:v>120.22</c:v>
                </c:pt>
                <c:pt idx="2328" formatCode="#,##0_);\(#,##0\);&quot;-  &quot;;&quot; &quot;@&quot; &quot;">
                  <c:v>121.66</c:v>
                </c:pt>
                <c:pt idx="2329" formatCode="#,##0_);\(#,##0\);&quot;-  &quot;;&quot; &quot;@&quot; &quot;">
                  <c:v>123.95</c:v>
                </c:pt>
                <c:pt idx="2330" formatCode="#,##0_);\(#,##0\);&quot;-  &quot;;&quot; &quot;@&quot; &quot;">
                  <c:v>127.82</c:v>
                </c:pt>
                <c:pt idx="2331" formatCode="#,##0_);\(#,##0\);&quot;-  &quot;;&quot; &quot;@&quot; &quot;">
                  <c:v>128.79</c:v>
                </c:pt>
                <c:pt idx="2332" formatCode="#,##0_);\(#,##0\);&quot;-  &quot;;&quot; &quot;@&quot; &quot;">
                  <c:v>128.22999999999999</c:v>
                </c:pt>
                <c:pt idx="2333" formatCode="#,##0_);\(#,##0\);&quot;-  &quot;;&quot; &quot;@&quot; &quot;">
                  <c:v>129.58000000000001</c:v>
                </c:pt>
                <c:pt idx="2334" formatCode="#,##0_);\(#,##0\);&quot;-  &quot;;&quot; &quot;@&quot; &quot;">
                  <c:v>126.59</c:v>
                </c:pt>
                <c:pt idx="2335" formatCode="#,##0_);\(#,##0\);&quot;-  &quot;;&quot; &quot;@&quot; &quot;">
                  <c:v>120.33</c:v>
                </c:pt>
                <c:pt idx="2336" formatCode="#,##0_);\(#,##0\);&quot;-  &quot;;&quot; &quot;@&quot; &quot;">
                  <c:v>121.1</c:v>
                </c:pt>
                <c:pt idx="2337" formatCode="#,##0_);\(#,##0\);&quot;-  &quot;;&quot; &quot;@&quot; &quot;">
                  <c:v>124.8</c:v>
                </c:pt>
                <c:pt idx="2338" formatCode="#,##0_);\(#,##0\);&quot;-  &quot;;&quot; &quot;@&quot; &quot;">
                  <c:v>124.66</c:v>
                </c:pt>
                <c:pt idx="2339" formatCode="#,##0_);\(#,##0\);&quot;-  &quot;;&quot; &quot;@&quot; &quot;">
                  <c:v>126.95</c:v>
                </c:pt>
                <c:pt idx="2340" formatCode="#,##0_);\(#,##0\);&quot;-  &quot;;&quot; &quot;@&quot; &quot;">
                  <c:v>133.93</c:v>
                </c:pt>
                <c:pt idx="2341" formatCode="#,##0_);\(#,##0\);&quot;-  &quot;;&quot; &quot;@&quot; &quot;">
                  <c:v>135.29</c:v>
                </c:pt>
                <c:pt idx="2342" formatCode="#,##0_);\(#,##0\);&quot;-  &quot;;&quot; &quot;@&quot; &quot;">
                  <c:v>137.16999999999999</c:v>
                </c:pt>
                <c:pt idx="2343" formatCode="#,##0_);\(#,##0\);&quot;-  &quot;;&quot; &quot;@&quot; &quot;">
                  <c:v>137.38999999999999</c:v>
                </c:pt>
                <c:pt idx="2344" formatCode="#,##0_);\(#,##0\);&quot;-  &quot;;&quot; &quot;@&quot; &quot;">
                  <c:v>138.53</c:v>
                </c:pt>
                <c:pt idx="2345" formatCode="#,##0_);\(#,##0\);&quot;-  &quot;;&quot; &quot;@&quot; &quot;">
                  <c:v>139.74</c:v>
                </c:pt>
                <c:pt idx="2346" formatCode="#,##0_);\(#,##0\);&quot;-  &quot;;&quot; &quot;@&quot; &quot;">
                  <c:v>141.77000000000001</c:v>
                </c:pt>
                <c:pt idx="2347" formatCode="#,##0_);\(#,##0\);&quot;-  &quot;;&quot; &quot;@&quot; &quot;">
                  <c:v>143.72999999999999</c:v>
                </c:pt>
                <c:pt idx="2348" formatCode="#,##0_);\(#,##0\);&quot;-  &quot;;&quot; &quot;@&quot; &quot;">
                  <c:v>146.28</c:v>
                </c:pt>
                <c:pt idx="2349" formatCode="#,##0_);\(#,##0\);&quot;-  &quot;;&quot; &quot;@&quot; &quot;">
                  <c:v>144.63</c:v>
                </c:pt>
                <c:pt idx="2350" formatCode="#,##0_);\(#,##0\);&quot;-  &quot;;&quot; &quot;@&quot; &quot;">
                  <c:v>148.4</c:v>
                </c:pt>
                <c:pt idx="2351" formatCode="#,##0_);\(#,##0\);&quot;-  &quot;;&quot; &quot;@&quot; &quot;">
                  <c:v>147.9</c:v>
                </c:pt>
                <c:pt idx="2352" formatCode="#,##0_);\(#,##0\);&quot;-  &quot;;&quot; &quot;@&quot; &quot;">
                  <c:v>146.05000000000001</c:v>
                </c:pt>
                <c:pt idx="2353" formatCode="#,##0_);\(#,##0\);&quot;-  &quot;;&quot; &quot;@&quot; &quot;">
                  <c:v>137.99</c:v>
                </c:pt>
                <c:pt idx="2354" formatCode="#,##0_);\(#,##0\);&quot;-  &quot;;&quot; &quot;@&quot; &quot;">
                  <c:v>135.6</c:v>
                </c:pt>
                <c:pt idx="2355" formatCode="#,##0_);\(#,##0\);&quot;-  &quot;;&quot; &quot;@&quot; &quot;">
                  <c:v>130.24</c:v>
                </c:pt>
                <c:pt idx="2356" formatCode="#,##0_);\(#,##0\);&quot;-  &quot;;&quot; &quot;@&quot; &quot;">
                  <c:v>125.6</c:v>
                </c:pt>
                <c:pt idx="2357" formatCode="#,##0_);\(#,##0\);&quot;-  &quot;;&quot; &quot;@&quot; &quot;">
                  <c:v>122.63</c:v>
                </c:pt>
                <c:pt idx="2358" formatCode="#,##0_);\(#,##0\);&quot;-  &quot;;&quot; &quot;@&quot; &quot;">
                  <c:v>119.95</c:v>
                </c:pt>
                <c:pt idx="2359" formatCode="#,##0_);\(#,##0\);&quot;-  &quot;;&quot; &quot;@&quot; &quot;">
                  <c:v>123.58</c:v>
                </c:pt>
                <c:pt idx="2360" formatCode="#,##0_);\(#,##0\);&quot;-  &quot;;&quot; &quot;@&quot; &quot;">
                  <c:v>123.86</c:v>
                </c:pt>
                <c:pt idx="2361" formatCode="#,##0_);\(#,##0\);&quot;-  &quot;;&quot; &quot;@&quot; &quot;">
                  <c:v>118.03</c:v>
                </c:pt>
                <c:pt idx="2362" formatCode="#,##0_);\(#,##0\);&quot;-  &quot;;&quot; &quot;@&quot; &quot;">
                  <c:v>119.31</c:v>
                </c:pt>
                <c:pt idx="2363" formatCode="#,##0_);\(#,##0\);&quot;-  &quot;;&quot; &quot;@&quot; &quot;">
                  <c:v>118.89</c:v>
                </c:pt>
                <c:pt idx="2364" formatCode="#,##0_);\(#,##0\);&quot;-  &quot;;&quot; &quot;@&quot; &quot;">
                  <c:v>117.32</c:v>
                </c:pt>
                <c:pt idx="2365" formatCode="#,##0_);\(#,##0\);&quot;-  &quot;;&quot; &quot;@&quot; &quot;">
                  <c:v>113.91</c:v>
                </c:pt>
                <c:pt idx="2366" formatCode="#,##0_);\(#,##0\);&quot;-  &quot;;&quot; &quot;@&quot; &quot;">
                  <c:v>111.61</c:v>
                </c:pt>
                <c:pt idx="2367" formatCode="#,##0_);\(#,##0\);&quot;-  &quot;;&quot; &quot;@&quot; &quot;">
                  <c:v>107.03</c:v>
                </c:pt>
                <c:pt idx="2368" formatCode="#,##0_);\(#,##0\);&quot;-  &quot;;&quot; &quot;@&quot; &quot;">
                  <c:v>107.66</c:v>
                </c:pt>
                <c:pt idx="2369" formatCode="#,##0_);\(#,##0\);&quot;-  &quot;;&quot; &quot;@&quot; &quot;">
                  <c:v>110.86</c:v>
                </c:pt>
                <c:pt idx="2370" formatCode="#,##0_);\(#,##0\);&quot;-  &quot;;&quot; &quot;@&quot; &quot;">
                  <c:v>109.3</c:v>
                </c:pt>
                <c:pt idx="2371" formatCode="#,##0_);\(#,##0\);&quot;-  &quot;;&quot; &quot;@&quot; &quot;">
                  <c:v>108.87</c:v>
                </c:pt>
                <c:pt idx="2372" formatCode="#,##0_);\(#,##0\);&quot;-  &quot;;&quot; &quot;@&quot; &quot;">
                  <c:v>112.85</c:v>
                </c:pt>
                <c:pt idx="2373" formatCode="#,##0_);\(#,##0\);&quot;-  &quot;;&quot; &quot;@&quot; &quot;">
                  <c:v>114.21</c:v>
                </c:pt>
                <c:pt idx="2374" formatCode="#,##0_);\(#,##0\);&quot;-  &quot;;&quot; &quot;@&quot; &quot;">
                  <c:v>113.88</c:v>
                </c:pt>
                <c:pt idx="2375" formatCode="#,##0_);\(#,##0\);&quot;-  &quot;;&quot; &quot;@&quot; &quot;">
                  <c:v>115.71</c:v>
                </c:pt>
                <c:pt idx="2376" formatCode="#,##0_);\(#,##0\);&quot;-  &quot;;&quot; &quot;@&quot; &quot;">
                  <c:v>114.86</c:v>
                </c:pt>
                <c:pt idx="2377" formatCode="#,##0_);\(#,##0\);&quot;-  &quot;;&quot; &quot;@&quot; &quot;">
                  <c:v>115.94</c:v>
                </c:pt>
                <c:pt idx="2378" formatCode="#,##0_);\(#,##0\);&quot;-  &quot;;&quot; &quot;@&quot; &quot;">
                  <c:v>115.6</c:v>
                </c:pt>
                <c:pt idx="2379" formatCode="#,##0_);\(#,##0\);&quot;-  &quot;;&quot; &quot;@&quot; &quot;">
                  <c:v>112.73</c:v>
                </c:pt>
                <c:pt idx="2380" formatCode="#,##0_);\(#,##0\);&quot;-  &quot;;&quot; &quot;@&quot; &quot;">
                  <c:v>110.17</c:v>
                </c:pt>
                <c:pt idx="2381" formatCode="#,##0_);\(#,##0\);&quot;-  &quot;;&quot; &quot;@&quot; &quot;">
                  <c:v>108.27</c:v>
                </c:pt>
                <c:pt idx="2382" formatCode="#,##0_);\(#,##0\);&quot;-  &quot;;&quot; &quot;@&quot; &quot;">
                  <c:v>109.25</c:v>
                </c:pt>
                <c:pt idx="2383" formatCode="#,##0_);\(#,##0\);&quot;-  &quot;;&quot; &quot;@&quot; &quot;">
                  <c:v>109.12</c:v>
                </c:pt>
                <c:pt idx="2384" formatCode="#,##0_);\(#,##0\);&quot;-  &quot;;&quot; &quot;@&quot; &quot;">
                  <c:v>106.41</c:v>
                </c:pt>
                <c:pt idx="2385" formatCode="#,##0_);\(#,##0\);&quot;-  &quot;;&quot; &quot;@&quot; &quot;">
                  <c:v>100.62</c:v>
                </c:pt>
                <c:pt idx="2386" formatCode="#,##0_);\(#,##0\);&quot;-  &quot;;&quot; &quot;@&quot; &quot;">
                  <c:v>99.85</c:v>
                </c:pt>
                <c:pt idx="2387" formatCode="#,##0_);\(#,##0\);&quot;-  &quot;;&quot; &quot;@&quot; &quot;">
                  <c:v>101.92</c:v>
                </c:pt>
                <c:pt idx="2388" formatCode="#,##0_);\(#,##0\);&quot;-  &quot;;&quot; &quot;@&quot; &quot;">
                  <c:v>100.43</c:v>
                </c:pt>
                <c:pt idx="2389" formatCode="#,##0_);\(#,##0\);&quot;-  &quot;;&quot; &quot;@&quot; &quot;">
                  <c:v>101</c:v>
                </c:pt>
                <c:pt idx="2390" formatCode="#,##0_);\(#,##0\);&quot;-  &quot;;&quot; &quot;@&quot; &quot;">
                  <c:v>102.45</c:v>
                </c:pt>
                <c:pt idx="2391" formatCode="#,##0_);\(#,##0\);&quot;-  &quot;;&quot; &quot;@&quot; &quot;">
                  <c:v>102.78</c:v>
                </c:pt>
                <c:pt idx="2392" formatCode="#,##0_);\(#,##0\);&quot;-  &quot;;&quot; &quot;@&quot; &quot;">
                  <c:v>102.53</c:v>
                </c:pt>
                <c:pt idx="2393" formatCode="#,##0_);\(#,##0\);&quot;-  &quot;;&quot; &quot;@&quot; &quot;">
                  <c:v>103.75</c:v>
                </c:pt>
                <c:pt idx="2394" formatCode="#,##0_);\(#,##0\);&quot;-  &quot;;&quot; &quot;@&quot; &quot;">
                  <c:v>105.72</c:v>
                </c:pt>
                <c:pt idx="2395" formatCode="#,##0_);\(#,##0\);&quot;-  &quot;;&quot; &quot;@&quot; &quot;">
                  <c:v>103.43</c:v>
                </c:pt>
                <c:pt idx="2396" formatCode="#,##0_);\(#,##0\);&quot;-  &quot;;&quot; &quot;@&quot; &quot;">
                  <c:v>103</c:v>
                </c:pt>
                <c:pt idx="2397" formatCode="#,##0_);\(#,##0\);&quot;-  &quot;;&quot; &quot;@&quot; &quot;">
                  <c:v>105.09</c:v>
                </c:pt>
                <c:pt idx="2398" formatCode="#,##0_);\(#,##0\);&quot;-  &quot;;&quot; &quot;@&quot; &quot;">
                  <c:v>107.34</c:v>
                </c:pt>
                <c:pt idx="2399" formatCode="#,##0_);\(#,##0\);&quot;-  &quot;;&quot; &quot;@&quot; &quot;">
                  <c:v>104.79</c:v>
                </c:pt>
                <c:pt idx="2400" formatCode="#,##0_);\(#,##0\);&quot;-  &quot;;&quot; &quot;@&quot; &quot;">
                  <c:v>106.64</c:v>
                </c:pt>
                <c:pt idx="2401" formatCode="#,##0_);\(#,##0\);&quot;-  &quot;;&quot; &quot;@&quot; &quot;">
                  <c:v>106.33</c:v>
                </c:pt>
                <c:pt idx="2402" formatCode="#,##0_);\(#,##0\);&quot;-  &quot;;&quot; &quot;@&quot; &quot;">
                  <c:v>105.99</c:v>
                </c:pt>
                <c:pt idx="2403" formatCode="#,##0_);\(#,##0\);&quot;-  &quot;;&quot; &quot;@&quot; &quot;">
                  <c:v>104.04</c:v>
                </c:pt>
                <c:pt idx="2404" formatCode="#,##0_);\(#,##0\);&quot;-  &quot;;&quot; &quot;@&quot; &quot;">
                  <c:v>104.91</c:v>
                </c:pt>
                <c:pt idx="2405" formatCode="#,##0_);\(#,##0\);&quot;-  &quot;;&quot; &quot;@&quot; &quot;">
                  <c:v>103.52</c:v>
                </c:pt>
                <c:pt idx="2406" formatCode="#,##0_);\(#,##0\);&quot;-  &quot;;&quot; &quot;@&quot; &quot;">
                  <c:v>101.54</c:v>
                </c:pt>
                <c:pt idx="2407" formatCode="#,##0_);\(#,##0\);&quot;-  &quot;;&quot; &quot;@&quot; &quot;">
                  <c:v>100.49</c:v>
                </c:pt>
                <c:pt idx="2408" formatCode="#,##0_);\(#,##0\);&quot;-  &quot;;&quot; &quot;@&quot; &quot;">
                  <c:v>100.15</c:v>
                </c:pt>
                <c:pt idx="2409" formatCode="#,##0_);\(#,##0\);&quot;-  &quot;;&quot; &quot;@&quot; &quot;">
                  <c:v>98.41</c:v>
                </c:pt>
                <c:pt idx="2410" formatCode="#,##0_);\(#,##0\);&quot;-  &quot;;&quot; &quot;@&quot; &quot;">
                  <c:v>95.91</c:v>
                </c:pt>
                <c:pt idx="2411" formatCode="#,##0_);\(#,##0\);&quot;-  &quot;;&quot; &quot;@&quot; &quot;">
                  <c:v>95.76</c:v>
                </c:pt>
                <c:pt idx="2412" formatCode="#,##0_);\(#,##0\);&quot;-  &quot;;&quot; &quot;@&quot; &quot;">
                  <c:v>97.31</c:v>
                </c:pt>
                <c:pt idx="2413" formatCode="#,##0_);\(#,##0\);&quot;-  &quot;;&quot; &quot;@&quot; &quot;">
                  <c:v>96.33</c:v>
                </c:pt>
                <c:pt idx="2414" formatCode="#,##0_);\(#,##0\);&quot;-  &quot;;&quot; &quot;@&quot; &quot;">
                  <c:v>94.03</c:v>
                </c:pt>
                <c:pt idx="2415" formatCode="#,##0_);\(#,##0\);&quot;-  &quot;;&quot; &quot;@&quot; &quot;">
                  <c:v>92.27</c:v>
                </c:pt>
                <c:pt idx="2416" formatCode="#,##0_);\(#,##0\);&quot;-  &quot;;&quot; &quot;@&quot; &quot;">
                  <c:v>93.02</c:v>
                </c:pt>
                <c:pt idx="2417" formatCode="#,##0_);\(#,##0\);&quot;-  &quot;;&quot; &quot;@&quot; &quot;">
                  <c:v>93.5</c:v>
                </c:pt>
                <c:pt idx="2418" formatCode="#,##0_);\(#,##0\);&quot;-  &quot;;&quot; &quot;@&quot; &quot;">
                  <c:v>90.59</c:v>
                </c:pt>
                <c:pt idx="2419" formatCode="#,##0_);\(#,##0\);&quot;-  &quot;;&quot; &quot;@&quot; &quot;">
                  <c:v>87.25</c:v>
                </c:pt>
                <c:pt idx="2420" formatCode="#,##0_);\(#,##0\);&quot;-  &quot;;&quot; &quot;@&quot; &quot;">
                  <c:v>88.07</c:v>
                </c:pt>
                <c:pt idx="2421" formatCode="#,##0_);\(#,##0\);&quot;-  &quot;;&quot; &quot;@&quot; &quot;">
                  <c:v>90.86</c:v>
                </c:pt>
                <c:pt idx="2422" formatCode="#,##0_);\(#,##0\);&quot;-  &quot;;&quot; &quot;@&quot; &quot;">
                  <c:v>92.38</c:v>
                </c:pt>
                <c:pt idx="2423" formatCode="#,##0_);\(#,##0\);&quot;-  &quot;;&quot; &quot;@&quot; &quot;">
                  <c:v>92.78</c:v>
                </c:pt>
                <c:pt idx="2424" formatCode="#,##0_);\(#,##0\);&quot;-  &quot;;&quot; &quot;@&quot; &quot;">
                  <c:v>93.39</c:v>
                </c:pt>
                <c:pt idx="2425" formatCode="#,##0_);\(#,##0\);&quot;-  &quot;;&quot; &quot;@&quot; &quot;">
                  <c:v>92.67</c:v>
                </c:pt>
                <c:pt idx="2426" formatCode="#,##0_);\(#,##0\);&quot;-  &quot;;&quot; &quot;@&quot; &quot;">
                  <c:v>90.31</c:v>
                </c:pt>
                <c:pt idx="2427" formatCode="#,##0_);\(#,##0\);&quot;-  &quot;;&quot; &quot;@&quot; &quot;">
                  <c:v>91.64</c:v>
                </c:pt>
                <c:pt idx="2428" formatCode="#,##0_);\(#,##0\);&quot;-  &quot;;&quot; &quot;@&quot; &quot;">
                  <c:v>91.91</c:v>
                </c:pt>
                <c:pt idx="2429" formatCode="#,##0_);\(#,##0\);&quot;-  &quot;;&quot; &quot;@&quot; &quot;">
                  <c:v>93.08</c:v>
                </c:pt>
                <c:pt idx="2430" formatCode="#,##0_);\(#,##0\);&quot;-  &quot;;&quot; &quot;@&quot; &quot;">
                  <c:v>93.62</c:v>
                </c:pt>
                <c:pt idx="2431" formatCode="#,##0_);\(#,##0\);&quot;-  &quot;;&quot; &quot;@&quot; &quot;">
                  <c:v>92.67</c:v>
                </c:pt>
                <c:pt idx="2432" formatCode="#,##0_);\(#,##0\);&quot;-  &quot;;&quot; &quot;@&quot; &quot;">
                  <c:v>91.88</c:v>
                </c:pt>
                <c:pt idx="2433" formatCode="#,##0_);\(#,##0\);&quot;-  &quot;;&quot; &quot;@&quot; &quot;">
                  <c:v>92.23</c:v>
                </c:pt>
                <c:pt idx="2434" formatCode="#,##0_);\(#,##0\);&quot;-  &quot;;&quot; &quot;@&quot; &quot;">
                  <c:v>93.38</c:v>
                </c:pt>
                <c:pt idx="2435" formatCode="#,##0_);\(#,##0\);&quot;-  &quot;;&quot; &quot;@&quot; &quot;">
                  <c:v>91.66</c:v>
                </c:pt>
                <c:pt idx="2436" formatCode="#,##0_);\(#,##0\);&quot;-  &quot;;&quot; &quot;@&quot; &quot;">
                  <c:v>92.04</c:v>
                </c:pt>
                <c:pt idx="2437" formatCode="#,##0_);\(#,##0\);&quot;-  &quot;;&quot; &quot;@&quot; &quot;">
                  <c:v>92.27</c:v>
                </c:pt>
                <c:pt idx="2438" formatCode="#,##0_);\(#,##0\);&quot;-  &quot;;&quot; &quot;@&quot; &quot;">
                  <c:v>89.65</c:v>
                </c:pt>
                <c:pt idx="2439" formatCode="#,##0_);\(#,##0\);&quot;-  &quot;;&quot; &quot;@&quot; &quot;">
                  <c:v>88.5</c:v>
                </c:pt>
                <c:pt idx="2440" formatCode="#,##0_);\(#,##0\);&quot;-  &quot;;&quot; &quot;@&quot; &quot;">
                  <c:v>91.1</c:v>
                </c:pt>
                <c:pt idx="2441" formatCode="#,##0_);\(#,##0\);&quot;-  &quot;;&quot; &quot;@&quot; &quot;">
                  <c:v>93.01</c:v>
                </c:pt>
                <c:pt idx="2442" formatCode="#,##0_);\(#,##0\);&quot;-  &quot;;&quot; &quot;@&quot; &quot;">
                  <c:v>95.39</c:v>
                </c:pt>
                <c:pt idx="2443" formatCode="#,##0_);\(#,##0\);&quot;-  &quot;;&quot; &quot;@&quot; &quot;">
                  <c:v>96.25</c:v>
                </c:pt>
                <c:pt idx="2444" formatCode="#,##0_);\(#,##0\);&quot;-  &quot;;&quot; &quot;@&quot; &quot;">
                  <c:v>97.48</c:v>
                </c:pt>
                <c:pt idx="2445" formatCode="#,##0_);\(#,##0\);&quot;-  &quot;;&quot; &quot;@&quot; &quot;">
                  <c:v>95.86</c:v>
                </c:pt>
                <c:pt idx="2446" formatCode="#,##0_);\(#,##0\);&quot;-  &quot;;&quot; &quot;@&quot; &quot;">
                  <c:v>94.66</c:v>
                </c:pt>
                <c:pt idx="2447" formatCode="#,##0_);\(#,##0\);&quot;-  &quot;;&quot; &quot;@&quot; &quot;">
                  <c:v>91.83</c:v>
                </c:pt>
                <c:pt idx="2448" formatCode="#,##0_);\(#,##0\);&quot;-  &quot;;&quot; &quot;@&quot; &quot;">
                  <c:v>93.73</c:v>
                </c:pt>
                <c:pt idx="2449" formatCode="#,##0_);\(#,##0\);&quot;-  &quot;;&quot; &quot;@&quot; &quot;">
                  <c:v>93.32</c:v>
                </c:pt>
                <c:pt idx="2450" formatCode="#,##0_);\(#,##0\);&quot;-  &quot;;&quot; &quot;@&quot; &quot;">
                  <c:v>95.86</c:v>
                </c:pt>
                <c:pt idx="2451" formatCode="#,##0_);\(#,##0\);&quot;-  &quot;;&quot; &quot;@&quot; &quot;">
                  <c:v>99.41</c:v>
                </c:pt>
                <c:pt idx="2452" formatCode="#,##0_);\(#,##0\);&quot;-  &quot;;&quot; &quot;@&quot; &quot;">
                  <c:v>99.61</c:v>
                </c:pt>
                <c:pt idx="2453" formatCode="#,##0_);\(#,##0\);&quot;-  &quot;;&quot; &quot;@&quot; &quot;">
                  <c:v>97.05</c:v>
                </c:pt>
                <c:pt idx="2454" formatCode="#,##0_);\(#,##0\);&quot;-  &quot;;&quot; &quot;@&quot; &quot;">
                  <c:v>99.61</c:v>
                </c:pt>
                <c:pt idx="2455" formatCode="#,##0_);\(#,##0\);&quot;-  &quot;;&quot; &quot;@&quot; &quot;">
                  <c:v>97.39</c:v>
                </c:pt>
                <c:pt idx="2456" formatCode="#,##0_);\(#,##0\);&quot;-  &quot;;&quot; &quot;@&quot; &quot;">
                  <c:v>94.63</c:v>
                </c:pt>
                <c:pt idx="2457" formatCode="#,##0_);\(#,##0\);&quot;-  &quot;;&quot; &quot;@&quot; &quot;">
                  <c:v>95.63</c:v>
                </c:pt>
                <c:pt idx="2458" formatCode="#,##0_);\(#,##0\);&quot;-  &quot;;&quot; &quot;@&quot; &quot;">
                  <c:v>95.49</c:v>
                </c:pt>
                <c:pt idx="2459" formatCode="#,##0_);\(#,##0\);&quot;-  &quot;;&quot; &quot;@&quot; &quot;">
                  <c:v>94.86</c:v>
                </c:pt>
                <c:pt idx="2460" formatCode="#,##0_);\(#,##0\);&quot;-  &quot;;&quot; &quot;@&quot; &quot;">
                  <c:v>95.12</c:v>
                </c:pt>
                <c:pt idx="2461" formatCode="#,##0_);\(#,##0\);&quot;-  &quot;;&quot; &quot;@&quot; &quot;">
                  <c:v>96.77</c:v>
                </c:pt>
                <c:pt idx="2462" formatCode="#,##0_);\(#,##0\);&quot;-  &quot;;&quot; &quot;@&quot; &quot;">
                  <c:v>96.54</c:v>
                </c:pt>
                <c:pt idx="2463" formatCode="#,##0_);\(#,##0\);&quot;-  &quot;;&quot; &quot;@&quot; &quot;">
                  <c:v>96.81</c:v>
                </c:pt>
                <c:pt idx="2464" formatCode="#,##0_);\(#,##0\);&quot;-  &quot;;&quot; &quot;@&quot; &quot;">
                  <c:v>98.13</c:v>
                </c:pt>
                <c:pt idx="2465" formatCode="#,##0_);\(#,##0\);&quot;-  &quot;;&quot; &quot;@&quot; &quot;">
                  <c:v>97.67</c:v>
                </c:pt>
                <c:pt idx="2466" formatCode="#,##0_);\(#,##0\);&quot;-  &quot;;&quot; &quot;@&quot; &quot;">
                  <c:v>99.74</c:v>
                </c:pt>
                <c:pt idx="2467" formatCode="#,##0_);\(#,##0\);&quot;-  &quot;;&quot; &quot;@&quot; &quot;">
                  <c:v>100.29</c:v>
                </c:pt>
                <c:pt idx="2468" formatCode="#,##0_);\(#,##0\);&quot;-  &quot;;&quot; &quot;@&quot; &quot;">
                  <c:v>101.22</c:v>
                </c:pt>
                <c:pt idx="2469" formatCode="#,##0_);\(#,##0\);&quot;-  &quot;;&quot; &quot;@&quot; &quot;">
                  <c:v>101.8</c:v>
                </c:pt>
                <c:pt idx="2470" formatCode="#,##0_);\(#,##0\);&quot;-  &quot;;&quot; &quot;@&quot; &quot;">
                  <c:v>102.37</c:v>
                </c:pt>
                <c:pt idx="2471" formatCode="#,##0_);\(#,##0\);&quot;-  &quot;;&quot; &quot;@&quot; &quot;">
                  <c:v>102.26</c:v>
                </c:pt>
                <c:pt idx="2472" formatCode="#,##0_);\(#,##0\);&quot;-  &quot;;&quot; &quot;@&quot; &quot;">
                  <c:v>100.81</c:v>
                </c:pt>
                <c:pt idx="2473" formatCode="#,##0_);\(#,##0\);&quot;-  &quot;;&quot; &quot;@&quot; &quot;">
                  <c:v>101.86</c:v>
                </c:pt>
                <c:pt idx="2474" formatCode="#,##0_);\(#,##0\);&quot;-  &quot;;&quot; &quot;@&quot; &quot;">
                  <c:v>103.88</c:v>
                </c:pt>
                <c:pt idx="2475" formatCode="#,##0_);\(#,##0\);&quot;-  &quot;;&quot; &quot;@&quot; &quot;">
                  <c:v>104.28</c:v>
                </c:pt>
                <c:pt idx="2476" formatCode="#,##0_);\(#,##0\);&quot;-  &quot;;&quot; &quot;@&quot; &quot;">
                  <c:v>107.35</c:v>
                </c:pt>
                <c:pt idx="2477" formatCode="#,##0_);\(#,##0\);&quot;-  &quot;;&quot; &quot;@&quot; &quot;">
                  <c:v>109.57</c:v>
                </c:pt>
                <c:pt idx="2478" formatCode="#,##0_);\(#,##0\);&quot;-  &quot;;&quot; &quot;@&quot; &quot;">
                  <c:v>109.39</c:v>
                </c:pt>
                <c:pt idx="2479" formatCode="#,##0_);\(#,##0\);&quot;-  &quot;;&quot; &quot;@&quot; &quot;">
                  <c:v>111.69</c:v>
                </c:pt>
                <c:pt idx="2480" formatCode="#,##0_);\(#,##0\);&quot;-  &quot;;&quot; &quot;@&quot; &quot;">
                  <c:v>114.82</c:v>
                </c:pt>
                <c:pt idx="2481" formatCode="#,##0_);\(#,##0\);&quot;-  &quot;;&quot; &quot;@&quot; &quot;">
                  <c:v>116.46</c:v>
                </c:pt>
                <c:pt idx="2482" formatCode="#,##0_);\(#,##0\);&quot;-  &quot;;&quot; &quot;@&quot; &quot;">
                  <c:v>117.98</c:v>
                </c:pt>
                <c:pt idx="2483" formatCode="#,##0_);\(#,##0\);&quot;-  &quot;;&quot; &quot;@&quot; &quot;">
                  <c:v>120.43</c:v>
                </c:pt>
                <c:pt idx="2484" formatCode="#,##0_);\(#,##0\);&quot;-  &quot;;&quot; &quot;@&quot; &quot;">
                  <c:v>119.24</c:v>
                </c:pt>
                <c:pt idx="2485" formatCode="#,##0_);\(#,##0\);&quot;-  &quot;;&quot; &quot;@&quot; &quot;">
                  <c:v>120.35</c:v>
                </c:pt>
                <c:pt idx="2486" formatCode="#,##0_);\(#,##0\);&quot;-  &quot;;&quot; &quot;@&quot; &quot;">
                  <c:v>121.1</c:v>
                </c:pt>
                <c:pt idx="2487" formatCode="#,##0_);\(#,##0\);&quot;-  &quot;;&quot; &quot;@&quot; &quot;">
                  <c:v>119.69</c:v>
                </c:pt>
                <c:pt idx="2488" formatCode="#,##0_);\(#,##0\);&quot;-  &quot;;&quot; &quot;@&quot; &quot;">
                  <c:v>120.69</c:v>
                </c:pt>
                <c:pt idx="2489" formatCode="#,##0_);\(#,##0\);&quot;-  &quot;;&quot; &quot;@&quot; &quot;">
                  <c:v>125.07</c:v>
                </c:pt>
                <c:pt idx="2490" formatCode="#,##0_);\(#,##0\);&quot;-  &quot;;&quot; &quot;@&quot; &quot;">
                  <c:v>125.84</c:v>
                </c:pt>
                <c:pt idx="2491" formatCode="#,##0_);\(#,##0\);&quot;-  &quot;;&quot; &quot;@&quot; &quot;">
                  <c:v>124.61</c:v>
                </c:pt>
                <c:pt idx="2492" formatCode="#,##0_);\(#,##0\);&quot;-  &quot;;&quot; &quot;@&quot; &quot;">
                  <c:v>122.73</c:v>
                </c:pt>
                <c:pt idx="2493" formatCode="#,##0_);\(#,##0\);&quot;-  &quot;;&quot; &quot;@&quot; &quot;">
                  <c:v>120.93</c:v>
                </c:pt>
                <c:pt idx="2494" formatCode="#,##0_);\(#,##0\);&quot;-  &quot;;&quot; &quot;@&quot; &quot;">
                  <c:v>120.5</c:v>
                </c:pt>
                <c:pt idx="2495" formatCode="#,##0_);\(#,##0\);&quot;-  &quot;;&quot; &quot;@&quot; &quot;">
                  <c:v>123.72</c:v>
                </c:pt>
                <c:pt idx="2496" formatCode="#,##0_);\(#,##0\);&quot;-  &quot;;&quot; &quot;@&quot; &quot;">
                  <c:v>126.13</c:v>
                </c:pt>
                <c:pt idx="2497" formatCode="#,##0_);\(#,##0\);&quot;-  &quot;;&quot; &quot;@&quot; &quot;">
                  <c:v>125.35</c:v>
                </c:pt>
                <c:pt idx="2498" formatCode="#,##0_);\(#,##0\);&quot;-  &quot;;&quot; &quot;@&quot; &quot;">
                  <c:v>124.73</c:v>
                </c:pt>
                <c:pt idx="2499" formatCode="#,##0_);\(#,##0\);&quot;-  &quot;;&quot; &quot;@&quot; &quot;">
                  <c:v>124.84</c:v>
                </c:pt>
                <c:pt idx="2500" formatCode="#,##0_);\(#,##0\);&quot;-  &quot;;&quot; &quot;@&quot; &quot;">
                  <c:v>126.21</c:v>
                </c:pt>
                <c:pt idx="2501" formatCode="#,##0_);\(#,##0\);&quot;-  &quot;;&quot; &quot;@&quot; &quot;">
                  <c:v>130.69999999999999</c:v>
                </c:pt>
                <c:pt idx="2502" formatCode="#,##0_);\(#,##0\);&quot;-  &quot;;&quot; &quot;@&quot; &quot;">
                  <c:v>129.44</c:v>
                </c:pt>
                <c:pt idx="2503" formatCode="#,##0_);\(#,##0\);&quot;-  &quot;;&quot; &quot;@&quot; &quot;">
                  <c:v>127.59</c:v>
                </c:pt>
                <c:pt idx="2504" formatCode="#,##0_);\(#,##0\);&quot;-  &quot;;&quot; &quot;@&quot; &quot;">
                  <c:v>123.94</c:v>
                </c:pt>
                <c:pt idx="2505" formatCode="#,##0_);\(#,##0\);&quot;-  &quot;;&quot; &quot;@&quot; &quot;">
                  <c:v>124.04</c:v>
                </c:pt>
                <c:pt idx="2506" formatCode="#,##0_);\(#,##0\);&quot;-  &quot;;&quot; &quot;@&quot; &quot;">
                  <c:v>124.31</c:v>
                </c:pt>
                <c:pt idx="2507" formatCode="#,##0_);\(#,##0\);&quot;-  &quot;;&quot; &quot;@&quot; &quot;">
                  <c:v>124.79</c:v>
                </c:pt>
                <c:pt idx="2508" formatCode="#,##0_);\(#,##0\);&quot;-  &quot;;&quot; &quot;@&quot; &quot;">
                  <c:v>128.24</c:v>
                </c:pt>
                <c:pt idx="2509" formatCode="#,##0_);\(#,##0\);&quot;-  &quot;;&quot; &quot;@&quot; &quot;">
                  <c:v>126.99</c:v>
                </c:pt>
                <c:pt idx="2510" formatCode="#,##0_);\(#,##0\);&quot;-  &quot;;&quot; &quot;@&quot; &quot;">
                  <c:v>127.97</c:v>
                </c:pt>
                <c:pt idx="2511" formatCode="#,##0_);\(#,##0\);&quot;-  &quot;;&quot; &quot;@&quot; &quot;">
                  <c:v>131.38999999999999</c:v>
                </c:pt>
                <c:pt idx="2512" formatCode="#,##0_);\(#,##0\);&quot;-  &quot;;&quot; &quot;@&quot; &quot;">
                  <c:v>133.54</c:v>
                </c:pt>
                <c:pt idx="2513" formatCode="#,##0_);\(#,##0\);&quot;-  &quot;;&quot; &quot;@&quot; &quot;">
                  <c:v>133.61000000000001</c:v>
                </c:pt>
                <c:pt idx="2514" formatCode="#,##0_);\(#,##0\);&quot;-  &quot;;&quot; &quot;@&quot; &quot;">
                  <c:v>136.75</c:v>
                </c:pt>
                <c:pt idx="2515" formatCode="#,##0_);\(#,##0\);&quot;-  &quot;;&quot; &quot;@&quot; &quot;">
                  <c:v>137.55000000000001</c:v>
                </c:pt>
                <c:pt idx="2516" formatCode="#,##0_);\(#,##0\);&quot;-  &quot;;&quot; &quot;@&quot; &quot;">
                  <c:v>134.44</c:v>
                </c:pt>
                <c:pt idx="2517" formatCode="#,##0_);\(#,##0\);&quot;-  &quot;;&quot; &quot;@&quot; &quot;">
                  <c:v>130.51</c:v>
                </c:pt>
                <c:pt idx="2518" formatCode="#,##0_);\(#,##0\);&quot;-  &quot;;&quot; &quot;@&quot; &quot;">
                  <c:v>132.02000000000001</c:v>
                </c:pt>
                <c:pt idx="2519" formatCode="#,##0_);\(#,##0\);&quot;-  &quot;;&quot; &quot;@&quot; &quot;">
                  <c:v>130.38</c:v>
                </c:pt>
                <c:pt idx="2520" formatCode="#,##0_);\(#,##0\);&quot;-  &quot;;&quot; &quot;@&quot; &quot;">
                  <c:v>132.87</c:v>
                </c:pt>
                <c:pt idx="2521" formatCode="#,##0_);\(#,##0\);&quot;-  &quot;;&quot; &quot;@&quot; &quot;">
                  <c:v>131.08000000000001</c:v>
                </c:pt>
                <c:pt idx="2522" formatCode="#,##0_);\(#,##0\);&quot;-  &quot;;&quot; &quot;@&quot; &quot;">
                  <c:v>129.57</c:v>
                </c:pt>
                <c:pt idx="2523" formatCode="#,##0_);\(#,##0\);&quot;-  &quot;;&quot; &quot;@&quot; &quot;">
                  <c:v>129.22</c:v>
                </c:pt>
                <c:pt idx="2524" formatCode="#,##0_);\(#,##0\);&quot;-  &quot;;&quot; &quot;@&quot; &quot;">
                  <c:v>130.93</c:v>
                </c:pt>
                <c:pt idx="2525" formatCode="#,##0_);\(#,##0\);&quot;-  &quot;;&quot; &quot;@&quot; &quot;">
                  <c:v>132.46</c:v>
                </c:pt>
                <c:pt idx="2526" formatCode="#,##0_);\(#,##0\);&quot;-  &quot;;&quot; &quot;@&quot; &quot;">
                  <c:v>132.9</c:v>
                </c:pt>
                <c:pt idx="2527" formatCode="#,##0_);\(#,##0\);&quot;-  &quot;;&quot; &quot;@&quot; &quot;">
                  <c:v>128.72999999999999</c:v>
                </c:pt>
                <c:pt idx="2528" formatCode="#,##0_);\(#,##0\);&quot;-  &quot;;&quot; &quot;@&quot; &quot;">
                  <c:v>126.71</c:v>
                </c:pt>
                <c:pt idx="2529" formatCode="#,##0_);\(#,##0\);&quot;-  &quot;;&quot; &quot;@&quot; &quot;">
                  <c:v>121.4</c:v>
                </c:pt>
                <c:pt idx="2530" formatCode="#,##0_);\(#,##0\);&quot;-  &quot;;&quot; &quot;@&quot; &quot;">
                  <c:v>115.59</c:v>
                </c:pt>
                <c:pt idx="2531" formatCode="#,##0_);\(#,##0\);&quot;-  &quot;;&quot; &quot;@&quot; &quot;">
                  <c:v>115.69</c:v>
                </c:pt>
                <c:pt idx="2532" formatCode="#,##0_);\(#,##0\);&quot;-  &quot;;&quot; &quot;@&quot; &quot;">
                  <c:v>119.43</c:v>
                </c:pt>
                <c:pt idx="2533" formatCode="#,##0_);\(#,##0\);&quot;-  &quot;;&quot; &quot;@&quot; &quot;">
                  <c:v>120.64</c:v>
                </c:pt>
                <c:pt idx="2534" formatCode="#,##0_);\(#,##0\);&quot;-  &quot;;&quot; &quot;@&quot; &quot;">
                  <c:v>119.92</c:v>
                </c:pt>
                <c:pt idx="2535" formatCode="#,##0_);\(#,##0\);&quot;-  &quot;;&quot; &quot;@&quot; &quot;">
                  <c:v>120.38</c:v>
                </c:pt>
                <c:pt idx="2536" formatCode="#,##0_);\(#,##0\);&quot;-  &quot;;&quot; &quot;@&quot; &quot;">
                  <c:v>125.65</c:v>
                </c:pt>
                <c:pt idx="2537" formatCode="#,##0_);\(#,##0\);&quot;-  &quot;;&quot; &quot;@&quot; &quot;">
                  <c:v>124.54</c:v>
                </c:pt>
                <c:pt idx="2538" formatCode="#,##0_);\(#,##0\);&quot;-  &quot;;&quot; &quot;@&quot; &quot;">
                  <c:v>122.9</c:v>
                </c:pt>
                <c:pt idx="2539" formatCode="#,##0_);\(#,##0\);&quot;-  &quot;;&quot; &quot;@&quot; &quot;">
                  <c:v>123.21</c:v>
                </c:pt>
                <c:pt idx="2540" formatCode="#,##0_);\(#,##0\);&quot;-  &quot;;&quot; &quot;@&quot; &quot;">
                  <c:v>122.49</c:v>
                </c:pt>
                <c:pt idx="2541" formatCode="#,##0_);\(#,##0\);&quot;-  &quot;;&quot; &quot;@&quot; &quot;">
                  <c:v>124.16</c:v>
                </c:pt>
                <c:pt idx="2542" formatCode="#,##0_);\(#,##0\);&quot;-  &quot;;&quot; &quot;@&quot; &quot;">
                  <c:v>122.29</c:v>
                </c:pt>
                <c:pt idx="2543" formatCode="#,##0_);\(#,##0\);&quot;-  &quot;;&quot; &quot;@&quot; &quot;">
                  <c:v>118.16</c:v>
                </c:pt>
                <c:pt idx="2544" formatCode="#,##0_);\(#,##0\);&quot;-  &quot;;&quot; &quot;@&quot; &quot;">
                  <c:v>116.98</c:v>
                </c:pt>
                <c:pt idx="2545" formatCode="#,##0_);\(#,##0\);&quot;-  &quot;;&quot; &quot;@&quot; &quot;">
                  <c:v>118.08</c:v>
                </c:pt>
                <c:pt idx="2546" formatCode="#,##0_);\(#,##0\);&quot;-  &quot;;&quot; &quot;@&quot; &quot;">
                  <c:v>118.27</c:v>
                </c:pt>
                <c:pt idx="2547" formatCode="#,##0_);\(#,##0\);&quot;-  &quot;;&quot; &quot;@&quot; &quot;">
                  <c:v>116.02</c:v>
                </c:pt>
                <c:pt idx="2548" formatCode="#,##0_);\(#,##0\);&quot;-  &quot;;&quot; &quot;@&quot; &quot;">
                  <c:v>116.96</c:v>
                </c:pt>
                <c:pt idx="2549" formatCode="#,##0_);\(#,##0\);&quot;-  &quot;;&quot; &quot;@&quot; &quot;">
                  <c:v>120</c:v>
                </c:pt>
                <c:pt idx="2550" formatCode="#,##0_);\(#,##0\);&quot;-  &quot;;&quot; &quot;@&quot; &quot;">
                  <c:v>120.98</c:v>
                </c:pt>
                <c:pt idx="2551" formatCode="#,##0_);\(#,##0\);&quot;-  &quot;;&quot; &quot;@&quot; &quot;">
                  <c:v>118.85</c:v>
                </c:pt>
                <c:pt idx="2552" formatCode="#,##0_);\(#,##0\);&quot;-  &quot;;&quot; &quot;@&quot; &quot;">
                  <c:v>119.62</c:v>
                </c:pt>
                <c:pt idx="2553" formatCode="#,##0_);\(#,##0\);&quot;-  &quot;;&quot; &quot;@&quot; &quot;">
                  <c:v>116.42</c:v>
                </c:pt>
                <c:pt idx="2554" formatCode="#,##0_);\(#,##0\);&quot;-  &quot;;&quot; &quot;@&quot; &quot;">
                  <c:v>113.62</c:v>
                </c:pt>
                <c:pt idx="2555" formatCode="#,##0_);\(#,##0\);&quot;-  &quot;;&quot; &quot;@&quot; &quot;">
                  <c:v>111.68</c:v>
                </c:pt>
                <c:pt idx="2556" formatCode="#,##0_);\(#,##0\);&quot;-  &quot;;&quot; &quot;@&quot; &quot;">
                  <c:v>112.35</c:v>
                </c:pt>
                <c:pt idx="2557" formatCode="#,##0_);\(#,##0\);&quot;-  &quot;;&quot; &quot;@&quot; &quot;">
                  <c:v>115.16</c:v>
                </c:pt>
                <c:pt idx="2558" formatCode="#,##0_);\(#,##0\);&quot;-  &quot;;&quot; &quot;@&quot; &quot;">
                  <c:v>116.56</c:v>
                </c:pt>
                <c:pt idx="2559" formatCode="#,##0_);\(#,##0\);&quot;-  &quot;;&quot; &quot;@&quot; &quot;">
                  <c:v>117.39</c:v>
                </c:pt>
                <c:pt idx="2560" formatCode="#,##0_);\(#,##0\);&quot;-  &quot;;&quot; &quot;@&quot; &quot;">
                  <c:v>113.57</c:v>
                </c:pt>
                <c:pt idx="2561" formatCode="#,##0_);\(#,##0\);&quot;-  &quot;;&quot; &quot;@&quot; &quot;">
                  <c:v>112.42</c:v>
                </c:pt>
                <c:pt idx="2562" formatCode="#,##0_);\(#,##0\);&quot;-  &quot;;&quot; &quot;@&quot; &quot;">
                  <c:v>115.38</c:v>
                </c:pt>
                <c:pt idx="2563" formatCode="#,##0_);\(#,##0\);&quot;-  &quot;;&quot; &quot;@&quot; &quot;">
                  <c:v>116.81</c:v>
                </c:pt>
                <c:pt idx="2564" formatCode="#,##0_);\(#,##0\);&quot;-  &quot;;&quot; &quot;@&quot; &quot;">
                  <c:v>117.79</c:v>
                </c:pt>
                <c:pt idx="2565" formatCode="#,##0_);\(#,##0\);&quot;-  &quot;;&quot; &quot;@&quot; &quot;">
                  <c:v>117.69</c:v>
                </c:pt>
                <c:pt idx="2566" formatCode="#,##0_);\(#,##0\);&quot;-  &quot;;&quot; &quot;@&quot; &quot;">
                  <c:v>117.9</c:v>
                </c:pt>
                <c:pt idx="2567" formatCode="#,##0_);\(#,##0\);&quot;-  &quot;;&quot; &quot;@&quot; &quot;">
                  <c:v>115.18</c:v>
                </c:pt>
                <c:pt idx="2568" formatCode="#,##0_);\(#,##0\);&quot;-  &quot;;&quot; &quot;@&quot; &quot;">
                  <c:v>116.49</c:v>
                </c:pt>
                <c:pt idx="2569" formatCode="#,##0_);\(#,##0\);&quot;-  &quot;;&quot; &quot;@&quot; &quot;">
                  <c:v>114.89</c:v>
                </c:pt>
                <c:pt idx="2570" formatCode="#,##0_);\(#,##0\);&quot;-  &quot;;&quot; &quot;@&quot; &quot;">
                  <c:v>112.35</c:v>
                </c:pt>
                <c:pt idx="2571" formatCode="#,##0_);\(#,##0\);&quot;-  &quot;;&quot; &quot;@&quot; &quot;">
                  <c:v>110.42</c:v>
                </c:pt>
                <c:pt idx="2572" formatCode="#,##0_);\(#,##0\);&quot;-  &quot;;&quot; &quot;@&quot; &quot;">
                  <c:v>108.08</c:v>
                </c:pt>
                <c:pt idx="2573" formatCode="#,##0_);\(#,##0\);&quot;-  &quot;;&quot; &quot;@&quot; &quot;">
                  <c:v>107.62</c:v>
                </c:pt>
                <c:pt idx="2574" formatCode="#,##0_);\(#,##0\);&quot;-  &quot;;&quot; &quot;@&quot; &quot;">
                  <c:v>104.37</c:v>
                </c:pt>
                <c:pt idx="2575" formatCode="#,##0_);\(#,##0\);&quot;-  &quot;;&quot; &quot;@&quot; &quot;">
                  <c:v>103.13</c:v>
                </c:pt>
                <c:pt idx="2576" formatCode="#,##0_);\(#,##0\);&quot;-  &quot;;&quot; &quot;@&quot; &quot;">
                  <c:v>103.28</c:v>
                </c:pt>
                <c:pt idx="2577" formatCode="#,##0_);\(#,##0\);&quot;-  &quot;;&quot; &quot;@&quot; &quot;">
                  <c:v>103.31</c:v>
                </c:pt>
                <c:pt idx="2578" formatCode="#,##0_);\(#,##0\);&quot;-  &quot;;&quot; &quot;@&quot; &quot;">
                  <c:v>100.61</c:v>
                </c:pt>
                <c:pt idx="2579" formatCode="#,##0_);\(#,##0\);&quot;-  &quot;;&quot; &quot;@&quot; &quot;">
                  <c:v>100.07</c:v>
                </c:pt>
                <c:pt idx="2580" formatCode="#,##0_);\(#,##0\);&quot;-  &quot;;&quot; &quot;@&quot; &quot;">
                  <c:v>102.48</c:v>
                </c:pt>
                <c:pt idx="2581" formatCode="#,##0_);\(#,##0\);&quot;-  &quot;;&quot; &quot;@&quot; &quot;">
                  <c:v>103.74</c:v>
                </c:pt>
                <c:pt idx="2582" formatCode="#,##0_);\(#,##0\);&quot;-  &quot;;&quot; &quot;@&quot; &quot;">
                  <c:v>106.18</c:v>
                </c:pt>
                <c:pt idx="2583" formatCode="#,##0_);\(#,##0\);&quot;-  &quot;;&quot; &quot;@&quot; &quot;">
                  <c:v>107.68</c:v>
                </c:pt>
                <c:pt idx="2584" formatCode="#,##0_);\(#,##0\);&quot;-  &quot;;&quot; &quot;@&quot; &quot;">
                  <c:v>108.52</c:v>
                </c:pt>
                <c:pt idx="2585" formatCode="#,##0_);\(#,##0\);&quot;-  &quot;;&quot; &quot;@&quot; &quot;">
                  <c:v>107.12</c:v>
                </c:pt>
                <c:pt idx="2586" formatCode="#,##0_);\(#,##0\);&quot;-  &quot;;&quot; &quot;@&quot; &quot;">
                  <c:v>106.17</c:v>
                </c:pt>
                <c:pt idx="2587" formatCode="#,##0_);\(#,##0\);&quot;-  &quot;;&quot; &quot;@&quot; &quot;">
                  <c:v>105.5</c:v>
                </c:pt>
                <c:pt idx="2588" formatCode="#,##0_);\(#,##0\);&quot;-  &quot;;&quot; &quot;@&quot; &quot;">
                  <c:v>104.05</c:v>
                </c:pt>
                <c:pt idx="2589" formatCode="#,##0_);\(#,##0\);&quot;-  &quot;;&quot; &quot;@&quot; &quot;">
                  <c:v>102.49</c:v>
                </c:pt>
                <c:pt idx="2590" formatCode="#,##0_);\(#,##0\);&quot;-  &quot;;&quot; &quot;@&quot; &quot;">
                  <c:v>103.09</c:v>
                </c:pt>
                <c:pt idx="2591" formatCode="#,##0_);\(#,##0\);&quot;-  &quot;;&quot; &quot;@&quot; &quot;">
                  <c:v>104.42</c:v>
                </c:pt>
                <c:pt idx="2592" formatCode="#,##0_);\(#,##0\);&quot;-  &quot;;&quot; &quot;@&quot; &quot;">
                  <c:v>104.37</c:v>
                </c:pt>
                <c:pt idx="2593" formatCode="#,##0_);\(#,##0\);&quot;-  &quot;;&quot; &quot;@&quot; &quot;">
                  <c:v>105.69</c:v>
                </c:pt>
                <c:pt idx="2594" formatCode="#,##0_);\(#,##0\);&quot;-  &quot;;&quot; &quot;@&quot; &quot;">
                  <c:v>104.45</c:v>
                </c:pt>
                <c:pt idx="2595" formatCode="#,##0_);\(#,##0\);&quot;-  &quot;;&quot; &quot;@&quot; &quot;">
                  <c:v>106.9</c:v>
                </c:pt>
                <c:pt idx="2596" formatCode="#,##0_);\(#,##0\);&quot;-  &quot;;&quot; &quot;@&quot; &quot;">
                  <c:v>105.97</c:v>
                </c:pt>
                <c:pt idx="2597" formatCode="#,##0_);\(#,##0\);&quot;-  &quot;;&quot; &quot;@&quot; &quot;">
                  <c:v>107.7</c:v>
                </c:pt>
                <c:pt idx="2598" formatCode="#,##0_);\(#,##0\);&quot;-  &quot;;&quot; &quot;@&quot; &quot;">
                  <c:v>108.88</c:v>
                </c:pt>
                <c:pt idx="2599" formatCode="#,##0_);\(#,##0\);&quot;-  &quot;;&quot; &quot;@&quot; &quot;">
                  <c:v>108.34</c:v>
                </c:pt>
                <c:pt idx="2600" formatCode="#,##0_);\(#,##0\);&quot;-  &quot;;&quot; &quot;@&quot; &quot;">
                  <c:v>109.37</c:v>
                </c:pt>
                <c:pt idx="2601" formatCode="#,##0_);\(#,##0\);&quot;-  &quot;;&quot; &quot;@&quot; &quot;">
                  <c:v>107.52</c:v>
                </c:pt>
                <c:pt idx="2602" formatCode="#,##0_);\(#,##0\);&quot;-  &quot;;&quot; &quot;@&quot; &quot;">
                  <c:v>109.54</c:v>
                </c:pt>
                <c:pt idx="2603" formatCode="#,##0_);\(#,##0\);&quot;-  &quot;;&quot; &quot;@&quot; &quot;">
                  <c:v>109.85</c:v>
                </c:pt>
                <c:pt idx="2604" formatCode="#,##0_);\(#,##0\);&quot;-  &quot;;&quot; &quot;@&quot; &quot;">
                  <c:v>109.31</c:v>
                </c:pt>
                <c:pt idx="2605" formatCode="#,##0_);\(#,##0\);&quot;-  &quot;;&quot; &quot;@&quot; &quot;">
                  <c:v>110.17</c:v>
                </c:pt>
                <c:pt idx="2606" formatCode="#,##0_);\(#,##0\);&quot;-  &quot;;&quot; &quot;@&quot; &quot;">
                  <c:v>109.71</c:v>
                </c:pt>
                <c:pt idx="2607" formatCode="#,##0_);\(#,##0\);&quot;-  &quot;;&quot; &quot;@&quot; &quot;">
                  <c:v>112.94</c:v>
                </c:pt>
                <c:pt idx="2608" formatCode="#,##0_);\(#,##0\);&quot;-  &quot;;&quot; &quot;@&quot; &quot;">
                  <c:v>114.09</c:v>
                </c:pt>
                <c:pt idx="2609" formatCode="#,##0_);\(#,##0\);&quot;-  &quot;;&quot; &quot;@&quot; &quot;">
                  <c:v>114.24</c:v>
                </c:pt>
                <c:pt idx="2610" formatCode="#,##0_);\(#,##0\);&quot;-  &quot;;&quot; &quot;@&quot; &quot;">
                  <c:v>113.78</c:v>
                </c:pt>
                <c:pt idx="2611" formatCode="#,##0_);\(#,##0\);&quot;-  &quot;;&quot; &quot;@&quot; &quot;">
                  <c:v>113.84</c:v>
                </c:pt>
                <c:pt idx="2612" formatCode="#,##0_);\(#,##0\);&quot;-  &quot;;&quot; &quot;@&quot; &quot;">
                  <c:v>112.5</c:v>
                </c:pt>
                <c:pt idx="2613" formatCode="#,##0_);\(#,##0\);&quot;-  &quot;;&quot; &quot;@&quot; &quot;">
                  <c:v>108.95</c:v>
                </c:pt>
                <c:pt idx="2614" formatCode="#,##0_);\(#,##0\);&quot;-  &quot;;&quot; &quot;@&quot; &quot;">
                  <c:v>109.82</c:v>
                </c:pt>
                <c:pt idx="2615" formatCode="#,##0_);\(#,##0\);&quot;-  &quot;;&quot; &quot;@&quot; &quot;">
                  <c:v>111.42</c:v>
                </c:pt>
                <c:pt idx="2616" formatCode="#,##0_);\(#,##0\);&quot;-  &quot;;&quot; &quot;@&quot; &quot;">
                  <c:v>114.78</c:v>
                </c:pt>
                <c:pt idx="2617" formatCode="#,##0_);\(#,##0\);&quot;-  &quot;;&quot; &quot;@&quot; &quot;">
                  <c:v>117.3</c:v>
                </c:pt>
                <c:pt idx="2618" formatCode="#,##0_);\(#,##0\);&quot;-  &quot;;&quot; &quot;@&quot; &quot;">
                  <c:v>119.64</c:v>
                </c:pt>
                <c:pt idx="2619" formatCode="#,##0_);\(#,##0\);&quot;-  &quot;;&quot; &quot;@&quot; &quot;">
                  <c:v>118.11</c:v>
                </c:pt>
                <c:pt idx="2620" formatCode="#,##0_);\(#,##0\);&quot;-  &quot;;&quot; &quot;@&quot; &quot;">
                  <c:v>118.84</c:v>
                </c:pt>
                <c:pt idx="2621" formatCode="#,##0_);\(#,##0\);&quot;-  &quot;;&quot; &quot;@&quot; &quot;">
                  <c:v>116.13</c:v>
                </c:pt>
                <c:pt idx="2622" formatCode="#,##0_);\(#,##0\);&quot;-  &quot;;&quot; &quot;@&quot; &quot;">
                  <c:v>114.58</c:v>
                </c:pt>
                <c:pt idx="2623" formatCode="#,##0_);\(#,##0\);&quot;-  &quot;;&quot; &quot;@&quot; &quot;">
                  <c:v>112.38</c:v>
                </c:pt>
                <c:pt idx="2624" formatCode="#,##0_);\(#,##0\);&quot;-  &quot;;&quot; &quot;@&quot; &quot;">
                  <c:v>112.48</c:v>
                </c:pt>
                <c:pt idx="2625" formatCode="#,##0_);\(#,##0\);&quot;-  &quot;;&quot; &quot;@&quot; &quot;">
                  <c:v>109.31</c:v>
                </c:pt>
                <c:pt idx="2626" formatCode="#,##0_);\(#,##0\);&quot;-  &quot;;&quot; &quot;@&quot; &quot;">
                  <c:v>108.48</c:v>
                </c:pt>
                <c:pt idx="2627" formatCode="#,##0_);\(#,##0\);&quot;-  &quot;;&quot; &quot;@&quot; &quot;">
                  <c:v>109.61</c:v>
                </c:pt>
                <c:pt idx="2628" formatCode="#,##0_);\(#,##0\);&quot;-  &quot;;&quot; &quot;@&quot; &quot;">
                  <c:v>108.42</c:v>
                </c:pt>
                <c:pt idx="2629" formatCode="#,##0_);\(#,##0\);&quot;-  &quot;;&quot; &quot;@&quot; &quot;">
                  <c:v>109.06</c:v>
                </c:pt>
                <c:pt idx="2630" formatCode="#,##0_);\(#,##0\);&quot;-  &quot;;&quot; &quot;@&quot; &quot;">
                  <c:v>109.64</c:v>
                </c:pt>
                <c:pt idx="2631" formatCode="#,##0_);\(#,##0\);&quot;-  &quot;;&quot; &quot;@&quot; &quot;">
                  <c:v>106.64</c:v>
                </c:pt>
                <c:pt idx="2632" formatCode="#,##0_);\(#,##0\);&quot;-  &quot;;&quot; &quot;@&quot; &quot;">
                  <c:v>107.04</c:v>
                </c:pt>
                <c:pt idx="2633" formatCode="#,##0_);\(#,##0\);&quot;-  &quot;;&quot; &quot;@&quot; &quot;">
                  <c:v>108.08</c:v>
                </c:pt>
                <c:pt idx="2634" formatCode="#,##0_);\(#,##0\);&quot;-  &quot;;&quot; &quot;@&quot; &quot;">
                  <c:v>106.02</c:v>
                </c:pt>
                <c:pt idx="2635" formatCode="#,##0_);\(#,##0\);&quot;-  &quot;;&quot; &quot;@&quot; &quot;">
                  <c:v>104.79</c:v>
                </c:pt>
                <c:pt idx="2636" formatCode="#,##0_);\(#,##0\);&quot;-  &quot;;&quot; &quot;@&quot; &quot;">
                  <c:v>106.38</c:v>
                </c:pt>
                <c:pt idx="2637" formatCode="#,##0_);\(#,##0\);&quot;-  &quot;;&quot; &quot;@&quot; &quot;">
                  <c:v>107.41</c:v>
                </c:pt>
                <c:pt idx="2638" formatCode="#,##0_);\(#,##0\);&quot;-  &quot;;&quot; &quot;@&quot; &quot;">
                  <c:v>106.84</c:v>
                </c:pt>
                <c:pt idx="2639" formatCode="#,##0_);\(#,##0\);&quot;-  &quot;;&quot; &quot;@&quot; &quot;">
                  <c:v>106.87</c:v>
                </c:pt>
                <c:pt idx="2640" formatCode="#,##0_);\(#,##0\);&quot;-  &quot;;&quot; &quot;@&quot; &quot;">
                  <c:v>106.66</c:v>
                </c:pt>
                <c:pt idx="2641" formatCode="#,##0_);\(#,##0\);&quot;-  &quot;;&quot; &quot;@&quot; &quot;">
                  <c:v>107.36</c:v>
                </c:pt>
                <c:pt idx="2642" formatCode="#,##0_);\(#,##0\);&quot;-  &quot;;&quot; &quot;@&quot; &quot;">
                  <c:v>108.99</c:v>
                </c:pt>
                <c:pt idx="2643" formatCode="#,##0_);\(#,##0\);&quot;-  &quot;;&quot; &quot;@&quot; &quot;">
                  <c:v>109.44</c:v>
                </c:pt>
                <c:pt idx="2644" formatCode="#,##0_);\(#,##0\);&quot;-  &quot;;&quot; &quot;@&quot; &quot;">
                  <c:v>111.26</c:v>
                </c:pt>
                <c:pt idx="2645" formatCode="#,##0_);\(#,##0\);&quot;-  &quot;;&quot; &quot;@&quot; &quot;">
                  <c:v>110.71</c:v>
                </c:pt>
                <c:pt idx="2646" formatCode="#,##0_);\(#,##0\);&quot;-  &quot;;&quot; &quot;@&quot; &quot;">
                  <c:v>108.47</c:v>
                </c:pt>
                <c:pt idx="2647" formatCode="#,##0_);\(#,##0\);&quot;-  &quot;;&quot; &quot;@&quot; &quot;">
                  <c:v>107.52</c:v>
                </c:pt>
                <c:pt idx="2648" formatCode="#,##0_);\(#,##0\);&quot;-  &quot;;&quot; &quot;@&quot; &quot;">
                  <c:v>107.44</c:v>
                </c:pt>
                <c:pt idx="2649" formatCode="#,##0_);\(#,##0\);&quot;-  &quot;;&quot; &quot;@&quot; &quot;">
                  <c:v>107.84</c:v>
                </c:pt>
                <c:pt idx="2650" formatCode="#,##0_);\(#,##0\);&quot;-  &quot;;&quot; &quot;@&quot; &quot;">
                  <c:v>106.42</c:v>
                </c:pt>
                <c:pt idx="2651" formatCode="#,##0_);\(#,##0\);&quot;-  &quot;;&quot; &quot;@&quot; &quot;">
                  <c:v>105.58</c:v>
                </c:pt>
                <c:pt idx="2652" formatCode="#,##0_);\(#,##0\);&quot;-  &quot;;&quot; &quot;@&quot; &quot;">
                  <c:v>106.86</c:v>
                </c:pt>
                <c:pt idx="2653" formatCode="#,##0_);\(#,##0\);&quot;-  &quot;;&quot; &quot;@&quot; &quot;">
                  <c:v>107.56</c:v>
                </c:pt>
                <c:pt idx="2654" formatCode="#,##0_);\(#,##0\);&quot;-  &quot;;&quot; &quot;@&quot; &quot;">
                  <c:v>110.19</c:v>
                </c:pt>
                <c:pt idx="2655" formatCode="#,##0_);\(#,##0\);&quot;-  &quot;;&quot; &quot;@&quot; &quot;">
                  <c:v>112.31</c:v>
                </c:pt>
                <c:pt idx="2656" formatCode="#,##0_);\(#,##0\);&quot;-  &quot;;&quot; &quot;@&quot; &quot;">
                  <c:v>112.48</c:v>
                </c:pt>
                <c:pt idx="2657" formatCode="#,##0_);\(#,##0\);&quot;-  &quot;;&quot; &quot;@&quot; &quot;">
                  <c:v>113.98</c:v>
                </c:pt>
                <c:pt idx="2658" formatCode="#,##0_);\(#,##0\);&quot;-  &quot;;&quot; &quot;@&quot; &quot;">
                  <c:v>111.97</c:v>
                </c:pt>
                <c:pt idx="2659" formatCode="#,##0_);\(#,##0\);&quot;-  &quot;;&quot; &quot;@&quot; &quot;">
                  <c:v>110.35</c:v>
                </c:pt>
                <c:pt idx="2660" formatCode="#,##0_);\(#,##0\);&quot;-  &quot;;&quot; &quot;@&quot; &quot;">
                  <c:v>110.86</c:v>
                </c:pt>
                <c:pt idx="2661" formatCode="#,##0_);\(#,##0\);&quot;-  &quot;;&quot; &quot;@&quot; &quot;">
                  <c:v>110.11</c:v>
                </c:pt>
                <c:pt idx="2662" formatCode="#,##0_);\(#,##0\);&quot;-  &quot;;&quot; &quot;@&quot; &quot;">
                  <c:v>111.74</c:v>
                </c:pt>
                <c:pt idx="2663" formatCode="#,##0_);\(#,##0\);&quot;-  &quot;;&quot; &quot;@&quot; &quot;">
                  <c:v>109.43</c:v>
                </c:pt>
                <c:pt idx="2664" formatCode="#,##0_);\(#,##0\);&quot;-  &quot;;&quot; &quot;@&quot; &quot;">
                  <c:v>109.47</c:v>
                </c:pt>
                <c:pt idx="2665" formatCode="#,##0_);\(#,##0\);&quot;-  &quot;;&quot; &quot;@&quot; &quot;">
                  <c:v>107.12</c:v>
                </c:pt>
                <c:pt idx="2666" formatCode="#,##0_);\(#,##0\);&quot;-  &quot;;&quot; &quot;@&quot; &quot;">
                  <c:v>104.28</c:v>
                </c:pt>
                <c:pt idx="2667" formatCode="#,##0_);\(#,##0\);&quot;-  &quot;;&quot; &quot;@&quot; &quot;">
                  <c:v>104.14</c:v>
                </c:pt>
                <c:pt idx="2668" formatCode="#,##0_);\(#,##0\);&quot;-  &quot;;&quot; &quot;@&quot; &quot;">
                  <c:v>104.19</c:v>
                </c:pt>
                <c:pt idx="2669" formatCode="#,##0_);\(#,##0\);&quot;-  &quot;;&quot; &quot;@&quot; &quot;">
                  <c:v>105.49</c:v>
                </c:pt>
                <c:pt idx="2670" formatCode="#,##0_);\(#,##0\);&quot;-  &quot;;&quot; &quot;@&quot; &quot;">
                  <c:v>105.19</c:v>
                </c:pt>
                <c:pt idx="2671" formatCode="#,##0_);\(#,##0\);&quot;-  &quot;;&quot; &quot;@&quot; &quot;">
                  <c:v>105</c:v>
                </c:pt>
                <c:pt idx="2672" formatCode="#,##0_);\(#,##0\);&quot;-  &quot;;&quot; &quot;@&quot; &quot;">
                  <c:v>105.78</c:v>
                </c:pt>
                <c:pt idx="2673" formatCode="#,##0_);\(#,##0\);&quot;-  &quot;;&quot; &quot;@&quot; &quot;">
                  <c:v>104.86</c:v>
                </c:pt>
                <c:pt idx="2674" formatCode="#,##0_);\(#,##0\);&quot;-  &quot;;&quot; &quot;@&quot; &quot;">
                  <c:v>104.2</c:v>
                </c:pt>
                <c:pt idx="2675" formatCode="#,##0_);\(#,##0\);&quot;-  &quot;;&quot; &quot;@&quot; &quot;">
                  <c:v>101.83</c:v>
                </c:pt>
                <c:pt idx="2676" formatCode="#,##0_);\(#,##0\);&quot;-  &quot;;&quot; &quot;@&quot; &quot;">
                  <c:v>100.6</c:v>
                </c:pt>
                <c:pt idx="2677" formatCode="#,##0_);\(#,##0\);&quot;-  &quot;;&quot; &quot;@&quot; &quot;">
                  <c:v>100.1</c:v>
                </c:pt>
                <c:pt idx="2678" formatCode="#,##0_);\(#,##0\);&quot;-  &quot;;&quot; &quot;@&quot; &quot;">
                  <c:v>100.72</c:v>
                </c:pt>
                <c:pt idx="2679" formatCode="#,##0_);\(#,##0\);&quot;-  &quot;;&quot; &quot;@&quot; &quot;">
                  <c:v>101.16</c:v>
                </c:pt>
                <c:pt idx="2680" formatCode="#,##0_);\(#,##0\);&quot;-  &quot;;&quot; &quot;@&quot; &quot;">
                  <c:v>101.39</c:v>
                </c:pt>
                <c:pt idx="2681" formatCode="#,##0_);\(#,##0\);&quot;-  &quot;;&quot; &quot;@&quot; &quot;">
                  <c:v>101.87</c:v>
                </c:pt>
                <c:pt idx="2682" formatCode="#,##0_);\(#,##0\);&quot;-  &quot;;&quot; &quot;@&quot; &quot;">
                  <c:v>100.6</c:v>
                </c:pt>
                <c:pt idx="2683" formatCode="#,##0_);\(#,##0\);&quot;-  &quot;;&quot; &quot;@&quot; &quot;">
                  <c:v>100.29</c:v>
                </c:pt>
                <c:pt idx="2684" formatCode="#,##0_);\(#,##0\);&quot;-  &quot;;&quot; &quot;@&quot; &quot;">
                  <c:v>99.81</c:v>
                </c:pt>
                <c:pt idx="2685" formatCode="#,##0_);\(#,##0\);&quot;-  &quot;;&quot; &quot;@&quot; &quot;">
                  <c:v>99.94</c:v>
                </c:pt>
                <c:pt idx="2686" formatCode="#,##0_);\(#,##0\);&quot;-  &quot;;&quot; &quot;@&quot; &quot;">
                  <c:v>100.59</c:v>
                </c:pt>
                <c:pt idx="2687" formatCode="#,##0_);\(#,##0\);&quot;-  &quot;;&quot; &quot;@&quot; &quot;">
                  <c:v>102.22</c:v>
                </c:pt>
                <c:pt idx="2688" formatCode="#,##0_);\(#,##0\);&quot;-  &quot;;&quot; &quot;@&quot; &quot;">
                  <c:v>101.56</c:v>
                </c:pt>
                <c:pt idx="2689" formatCode="#,##0_);\(#,##0\);&quot;-  &quot;;&quot; &quot;@&quot; &quot;">
                  <c:v>100.84</c:v>
                </c:pt>
                <c:pt idx="2690" formatCode="#,##0_);\(#,##0\);&quot;-  &quot;;&quot; &quot;@&quot; &quot;">
                  <c:v>99.43</c:v>
                </c:pt>
                <c:pt idx="2691" formatCode="#,##0_);\(#,##0\);&quot;-  &quot;;&quot; &quot;@&quot; &quot;">
                  <c:v>98.54</c:v>
                </c:pt>
                <c:pt idx="2692" formatCode="#,##0_);\(#,##0\);&quot;-  &quot;;&quot; &quot;@&quot; &quot;">
                  <c:v>98.89</c:v>
                </c:pt>
                <c:pt idx="2693" formatCode="#,##0_);\(#,##0\);&quot;-  &quot;;&quot; &quot;@&quot; &quot;">
                  <c:v>101.44</c:v>
                </c:pt>
                <c:pt idx="2694" formatCode="#,##0_);\(#,##0\);&quot;-  &quot;;&quot; &quot;@&quot; &quot;">
                  <c:v>101.1</c:v>
                </c:pt>
                <c:pt idx="2695" formatCode="#,##0_);\(#,##0\);&quot;-  &quot;;&quot; &quot;@&quot; &quot;">
                  <c:v>98.87</c:v>
                </c:pt>
                <c:pt idx="2696" formatCode="#,##0_);\(#,##0\);&quot;-  &quot;;&quot; &quot;@&quot; &quot;">
                  <c:v>97.97</c:v>
                </c:pt>
                <c:pt idx="2697" formatCode="#,##0_);\(#,##0\);&quot;-  &quot;;&quot; &quot;@&quot; &quot;">
                  <c:v>95.16</c:v>
                </c:pt>
                <c:pt idx="2698" formatCode="#,##0_);\(#,##0\);&quot;-  &quot;;&quot; &quot;@&quot; &quot;">
                  <c:v>93.89</c:v>
                </c:pt>
                <c:pt idx="2699" formatCode="#,##0_);\(#,##0\);&quot;-  &quot;;&quot; &quot;@&quot; &quot;">
                  <c:v>94.34</c:v>
                </c:pt>
                <c:pt idx="2700" formatCode="#,##0_);\(#,##0\);&quot;-  &quot;;&quot; &quot;@&quot; &quot;">
                  <c:v>96.33</c:v>
                </c:pt>
                <c:pt idx="2701" formatCode="#,##0_);\(#,##0\);&quot;-  &quot;;&quot; &quot;@&quot; &quot;">
                  <c:v>96.82</c:v>
                </c:pt>
                <c:pt idx="2702" formatCode="#,##0_);\(#,##0\);&quot;-  &quot;;&quot; &quot;@&quot; &quot;">
                  <c:v>98.7</c:v>
                </c:pt>
                <c:pt idx="2703" formatCode="#,##0_);\(#,##0\);&quot;-  &quot;;&quot; &quot;@&quot; &quot;">
                  <c:v>99.55</c:v>
                </c:pt>
                <c:pt idx="2704" formatCode="#,##0_);\(#,##0\);&quot;-  &quot;;&quot; &quot;@&quot; &quot;">
                  <c:v>100.16</c:v>
                </c:pt>
                <c:pt idx="2705" formatCode="#,##0_);\(#,##0\);&quot;-  &quot;;&quot; &quot;@&quot; &quot;">
                  <c:v>100.65</c:v>
                </c:pt>
                <c:pt idx="2706" formatCode="#,##0_);\(#,##0\);&quot;-  &quot;;&quot; &quot;@&quot; &quot;">
                  <c:v>100.58</c:v>
                </c:pt>
                <c:pt idx="2707" formatCode="#,##0_);\(#,##0\);&quot;-  &quot;;&quot; &quot;@&quot; &quot;">
                  <c:v>101.02</c:v>
                </c:pt>
                <c:pt idx="2708" formatCode="#,##0_);\(#,##0\);&quot;-  &quot;;&quot; &quot;@&quot; &quot;">
                  <c:v>103.05</c:v>
                </c:pt>
                <c:pt idx="2709" formatCode="#,##0_);\(#,##0\);&quot;-  &quot;;&quot; &quot;@&quot; &quot;">
                  <c:v>103.94</c:v>
                </c:pt>
                <c:pt idx="2710" formatCode="#,##0_);\(#,##0\);&quot;-  &quot;;&quot; &quot;@&quot; &quot;">
                  <c:v>103.9</c:v>
                </c:pt>
                <c:pt idx="2711" formatCode="#,##0_);\(#,##0\);&quot;-  &quot;;&quot; &quot;@&quot; &quot;">
                  <c:v>103.88</c:v>
                </c:pt>
                <c:pt idx="2712" formatCode="#,##0_);\(#,##0\);&quot;-  &quot;;&quot; &quot;@&quot; &quot;">
                  <c:v>103.82</c:v>
                </c:pt>
                <c:pt idx="2713" formatCode="#,##0_);\(#,##0\);&quot;-  &quot;;&quot; &quot;@&quot; &quot;">
                  <c:v>104.14</c:v>
                </c:pt>
                <c:pt idx="2714" formatCode="#,##0_);\(#,##0\);&quot;-  &quot;;&quot; &quot;@&quot; &quot;">
                  <c:v>104.29</c:v>
                </c:pt>
                <c:pt idx="2715" formatCode="#,##0_);\(#,##0\);&quot;-  &quot;;&quot; &quot;@&quot; &quot;">
                  <c:v>105.15</c:v>
                </c:pt>
                <c:pt idx="2716" formatCode="#,##0_);\(#,##0\);&quot;-  &quot;;&quot; &quot;@&quot; &quot;">
                  <c:v>104.52</c:v>
                </c:pt>
                <c:pt idx="2717" formatCode="#,##0_);\(#,##0\);&quot;-  &quot;;&quot; &quot;@&quot; &quot;">
                  <c:v>105.9</c:v>
                </c:pt>
                <c:pt idx="2718" formatCode="#,##0_);\(#,##0\);&quot;-  &quot;;&quot; &quot;@&quot; &quot;">
                  <c:v>107.29</c:v>
                </c:pt>
                <c:pt idx="2719" formatCode="#,##0_);\(#,##0\);&quot;-  &quot;;&quot; &quot;@&quot; &quot;">
                  <c:v>106.78</c:v>
                </c:pt>
                <c:pt idx="2720" formatCode="#,##0_);\(#,##0\);&quot;-  &quot;;&quot; &quot;@&quot; &quot;">
                  <c:v>107.14</c:v>
                </c:pt>
                <c:pt idx="2721" formatCode="#,##0_);\(#,##0\);&quot;-  &quot;;&quot; &quot;@&quot; &quot;">
                  <c:v>107.51</c:v>
                </c:pt>
                <c:pt idx="2722" formatCode="#,##0_);\(#,##0\);&quot;-  &quot;;&quot; &quot;@&quot; &quot;">
                  <c:v>105.21</c:v>
                </c:pt>
                <c:pt idx="2723" formatCode="#,##0_);\(#,##0\);&quot;-  &quot;;&quot; &quot;@&quot; &quot;">
                  <c:v>103.56</c:v>
                </c:pt>
                <c:pt idx="2724" formatCode="#,##0_);\(#,##0\);&quot;-  &quot;;&quot; &quot;@&quot; &quot;">
                  <c:v>102.8</c:v>
                </c:pt>
                <c:pt idx="2725" formatCode="#,##0_);\(#,##0\);&quot;-  &quot;;&quot; &quot;@&quot; &quot;">
                  <c:v>102.95</c:v>
                </c:pt>
                <c:pt idx="2726" formatCode="#,##0_);\(#,##0\);&quot;-  &quot;;&quot; &quot;@&quot; &quot;">
                  <c:v>103</c:v>
                </c:pt>
                <c:pt idx="2727" formatCode="#,##0_);\(#,##0\);&quot;-  &quot;;&quot; &quot;@&quot; &quot;">
                  <c:v>102.53</c:v>
                </c:pt>
                <c:pt idx="2728" formatCode="#,##0_);\(#,##0\);&quot;-  &quot;;&quot; &quot;@&quot; &quot;">
                  <c:v>101.04</c:v>
                </c:pt>
                <c:pt idx="2729" formatCode="#,##0_);\(#,##0\);&quot;-  &quot;;&quot; &quot;@&quot; &quot;">
                  <c:v>100.77</c:v>
                </c:pt>
                <c:pt idx="2730" formatCode="#,##0_);\(#,##0\);&quot;-  &quot;;&quot; &quot;@&quot; &quot;">
                  <c:v>100.62</c:v>
                </c:pt>
                <c:pt idx="2731" formatCode="#,##0_);\(#,##0\);&quot;-  &quot;;&quot; &quot;@&quot; &quot;">
                  <c:v>98.81</c:v>
                </c:pt>
                <c:pt idx="2732" formatCode="#,##0_);\(#,##0\);&quot;-  &quot;;&quot; &quot;@&quot; &quot;">
                  <c:v>98.7</c:v>
                </c:pt>
                <c:pt idx="2733" formatCode="#,##0_);\(#,##0\);&quot;-  &quot;;&quot; &quot;@&quot; &quot;">
                  <c:v>97.81</c:v>
                </c:pt>
                <c:pt idx="2734" formatCode="#,##0_);\(#,##0\);&quot;-  &quot;;&quot; &quot;@&quot; &quot;">
                  <c:v>99.46</c:v>
                </c:pt>
                <c:pt idx="2735" formatCode="#,##0_);\(#,##0\);&quot;-  &quot;;&quot; &quot;@&quot; &quot;">
                  <c:v>99.7</c:v>
                </c:pt>
                <c:pt idx="2736" formatCode="#,##0_);\(#,##0\);&quot;-  &quot;;&quot; &quot;@&quot; &quot;">
                  <c:v>97.75</c:v>
                </c:pt>
                <c:pt idx="2737" formatCode="#,##0_);\(#,##0\);&quot;-  &quot;;&quot; &quot;@&quot; &quot;">
                  <c:v>96.68</c:v>
                </c:pt>
                <c:pt idx="2738" formatCode="#,##0_);\(#,##0\);&quot;-  &quot;;&quot; &quot;@&quot; &quot;">
                  <c:v>94.87</c:v>
                </c:pt>
                <c:pt idx="2739" formatCode="#,##0_);\(#,##0\);&quot;-  &quot;;&quot; &quot;@&quot; &quot;">
                  <c:v>97</c:v>
                </c:pt>
                <c:pt idx="2740" formatCode="#,##0_);\(#,##0\);&quot;-  &quot;;&quot; &quot;@&quot; &quot;">
                  <c:v>96.5</c:v>
                </c:pt>
                <c:pt idx="2741" formatCode="#,##0_);\(#,##0\);&quot;-  &quot;;&quot; &quot;@&quot; &quot;">
                  <c:v>93.18</c:v>
                </c:pt>
                <c:pt idx="2742" formatCode="#,##0_);\(#,##0\);&quot;-  &quot;;&quot; &quot;@&quot; &quot;">
                  <c:v>91.81</c:v>
                </c:pt>
                <c:pt idx="2743" formatCode="#,##0_);\(#,##0\);&quot;-  &quot;;&quot; &quot;@&quot; &quot;">
                  <c:v>92.01</c:v>
                </c:pt>
                <c:pt idx="2744" formatCode="#,##0_);\(#,##0\);&quot;-  &quot;;&quot; &quot;@&quot; &quot;">
                  <c:v>94.13</c:v>
                </c:pt>
                <c:pt idx="2745" formatCode="#,##0_);\(#,##0\);&quot;-  &quot;;&quot; &quot;@&quot; &quot;">
                  <c:v>94.25</c:v>
                </c:pt>
                <c:pt idx="2746" formatCode="#,##0_);\(#,##0\);&quot;-  &quot;;&quot; &quot;@&quot; &quot;">
                  <c:v>93.78</c:v>
                </c:pt>
                <c:pt idx="2747" formatCode="#,##0_);\(#,##0\);&quot;-  &quot;;&quot; &quot;@&quot; &quot;">
                  <c:v>95.93</c:v>
                </c:pt>
                <c:pt idx="2748" formatCode="#,##0_);\(#,##0\);&quot;-  &quot;;&quot; &quot;@&quot; &quot;">
                  <c:v>96.61</c:v>
                </c:pt>
                <c:pt idx="2749" formatCode="#,##0_);\(#,##0\);&quot;-  &quot;;&quot; &quot;@&quot; &quot;">
                  <c:v>95.87</c:v>
                </c:pt>
                <c:pt idx="2750" formatCode="#,##0_);\(#,##0\);&quot;-  &quot;;&quot; &quot;@&quot; &quot;">
                  <c:v>96.5</c:v>
                </c:pt>
                <c:pt idx="2751" formatCode="#,##0_);\(#,##0\);&quot;-  &quot;;&quot; &quot;@&quot; &quot;">
                  <c:v>94.64</c:v>
                </c:pt>
                <c:pt idx="2752" formatCode="#,##0_);\(#,##0\);&quot;-  &quot;;&quot; &quot;@&quot; &quot;">
                  <c:v>92.87</c:v>
                </c:pt>
                <c:pt idx="2753" formatCode="#,##0_);\(#,##0\);&quot;-  &quot;;&quot; &quot;@&quot; &quot;">
                  <c:v>91.79</c:v>
                </c:pt>
                <c:pt idx="2754" formatCode="#,##0_);\(#,##0\);&quot;-  &quot;;&quot; &quot;@&quot; &quot;">
                  <c:v>92.02</c:v>
                </c:pt>
                <c:pt idx="2755" formatCode="#,##0_);\(#,##0\);&quot;-  &quot;;&quot; &quot;@&quot; &quot;">
                  <c:v>91.49</c:v>
                </c:pt>
                <c:pt idx="2756" formatCode="#,##0_);\(#,##0\);&quot;-  &quot;;&quot; &quot;@&quot; &quot;">
                  <c:v>93.06</c:v>
                </c:pt>
                <c:pt idx="2757" formatCode="#,##0_);\(#,##0\);&quot;-  &quot;;&quot; &quot;@&quot; &quot;">
                  <c:v>94.26</c:v>
                </c:pt>
                <c:pt idx="2758" formatCode="#,##0_);\(#,##0\);&quot;-  &quot;;&quot; &quot;@&quot; &quot;">
                  <c:v>93.4</c:v>
                </c:pt>
                <c:pt idx="2759" formatCode="#,##0_);\(#,##0\);&quot;-  &quot;;&quot; &quot;@&quot; &quot;">
                  <c:v>91.07</c:v>
                </c:pt>
                <c:pt idx="2760" formatCode="#,##0_);\(#,##0\);&quot;-  &quot;;&quot; &quot;@&quot; &quot;">
                  <c:v>92.56</c:v>
                </c:pt>
                <c:pt idx="2761" formatCode="#,##0_);\(#,##0\);&quot;-  &quot;;&quot; &quot;@&quot; &quot;">
                  <c:v>92.5</c:v>
                </c:pt>
                <c:pt idx="2762" formatCode="#,##0_);\(#,##0\);&quot;-  &quot;;&quot; &quot;@&quot; &quot;">
                  <c:v>91.53</c:v>
                </c:pt>
                <c:pt idx="2763" formatCode="#,##0_);\(#,##0\);&quot;-  &quot;;&quot; &quot;@&quot; &quot;">
                  <c:v>89.99</c:v>
                </c:pt>
                <c:pt idx="2764" formatCode="#,##0_);\(#,##0\);&quot;-  &quot;;&quot; &quot;@&quot; &quot;">
                  <c:v>87.59</c:v>
                </c:pt>
                <c:pt idx="2765" formatCode="#,##0_);\(#,##0\);&quot;-  &quot;;&quot; &quot;@&quot; &quot;">
                  <c:v>87.5</c:v>
                </c:pt>
                <c:pt idx="2766" formatCode="#,##0_);\(#,##0\);&quot;-  &quot;;&quot; &quot;@&quot; &quot;">
                  <c:v>85.75</c:v>
                </c:pt>
                <c:pt idx="2767" formatCode="#,##0_);\(#,##0\);&quot;-  &quot;;&quot; &quot;@&quot; &quot;">
                  <c:v>85.89</c:v>
                </c:pt>
                <c:pt idx="2768" formatCode="#,##0_);\(#,##0\);&quot;-  &quot;;&quot; &quot;@&quot; &quot;">
                  <c:v>83.56</c:v>
                </c:pt>
                <c:pt idx="2769" formatCode="#,##0_);\(#,##0\);&quot;-  &quot;;&quot; &quot;@&quot; &quot;">
                  <c:v>83.23</c:v>
                </c:pt>
                <c:pt idx="2770" formatCode="#,##0_);\(#,##0\);&quot;-  &quot;;&quot; &quot;@&quot; &quot;">
                  <c:v>84.82</c:v>
                </c:pt>
                <c:pt idx="2771" formatCode="#,##0_);\(#,##0\);&quot;-  &quot;;&quot; &quot;@&quot; &quot;">
                  <c:v>83.77</c:v>
                </c:pt>
                <c:pt idx="2772" formatCode="#,##0_);\(#,##0\);&quot;-  &quot;;&quot; &quot;@&quot; &quot;">
                  <c:v>83.19</c:v>
                </c:pt>
                <c:pt idx="2773" formatCode="#,##0_);\(#,##0\);&quot;-  &quot;;&quot; &quot;@&quot; &quot;">
                  <c:v>84.46</c:v>
                </c:pt>
                <c:pt idx="2774" formatCode="#,##0_);\(#,##0\);&quot;-  &quot;;&quot; &quot;@&quot; &quot;">
                  <c:v>85.3</c:v>
                </c:pt>
                <c:pt idx="2775" formatCode="#,##0_);\(#,##0\);&quot;-  &quot;;&quot; &quot;@&quot; &quot;">
                  <c:v>86.75</c:v>
                </c:pt>
                <c:pt idx="2776" formatCode="#,##0_);\(#,##0\);&quot;-  &quot;;&quot; &quot;@&quot; &quot;">
                  <c:v>86.46</c:v>
                </c:pt>
                <c:pt idx="2777" formatCode="#,##0_);\(#,##0\);&quot;-  &quot;;&quot; &quot;@&quot; &quot;">
                  <c:v>86.03</c:v>
                </c:pt>
                <c:pt idx="2778" formatCode="#,##0_);\(#,##0\);&quot;-  &quot;;&quot; &quot;@&quot; &quot;">
                  <c:v>87.3</c:v>
                </c:pt>
                <c:pt idx="2779" formatCode="#,##0_);\(#,##0\);&quot;-  &quot;;&quot; &quot;@&quot; &quot;">
                  <c:v>87.06</c:v>
                </c:pt>
                <c:pt idx="2780" formatCode="#,##0_);\(#,##0\);&quot;-  &quot;;&quot; &quot;@&quot; &quot;">
                  <c:v>85.31</c:v>
                </c:pt>
                <c:pt idx="2781" formatCode="#,##0_);\(#,##0\);&quot;-  &quot;;&quot; &quot;@&quot; &quot;">
                  <c:v>85.4</c:v>
                </c:pt>
                <c:pt idx="2782" formatCode="#,##0_);\(#,##0\);&quot;-  &quot;;&quot; &quot;@&quot; &quot;">
                  <c:v>85.83</c:v>
                </c:pt>
                <c:pt idx="2783" formatCode="#,##0_);\(#,##0\);&quot;-  &quot;;&quot; &quot;@&quot; &quot;">
                  <c:v>86.17</c:v>
                </c:pt>
                <c:pt idx="2784" formatCode="#,##0_);\(#,##0\);&quot;-  &quot;;&quot; &quot;@&quot; &quot;">
                  <c:v>87.23</c:v>
                </c:pt>
                <c:pt idx="2785" formatCode="#,##0_);\(#,##0\);&quot;-  &quot;;&quot; &quot;@&quot; &quot;">
                  <c:v>90.19</c:v>
                </c:pt>
                <c:pt idx="2786" formatCode="#,##0_);\(#,##0\);&quot;-  &quot;;&quot; &quot;@&quot; &quot;">
                  <c:v>92.85</c:v>
                </c:pt>
                <c:pt idx="2787" formatCode="#,##0_);\(#,##0\);&quot;-  &quot;;&quot; &quot;@&quot; &quot;">
                  <c:v>95.08</c:v>
                </c:pt>
                <c:pt idx="2788" formatCode="#,##0_);\(#,##0\);&quot;-  &quot;;&quot; &quot;@&quot; &quot;">
                  <c:v>92.09</c:v>
                </c:pt>
                <c:pt idx="2789" formatCode="#,##0_);\(#,##0\);&quot;-  &quot;;&quot; &quot;@&quot; &quot;">
                  <c:v>91.12</c:v>
                </c:pt>
                <c:pt idx="2790" formatCode="#,##0_);\(#,##0\);&quot;-  &quot;;&quot; &quot;@&quot; &quot;">
                  <c:v>92.94</c:v>
                </c:pt>
                <c:pt idx="2791" formatCode="#,##0_);\(#,##0\);&quot;-  &quot;;&quot; &quot;@&quot; &quot;">
                  <c:v>93.86</c:v>
                </c:pt>
                <c:pt idx="2792" formatCode="#,##0_);\(#,##0\);&quot;-  &quot;;&quot; &quot;@&quot; &quot;">
                  <c:v>91.82</c:v>
                </c:pt>
                <c:pt idx="2793" formatCode="#,##0_);\(#,##0\);&quot;-  &quot;;&quot; &quot;@&quot; &quot;">
                  <c:v>87.85</c:v>
                </c:pt>
                <c:pt idx="2794" formatCode="#,##0_);\(#,##0\);&quot;-  &quot;;&quot; &quot;@&quot; &quot;">
                  <c:v>87.6</c:v>
                </c:pt>
                <c:pt idx="2795" formatCode="#,##0_);\(#,##0\);&quot;-  &quot;;&quot; &quot;@&quot; &quot;">
                  <c:v>88.2</c:v>
                </c:pt>
                <c:pt idx="2796" formatCode="#,##0_);\(#,##0\);&quot;-  &quot;;&quot; &quot;@&quot; &quot;">
                  <c:v>86.9</c:v>
                </c:pt>
                <c:pt idx="2797" formatCode="#,##0_);\(#,##0\);&quot;-  &quot;;&quot; &quot;@&quot; &quot;">
                  <c:v>87.67</c:v>
                </c:pt>
                <c:pt idx="2798" formatCode="#,##0_);\(#,##0\);&quot;-  &quot;;&quot; &quot;@&quot; &quot;">
                  <c:v>89.35</c:v>
                </c:pt>
                <c:pt idx="2799" formatCode="#,##0_);\(#,##0\);&quot;-  &quot;;&quot; &quot;@&quot; &quot;">
                  <c:v>89.85</c:v>
                </c:pt>
                <c:pt idx="2800" formatCode="#,##0_);\(#,##0\);&quot;-  &quot;;&quot; &quot;@&quot; &quot;">
                  <c:v>89.8</c:v>
                </c:pt>
                <c:pt idx="2801" formatCode="#,##0_);\(#,##0\);&quot;-  &quot;;&quot; &quot;@&quot; &quot;">
                  <c:v>91.14</c:v>
                </c:pt>
                <c:pt idx="2802" formatCode="#,##0_);\(#,##0\);&quot;-  &quot;;&quot; &quot;@&quot; &quot;">
                  <c:v>87.91</c:v>
                </c:pt>
                <c:pt idx="2803" formatCode="#,##0_);\(#,##0\);&quot;-  &quot;;&quot; &quot;@&quot; &quot;">
                  <c:v>87.19</c:v>
                </c:pt>
                <c:pt idx="2804" formatCode="#,##0_);\(#,##0\);&quot;-  &quot;;&quot; &quot;@&quot; &quot;">
                  <c:v>89.21</c:v>
                </c:pt>
                <c:pt idx="2805" formatCode="#,##0_);\(#,##0\);&quot;-  &quot;;&quot; &quot;@&quot; &quot;">
                  <c:v>89.85</c:v>
                </c:pt>
                <c:pt idx="2806" formatCode="#,##0_);\(#,##0\);&quot;-  &quot;;&quot; &quot;@&quot; &quot;">
                  <c:v>91.39</c:v>
                </c:pt>
                <c:pt idx="2807" formatCode="#,##0_);\(#,##0\);&quot;-  &quot;;&quot; &quot;@&quot; &quot;">
                  <c:v>92.55</c:v>
                </c:pt>
                <c:pt idx="2808" formatCode="#,##0_);\(#,##0\);&quot;-  &quot;;&quot; &quot;@&quot; &quot;">
                  <c:v>93.31</c:v>
                </c:pt>
                <c:pt idx="2809" formatCode="#,##0_);\(#,##0\);&quot;-  &quot;;&quot; &quot;@&quot; &quot;">
                  <c:v>91.82</c:v>
                </c:pt>
                <c:pt idx="2810" formatCode="#,##0_);\(#,##0\);&quot;-  &quot;;&quot; &quot;@&quot; &quot;">
                  <c:v>91.33</c:v>
                </c:pt>
                <c:pt idx="2811" formatCode="#,##0_);\(#,##0\);&quot;-  &quot;;&quot; &quot;@&quot; &quot;">
                  <c:v>90.33</c:v>
                </c:pt>
                <c:pt idx="2812" formatCode="#,##0_);\(#,##0\);&quot;-  &quot;;&quot; &quot;@&quot; &quot;">
                  <c:v>88.88</c:v>
                </c:pt>
                <c:pt idx="2813" formatCode="#,##0_);\(#,##0\);&quot;-  &quot;;&quot; &quot;@&quot; &quot;">
                  <c:v>89.3</c:v>
                </c:pt>
                <c:pt idx="2814" formatCode="#,##0_);\(#,##0\);&quot;-  &quot;;&quot; &quot;@&quot; &quot;">
                  <c:v>89.51</c:v>
                </c:pt>
                <c:pt idx="2815" formatCode="#,##0_);\(#,##0\);&quot;-  &quot;;&quot; &quot;@&quot; &quot;">
                  <c:v>89.74</c:v>
                </c:pt>
                <c:pt idx="2816" formatCode="#,##0_);\(#,##0\);&quot;-  &quot;;&quot; &quot;@&quot; &quot;">
                  <c:v>88.64</c:v>
                </c:pt>
                <c:pt idx="2817" formatCode="#,##0_);\(#,##0\);&quot;-  &quot;;&quot; &quot;@&quot; &quot;">
                  <c:v>90.28</c:v>
                </c:pt>
                <c:pt idx="2818" formatCode="#,##0_);\(#,##0\);&quot;-  &quot;;&quot; &quot;@&quot; &quot;">
                  <c:v>90.52</c:v>
                </c:pt>
                <c:pt idx="2819" formatCode="#,##0_);\(#,##0\);&quot;-  &quot;;&quot; &quot;@&quot; &quot;">
                  <c:v>89.86</c:v>
                </c:pt>
                <c:pt idx="2820" formatCode="#,##0_);\(#,##0\);&quot;-  &quot;;&quot; &quot;@&quot; &quot;">
                  <c:v>91.19</c:v>
                </c:pt>
                <c:pt idx="2821" formatCode="#,##0_);\(#,##0\);&quot;-  &quot;;&quot; &quot;@&quot; &quot;">
                  <c:v>91.97</c:v>
                </c:pt>
                <c:pt idx="2822" formatCode="#,##0_);\(#,##0\);&quot;-  &quot;;&quot; &quot;@&quot; &quot;">
                  <c:v>90.51</c:v>
                </c:pt>
                <c:pt idx="2823" formatCode="#,##0_);\(#,##0\);&quot;-  &quot;;&quot; &quot;@&quot; &quot;">
                  <c:v>91.38</c:v>
                </c:pt>
                <c:pt idx="2824" formatCode="#,##0_);\(#,##0\);&quot;-  &quot;;&quot; &quot;@&quot; &quot;">
                  <c:v>89.65</c:v>
                </c:pt>
                <c:pt idx="2825" formatCode="#,##0_);\(#,##0\);&quot;-  &quot;;&quot; &quot;@&quot; &quot;">
                  <c:v>89.18</c:v>
                </c:pt>
                <c:pt idx="2826" formatCode="#,##0_);\(#,##0\);&quot;-  &quot;;&quot; &quot;@&quot; &quot;">
                  <c:v>89.66</c:v>
                </c:pt>
                <c:pt idx="2827" formatCode="#,##0_);\(#,##0\);&quot;-  &quot;;&quot; &quot;@&quot; &quot;">
                  <c:v>88.28</c:v>
                </c:pt>
                <c:pt idx="2828" formatCode="#,##0_);\(#,##0\);&quot;-  &quot;;&quot; &quot;@&quot; &quot;">
                  <c:v>89.19</c:v>
                </c:pt>
                <c:pt idx="2829" formatCode="#,##0_);\(#,##0\);&quot;-  &quot;;&quot; &quot;@&quot; &quot;">
                  <c:v>87.93</c:v>
                </c:pt>
                <c:pt idx="2830" formatCode="#,##0_);\(#,##0\);&quot;-  &quot;;&quot; &quot;@&quot; &quot;">
                  <c:v>86.83</c:v>
                </c:pt>
                <c:pt idx="2831" formatCode="#,##0_);\(#,##0\);&quot;-  &quot;;&quot; &quot;@&quot; &quot;">
                  <c:v>85.89</c:v>
                </c:pt>
                <c:pt idx="2832" formatCode="#,##0_);\(#,##0\);&quot;-  &quot;;&quot; &quot;@&quot; &quot;">
                  <c:v>87.39</c:v>
                </c:pt>
                <c:pt idx="2833" formatCode="#,##0_);\(#,##0\);&quot;-  &quot;;&quot; &quot;@&quot; &quot;">
                  <c:v>88.17</c:v>
                </c:pt>
                <c:pt idx="2834" formatCode="#,##0_);\(#,##0\);&quot;-  &quot;;&quot; &quot;@&quot; &quot;">
                  <c:v>89.41</c:v>
                </c:pt>
                <c:pt idx="2835" formatCode="#,##0_);\(#,##0\);&quot;-  &quot;;&quot; &quot;@&quot; &quot;">
                  <c:v>89.68</c:v>
                </c:pt>
                <c:pt idx="2836" formatCode="#,##0_);\(#,##0\);&quot;-  &quot;;&quot; &quot;@&quot; &quot;">
                  <c:v>91.48</c:v>
                </c:pt>
                <c:pt idx="2837" formatCode="#,##0_);\(#,##0\);&quot;-  &quot;;&quot; &quot;@&quot; &quot;">
                  <c:v>91.21</c:v>
                </c:pt>
                <c:pt idx="2838" formatCode="#,##0_);\(#,##0\);&quot;-  &quot;;&quot; &quot;@&quot; &quot;">
                  <c:v>89.45</c:v>
                </c:pt>
                <c:pt idx="2839" formatCode="#,##0_);\(#,##0\);&quot;-  &quot;;&quot; &quot;@&quot; &quot;">
                  <c:v>90.63</c:v>
                </c:pt>
                <c:pt idx="2840" formatCode="#,##0_);\(#,##0\);&quot;-  &quot;;&quot; &quot;@&quot; &quot;">
                  <c:v>89.81</c:v>
                </c:pt>
                <c:pt idx="2841" formatCode="#,##0_);\(#,##0\);&quot;-  &quot;;&quot; &quot;@&quot; &quot;">
                  <c:v>89.08</c:v>
                </c:pt>
                <c:pt idx="2842" formatCode="#,##0_);\(#,##0\);&quot;-  &quot;;&quot; &quot;@&quot; &quot;">
                  <c:v>89.2</c:v>
                </c:pt>
                <c:pt idx="2843" formatCode="#,##0_);\(#,##0\);&quot;-  &quot;;&quot; &quot;@&quot; &quot;">
                  <c:v>89.26</c:v>
                </c:pt>
                <c:pt idx="2844" formatCode="#,##0_);\(#,##0\);&quot;-  &quot;;&quot; &quot;@&quot; &quot;">
                  <c:v>89.06</c:v>
                </c:pt>
                <c:pt idx="2845" formatCode="#,##0_);\(#,##0\);&quot;-  &quot;;&quot; &quot;@&quot; &quot;">
                  <c:v>90.26</c:v>
                </c:pt>
                <c:pt idx="2846" formatCode="#,##0_);\(#,##0\);&quot;-  &quot;;&quot; &quot;@&quot; &quot;">
                  <c:v>92.18</c:v>
                </c:pt>
                <c:pt idx="2847" formatCode="#,##0_);\(#,##0\);&quot;-  &quot;;&quot; &quot;@&quot; &quot;">
                  <c:v>92.62</c:v>
                </c:pt>
                <c:pt idx="2848" formatCode="#,##0_);\(#,##0\);&quot;-  &quot;;&quot; &quot;@&quot; &quot;">
                  <c:v>93.84</c:v>
                </c:pt>
                <c:pt idx="2849" formatCode="#,##0_);\(#,##0\);&quot;-  &quot;;&quot; &quot;@&quot; &quot;">
                  <c:v>94.16</c:v>
                </c:pt>
                <c:pt idx="2850" formatCode="#,##0_);\(#,##0\);&quot;-  &quot;;&quot; &quot;@&quot; &quot;">
                  <c:v>94.49</c:v>
                </c:pt>
                <c:pt idx="2851" formatCode="#,##0_);\(#,##0\);&quot;-  &quot;;&quot; &quot;@&quot; &quot;">
                  <c:v>94.32</c:v>
                </c:pt>
                <c:pt idx="2852" formatCode="#,##0_);\(#,##0\);&quot;-  &quot;;&quot; &quot;@&quot; &quot;">
                  <c:v>93.73</c:v>
                </c:pt>
                <c:pt idx="2853" formatCode="#,##0_);\(#,##0\);&quot;-  &quot;;&quot; &quot;@&quot; &quot;">
                  <c:v>93.69</c:v>
                </c:pt>
                <c:pt idx="2854" formatCode="#,##0_);\(#,##0\);&quot;-  &quot;;&quot; &quot;@&quot; &quot;">
                  <c:v>96.93</c:v>
                </c:pt>
                <c:pt idx="2855" formatCode="#,##0_);\(#,##0\);&quot;-  &quot;;&quot; &quot;@&quot; &quot;">
                  <c:v>99.28</c:v>
                </c:pt>
                <c:pt idx="2856" formatCode="#,##0_);\(#,##0\);&quot;-  &quot;;&quot; &quot;@&quot; &quot;">
                  <c:v>98.24</c:v>
                </c:pt>
                <c:pt idx="2857" formatCode="#,##0_);\(#,##0\);&quot;-  &quot;;&quot; &quot;@&quot; &quot;">
                  <c:v>100.65</c:v>
                </c:pt>
                <c:pt idx="2858" formatCode="#,##0_);\(#,##0\);&quot;-  &quot;;&quot; &quot;@&quot; &quot;">
                  <c:v>100.41</c:v>
                </c:pt>
                <c:pt idx="2859" formatCode="#,##0_);\(#,##0\);&quot;-  &quot;;&quot; &quot;@&quot; &quot;">
                  <c:v>100.97</c:v>
                </c:pt>
                <c:pt idx="2860" formatCode="#,##0_);\(#,##0\);&quot;-  &quot;;&quot; &quot;@&quot; &quot;">
                  <c:v>100.62</c:v>
                </c:pt>
                <c:pt idx="2861" formatCode="#,##0_);\(#,##0\);&quot;-  &quot;;&quot; &quot;@&quot; &quot;">
                  <c:v>98.96</c:v>
                </c:pt>
                <c:pt idx="2862" formatCode="#,##0_);\(#,##0\);&quot;-  &quot;;&quot; &quot;@&quot; &quot;">
                  <c:v>96.97</c:v>
                </c:pt>
                <c:pt idx="2863" formatCode="#,##0_);\(#,##0\);&quot;-  &quot;;&quot; &quot;@&quot; &quot;">
                  <c:v>96.2</c:v>
                </c:pt>
                <c:pt idx="2864" formatCode="#,##0_);\(#,##0\);&quot;-  &quot;;&quot; &quot;@&quot; &quot;">
                  <c:v>96.84</c:v>
                </c:pt>
                <c:pt idx="2865" formatCode="#,##0_);\(#,##0\);&quot;-  &quot;;&quot; &quot;@&quot; &quot;">
                  <c:v>94.63</c:v>
                </c:pt>
                <c:pt idx="2866" formatCode="#,##0_);\(#,##0\);&quot;-  &quot;;&quot; &quot;@&quot; &quot;">
                  <c:v>94.34</c:v>
                </c:pt>
                <c:pt idx="2867" formatCode="#,##0_);\(#,##0\);&quot;-  &quot;;&quot; &quot;@&quot; &quot;">
                  <c:v>94.78</c:v>
                </c:pt>
                <c:pt idx="2868" formatCode="#,##0_);\(#,##0\);&quot;-  &quot;;&quot; &quot;@&quot; &quot;">
                  <c:v>95.31</c:v>
                </c:pt>
                <c:pt idx="2869" formatCode="#,##0_);\(#,##0\);&quot;-  &quot;;&quot; &quot;@&quot; &quot;">
                  <c:v>95.61</c:v>
                </c:pt>
                <c:pt idx="2870" formatCode="#,##0_);\(#,##0\);&quot;-  &quot;;&quot; &quot;@&quot; &quot;">
                  <c:v>97.34</c:v>
                </c:pt>
                <c:pt idx="2871" formatCode="#,##0_);\(#,##0\);&quot;-  &quot;;&quot; &quot;@&quot; &quot;">
                  <c:v>96.17</c:v>
                </c:pt>
                <c:pt idx="2872" formatCode="#,##0_);\(#,##0\);&quot;-  &quot;;&quot; &quot;@&quot; &quot;">
                  <c:v>95.08</c:v>
                </c:pt>
                <c:pt idx="2873" formatCode="#,##0_);\(#,##0\);&quot;-  &quot;;&quot; &quot;@&quot; &quot;">
                  <c:v>94.52</c:v>
                </c:pt>
                <c:pt idx="2874" formatCode="#,##0_);\(#,##0\);&quot;-  &quot;;&quot; &quot;@&quot; &quot;">
                  <c:v>95.03</c:v>
                </c:pt>
                <c:pt idx="2875" formatCode="#,##0_);\(#,##0\);&quot;-  &quot;;&quot; &quot;@&quot; &quot;">
                  <c:v>95.81</c:v>
                </c:pt>
                <c:pt idx="2876" formatCode="#,##0_);\(#,##0\);&quot;-  &quot;;&quot; &quot;@&quot; &quot;">
                  <c:v>97.8</c:v>
                </c:pt>
                <c:pt idx="2877" formatCode="#,##0_);\(#,##0\);&quot;-  &quot;;&quot; &quot;@&quot; &quot;">
                  <c:v>96.4</c:v>
                </c:pt>
                <c:pt idx="2878" formatCode="#,##0_);\(#,##0\);&quot;-  &quot;;&quot; &quot;@&quot; &quot;">
                  <c:v>95.14</c:v>
                </c:pt>
                <c:pt idx="2879" formatCode="#,##0_);\(#,##0\);&quot;-  &quot;;&quot; &quot;@&quot; &quot;">
                  <c:v>95.41</c:v>
                </c:pt>
                <c:pt idx="2880" formatCode="#,##0_);\(#,##0\);&quot;-  &quot;;&quot; &quot;@&quot; &quot;">
                  <c:v>95.15</c:v>
                </c:pt>
                <c:pt idx="2881" formatCode="#,##0_);\(#,##0\);&quot;-  &quot;;&quot; &quot;@&quot; &quot;">
                  <c:v>95.03</c:v>
                </c:pt>
                <c:pt idx="2882" formatCode="#,##0_);\(#,##0\);&quot;-  &quot;;&quot; &quot;@&quot; &quot;">
                  <c:v>95.24</c:v>
                </c:pt>
                <c:pt idx="2883" formatCode="#,##0_);\(#,##0\);&quot;-  &quot;;&quot; &quot;@&quot; &quot;">
                  <c:v>96.08</c:v>
                </c:pt>
                <c:pt idx="2884" formatCode="#,##0_);\(#,##0\);&quot;-  &quot;;&quot; &quot;@&quot; &quot;">
                  <c:v>94.34</c:v>
                </c:pt>
                <c:pt idx="2885" formatCode="#,##0_);\(#,##0\);&quot;-  &quot;;&quot; &quot;@&quot; &quot;">
                  <c:v>93.39</c:v>
                </c:pt>
                <c:pt idx="2886" formatCode="#,##0_);\(#,##0\);&quot;-  &quot;;&quot; &quot;@&quot; &quot;">
                  <c:v>91.94</c:v>
                </c:pt>
                <c:pt idx="2887" formatCode="#,##0_);\(#,##0\);&quot;-  &quot;;&quot; &quot;@&quot; &quot;">
                  <c:v>90.33</c:v>
                </c:pt>
                <c:pt idx="2888" formatCode="#,##0_);\(#,##0\);&quot;-  &quot;;&quot; &quot;@&quot; &quot;">
                  <c:v>91.2</c:v>
                </c:pt>
                <c:pt idx="2889" formatCode="#,##0_);\(#,##0\);&quot;-  &quot;;&quot; &quot;@&quot; &quot;">
                  <c:v>90.44</c:v>
                </c:pt>
                <c:pt idx="2890" formatCode="#,##0_);\(#,##0\);&quot;-  &quot;;&quot; &quot;@&quot; &quot;">
                  <c:v>89.19</c:v>
                </c:pt>
                <c:pt idx="2891" formatCode="#,##0_);\(#,##0\);&quot;-  &quot;;&quot; &quot;@&quot; &quot;">
                  <c:v>88.88</c:v>
                </c:pt>
                <c:pt idx="2892" formatCode="#,##0_);\(#,##0\);&quot;-  &quot;;&quot; &quot;@&quot; &quot;">
                  <c:v>87.32</c:v>
                </c:pt>
                <c:pt idx="2893" formatCode="#,##0_);\(#,##0\);&quot;-  &quot;;&quot; &quot;@&quot; &quot;">
                  <c:v>87.33</c:v>
                </c:pt>
                <c:pt idx="2894" formatCode="#,##0_);\(#,##0\);&quot;-  &quot;;&quot; &quot;@&quot; &quot;">
                  <c:v>87.25</c:v>
                </c:pt>
                <c:pt idx="2895" formatCode="#,##0_);\(#,##0\);&quot;-  &quot;;&quot; &quot;@&quot; &quot;">
                  <c:v>86.18</c:v>
                </c:pt>
                <c:pt idx="2896" formatCode="#,##0_);\(#,##0\);&quot;-  &quot;;&quot; &quot;@&quot; &quot;">
                  <c:v>86.42</c:v>
                </c:pt>
                <c:pt idx="2897" formatCode="#,##0_);\(#,##0\);&quot;-  &quot;;&quot; &quot;@&quot; &quot;">
                  <c:v>87.12</c:v>
                </c:pt>
                <c:pt idx="2898" formatCode="#,##0_);\(#,##0\);&quot;-  &quot;;&quot; &quot;@&quot; &quot;">
                  <c:v>86.82</c:v>
                </c:pt>
                <c:pt idx="2899" formatCode="#,##0_);\(#,##0\);&quot;-  &quot;;&quot; &quot;@&quot; &quot;">
                  <c:v>86.9</c:v>
                </c:pt>
                <c:pt idx="2900" formatCode="#,##0_);\(#,##0\);&quot;-  &quot;;&quot; &quot;@&quot; &quot;">
                  <c:v>87.93</c:v>
                </c:pt>
                <c:pt idx="2901" formatCode="#,##0_);\(#,##0\);&quot;-  &quot;;&quot; &quot;@&quot; &quot;">
                  <c:v>87.95</c:v>
                </c:pt>
                <c:pt idx="2902" formatCode="#,##0_);\(#,##0\);&quot;-  &quot;;&quot; &quot;@&quot; &quot;">
                  <c:v>88.43</c:v>
                </c:pt>
                <c:pt idx="2903" formatCode="#,##0_);\(#,##0\);&quot;-  &quot;;&quot; &quot;@&quot; &quot;">
                  <c:v>89.42</c:v>
                </c:pt>
                <c:pt idx="2904" formatCode="#,##0_);\(#,##0\);&quot;-  &quot;;&quot; &quot;@&quot; &quot;">
                  <c:v>89.67</c:v>
                </c:pt>
                <c:pt idx="2905" formatCode="#,##0_);\(#,##0\);&quot;-  &quot;;&quot; &quot;@&quot; &quot;">
                  <c:v>90.03</c:v>
                </c:pt>
                <c:pt idx="2906" formatCode="#,##0_);\(#,##0\);&quot;-  &quot;;&quot; &quot;@&quot; &quot;">
                  <c:v>91.13</c:v>
                </c:pt>
                <c:pt idx="2907" formatCode="#,##0_);\(#,##0\);&quot;-  &quot;;&quot; &quot;@&quot; &quot;">
                  <c:v>92.43</c:v>
                </c:pt>
                <c:pt idx="2908" formatCode="#,##0_);\(#,##0\);&quot;-  &quot;;&quot; &quot;@&quot; &quot;">
                  <c:v>91.84</c:v>
                </c:pt>
                <c:pt idx="2909" formatCode="#,##0_);\(#,##0\);&quot;-  &quot;;&quot; &quot;@&quot; &quot;">
                  <c:v>91.32</c:v>
                </c:pt>
                <c:pt idx="2910" formatCode="#,##0_);\(#,##0\);&quot;-  &quot;;&quot; &quot;@&quot; &quot;">
                  <c:v>92.81</c:v>
                </c:pt>
                <c:pt idx="2911" formatCode="#,##0_);\(#,##0\);&quot;-  &quot;;&quot; &quot;@&quot; &quot;">
                  <c:v>93.37</c:v>
                </c:pt>
                <c:pt idx="2912" formatCode="#,##0_);\(#,##0\);&quot;-  &quot;;&quot; &quot;@&quot; &quot;">
                  <c:v>94.3</c:v>
                </c:pt>
                <c:pt idx="2913" formatCode="#,##0_);\(#,##0\);&quot;-  &quot;;&quot; &quot;@&quot; &quot;">
                  <c:v>90.2</c:v>
                </c:pt>
                <c:pt idx="2914" formatCode="#,##0_);\(#,##0\);&quot;-  &quot;;&quot; &quot;@&quot; &quot;">
                  <c:v>85.22</c:v>
                </c:pt>
                <c:pt idx="2915" formatCode="#,##0_);\(#,##0\);&quot;-  &quot;;&quot; &quot;@&quot; &quot;">
                  <c:v>83.07</c:v>
                </c:pt>
                <c:pt idx="2916" formatCode="#,##0_);\(#,##0\);&quot;-  &quot;;&quot; &quot;@&quot; &quot;">
                  <c:v>83.22</c:v>
                </c:pt>
                <c:pt idx="2917" formatCode="#,##0_);\(#,##0\);&quot;-  &quot;;&quot; &quot;@&quot; &quot;">
                  <c:v>82.5</c:v>
                </c:pt>
                <c:pt idx="2918" formatCode="#,##0_);\(#,##0\);&quot;-  &quot;;&quot; &quot;@&quot; &quot;">
                  <c:v>82.82</c:v>
                </c:pt>
                <c:pt idx="2919" formatCode="#,##0_);\(#,##0\);&quot;-  &quot;;&quot; &quot;@&quot; &quot;">
                  <c:v>82.95</c:v>
                </c:pt>
                <c:pt idx="2920" formatCode="#,##0_);\(#,##0\);&quot;-  &quot;;&quot; &quot;@&quot; &quot;">
                  <c:v>84.68</c:v>
                </c:pt>
                <c:pt idx="2921" formatCode="#,##0_);\(#,##0\);&quot;-  &quot;;&quot; &quot;@&quot; &quot;">
                  <c:v>84.17</c:v>
                </c:pt>
                <c:pt idx="2922" formatCode="#,##0_);\(#,##0\);&quot;-  &quot;;&quot; &quot;@&quot; &quot;">
                  <c:v>84.8</c:v>
                </c:pt>
                <c:pt idx="2923" formatCode="#,##0_);\(#,##0\);&quot;-  &quot;;&quot; &quot;@&quot; &quot;">
                  <c:v>85.9</c:v>
                </c:pt>
                <c:pt idx="2924" formatCode="#,##0_);\(#,##0\);&quot;-  &quot;;&quot; &quot;@&quot; &quot;">
                  <c:v>84.15</c:v>
                </c:pt>
                <c:pt idx="2925" formatCode="#,##0_);\(#,##0\);&quot;-  &quot;;&quot; &quot;@&quot; &quot;">
                  <c:v>84.76</c:v>
                </c:pt>
                <c:pt idx="2926" formatCode="#,##0_);\(#,##0\);&quot;-  &quot;;&quot; &quot;@&quot; &quot;">
                  <c:v>84.12</c:v>
                </c:pt>
                <c:pt idx="2927" formatCode="#,##0_);\(#,##0\);&quot;-  &quot;;&quot; &quot;@&quot; &quot;">
                  <c:v>84.72</c:v>
                </c:pt>
                <c:pt idx="2928" formatCode="#,##0_);\(#,##0\);&quot;-  &quot;;&quot; &quot;@&quot; &quot;">
                  <c:v>85.4</c:v>
                </c:pt>
                <c:pt idx="2929" formatCode="#,##0_);\(#,##0\);&quot;-  &quot;;&quot; &quot;@&quot; &quot;">
                  <c:v>84.9</c:v>
                </c:pt>
                <c:pt idx="2930" formatCode="#,##0_);\(#,##0\);&quot;-  &quot;;&quot; &quot;@&quot; &quot;">
                  <c:v>83.4</c:v>
                </c:pt>
                <c:pt idx="2931" formatCode="#,##0_);\(#,##0\);&quot;-  &quot;;&quot; &quot;@&quot; &quot;">
                  <c:v>81.069999999999993</c:v>
                </c:pt>
                <c:pt idx="2932" formatCode="#,##0_);\(#,##0\);&quot;-  &quot;;&quot; &quot;@&quot; &quot;">
                  <c:v>80.38</c:v>
                </c:pt>
                <c:pt idx="2933" formatCode="#,##0_);\(#,##0\);&quot;-  &quot;;&quot; &quot;@&quot; &quot;">
                  <c:v>79.27</c:v>
                </c:pt>
                <c:pt idx="2934" formatCode="#,##0_);\(#,##0\);&quot;-  &quot;;&quot; &quot;@&quot; &quot;">
                  <c:v>78.569999999999993</c:v>
                </c:pt>
                <c:pt idx="2935" formatCode="#,##0_);\(#,##0\);&quot;-  &quot;;&quot; &quot;@&quot; &quot;">
                  <c:v>79.900000000000006</c:v>
                </c:pt>
                <c:pt idx="2936" formatCode="#,##0_);\(#,##0\);&quot;-  &quot;;&quot; &quot;@&quot; &quot;">
                  <c:v>78.94</c:v>
                </c:pt>
                <c:pt idx="2937" formatCode="#,##0_);\(#,##0\);&quot;-  &quot;;&quot; &quot;@&quot; &quot;">
                  <c:v>79.930000000000007</c:v>
                </c:pt>
                <c:pt idx="2938" formatCode="#,##0_);\(#,##0\);&quot;-  &quot;;&quot; &quot;@&quot; &quot;">
                  <c:v>81.290000000000006</c:v>
                </c:pt>
                <c:pt idx="2939" formatCode="#,##0_);\(#,##0\);&quot;-  &quot;;&quot; &quot;@&quot; &quot;">
                  <c:v>82.25</c:v>
                </c:pt>
                <c:pt idx="2940" formatCode="#,##0_);\(#,##0\);&quot;-  &quot;;&quot; &quot;@&quot; &quot;">
                  <c:v>84.15</c:v>
                </c:pt>
                <c:pt idx="2941" formatCode="#,##0_);\(#,##0\);&quot;-  &quot;;&quot; &quot;@&quot; &quot;">
                  <c:v>85.05</c:v>
                </c:pt>
                <c:pt idx="2942" formatCode="#,##0_);\(#,##0\);&quot;-  &quot;;&quot; &quot;@&quot; &quot;">
                  <c:v>83.97</c:v>
                </c:pt>
                <c:pt idx="2943" formatCode="#,##0_);\(#,##0\);&quot;-  &quot;;&quot; &quot;@&quot; &quot;">
                  <c:v>83.4</c:v>
                </c:pt>
                <c:pt idx="2944" formatCode="#,##0_);\(#,##0\);&quot;-  &quot;;&quot; &quot;@&quot; &quot;">
                  <c:v>0</c:v>
                </c:pt>
                <c:pt idx="2945" formatCode="#,##0_);\(#,##0\);&quot;-  &quot;;&quot; &quot;@&quot; &quot;">
                  <c:v>0</c:v>
                </c:pt>
                <c:pt idx="2946" formatCode="#,##0_);\(#,##0\);&quot;-  &quot;;&quot; &quot;@&quot; &quot;">
                  <c:v>0</c:v>
                </c:pt>
                <c:pt idx="2947" formatCode="#,##0_);\(#,##0\);&quot;-  &quot;;&quot; &quot;@&quot; &quot;">
                  <c:v>0</c:v>
                </c:pt>
                <c:pt idx="2948" formatCode="#,##0_);\(#,##0\);&quot;-  &quot;;&quot; &quot;@&quot; &quot;">
                  <c:v>0</c:v>
                </c:pt>
                <c:pt idx="2949" formatCode="#,##0_);\(#,##0\);&quot;-  &quot;;&quot; &quot;@&quot; &quot;">
                  <c:v>0</c:v>
                </c:pt>
                <c:pt idx="2950" formatCode="#,##0_);\(#,##0\);&quot;-  &quot;;&quot; &quot;@&quot; &quot;">
                  <c:v>0</c:v>
                </c:pt>
                <c:pt idx="2951" formatCode="#,##0_);\(#,##0\);&quot;-  &quot;;&quot; &quot;@&quot; &quot;">
                  <c:v>0</c:v>
                </c:pt>
                <c:pt idx="2952" formatCode="#,##0_);\(#,##0\);&quot;-  &quot;;&quot; &quot;@&quot; &quot;">
                  <c:v>0</c:v>
                </c:pt>
                <c:pt idx="2953" formatCode="#,##0_);\(#,##0\);&quot;-  &quot;;&quot; &quot;@&quot; &quot;">
                  <c:v>0</c:v>
                </c:pt>
                <c:pt idx="2954" formatCode="#,##0_);\(#,##0\);&quot;-  &quot;;&quot; &quot;@&quot; &quot;">
                  <c:v>0</c:v>
                </c:pt>
                <c:pt idx="2955" formatCode="#,##0_);\(#,##0\);&quot;-  &quot;;&quot; &quot;@&quot; &quot;">
                  <c:v>0</c:v>
                </c:pt>
                <c:pt idx="2956" formatCode="#,##0_);\(#,##0\);&quot;-  &quot;;&quot; &quot;@&quot; &quot;">
                  <c:v>0</c:v>
                </c:pt>
                <c:pt idx="2957" formatCode="#,##0_);\(#,##0\);&quot;-  &quot;;&quot; &quot;@&quot; &quot;">
                  <c:v>0</c:v>
                </c:pt>
                <c:pt idx="2958" formatCode="#,##0_);\(#,##0\);&quot;-  &quot;;&quot; &quot;@&quot; &quot;">
                  <c:v>0</c:v>
                </c:pt>
                <c:pt idx="2959" formatCode="#,##0_);\(#,##0\);&quot;-  &quot;;&quot; &quot;@&quot; &quot;">
                  <c:v>0</c:v>
                </c:pt>
                <c:pt idx="2960" formatCode="#,##0_);\(#,##0\);&quot;-  &quot;;&quot; &quot;@&quot; &quot;">
                  <c:v>0</c:v>
                </c:pt>
                <c:pt idx="2961" formatCode="#,##0_);\(#,##0\);&quot;-  &quot;;&quot; &quot;@&quot; &quot;">
                  <c:v>0</c:v>
                </c:pt>
                <c:pt idx="2962" formatCode="#,##0_);\(#,##0\);&quot;-  &quot;;&quot; &quot;@&quot; &quot;">
                  <c:v>0</c:v>
                </c:pt>
                <c:pt idx="2963" formatCode="#,##0_);\(#,##0\);&quot;-  &quot;;&quot; &quot;@&quot; &quot;">
                  <c:v>0</c:v>
                </c:pt>
                <c:pt idx="2964" formatCode="#,##0_);\(#,##0\);&quot;-  &quot;;&quot; &quot;@&quot; &quot;">
                  <c:v>0</c:v>
                </c:pt>
                <c:pt idx="2965" formatCode="#,##0_);\(#,##0\);&quot;-  &quot;;&quot; &quot;@&quot; &quot;">
                  <c:v>0</c:v>
                </c:pt>
                <c:pt idx="2966" formatCode="#,##0_);\(#,##0\);&quot;-  &quot;;&quot; &quot;@&quot; &quot;">
                  <c:v>0</c:v>
                </c:pt>
                <c:pt idx="2967" formatCode="#,##0_);\(#,##0\);&quot;-  &quot;;&quot; &quot;@&quot; &quot;">
                  <c:v>0</c:v>
                </c:pt>
                <c:pt idx="2968" formatCode="#,##0_);\(#,##0\);&quot;-  &quot;;&quot; &quot;@&quot; &quot;">
                  <c:v>0</c:v>
                </c:pt>
                <c:pt idx="2969" formatCode="#,##0_);\(#,##0\);&quot;-  &quot;;&quot; &quot;@&quot; &quot;">
                  <c:v>0</c:v>
                </c:pt>
                <c:pt idx="2970" formatCode="#,##0_);\(#,##0\);&quot;-  &quot;;&quot; &quot;@&quot; &quot;">
                  <c:v>0</c:v>
                </c:pt>
                <c:pt idx="2971" formatCode="#,##0_);\(#,##0\);&quot;-  &quot;;&quot; &quot;@&quot; &quot;">
                  <c:v>0</c:v>
                </c:pt>
                <c:pt idx="2972" formatCode="#,##0_);\(#,##0\);&quot;-  &quot;;&quot; &quot;@&quot; &quot;">
                  <c:v>0</c:v>
                </c:pt>
                <c:pt idx="2973" formatCode="#,##0_);\(#,##0\);&quot;-  &quot;;&quot; &quot;@&quot; &quot;">
                  <c:v>0</c:v>
                </c:pt>
                <c:pt idx="2974" formatCode="#,##0_);\(#,##0\);&quot;-  &quot;;&quot; &quot;@&quot; &quot;">
                  <c:v>0</c:v>
                </c:pt>
                <c:pt idx="2975" formatCode="#,##0_);\(#,##0\);&quot;-  &quot;;&quot; &quot;@&quot; &quot;">
                  <c:v>0</c:v>
                </c:pt>
                <c:pt idx="2976" formatCode="#,##0_);\(#,##0\);&quot;-  &quot;;&quot; &quot;@&quot; &quot;">
                  <c:v>0</c:v>
                </c:pt>
                <c:pt idx="2977" formatCode="#,##0_);\(#,##0\);&quot;-  &quot;;&quot; &quot;@&quot; &quot;">
                  <c:v>0</c:v>
                </c:pt>
                <c:pt idx="2978" formatCode="#,##0_);\(#,##0\);&quot;-  &quot;;&quot; &quot;@&quot; &quot;">
                  <c:v>0</c:v>
                </c:pt>
                <c:pt idx="2979" formatCode="#,##0_);\(#,##0\);&quot;-  &quot;;&quot; &quot;@&quot; &quot;">
                  <c:v>0</c:v>
                </c:pt>
                <c:pt idx="2980" formatCode="#,##0_);\(#,##0\);&quot;-  &quot;;&quot; &quot;@&quot; &quot;">
                  <c:v>0</c:v>
                </c:pt>
                <c:pt idx="2981" formatCode="#,##0_);\(#,##0\);&quot;-  &quot;;&quot; &quot;@&quot; &quot;">
                  <c:v>0</c:v>
                </c:pt>
                <c:pt idx="2982" formatCode="#,##0_);\(#,##0\);&quot;-  &quot;;&quot; &quot;@&quot; &quot;">
                  <c:v>0</c:v>
                </c:pt>
                <c:pt idx="2983" formatCode="#,##0_);\(#,##0\);&quot;-  &quot;;&quot; &quot;@&quot; &quot;">
                  <c:v>0</c:v>
                </c:pt>
                <c:pt idx="2984" formatCode="#,##0_);\(#,##0\);&quot;-  &quot;;&quot; &quot;@&quot; &quot;">
                  <c:v>0</c:v>
                </c:pt>
                <c:pt idx="2985" formatCode="#,##0_);\(#,##0\);&quot;-  &quot;;&quot; &quot;@&quot; &quot;">
                  <c:v>0</c:v>
                </c:pt>
                <c:pt idx="2986" formatCode="#,##0_);\(#,##0\);&quot;-  &quot;;&quot; &quot;@&quot; &quot;">
                  <c:v>0</c:v>
                </c:pt>
                <c:pt idx="2987" formatCode="#,##0_);\(#,##0\);&quot;-  &quot;;&quot; &quot;@&quot; &quot;">
                  <c:v>0</c:v>
                </c:pt>
                <c:pt idx="2988" formatCode="#,##0_);\(#,##0\);&quot;-  &quot;;&quot; &quot;@&quot; &quot;">
                  <c:v>0</c:v>
                </c:pt>
                <c:pt idx="2989" formatCode="#,##0_);\(#,##0\);&quot;-  &quot;;&quot; &quot;@&quot; &quot;">
                  <c:v>0</c:v>
                </c:pt>
                <c:pt idx="2990" formatCode="#,##0_);\(#,##0\);&quot;-  &quot;;&quot; &quot;@&quot; &quot;">
                  <c:v>0</c:v>
                </c:pt>
                <c:pt idx="2991" formatCode="#,##0_);\(#,##0\);&quot;-  &quot;;&quot; &quot;@&quot; &quot;">
                  <c:v>0</c:v>
                </c:pt>
                <c:pt idx="2992" formatCode="#,##0_);\(#,##0\);&quot;-  &quot;;&quot; &quot;@&quot; &quot;">
                  <c:v>0</c:v>
                </c:pt>
                <c:pt idx="2993" formatCode="#,##0_);\(#,##0\);&quot;-  &quot;;&quot; &quot;@&quot; &quot;">
                  <c:v>0</c:v>
                </c:pt>
                <c:pt idx="2994" formatCode="#,##0_);\(#,##0\);&quot;-  &quot;;&quot; &quot;@&quot; &quot;">
                  <c:v>0</c:v>
                </c:pt>
                <c:pt idx="2995" formatCode="#,##0_);\(#,##0\);&quot;-  &quot;;&quot; &quot;@&quot; &quot;">
                  <c:v>0</c:v>
                </c:pt>
                <c:pt idx="2996" formatCode="#,##0_);\(#,##0\);&quot;-  &quot;;&quot; &quot;@&quot; &quot;">
                  <c:v>0</c:v>
                </c:pt>
                <c:pt idx="2997" formatCode="#,##0_);\(#,##0\);&quot;-  &quot;;&quot; &quot;@&quot; &quot;">
                  <c:v>0</c:v>
                </c:pt>
                <c:pt idx="2998" formatCode="#,##0_);\(#,##0\);&quot;-  &quot;;&quot; &quot;@&quot; &quot;">
                  <c:v>0</c:v>
                </c:pt>
                <c:pt idx="2999" formatCode="#,##0_);\(#,##0\);&quot;-  &quot;;&quot; &quot;@&quot; &quot;">
                  <c:v>0</c:v>
                </c:pt>
                <c:pt idx="3000" formatCode="#,##0_);\(#,##0\);&quot;-  &quot;;&quot; &quot;@&quot; &quot;">
                  <c:v>0</c:v>
                </c:pt>
                <c:pt idx="3001" formatCode="#,##0_);\(#,##0\);&quot;-  &quot;;&quot; &quot;@&quot; &quot;">
                  <c:v>0</c:v>
                </c:pt>
                <c:pt idx="3002" formatCode="#,##0_);\(#,##0\);&quot;-  &quot;;&quot; &quot;@&quot; &quot;">
                  <c:v>0</c:v>
                </c:pt>
                <c:pt idx="3003" formatCode="#,##0_);\(#,##0\);&quot;-  &quot;;&quot; &quot;@&quot; &quot;">
                  <c:v>0</c:v>
                </c:pt>
                <c:pt idx="3004" formatCode="#,##0_);\(#,##0\);&quot;-  &quot;;&quot; &quot;@&quot; &quot;">
                  <c:v>0</c:v>
                </c:pt>
                <c:pt idx="3005" formatCode="#,##0_);\(#,##0\);&quot;-  &quot;;&quot; &quot;@&quot; &quot;">
                  <c:v>0</c:v>
                </c:pt>
                <c:pt idx="3006" formatCode="#,##0_);\(#,##0\);&quot;-  &quot;;&quot; &quot;@&quot; &quot;">
                  <c:v>0</c:v>
                </c:pt>
                <c:pt idx="3007" formatCode="#,##0_);\(#,##0\);&quot;-  &quot;;&quot; &quot;@&quot; &quot;">
                  <c:v>0</c:v>
                </c:pt>
                <c:pt idx="3008" formatCode="#,##0_);\(#,##0\);&quot;-  &quot;;&quot; &quot;@&quot; &quot;">
                  <c:v>0</c:v>
                </c:pt>
                <c:pt idx="3009" formatCode="#,##0_);\(#,##0\);&quot;-  &quot;;&quot; &quot;@&quot; &quot;">
                  <c:v>0</c:v>
                </c:pt>
                <c:pt idx="3010" formatCode="#,##0_);\(#,##0\);&quot;-  &quot;;&quot; &quot;@&quot; &quot;">
                  <c:v>0</c:v>
                </c:pt>
                <c:pt idx="3011" formatCode="#,##0_);\(#,##0\);&quot;-  &quot;;&quot; &quot;@&quot; &quot;">
                  <c:v>0</c:v>
                </c:pt>
                <c:pt idx="3012" formatCode="#,##0_);\(#,##0\);&quot;-  &quot;;&quot; &quot;@&quot; &quot;">
                  <c:v>0</c:v>
                </c:pt>
                <c:pt idx="3013" formatCode="#,##0_);\(#,##0\);&quot;-  &quot;;&quot; &quot;@&quot; &quot;">
                  <c:v>0</c:v>
                </c:pt>
                <c:pt idx="3014" formatCode="#,##0_);\(#,##0\);&quot;-  &quot;;&quot; &quot;@&quot; &quot;">
                  <c:v>0</c:v>
                </c:pt>
                <c:pt idx="3015" formatCode="#,##0_);\(#,##0\);&quot;-  &quot;;&quot; &quot;@&quot; &quot;">
                  <c:v>0</c:v>
                </c:pt>
                <c:pt idx="3016" formatCode="#,##0_);\(#,##0\);&quot;-  &quot;;&quot; &quot;@&quot; &quot;">
                  <c:v>0</c:v>
                </c:pt>
                <c:pt idx="3017" formatCode="#,##0_);\(#,##0\);&quot;-  &quot;;&quot; &quot;@&quot; &quot;">
                  <c:v>0</c:v>
                </c:pt>
                <c:pt idx="3018" formatCode="#,##0_);\(#,##0\);&quot;-  &quot;;&quot; &quot;@&quot; &quot;">
                  <c:v>0</c:v>
                </c:pt>
                <c:pt idx="3019" formatCode="#,##0_);\(#,##0\);&quot;-  &quot;;&quot; &quot;@&quot; &quot;">
                  <c:v>0</c:v>
                </c:pt>
                <c:pt idx="3020" formatCode="#,##0_);\(#,##0\);&quot;-  &quot;;&quot; &quot;@&quot; &quot;">
                  <c:v>0</c:v>
                </c:pt>
                <c:pt idx="3021" formatCode="#,##0_);\(#,##0\);&quot;-  &quot;;&quot; &quot;@&quot; &quot;">
                  <c:v>0</c:v>
                </c:pt>
                <c:pt idx="3022" formatCode="#,##0_);\(#,##0\);&quot;-  &quot;;&quot; &quot;@&quot; &quot;">
                  <c:v>0</c:v>
                </c:pt>
                <c:pt idx="3023" formatCode="#,##0_);\(#,##0\);&quot;-  &quot;;&quot; &quot;@&quot; &quot;">
                  <c:v>0</c:v>
                </c:pt>
                <c:pt idx="3024" formatCode="#,##0_);\(#,##0\);&quot;-  &quot;;&quot; &quot;@&quot; &quot;">
                  <c:v>0</c:v>
                </c:pt>
                <c:pt idx="3025" formatCode="#,##0_);\(#,##0\);&quot;-  &quot;;&quot; &quot;@&quot; &quot;">
                  <c:v>0</c:v>
                </c:pt>
                <c:pt idx="3026" formatCode="#,##0_);\(#,##0\);&quot;-  &quot;;&quot; &quot;@&quot; &quot;">
                  <c:v>0</c:v>
                </c:pt>
                <c:pt idx="3027" formatCode="#,##0_);\(#,##0\);&quot;-  &quot;;&quot; &quot;@&quot; &quot;">
                  <c:v>0</c:v>
                </c:pt>
                <c:pt idx="3028" formatCode="#,##0_);\(#,##0\);&quot;-  &quot;;&quot; &quot;@&quot; &quot;">
                  <c:v>0</c:v>
                </c:pt>
                <c:pt idx="3029" formatCode="#,##0_);\(#,##0\);&quot;-  &quot;;&quot; &quot;@&quot; &quot;">
                  <c:v>0</c:v>
                </c:pt>
                <c:pt idx="3030" formatCode="#,##0_);\(#,##0\);&quot;-  &quot;;&quot; &quot;@&quot; &quot;">
                  <c:v>0</c:v>
                </c:pt>
                <c:pt idx="3031" formatCode="#,##0_);\(#,##0\);&quot;-  &quot;;&quot; &quot;@&quot; &quot;">
                  <c:v>0</c:v>
                </c:pt>
                <c:pt idx="3032" formatCode="#,##0_);\(#,##0\);&quot;-  &quot;;&quot; &quot;@&quot; &quot;">
                  <c:v>0</c:v>
                </c:pt>
                <c:pt idx="3033" formatCode="#,##0_);\(#,##0\);&quot;-  &quot;;&quot; &quot;@&quot; &quot;">
                  <c:v>0</c:v>
                </c:pt>
                <c:pt idx="3034" formatCode="#,##0_);\(#,##0\);&quot;-  &quot;;&quot; &quot;@&quot; &quot;">
                  <c:v>0</c:v>
                </c:pt>
                <c:pt idx="3035" formatCode="#,##0_);\(#,##0\);&quot;-  &quot;;&quot; &quot;@&quot; &quot;">
                  <c:v>0</c:v>
                </c:pt>
                <c:pt idx="3036" formatCode="#,##0_);\(#,##0\);&quot;-  &quot;;&quot; &quot;@&quot; &quot;">
                  <c:v>0</c:v>
                </c:pt>
                <c:pt idx="3037" formatCode="#,##0_);\(#,##0\);&quot;-  &quot;;&quot; &quot;@&quot; &quot;">
                  <c:v>0</c:v>
                </c:pt>
                <c:pt idx="3038" formatCode="#,##0_);\(#,##0\);&quot;-  &quot;;&quot; &quot;@&quot; &quot;">
                  <c:v>0</c:v>
                </c:pt>
                <c:pt idx="3039" formatCode="#,##0_);\(#,##0\);&quot;-  &quot;;&quot; &quot;@&quot; &quot;">
                  <c:v>0</c:v>
                </c:pt>
                <c:pt idx="3040" formatCode="#,##0_);\(#,##0\);&quot;-  &quot;;&quot; &quot;@&quot; &quot;">
                  <c:v>0</c:v>
                </c:pt>
                <c:pt idx="3041" formatCode="#,##0_);\(#,##0\);&quot;-  &quot;;&quot; &quot;@&quot; &quot;">
                  <c:v>0</c:v>
                </c:pt>
                <c:pt idx="3042" formatCode="#,##0_);\(#,##0\);&quot;-  &quot;;&quot; &quot;@&quot; &quot;">
                  <c:v>0</c:v>
                </c:pt>
                <c:pt idx="3043" formatCode="#,##0_);\(#,##0\);&quot;-  &quot;;&quot; &quot;@&quot; &quot;">
                  <c:v>0</c:v>
                </c:pt>
                <c:pt idx="3044" formatCode="#,##0_);\(#,##0\);&quot;-  &quot;;&quot; &quot;@&quot; &quot;">
                  <c:v>0</c:v>
                </c:pt>
                <c:pt idx="3045" formatCode="#,##0_);\(#,##0\);&quot;-  &quot;;&quot; &quot;@&quot; &quot;">
                  <c:v>0</c:v>
                </c:pt>
                <c:pt idx="3046" formatCode="#,##0_);\(#,##0\);&quot;-  &quot;;&quot; &quot;@&quot; &quot;">
                  <c:v>0</c:v>
                </c:pt>
                <c:pt idx="3047" formatCode="#,##0_);\(#,##0\);&quot;-  &quot;;&quot; &quot;@&quot; &quot;">
                  <c:v>0</c:v>
                </c:pt>
                <c:pt idx="3048" formatCode="#,##0_);\(#,##0\);&quot;-  &quot;;&quot; &quot;@&quot; &quot;">
                  <c:v>0</c:v>
                </c:pt>
                <c:pt idx="3049" formatCode="#,##0_);\(#,##0\);&quot;-  &quot;;&quot; &quot;@&quot; &quot;">
                  <c:v>0</c:v>
                </c:pt>
                <c:pt idx="3050" formatCode="#,##0_);\(#,##0\);&quot;-  &quot;;&quot; &quot;@&quot; &quot;">
                  <c:v>0</c:v>
                </c:pt>
                <c:pt idx="3051" formatCode="#,##0_);\(#,##0\);&quot;-  &quot;;&quot; &quot;@&quot; &quot;">
                  <c:v>0</c:v>
                </c:pt>
                <c:pt idx="3052" formatCode="#,##0_);\(#,##0\);&quot;-  &quot;;&quot; &quot;@&quot; &quot;">
                  <c:v>0</c:v>
                </c:pt>
                <c:pt idx="3053" formatCode="#,##0_);\(#,##0\);&quot;-  &quot;;&quot; &quot;@&quot; &quot;">
                  <c:v>0</c:v>
                </c:pt>
                <c:pt idx="3054" formatCode="#,##0_);\(#,##0\);&quot;-  &quot;;&quot; &quot;@&quot; &quot;">
                  <c:v>0</c:v>
                </c:pt>
                <c:pt idx="3055" formatCode="#,##0_);\(#,##0\);&quot;-  &quot;;&quot; &quot;@&quot; &quot;">
                  <c:v>0</c:v>
                </c:pt>
                <c:pt idx="3056" formatCode="#,##0_);\(#,##0\);&quot;-  &quot;;&quot; &quot;@&quot; &quot;">
                  <c:v>0</c:v>
                </c:pt>
                <c:pt idx="3057" formatCode="#,##0_);\(#,##0\);&quot;-  &quot;;&quot; &quot;@&quot; &quot;">
                  <c:v>0</c:v>
                </c:pt>
                <c:pt idx="3058" formatCode="#,##0_);\(#,##0\);&quot;-  &quot;;&quot; &quot;@&quot; &quot;">
                  <c:v>0</c:v>
                </c:pt>
                <c:pt idx="3059" formatCode="#,##0_);\(#,##0\);&quot;-  &quot;;&quot; &quot;@&quot; &quot;">
                  <c:v>0</c:v>
                </c:pt>
                <c:pt idx="3060" formatCode="#,##0_);\(#,##0\);&quot;-  &quot;;&quot; &quot;@&quot; &quot;">
                  <c:v>0</c:v>
                </c:pt>
                <c:pt idx="3061" formatCode="#,##0_);\(#,##0\);&quot;-  &quot;;&quot; &quot;@&quot; &quot;">
                  <c:v>0</c:v>
                </c:pt>
                <c:pt idx="3062" formatCode="#,##0_);\(#,##0\);&quot;-  &quot;;&quot; &quot;@&quot; &quot;">
                  <c:v>0</c:v>
                </c:pt>
                <c:pt idx="3063" formatCode="#,##0_);\(#,##0\);&quot;-  &quot;;&quot; &quot;@&quot; &quot;">
                  <c:v>0</c:v>
                </c:pt>
                <c:pt idx="3064" formatCode="#,##0_);\(#,##0\);&quot;-  &quot;;&quot; &quot;@&quot; &quot;">
                  <c:v>0</c:v>
                </c:pt>
                <c:pt idx="3065" formatCode="#,##0_);\(#,##0\);&quot;-  &quot;;&quot; &quot;@&quot; &quot;">
                  <c:v>0</c:v>
                </c:pt>
                <c:pt idx="3066" formatCode="#,##0_);\(#,##0\);&quot;-  &quot;;&quot; &quot;@&quot; &quot;">
                  <c:v>0</c:v>
                </c:pt>
                <c:pt idx="3067" formatCode="#,##0_);\(#,##0\);&quot;-  &quot;;&quot; &quot;@&quot; &quot;">
                  <c:v>0</c:v>
                </c:pt>
                <c:pt idx="3068" formatCode="#,##0_);\(#,##0\);&quot;-  &quot;;&quot; &quot;@&quot; &quot;">
                  <c:v>0</c:v>
                </c:pt>
                <c:pt idx="3069" formatCode="#,##0_);\(#,##0\);&quot;-  &quot;;&quot; &quot;@&quot; &quot;">
                  <c:v>0</c:v>
                </c:pt>
                <c:pt idx="3070" formatCode="#,##0_);\(#,##0\);&quot;-  &quot;;&quot; &quot;@&quot; &quot;">
                  <c:v>0</c:v>
                </c:pt>
                <c:pt idx="3071" formatCode="#,##0_);\(#,##0\);&quot;-  &quot;;&quot; &quot;@&quot; &quot;">
                  <c:v>0</c:v>
                </c:pt>
                <c:pt idx="3072" formatCode="#,##0_);\(#,##0\);&quot;-  &quot;;&quot; &quot;@&quot; &quot;">
                  <c:v>0</c:v>
                </c:pt>
                <c:pt idx="3073" formatCode="#,##0_);\(#,##0\);&quot;-  &quot;;&quot; &quot;@&quot; &quot;">
                  <c:v>0</c:v>
                </c:pt>
                <c:pt idx="3074" formatCode="#,##0_);\(#,##0\);&quot;-  &quot;;&quot; &quot;@&quot; &quot;">
                  <c:v>0</c:v>
                </c:pt>
                <c:pt idx="3075" formatCode="#,##0_);\(#,##0\);&quot;-  &quot;;&quot; &quot;@&quot; &quot;">
                  <c:v>0</c:v>
                </c:pt>
                <c:pt idx="3076" formatCode="#,##0_);\(#,##0\);&quot;-  &quot;;&quot; &quot;@&quot; &quot;">
                  <c:v>0</c:v>
                </c:pt>
                <c:pt idx="3077" formatCode="#,##0_);\(#,##0\);&quot;-  &quot;;&quot; &quot;@&quot; &quot;">
                  <c:v>0</c:v>
                </c:pt>
                <c:pt idx="3078" formatCode="#,##0_);\(#,##0\);&quot;-  &quot;;&quot; &quot;@&quot; &quot;">
                  <c:v>0</c:v>
                </c:pt>
                <c:pt idx="3079" formatCode="#,##0_);\(#,##0\);&quot;-  &quot;;&quot; &quot;@&quot; &quot;">
                  <c:v>0</c:v>
                </c:pt>
                <c:pt idx="3080" formatCode="#,##0_);\(#,##0\);&quot;-  &quot;;&quot; &quot;@&quot; &quot;">
                  <c:v>0</c:v>
                </c:pt>
                <c:pt idx="3081" formatCode="#,##0_);\(#,##0\);&quot;-  &quot;;&quot; &quot;@&quot; &quot;">
                  <c:v>0</c:v>
                </c:pt>
                <c:pt idx="3082" formatCode="#,##0_);\(#,##0\);&quot;-  &quot;;&quot; &quot;@&quot; &quot;">
                  <c:v>0</c:v>
                </c:pt>
                <c:pt idx="3083" formatCode="#,##0_);\(#,##0\);&quot;-  &quot;;&quot; &quot;@&quot; &quot;">
                  <c:v>0</c:v>
                </c:pt>
                <c:pt idx="3084" formatCode="#,##0_);\(#,##0\);&quot;-  &quot;;&quot; &quot;@&quot; &quot;">
                  <c:v>0</c:v>
                </c:pt>
                <c:pt idx="3085" formatCode="#,##0_);\(#,##0\);&quot;-  &quot;;&quot; &quot;@&quot; &quot;">
                  <c:v>0</c:v>
                </c:pt>
                <c:pt idx="3086" formatCode="#,##0_);\(#,##0\);&quot;-  &quot;;&quot; &quot;@&quot; &quot;">
                  <c:v>0</c:v>
                </c:pt>
                <c:pt idx="3087" formatCode="#,##0_);\(#,##0\);&quot;-  &quot;;&quot; &quot;@&quot; &quot;">
                  <c:v>0</c:v>
                </c:pt>
                <c:pt idx="3088" formatCode="#,##0_);\(#,##0\);&quot;-  &quot;;&quot; &quot;@&quot; &quot;">
                  <c:v>0</c:v>
                </c:pt>
                <c:pt idx="3089" formatCode="#,##0_);\(#,##0\);&quot;-  &quot;;&quot; &quot;@&quot; &quot;">
                  <c:v>0</c:v>
                </c:pt>
                <c:pt idx="3090" formatCode="#,##0_);\(#,##0\);&quot;-  &quot;;&quot; &quot;@&quot; &quot;">
                  <c:v>0</c:v>
                </c:pt>
                <c:pt idx="3091" formatCode="#,##0_);\(#,##0\);&quot;-  &quot;;&quot; &quot;@&quot; &quot;">
                  <c:v>0</c:v>
                </c:pt>
                <c:pt idx="3092" formatCode="#,##0_);\(#,##0\);&quot;-  &quot;;&quot; &quot;@&quot; &quot;">
                  <c:v>0</c:v>
                </c:pt>
                <c:pt idx="3093" formatCode="#,##0_);\(#,##0\);&quot;-  &quot;;&quot; &quot;@&quot; &quot;">
                  <c:v>0</c:v>
                </c:pt>
                <c:pt idx="3094" formatCode="#,##0_);\(#,##0\);&quot;-  &quot;;&quot; &quot;@&quot; &quot;">
                  <c:v>0</c:v>
                </c:pt>
                <c:pt idx="3095" formatCode="#,##0_);\(#,##0\);&quot;-  &quot;;&quot; &quot;@&quot; &quot;">
                  <c:v>0</c:v>
                </c:pt>
                <c:pt idx="3096" formatCode="#,##0_);\(#,##0\);&quot;-  &quot;;&quot; &quot;@&quot; &quot;">
                  <c:v>0</c:v>
                </c:pt>
                <c:pt idx="3097" formatCode="#,##0_);\(#,##0\);&quot;-  &quot;;&quot; &quot;@&quot; &quot;">
                  <c:v>0</c:v>
                </c:pt>
                <c:pt idx="3098" formatCode="#,##0_);\(#,##0\);&quot;-  &quot;;&quot; &quot;@&quot; &quot;">
                  <c:v>0</c:v>
                </c:pt>
                <c:pt idx="3099" formatCode="#,##0_);\(#,##0\);&quot;-  &quot;;&quot; &quot;@&quot; &quot;">
                  <c:v>0</c:v>
                </c:pt>
                <c:pt idx="3100" formatCode="#,##0_);\(#,##0\);&quot;-  &quot;;&quot; &quot;@&quot; &quot;">
                  <c:v>0</c:v>
                </c:pt>
                <c:pt idx="3101" formatCode="#,##0_);\(#,##0\);&quot;-  &quot;;&quot; &quot;@&quot; &quot;">
                  <c:v>0</c:v>
                </c:pt>
                <c:pt idx="3102" formatCode="#,##0_);\(#,##0\);&quot;-  &quot;;&quot; &quot;@&quot; &quot;">
                  <c:v>0</c:v>
                </c:pt>
                <c:pt idx="3103" formatCode="#,##0_);\(#,##0\);&quot;-  &quot;;&quot; &quot;@&quot; &quot;">
                  <c:v>0</c:v>
                </c:pt>
                <c:pt idx="3104" formatCode="#,##0_);\(#,##0\);&quot;-  &quot;;&quot; &quot;@&quot; &quot;">
                  <c:v>0</c:v>
                </c:pt>
                <c:pt idx="3105" formatCode="#,##0_);\(#,##0\);&quot;-  &quot;;&quot; &quot;@&quot; &quot;">
                  <c:v>0</c:v>
                </c:pt>
                <c:pt idx="3106" formatCode="#,##0_);\(#,##0\);&quot;-  &quot;;&quot; &quot;@&quot; &quot;">
                  <c:v>0</c:v>
                </c:pt>
                <c:pt idx="3107" formatCode="#,##0_);\(#,##0\);&quot;-  &quot;;&quot; &quot;@&quot; &quot;">
                  <c:v>0</c:v>
                </c:pt>
                <c:pt idx="3108" formatCode="#,##0_);\(#,##0\);&quot;-  &quot;;&quot; &quot;@&quot; &quot;">
                  <c:v>0</c:v>
                </c:pt>
                <c:pt idx="3109" formatCode="#,##0_);\(#,##0\);&quot;-  &quot;;&quot; &quot;@&quot; &quot;">
                  <c:v>0</c:v>
                </c:pt>
                <c:pt idx="3110" formatCode="#,##0_);\(#,##0\);&quot;-  &quot;;&quot; &quot;@&quot; &quot;">
                  <c:v>0</c:v>
                </c:pt>
                <c:pt idx="3111" formatCode="#,##0_);\(#,##0\);&quot;-  &quot;;&quot; &quot;@&quot; &quot;">
                  <c:v>0</c:v>
                </c:pt>
                <c:pt idx="3112" formatCode="#,##0_);\(#,##0\);&quot;-  &quot;;&quot; &quot;@&quot; &quot;">
                  <c:v>0</c:v>
                </c:pt>
                <c:pt idx="3113" formatCode="#,##0_);\(#,##0\);&quot;-  &quot;;&quot; &quot;@&quot; &quot;">
                  <c:v>0</c:v>
                </c:pt>
                <c:pt idx="3114" formatCode="#,##0_);\(#,##0\);&quot;-  &quot;;&quot; &quot;@&quot; &quot;">
                  <c:v>0</c:v>
                </c:pt>
                <c:pt idx="3115" formatCode="#,##0_);\(#,##0\);&quot;-  &quot;;&quot; &quot;@&quot; &quot;">
                  <c:v>0</c:v>
                </c:pt>
                <c:pt idx="3116" formatCode="#,##0_);\(#,##0\);&quot;-  &quot;;&quot; &quot;@&quot; &quot;">
                  <c:v>0</c:v>
                </c:pt>
                <c:pt idx="3117" formatCode="#,##0_);\(#,##0\);&quot;-  &quot;;&quot; &quot;@&quot; &quot;">
                  <c:v>0</c:v>
                </c:pt>
                <c:pt idx="3118" formatCode="#,##0_);\(#,##0\);&quot;-  &quot;;&quot; &quot;@&quot; &quot;">
                  <c:v>0</c:v>
                </c:pt>
                <c:pt idx="3119" formatCode="#,##0_);\(#,##0\);&quot;-  &quot;;&quot; &quot;@&quot; &quot;">
                  <c:v>0</c:v>
                </c:pt>
                <c:pt idx="3120" formatCode="#,##0_);\(#,##0\);&quot;-  &quot;;&quot; &quot;@&quot; &quot;">
                  <c:v>0</c:v>
                </c:pt>
                <c:pt idx="3121" formatCode="#,##0_);\(#,##0\);&quot;-  &quot;;&quot; &quot;@&quot; &quot;">
                  <c:v>0</c:v>
                </c:pt>
                <c:pt idx="3122" formatCode="#,##0_);\(#,##0\);&quot;-  &quot;;&quot; &quot;@&quot; &quot;">
                  <c:v>0</c:v>
                </c:pt>
                <c:pt idx="3123" formatCode="#,##0_);\(#,##0\);&quot;-  &quot;;&quot; &quot;@&quot; &quot;">
                  <c:v>0</c:v>
                </c:pt>
                <c:pt idx="3124" formatCode="#,##0_);\(#,##0\);&quot;-  &quot;;&quot; &quot;@&quot; &quot;">
                  <c:v>0</c:v>
                </c:pt>
                <c:pt idx="3125" formatCode="#,##0_);\(#,##0\);&quot;-  &quot;;&quot; &quot;@&quot; &quot;">
                  <c:v>0</c:v>
                </c:pt>
                <c:pt idx="3126" formatCode="#,##0_);\(#,##0\);&quot;-  &quot;;&quot; &quot;@&quot; &quot;">
                  <c:v>0</c:v>
                </c:pt>
                <c:pt idx="3127" formatCode="#,##0_);\(#,##0\);&quot;-  &quot;;&quot; &quot;@&quot; &quot;">
                  <c:v>0</c:v>
                </c:pt>
                <c:pt idx="3128" formatCode="#,##0_);\(#,##0\);&quot;-  &quot;;&quot; &quot;@&quot; &quot;">
                  <c:v>0</c:v>
                </c:pt>
                <c:pt idx="3129" formatCode="#,##0_);\(#,##0\);&quot;-  &quot;;&quot; &quot;@&quot; &quot;">
                  <c:v>0</c:v>
                </c:pt>
                <c:pt idx="3130" formatCode="#,##0_);\(#,##0\);&quot;-  &quot;;&quot; &quot;@&quot; &quot;">
                  <c:v>0</c:v>
                </c:pt>
                <c:pt idx="3131" formatCode="#,##0_);\(#,##0\);&quot;-  &quot;;&quot; &quot;@&quot; &quot;">
                  <c:v>0</c:v>
                </c:pt>
                <c:pt idx="3132" formatCode="#,##0_);\(#,##0\);&quot;-  &quot;;&quot; &quot;@&quot; &quot;">
                  <c:v>0</c:v>
                </c:pt>
                <c:pt idx="3133" formatCode="#,##0_);\(#,##0\);&quot;-  &quot;;&quot; &quot;@&quot; &quot;">
                  <c:v>0</c:v>
                </c:pt>
                <c:pt idx="3134" formatCode="#,##0_);\(#,##0\);&quot;-  &quot;;&quot; &quot;@&quot; &quot;">
                  <c:v>0</c:v>
                </c:pt>
                <c:pt idx="3135" formatCode="#,##0_);\(#,##0\);&quot;-  &quot;;&quot; &quot;@&quot; &quot;">
                  <c:v>0</c:v>
                </c:pt>
                <c:pt idx="3136" formatCode="#,##0_);\(#,##0\);&quot;-  &quot;;&quot; &quot;@&quot; &quot;">
                  <c:v>0</c:v>
                </c:pt>
                <c:pt idx="3137" formatCode="#,##0_);\(#,##0\);&quot;-  &quot;;&quot; &quot;@&quot; &quot;">
                  <c:v>0</c:v>
                </c:pt>
                <c:pt idx="3138" formatCode="#,##0_);\(#,##0\);&quot;-  &quot;;&quot; &quot;@&quot; &quot;">
                  <c:v>0</c:v>
                </c:pt>
                <c:pt idx="3139" formatCode="#,##0_);\(#,##0\);&quot;-  &quot;;&quot; &quot;@&quot; &quot;">
                  <c:v>0</c:v>
                </c:pt>
                <c:pt idx="3140" formatCode="#,##0_);\(#,##0\);&quot;-  &quot;;&quot; &quot;@&quot; &quot;">
                  <c:v>0</c:v>
                </c:pt>
                <c:pt idx="3141" formatCode="#,##0_);\(#,##0\);&quot;-  &quot;;&quot; &quot;@&quot; &quot;">
                  <c:v>0</c:v>
                </c:pt>
                <c:pt idx="3142" formatCode="#,##0_);\(#,##0\);&quot;-  &quot;;&quot; &quot;@&quot; &quot;">
                  <c:v>0</c:v>
                </c:pt>
                <c:pt idx="3143" formatCode="#,##0_);\(#,##0\);&quot;-  &quot;;&quot; &quot;@&quot; &quot;">
                  <c:v>0</c:v>
                </c:pt>
                <c:pt idx="3144" formatCode="#,##0_);\(#,##0\);&quot;-  &quot;;&quot; &quot;@&quot; &quot;">
                  <c:v>0</c:v>
                </c:pt>
                <c:pt idx="3145" formatCode="#,##0_);\(#,##0\);&quot;-  &quot;;&quot; &quot;@&quot; &quot;">
                  <c:v>0</c:v>
                </c:pt>
                <c:pt idx="3146" formatCode="#,##0_);\(#,##0\);&quot;-  &quot;;&quot; &quot;@&quot; &quot;">
                  <c:v>0</c:v>
                </c:pt>
                <c:pt idx="3147" formatCode="#,##0_);\(#,##0\);&quot;-  &quot;;&quot; &quot;@&quot; &quot;">
                  <c:v>0</c:v>
                </c:pt>
                <c:pt idx="3148" formatCode="#,##0_);\(#,##0\);&quot;-  &quot;;&quot; &quot;@&quot; &quot;">
                  <c:v>0</c:v>
                </c:pt>
                <c:pt idx="3149" formatCode="#,##0_);\(#,##0\);&quot;-  &quot;;&quot; &quot;@&quot; &quot;">
                  <c:v>0</c:v>
                </c:pt>
                <c:pt idx="3150" formatCode="#,##0_);\(#,##0\);&quot;-  &quot;;&quot; &quot;@&quot; &quot;">
                  <c:v>0</c:v>
                </c:pt>
                <c:pt idx="3151" formatCode="#,##0_);\(#,##0\);&quot;-  &quot;;&quot; &quot;@&quot; &quot;">
                  <c:v>0</c:v>
                </c:pt>
                <c:pt idx="3152" formatCode="#,##0_);\(#,##0\);&quot;-  &quot;;&quot; &quot;@&quot; &quot;">
                  <c:v>0</c:v>
                </c:pt>
                <c:pt idx="3153" formatCode="#,##0_);\(#,##0\);&quot;-  &quot;;&quot; &quot;@&quot; &quot;">
                  <c:v>0</c:v>
                </c:pt>
                <c:pt idx="3154" formatCode="#,##0_);\(#,##0\);&quot;-  &quot;;&quot; &quot;@&quot; &quot;">
                  <c:v>0</c:v>
                </c:pt>
                <c:pt idx="3155" formatCode="#,##0_);\(#,##0\);&quot;-  &quot;;&quot; &quot;@&quot; &quot;">
                  <c:v>0</c:v>
                </c:pt>
                <c:pt idx="3156" formatCode="#,##0_);\(#,##0\);&quot;-  &quot;;&quot; &quot;@&quot; &quot;">
                  <c:v>0</c:v>
                </c:pt>
                <c:pt idx="3157" formatCode="#,##0_);\(#,##0\);&quot;-  &quot;;&quot; &quot;@&quot; &quot;">
                  <c:v>0</c:v>
                </c:pt>
                <c:pt idx="3158" formatCode="#,##0_);\(#,##0\);&quot;-  &quot;;&quot; &quot;@&quot; &quot;">
                  <c:v>0</c:v>
                </c:pt>
                <c:pt idx="3159" formatCode="#,##0_);\(#,##0\);&quot;-  &quot;;&quot; &quot;@&quot; &quot;">
                  <c:v>0</c:v>
                </c:pt>
                <c:pt idx="3160" formatCode="#,##0_);\(#,##0\);&quot;-  &quot;;&quot; &quot;@&quot; &quot;">
                  <c:v>0</c:v>
                </c:pt>
                <c:pt idx="3161" formatCode="#,##0_);\(#,##0\);&quot;-  &quot;;&quot; &quot;@&quot; &quot;">
                  <c:v>0</c:v>
                </c:pt>
                <c:pt idx="3162" formatCode="#,##0_);\(#,##0\);&quot;-  &quot;;&quot; &quot;@&quot; &quot;">
                  <c:v>0</c:v>
                </c:pt>
                <c:pt idx="3163" formatCode="#,##0_);\(#,##0\);&quot;-  &quot;;&quot; &quot;@&quot; &quot;">
                  <c:v>0</c:v>
                </c:pt>
                <c:pt idx="3164" formatCode="#,##0_);\(#,##0\);&quot;-  &quot;;&quot; &quot;@&quot; &quot;">
                  <c:v>0</c:v>
                </c:pt>
                <c:pt idx="3165" formatCode="#,##0_);\(#,##0\);&quot;-  &quot;;&quot; &quot;@&quot; &quot;">
                  <c:v>0</c:v>
                </c:pt>
                <c:pt idx="3166" formatCode="#,##0_);\(#,##0\);&quot;-  &quot;;&quot; &quot;@&quot; &quot;">
                  <c:v>0</c:v>
                </c:pt>
                <c:pt idx="3167" formatCode="#,##0_);\(#,##0\);&quot;-  &quot;;&quot; &quot;@&quot; &quot;">
                  <c:v>0</c:v>
                </c:pt>
                <c:pt idx="3168" formatCode="#,##0_);\(#,##0\);&quot;-  &quot;;&quot; &quot;@&quot; &quot;">
                  <c:v>0</c:v>
                </c:pt>
                <c:pt idx="3169" formatCode="#,##0_);\(#,##0\);&quot;-  &quot;;&quot; &quot;@&quot; &quot;">
                  <c:v>0</c:v>
                </c:pt>
                <c:pt idx="3170" formatCode="#,##0_);\(#,##0\);&quot;-  &quot;;&quot; &quot;@&quot; &quot;">
                  <c:v>0</c:v>
                </c:pt>
                <c:pt idx="3171" formatCode="#,##0_);\(#,##0\);&quot;-  &quot;;&quot; &quot;@&quot; &quot;">
                  <c:v>0</c:v>
                </c:pt>
                <c:pt idx="3172" formatCode="#,##0_);\(#,##0\);&quot;-  &quot;;&quot; &quot;@&quot; &quot;">
                  <c:v>0</c:v>
                </c:pt>
                <c:pt idx="3173" formatCode="#,##0_);\(#,##0\);&quot;-  &quot;;&quot; &quot;@&quot; &quot;">
                  <c:v>0</c:v>
                </c:pt>
                <c:pt idx="3174" formatCode="#,##0_);\(#,##0\);&quot;-  &quot;;&quot; &quot;@&quot; &quot;">
                  <c:v>0</c:v>
                </c:pt>
                <c:pt idx="3175" formatCode="#,##0_);\(#,##0\);&quot;-  &quot;;&quot; &quot;@&quot; &quot;">
                  <c:v>0</c:v>
                </c:pt>
                <c:pt idx="3176" formatCode="#,##0_);\(#,##0\);&quot;-  &quot;;&quot; &quot;@&quot; &quot;">
                  <c:v>0</c:v>
                </c:pt>
                <c:pt idx="3177" formatCode="#,##0_);\(#,##0\);&quot;-  &quot;;&quot; &quot;@&quot; &quot;">
                  <c:v>0</c:v>
                </c:pt>
                <c:pt idx="3178" formatCode="#,##0_);\(#,##0\);&quot;-  &quot;;&quot; &quot;@&quot; &quot;">
                  <c:v>0</c:v>
                </c:pt>
                <c:pt idx="3179" formatCode="#,##0_);\(#,##0\);&quot;-  &quot;;&quot; &quot;@&quot; &quot;">
                  <c:v>0</c:v>
                </c:pt>
                <c:pt idx="3180" formatCode="#,##0_);\(#,##0\);&quot;-  &quot;;&quot; &quot;@&quot; &quot;">
                  <c:v>0</c:v>
                </c:pt>
                <c:pt idx="3181" formatCode="#,##0_);\(#,##0\);&quot;-  &quot;;&quot; &quot;@&quot; &quot;">
                  <c:v>0</c:v>
                </c:pt>
                <c:pt idx="3182" formatCode="#,##0_);\(#,##0\);&quot;-  &quot;;&quot; &quot;@&quot; &quot;">
                  <c:v>0</c:v>
                </c:pt>
                <c:pt idx="3183" formatCode="#,##0_);\(#,##0\);&quot;-  &quot;;&quot; &quot;@&quot; &quot;">
                  <c:v>0</c:v>
                </c:pt>
                <c:pt idx="3184" formatCode="#,##0_);\(#,##0\);&quot;-  &quot;;&quot; &quot;@&quot; &quot;">
                  <c:v>0</c:v>
                </c:pt>
                <c:pt idx="3185" formatCode="#,##0_);\(#,##0\);&quot;-  &quot;;&quot; &quot;@&quot; &quot;">
                  <c:v>0</c:v>
                </c:pt>
                <c:pt idx="3186" formatCode="#,##0_);\(#,##0\);&quot;-  &quot;;&quot; &quot;@&quot; &quot;">
                  <c:v>0</c:v>
                </c:pt>
                <c:pt idx="3187" formatCode="#,##0_);\(#,##0\);&quot;-  &quot;;&quot; &quot;@&quot; &quot;">
                  <c:v>0</c:v>
                </c:pt>
                <c:pt idx="3188" formatCode="#,##0_);\(#,##0\);&quot;-  &quot;;&quot; &quot;@&quot; &quot;">
                  <c:v>0</c:v>
                </c:pt>
                <c:pt idx="3189" formatCode="#,##0_);\(#,##0\);&quot;-  &quot;;&quot; &quot;@&quot; &quot;">
                  <c:v>0</c:v>
                </c:pt>
                <c:pt idx="3190" formatCode="#,##0_);\(#,##0\);&quot;-  &quot;;&quot; &quot;@&quot; &quot;">
                  <c:v>0</c:v>
                </c:pt>
                <c:pt idx="3191" formatCode="#,##0_);\(#,##0\);&quot;-  &quot;;&quot; &quot;@&quot; &quot;">
                  <c:v>0</c:v>
                </c:pt>
                <c:pt idx="3192" formatCode="#,##0_);\(#,##0\);&quot;-  &quot;;&quot; &quot;@&quot; &quot;">
                  <c:v>0</c:v>
                </c:pt>
                <c:pt idx="3193" formatCode="#,##0_);\(#,##0\);&quot;-  &quot;;&quot; &quot;@&quot; &quot;">
                  <c:v>0</c:v>
                </c:pt>
                <c:pt idx="3194" formatCode="#,##0_);\(#,##0\);&quot;-  &quot;;&quot; &quot;@&quot; &quot;">
                  <c:v>0</c:v>
                </c:pt>
                <c:pt idx="3195" formatCode="#,##0_);\(#,##0\);&quot;-  &quot;;&quot; &quot;@&quot; &quot;">
                  <c:v>0</c:v>
                </c:pt>
                <c:pt idx="3196" formatCode="#,##0_);\(#,##0\);&quot;-  &quot;;&quot; &quot;@&quot; &quot;">
                  <c:v>0</c:v>
                </c:pt>
                <c:pt idx="3197" formatCode="#,##0_);\(#,##0\);&quot;-  &quot;;&quot; &quot;@&quot; &quot;">
                  <c:v>0</c:v>
                </c:pt>
                <c:pt idx="3198" formatCode="#,##0_);\(#,##0\);&quot;-  &quot;;&quot; &quot;@&quot; &quot;">
                  <c:v>0</c:v>
                </c:pt>
                <c:pt idx="3199" formatCode="#,##0_);\(#,##0\);&quot;-  &quot;;&quot; &quot;@&quot; &quot;">
                  <c:v>0</c:v>
                </c:pt>
                <c:pt idx="3200" formatCode="#,##0_);\(#,##0\);&quot;-  &quot;;&quot; &quot;@&quot; &quot;">
                  <c:v>0</c:v>
                </c:pt>
                <c:pt idx="3201" formatCode="#,##0_);\(#,##0\);&quot;-  &quot;;&quot; &quot;@&quot; &quot;">
                  <c:v>0</c:v>
                </c:pt>
                <c:pt idx="3202" formatCode="#,##0_);\(#,##0\);&quot;-  &quot;;&quot; &quot;@&quot; &quot;">
                  <c:v>0</c:v>
                </c:pt>
                <c:pt idx="3203" formatCode="#,##0_);\(#,##0\);&quot;-  &quot;;&quot; &quot;@&quot; &quot;">
                  <c:v>0</c:v>
                </c:pt>
                <c:pt idx="3204" formatCode="#,##0_);\(#,##0\);&quot;-  &quot;;&quot; &quot;@&quot; &quot;">
                  <c:v>0</c:v>
                </c:pt>
                <c:pt idx="3205" formatCode="#,##0_);\(#,##0\);&quot;-  &quot;;&quot; &quot;@&quot; &quot;">
                  <c:v>0</c:v>
                </c:pt>
                <c:pt idx="3206" formatCode="#,##0_);\(#,##0\);&quot;-  &quot;;&quot; &quot;@&quot; &quot;">
                  <c:v>0</c:v>
                </c:pt>
                <c:pt idx="3207" formatCode="#,##0_);\(#,##0\);&quot;-  &quot;;&quot; &quot;@&quot; &quot;">
                  <c:v>0</c:v>
                </c:pt>
                <c:pt idx="3208" formatCode="#,##0_);\(#,##0\);&quot;-  &quot;;&quot; &quot;@&quot; &quot;">
                  <c:v>0</c:v>
                </c:pt>
                <c:pt idx="3209" formatCode="#,##0_);\(#,##0\);&quot;-  &quot;;&quot; &quot;@&quot; &quot;">
                  <c:v>0</c:v>
                </c:pt>
                <c:pt idx="3210" formatCode="#,##0_);\(#,##0\);&quot;-  &quot;;&quot; &quot;@&quot; &quot;">
                  <c:v>0</c:v>
                </c:pt>
                <c:pt idx="3211" formatCode="#,##0_);\(#,##0\);&quot;-  &quot;;&quot; &quot;@&quot; &quot;">
                  <c:v>0</c:v>
                </c:pt>
                <c:pt idx="3212" formatCode="#,##0_);\(#,##0\);&quot;-  &quot;;&quot; &quot;@&quot; &quot;">
                  <c:v>0</c:v>
                </c:pt>
                <c:pt idx="3213" formatCode="#,##0_);\(#,##0\);&quot;-  &quot;;&quot; &quot;@&quot; &quot;">
                  <c:v>0</c:v>
                </c:pt>
                <c:pt idx="3214" formatCode="#,##0_);\(#,##0\);&quot;-  &quot;;&quot; &quot;@&quot; &quot;">
                  <c:v>0</c:v>
                </c:pt>
                <c:pt idx="3215" formatCode="#,##0_);\(#,##0\);&quot;-  &quot;;&quot; &quot;@&quot; &quot;">
                  <c:v>0</c:v>
                </c:pt>
                <c:pt idx="3216" formatCode="#,##0_);\(#,##0\);&quot;-  &quot;;&quot; &quot;@&quot; &quot;">
                  <c:v>0</c:v>
                </c:pt>
                <c:pt idx="3217" formatCode="#,##0_);\(#,##0\);&quot;-  &quot;;&quot; &quot;@&quot; &quot;">
                  <c:v>0</c:v>
                </c:pt>
                <c:pt idx="3218" formatCode="#,##0_);\(#,##0\);&quot;-  &quot;;&quot; &quot;@&quot; &quot;">
                  <c:v>0</c:v>
                </c:pt>
                <c:pt idx="3219" formatCode="#,##0_);\(#,##0\);&quot;-  &quot;;&quot; &quot;@&quot; &quot;">
                  <c:v>0</c:v>
                </c:pt>
                <c:pt idx="3220" formatCode="#,##0_);\(#,##0\);&quot;-  &quot;;&quot; &quot;@&quot; &quot;">
                  <c:v>0</c:v>
                </c:pt>
                <c:pt idx="3221" formatCode="#,##0_);\(#,##0\);&quot;-  &quot;;&quot; &quot;@&quot; &quot;">
                  <c:v>0</c:v>
                </c:pt>
                <c:pt idx="3222" formatCode="#,##0_);\(#,##0\);&quot;-  &quot;;&quot; &quot;@&quot; &quot;">
                  <c:v>0</c:v>
                </c:pt>
                <c:pt idx="3223" formatCode="#,##0_);\(#,##0\);&quot;-  &quot;;&quot; &quot;@&quot; &quot;">
                  <c:v>0</c:v>
                </c:pt>
                <c:pt idx="3224" formatCode="#,##0_);\(#,##0\);&quot;-  &quot;;&quot; &quot;@&quot; &quot;">
                  <c:v>0</c:v>
                </c:pt>
                <c:pt idx="3225" formatCode="#,##0_);\(#,##0\);&quot;-  &quot;;&quot; &quot;@&quot; &quot;">
                  <c:v>0</c:v>
                </c:pt>
                <c:pt idx="3226" formatCode="#,##0_);\(#,##0\);&quot;-  &quot;;&quot; &quot;@&quot; &quot;">
                  <c:v>0</c:v>
                </c:pt>
                <c:pt idx="3227" formatCode="#,##0_);\(#,##0\);&quot;-  &quot;;&quot; &quot;@&quot; &quot;">
                  <c:v>0</c:v>
                </c:pt>
                <c:pt idx="3228" formatCode="#,##0_);\(#,##0\);&quot;-  &quot;;&quot; &quot;@&quot; &quot;">
                  <c:v>0</c:v>
                </c:pt>
                <c:pt idx="3229" formatCode="#,##0_);\(#,##0\);&quot;-  &quot;;&quot; &quot;@&quot; &quot;">
                  <c:v>0</c:v>
                </c:pt>
                <c:pt idx="3230" formatCode="#,##0_);\(#,##0\);&quot;-  &quot;;&quot; &quot;@&quot; &quot;">
                  <c:v>0</c:v>
                </c:pt>
                <c:pt idx="3231" formatCode="#,##0_);\(#,##0\);&quot;-  &quot;;&quot; &quot;@&quot; &quot;">
                  <c:v>0</c:v>
                </c:pt>
                <c:pt idx="3232" formatCode="#,##0_);\(#,##0\);&quot;-  &quot;;&quot; &quot;@&quot; &quot;">
                  <c:v>0</c:v>
                </c:pt>
                <c:pt idx="3233" formatCode="#,##0_);\(#,##0\);&quot;-  &quot;;&quot; &quot;@&quot; &quot;">
                  <c:v>0</c:v>
                </c:pt>
                <c:pt idx="3234" formatCode="#,##0_);\(#,##0\);&quot;-  &quot;;&quot; &quot;@&quot; &quot;">
                  <c:v>0</c:v>
                </c:pt>
                <c:pt idx="3235" formatCode="#,##0_);\(#,##0\);&quot;-  &quot;;&quot; &quot;@&quot; &quot;">
                  <c:v>0</c:v>
                </c:pt>
                <c:pt idx="3236" formatCode="#,##0_);\(#,##0\);&quot;-  &quot;;&quot; &quot;@&quot; &quot;">
                  <c:v>0</c:v>
                </c:pt>
                <c:pt idx="3237" formatCode="#,##0_);\(#,##0\);&quot;-  &quot;;&quot; &quot;@&quot; &quot;">
                  <c:v>0</c:v>
                </c:pt>
                <c:pt idx="3238" formatCode="#,##0_);\(#,##0\);&quot;-  &quot;;&quot; &quot;@&quot; &quot;">
                  <c:v>0</c:v>
                </c:pt>
                <c:pt idx="3239" formatCode="#,##0_);\(#,##0\);&quot;-  &quot;;&quot; &quot;@&quot; &quot;">
                  <c:v>0</c:v>
                </c:pt>
                <c:pt idx="3240" formatCode="#,##0_);\(#,##0\);&quot;-  &quot;;&quot; &quot;@&quot; &quot;">
                  <c:v>0</c:v>
                </c:pt>
                <c:pt idx="3241" formatCode="#,##0_);\(#,##0\);&quot;-  &quot;;&quot; &quot;@&quot; &quot;">
                  <c:v>0</c:v>
                </c:pt>
                <c:pt idx="3242" formatCode="#,##0_);\(#,##0\);&quot;-  &quot;;&quot; &quot;@&quot; &quot;">
                  <c:v>0</c:v>
                </c:pt>
                <c:pt idx="3243" formatCode="#,##0_);\(#,##0\);&quot;-  &quot;;&quot; &quot;@&quot; &quot;">
                  <c:v>0</c:v>
                </c:pt>
                <c:pt idx="3244" formatCode="#,##0_);\(#,##0\);&quot;-  &quot;;&quot; &quot;@&quot; &quot;">
                  <c:v>0</c:v>
                </c:pt>
                <c:pt idx="3245" formatCode="#,##0_);\(#,##0\);&quot;-  &quot;;&quot; &quot;@&quot; &quot;">
                  <c:v>0</c:v>
                </c:pt>
                <c:pt idx="3246" formatCode="#,##0_);\(#,##0\);&quot;-  &quot;;&quot; &quot;@&quot; &quot;">
                  <c:v>0</c:v>
                </c:pt>
                <c:pt idx="3247" formatCode="#,##0_);\(#,##0\);&quot;-  &quot;;&quot; &quot;@&quot; &quot;">
                  <c:v>0</c:v>
                </c:pt>
                <c:pt idx="3248" formatCode="#,##0_);\(#,##0\);&quot;-  &quot;;&quot; &quot;@&quot; &quot;">
                  <c:v>0</c:v>
                </c:pt>
                <c:pt idx="3249" formatCode="#,##0_);\(#,##0\);&quot;-  &quot;;&quot; &quot;@&quot; &quot;">
                  <c:v>0</c:v>
                </c:pt>
                <c:pt idx="3250" formatCode="#,##0_);\(#,##0\);&quot;-  &quot;;&quot; &quot;@&quot; &quot;">
                  <c:v>0</c:v>
                </c:pt>
                <c:pt idx="3251" formatCode="#,##0_);\(#,##0\);&quot;-  &quot;;&quot; &quot;@&quot; &quot;">
                  <c:v>0</c:v>
                </c:pt>
                <c:pt idx="3252" formatCode="#,##0_);\(#,##0\);&quot;-  &quot;;&quot; &quot;@&quot; &quot;">
                  <c:v>0</c:v>
                </c:pt>
                <c:pt idx="3253" formatCode="#,##0_);\(#,##0\);&quot;-  &quot;;&quot; &quot;@&quot; &quot;">
                  <c:v>0</c:v>
                </c:pt>
                <c:pt idx="3254" formatCode="#,##0_);\(#,##0\);&quot;-  &quot;;&quot; &quot;@&quot; &quot;">
                  <c:v>0</c:v>
                </c:pt>
                <c:pt idx="3255" formatCode="#,##0_);\(#,##0\);&quot;-  &quot;;&quot; &quot;@&quot; &quot;">
                  <c:v>0</c:v>
                </c:pt>
                <c:pt idx="3256" formatCode="#,##0_);\(#,##0\);&quot;-  &quot;;&quot; &quot;@&quot; &quot;">
                  <c:v>0</c:v>
                </c:pt>
                <c:pt idx="3257" formatCode="#,##0_);\(#,##0\);&quot;-  &quot;;&quot; &quot;@&quot; &quot;">
                  <c:v>0</c:v>
                </c:pt>
                <c:pt idx="3258" formatCode="#,##0_);\(#,##0\);&quot;-  &quot;;&quot; &quot;@&quot; &quot;">
                  <c:v>0</c:v>
                </c:pt>
                <c:pt idx="3259" formatCode="#,##0_);\(#,##0\);&quot;-  &quot;;&quot; &quot;@&quot; &quot;">
                  <c:v>0</c:v>
                </c:pt>
                <c:pt idx="3260" formatCode="#,##0_);\(#,##0\);&quot;-  &quot;;&quot; &quot;@&quot; &quot;">
                  <c:v>0</c:v>
                </c:pt>
                <c:pt idx="3261" formatCode="#,##0_);\(#,##0\);&quot;-  &quot;;&quot; &quot;@&quot; &quot;">
                  <c:v>0</c:v>
                </c:pt>
                <c:pt idx="3262" formatCode="#,##0_);\(#,##0\);&quot;-  &quot;;&quot; &quot;@&quot; &quot;">
                  <c:v>0</c:v>
                </c:pt>
                <c:pt idx="3263" formatCode="#,##0_);\(#,##0\);&quot;-  &quot;;&quot; &quot;@&quot; &quot;">
                  <c:v>0</c:v>
                </c:pt>
                <c:pt idx="3264" formatCode="#,##0_);\(#,##0\);&quot;-  &quot;;&quot; &quot;@&quot; &quot;">
                  <c:v>0</c:v>
                </c:pt>
                <c:pt idx="3265" formatCode="#,##0_);\(#,##0\);&quot;-  &quot;;&quot; &quot;@&quot; &quot;">
                  <c:v>0</c:v>
                </c:pt>
                <c:pt idx="3266" formatCode="#,##0_);\(#,##0\);&quot;-  &quot;;&quot; &quot;@&quot; &quot;">
                  <c:v>0</c:v>
                </c:pt>
                <c:pt idx="3267" formatCode="#,##0_);\(#,##0\);&quot;-  &quot;;&quot; &quot;@&quot; &quot;">
                  <c:v>0</c:v>
                </c:pt>
                <c:pt idx="3268" formatCode="#,##0_);\(#,##0\);&quot;-  &quot;;&quot; &quot;@&quot; &quot;">
                  <c:v>0</c:v>
                </c:pt>
                <c:pt idx="3269" formatCode="#,##0_);\(#,##0\);&quot;-  &quot;;&quot; &quot;@&quot; &quot;">
                  <c:v>0</c:v>
                </c:pt>
                <c:pt idx="3270" formatCode="#,##0_);\(#,##0\);&quot;-  &quot;;&quot; &quot;@&quot; &quot;">
                  <c:v>0</c:v>
                </c:pt>
                <c:pt idx="3271" formatCode="#,##0_);\(#,##0\);&quot;-  &quot;;&quot; &quot;@&quot; &quot;">
                  <c:v>0</c:v>
                </c:pt>
                <c:pt idx="3272" formatCode="#,##0_);\(#,##0\);&quot;-  &quot;;&quot; &quot;@&quot; &quot;">
                  <c:v>0</c:v>
                </c:pt>
                <c:pt idx="3273" formatCode="#,##0_);\(#,##0\);&quot;-  &quot;;&quot; &quot;@&quot; &quot;">
                  <c:v>0</c:v>
                </c:pt>
                <c:pt idx="3274" formatCode="#,##0_);\(#,##0\);&quot;-  &quot;;&quot; &quot;@&quot; &quot;">
                  <c:v>0</c:v>
                </c:pt>
                <c:pt idx="3275" formatCode="#,##0_);\(#,##0\);&quot;-  &quot;;&quot; &quot;@&quot; &quot;">
                  <c:v>0</c:v>
                </c:pt>
                <c:pt idx="3276" formatCode="#,##0_);\(#,##0\);&quot;-  &quot;;&quot; &quot;@&quot; &quot;">
                  <c:v>0</c:v>
                </c:pt>
                <c:pt idx="3277" formatCode="#,##0_);\(#,##0\);&quot;-  &quot;;&quot; &quot;@&quot; &quot;">
                  <c:v>0</c:v>
                </c:pt>
                <c:pt idx="3278" formatCode="#,##0_);\(#,##0\);&quot;-  &quot;;&quot; &quot;@&quot; &quot;">
                  <c:v>0</c:v>
                </c:pt>
                <c:pt idx="3279" formatCode="#,##0_);\(#,##0\);&quot;-  &quot;;&quot; &quot;@&quot; &quot;">
                  <c:v>0</c:v>
                </c:pt>
                <c:pt idx="3280" formatCode="#,##0_);\(#,##0\);&quot;-  &quot;;&quot; &quot;@&quot; &quot;">
                  <c:v>0</c:v>
                </c:pt>
                <c:pt idx="3281" formatCode="#,##0_);\(#,##0\);&quot;-  &quot;;&quot; &quot;@&quot; &quot;">
                  <c:v>0</c:v>
                </c:pt>
                <c:pt idx="3282" formatCode="#,##0_);\(#,##0\);&quot;-  &quot;;&quot; &quot;@&quot; &quot;">
                  <c:v>0</c:v>
                </c:pt>
                <c:pt idx="3283" formatCode="#,##0_);\(#,##0\);&quot;-  &quot;;&quot; &quot;@&quot; &quot;">
                  <c:v>0</c:v>
                </c:pt>
                <c:pt idx="3284" formatCode="#,##0_);\(#,##0\);&quot;-  &quot;;&quot; &quot;@&quot; &quot;">
                  <c:v>0</c:v>
                </c:pt>
                <c:pt idx="3285" formatCode="#,##0_);\(#,##0\);&quot;-  &quot;;&quot; &quot;@&quot; &quot;">
                  <c:v>0</c:v>
                </c:pt>
                <c:pt idx="3286" formatCode="#,##0_);\(#,##0\);&quot;-  &quot;;&quot; &quot;@&quot; &quot;">
                  <c:v>0</c:v>
                </c:pt>
                <c:pt idx="3287" formatCode="#,##0_);\(#,##0\);&quot;-  &quot;;&quot; &quot;@&quot; &quot;">
                  <c:v>0</c:v>
                </c:pt>
                <c:pt idx="3288" formatCode="#,##0_);\(#,##0\);&quot;-  &quot;;&quot; &quot;@&quot; &quot;">
                  <c:v>0</c:v>
                </c:pt>
                <c:pt idx="3289" formatCode="#,##0_);\(#,##0\);&quot;-  &quot;;&quot; &quot;@&quot; &quot;">
                  <c:v>0</c:v>
                </c:pt>
                <c:pt idx="3290" formatCode="#,##0_);\(#,##0\);&quot;-  &quot;;&quot; &quot;@&quot; &quot;">
                  <c:v>0</c:v>
                </c:pt>
                <c:pt idx="3291" formatCode="#,##0_);\(#,##0\);&quot;-  &quot;;&quot; &quot;@&quot; &quot;">
                  <c:v>0</c:v>
                </c:pt>
                <c:pt idx="3292" formatCode="#,##0_);\(#,##0\);&quot;-  &quot;;&quot; &quot;@&quot; &quot;">
                  <c:v>0</c:v>
                </c:pt>
                <c:pt idx="3293" formatCode="#,##0_);\(#,##0\);&quot;-  &quot;;&quot; &quot;@&quot; &quot;">
                  <c:v>0</c:v>
                </c:pt>
                <c:pt idx="3294" formatCode="#,##0_);\(#,##0\);&quot;-  &quot;;&quot; &quot;@&quot; &quot;">
                  <c:v>0</c:v>
                </c:pt>
                <c:pt idx="3295" formatCode="#,##0_);\(#,##0\);&quot;-  &quot;;&quot; &quot;@&quot; &quot;">
                  <c:v>0</c:v>
                </c:pt>
                <c:pt idx="3296" formatCode="#,##0_);\(#,##0\);&quot;-  &quot;;&quot; &quot;@&quot; &quot;">
                  <c:v>0</c:v>
                </c:pt>
                <c:pt idx="3297" formatCode="#,##0_);\(#,##0\);&quot;-  &quot;;&quot; &quot;@&quot; &quot;">
                  <c:v>0</c:v>
                </c:pt>
                <c:pt idx="3298" formatCode="#,##0_);\(#,##0\);&quot;-  &quot;;&quot; &quot;@&quot; &quot;">
                  <c:v>0</c:v>
                </c:pt>
                <c:pt idx="3299" formatCode="#,##0_);\(#,##0\);&quot;-  &quot;;&quot; &quot;@&quot; &quot;">
                  <c:v>0</c:v>
                </c:pt>
                <c:pt idx="3300" formatCode="#,##0_);\(#,##0\);&quot;-  &quot;;&quot; &quot;@&quot; &quot;">
                  <c:v>0</c:v>
                </c:pt>
                <c:pt idx="3301" formatCode="#,##0_);\(#,##0\);&quot;-  &quot;;&quot; &quot;@&quot; &quot;">
                  <c:v>0</c:v>
                </c:pt>
                <c:pt idx="3302" formatCode="#,##0_);\(#,##0\);&quot;-  &quot;;&quot; &quot;@&quot; &quot;">
                  <c:v>0</c:v>
                </c:pt>
                <c:pt idx="3303" formatCode="#,##0_);\(#,##0\);&quot;-  &quot;;&quot; &quot;@&quot; &quot;">
                  <c:v>0</c:v>
                </c:pt>
                <c:pt idx="3304" formatCode="#,##0_);\(#,##0\);&quot;-  &quot;;&quot; &quot;@&quot; &quot;">
                  <c:v>0</c:v>
                </c:pt>
                <c:pt idx="3305" formatCode="#,##0_);\(#,##0\);&quot;-  &quot;;&quot; &quot;@&quot; &quot;">
                  <c:v>0</c:v>
                </c:pt>
                <c:pt idx="3306" formatCode="#,##0_);\(#,##0\);&quot;-  &quot;;&quot; &quot;@&quot; &quot;">
                  <c:v>0</c:v>
                </c:pt>
                <c:pt idx="3307" formatCode="#,##0_);\(#,##0\);&quot;-  &quot;;&quot; &quot;@&quot; &quot;">
                  <c:v>0</c:v>
                </c:pt>
                <c:pt idx="3308" formatCode="#,##0_);\(#,##0\);&quot;-  &quot;;&quot; &quot;@&quot; &quot;">
                  <c:v>0</c:v>
                </c:pt>
                <c:pt idx="3309" formatCode="#,##0_);\(#,##0\);&quot;-  &quot;;&quot; &quot;@&quot; &quot;">
                  <c:v>0</c:v>
                </c:pt>
                <c:pt idx="3310" formatCode="#,##0_);\(#,##0\);&quot;-  &quot;;&quot; &quot;@&quot; &quot;">
                  <c:v>0</c:v>
                </c:pt>
                <c:pt idx="3311" formatCode="#,##0_);\(#,##0\);&quot;-  &quot;;&quot; &quot;@&quot; &quot;">
                  <c:v>0</c:v>
                </c:pt>
                <c:pt idx="3312" formatCode="#,##0_);\(#,##0\);&quot;-  &quot;;&quot; &quot;@&quot; &quot;">
                  <c:v>0</c:v>
                </c:pt>
                <c:pt idx="3313" formatCode="#,##0_);\(#,##0\);&quot;-  &quot;;&quot; &quot;@&quot; &quot;">
                  <c:v>0</c:v>
                </c:pt>
                <c:pt idx="3314" formatCode="#,##0_);\(#,##0\);&quot;-  &quot;;&quot; &quot;@&quot; &quot;">
                  <c:v>0</c:v>
                </c:pt>
                <c:pt idx="3315" formatCode="#,##0_);\(#,##0\);&quot;-  &quot;;&quot; &quot;@&quot; &quot;">
                  <c:v>0</c:v>
                </c:pt>
                <c:pt idx="3316" formatCode="#,##0_);\(#,##0\);&quot;-  &quot;;&quot; &quot;@&quot; &quot;">
                  <c:v>0</c:v>
                </c:pt>
                <c:pt idx="3317" formatCode="#,##0_);\(#,##0\);&quot;-  &quot;;&quot; &quot;@&quot; &quot;">
                  <c:v>0</c:v>
                </c:pt>
                <c:pt idx="3318" formatCode="#,##0_);\(#,##0\);&quot;-  &quot;;&quot; &quot;@&quot; &quot;">
                  <c:v>0</c:v>
                </c:pt>
                <c:pt idx="3319" formatCode="#,##0_);\(#,##0\);&quot;-  &quot;;&quot; &quot;@&quot; &quot;">
                  <c:v>0</c:v>
                </c:pt>
                <c:pt idx="3320" formatCode="#,##0_);\(#,##0\);&quot;-  &quot;;&quot; &quot;@&quot; &quot;">
                  <c:v>0</c:v>
                </c:pt>
                <c:pt idx="3321" formatCode="#,##0_);\(#,##0\);&quot;-  &quot;;&quot; &quot;@&quot; &quot;">
                  <c:v>0</c:v>
                </c:pt>
                <c:pt idx="3322" formatCode="#,##0_);\(#,##0\);&quot;-  &quot;;&quot; &quot;@&quot; &quot;">
                  <c:v>0</c:v>
                </c:pt>
                <c:pt idx="3323" formatCode="#,##0_);\(#,##0\);&quot;-  &quot;;&quot; &quot;@&quot; &quot;">
                  <c:v>0</c:v>
                </c:pt>
                <c:pt idx="3324" formatCode="#,##0_);\(#,##0\);&quot;-  &quot;;&quot; &quot;@&quot; &quot;">
                  <c:v>0</c:v>
                </c:pt>
                <c:pt idx="3325" formatCode="#,##0_);\(#,##0\);&quot;-  &quot;;&quot; &quot;@&quot; &quot;">
                  <c:v>0</c:v>
                </c:pt>
                <c:pt idx="3326" formatCode="#,##0_);\(#,##0\);&quot;-  &quot;;&quot; &quot;@&quot; &quot;">
                  <c:v>0</c:v>
                </c:pt>
                <c:pt idx="3327" formatCode="#,##0_);\(#,##0\);&quot;-  &quot;;&quot; &quot;@&quot; &quot;">
                  <c:v>0</c:v>
                </c:pt>
                <c:pt idx="3328" formatCode="#,##0_);\(#,##0\);&quot;-  &quot;;&quot; &quot;@&quot; &quot;">
                  <c:v>0</c:v>
                </c:pt>
                <c:pt idx="3329" formatCode="#,##0_);\(#,##0\);&quot;-  &quot;;&quot; &quot;@&quot; &quot;">
                  <c:v>0</c:v>
                </c:pt>
                <c:pt idx="3330" formatCode="#,##0_);\(#,##0\);&quot;-  &quot;;&quot; &quot;@&quot; &quot;">
                  <c:v>0</c:v>
                </c:pt>
                <c:pt idx="3331" formatCode="#,##0_);\(#,##0\);&quot;-  &quot;;&quot; &quot;@&quot; &quot;">
                  <c:v>0</c:v>
                </c:pt>
                <c:pt idx="3332" formatCode="#,##0_);\(#,##0\);&quot;-  &quot;;&quot; &quot;@&quot; &quot;">
                  <c:v>0</c:v>
                </c:pt>
                <c:pt idx="3333" formatCode="#,##0_);\(#,##0\);&quot;-  &quot;;&quot; &quot;@&quot; &quot;">
                  <c:v>0</c:v>
                </c:pt>
                <c:pt idx="3334" formatCode="#,##0_);\(#,##0\);&quot;-  &quot;;&quot; &quot;@&quot; &quot;">
                  <c:v>0</c:v>
                </c:pt>
                <c:pt idx="3335" formatCode="#,##0_);\(#,##0\);&quot;-  &quot;;&quot; &quot;@&quot; &quot;">
                  <c:v>0</c:v>
                </c:pt>
                <c:pt idx="3336" formatCode="#,##0_);\(#,##0\);&quot;-  &quot;;&quot; &quot;@&quot; &quot;">
                  <c:v>0</c:v>
                </c:pt>
                <c:pt idx="3337" formatCode="#,##0_);\(#,##0\);&quot;-  &quot;;&quot; &quot;@&quot; &quot;">
                  <c:v>0</c:v>
                </c:pt>
                <c:pt idx="3338" formatCode="#,##0_);\(#,##0\);&quot;-  &quot;;&quot; &quot;@&quot; &quot;">
                  <c:v>0</c:v>
                </c:pt>
                <c:pt idx="3339" formatCode="#,##0_);\(#,##0\);&quot;-  &quot;;&quot; &quot;@&quot; &quot;">
                  <c:v>0</c:v>
                </c:pt>
                <c:pt idx="3340" formatCode="#,##0_);\(#,##0\);&quot;-  &quot;;&quot; &quot;@&quot; &quot;">
                  <c:v>0</c:v>
                </c:pt>
                <c:pt idx="3341" formatCode="#,##0_);\(#,##0\);&quot;-  &quot;;&quot; &quot;@&quot; &quot;">
                  <c:v>0</c:v>
                </c:pt>
                <c:pt idx="3342" formatCode="#,##0_);\(#,##0\);&quot;-  &quot;;&quot; &quot;@&quot; &quot;">
                  <c:v>0</c:v>
                </c:pt>
                <c:pt idx="3343" formatCode="#,##0_);\(#,##0\);&quot;-  &quot;;&quot; &quot;@&quot; &quot;">
                  <c:v>0</c:v>
                </c:pt>
                <c:pt idx="3344" formatCode="#,##0_);\(#,##0\);&quot;-  &quot;;&quot; &quot;@&quot; &quot;">
                  <c:v>0</c:v>
                </c:pt>
                <c:pt idx="3345" formatCode="#,##0_);\(#,##0\);&quot;-  &quot;;&quot; &quot;@&quot; &quot;">
                  <c:v>0</c:v>
                </c:pt>
                <c:pt idx="3346" formatCode="#,##0_);\(#,##0\);&quot;-  &quot;;&quot; &quot;@&quot; &quot;">
                  <c:v>0</c:v>
                </c:pt>
                <c:pt idx="3347" formatCode="#,##0_);\(#,##0\);&quot;-  &quot;;&quot; &quot;@&quot; &quot;">
                  <c:v>0</c:v>
                </c:pt>
                <c:pt idx="3348" formatCode="#,##0_);\(#,##0\);&quot;-  &quot;;&quot; &quot;@&quot; &quot;">
                  <c:v>0</c:v>
                </c:pt>
                <c:pt idx="3349" formatCode="#,##0_);\(#,##0\);&quot;-  &quot;;&quot; &quot;@&quot; &quot;">
                  <c:v>0</c:v>
                </c:pt>
                <c:pt idx="3350" formatCode="#,##0_);\(#,##0\);&quot;-  &quot;;&quot; &quot;@&quot; &quot;">
                  <c:v>0</c:v>
                </c:pt>
                <c:pt idx="3351" formatCode="#,##0_);\(#,##0\);&quot;-  &quot;;&quot; &quot;@&quot; &quot;">
                  <c:v>0</c:v>
                </c:pt>
                <c:pt idx="3352" formatCode="#,##0_);\(#,##0\);&quot;-  &quot;;&quot; &quot;@&quot; &quot;">
                  <c:v>0</c:v>
                </c:pt>
                <c:pt idx="3353" formatCode="#,##0_);\(#,##0\);&quot;-  &quot;;&quot; &quot;@&quot; &quot;">
                  <c:v>0</c:v>
                </c:pt>
                <c:pt idx="3354" formatCode="#,##0_);\(#,##0\);&quot;-  &quot;;&quot; &quot;@&quot; &quot;">
                  <c:v>0</c:v>
                </c:pt>
                <c:pt idx="3355" formatCode="#,##0_);\(#,##0\);&quot;-  &quot;;&quot; &quot;@&quot; &quot;">
                  <c:v>0</c:v>
                </c:pt>
                <c:pt idx="3356" formatCode="#,##0_);\(#,##0\);&quot;-  &quot;;&quot; &quot;@&quot; &quot;">
                  <c:v>0</c:v>
                </c:pt>
                <c:pt idx="3357" formatCode="#,##0_);\(#,##0\);&quot;-  &quot;;&quot; &quot;@&quot; &quot;">
                  <c:v>0</c:v>
                </c:pt>
                <c:pt idx="3358" formatCode="#,##0_);\(#,##0\);&quot;-  &quot;;&quot; &quot;@&quot; &quot;">
                  <c:v>0</c:v>
                </c:pt>
                <c:pt idx="3359" formatCode="#,##0_);\(#,##0\);&quot;-  &quot;;&quot; &quot;@&quot; &quot;">
                  <c:v>0</c:v>
                </c:pt>
                <c:pt idx="3360" formatCode="#,##0_);\(#,##0\);&quot;-  &quot;;&quot; &quot;@&quot; &quot;">
                  <c:v>0</c:v>
                </c:pt>
                <c:pt idx="3361" formatCode="#,##0_);\(#,##0\);&quot;-  &quot;;&quot; &quot;@&quot; &quot;">
                  <c:v>0</c:v>
                </c:pt>
                <c:pt idx="3362" formatCode="#,##0_);\(#,##0\);&quot;-  &quot;;&quot; &quot;@&quot; &quot;">
                  <c:v>0</c:v>
                </c:pt>
                <c:pt idx="3363" formatCode="#,##0_);\(#,##0\);&quot;-  &quot;;&quot; &quot;@&quot; &quot;">
                  <c:v>0</c:v>
                </c:pt>
                <c:pt idx="3364" formatCode="#,##0_);\(#,##0\);&quot;-  &quot;;&quot; &quot;@&quot; &quot;">
                  <c:v>0</c:v>
                </c:pt>
                <c:pt idx="3365" formatCode="#,##0_);\(#,##0\);&quot;-  &quot;;&quot; &quot;@&quot; &quot;">
                  <c:v>0</c:v>
                </c:pt>
                <c:pt idx="3366" formatCode="#,##0_);\(#,##0\);&quot;-  &quot;;&quot; &quot;@&quot; &quot;">
                  <c:v>0</c:v>
                </c:pt>
                <c:pt idx="3367" formatCode="#,##0_);\(#,##0\);&quot;-  &quot;;&quot; &quot;@&quot; &quot;">
                  <c:v>0</c:v>
                </c:pt>
                <c:pt idx="3368" formatCode="#,##0_);\(#,##0\);&quot;-  &quot;;&quot; &quot;@&quot; &quot;">
                  <c:v>0</c:v>
                </c:pt>
                <c:pt idx="3369" formatCode="#,##0_);\(#,##0\);&quot;-  &quot;;&quot; &quot;@&quot; &quot;">
                  <c:v>0</c:v>
                </c:pt>
                <c:pt idx="3370" formatCode="#,##0_);\(#,##0\);&quot;-  &quot;;&quot; &quot;@&quot; &quot;">
                  <c:v>0</c:v>
                </c:pt>
                <c:pt idx="3371" formatCode="#,##0_);\(#,##0\);&quot;-  &quot;;&quot; &quot;@&quot; &quot;">
                  <c:v>0</c:v>
                </c:pt>
                <c:pt idx="3372" formatCode="#,##0_);\(#,##0\);&quot;-  &quot;;&quot; &quot;@&quot; &quot;">
                  <c:v>0</c:v>
                </c:pt>
                <c:pt idx="3373" formatCode="#,##0_);\(#,##0\);&quot;-  &quot;;&quot; &quot;@&quot; &quot;">
                  <c:v>0</c:v>
                </c:pt>
                <c:pt idx="3374" formatCode="#,##0_);\(#,##0\);&quot;-  &quot;;&quot; &quot;@&quot; &quot;">
                  <c:v>0</c:v>
                </c:pt>
                <c:pt idx="3375" formatCode="#,##0_);\(#,##0\);&quot;-  &quot;;&quot; &quot;@&quot; &quot;">
                  <c:v>0</c:v>
                </c:pt>
                <c:pt idx="3376" formatCode="#,##0_);\(#,##0\);&quot;-  &quot;;&quot; &quot;@&quot; &quot;">
                  <c:v>0</c:v>
                </c:pt>
                <c:pt idx="3377" formatCode="#,##0_);\(#,##0\);&quot;-  &quot;;&quot; &quot;@&quot; &quot;">
                  <c:v>0</c:v>
                </c:pt>
                <c:pt idx="3378" formatCode="#,##0_);\(#,##0\);&quot;-  &quot;;&quot; &quot;@&quot; &quot;">
                  <c:v>0</c:v>
                </c:pt>
                <c:pt idx="3379" formatCode="#,##0_);\(#,##0\);&quot;-  &quot;;&quot; &quot;@&quot; &quot;">
                  <c:v>0</c:v>
                </c:pt>
                <c:pt idx="3380" formatCode="#,##0_);\(#,##0\);&quot;-  &quot;;&quot; &quot;@&quot; &quot;">
                  <c:v>0</c:v>
                </c:pt>
                <c:pt idx="3381" formatCode="#,##0_);\(#,##0\);&quot;-  &quot;;&quot; &quot;@&quot; &quot;">
                  <c:v>0</c:v>
                </c:pt>
                <c:pt idx="3382" formatCode="#,##0_);\(#,##0\);&quot;-  &quot;;&quot; &quot;@&quot; &quot;">
                  <c:v>0</c:v>
                </c:pt>
                <c:pt idx="3383" formatCode="#,##0_);\(#,##0\);&quot;-  &quot;;&quot; &quot;@&quot; &quot;">
                  <c:v>0</c:v>
                </c:pt>
                <c:pt idx="3384" formatCode="#,##0_);\(#,##0\);&quot;-  &quot;;&quot; &quot;@&quot; &quot;">
                  <c:v>0</c:v>
                </c:pt>
                <c:pt idx="3385" formatCode="#,##0_);\(#,##0\);&quot;-  &quot;;&quot; &quot;@&quot; &quot;">
                  <c:v>0</c:v>
                </c:pt>
                <c:pt idx="3386" formatCode="#,##0_);\(#,##0\);&quot;-  &quot;;&quot; &quot;@&quot; &quot;">
                  <c:v>0</c:v>
                </c:pt>
                <c:pt idx="3387" formatCode="#,##0_);\(#,##0\);&quot;-  &quot;;&quot; &quot;@&quot; &quot;">
                  <c:v>0</c:v>
                </c:pt>
                <c:pt idx="3388" formatCode="#,##0_);\(#,##0\);&quot;-  &quot;;&quot; &quot;@&quot; &quot;">
                  <c:v>0</c:v>
                </c:pt>
                <c:pt idx="3389" formatCode="#,##0_);\(#,##0\);&quot;-  &quot;;&quot; &quot;@&quot; &quot;">
                  <c:v>0</c:v>
                </c:pt>
                <c:pt idx="3390" formatCode="#,##0_);\(#,##0\);&quot;-  &quot;;&quot; &quot;@&quot; &quot;">
                  <c:v>0</c:v>
                </c:pt>
                <c:pt idx="3391" formatCode="#,##0_);\(#,##0\);&quot;-  &quot;;&quot; &quot;@&quot; &quot;">
                  <c:v>0</c:v>
                </c:pt>
                <c:pt idx="3392" formatCode="#,##0_);\(#,##0\);&quot;-  &quot;;&quot; &quot;@&quot; &quot;">
                  <c:v>0</c:v>
                </c:pt>
                <c:pt idx="3393" formatCode="#,##0_);\(#,##0\);&quot;-  &quot;;&quot; &quot;@&quot; &quot;">
                  <c:v>0</c:v>
                </c:pt>
                <c:pt idx="3394" formatCode="#,##0_);\(#,##0\);&quot;-  &quot;;&quot; &quot;@&quot; &quot;">
                  <c:v>0</c:v>
                </c:pt>
                <c:pt idx="3395" formatCode="#,##0_);\(#,##0\);&quot;-  &quot;;&quot; &quot;@&quot; &quot;">
                  <c:v>0</c:v>
                </c:pt>
                <c:pt idx="3396" formatCode="#,##0_);\(#,##0\);&quot;-  &quot;;&quot; &quot;@&quot; &quot;">
                  <c:v>0</c:v>
                </c:pt>
                <c:pt idx="3397" formatCode="#,##0_);\(#,##0\);&quot;-  &quot;;&quot; &quot;@&quot; &quot;">
                  <c:v>0</c:v>
                </c:pt>
                <c:pt idx="3398" formatCode="#,##0_);\(#,##0\);&quot;-  &quot;;&quot; &quot;@&quot; &quot;">
                  <c:v>0</c:v>
                </c:pt>
                <c:pt idx="3399" formatCode="#,##0_);\(#,##0\);&quot;-  &quot;;&quot; &quot;@&quot; &quot;">
                  <c:v>0</c:v>
                </c:pt>
                <c:pt idx="3400" formatCode="#,##0_);\(#,##0\);&quot;-  &quot;;&quot; &quot;@&quot; &quot;">
                  <c:v>0</c:v>
                </c:pt>
                <c:pt idx="3401" formatCode="#,##0_);\(#,##0\);&quot;-  &quot;;&quot; &quot;@&quot; &quot;">
                  <c:v>0</c:v>
                </c:pt>
                <c:pt idx="3402" formatCode="#,##0_);\(#,##0\);&quot;-  &quot;;&quot; &quot;@&quot; &quot;">
                  <c:v>0</c:v>
                </c:pt>
                <c:pt idx="3403" formatCode="#,##0_);\(#,##0\);&quot;-  &quot;;&quot; &quot;@&quot; &quot;">
                  <c:v>0</c:v>
                </c:pt>
                <c:pt idx="3404" formatCode="#,##0_);\(#,##0\);&quot;-  &quot;;&quot; &quot;@&quot; &quot;">
                  <c:v>0</c:v>
                </c:pt>
                <c:pt idx="3405" formatCode="#,##0_);\(#,##0\);&quot;-  &quot;;&quot; &quot;@&quot; &quot;">
                  <c:v>0</c:v>
                </c:pt>
                <c:pt idx="3406" formatCode="#,##0_);\(#,##0\);&quot;-  &quot;;&quot; &quot;@&quot; &quot;">
                  <c:v>0</c:v>
                </c:pt>
                <c:pt idx="3407" formatCode="#,##0_);\(#,##0\);&quot;-  &quot;;&quot; &quot;@&quot; &quot;">
                  <c:v>0</c:v>
                </c:pt>
                <c:pt idx="3408" formatCode="#,##0_);\(#,##0\);&quot;-  &quot;;&quot; &quot;@&quot; &quot;">
                  <c:v>0</c:v>
                </c:pt>
                <c:pt idx="3409" formatCode="#,##0_);\(#,##0\);&quot;-  &quot;;&quot; &quot;@&quot; &quot;">
                  <c:v>0</c:v>
                </c:pt>
                <c:pt idx="3410" formatCode="#,##0_);\(#,##0\);&quot;-  &quot;;&quot; &quot;@&quot; &quot;">
                  <c:v>0</c:v>
                </c:pt>
                <c:pt idx="3411" formatCode="#,##0_);\(#,##0\);&quot;-  &quot;;&quot; &quot;@&quot; &quot;">
                  <c:v>0</c:v>
                </c:pt>
                <c:pt idx="3412" formatCode="#,##0_);\(#,##0\);&quot;-  &quot;;&quot; &quot;@&quot; &quot;">
                  <c:v>0</c:v>
                </c:pt>
                <c:pt idx="3413" formatCode="#,##0_);\(#,##0\);&quot;-  &quot;;&quot; &quot;@&quot; &quot;">
                  <c:v>0</c:v>
                </c:pt>
                <c:pt idx="3414" formatCode="#,##0_);\(#,##0\);&quot;-  &quot;;&quot; &quot;@&quot; &quot;">
                  <c:v>0</c:v>
                </c:pt>
                <c:pt idx="3415" formatCode="#,##0_);\(#,##0\);&quot;-  &quot;;&quot; &quot;@&quot; &quot;">
                  <c:v>0</c:v>
                </c:pt>
                <c:pt idx="3416" formatCode="#,##0_);\(#,##0\);&quot;-  &quot;;&quot; &quot;@&quot; &quot;">
                  <c:v>0</c:v>
                </c:pt>
                <c:pt idx="3417" formatCode="#,##0_);\(#,##0\);&quot;-  &quot;;&quot; &quot;@&quot; &quot;">
                  <c:v>0</c:v>
                </c:pt>
                <c:pt idx="3418" formatCode="#,##0_);\(#,##0\);&quot;-  &quot;;&quot; &quot;@&quot; &quot;">
                  <c:v>0</c:v>
                </c:pt>
                <c:pt idx="3419" formatCode="#,##0_);\(#,##0\);&quot;-  &quot;;&quot; &quot;@&quot; &quot;">
                  <c:v>0</c:v>
                </c:pt>
                <c:pt idx="3420" formatCode="#,##0_);\(#,##0\);&quot;-  &quot;;&quot; &quot;@&quot; &quot;">
                  <c:v>0</c:v>
                </c:pt>
                <c:pt idx="3421" formatCode="#,##0_);\(#,##0\);&quot;-  &quot;;&quot; &quot;@&quot; &quot;">
                  <c:v>0</c:v>
                </c:pt>
                <c:pt idx="3422" formatCode="#,##0_);\(#,##0\);&quot;-  &quot;;&quot; &quot;@&quot; &quot;">
                  <c:v>0</c:v>
                </c:pt>
                <c:pt idx="3423" formatCode="#,##0_);\(#,##0\);&quot;-  &quot;;&quot; &quot;@&quot; &quot;">
                  <c:v>0</c:v>
                </c:pt>
                <c:pt idx="3424" formatCode="#,##0_);\(#,##0\);&quot;-  &quot;;&quot; &quot;@&quot; &quot;">
                  <c:v>0</c:v>
                </c:pt>
                <c:pt idx="3425" formatCode="#,##0_);\(#,##0\);&quot;-  &quot;;&quot; &quot;@&quot; &quot;">
                  <c:v>0</c:v>
                </c:pt>
                <c:pt idx="3426" formatCode="#,##0_);\(#,##0\);&quot;-  &quot;;&quot; &quot;@&quot; &quot;">
                  <c:v>0</c:v>
                </c:pt>
                <c:pt idx="3427" formatCode="#,##0_);\(#,##0\);&quot;-  &quot;;&quot; &quot;@&quot; &quot;">
                  <c:v>0</c:v>
                </c:pt>
                <c:pt idx="3428" formatCode="#,##0_);\(#,##0\);&quot;-  &quot;;&quot; &quot;@&quot; &quot;">
                  <c:v>0</c:v>
                </c:pt>
                <c:pt idx="3429" formatCode="#,##0_);\(#,##0\);&quot;-  &quot;;&quot; &quot;@&quot; &quot;">
                  <c:v>0</c:v>
                </c:pt>
                <c:pt idx="3430" formatCode="#,##0_);\(#,##0\);&quot;-  &quot;;&quot; &quot;@&quot; &quot;">
                  <c:v>0</c:v>
                </c:pt>
                <c:pt idx="3431" formatCode="#,##0_);\(#,##0\);&quot;-  &quot;;&quot; &quot;@&quot; &quot;">
                  <c:v>0</c:v>
                </c:pt>
                <c:pt idx="3432" formatCode="#,##0_);\(#,##0\);&quot;-  &quot;;&quot; &quot;@&quot; &quot;">
                  <c:v>0</c:v>
                </c:pt>
                <c:pt idx="3433" formatCode="#,##0_);\(#,##0\);&quot;-  &quot;;&quot; &quot;@&quot; &quot;">
                  <c:v>0</c:v>
                </c:pt>
                <c:pt idx="3434" formatCode="#,##0_);\(#,##0\);&quot;-  &quot;;&quot; &quot;@&quot; &quot;">
                  <c:v>0</c:v>
                </c:pt>
                <c:pt idx="3435" formatCode="#,##0_);\(#,##0\);&quot;-  &quot;;&quot; &quot;@&quot; &quot;">
                  <c:v>0</c:v>
                </c:pt>
                <c:pt idx="3436" formatCode="#,##0_);\(#,##0\);&quot;-  &quot;;&quot; &quot;@&quot; &quot;">
                  <c:v>0</c:v>
                </c:pt>
                <c:pt idx="3437" formatCode="#,##0_);\(#,##0\);&quot;-  &quot;;&quot; &quot;@&quot; &quot;">
                  <c:v>0</c:v>
                </c:pt>
                <c:pt idx="3438" formatCode="#,##0_);\(#,##0\);&quot;-  &quot;;&quot; &quot;@&quot; &quot;">
                  <c:v>0</c:v>
                </c:pt>
                <c:pt idx="3439" formatCode="#,##0_);\(#,##0\);&quot;-  &quot;;&quot; &quot;@&quot; &quot;">
                  <c:v>0</c:v>
                </c:pt>
                <c:pt idx="3440" formatCode="#,##0_);\(#,##0\);&quot;-  &quot;;&quot; &quot;@&quot; &quot;">
                  <c:v>0</c:v>
                </c:pt>
                <c:pt idx="3441" formatCode="#,##0_);\(#,##0\);&quot;-  &quot;;&quot; &quot;@&quot; &quot;">
                  <c:v>0</c:v>
                </c:pt>
                <c:pt idx="3442" formatCode="#,##0_);\(#,##0\);&quot;-  &quot;;&quot; &quot;@&quot; &quot;">
                  <c:v>0</c:v>
                </c:pt>
                <c:pt idx="3443" formatCode="#,##0_);\(#,##0\);&quot;-  &quot;;&quot; &quot;@&quot; &quot;">
                  <c:v>0</c:v>
                </c:pt>
                <c:pt idx="3444" formatCode="#,##0_);\(#,##0\);&quot;-  &quot;;&quot; &quot;@&quot; &quot;">
                  <c:v>0</c:v>
                </c:pt>
                <c:pt idx="3445" formatCode="#,##0_);\(#,##0\);&quot;-  &quot;;&quot; &quot;@&quot; &quot;">
                  <c:v>0</c:v>
                </c:pt>
                <c:pt idx="3446" formatCode="#,##0_);\(#,##0\);&quot;-  &quot;;&quot; &quot;@&quot; &quot;">
                  <c:v>0</c:v>
                </c:pt>
                <c:pt idx="3447" formatCode="#,##0_);\(#,##0\);&quot;-  &quot;;&quot; &quot;@&quot; &quot;">
                  <c:v>0</c:v>
                </c:pt>
                <c:pt idx="3448" formatCode="#,##0_);\(#,##0\);&quot;-  &quot;;&quot; &quot;@&quot; &quot;">
                  <c:v>0</c:v>
                </c:pt>
                <c:pt idx="3449" formatCode="#,##0_);\(#,##0\);&quot;-  &quot;;&quot; &quot;@&quot; &quot;">
                  <c:v>0</c:v>
                </c:pt>
                <c:pt idx="3450" formatCode="#,##0_);\(#,##0\);&quot;-  &quot;;&quot; &quot;@&quot; &quot;">
                  <c:v>0</c:v>
                </c:pt>
                <c:pt idx="3451" formatCode="#,##0_);\(#,##0\);&quot;-  &quot;;&quot; &quot;@&quot; &quot;">
                  <c:v>0</c:v>
                </c:pt>
                <c:pt idx="3452" formatCode="#,##0_);\(#,##0\);&quot;-  &quot;;&quot; &quot;@&quot; &quot;">
                  <c:v>0</c:v>
                </c:pt>
                <c:pt idx="3453" formatCode="#,##0_);\(#,##0\);&quot;-  &quot;;&quot; &quot;@&quot; &quot;">
                  <c:v>0</c:v>
                </c:pt>
                <c:pt idx="3454" formatCode="#,##0_);\(#,##0\);&quot;-  &quot;;&quot; &quot;@&quot; &quot;">
                  <c:v>0</c:v>
                </c:pt>
                <c:pt idx="3455" formatCode="#,##0_);\(#,##0\);&quot;-  &quot;;&quot; &quot;@&quot; &quot;">
                  <c:v>0</c:v>
                </c:pt>
                <c:pt idx="3456" formatCode="#,##0_);\(#,##0\);&quot;-  &quot;;&quot; &quot;@&quot; &quot;">
                  <c:v>0</c:v>
                </c:pt>
                <c:pt idx="3457" formatCode="#,##0_);\(#,##0\);&quot;-  &quot;;&quot; &quot;@&quot; &quot;">
                  <c:v>0</c:v>
                </c:pt>
                <c:pt idx="3458" formatCode="#,##0_);\(#,##0\);&quot;-  &quot;;&quot; &quot;@&quot; &quot;">
                  <c:v>0</c:v>
                </c:pt>
                <c:pt idx="3459" formatCode="#,##0_);\(#,##0\);&quot;-  &quot;;&quot; &quot;@&quot; &quot;">
                  <c:v>0</c:v>
                </c:pt>
                <c:pt idx="3460" formatCode="#,##0_);\(#,##0\);&quot;-  &quot;;&quot; &quot;@&quot; &quot;">
                  <c:v>0</c:v>
                </c:pt>
                <c:pt idx="3461" formatCode="#,##0_);\(#,##0\);&quot;-  &quot;;&quot; &quot;@&quot; &quot;">
                  <c:v>0</c:v>
                </c:pt>
                <c:pt idx="3462" formatCode="#,##0_);\(#,##0\);&quot;-  &quot;;&quot; &quot;@&quot; &quot;">
                  <c:v>0</c:v>
                </c:pt>
                <c:pt idx="3463" formatCode="#,##0_);\(#,##0\);&quot;-  &quot;;&quot; &quot;@&quot; &quot;">
                  <c:v>0</c:v>
                </c:pt>
                <c:pt idx="3464" formatCode="#,##0_);\(#,##0\);&quot;-  &quot;;&quot; &quot;@&quot; &quot;">
                  <c:v>0</c:v>
                </c:pt>
                <c:pt idx="3465" formatCode="#,##0_);\(#,##0\);&quot;-  &quot;;&quot; &quot;@&quot; &quot;">
                  <c:v>0</c:v>
                </c:pt>
                <c:pt idx="3466" formatCode="#,##0_);\(#,##0\);&quot;-  &quot;;&quot; &quot;@&quot; &quot;">
                  <c:v>0</c:v>
                </c:pt>
                <c:pt idx="3467" formatCode="#,##0_);\(#,##0\);&quot;-  &quot;;&quot; &quot;@&quot; &quot;">
                  <c:v>0</c:v>
                </c:pt>
                <c:pt idx="3468" formatCode="#,##0_);\(#,##0\);&quot;-  &quot;;&quot; &quot;@&quot; &quot;">
                  <c:v>0</c:v>
                </c:pt>
                <c:pt idx="3469" formatCode="#,##0_);\(#,##0\);&quot;-  &quot;;&quot; &quot;@&quot; &quot;">
                  <c:v>0</c:v>
                </c:pt>
                <c:pt idx="3470" formatCode="#,##0_);\(#,##0\);&quot;-  &quot;;&quot; &quot;@&quot; &quot;">
                  <c:v>0</c:v>
                </c:pt>
                <c:pt idx="3471" formatCode="#,##0_);\(#,##0\);&quot;-  &quot;;&quot; &quot;@&quot; &quot;">
                  <c:v>0</c:v>
                </c:pt>
                <c:pt idx="3472" formatCode="#,##0_);\(#,##0\);&quot;-  &quot;;&quot; &quot;@&quot; &quot;">
                  <c:v>0</c:v>
                </c:pt>
                <c:pt idx="3473" formatCode="#,##0_);\(#,##0\);&quot;-  &quot;;&quot; &quot;@&quot; &quot;">
                  <c:v>0</c:v>
                </c:pt>
                <c:pt idx="3474" formatCode="#,##0_);\(#,##0\);&quot;-  &quot;;&quot; &quot;@&quot; &quot;">
                  <c:v>0</c:v>
                </c:pt>
                <c:pt idx="3475" formatCode="#,##0_);\(#,##0\);&quot;-  &quot;;&quot; &quot;@&quot; &quot;">
                  <c:v>0</c:v>
                </c:pt>
                <c:pt idx="3476" formatCode="#,##0_);\(#,##0\);&quot;-  &quot;;&quot; &quot;@&quot; &quot;">
                  <c:v>0</c:v>
                </c:pt>
                <c:pt idx="3477" formatCode="#,##0_);\(#,##0\);&quot;-  &quot;;&quot; &quot;@&quot; &quot;">
                  <c:v>0</c:v>
                </c:pt>
                <c:pt idx="3478" formatCode="#,##0_);\(#,##0\);&quot;-  &quot;;&quot; &quot;@&quot; &quot;">
                  <c:v>0</c:v>
                </c:pt>
                <c:pt idx="3479" formatCode="#,##0_);\(#,##0\);&quot;-  &quot;;&quot; &quot;@&quot; &quot;">
                  <c:v>0</c:v>
                </c:pt>
                <c:pt idx="3480" formatCode="#,##0_);\(#,##0\);&quot;-  &quot;;&quot; &quot;@&quot; &quot;">
                  <c:v>0</c:v>
                </c:pt>
                <c:pt idx="3481" formatCode="#,##0_);\(#,##0\);&quot;-  &quot;;&quot; &quot;@&quot; &quot;">
                  <c:v>0</c:v>
                </c:pt>
                <c:pt idx="3482" formatCode="#,##0_);\(#,##0\);&quot;-  &quot;;&quot; &quot;@&quot; &quot;">
                  <c:v>0</c:v>
                </c:pt>
                <c:pt idx="3483" formatCode="#,##0_);\(#,##0\);&quot;-  &quot;;&quot; &quot;@&quot; &quot;">
                  <c:v>0</c:v>
                </c:pt>
                <c:pt idx="3484" formatCode="#,##0_);\(#,##0\);&quot;-  &quot;;&quot; &quot;@&quot; &quot;">
                  <c:v>0</c:v>
                </c:pt>
                <c:pt idx="3485" formatCode="#,##0_);\(#,##0\);&quot;-  &quot;;&quot; &quot;@&quot; &quot;">
                  <c:v>0</c:v>
                </c:pt>
                <c:pt idx="3486" formatCode="#,##0_);\(#,##0\);&quot;-  &quot;;&quot; &quot;@&quot; &quot;">
                  <c:v>0</c:v>
                </c:pt>
                <c:pt idx="3487" formatCode="#,##0_);\(#,##0\);&quot;-  &quot;;&quot; &quot;@&quot; &quot;">
                  <c:v>0</c:v>
                </c:pt>
                <c:pt idx="3488" formatCode="#,##0_);\(#,##0\);&quot;-  &quot;;&quot; &quot;@&quot; &quot;">
                  <c:v>0</c:v>
                </c:pt>
                <c:pt idx="3489" formatCode="#,##0_);\(#,##0\);&quot;-  &quot;;&quot; &quot;@&quot; &quot;">
                  <c:v>0</c:v>
                </c:pt>
                <c:pt idx="3490" formatCode="#,##0_);\(#,##0\);&quot;-  &quot;;&quot; &quot;@&quot; &quot;">
                  <c:v>0</c:v>
                </c:pt>
                <c:pt idx="3491" formatCode="#,##0_);\(#,##0\);&quot;-  &quot;;&quot; &quot;@&quot; &quot;">
                  <c:v>0</c:v>
                </c:pt>
                <c:pt idx="3492" formatCode="#,##0_);\(#,##0\);&quot;-  &quot;;&quot; &quot;@&quot; &quot;">
                  <c:v>0</c:v>
                </c:pt>
                <c:pt idx="3493" formatCode="#,##0_);\(#,##0\);&quot;-  &quot;;&quot; &quot;@&quot; &quot;">
                  <c:v>0</c:v>
                </c:pt>
                <c:pt idx="3494" formatCode="#,##0_);\(#,##0\);&quot;-  &quot;;&quot; &quot;@&quot; &quot;">
                  <c:v>0</c:v>
                </c:pt>
                <c:pt idx="3495" formatCode="#,##0_);\(#,##0\);&quot;-  &quot;;&quot; &quot;@&quot; &quot;">
                  <c:v>0</c:v>
                </c:pt>
                <c:pt idx="3496" formatCode="#,##0_);\(#,##0\);&quot;-  &quot;;&quot; &quot;@&quot; &quot;">
                  <c:v>0</c:v>
                </c:pt>
                <c:pt idx="3497" formatCode="#,##0_);\(#,##0\);&quot;-  &quot;;&quot; &quot;@&quot; &quot;">
                  <c:v>0</c:v>
                </c:pt>
                <c:pt idx="3498" formatCode="#,##0_);\(#,##0\);&quot;-  &quot;;&quot; &quot;@&quot; &quot;">
                  <c:v>0</c:v>
                </c:pt>
                <c:pt idx="3499" formatCode="#,##0_);\(#,##0\);&quot;-  &quot;;&quot; &quot;@&quot; &quot;">
                  <c:v>0</c:v>
                </c:pt>
                <c:pt idx="3500" formatCode="#,##0_);\(#,##0\);&quot;-  &quot;;&quot; &quot;@&quot; &quot;">
                  <c:v>0</c:v>
                </c:pt>
                <c:pt idx="3501" formatCode="#,##0_);\(#,##0\);&quot;-  &quot;;&quot; &quot;@&quot; &quot;">
                  <c:v>0</c:v>
                </c:pt>
                <c:pt idx="3502" formatCode="#,##0_);\(#,##0\);&quot;-  &quot;;&quot; &quot;@&quot; &quot;">
                  <c:v>0</c:v>
                </c:pt>
                <c:pt idx="3503" formatCode="#,##0_);\(#,##0\);&quot;-  &quot;;&quot; &quot;@&quot; &quot;">
                  <c:v>0</c:v>
                </c:pt>
                <c:pt idx="3504" formatCode="#,##0_);\(#,##0\);&quot;-  &quot;;&quot; &quot;@&quot; &quot;">
                  <c:v>0</c:v>
                </c:pt>
                <c:pt idx="3505" formatCode="#,##0_);\(#,##0\);&quot;-  &quot;;&quot; &quot;@&quot; &quot;">
                  <c:v>0</c:v>
                </c:pt>
                <c:pt idx="3506" formatCode="#,##0_);\(#,##0\);&quot;-  &quot;;&quot; &quot;@&quot; &quot;">
                  <c:v>0</c:v>
                </c:pt>
                <c:pt idx="3507" formatCode="#,##0_);\(#,##0\);&quot;-  &quot;;&quot; &quot;@&quot; &quot;">
                  <c:v>0</c:v>
                </c:pt>
                <c:pt idx="3508" formatCode="#,##0_);\(#,##0\);&quot;-  &quot;;&quot; &quot;@&quot; &quot;">
                  <c:v>0</c:v>
                </c:pt>
                <c:pt idx="3509" formatCode="#,##0_);\(#,##0\);&quot;-  &quot;;&quot; &quot;@&quot; &quot;">
                  <c:v>0</c:v>
                </c:pt>
                <c:pt idx="3510" formatCode="#,##0_);\(#,##0\);&quot;-  &quot;;&quot; &quot;@&quot; &quot;">
                  <c:v>0</c:v>
                </c:pt>
                <c:pt idx="3511" formatCode="#,##0_);\(#,##0\);&quot;-  &quot;;&quot; &quot;@&quot; &quot;">
                  <c:v>0</c:v>
                </c:pt>
                <c:pt idx="3512" formatCode="#,##0_);\(#,##0\);&quot;-  &quot;;&quot; &quot;@&quot; &quot;">
                  <c:v>0</c:v>
                </c:pt>
                <c:pt idx="3513" formatCode="#,##0_);\(#,##0\);&quot;-  &quot;;&quot; &quot;@&quot; &quot;">
                  <c:v>0</c:v>
                </c:pt>
                <c:pt idx="3514" formatCode="#,##0_);\(#,##0\);&quot;-  &quot;;&quot; &quot;@&quot; &quot;">
                  <c:v>0</c:v>
                </c:pt>
                <c:pt idx="3515" formatCode="#,##0_);\(#,##0\);&quot;-  &quot;;&quot; &quot;@&quot; &quot;">
                  <c:v>0</c:v>
                </c:pt>
                <c:pt idx="3516" formatCode="#,##0_);\(#,##0\);&quot;-  &quot;;&quot; &quot;@&quot; &quot;">
                  <c:v>0</c:v>
                </c:pt>
                <c:pt idx="3517" formatCode="#,##0_);\(#,##0\);&quot;-  &quot;;&quot; &quot;@&quot; &quot;">
                  <c:v>0</c:v>
                </c:pt>
                <c:pt idx="3518" formatCode="#,##0_);\(#,##0\);&quot;-  &quot;;&quot; &quot;@&quot; &quot;">
                  <c:v>0</c:v>
                </c:pt>
                <c:pt idx="3519" formatCode="#,##0_);\(#,##0\);&quot;-  &quot;;&quot; &quot;@&quot; &quot;">
                  <c:v>0</c:v>
                </c:pt>
                <c:pt idx="3520" formatCode="#,##0_);\(#,##0\);&quot;-  &quot;;&quot; &quot;@&quot; &quot;">
                  <c:v>0</c:v>
                </c:pt>
                <c:pt idx="3521" formatCode="#,##0_);\(#,##0\);&quot;-  &quot;;&quot; &quot;@&quot; &quot;">
                  <c:v>0</c:v>
                </c:pt>
                <c:pt idx="3522" formatCode="#,##0_);\(#,##0\);&quot;-  &quot;;&quot; &quot;@&quot; &quot;">
                  <c:v>0</c:v>
                </c:pt>
                <c:pt idx="3523" formatCode="#,##0_);\(#,##0\);&quot;-  &quot;;&quot; &quot;@&quot; &quot;">
                  <c:v>0</c:v>
                </c:pt>
                <c:pt idx="3524" formatCode="#,##0_);\(#,##0\);&quot;-  &quot;;&quot; &quot;@&quot; &quot;">
                  <c:v>0</c:v>
                </c:pt>
                <c:pt idx="3525" formatCode="#,##0_);\(#,##0\);&quot;-  &quot;;&quot; &quot;@&quot; &quot;">
                  <c:v>0</c:v>
                </c:pt>
                <c:pt idx="3526" formatCode="#,##0_);\(#,##0\);&quot;-  &quot;;&quot; &quot;@&quot; &quot;">
                  <c:v>0</c:v>
                </c:pt>
                <c:pt idx="3527" formatCode="#,##0_);\(#,##0\);&quot;-  &quot;;&quot; &quot;@&quot; &quot;">
                  <c:v>0</c:v>
                </c:pt>
                <c:pt idx="3528" formatCode="#,##0_);\(#,##0\);&quot;-  &quot;;&quot; &quot;@&quot; &quot;">
                  <c:v>0</c:v>
                </c:pt>
                <c:pt idx="3529" formatCode="#,##0_);\(#,##0\);&quot;-  &quot;;&quot; &quot;@&quot; &quot;">
                  <c:v>0</c:v>
                </c:pt>
                <c:pt idx="3530" formatCode="#,##0_);\(#,##0\);&quot;-  &quot;;&quot; &quot;@&quot; &quot;">
                  <c:v>0</c:v>
                </c:pt>
                <c:pt idx="3531" formatCode="#,##0_);\(#,##0\);&quot;-  &quot;;&quot; &quot;@&quot; &quot;">
                  <c:v>0</c:v>
                </c:pt>
                <c:pt idx="3532" formatCode="#,##0_);\(#,##0\);&quot;-  &quot;;&quot; &quot;@&quot; &quot;">
                  <c:v>0</c:v>
                </c:pt>
                <c:pt idx="3533" formatCode="#,##0_);\(#,##0\);&quot;-  &quot;;&quot; &quot;@&quot; &quot;">
                  <c:v>0</c:v>
                </c:pt>
                <c:pt idx="3534" formatCode="#,##0_);\(#,##0\);&quot;-  &quot;;&quot; &quot;@&quot; &quot;">
                  <c:v>0</c:v>
                </c:pt>
                <c:pt idx="3535" formatCode="#,##0_);\(#,##0\);&quot;-  &quot;;&quot; &quot;@&quot; &quot;">
                  <c:v>0</c:v>
                </c:pt>
                <c:pt idx="3536" formatCode="#,##0_);\(#,##0\);&quot;-  &quot;;&quot; &quot;@&quot; &quot;">
                  <c:v>0</c:v>
                </c:pt>
                <c:pt idx="3537" formatCode="#,##0_);\(#,##0\);&quot;-  &quot;;&quot; &quot;@&quot; &quot;">
                  <c:v>0</c:v>
                </c:pt>
                <c:pt idx="3538" formatCode="#,##0_);\(#,##0\);&quot;-  &quot;;&quot; &quot;@&quot; &quot;">
                  <c:v>0</c:v>
                </c:pt>
                <c:pt idx="3539" formatCode="#,##0_);\(#,##0\);&quot;-  &quot;;&quot; &quot;@&quot; &quot;">
                  <c:v>0</c:v>
                </c:pt>
                <c:pt idx="3540" formatCode="#,##0_);\(#,##0\);&quot;-  &quot;;&quot; &quot;@&quot; &quot;">
                  <c:v>0</c:v>
                </c:pt>
                <c:pt idx="3541" formatCode="#,##0_);\(#,##0\);&quot;-  &quot;;&quot; &quot;@&quot; &quot;">
                  <c:v>0</c:v>
                </c:pt>
                <c:pt idx="3542" formatCode="#,##0_);\(#,##0\);&quot;-  &quot;;&quot; &quot;@&quot; &quot;">
                  <c:v>0</c:v>
                </c:pt>
                <c:pt idx="3543" formatCode="#,##0_);\(#,##0\);&quot;-  &quot;;&quot; &quot;@&quot; &quot;">
                  <c:v>0</c:v>
                </c:pt>
                <c:pt idx="3544" formatCode="#,##0_);\(#,##0\);&quot;-  &quot;;&quot; &quot;@&quot; &quot;">
                  <c:v>0</c:v>
                </c:pt>
                <c:pt idx="3545" formatCode="#,##0_);\(#,##0\);&quot;-  &quot;;&quot; &quot;@&quot; &quot;">
                  <c:v>0</c:v>
                </c:pt>
                <c:pt idx="3546" formatCode="#,##0_);\(#,##0\);&quot;-  &quot;;&quot; &quot;@&quot; &quot;">
                  <c:v>0</c:v>
                </c:pt>
                <c:pt idx="3547" formatCode="#,##0_);\(#,##0\);&quot;-  &quot;;&quot; &quot;@&quot; &quot;">
                  <c:v>0</c:v>
                </c:pt>
                <c:pt idx="3548" formatCode="#,##0_);\(#,##0\);&quot;-  &quot;;&quot; &quot;@&quot; &quot;">
                  <c:v>0</c:v>
                </c:pt>
                <c:pt idx="3549" formatCode="#,##0_);\(#,##0\);&quot;-  &quot;;&quot; &quot;@&quot; &quot;">
                  <c:v>0</c:v>
                </c:pt>
                <c:pt idx="3550" formatCode="#,##0_);\(#,##0\);&quot;-  &quot;;&quot; &quot;@&quot; &quot;">
                  <c:v>0</c:v>
                </c:pt>
                <c:pt idx="3551" formatCode="#,##0_);\(#,##0\);&quot;-  &quot;;&quot; &quot;@&quot; &quot;">
                  <c:v>0</c:v>
                </c:pt>
                <c:pt idx="3552" formatCode="#,##0_);\(#,##0\);&quot;-  &quot;;&quot; &quot;@&quot; &quot;">
                  <c:v>0</c:v>
                </c:pt>
                <c:pt idx="3553" formatCode="#,##0_);\(#,##0\);&quot;-  &quot;;&quot; &quot;@&quot; &quot;">
                  <c:v>0</c:v>
                </c:pt>
                <c:pt idx="3554" formatCode="#,##0_);\(#,##0\);&quot;-  &quot;;&quot; &quot;@&quot; &quot;">
                  <c:v>0</c:v>
                </c:pt>
                <c:pt idx="3555" formatCode="#,##0_);\(#,##0\);&quot;-  &quot;;&quot; &quot;@&quot; &quot;">
                  <c:v>0</c:v>
                </c:pt>
                <c:pt idx="3556" formatCode="#,##0_);\(#,##0\);&quot;-  &quot;;&quot; &quot;@&quot; &quot;">
                  <c:v>0</c:v>
                </c:pt>
                <c:pt idx="3557" formatCode="#,##0_);\(#,##0\);&quot;-  &quot;;&quot; &quot;@&quot; &quot;">
                  <c:v>0</c:v>
                </c:pt>
                <c:pt idx="3558" formatCode="#,##0_);\(#,##0\);&quot;-  &quot;;&quot; &quot;@&quot; &quot;">
                  <c:v>0</c:v>
                </c:pt>
                <c:pt idx="3559" formatCode="#,##0_);\(#,##0\);&quot;-  &quot;;&quot; &quot;@&quot; &quot;">
                  <c:v>0</c:v>
                </c:pt>
                <c:pt idx="3560" formatCode="#,##0_);\(#,##0\);&quot;-  &quot;;&quot; &quot;@&quot; &quot;">
                  <c:v>0</c:v>
                </c:pt>
                <c:pt idx="3561" formatCode="#,##0_);\(#,##0\);&quot;-  &quot;;&quot; &quot;@&quot; &quot;">
                  <c:v>0</c:v>
                </c:pt>
                <c:pt idx="3562" formatCode="#,##0_);\(#,##0\);&quot;-  &quot;;&quot; &quot;@&quot; &quot;">
                  <c:v>0</c:v>
                </c:pt>
                <c:pt idx="3563" formatCode="#,##0_);\(#,##0\);&quot;-  &quot;;&quot; &quot;@&quot; &quot;">
                  <c:v>0</c:v>
                </c:pt>
                <c:pt idx="3564" formatCode="#,##0_);\(#,##0\);&quot;-  &quot;;&quot; &quot;@&quot; &quot;">
                  <c:v>0</c:v>
                </c:pt>
                <c:pt idx="3565" formatCode="#,##0_);\(#,##0\);&quot;-  &quot;;&quot; &quot;@&quot; &quot;">
                  <c:v>0</c:v>
                </c:pt>
                <c:pt idx="3566" formatCode="#,##0_);\(#,##0\);&quot;-  &quot;;&quot; &quot;@&quot; &quot;">
                  <c:v>0</c:v>
                </c:pt>
                <c:pt idx="3567" formatCode="#,##0_);\(#,##0\);&quot;-  &quot;;&quot; &quot;@&quot; &quot;">
                  <c:v>0</c:v>
                </c:pt>
                <c:pt idx="3568" formatCode="#,##0_);\(#,##0\);&quot;-  &quot;;&quot; &quot;@&quot; &quot;">
                  <c:v>0</c:v>
                </c:pt>
                <c:pt idx="3569" formatCode="#,##0_);\(#,##0\);&quot;-  &quot;;&quot; &quot;@&quot; &quot;">
                  <c:v>0</c:v>
                </c:pt>
                <c:pt idx="3570" formatCode="#,##0_);\(#,##0\);&quot;-  &quot;;&quot; &quot;@&quot; &quot;">
                  <c:v>0</c:v>
                </c:pt>
                <c:pt idx="3571" formatCode="#,##0_);\(#,##0\);&quot;-  &quot;;&quot; &quot;@&quot; &quot;">
                  <c:v>0</c:v>
                </c:pt>
                <c:pt idx="3572" formatCode="#,##0_);\(#,##0\);&quot;-  &quot;;&quot; &quot;@&quot; &quot;">
                  <c:v>0</c:v>
                </c:pt>
                <c:pt idx="3573" formatCode="#,##0_);\(#,##0\);&quot;-  &quot;;&quot; &quot;@&quot; &quot;">
                  <c:v>0</c:v>
                </c:pt>
                <c:pt idx="3574" formatCode="#,##0_);\(#,##0\);&quot;-  &quot;;&quot; &quot;@&quot; &quot;">
                  <c:v>0</c:v>
                </c:pt>
                <c:pt idx="3575" formatCode="#,##0_);\(#,##0\);&quot;-  &quot;;&quot; &quot;@&quot; &quot;">
                  <c:v>0</c:v>
                </c:pt>
                <c:pt idx="3576" formatCode="#,##0_);\(#,##0\);&quot;-  &quot;;&quot; &quot;@&quot; &quot;">
                  <c:v>0</c:v>
                </c:pt>
                <c:pt idx="3577" formatCode="#,##0_);\(#,##0\);&quot;-  &quot;;&quot; &quot;@&quot; &quot;">
                  <c:v>0</c:v>
                </c:pt>
                <c:pt idx="3578" formatCode="#,##0_);\(#,##0\);&quot;-  &quot;;&quot; &quot;@&quot; &quot;">
                  <c:v>0</c:v>
                </c:pt>
                <c:pt idx="3579" formatCode="#,##0_);\(#,##0\);&quot;-  &quot;;&quot; &quot;@&quot; &quot;">
                  <c:v>0</c:v>
                </c:pt>
                <c:pt idx="3580" formatCode="#,##0_);\(#,##0\);&quot;-  &quot;;&quot; &quot;@&quot; &quot;">
                  <c:v>0</c:v>
                </c:pt>
                <c:pt idx="3581" formatCode="#,##0_);\(#,##0\);&quot;-  &quot;;&quot; &quot;@&quot; &quot;">
                  <c:v>0</c:v>
                </c:pt>
                <c:pt idx="3582" formatCode="#,##0_);\(#,##0\);&quot;-  &quot;;&quot; &quot;@&quot; &quot;">
                  <c:v>0</c:v>
                </c:pt>
                <c:pt idx="3583" formatCode="#,##0_);\(#,##0\);&quot;-  &quot;;&quot; &quot;@&quot; &quot;">
                  <c:v>0</c:v>
                </c:pt>
                <c:pt idx="3584" formatCode="#,##0_);\(#,##0\);&quot;-  &quot;;&quot; &quot;@&quot; &quot;">
                  <c:v>0</c:v>
                </c:pt>
                <c:pt idx="3585" formatCode="#,##0_);\(#,##0\);&quot;-  &quot;;&quot; &quot;@&quot; &quot;">
                  <c:v>0</c:v>
                </c:pt>
                <c:pt idx="3586" formatCode="#,##0_);\(#,##0\);&quot;-  &quot;;&quot; &quot;@&quot; &quot;">
                  <c:v>0</c:v>
                </c:pt>
                <c:pt idx="3587" formatCode="#,##0_);\(#,##0\);&quot;-  &quot;;&quot; &quot;@&quot; &quot;">
                  <c:v>0</c:v>
                </c:pt>
                <c:pt idx="3588" formatCode="#,##0_);\(#,##0\);&quot;-  &quot;;&quot; &quot;@&quot; &quot;">
                  <c:v>0</c:v>
                </c:pt>
                <c:pt idx="3589" formatCode="#,##0_);\(#,##0\);&quot;-  &quot;;&quot; &quot;@&quot; &quot;">
                  <c:v>0</c:v>
                </c:pt>
                <c:pt idx="3590" formatCode="#,##0_);\(#,##0\);&quot;-  &quot;;&quot; &quot;@&quot; &quot;">
                  <c:v>0</c:v>
                </c:pt>
                <c:pt idx="3591" formatCode="#,##0_);\(#,##0\);&quot;-  &quot;;&quot; &quot;@&quot; &quot;">
                  <c:v>0</c:v>
                </c:pt>
                <c:pt idx="3592" formatCode="#,##0_);\(#,##0\);&quot;-  &quot;;&quot; &quot;@&quot; &quot;">
                  <c:v>0</c:v>
                </c:pt>
                <c:pt idx="3593" formatCode="#,##0_);\(#,##0\);&quot;-  &quot;;&quot; &quot;@&quot; &quot;">
                  <c:v>0</c:v>
                </c:pt>
                <c:pt idx="3594" formatCode="#,##0_);\(#,##0\);&quot;-  &quot;;&quot; &quot;@&quot; &quot;">
                  <c:v>0</c:v>
                </c:pt>
                <c:pt idx="3595" formatCode="#,##0_);\(#,##0\);&quot;-  &quot;;&quot; &quot;@&quot; &quot;">
                  <c:v>0</c:v>
                </c:pt>
                <c:pt idx="3596" formatCode="#,##0_);\(#,##0\);&quot;-  &quot;;&quot; &quot;@&quot; &quot;">
                  <c:v>0</c:v>
                </c:pt>
                <c:pt idx="3597" formatCode="#,##0_);\(#,##0\);&quot;-  &quot;;&quot; &quot;@&quot; &quot;">
                  <c:v>0</c:v>
                </c:pt>
                <c:pt idx="3598" formatCode="#,##0_);\(#,##0\);&quot;-  &quot;;&quot; &quot;@&quot; &quot;">
                  <c:v>0</c:v>
                </c:pt>
                <c:pt idx="3599" formatCode="#,##0_);\(#,##0\);&quot;-  &quot;;&quot; &quot;@&quot; &quot;">
                  <c:v>0</c:v>
                </c:pt>
                <c:pt idx="3600" formatCode="#,##0_);\(#,##0\);&quot;-  &quot;;&quot; &quot;@&quot; &quot;">
                  <c:v>0</c:v>
                </c:pt>
                <c:pt idx="3601" formatCode="#,##0_);\(#,##0\);&quot;-  &quot;;&quot; &quot;@&quot; &quot;">
                  <c:v>0</c:v>
                </c:pt>
                <c:pt idx="3602" formatCode="#,##0_);\(#,##0\);&quot;-  &quot;;&quot; &quot;@&quot; &quot;">
                  <c:v>0</c:v>
                </c:pt>
                <c:pt idx="3603" formatCode="#,##0_);\(#,##0\);&quot;-  &quot;;&quot; &quot;@&quot; &quot;">
                  <c:v>0</c:v>
                </c:pt>
                <c:pt idx="3604" formatCode="#,##0_);\(#,##0\);&quot;-  &quot;;&quot; &quot;@&quot; &quot;">
                  <c:v>0</c:v>
                </c:pt>
                <c:pt idx="3605" formatCode="#,##0_);\(#,##0\);&quot;-  &quot;;&quot; &quot;@&quot; &quot;">
                  <c:v>0</c:v>
                </c:pt>
                <c:pt idx="3606" formatCode="#,##0_);\(#,##0\);&quot;-  &quot;;&quot; &quot;@&quot; &quot;">
                  <c:v>0</c:v>
                </c:pt>
                <c:pt idx="3607" formatCode="#,##0_);\(#,##0\);&quot;-  &quot;;&quot; &quot;@&quot; &quot;">
                  <c:v>0</c:v>
                </c:pt>
                <c:pt idx="3608" formatCode="#,##0_);\(#,##0\);&quot;-  &quot;;&quot; &quot;@&quot; &quot;">
                  <c:v>0</c:v>
                </c:pt>
                <c:pt idx="3609" formatCode="#,##0_);\(#,##0\);&quot;-  &quot;;&quot; &quot;@&quot; &quot;">
                  <c:v>0</c:v>
                </c:pt>
                <c:pt idx="3610" formatCode="#,##0_);\(#,##0\);&quot;-  &quot;;&quot; &quot;@&quot; &quot;">
                  <c:v>0</c:v>
                </c:pt>
                <c:pt idx="3611" formatCode="#,##0_);\(#,##0\);&quot;-  &quot;;&quot; &quot;@&quot; &quot;">
                  <c:v>0</c:v>
                </c:pt>
                <c:pt idx="3612" formatCode="#,##0_);\(#,##0\);&quot;-  &quot;;&quot; &quot;@&quot; &quot;">
                  <c:v>0</c:v>
                </c:pt>
                <c:pt idx="3613" formatCode="#,##0_);\(#,##0\);&quot;-  &quot;;&quot; &quot;@&quot; &quot;">
                  <c:v>0</c:v>
                </c:pt>
                <c:pt idx="3614" formatCode="#,##0_);\(#,##0\);&quot;-  &quot;;&quot; &quot;@&quot; &quot;">
                  <c:v>0</c:v>
                </c:pt>
                <c:pt idx="3615" formatCode="#,##0_);\(#,##0\);&quot;-  &quot;;&quot; &quot;@&quot; &quot;">
                  <c:v>0</c:v>
                </c:pt>
                <c:pt idx="3616" formatCode="#,##0_);\(#,##0\);&quot;-  &quot;;&quot; &quot;@&quot; &quot;">
                  <c:v>0</c:v>
                </c:pt>
                <c:pt idx="3617" formatCode="#,##0_);\(#,##0\);&quot;-  &quot;;&quot; &quot;@&quot; &quot;">
                  <c:v>0</c:v>
                </c:pt>
                <c:pt idx="3618" formatCode="#,##0_);\(#,##0\);&quot;-  &quot;;&quot; &quot;@&quot; &quot;">
                  <c:v>0</c:v>
                </c:pt>
                <c:pt idx="3619" formatCode="#,##0_);\(#,##0\);&quot;-  &quot;;&quot; &quot;@&quot; &quot;">
                  <c:v>0</c:v>
                </c:pt>
                <c:pt idx="3620" formatCode="#,##0_);\(#,##0\);&quot;-  &quot;;&quot; &quot;@&quot; &quot;">
                  <c:v>0</c:v>
                </c:pt>
                <c:pt idx="3621" formatCode="#,##0_);\(#,##0\);&quot;-  &quot;;&quot; &quot;@&quot; &quot;">
                  <c:v>0</c:v>
                </c:pt>
                <c:pt idx="3622" formatCode="#,##0_);\(#,##0\);&quot;-  &quot;;&quot; &quot;@&quot; &quot;">
                  <c:v>0</c:v>
                </c:pt>
                <c:pt idx="3623" formatCode="#,##0_);\(#,##0\);&quot;-  &quot;;&quot; &quot;@&quot; &quot;">
                  <c:v>0</c:v>
                </c:pt>
                <c:pt idx="3624" formatCode="#,##0_);\(#,##0\);&quot;-  &quot;;&quot; &quot;@&quot; &quot;">
                  <c:v>0</c:v>
                </c:pt>
                <c:pt idx="3625" formatCode="#,##0_);\(#,##0\);&quot;-  &quot;;&quot; &quot;@&quot; &quot;">
                  <c:v>0</c:v>
                </c:pt>
                <c:pt idx="3626" formatCode="#,##0_);\(#,##0\);&quot;-  &quot;;&quot; &quot;@&quot; &quot;">
                  <c:v>0</c:v>
                </c:pt>
                <c:pt idx="3627" formatCode="#,##0_);\(#,##0\);&quot;-  &quot;;&quot; &quot;@&quot; &quot;">
                  <c:v>0</c:v>
                </c:pt>
                <c:pt idx="3628" formatCode="#,##0_);\(#,##0\);&quot;-  &quot;;&quot; &quot;@&quot; &quot;">
                  <c:v>0</c:v>
                </c:pt>
                <c:pt idx="3629" formatCode="#,##0_);\(#,##0\);&quot;-  &quot;;&quot; &quot;@&quot; &quot;">
                  <c:v>0</c:v>
                </c:pt>
                <c:pt idx="3630" formatCode="#,##0_);\(#,##0\);&quot;-  &quot;;&quot; &quot;@&quot; &quot;">
                  <c:v>0</c:v>
                </c:pt>
                <c:pt idx="3631" formatCode="#,##0_);\(#,##0\);&quot;-  &quot;;&quot; &quot;@&quot; &quot;">
                  <c:v>0</c:v>
                </c:pt>
                <c:pt idx="3632" formatCode="#,##0_);\(#,##0\);&quot;-  &quot;;&quot; &quot;@&quot; &quot;">
                  <c:v>0</c:v>
                </c:pt>
                <c:pt idx="3633" formatCode="#,##0_);\(#,##0\);&quot;-  &quot;;&quot; &quot;@&quot; &quot;">
                  <c:v>0</c:v>
                </c:pt>
                <c:pt idx="3634" formatCode="#,##0_);\(#,##0\);&quot;-  &quot;;&quot; &quot;@&quot; &quot;">
                  <c:v>0</c:v>
                </c:pt>
                <c:pt idx="3635" formatCode="#,##0_);\(#,##0\);&quot;-  &quot;;&quot; &quot;@&quot; &quot;">
                  <c:v>0</c:v>
                </c:pt>
                <c:pt idx="3636" formatCode="#,##0_);\(#,##0\);&quot;-  &quot;;&quot; &quot;@&quot; &quot;">
                  <c:v>0</c:v>
                </c:pt>
                <c:pt idx="3637" formatCode="#,##0_);\(#,##0\);&quot;-  &quot;;&quot; &quot;@&quot; &quot;">
                  <c:v>0</c:v>
                </c:pt>
                <c:pt idx="3638" formatCode="#,##0_);\(#,##0\);&quot;-  &quot;;&quot; &quot;@&quot; &quot;">
                  <c:v>0</c:v>
                </c:pt>
                <c:pt idx="3639" formatCode="#,##0_);\(#,##0\);&quot;-  &quot;;&quot; &quot;@&quot; &quot;">
                  <c:v>0</c:v>
                </c:pt>
                <c:pt idx="3640" formatCode="#,##0_);\(#,##0\);&quot;-  &quot;;&quot; &quot;@&quot; &quot;">
                  <c:v>0</c:v>
                </c:pt>
                <c:pt idx="3641" formatCode="#,##0_);\(#,##0\);&quot;-  &quot;;&quot; &quot;@&quot; &quot;">
                  <c:v>0</c:v>
                </c:pt>
                <c:pt idx="3642" formatCode="#,##0_);\(#,##0\);&quot;-  &quot;;&quot; &quot;@&quot; &quot;">
                  <c:v>0</c:v>
                </c:pt>
                <c:pt idx="3643" formatCode="#,##0_);\(#,##0\);&quot;-  &quot;;&quot; &quot;@&quot; &quot;">
                  <c:v>0</c:v>
                </c:pt>
                <c:pt idx="3644" formatCode="#,##0_);\(#,##0\);&quot;-  &quot;;&quot; &quot;@&quot; &quot;">
                  <c:v>0</c:v>
                </c:pt>
                <c:pt idx="3645" formatCode="#,##0_);\(#,##0\);&quot;-  &quot;;&quot; &quot;@&quot; &quot;">
                  <c:v>0</c:v>
                </c:pt>
                <c:pt idx="3646" formatCode="#,##0_);\(#,##0\);&quot;-  &quot;;&quot; &quot;@&quot; &quot;">
                  <c:v>0</c:v>
                </c:pt>
                <c:pt idx="3647" formatCode="#,##0_);\(#,##0\);&quot;-  &quot;;&quot; &quot;@&quot; &quot;">
                  <c:v>0</c:v>
                </c:pt>
                <c:pt idx="3648" formatCode="#,##0_);\(#,##0\);&quot;-  &quot;;&quot; &quot;@&quot; &quot;">
                  <c:v>0</c:v>
                </c:pt>
                <c:pt idx="3649" formatCode="#,##0_);\(#,##0\);&quot;-  &quot;;&quot; &quot;@&quot; &quot;">
                  <c:v>0</c:v>
                </c:pt>
                <c:pt idx="3650" formatCode="#,##0_);\(#,##0\);&quot;-  &quot;;&quot; &quot;@&quot; &quot;">
                  <c:v>0</c:v>
                </c:pt>
                <c:pt idx="3651" formatCode="#,##0_);\(#,##0\);&quot;-  &quot;;&quot; &quot;@&quot; &quot;">
                  <c:v>0</c:v>
                </c:pt>
                <c:pt idx="3652" formatCode="#,##0_);\(#,##0\);&quot;-  &quot;;&quot; &quot;@&quot; &quot;">
                  <c:v>0</c:v>
                </c:pt>
                <c:pt idx="3653" formatCode="#,##0_);\(#,##0\);&quot;-  &quot;;&quot; &quot;@&quot; &quot;">
                  <c:v>0</c:v>
                </c:pt>
                <c:pt idx="3654" formatCode="#,##0_);\(#,##0\);&quot;-  &quot;;&quot; &quot;@&quot; &quot;">
                  <c:v>0</c:v>
                </c:pt>
                <c:pt idx="3655" formatCode="#,##0_);\(#,##0\);&quot;-  &quot;;&quot; &quot;@&quot; &quot;">
                  <c:v>0</c:v>
                </c:pt>
                <c:pt idx="3656" formatCode="#,##0_);\(#,##0\);&quot;-  &quot;;&quot; &quot;@&quot; &quot;">
                  <c:v>0</c:v>
                </c:pt>
                <c:pt idx="3657" formatCode="#,##0_);\(#,##0\);&quot;-  &quot;;&quot; &quot;@&quot; &quot;">
                  <c:v>0</c:v>
                </c:pt>
                <c:pt idx="3658" formatCode="#,##0_);\(#,##0\);&quot;-  &quot;;&quot; &quot;@&quot; &quot;">
                  <c:v>0</c:v>
                </c:pt>
                <c:pt idx="3659" formatCode="#,##0_);\(#,##0\);&quot;-  &quot;;&quot; &quot;@&quot; &quot;">
                  <c:v>0</c:v>
                </c:pt>
                <c:pt idx="3660" formatCode="#,##0_);\(#,##0\);&quot;-  &quot;;&quot; &quot;@&quot; &quot;">
                  <c:v>0</c:v>
                </c:pt>
                <c:pt idx="3661" formatCode="#,##0_);\(#,##0\);&quot;-  &quot;;&quot; &quot;@&quot; &quot;">
                  <c:v>0</c:v>
                </c:pt>
                <c:pt idx="3662" formatCode="#,##0_);\(#,##0\);&quot;-  &quot;;&quot; &quot;@&quot; &quot;">
                  <c:v>0</c:v>
                </c:pt>
                <c:pt idx="3663" formatCode="#,##0_);\(#,##0\);&quot;-  &quot;;&quot; &quot;@&quot; &quot;">
                  <c:v>0</c:v>
                </c:pt>
                <c:pt idx="3664" formatCode="#,##0_);\(#,##0\);&quot;-  &quot;;&quot; &quot;@&quot; &quot;">
                  <c:v>0</c:v>
                </c:pt>
                <c:pt idx="3665" formatCode="#,##0_);\(#,##0\);&quot;-  &quot;;&quot; &quot;@&quot; &quot;">
                  <c:v>0</c:v>
                </c:pt>
                <c:pt idx="3666" formatCode="#,##0_);\(#,##0\);&quot;-  &quot;;&quot; &quot;@&quot; &quot;">
                  <c:v>0</c:v>
                </c:pt>
                <c:pt idx="3667" formatCode="#,##0_);\(#,##0\);&quot;-  &quot;;&quot; &quot;@&quot; &quot;">
                  <c:v>0</c:v>
                </c:pt>
                <c:pt idx="3668" formatCode="#,##0_);\(#,##0\);&quot;-  &quot;;&quot; &quot;@&quot; &quot;">
                  <c:v>0</c:v>
                </c:pt>
                <c:pt idx="3669" formatCode="#,##0_);\(#,##0\);&quot;-  &quot;;&quot; &quot;@&quot; &quot;">
                  <c:v>0</c:v>
                </c:pt>
                <c:pt idx="3670" formatCode="#,##0_);\(#,##0\);&quot;-  &quot;;&quot; &quot;@&quot; &quot;">
                  <c:v>0</c:v>
                </c:pt>
                <c:pt idx="3671" formatCode="#,##0_);\(#,##0\);&quot;-  &quot;;&quot; &quot;@&quot; &quot;">
                  <c:v>0</c:v>
                </c:pt>
                <c:pt idx="3672" formatCode="#,##0_);\(#,##0\);&quot;-  &quot;;&quot; &quot;@&quot; &quot;">
                  <c:v>0</c:v>
                </c:pt>
                <c:pt idx="3673" formatCode="#,##0_);\(#,##0\);&quot;-  &quot;;&quot; &quot;@&quot; &quot;">
                  <c:v>0</c:v>
                </c:pt>
                <c:pt idx="3674" formatCode="#,##0_);\(#,##0\);&quot;-  &quot;;&quot; &quot;@&quot; &quot;">
                  <c:v>0</c:v>
                </c:pt>
                <c:pt idx="3675" formatCode="#,##0_);\(#,##0\);&quot;-  &quot;;&quot; &quot;@&quot; &quot;">
                  <c:v>0</c:v>
                </c:pt>
                <c:pt idx="3676" formatCode="#,##0_);\(#,##0\);&quot;-  &quot;;&quot; &quot;@&quot; &quot;">
                  <c:v>0</c:v>
                </c:pt>
                <c:pt idx="3677" formatCode="#,##0_);\(#,##0\);&quot;-  &quot;;&quot; &quot;@&quot; &quot;">
                  <c:v>0</c:v>
                </c:pt>
                <c:pt idx="3678" formatCode="#,##0_);\(#,##0\);&quot;-  &quot;;&quot; &quot;@&quot; &quot;">
                  <c:v>0</c:v>
                </c:pt>
                <c:pt idx="3679" formatCode="#,##0_);\(#,##0\);&quot;-  &quot;;&quot; &quot;@&quot; &quot;">
                  <c:v>0</c:v>
                </c:pt>
                <c:pt idx="3680" formatCode="#,##0_);\(#,##0\);&quot;-  &quot;;&quot; &quot;@&quot; &quot;">
                  <c:v>0</c:v>
                </c:pt>
                <c:pt idx="3681" formatCode="#,##0_);\(#,##0\);&quot;-  &quot;;&quot; &quot;@&quot; &quot;">
                  <c:v>0</c:v>
                </c:pt>
                <c:pt idx="3682" formatCode="#,##0_);\(#,##0\);&quot;-  &quot;;&quot; &quot;@&quot; &quot;">
                  <c:v>0</c:v>
                </c:pt>
                <c:pt idx="3683" formatCode="#,##0_);\(#,##0\);&quot;-  &quot;;&quot; &quot;@&quot; &quot;">
                  <c:v>0</c:v>
                </c:pt>
                <c:pt idx="3684" formatCode="#,##0_);\(#,##0\);&quot;-  &quot;;&quot; &quot;@&quot; &quot;">
                  <c:v>0</c:v>
                </c:pt>
                <c:pt idx="3685" formatCode="#,##0_);\(#,##0\);&quot;-  &quot;;&quot; &quot;@&quot; &quot;">
                  <c:v>0</c:v>
                </c:pt>
                <c:pt idx="3686" formatCode="#,##0_);\(#,##0\);&quot;-  &quot;;&quot; &quot;@&quot; &quot;">
                  <c:v>0</c:v>
                </c:pt>
                <c:pt idx="3687" formatCode="#,##0_);\(#,##0\);&quot;-  &quot;;&quot; &quot;@&quot; &quot;">
                  <c:v>0</c:v>
                </c:pt>
                <c:pt idx="3688" formatCode="#,##0_);\(#,##0\);&quot;-  &quot;;&quot; &quot;@&quot; &quot;">
                  <c:v>0</c:v>
                </c:pt>
                <c:pt idx="3689" formatCode="#,##0_);\(#,##0\);&quot;-  &quot;;&quot; &quot;@&quot; &quot;">
                  <c:v>0</c:v>
                </c:pt>
                <c:pt idx="3690" formatCode="#,##0_);\(#,##0\);&quot;-  &quot;;&quot; &quot;@&quot; &quot;">
                  <c:v>0</c:v>
                </c:pt>
                <c:pt idx="3691" formatCode="#,##0_);\(#,##0\);&quot;-  &quot;;&quot; &quot;@&quot; &quot;">
                  <c:v>0</c:v>
                </c:pt>
                <c:pt idx="3692" formatCode="#,##0_);\(#,##0\);&quot;-  &quot;;&quot; &quot;@&quot; &quot;">
                  <c:v>0</c:v>
                </c:pt>
                <c:pt idx="3693" formatCode="#,##0_);\(#,##0\);&quot;-  &quot;;&quot; &quot;@&quot; &quot;">
                  <c:v>0</c:v>
                </c:pt>
                <c:pt idx="3694" formatCode="#,##0_);\(#,##0\);&quot;-  &quot;;&quot; &quot;@&quot; &quot;">
                  <c:v>0</c:v>
                </c:pt>
                <c:pt idx="3695" formatCode="#,##0_);\(#,##0\);&quot;-  &quot;;&quot; &quot;@&quot; &quot;">
                  <c:v>0</c:v>
                </c:pt>
                <c:pt idx="3696" formatCode="#,##0_);\(#,##0\);&quot;-  &quot;;&quot; &quot;@&quot; &quot;">
                  <c:v>0</c:v>
                </c:pt>
                <c:pt idx="3697" formatCode="#,##0_);\(#,##0\);&quot;-  &quot;;&quot; &quot;@&quot; &quot;">
                  <c:v>0</c:v>
                </c:pt>
                <c:pt idx="3698" formatCode="#,##0_);\(#,##0\);&quot;-  &quot;;&quot; &quot;@&quot; &quot;">
                  <c:v>0</c:v>
                </c:pt>
                <c:pt idx="3699" formatCode="#,##0_);\(#,##0\);&quot;-  &quot;;&quot; &quot;@&quot; &quot;">
                  <c:v>0</c:v>
                </c:pt>
                <c:pt idx="3700" formatCode="#,##0_);\(#,##0\);&quot;-  &quot;;&quot; &quot;@&quot; &quot;">
                  <c:v>0</c:v>
                </c:pt>
                <c:pt idx="3701" formatCode="#,##0_);\(#,##0\);&quot;-  &quot;;&quot; &quot;@&quot; &quot;">
                  <c:v>0</c:v>
                </c:pt>
                <c:pt idx="3702" formatCode="#,##0_);\(#,##0\);&quot;-  &quot;;&quot; &quot;@&quot; &quot;">
                  <c:v>0</c:v>
                </c:pt>
                <c:pt idx="3703" formatCode="#,##0_);\(#,##0\);&quot;-  &quot;;&quot; &quot;@&quot; &quot;">
                  <c:v>0</c:v>
                </c:pt>
                <c:pt idx="3704" formatCode="#,##0_);\(#,##0\);&quot;-  &quot;;&quot; &quot;@&quot; &quot;">
                  <c:v>0</c:v>
                </c:pt>
                <c:pt idx="3705" formatCode="#,##0_);\(#,##0\);&quot;-  &quot;;&quot; &quot;@&quot; &quot;">
                  <c:v>0</c:v>
                </c:pt>
                <c:pt idx="3706" formatCode="#,##0_);\(#,##0\);&quot;-  &quot;;&quot; &quot;@&quot; &quot;">
                  <c:v>0</c:v>
                </c:pt>
                <c:pt idx="3707" formatCode="#,##0_);\(#,##0\);&quot;-  &quot;;&quot; &quot;@&quot; &quot;">
                  <c:v>0</c:v>
                </c:pt>
                <c:pt idx="3708" formatCode="#,##0_);\(#,##0\);&quot;-  &quot;;&quot; &quot;@&quot; &quot;">
                  <c:v>0</c:v>
                </c:pt>
                <c:pt idx="3709" formatCode="#,##0_);\(#,##0\);&quot;-  &quot;;&quot; &quot;@&quot; &quot;">
                  <c:v>0</c:v>
                </c:pt>
                <c:pt idx="3710" formatCode="#,##0_);\(#,##0\);&quot;-  &quot;;&quot; &quot;@&quot; &quot;">
                  <c:v>0</c:v>
                </c:pt>
                <c:pt idx="3711" formatCode="#,##0_);\(#,##0\);&quot;-  &quot;;&quot; &quot;@&quot; &quot;">
                  <c:v>0</c:v>
                </c:pt>
                <c:pt idx="3712" formatCode="#,##0_);\(#,##0\);&quot;-  &quot;;&quot; &quot;@&quot; &quot;">
                  <c:v>0</c:v>
                </c:pt>
                <c:pt idx="3713" formatCode="#,##0_);\(#,##0\);&quot;-  &quot;;&quot; &quot;@&quot; &quot;">
                  <c:v>0</c:v>
                </c:pt>
                <c:pt idx="3714" formatCode="#,##0_);\(#,##0\);&quot;-  &quot;;&quot; &quot;@&quot; &quot;">
                  <c:v>0</c:v>
                </c:pt>
                <c:pt idx="3715" formatCode="#,##0_);\(#,##0\);&quot;-  &quot;;&quot; &quot;@&quot; &quot;">
                  <c:v>0</c:v>
                </c:pt>
                <c:pt idx="3716" formatCode="#,##0_);\(#,##0\);&quot;-  &quot;;&quot; &quot;@&quot; &quot;">
                  <c:v>0</c:v>
                </c:pt>
                <c:pt idx="3717" formatCode="#,##0_);\(#,##0\);&quot;-  &quot;;&quot; &quot;@&quot; &quot;">
                  <c:v>0</c:v>
                </c:pt>
                <c:pt idx="3718" formatCode="#,##0_);\(#,##0\);&quot;-  &quot;;&quot; &quot;@&quot; &quot;">
                  <c:v>0</c:v>
                </c:pt>
                <c:pt idx="3719" formatCode="#,##0_);\(#,##0\);&quot;-  &quot;;&quot; &quot;@&quot; &quot;">
                  <c:v>0</c:v>
                </c:pt>
                <c:pt idx="3720" formatCode="#,##0_);\(#,##0\);&quot;-  &quot;;&quot; &quot;@&quot; &quot;">
                  <c:v>0</c:v>
                </c:pt>
                <c:pt idx="3721" formatCode="#,##0_);\(#,##0\);&quot;-  &quot;;&quot; &quot;@&quot; &quot;">
                  <c:v>0</c:v>
                </c:pt>
                <c:pt idx="3722" formatCode="#,##0_);\(#,##0\);&quot;-  &quot;;&quot; &quot;@&quot; &quot;">
                  <c:v>0</c:v>
                </c:pt>
                <c:pt idx="3723" formatCode="#,##0_);\(#,##0\);&quot;-  &quot;;&quot; &quot;@&quot; &quot;">
                  <c:v>0</c:v>
                </c:pt>
                <c:pt idx="3724" formatCode="#,##0_);\(#,##0\);&quot;-  &quot;;&quot; &quot;@&quot; &quot;">
                  <c:v>0</c:v>
                </c:pt>
                <c:pt idx="3725" formatCode="#,##0_);\(#,##0\);&quot;-  &quot;;&quot; &quot;@&quot; &quot;">
                  <c:v>0</c:v>
                </c:pt>
                <c:pt idx="3726" formatCode="#,##0_);\(#,##0\);&quot;-  &quot;;&quot; &quot;@&quot; &quot;">
                  <c:v>0</c:v>
                </c:pt>
                <c:pt idx="3727" formatCode="#,##0_);\(#,##0\);&quot;-  &quot;;&quot; &quot;@&quot; &quot;">
                  <c:v>0</c:v>
                </c:pt>
                <c:pt idx="3728" formatCode="#,##0_);\(#,##0\);&quot;-  &quot;;&quot; &quot;@&quot; &quot;">
                  <c:v>0</c:v>
                </c:pt>
                <c:pt idx="3729" formatCode="#,##0_);\(#,##0\);&quot;-  &quot;;&quot; &quot;@&quot; &quot;">
                  <c:v>0</c:v>
                </c:pt>
                <c:pt idx="3730" formatCode="#,##0_);\(#,##0\);&quot;-  &quot;;&quot; &quot;@&quot; &quot;">
                  <c:v>0</c:v>
                </c:pt>
                <c:pt idx="3731" formatCode="#,##0_);\(#,##0\);&quot;-  &quot;;&quot; &quot;@&quot; &quot;">
                  <c:v>0</c:v>
                </c:pt>
                <c:pt idx="3732" formatCode="#,##0_);\(#,##0\);&quot;-  &quot;;&quot; &quot;@&quot; &quot;">
                  <c:v>0</c:v>
                </c:pt>
                <c:pt idx="3733" formatCode="#,##0_);\(#,##0\);&quot;-  &quot;;&quot; &quot;@&quot; &quot;">
                  <c:v>0</c:v>
                </c:pt>
                <c:pt idx="3734" formatCode="#,##0_);\(#,##0\);&quot;-  &quot;;&quot; &quot;@&quot; &quot;">
                  <c:v>0</c:v>
                </c:pt>
                <c:pt idx="3735" formatCode="#,##0_);\(#,##0\);&quot;-  &quot;;&quot; &quot;@&quot; &quot;">
                  <c:v>0</c:v>
                </c:pt>
                <c:pt idx="3736" formatCode="#,##0_);\(#,##0\);&quot;-  &quot;;&quot; &quot;@&quot; &quot;">
                  <c:v>0</c:v>
                </c:pt>
                <c:pt idx="3737" formatCode="#,##0_);\(#,##0\);&quot;-  &quot;;&quot; &quot;@&quot; &quot;">
                  <c:v>0</c:v>
                </c:pt>
                <c:pt idx="3738" formatCode="#,##0_);\(#,##0\);&quot;-  &quot;;&quot; &quot;@&quot; &quot;">
                  <c:v>0</c:v>
                </c:pt>
                <c:pt idx="3739" formatCode="#,##0_);\(#,##0\);&quot;-  &quot;;&quot; &quot;@&quot; &quot;">
                  <c:v>0</c:v>
                </c:pt>
                <c:pt idx="3740" formatCode="#,##0_);\(#,##0\);&quot;-  &quot;;&quot; &quot;@&quot; &quot;">
                  <c:v>0</c:v>
                </c:pt>
                <c:pt idx="3741" formatCode="#,##0_);\(#,##0\);&quot;-  &quot;;&quot; &quot;@&quot; &quot;">
                  <c:v>0</c:v>
                </c:pt>
                <c:pt idx="3742" formatCode="#,##0_);\(#,##0\);&quot;-  &quot;;&quot; &quot;@&quot; &quot;">
                  <c:v>0</c:v>
                </c:pt>
                <c:pt idx="3743" formatCode="#,##0_);\(#,##0\);&quot;-  &quot;;&quot; &quot;@&quot; &quot;">
                  <c:v>0</c:v>
                </c:pt>
                <c:pt idx="3744" formatCode="#,##0_);\(#,##0\);&quot;-  &quot;;&quot; &quot;@&quot; &quot;">
                  <c:v>0</c:v>
                </c:pt>
                <c:pt idx="3745" formatCode="#,##0_);\(#,##0\);&quot;-  &quot;;&quot; &quot;@&quot; &quot;">
                  <c:v>0</c:v>
                </c:pt>
                <c:pt idx="3746" formatCode="#,##0_);\(#,##0\);&quot;-  &quot;;&quot; &quot;@&quot; &quot;">
                  <c:v>0</c:v>
                </c:pt>
                <c:pt idx="3747" formatCode="#,##0_);\(#,##0\);&quot;-  &quot;;&quot; &quot;@&quot; &quot;">
                  <c:v>0</c:v>
                </c:pt>
                <c:pt idx="3748" formatCode="#,##0_);\(#,##0\);&quot;-  &quot;;&quot; &quot;@&quot; &quot;">
                  <c:v>0</c:v>
                </c:pt>
                <c:pt idx="3749" formatCode="#,##0_);\(#,##0\);&quot;-  &quot;;&quot; &quot;@&quot; &quot;">
                  <c:v>0</c:v>
                </c:pt>
                <c:pt idx="3750" formatCode="#,##0_);\(#,##0\);&quot;-  &quot;;&quot; &quot;@&quot; &quot;">
                  <c:v>0</c:v>
                </c:pt>
                <c:pt idx="3751" formatCode="#,##0_);\(#,##0\);&quot;-  &quot;;&quot; &quot;@&quot; &quot;">
                  <c:v>0</c:v>
                </c:pt>
                <c:pt idx="3752" formatCode="#,##0_);\(#,##0\);&quot;-  &quot;;&quot; &quot;@&quot; &quot;">
                  <c:v>0</c:v>
                </c:pt>
                <c:pt idx="3753" formatCode="#,##0_);\(#,##0\);&quot;-  &quot;;&quot; &quot;@&quot; &quot;">
                  <c:v>0</c:v>
                </c:pt>
                <c:pt idx="3754" formatCode="#,##0_);\(#,##0\);&quot;-  &quot;;&quot; &quot;@&quot; &quot;">
                  <c:v>0</c:v>
                </c:pt>
                <c:pt idx="3755" formatCode="#,##0_);\(#,##0\);&quot;-  &quot;;&quot; &quot;@&quot; &quot;">
                  <c:v>0</c:v>
                </c:pt>
                <c:pt idx="3756" formatCode="#,##0_);\(#,##0\);&quot;-  &quot;;&quot; &quot;@&quot; &quot;">
                  <c:v>0</c:v>
                </c:pt>
                <c:pt idx="3757" formatCode="#,##0_);\(#,##0\);&quot;-  &quot;;&quot; &quot;@&quot; &quot;">
                  <c:v>0</c:v>
                </c:pt>
                <c:pt idx="3758" formatCode="#,##0_);\(#,##0\);&quot;-  &quot;;&quot; &quot;@&quot; &quot;">
                  <c:v>0</c:v>
                </c:pt>
                <c:pt idx="3759" formatCode="#,##0_);\(#,##0\);&quot;-  &quot;;&quot; &quot;@&quot; &quot;">
                  <c:v>0</c:v>
                </c:pt>
                <c:pt idx="3760" formatCode="#,##0_);\(#,##0\);&quot;-  &quot;;&quot; &quot;@&quot; &quot;">
                  <c:v>0</c:v>
                </c:pt>
                <c:pt idx="3761" formatCode="#,##0_);\(#,##0\);&quot;-  &quot;;&quot; &quot;@&quot; &quot;">
                  <c:v>0</c:v>
                </c:pt>
                <c:pt idx="3762" formatCode="#,##0_);\(#,##0\);&quot;-  &quot;;&quot; &quot;@&quot; &quot;">
                  <c:v>0</c:v>
                </c:pt>
                <c:pt idx="3763" formatCode="#,##0_);\(#,##0\);&quot;-  &quot;;&quot; &quot;@&quot; &quot;">
                  <c:v>0</c:v>
                </c:pt>
                <c:pt idx="3764" formatCode="#,##0_);\(#,##0\);&quot;-  &quot;;&quot; &quot;@&quot; &quot;">
                  <c:v>0</c:v>
                </c:pt>
                <c:pt idx="3765" formatCode="#,##0_);\(#,##0\);&quot;-  &quot;;&quot; &quot;@&quot; &quot;">
                  <c:v>0</c:v>
                </c:pt>
                <c:pt idx="3766" formatCode="#,##0_);\(#,##0\);&quot;-  &quot;;&quot; &quot;@&quot; &quot;">
                  <c:v>0</c:v>
                </c:pt>
                <c:pt idx="3767" formatCode="#,##0_);\(#,##0\);&quot;-  &quot;;&quot; &quot;@&quot; &quot;">
                  <c:v>0</c:v>
                </c:pt>
                <c:pt idx="3768" formatCode="#,##0_);\(#,##0\);&quot;-  &quot;;&quot; &quot;@&quot; &quot;">
                  <c:v>0</c:v>
                </c:pt>
                <c:pt idx="3769" formatCode="#,##0_);\(#,##0\);&quot;-  &quot;;&quot; &quot;@&quot; &quot;">
                  <c:v>0</c:v>
                </c:pt>
                <c:pt idx="3770" formatCode="#,##0_);\(#,##0\);&quot;-  &quot;;&quot; &quot;@&quot; &quot;">
                  <c:v>0</c:v>
                </c:pt>
                <c:pt idx="3771" formatCode="#,##0_);\(#,##0\);&quot;-  &quot;;&quot; &quot;@&quot; &quot;">
                  <c:v>0</c:v>
                </c:pt>
                <c:pt idx="3772" formatCode="#,##0_);\(#,##0\);&quot;-  &quot;;&quot; &quot;@&quot; &quot;">
                  <c:v>0</c:v>
                </c:pt>
                <c:pt idx="3773" formatCode="#,##0_);\(#,##0\);&quot;-  &quot;;&quot; &quot;@&quot; &quot;">
                  <c:v>0</c:v>
                </c:pt>
                <c:pt idx="3774" formatCode="#,##0_);\(#,##0\);&quot;-  &quot;;&quot; &quot;@&quot; &quot;">
                  <c:v>0</c:v>
                </c:pt>
                <c:pt idx="3775" formatCode="#,##0_);\(#,##0\);&quot;-  &quot;;&quot; &quot;@&quot; &quot;">
                  <c:v>0</c:v>
                </c:pt>
                <c:pt idx="3776" formatCode="#,##0_);\(#,##0\);&quot;-  &quot;;&quot; &quot;@&quot; &quot;">
                  <c:v>0</c:v>
                </c:pt>
                <c:pt idx="3777" formatCode="#,##0_);\(#,##0\);&quot;-  &quot;;&quot; &quot;@&quot; &quot;">
                  <c:v>0</c:v>
                </c:pt>
                <c:pt idx="3778" formatCode="#,##0_);\(#,##0\);&quot;-  &quot;;&quot; &quot;@&quot; &quot;">
                  <c:v>0</c:v>
                </c:pt>
                <c:pt idx="3779" formatCode="#,##0_);\(#,##0\);&quot;-  &quot;;&quot; &quot;@&quot; &quot;">
                  <c:v>0</c:v>
                </c:pt>
                <c:pt idx="3780" formatCode="#,##0_);\(#,##0\);&quot;-  &quot;;&quot; &quot;@&quot; &quot;">
                  <c:v>0</c:v>
                </c:pt>
                <c:pt idx="3781" formatCode="#,##0_);\(#,##0\);&quot;-  &quot;;&quot; &quot;@&quot; &quot;">
                  <c:v>0</c:v>
                </c:pt>
                <c:pt idx="3782" formatCode="#,##0_);\(#,##0\);&quot;-  &quot;;&quot; &quot;@&quot; &quot;">
                  <c:v>0</c:v>
                </c:pt>
                <c:pt idx="3783" formatCode="#,##0_);\(#,##0\);&quot;-  &quot;;&quot; &quot;@&quot; &quot;">
                  <c:v>0</c:v>
                </c:pt>
                <c:pt idx="3784" formatCode="#,##0_);\(#,##0\);&quot;-  &quot;;&quot; &quot;@&quot; &quot;">
                  <c:v>0</c:v>
                </c:pt>
                <c:pt idx="3785" formatCode="#,##0_);\(#,##0\);&quot;-  &quot;;&quot; &quot;@&quot; &quot;">
                  <c:v>0</c:v>
                </c:pt>
                <c:pt idx="3786" formatCode="#,##0_);\(#,##0\);&quot;-  &quot;;&quot; &quot;@&quot; &quot;">
                  <c:v>0</c:v>
                </c:pt>
                <c:pt idx="3787" formatCode="#,##0_);\(#,##0\);&quot;-  &quot;;&quot; &quot;@&quot; &quot;">
                  <c:v>0</c:v>
                </c:pt>
                <c:pt idx="3788" formatCode="#,##0_);\(#,##0\);&quot;-  &quot;;&quot; &quot;@&quot; &quot;">
                  <c:v>0</c:v>
                </c:pt>
                <c:pt idx="3789" formatCode="#,##0_);\(#,##0\);&quot;-  &quot;;&quot; &quot;@&quot; &quot;">
                  <c:v>0</c:v>
                </c:pt>
                <c:pt idx="3790" formatCode="#,##0_);\(#,##0\);&quot;-  &quot;;&quot; &quot;@&quot; &quot;">
                  <c:v>0</c:v>
                </c:pt>
                <c:pt idx="3791" formatCode="#,##0_);\(#,##0\);&quot;-  &quot;;&quot; &quot;@&quot; &quot;">
                  <c:v>0</c:v>
                </c:pt>
                <c:pt idx="3792" formatCode="#,##0_);\(#,##0\);&quot;-  &quot;;&quot; &quot;@&quot; &quot;">
                  <c:v>0</c:v>
                </c:pt>
                <c:pt idx="3793" formatCode="#,##0_);\(#,##0\);&quot;-  &quot;;&quot; &quot;@&quot; &quot;">
                  <c:v>0</c:v>
                </c:pt>
                <c:pt idx="3794" formatCode="#,##0_);\(#,##0\);&quot;-  &quot;;&quot; &quot;@&quot; &quot;">
                  <c:v>0</c:v>
                </c:pt>
                <c:pt idx="3795" formatCode="#,##0_);\(#,##0\);&quot;-  &quot;;&quot; &quot;@&quot; &quot;">
                  <c:v>0</c:v>
                </c:pt>
                <c:pt idx="3796" formatCode="#,##0_);\(#,##0\);&quot;-  &quot;;&quot; &quot;@&quot; &quot;">
                  <c:v>0</c:v>
                </c:pt>
                <c:pt idx="3797" formatCode="#,##0_);\(#,##0\);&quot;-  &quot;;&quot; &quot;@&quot; &quot;">
                  <c:v>0</c:v>
                </c:pt>
                <c:pt idx="3798" formatCode="#,##0_);\(#,##0\);&quot;-  &quot;;&quot; &quot;@&quot; &quot;">
                  <c:v>0</c:v>
                </c:pt>
                <c:pt idx="3799" formatCode="#,##0_);\(#,##0\);&quot;-  &quot;;&quot; &quot;@&quot; &quot;">
                  <c:v>0</c:v>
                </c:pt>
                <c:pt idx="3800" formatCode="#,##0_);\(#,##0\);&quot;-  &quot;;&quot; &quot;@&quot; &quot;">
                  <c:v>0</c:v>
                </c:pt>
                <c:pt idx="3801" formatCode="#,##0_);\(#,##0\);&quot;-  &quot;;&quot; &quot;@&quot; &quot;">
                  <c:v>0</c:v>
                </c:pt>
                <c:pt idx="3802" formatCode="#,##0_);\(#,##0\);&quot;-  &quot;;&quot; &quot;@&quot; &quot;">
                  <c:v>0</c:v>
                </c:pt>
                <c:pt idx="3803" formatCode="#,##0_);\(#,##0\);&quot;-  &quot;;&quot; &quot;@&quot; &quot;">
                  <c:v>0</c:v>
                </c:pt>
                <c:pt idx="3804" formatCode="#,##0_);\(#,##0\);&quot;-  &quot;;&quot; &quot;@&quot; &quot;">
                  <c:v>0</c:v>
                </c:pt>
                <c:pt idx="3805" formatCode="#,##0_);\(#,##0\);&quot;-  &quot;;&quot; &quot;@&quot; &quot;">
                  <c:v>0</c:v>
                </c:pt>
                <c:pt idx="3806" formatCode="#,##0_);\(#,##0\);&quot;-  &quot;;&quot; &quot;@&quot; &quot;">
                  <c:v>0</c:v>
                </c:pt>
                <c:pt idx="3807" formatCode="#,##0_);\(#,##0\);&quot;-  &quot;;&quot; &quot;@&quot; &quot;">
                  <c:v>0</c:v>
                </c:pt>
                <c:pt idx="3808" formatCode="#,##0_);\(#,##0\);&quot;-  &quot;;&quot; &quot;@&quot; &quot;">
                  <c:v>0</c:v>
                </c:pt>
                <c:pt idx="3809" formatCode="#,##0_);\(#,##0\);&quot;-  &quot;;&quot; &quot;@&quot; &quot;">
                  <c:v>0</c:v>
                </c:pt>
                <c:pt idx="3810" formatCode="#,##0_);\(#,##0\);&quot;-  &quot;;&quot; &quot;@&quot; &quot;">
                  <c:v>0</c:v>
                </c:pt>
                <c:pt idx="3811" formatCode="#,##0_);\(#,##0\);&quot;-  &quot;;&quot; &quot;@&quot; &quot;">
                  <c:v>0</c:v>
                </c:pt>
                <c:pt idx="3812" formatCode="#,##0_);\(#,##0\);&quot;-  &quot;;&quot; &quot;@&quot; &quot;">
                  <c:v>0</c:v>
                </c:pt>
                <c:pt idx="3813" formatCode="#,##0_);\(#,##0\);&quot;-  &quot;;&quot; &quot;@&quot; &quot;">
                  <c:v>0</c:v>
                </c:pt>
                <c:pt idx="3814" formatCode="#,##0_);\(#,##0\);&quot;-  &quot;;&quot; &quot;@&quot; &quot;">
                  <c:v>0</c:v>
                </c:pt>
                <c:pt idx="3815" formatCode="#,##0_);\(#,##0\);&quot;-  &quot;;&quot; &quot;@&quot; &quot;">
                  <c:v>0</c:v>
                </c:pt>
                <c:pt idx="3816" formatCode="#,##0_);\(#,##0\);&quot;-  &quot;;&quot; &quot;@&quot; &quot;">
                  <c:v>0</c:v>
                </c:pt>
                <c:pt idx="3817" formatCode="#,##0_);\(#,##0\);&quot;-  &quot;;&quot; &quot;@&quot; &quot;">
                  <c:v>0</c:v>
                </c:pt>
                <c:pt idx="3818" formatCode="#,##0_);\(#,##0\);&quot;-  &quot;;&quot; &quot;@&quot; &quot;">
                  <c:v>0</c:v>
                </c:pt>
                <c:pt idx="3819" formatCode="#,##0_);\(#,##0\);&quot;-  &quot;;&quot; &quot;@&quot; &quot;">
                  <c:v>0</c:v>
                </c:pt>
                <c:pt idx="3820" formatCode="#,##0_);\(#,##0\);&quot;-  &quot;;&quot; &quot;@&quot; &quot;">
                  <c:v>0</c:v>
                </c:pt>
                <c:pt idx="3821" formatCode="#,##0_);\(#,##0\);&quot;-  &quot;;&quot; &quot;@&quot; &quot;">
                  <c:v>0</c:v>
                </c:pt>
                <c:pt idx="3822" formatCode="#,##0_);\(#,##0\);&quot;-  &quot;;&quot; &quot;@&quot; &quot;">
                  <c:v>0</c:v>
                </c:pt>
                <c:pt idx="3823" formatCode="#,##0_);\(#,##0\);&quot;-  &quot;;&quot; &quot;@&quot; &quot;">
                  <c:v>0</c:v>
                </c:pt>
                <c:pt idx="3824" formatCode="#,##0_);\(#,##0\);&quot;-  &quot;;&quot; &quot;@&quot; &quot;">
                  <c:v>0</c:v>
                </c:pt>
                <c:pt idx="3825" formatCode="#,##0_);\(#,##0\);&quot;-  &quot;;&quot; &quot;@&quot; &quot;">
                  <c:v>0</c:v>
                </c:pt>
                <c:pt idx="3826" formatCode="#,##0_);\(#,##0\);&quot;-  &quot;;&quot; &quot;@&quot; &quot;">
                  <c:v>0</c:v>
                </c:pt>
                <c:pt idx="3827" formatCode="#,##0_);\(#,##0\);&quot;-  &quot;;&quot; &quot;@&quot; &quot;">
                  <c:v>0</c:v>
                </c:pt>
                <c:pt idx="3828" formatCode="#,##0_);\(#,##0\);&quot;-  &quot;;&quot; &quot;@&quot; &quot;">
                  <c:v>0</c:v>
                </c:pt>
                <c:pt idx="3829" formatCode="#,##0_);\(#,##0\);&quot;-  &quot;;&quot; &quot;@&quot; &quot;">
                  <c:v>0</c:v>
                </c:pt>
                <c:pt idx="3830" formatCode="#,##0_);\(#,##0\);&quot;-  &quot;;&quot; &quot;@&quot; &quot;">
                  <c:v>0</c:v>
                </c:pt>
                <c:pt idx="3831" formatCode="#,##0_);\(#,##0\);&quot;-  &quot;;&quot; &quot;@&quot; &quot;">
                  <c:v>0</c:v>
                </c:pt>
                <c:pt idx="3832" formatCode="#,##0_);\(#,##0\);&quot;-  &quot;;&quot; &quot;@&quot; &quot;">
                  <c:v>0</c:v>
                </c:pt>
                <c:pt idx="3833" formatCode="#,##0_);\(#,##0\);&quot;-  &quot;;&quot; &quot;@&quot; &quot;">
                  <c:v>0</c:v>
                </c:pt>
                <c:pt idx="3834" formatCode="#,##0_);\(#,##0\);&quot;-  &quot;;&quot; &quot;@&quot; &quot;">
                  <c:v>0</c:v>
                </c:pt>
                <c:pt idx="3835" formatCode="#,##0_);\(#,##0\);&quot;-  &quot;;&quot; &quot;@&quot; &quot;">
                  <c:v>0</c:v>
                </c:pt>
                <c:pt idx="3836" formatCode="#,##0_);\(#,##0\);&quot;-  &quot;;&quot; &quot;@&quot; &quot;">
                  <c:v>0</c:v>
                </c:pt>
                <c:pt idx="3837" formatCode="#,##0_);\(#,##0\);&quot;-  &quot;;&quot; &quot;@&quot; &quot;">
                  <c:v>0</c:v>
                </c:pt>
                <c:pt idx="3838" formatCode="#,##0_);\(#,##0\);&quot;-  &quot;;&quot; &quot;@&quot; &quot;">
                  <c:v>0</c:v>
                </c:pt>
                <c:pt idx="3839" formatCode="#,##0_);\(#,##0\);&quot;-  &quot;;&quot; &quot;@&quot; &quot;">
                  <c:v>0</c:v>
                </c:pt>
                <c:pt idx="3840" formatCode="#,##0_);\(#,##0\);&quot;-  &quot;;&quot; &quot;@&quot; &quot;">
                  <c:v>0</c:v>
                </c:pt>
                <c:pt idx="3841" formatCode="#,##0_);\(#,##0\);&quot;-  &quot;;&quot; &quot;@&quot; &quot;">
                  <c:v>0</c:v>
                </c:pt>
                <c:pt idx="3842" formatCode="#,##0_);\(#,##0\);&quot;-  &quot;;&quot; &quot;@&quot; &quot;">
                  <c:v>0</c:v>
                </c:pt>
                <c:pt idx="3843" formatCode="#,##0_);\(#,##0\);&quot;-  &quot;;&quot; &quot;@&quot; &quot;">
                  <c:v>0</c:v>
                </c:pt>
                <c:pt idx="3844" formatCode="#,##0_);\(#,##0\);&quot;-  &quot;;&quot; &quot;@&quot; &quot;">
                  <c:v>0</c:v>
                </c:pt>
                <c:pt idx="3845" formatCode="#,##0_);\(#,##0\);&quot;-  &quot;;&quot; &quot;@&quot; &quot;">
                  <c:v>0</c:v>
                </c:pt>
                <c:pt idx="3846" formatCode="#,##0_);\(#,##0\);&quot;-  &quot;;&quot; &quot;@&quot; &quot;">
                  <c:v>0</c:v>
                </c:pt>
                <c:pt idx="3847" formatCode="#,##0_);\(#,##0\);&quot;-  &quot;;&quot; &quot;@&quot; &quot;">
                  <c:v>0</c:v>
                </c:pt>
                <c:pt idx="3848" formatCode="#,##0_);\(#,##0\);&quot;-  &quot;;&quot; &quot;@&quot; &quot;">
                  <c:v>0</c:v>
                </c:pt>
                <c:pt idx="3849" formatCode="#,##0_);\(#,##0\);&quot;-  &quot;;&quot; &quot;@&quot; &quot;">
                  <c:v>0</c:v>
                </c:pt>
                <c:pt idx="3850" formatCode="#,##0_);\(#,##0\);&quot;-  &quot;;&quot; &quot;@&quot; &quot;">
                  <c:v>0</c:v>
                </c:pt>
                <c:pt idx="3851" formatCode="#,##0_);\(#,##0\);&quot;-  &quot;;&quot; &quot;@&quot; &quot;">
                  <c:v>0</c:v>
                </c:pt>
                <c:pt idx="3852" formatCode="#,##0_);\(#,##0\);&quot;-  &quot;;&quot; &quot;@&quot; &quot;">
                  <c:v>0</c:v>
                </c:pt>
                <c:pt idx="3853" formatCode="#,##0_);\(#,##0\);&quot;-  &quot;;&quot; &quot;@&quot; &quot;">
                  <c:v>0</c:v>
                </c:pt>
                <c:pt idx="3854" formatCode="#,##0_);\(#,##0\);&quot;-  &quot;;&quot; &quot;@&quot; &quot;">
                  <c:v>0</c:v>
                </c:pt>
                <c:pt idx="3855" formatCode="#,##0_);\(#,##0\);&quot;-  &quot;;&quot; &quot;@&quot; &quot;">
                  <c:v>0</c:v>
                </c:pt>
                <c:pt idx="3856" formatCode="#,##0_);\(#,##0\);&quot;-  &quot;;&quot; &quot;@&quot; &quot;">
                  <c:v>0</c:v>
                </c:pt>
                <c:pt idx="3857" formatCode="#,##0_);\(#,##0\);&quot;-  &quot;;&quot; &quot;@&quot; &quot;">
                  <c:v>0</c:v>
                </c:pt>
                <c:pt idx="3858" formatCode="#,##0_);\(#,##0\);&quot;-  &quot;;&quot; &quot;@&quot; &quot;">
                  <c:v>0</c:v>
                </c:pt>
                <c:pt idx="3859" formatCode="#,##0_);\(#,##0\);&quot;-  &quot;;&quot; &quot;@&quot; &quot;">
                  <c:v>0</c:v>
                </c:pt>
                <c:pt idx="3860" formatCode="#,##0_);\(#,##0\);&quot;-  &quot;;&quot; &quot;@&quot; &quot;">
                  <c:v>0</c:v>
                </c:pt>
                <c:pt idx="3861" formatCode="#,##0_);\(#,##0\);&quot;-  &quot;;&quot; &quot;@&quot; &quot;">
                  <c:v>0</c:v>
                </c:pt>
                <c:pt idx="3862" formatCode="#,##0_);\(#,##0\);&quot;-  &quot;;&quot; &quot;@&quot; &quot;">
                  <c:v>0</c:v>
                </c:pt>
                <c:pt idx="3863" formatCode="#,##0_);\(#,##0\);&quot;-  &quot;;&quot; &quot;@&quot; &quot;">
                  <c:v>0</c:v>
                </c:pt>
                <c:pt idx="3864" formatCode="#,##0_);\(#,##0\);&quot;-  &quot;;&quot; &quot;@&quot; &quot;">
                  <c:v>0</c:v>
                </c:pt>
                <c:pt idx="3865" formatCode="#,##0_);\(#,##0\);&quot;-  &quot;;&quot; &quot;@&quot; &quot;">
                  <c:v>0</c:v>
                </c:pt>
                <c:pt idx="3866" formatCode="#,##0_);\(#,##0\);&quot;-  &quot;;&quot; &quot;@&quot; &quot;">
                  <c:v>0</c:v>
                </c:pt>
                <c:pt idx="3867" formatCode="#,##0_);\(#,##0\);&quot;-  &quot;;&quot; &quot;@&quot; &quot;">
                  <c:v>0</c:v>
                </c:pt>
                <c:pt idx="3868" formatCode="#,##0_);\(#,##0\);&quot;-  &quot;;&quot; &quot;@&quot; &quot;">
                  <c:v>0</c:v>
                </c:pt>
                <c:pt idx="3869" formatCode="#,##0_);\(#,##0\);&quot;-  &quot;;&quot; &quot;@&quot; &quot;">
                  <c:v>0</c:v>
                </c:pt>
                <c:pt idx="3870" formatCode="#,##0_);\(#,##0\);&quot;-  &quot;;&quot; &quot;@&quot; &quot;">
                  <c:v>0</c:v>
                </c:pt>
                <c:pt idx="3871" formatCode="#,##0_);\(#,##0\);&quot;-  &quot;;&quot; &quot;@&quot; &quot;">
                  <c:v>0</c:v>
                </c:pt>
                <c:pt idx="3872" formatCode="#,##0_);\(#,##0\);&quot;-  &quot;;&quot; &quot;@&quot; &quot;">
                  <c:v>0</c:v>
                </c:pt>
                <c:pt idx="3873" formatCode="#,##0_);\(#,##0\);&quot;-  &quot;;&quot; &quot;@&quot; &quot;">
                  <c:v>0</c:v>
                </c:pt>
                <c:pt idx="3874" formatCode="#,##0_);\(#,##0\);&quot;-  &quot;;&quot; &quot;@&quot; &quot;">
                  <c:v>0</c:v>
                </c:pt>
                <c:pt idx="3875" formatCode="#,##0_);\(#,##0\);&quot;-  &quot;;&quot; &quot;@&quot; &quot;">
                  <c:v>0</c:v>
                </c:pt>
                <c:pt idx="3876" formatCode="#,##0_);\(#,##0\);&quot;-  &quot;;&quot; &quot;@&quot; &quot;">
                  <c:v>0</c:v>
                </c:pt>
                <c:pt idx="3877" formatCode="#,##0_);\(#,##0\);&quot;-  &quot;;&quot; &quot;@&quot; &quot;">
                  <c:v>0</c:v>
                </c:pt>
                <c:pt idx="3878" formatCode="#,##0_);\(#,##0\);&quot;-  &quot;;&quot; &quot;@&quot; &quot;">
                  <c:v>0</c:v>
                </c:pt>
                <c:pt idx="3879" formatCode="#,##0_);\(#,##0\);&quot;-  &quot;;&quot; &quot;@&quot; &quot;">
                  <c:v>0</c:v>
                </c:pt>
                <c:pt idx="3880" formatCode="#,##0_);\(#,##0\);&quot;-  &quot;;&quot; &quot;@&quot; &quot;">
                  <c:v>0</c:v>
                </c:pt>
                <c:pt idx="3881" formatCode="#,##0_);\(#,##0\);&quot;-  &quot;;&quot; &quot;@&quot; &quot;">
                  <c:v>0</c:v>
                </c:pt>
                <c:pt idx="3882" formatCode="#,##0_);\(#,##0\);&quot;-  &quot;;&quot; &quot;@&quot; &quot;">
                  <c:v>0</c:v>
                </c:pt>
                <c:pt idx="3883" formatCode="#,##0_);\(#,##0\);&quot;-  &quot;;&quot; &quot;@&quot; &quot;">
                  <c:v>0</c:v>
                </c:pt>
                <c:pt idx="3884" formatCode="#,##0_);\(#,##0\);&quot;-  &quot;;&quot; &quot;@&quot; &quot;">
                  <c:v>0</c:v>
                </c:pt>
                <c:pt idx="3885" formatCode="#,##0_);\(#,##0\);&quot;-  &quot;;&quot; &quot;@&quot; &quot;">
                  <c:v>0</c:v>
                </c:pt>
                <c:pt idx="3886" formatCode="#,##0_);\(#,##0\);&quot;-  &quot;;&quot; &quot;@&quot; &quot;">
                  <c:v>0</c:v>
                </c:pt>
                <c:pt idx="3887" formatCode="#,##0_);\(#,##0\);&quot;-  &quot;;&quot; &quot;@&quot; &quot;">
                  <c:v>0</c:v>
                </c:pt>
                <c:pt idx="3888" formatCode="#,##0_);\(#,##0\);&quot;-  &quot;;&quot; &quot;@&quot; &quot;">
                  <c:v>0</c:v>
                </c:pt>
                <c:pt idx="3889" formatCode="#,##0_);\(#,##0\);&quot;-  &quot;;&quot; &quot;@&quot; &quot;">
                  <c:v>0</c:v>
                </c:pt>
                <c:pt idx="3890" formatCode="#,##0_);\(#,##0\);&quot;-  &quot;;&quot; &quot;@&quot; &quot;">
                  <c:v>0</c:v>
                </c:pt>
                <c:pt idx="3891" formatCode="#,##0_);\(#,##0\);&quot;-  &quot;;&quot; &quot;@&quot; &quot;">
                  <c:v>0</c:v>
                </c:pt>
                <c:pt idx="3892" formatCode="#,##0_);\(#,##0\);&quot;-  &quot;;&quot; &quot;@&quot; &quot;">
                  <c:v>0</c:v>
                </c:pt>
                <c:pt idx="3893" formatCode="#,##0_);\(#,##0\);&quot;-  &quot;;&quot; &quot;@&quot; &quot;">
                  <c:v>0</c:v>
                </c:pt>
                <c:pt idx="3894" formatCode="#,##0_);\(#,##0\);&quot;-  &quot;;&quot; &quot;@&quot; &quot;">
                  <c:v>0</c:v>
                </c:pt>
                <c:pt idx="3895" formatCode="#,##0_);\(#,##0\);&quot;-  &quot;;&quot; &quot;@&quot; &quot;">
                  <c:v>0</c:v>
                </c:pt>
                <c:pt idx="3896" formatCode="#,##0_);\(#,##0\);&quot;-  &quot;;&quot; &quot;@&quot; &quot;">
                  <c:v>0</c:v>
                </c:pt>
                <c:pt idx="3897" formatCode="#,##0_);\(#,##0\);&quot;-  &quot;;&quot; &quot;@&quot; &quot;">
                  <c:v>0</c:v>
                </c:pt>
                <c:pt idx="3898" formatCode="#,##0_);\(#,##0\);&quot;-  &quot;;&quot; &quot;@&quot; &quot;">
                  <c:v>0</c:v>
                </c:pt>
                <c:pt idx="3899" formatCode="#,##0_);\(#,##0\);&quot;-  &quot;;&quot; &quot;@&quot; &quot;">
                  <c:v>0</c:v>
                </c:pt>
                <c:pt idx="3900" formatCode="#,##0_);\(#,##0\);&quot;-  &quot;;&quot; &quot;@&quot; &quot;">
                  <c:v>0</c:v>
                </c:pt>
                <c:pt idx="3901" formatCode="#,##0_);\(#,##0\);&quot;-  &quot;;&quot; &quot;@&quot; &quot;">
                  <c:v>0</c:v>
                </c:pt>
                <c:pt idx="3902" formatCode="#,##0_);\(#,##0\);&quot;-  &quot;;&quot; &quot;@&quot; &quot;">
                  <c:v>0</c:v>
                </c:pt>
                <c:pt idx="3903" formatCode="#,##0_);\(#,##0\);&quot;-  &quot;;&quot; &quot;@&quot; &quot;">
                  <c:v>0</c:v>
                </c:pt>
                <c:pt idx="3904" formatCode="#,##0_);\(#,##0\);&quot;-  &quot;;&quot; &quot;@&quot; &quot;">
                  <c:v>0</c:v>
                </c:pt>
                <c:pt idx="3905" formatCode="#,##0_);\(#,##0\);&quot;-  &quot;;&quot; &quot;@&quot; &quot;">
                  <c:v>0</c:v>
                </c:pt>
                <c:pt idx="3906" formatCode="#,##0_);\(#,##0\);&quot;-  &quot;;&quot; &quot;@&quot; &quot;">
                  <c:v>0</c:v>
                </c:pt>
                <c:pt idx="3907" formatCode="#,##0_);\(#,##0\);&quot;-  &quot;;&quot; &quot;@&quot; &quot;">
                  <c:v>0</c:v>
                </c:pt>
                <c:pt idx="3908" formatCode="#,##0_);\(#,##0\);&quot;-  &quot;;&quot; &quot;@&quot; &quot;">
                  <c:v>0</c:v>
                </c:pt>
                <c:pt idx="3909" formatCode="#,##0_);\(#,##0\);&quot;-  &quot;;&quot; &quot;@&quot; &quot;">
                  <c:v>0</c:v>
                </c:pt>
                <c:pt idx="3910" formatCode="#,##0_);\(#,##0\);&quot;-  &quot;;&quot; &quot;@&quot; &quot;">
                  <c:v>0</c:v>
                </c:pt>
                <c:pt idx="3911" formatCode="#,##0_);\(#,##0\);&quot;-  &quot;;&quot; &quot;@&quot; &quot;">
                  <c:v>0</c:v>
                </c:pt>
                <c:pt idx="3912" formatCode="#,##0_);\(#,##0\);&quot;-  &quot;;&quot; &quot;@&quot; &quot;">
                  <c:v>0</c:v>
                </c:pt>
                <c:pt idx="3913" formatCode="#,##0_);\(#,##0\);&quot;-  &quot;;&quot; &quot;@&quot; &quot;">
                  <c:v>0</c:v>
                </c:pt>
                <c:pt idx="3914" formatCode="#,##0_);\(#,##0\);&quot;-  &quot;;&quot; &quot;@&quot; &quot;">
                  <c:v>0</c:v>
                </c:pt>
                <c:pt idx="3915" formatCode="#,##0_);\(#,##0\);&quot;-  &quot;;&quot; &quot;@&quot; &quot;">
                  <c:v>0</c:v>
                </c:pt>
                <c:pt idx="3916" formatCode="#,##0_);\(#,##0\);&quot;-  &quot;;&quot; &quot;@&quot; &quot;">
                  <c:v>0</c:v>
                </c:pt>
                <c:pt idx="3917" formatCode="#,##0_);\(#,##0\);&quot;-  &quot;;&quot; &quot;@&quot; &quot;">
                  <c:v>0</c:v>
                </c:pt>
                <c:pt idx="3918" formatCode="#,##0_);\(#,##0\);&quot;-  &quot;;&quot; &quot;@&quot; &quot;">
                  <c:v>0</c:v>
                </c:pt>
                <c:pt idx="3919" formatCode="#,##0_);\(#,##0\);&quot;-  &quot;;&quot; &quot;@&quot; &quot;">
                  <c:v>0</c:v>
                </c:pt>
                <c:pt idx="3920" formatCode="#,##0_);\(#,##0\);&quot;-  &quot;;&quot; &quot;@&quot; &quot;">
                  <c:v>0</c:v>
                </c:pt>
                <c:pt idx="3921" formatCode="#,##0_);\(#,##0\);&quot;-  &quot;;&quot; &quot;@&quot; &quot;">
                  <c:v>0</c:v>
                </c:pt>
                <c:pt idx="3922" formatCode="#,##0_);\(#,##0\);&quot;-  &quot;;&quot; &quot;@&quot; &quot;">
                  <c:v>0</c:v>
                </c:pt>
                <c:pt idx="3923" formatCode="#,##0_);\(#,##0\);&quot;-  &quot;;&quot; &quot;@&quot; &quot;">
                  <c:v>0</c:v>
                </c:pt>
                <c:pt idx="3924" formatCode="#,##0_);\(#,##0\);&quot;-  &quot;;&quot; &quot;@&quot; &quot;">
                  <c:v>0</c:v>
                </c:pt>
                <c:pt idx="3925" formatCode="#,##0_);\(#,##0\);&quot;-  &quot;;&quot; &quot;@&quot; &quot;">
                  <c:v>0</c:v>
                </c:pt>
                <c:pt idx="3926" formatCode="#,##0_);\(#,##0\);&quot;-  &quot;;&quot; &quot;@&quot; &quot;">
                  <c:v>0</c:v>
                </c:pt>
                <c:pt idx="3927" formatCode="#,##0_);\(#,##0\);&quot;-  &quot;;&quot; &quot;@&quot; &quot;">
                  <c:v>0</c:v>
                </c:pt>
                <c:pt idx="3928" formatCode="#,##0_);\(#,##0\);&quot;-  &quot;;&quot; &quot;@&quot; &quot;">
                  <c:v>0</c:v>
                </c:pt>
                <c:pt idx="3929" formatCode="#,##0_);\(#,##0\);&quot;-  &quot;;&quot; &quot;@&quot; &quot;">
                  <c:v>0</c:v>
                </c:pt>
                <c:pt idx="3930" formatCode="#,##0_);\(#,##0\);&quot;-  &quot;;&quot; &quot;@&quot; &quot;">
                  <c:v>0</c:v>
                </c:pt>
                <c:pt idx="3931" formatCode="#,##0_);\(#,##0\);&quot;-  &quot;;&quot; &quot;@&quot; &quot;">
                  <c:v>0</c:v>
                </c:pt>
                <c:pt idx="3932" formatCode="#,##0_);\(#,##0\);&quot;-  &quot;;&quot; &quot;@&quot; &quot;">
                  <c:v>0</c:v>
                </c:pt>
                <c:pt idx="3933" formatCode="#,##0_);\(#,##0\);&quot;-  &quot;;&quot; &quot;@&quot; &quot;">
                  <c:v>0</c:v>
                </c:pt>
                <c:pt idx="3934" formatCode="#,##0_);\(#,##0\);&quot;-  &quot;;&quot; &quot;@&quot; &quot;">
                  <c:v>0</c:v>
                </c:pt>
                <c:pt idx="3935" formatCode="#,##0_);\(#,##0\);&quot;-  &quot;;&quot; &quot;@&quot; &quot;">
                  <c:v>0</c:v>
                </c:pt>
                <c:pt idx="3936" formatCode="#,##0_);\(#,##0\);&quot;-  &quot;;&quot; &quot;@&quot; &quot;">
                  <c:v>0</c:v>
                </c:pt>
                <c:pt idx="3937" formatCode="#,##0_);\(#,##0\);&quot;-  &quot;;&quot; &quot;@&quot; &quot;">
                  <c:v>0</c:v>
                </c:pt>
                <c:pt idx="3938" formatCode="#,##0_);\(#,##0\);&quot;-  &quot;;&quot; &quot;@&quot; &quot;">
                  <c:v>0</c:v>
                </c:pt>
                <c:pt idx="3939" formatCode="#,##0_);\(#,##0\);&quot;-  &quot;;&quot; &quot;@&quot; &quot;">
                  <c:v>0</c:v>
                </c:pt>
                <c:pt idx="3940" formatCode="#,##0_);\(#,##0\);&quot;-  &quot;;&quot; &quot;@&quot; &quot;">
                  <c:v>0</c:v>
                </c:pt>
                <c:pt idx="3941" formatCode="#,##0_);\(#,##0\);&quot;-  &quot;;&quot; &quot;@&quot; &quot;">
                  <c:v>0</c:v>
                </c:pt>
                <c:pt idx="3942" formatCode="#,##0_);\(#,##0\);&quot;-  &quot;;&quot; &quot;@&quot; &quot;">
                  <c:v>0</c:v>
                </c:pt>
                <c:pt idx="3943" formatCode="#,##0_);\(#,##0\);&quot;-  &quot;;&quot; &quot;@&quot; &quot;">
                  <c:v>0</c:v>
                </c:pt>
                <c:pt idx="3944" formatCode="#,##0_);\(#,##0\);&quot;-  &quot;;&quot; &quot;@&quot; &quot;">
                  <c:v>0</c:v>
                </c:pt>
                <c:pt idx="3945" formatCode="#,##0_);\(#,##0\);&quot;-  &quot;;&quot; &quot;@&quot; &quot;">
                  <c:v>0</c:v>
                </c:pt>
                <c:pt idx="3946" formatCode="#,##0_);\(#,##0\);&quot;-  &quot;;&quot; &quot;@&quot; &quot;">
                  <c:v>0</c:v>
                </c:pt>
                <c:pt idx="3947" formatCode="#,##0_);\(#,##0\);&quot;-  &quot;;&quot; &quot;@&quot; &quot;">
                  <c:v>0</c:v>
                </c:pt>
                <c:pt idx="3948" formatCode="#,##0_);\(#,##0\);&quot;-  &quot;;&quot; &quot;@&quot; &quot;">
                  <c:v>0</c:v>
                </c:pt>
                <c:pt idx="3949" formatCode="#,##0_);\(#,##0\);&quot;-  &quot;;&quot; &quot;@&quot; &quot;">
                  <c:v>0</c:v>
                </c:pt>
                <c:pt idx="3950" formatCode="#,##0_);\(#,##0\);&quot;-  &quot;;&quot; &quot;@&quot; &quot;">
                  <c:v>0</c:v>
                </c:pt>
                <c:pt idx="3951" formatCode="#,##0_);\(#,##0\);&quot;-  &quot;;&quot; &quot;@&quot; &quot;">
                  <c:v>0</c:v>
                </c:pt>
                <c:pt idx="3952" formatCode="#,##0_);\(#,##0\);&quot;-  &quot;;&quot; &quot;@&quot; &quot;">
                  <c:v>0</c:v>
                </c:pt>
                <c:pt idx="3953" formatCode="#,##0_);\(#,##0\);&quot;-  &quot;;&quot; &quot;@&quot; &quot;">
                  <c:v>0</c:v>
                </c:pt>
                <c:pt idx="3954" formatCode="#,##0_);\(#,##0\);&quot;-  &quot;;&quot; &quot;@&quot; &quot;">
                  <c:v>0</c:v>
                </c:pt>
                <c:pt idx="3955" formatCode="#,##0_);\(#,##0\);&quot;-  &quot;;&quot; &quot;@&quot; &quot;">
                  <c:v>0</c:v>
                </c:pt>
                <c:pt idx="3956" formatCode="#,##0_);\(#,##0\);&quot;-  &quot;;&quot; &quot;@&quot; &quot;">
                  <c:v>0</c:v>
                </c:pt>
                <c:pt idx="3957" formatCode="#,##0_);\(#,##0\);&quot;-  &quot;;&quot; &quot;@&quot; &quot;">
                  <c:v>0</c:v>
                </c:pt>
                <c:pt idx="3958" formatCode="#,##0_);\(#,##0\);&quot;-  &quot;;&quot; &quot;@&quot; &quot;">
                  <c:v>0</c:v>
                </c:pt>
                <c:pt idx="3959" formatCode="#,##0_);\(#,##0\);&quot;-  &quot;;&quot; &quot;@&quot; &quot;">
                  <c:v>0</c:v>
                </c:pt>
                <c:pt idx="3960" formatCode="#,##0_);\(#,##0\);&quot;-  &quot;;&quot; &quot;@&quot; &quot;">
                  <c:v>0</c:v>
                </c:pt>
                <c:pt idx="3961" formatCode="#,##0_);\(#,##0\);&quot;-  &quot;;&quot; &quot;@&quot; &quot;">
                  <c:v>0</c:v>
                </c:pt>
                <c:pt idx="3962" formatCode="#,##0_);\(#,##0\);&quot;-  &quot;;&quot; &quot;@&quot; &quot;">
                  <c:v>0</c:v>
                </c:pt>
                <c:pt idx="3963" formatCode="#,##0_);\(#,##0\);&quot;-  &quot;;&quot; &quot;@&quot; &quot;">
                  <c:v>0</c:v>
                </c:pt>
                <c:pt idx="3964" formatCode="#,##0_);\(#,##0\);&quot;-  &quot;;&quot; &quot;@&quot; &quot;">
                  <c:v>0</c:v>
                </c:pt>
                <c:pt idx="3965" formatCode="#,##0_);\(#,##0\);&quot;-  &quot;;&quot; &quot;@&quot; &quot;">
                  <c:v>0</c:v>
                </c:pt>
                <c:pt idx="3966" formatCode="#,##0_);\(#,##0\);&quot;-  &quot;;&quot; &quot;@&quot; &quot;">
                  <c:v>0</c:v>
                </c:pt>
                <c:pt idx="3967" formatCode="#,##0_);\(#,##0\);&quot;-  &quot;;&quot; &quot;@&quot; &quot;">
                  <c:v>0</c:v>
                </c:pt>
                <c:pt idx="3968" formatCode="#,##0_);\(#,##0\);&quot;-  &quot;;&quot; &quot;@&quot; &quot;">
                  <c:v>0</c:v>
                </c:pt>
                <c:pt idx="3969" formatCode="#,##0_);\(#,##0\);&quot;-  &quot;;&quot; &quot;@&quot; &quot;">
                  <c:v>0</c:v>
                </c:pt>
                <c:pt idx="3970" formatCode="#,##0_);\(#,##0\);&quot;-  &quot;;&quot; &quot;@&quot; &quot;">
                  <c:v>0</c:v>
                </c:pt>
                <c:pt idx="3971" formatCode="#,##0_);\(#,##0\);&quot;-  &quot;;&quot; &quot;@&quot; &quot;">
                  <c:v>0</c:v>
                </c:pt>
                <c:pt idx="3972" formatCode="#,##0_);\(#,##0\);&quot;-  &quot;;&quot; &quot;@&quot; &quot;">
                  <c:v>0</c:v>
                </c:pt>
                <c:pt idx="3973" formatCode="#,##0_);\(#,##0\);&quot;-  &quot;;&quot; &quot;@&quot; &quot;">
                  <c:v>0</c:v>
                </c:pt>
                <c:pt idx="3974" formatCode="#,##0_);\(#,##0\);&quot;-  &quot;;&quot; &quot;@&quot; &quot;">
                  <c:v>0</c:v>
                </c:pt>
                <c:pt idx="3975" formatCode="#,##0_);\(#,##0\);&quot;-  &quot;;&quot; &quot;@&quot; &quot;">
                  <c:v>0</c:v>
                </c:pt>
                <c:pt idx="3976" formatCode="#,##0_);\(#,##0\);&quot;-  &quot;;&quot; &quot;@&quot; &quot;">
                  <c:v>0</c:v>
                </c:pt>
                <c:pt idx="3977" formatCode="#,##0_);\(#,##0\);&quot;-  &quot;;&quot; &quot;@&quot; &quot;">
                  <c:v>0</c:v>
                </c:pt>
                <c:pt idx="3978" formatCode="#,##0_);\(#,##0\);&quot;-  &quot;;&quot; &quot;@&quot; &quot;">
                  <c:v>0</c:v>
                </c:pt>
                <c:pt idx="3979" formatCode="#,##0_);\(#,##0\);&quot;-  &quot;;&quot; &quot;@&quot; &quot;">
                  <c:v>0</c:v>
                </c:pt>
                <c:pt idx="3980" formatCode="#,##0_);\(#,##0\);&quot;-  &quot;;&quot; &quot;@&quot; &quot;">
                  <c:v>0</c:v>
                </c:pt>
                <c:pt idx="3981" formatCode="#,##0_);\(#,##0\);&quot;-  &quot;;&quot; &quot;@&quot; &quot;">
                  <c:v>0</c:v>
                </c:pt>
                <c:pt idx="3982" formatCode="#,##0_);\(#,##0\);&quot;-  &quot;;&quot; &quot;@&quot; &quot;">
                  <c:v>0</c:v>
                </c:pt>
                <c:pt idx="3983" formatCode="#,##0_);\(#,##0\);&quot;-  &quot;;&quot; &quot;@&quot; &quot;">
                  <c:v>0</c:v>
                </c:pt>
                <c:pt idx="3984" formatCode="#,##0_);\(#,##0\);&quot;-  &quot;;&quot; &quot;@&quot; &quot;">
                  <c:v>0</c:v>
                </c:pt>
                <c:pt idx="3985" formatCode="#,##0_);\(#,##0\);&quot;-  &quot;;&quot; &quot;@&quot; &quot;">
                  <c:v>0</c:v>
                </c:pt>
                <c:pt idx="3986" formatCode="#,##0_);\(#,##0\);&quot;-  &quot;;&quot; &quot;@&quot; &quot;">
                  <c:v>0</c:v>
                </c:pt>
                <c:pt idx="3987" formatCode="#,##0_);\(#,##0\);&quot;-  &quot;;&quot; &quot;@&quot; &quot;">
                  <c:v>0</c:v>
                </c:pt>
                <c:pt idx="3988" formatCode="#,##0_);\(#,##0\);&quot;-  &quot;;&quot; &quot;@&quot; &quot;">
                  <c:v>0</c:v>
                </c:pt>
                <c:pt idx="3989" formatCode="#,##0_);\(#,##0\);&quot;-  &quot;;&quot; &quot;@&quot; &quot;">
                  <c:v>0</c:v>
                </c:pt>
                <c:pt idx="3990" formatCode="#,##0_);\(#,##0\);&quot;-  &quot;;&quot; &quot;@&quot; &quot;">
                  <c:v>0</c:v>
                </c:pt>
                <c:pt idx="3991" formatCode="#,##0_);\(#,##0\);&quot;-  &quot;;&quot; &quot;@&quot; &quot;">
                  <c:v>0</c:v>
                </c:pt>
                <c:pt idx="3992" formatCode="#,##0_);\(#,##0\);&quot;-  &quot;;&quot; &quot;@&quot; &quot;">
                  <c:v>0</c:v>
                </c:pt>
                <c:pt idx="3993" formatCode="#,##0_);\(#,##0\);&quot;-  &quot;;&quot; &quot;@&quot; &quot;">
                  <c:v>0</c:v>
                </c:pt>
                <c:pt idx="3994" formatCode="#,##0_);\(#,##0\);&quot;-  &quot;;&quot; &quot;@&quot; &quot;">
                  <c:v>0</c:v>
                </c:pt>
                <c:pt idx="3995" formatCode="#,##0_);\(#,##0\);&quot;-  &quot;;&quot; &quot;@&quot; &quot;">
                  <c:v>0</c:v>
                </c:pt>
                <c:pt idx="3996" formatCode="#,##0_);\(#,##0\);&quot;-  &quot;;&quot; &quot;@&quot; &quot;">
                  <c:v>0</c:v>
                </c:pt>
                <c:pt idx="3997" formatCode="#,##0_);\(#,##0\);&quot;-  &quot;;&quot; &quot;@&quot; &quot;">
                  <c:v>0</c:v>
                </c:pt>
                <c:pt idx="3998" formatCode="#,##0_);\(#,##0\);&quot;-  &quot;;&quot; &quot;@&quot; &quot;">
                  <c:v>0</c:v>
                </c:pt>
                <c:pt idx="3999" formatCode="#,##0_);\(#,##0\);&quot;-  &quot;;&quot; &quot;@&quot; &quot;">
                  <c:v>0</c:v>
                </c:pt>
                <c:pt idx="4000" formatCode="#,##0_);\(#,##0\);&quot;-  &quot;;&quot; &quot;@&quot; &quot;">
                  <c:v>0</c:v>
                </c:pt>
                <c:pt idx="4001" formatCode="#,##0_);\(#,##0\);&quot;-  &quot;;&quot; &quot;@&quot; &quot;">
                  <c:v>0</c:v>
                </c:pt>
                <c:pt idx="4002" formatCode="#,##0_);\(#,##0\);&quot;-  &quot;;&quot; &quot;@&quot; &quot;">
                  <c:v>0</c:v>
                </c:pt>
                <c:pt idx="4003" formatCode="#,##0_);\(#,##0\);&quot;-  &quot;;&quot; &quot;@&quot; &quot;">
                  <c:v>0</c:v>
                </c:pt>
                <c:pt idx="4004" formatCode="#,##0_);\(#,##0\);&quot;-  &quot;;&quot; &quot;@&quot; &quot;">
                  <c:v>0</c:v>
                </c:pt>
                <c:pt idx="4005" formatCode="#,##0_);\(#,##0\);&quot;-  &quot;;&quot; &quot;@&quot; &quot;">
                  <c:v>0</c:v>
                </c:pt>
                <c:pt idx="4006" formatCode="#,##0_);\(#,##0\);&quot;-  &quot;;&quot; &quot;@&quot; &quot;">
                  <c:v>0</c:v>
                </c:pt>
                <c:pt idx="4007" formatCode="#,##0_);\(#,##0\);&quot;-  &quot;;&quot; &quot;@&quot; &quot;">
                  <c:v>0</c:v>
                </c:pt>
                <c:pt idx="4008" formatCode="#,##0_);\(#,##0\);&quot;-  &quot;;&quot; &quot;@&quot; &quot;">
                  <c:v>0</c:v>
                </c:pt>
                <c:pt idx="4009" formatCode="#,##0_);\(#,##0\);&quot;-  &quot;;&quot; &quot;@&quot; &quot;">
                  <c:v>0</c:v>
                </c:pt>
                <c:pt idx="4010" formatCode="#,##0_);\(#,##0\);&quot;-  &quot;;&quot; &quot;@&quot; &quot;">
                  <c:v>0</c:v>
                </c:pt>
                <c:pt idx="4011" formatCode="#,##0_);\(#,##0\);&quot;-  &quot;;&quot; &quot;@&quot; &quot;">
                  <c:v>0</c:v>
                </c:pt>
                <c:pt idx="4012" formatCode="#,##0_);\(#,##0\);&quot;-  &quot;;&quot; &quot;@&quot; &quot;">
                  <c:v>0</c:v>
                </c:pt>
                <c:pt idx="4013" formatCode="#,##0_);\(#,##0\);&quot;-  &quot;;&quot; &quot;@&quot; &quot;">
                  <c:v>0</c:v>
                </c:pt>
                <c:pt idx="4014" formatCode="#,##0_);\(#,##0\);&quot;-  &quot;;&quot; &quot;@&quot; &quot;">
                  <c:v>0</c:v>
                </c:pt>
                <c:pt idx="4015" formatCode="#,##0_);\(#,##0\);&quot;-  &quot;;&quot; &quot;@&quot; &quot;">
                  <c:v>0</c:v>
                </c:pt>
                <c:pt idx="4016" formatCode="#,##0_);\(#,##0\);&quot;-  &quot;;&quot; &quot;@&quot; &quot;">
                  <c:v>0</c:v>
                </c:pt>
                <c:pt idx="4017" formatCode="#,##0_);\(#,##0\);&quot;-  &quot;;&quot; &quot;@&quot; &quot;">
                  <c:v>0</c:v>
                </c:pt>
                <c:pt idx="4018" formatCode="#,##0_);\(#,##0\);&quot;-  &quot;;&quot; &quot;@&quot; &quot;">
                  <c:v>0</c:v>
                </c:pt>
                <c:pt idx="4019" formatCode="#,##0_);\(#,##0\);&quot;-  &quot;;&quot; &quot;@&quot; &quot;">
                  <c:v>0</c:v>
                </c:pt>
                <c:pt idx="4020" formatCode="#,##0_);\(#,##0\);&quot;-  &quot;;&quot; &quot;@&quot; &quot;">
                  <c:v>0</c:v>
                </c:pt>
                <c:pt idx="4021" formatCode="#,##0_);\(#,##0\);&quot;-  &quot;;&quot; &quot;@&quot; &quot;">
                  <c:v>0</c:v>
                </c:pt>
                <c:pt idx="4022" formatCode="#,##0_);\(#,##0\);&quot;-  &quot;;&quot; &quot;@&quot; &quot;">
                  <c:v>0</c:v>
                </c:pt>
                <c:pt idx="4023" formatCode="#,##0_);\(#,##0\);&quot;-  &quot;;&quot; &quot;@&quot; &quot;">
                  <c:v>0</c:v>
                </c:pt>
                <c:pt idx="4024" formatCode="#,##0_);\(#,##0\);&quot;-  &quot;;&quot; &quot;@&quot; &quot;">
                  <c:v>0</c:v>
                </c:pt>
                <c:pt idx="4025" formatCode="#,##0_);\(#,##0\);&quot;-  &quot;;&quot; &quot;@&quot; &quot;">
                  <c:v>0</c:v>
                </c:pt>
                <c:pt idx="4026" formatCode="#,##0_);\(#,##0\);&quot;-  &quot;;&quot; &quot;@&quot; &quot;">
                  <c:v>0</c:v>
                </c:pt>
                <c:pt idx="4027" formatCode="#,##0_);\(#,##0\);&quot;-  &quot;;&quot; &quot;@&quot; &quot;">
                  <c:v>0</c:v>
                </c:pt>
                <c:pt idx="4028" formatCode="#,##0_);\(#,##0\);&quot;-  &quot;;&quot; &quot;@&quot; &quot;">
                  <c:v>0</c:v>
                </c:pt>
                <c:pt idx="4029" formatCode="#,##0_);\(#,##0\);&quot;-  &quot;;&quot; &quot;@&quot; &quot;">
                  <c:v>0</c:v>
                </c:pt>
                <c:pt idx="4030" formatCode="#,##0_);\(#,##0\);&quot;-  &quot;;&quot; &quot;@&quot; &quot;">
                  <c:v>0</c:v>
                </c:pt>
                <c:pt idx="4031" formatCode="#,##0_);\(#,##0\);&quot;-  &quot;;&quot; &quot;@&quot; &quot;">
                  <c:v>0</c:v>
                </c:pt>
                <c:pt idx="4032" formatCode="#,##0_);\(#,##0\);&quot;-  &quot;;&quot; &quot;@&quot; &quot;">
                  <c:v>0</c:v>
                </c:pt>
                <c:pt idx="4033" formatCode="#,##0_);\(#,##0\);&quot;-  &quot;;&quot; &quot;@&quot; &quot;">
                  <c:v>0</c:v>
                </c:pt>
                <c:pt idx="4034" formatCode="#,##0_);\(#,##0\);&quot;-  &quot;;&quot; &quot;@&quot; &quot;">
                  <c:v>0</c:v>
                </c:pt>
                <c:pt idx="4035" formatCode="#,##0_);\(#,##0\);&quot;-  &quot;;&quot; &quot;@&quot; &quot;">
                  <c:v>0</c:v>
                </c:pt>
                <c:pt idx="4036" formatCode="#,##0_);\(#,##0\);&quot;-  &quot;;&quot; &quot;@&quot; &quot;">
                  <c:v>0</c:v>
                </c:pt>
                <c:pt idx="4037" formatCode="#,##0_);\(#,##0\);&quot;-  &quot;;&quot; &quot;@&quot; &quot;">
                  <c:v>0</c:v>
                </c:pt>
                <c:pt idx="4038" formatCode="#,##0_);\(#,##0\);&quot;-  &quot;;&quot; &quot;@&quot; &quot;">
                  <c:v>0</c:v>
                </c:pt>
                <c:pt idx="4039" formatCode="#,##0_);\(#,##0\);&quot;-  &quot;;&quot; &quot;@&quot; &quot;">
                  <c:v>0</c:v>
                </c:pt>
                <c:pt idx="4040" formatCode="#,##0_);\(#,##0\);&quot;-  &quot;;&quot; &quot;@&quot; &quot;">
                  <c:v>0</c:v>
                </c:pt>
                <c:pt idx="4041" formatCode="#,##0_);\(#,##0\);&quot;-  &quot;;&quot; &quot;@&quot; &quot;">
                  <c:v>0</c:v>
                </c:pt>
                <c:pt idx="4042" formatCode="#,##0_);\(#,##0\);&quot;-  &quot;;&quot; &quot;@&quot; &quot;">
                  <c:v>0</c:v>
                </c:pt>
                <c:pt idx="4043" formatCode="#,##0_);\(#,##0\);&quot;-  &quot;;&quot; &quot;@&quot; &quot;">
                  <c:v>0</c:v>
                </c:pt>
                <c:pt idx="4044" formatCode="#,##0_);\(#,##0\);&quot;-  &quot;;&quot; &quot;@&quot; &quot;">
                  <c:v>0</c:v>
                </c:pt>
                <c:pt idx="4045" formatCode="#,##0_);\(#,##0\);&quot;-  &quot;;&quot; &quot;@&quot; &quot;">
                  <c:v>0</c:v>
                </c:pt>
                <c:pt idx="4046" formatCode="#,##0_);\(#,##0\);&quot;-  &quot;;&quot; &quot;@&quot; &quot;">
                  <c:v>0</c:v>
                </c:pt>
                <c:pt idx="4047" formatCode="#,##0_);\(#,##0\);&quot;-  &quot;;&quot; &quot;@&quot; &quot;">
                  <c:v>0</c:v>
                </c:pt>
                <c:pt idx="4048" formatCode="#,##0_);\(#,##0\);&quot;-  &quot;;&quot; &quot;@&quot; &quot;">
                  <c:v>0</c:v>
                </c:pt>
                <c:pt idx="4049" formatCode="#,##0_);\(#,##0\);&quot;-  &quot;;&quot; &quot;@&quot; &quot;">
                  <c:v>0</c:v>
                </c:pt>
                <c:pt idx="4050" formatCode="#,##0_);\(#,##0\);&quot;-  &quot;;&quot; &quot;@&quot; &quot;">
                  <c:v>0</c:v>
                </c:pt>
                <c:pt idx="4051" formatCode="#,##0_);\(#,##0\);&quot;-  &quot;;&quot; &quot;@&quot; &quot;">
                  <c:v>0</c:v>
                </c:pt>
                <c:pt idx="4052" formatCode="#,##0_);\(#,##0\);&quot;-  &quot;;&quot; &quot;@&quot; &quot;">
                  <c:v>0</c:v>
                </c:pt>
                <c:pt idx="4053" formatCode="#,##0_);\(#,##0\);&quot;-  &quot;;&quot; &quot;@&quot; &quot;">
                  <c:v>0</c:v>
                </c:pt>
                <c:pt idx="4054" formatCode="#,##0_);\(#,##0\);&quot;-  &quot;;&quot; &quot;@&quot; &quot;">
                  <c:v>0</c:v>
                </c:pt>
                <c:pt idx="4055" formatCode="#,##0_);\(#,##0\);&quot;-  &quot;;&quot; &quot;@&quot; &quot;">
                  <c:v>0</c:v>
                </c:pt>
                <c:pt idx="4056" formatCode="#,##0_);\(#,##0\);&quot;-  &quot;;&quot; &quot;@&quot; &quot;">
                  <c:v>0</c:v>
                </c:pt>
                <c:pt idx="4057" formatCode="#,##0_);\(#,##0\);&quot;-  &quot;;&quot; &quot;@&quot; &quot;">
                  <c:v>0</c:v>
                </c:pt>
                <c:pt idx="4058" formatCode="#,##0_);\(#,##0\);&quot;-  &quot;;&quot; &quot;@&quot; &quot;">
                  <c:v>0</c:v>
                </c:pt>
                <c:pt idx="4059" formatCode="#,##0_);\(#,##0\);&quot;-  &quot;;&quot; &quot;@&quot; &quot;">
                  <c:v>0</c:v>
                </c:pt>
                <c:pt idx="4060" formatCode="#,##0_);\(#,##0\);&quot;-  &quot;;&quot; &quot;@&quot; &quot;">
                  <c:v>0</c:v>
                </c:pt>
                <c:pt idx="4061" formatCode="#,##0_);\(#,##0\);&quot;-  &quot;;&quot; &quot;@&quot; &quot;">
                  <c:v>0</c:v>
                </c:pt>
                <c:pt idx="4062" formatCode="#,##0_);\(#,##0\);&quot;-  &quot;;&quot; &quot;@&quot; &quot;">
                  <c:v>0</c:v>
                </c:pt>
                <c:pt idx="4063" formatCode="#,##0_);\(#,##0\);&quot;-  &quot;;&quot; &quot;@&quot; &quot;">
                  <c:v>0</c:v>
                </c:pt>
                <c:pt idx="4064" formatCode="#,##0_);\(#,##0\);&quot;-  &quot;;&quot; &quot;@&quot; &quot;">
                  <c:v>0</c:v>
                </c:pt>
                <c:pt idx="4065" formatCode="#,##0_);\(#,##0\);&quot;-  &quot;;&quot; &quot;@&quot; &quot;">
                  <c:v>0</c:v>
                </c:pt>
                <c:pt idx="4066" formatCode="#,##0_);\(#,##0\);&quot;-  &quot;;&quot; &quot;@&quot; &quot;">
                  <c:v>0</c:v>
                </c:pt>
                <c:pt idx="4067" formatCode="#,##0_);\(#,##0\);&quot;-  &quot;;&quot; &quot;@&quot; &quot;">
                  <c:v>0</c:v>
                </c:pt>
                <c:pt idx="4068" formatCode="#,##0_);\(#,##0\);&quot;-  &quot;;&quot; &quot;@&quot; &quot;">
                  <c:v>0</c:v>
                </c:pt>
                <c:pt idx="4069" formatCode="#,##0_);\(#,##0\);&quot;-  &quot;;&quot; &quot;@&quot; &quot;">
                  <c:v>0</c:v>
                </c:pt>
                <c:pt idx="4070" formatCode="#,##0_);\(#,##0\);&quot;-  &quot;;&quot; &quot;@&quot; &quot;">
                  <c:v>0</c:v>
                </c:pt>
                <c:pt idx="4071" formatCode="#,##0_);\(#,##0\);&quot;-  &quot;;&quot; &quot;@&quot; &quot;">
                  <c:v>0</c:v>
                </c:pt>
                <c:pt idx="4072" formatCode="#,##0_);\(#,##0\);&quot;-  &quot;;&quot; &quot;@&quot; &quot;">
                  <c:v>0</c:v>
                </c:pt>
                <c:pt idx="4073" formatCode="#,##0_);\(#,##0\);&quot;-  &quot;;&quot; &quot;@&quot; &quot;">
                  <c:v>0</c:v>
                </c:pt>
                <c:pt idx="4074" formatCode="#,##0_);\(#,##0\);&quot;-  &quot;;&quot; &quot;@&quot; &quot;">
                  <c:v>0</c:v>
                </c:pt>
                <c:pt idx="4075" formatCode="#,##0_);\(#,##0\);&quot;-  &quot;;&quot; &quot;@&quot; &quot;">
                  <c:v>0</c:v>
                </c:pt>
                <c:pt idx="4076" formatCode="#,##0_);\(#,##0\);&quot;-  &quot;;&quot; &quot;@&quot; &quot;">
                  <c:v>0</c:v>
                </c:pt>
                <c:pt idx="4077" formatCode="#,##0_);\(#,##0\);&quot;-  &quot;;&quot; &quot;@&quot; &quot;">
                  <c:v>0</c:v>
                </c:pt>
                <c:pt idx="4078" formatCode="#,##0_);\(#,##0\);&quot;-  &quot;;&quot; &quot;@&quot; &quot;">
                  <c:v>0</c:v>
                </c:pt>
                <c:pt idx="4079" formatCode="#,##0_);\(#,##0\);&quot;-  &quot;;&quot; &quot;@&quot; &quot;">
                  <c:v>0</c:v>
                </c:pt>
                <c:pt idx="4080" formatCode="#,##0_);\(#,##0\);&quot;-  &quot;;&quot; &quot;@&quot; &quot;">
                  <c:v>0</c:v>
                </c:pt>
                <c:pt idx="4081" formatCode="#,##0_);\(#,##0\);&quot;-  &quot;;&quot; &quot;@&quot; &quot;">
                  <c:v>0</c:v>
                </c:pt>
                <c:pt idx="4082" formatCode="#,##0_);\(#,##0\);&quot;-  &quot;;&quot; &quot;@&quot; &quot;">
                  <c:v>0</c:v>
                </c:pt>
                <c:pt idx="4083" formatCode="#,##0_);\(#,##0\);&quot;-  &quot;;&quot; &quot;@&quot; &quot;">
                  <c:v>0</c:v>
                </c:pt>
                <c:pt idx="4084" formatCode="#,##0_);\(#,##0\);&quot;-  &quot;;&quot; &quot;@&quot; &quot;">
                  <c:v>0</c:v>
                </c:pt>
                <c:pt idx="4085" formatCode="#,##0_);\(#,##0\);&quot;-  &quot;;&quot; &quot;@&quot; &quot;">
                  <c:v>0</c:v>
                </c:pt>
                <c:pt idx="4086" formatCode="#,##0_);\(#,##0\);&quot;-  &quot;;&quot; &quot;@&quot; &quot;">
                  <c:v>0</c:v>
                </c:pt>
                <c:pt idx="4087" formatCode="#,##0_);\(#,##0\);&quot;-  &quot;;&quot; &quot;@&quot; &quot;">
                  <c:v>0</c:v>
                </c:pt>
                <c:pt idx="4088" formatCode="#,##0_);\(#,##0\);&quot;-  &quot;;&quot; &quot;@&quot; &quot;">
                  <c:v>0</c:v>
                </c:pt>
                <c:pt idx="4089" formatCode="#,##0_);\(#,##0\);&quot;-  &quot;;&quot; &quot;@&quot; &quot;">
                  <c:v>0</c:v>
                </c:pt>
                <c:pt idx="4090" formatCode="#,##0_);\(#,##0\);&quot;-  &quot;;&quot; &quot;@&quot; &quot;">
                  <c:v>0</c:v>
                </c:pt>
                <c:pt idx="4091" formatCode="#,##0_);\(#,##0\);&quot;-  &quot;;&quot; &quot;@&quot; &quot;">
                  <c:v>0</c:v>
                </c:pt>
                <c:pt idx="4092" formatCode="#,##0_);\(#,##0\);&quot;-  &quot;;&quot; &quot;@&quot; &quot;">
                  <c:v>0</c:v>
                </c:pt>
                <c:pt idx="4093" formatCode="#,##0_);\(#,##0\);&quot;-  &quot;;&quot; &quot;@&quot; &quot;">
                  <c:v>0</c:v>
                </c:pt>
                <c:pt idx="4094" formatCode="#,##0_);\(#,##0\);&quot;-  &quot;;&quot; &quot;@&quot; &quot;">
                  <c:v>0</c:v>
                </c:pt>
                <c:pt idx="4095" formatCode="#,##0_);\(#,##0\);&quot;-  &quot;;&quot; &quot;@&quot; &quot;">
                  <c:v>0</c:v>
                </c:pt>
                <c:pt idx="4096" formatCode="#,##0_);\(#,##0\);&quot;-  &quot;;&quot; &quot;@&quot; &quot;">
                  <c:v>0</c:v>
                </c:pt>
                <c:pt idx="4097" formatCode="#,##0_);\(#,##0\);&quot;-  &quot;;&quot; &quot;@&quot; &quot;">
                  <c:v>0</c:v>
                </c:pt>
                <c:pt idx="4098" formatCode="#,##0_);\(#,##0\);&quot;-  &quot;;&quot; &quot;@&quot; &quot;">
                  <c:v>0</c:v>
                </c:pt>
                <c:pt idx="4099" formatCode="#,##0_);\(#,##0\);&quot;-  &quot;;&quot; &quot;@&quot; &quot;">
                  <c:v>0</c:v>
                </c:pt>
                <c:pt idx="4100" formatCode="#,##0_);\(#,##0\);&quot;-  &quot;;&quot; &quot;@&quot; &quot;">
                  <c:v>0</c:v>
                </c:pt>
                <c:pt idx="4101" formatCode="#,##0_);\(#,##0\);&quot;-  &quot;;&quot; &quot;@&quot; &quot;">
                  <c:v>0</c:v>
                </c:pt>
                <c:pt idx="4102" formatCode="#,##0_);\(#,##0\);&quot;-  &quot;;&quot; &quot;@&quot; &quot;">
                  <c:v>0</c:v>
                </c:pt>
                <c:pt idx="4103" formatCode="#,##0_);\(#,##0\);&quot;-  &quot;;&quot; &quot;@&quot; &quot;">
                  <c:v>0</c:v>
                </c:pt>
                <c:pt idx="4104" formatCode="#,##0_);\(#,##0\);&quot;-  &quot;;&quot; &quot;@&quot; &quot;">
                  <c:v>0</c:v>
                </c:pt>
                <c:pt idx="4105" formatCode="#,##0_);\(#,##0\);&quot;-  &quot;;&quot; &quot;@&quot; &quot;">
                  <c:v>0</c:v>
                </c:pt>
                <c:pt idx="4106" formatCode="#,##0_);\(#,##0\);&quot;-  &quot;;&quot; &quot;@&quot; &quot;">
                  <c:v>0</c:v>
                </c:pt>
                <c:pt idx="4107" formatCode="#,##0_);\(#,##0\);&quot;-  &quot;;&quot; &quot;@&quot; &quot;">
                  <c:v>0</c:v>
                </c:pt>
                <c:pt idx="4108" formatCode="#,##0_);\(#,##0\);&quot;-  &quot;;&quot; &quot;@&quot; &quot;">
                  <c:v>0</c:v>
                </c:pt>
                <c:pt idx="4109" formatCode="#,##0_);\(#,##0\);&quot;-  &quot;;&quot; &quot;@&quot; &quot;">
                  <c:v>0</c:v>
                </c:pt>
                <c:pt idx="4110" formatCode="#,##0_);\(#,##0\);&quot;-  &quot;;&quot; &quot;@&quot; &quot;">
                  <c:v>0</c:v>
                </c:pt>
                <c:pt idx="4111" formatCode="#,##0_);\(#,##0\);&quot;-  &quot;;&quot; &quot;@&quot; &quot;">
                  <c:v>0</c:v>
                </c:pt>
                <c:pt idx="4112" formatCode="#,##0_);\(#,##0\);&quot;-  &quot;;&quot; &quot;@&quot; &quot;">
                  <c:v>0</c:v>
                </c:pt>
                <c:pt idx="4113" formatCode="#,##0_);\(#,##0\);&quot;-  &quot;;&quot; &quot;@&quot; &quot;">
                  <c:v>0</c:v>
                </c:pt>
                <c:pt idx="4114" formatCode="#,##0_);\(#,##0\);&quot;-  &quot;;&quot; &quot;@&quot; &quot;">
                  <c:v>0</c:v>
                </c:pt>
                <c:pt idx="4115" formatCode="#,##0_);\(#,##0\);&quot;-  &quot;;&quot; &quot;@&quot; &quot;">
                  <c:v>0</c:v>
                </c:pt>
                <c:pt idx="4116" formatCode="#,##0_);\(#,##0\);&quot;-  &quot;;&quot; &quot;@&quot; &quot;">
                  <c:v>0</c:v>
                </c:pt>
                <c:pt idx="4117" formatCode="#,##0_);\(#,##0\);&quot;-  &quot;;&quot; &quot;@&quot; &quot;">
                  <c:v>0</c:v>
                </c:pt>
                <c:pt idx="4118" formatCode="#,##0_);\(#,##0\);&quot;-  &quot;;&quot; &quot;@&quot; &quot;">
                  <c:v>0</c:v>
                </c:pt>
                <c:pt idx="4119" formatCode="#,##0_);\(#,##0\);&quot;-  &quot;;&quot; &quot;@&quot; &quot;">
                  <c:v>0</c:v>
                </c:pt>
                <c:pt idx="4120" formatCode="#,##0_);\(#,##0\);&quot;-  &quot;;&quot; &quot;@&quot; &quot;">
                  <c:v>0</c:v>
                </c:pt>
                <c:pt idx="4121" formatCode="#,##0_);\(#,##0\);&quot;-  &quot;;&quot; &quot;@&quot; &quot;">
                  <c:v>0</c:v>
                </c:pt>
                <c:pt idx="4122" formatCode="#,##0_);\(#,##0\);&quot;-  &quot;;&quot; &quot;@&quot; &quot;">
                  <c:v>0</c:v>
                </c:pt>
                <c:pt idx="4123" formatCode="#,##0_);\(#,##0\);&quot;-  &quot;;&quot; &quot;@&quot; &quot;">
                  <c:v>0</c:v>
                </c:pt>
                <c:pt idx="4124" formatCode="#,##0_);\(#,##0\);&quot;-  &quot;;&quot; &quot;@&quot; &quot;">
                  <c:v>0</c:v>
                </c:pt>
                <c:pt idx="4125" formatCode="#,##0_);\(#,##0\);&quot;-  &quot;;&quot; &quot;@&quot; &quot;">
                  <c:v>0</c:v>
                </c:pt>
                <c:pt idx="4126" formatCode="#,##0_);\(#,##0\);&quot;-  &quot;;&quot; &quot;@&quot; &quot;">
                  <c:v>0</c:v>
                </c:pt>
                <c:pt idx="4127" formatCode="#,##0_);\(#,##0\);&quot;-  &quot;;&quot; &quot;@&quot; &quot;">
                  <c:v>0</c:v>
                </c:pt>
                <c:pt idx="4128" formatCode="#,##0_);\(#,##0\);&quot;-  &quot;;&quot; &quot;@&quot; &quot;">
                  <c:v>0</c:v>
                </c:pt>
                <c:pt idx="4129" formatCode="#,##0_);\(#,##0\);&quot;-  &quot;;&quot; &quot;@&quot; &quot;">
                  <c:v>0</c:v>
                </c:pt>
                <c:pt idx="4130" formatCode="#,##0_);\(#,##0\);&quot;-  &quot;;&quot; &quot;@&quot; &quot;">
                  <c:v>0</c:v>
                </c:pt>
                <c:pt idx="4131" formatCode="#,##0_);\(#,##0\);&quot;-  &quot;;&quot; &quot;@&quot; &quot;">
                  <c:v>0</c:v>
                </c:pt>
                <c:pt idx="4132" formatCode="#,##0_);\(#,##0\);&quot;-  &quot;;&quot; &quot;@&quot; &quot;">
                  <c:v>0</c:v>
                </c:pt>
                <c:pt idx="4133" formatCode="#,##0_);\(#,##0\);&quot;-  &quot;;&quot; &quot;@&quot; &quot;">
                  <c:v>0</c:v>
                </c:pt>
                <c:pt idx="4134" formatCode="#,##0_);\(#,##0\);&quot;-  &quot;;&quot; &quot;@&quot; &quot;">
                  <c:v>0</c:v>
                </c:pt>
                <c:pt idx="4135" formatCode="#,##0_);\(#,##0\);&quot;-  &quot;;&quot; &quot;@&quot; &quot;">
                  <c:v>0</c:v>
                </c:pt>
                <c:pt idx="4136" formatCode="#,##0_);\(#,##0\);&quot;-  &quot;;&quot; &quot;@&quot; &quot;">
                  <c:v>0</c:v>
                </c:pt>
                <c:pt idx="4137" formatCode="#,##0_);\(#,##0\);&quot;-  &quot;;&quot; &quot;@&quot; &quot;">
                  <c:v>0</c:v>
                </c:pt>
                <c:pt idx="4138" formatCode="#,##0_);\(#,##0\);&quot;-  &quot;;&quot; &quot;@&quot; &quot;">
                  <c:v>0</c:v>
                </c:pt>
                <c:pt idx="4139" formatCode="#,##0_);\(#,##0\);&quot;-  &quot;;&quot; &quot;@&quot; &quot;">
                  <c:v>0</c:v>
                </c:pt>
                <c:pt idx="4140" formatCode="#,##0_);\(#,##0\);&quot;-  &quot;;&quot; &quot;@&quot; &quot;">
                  <c:v>0</c:v>
                </c:pt>
                <c:pt idx="4141" formatCode="#,##0_);\(#,##0\);&quot;-  &quot;;&quot; &quot;@&quot; &quot;">
                  <c:v>0</c:v>
                </c:pt>
                <c:pt idx="4142" formatCode="#,##0_);\(#,##0\);&quot;-  &quot;;&quot; &quot;@&quot; &quot;">
                  <c:v>0</c:v>
                </c:pt>
                <c:pt idx="4143" formatCode="#,##0_);\(#,##0\);&quot;-  &quot;;&quot; &quot;@&quot; &quot;">
                  <c:v>0</c:v>
                </c:pt>
                <c:pt idx="4144" formatCode="#,##0_);\(#,##0\);&quot;-  &quot;;&quot; &quot;@&quot; &quot;">
                  <c:v>0</c:v>
                </c:pt>
                <c:pt idx="4145" formatCode="#,##0_);\(#,##0\);&quot;-  &quot;;&quot; &quot;@&quot; &quot;">
                  <c:v>0</c:v>
                </c:pt>
                <c:pt idx="4146" formatCode="#,##0_);\(#,##0\);&quot;-  &quot;;&quot; &quot;@&quot; &quot;">
                  <c:v>0</c:v>
                </c:pt>
                <c:pt idx="4147" formatCode="#,##0_);\(#,##0\);&quot;-  &quot;;&quot; &quot;@&quot; &quot;">
                  <c:v>0</c:v>
                </c:pt>
                <c:pt idx="4148" formatCode="#,##0_);\(#,##0\);&quot;-  &quot;;&quot; &quot;@&quot; &quot;">
                  <c:v>0</c:v>
                </c:pt>
                <c:pt idx="4149" formatCode="#,##0_);\(#,##0\);&quot;-  &quot;;&quot; &quot;@&quot; &quot;">
                  <c:v>0</c:v>
                </c:pt>
                <c:pt idx="4150" formatCode="#,##0_);\(#,##0\);&quot;-  &quot;;&quot; &quot;@&quot; &quot;">
                  <c:v>0</c:v>
                </c:pt>
                <c:pt idx="4151" formatCode="#,##0_);\(#,##0\);&quot;-  &quot;;&quot; &quot;@&quot; &quot;">
                  <c:v>0</c:v>
                </c:pt>
                <c:pt idx="4152" formatCode="#,##0_);\(#,##0\);&quot;-  &quot;;&quot; &quot;@&quot; &quot;">
                  <c:v>0</c:v>
                </c:pt>
                <c:pt idx="4153" formatCode="#,##0_);\(#,##0\);&quot;-  &quot;;&quot; &quot;@&quot; &quot;">
                  <c:v>0</c:v>
                </c:pt>
                <c:pt idx="4154" formatCode="#,##0_);\(#,##0\);&quot;-  &quot;;&quot; &quot;@&quot; &quot;">
                  <c:v>0</c:v>
                </c:pt>
                <c:pt idx="4155" formatCode="#,##0_);\(#,##0\);&quot;-  &quot;;&quot; &quot;@&quot; &quot;">
                  <c:v>0</c:v>
                </c:pt>
                <c:pt idx="4156" formatCode="#,##0_);\(#,##0\);&quot;-  &quot;;&quot; &quot;@&quot; &quot;">
                  <c:v>0</c:v>
                </c:pt>
                <c:pt idx="4157" formatCode="#,##0_);\(#,##0\);&quot;-  &quot;;&quot; &quot;@&quot; &quot;">
                  <c:v>0</c:v>
                </c:pt>
                <c:pt idx="4158" formatCode="#,##0_);\(#,##0\);&quot;-  &quot;;&quot; &quot;@&quot; &quot;">
                  <c:v>0</c:v>
                </c:pt>
                <c:pt idx="4159" formatCode="#,##0_);\(#,##0\);&quot;-  &quot;;&quot; &quot;@&quot; &quot;">
                  <c:v>0</c:v>
                </c:pt>
                <c:pt idx="4160" formatCode="#,##0_);\(#,##0\);&quot;-  &quot;;&quot; &quot;@&quot; &quot;">
                  <c:v>0</c:v>
                </c:pt>
                <c:pt idx="4161" formatCode="#,##0_);\(#,##0\);&quot;-  &quot;;&quot; &quot;@&quot; &quot;">
                  <c:v>0</c:v>
                </c:pt>
                <c:pt idx="4162" formatCode="#,##0_);\(#,##0\);&quot;-  &quot;;&quot; &quot;@&quot; &quot;">
                  <c:v>0</c:v>
                </c:pt>
                <c:pt idx="4163" formatCode="#,##0_);\(#,##0\);&quot;-  &quot;;&quot; &quot;@&quot; &quot;">
                  <c:v>0</c:v>
                </c:pt>
                <c:pt idx="4164" formatCode="#,##0_);\(#,##0\);&quot;-  &quot;;&quot; &quot;@&quot; &quot;">
                  <c:v>0</c:v>
                </c:pt>
                <c:pt idx="4165" formatCode="#,##0_);\(#,##0\);&quot;-  &quot;;&quot; &quot;@&quot; &quot;">
                  <c:v>0</c:v>
                </c:pt>
                <c:pt idx="4166" formatCode="#,##0_);\(#,##0\);&quot;-  &quot;;&quot; &quot;@&quot; &quot;">
                  <c:v>0</c:v>
                </c:pt>
                <c:pt idx="4167" formatCode="#,##0_);\(#,##0\);&quot;-  &quot;;&quot; &quot;@&quot; &quot;">
                  <c:v>0</c:v>
                </c:pt>
                <c:pt idx="4168" formatCode="#,##0_);\(#,##0\);&quot;-  &quot;;&quot; &quot;@&quot; &quot;">
                  <c:v>0</c:v>
                </c:pt>
                <c:pt idx="4169" formatCode="#,##0_);\(#,##0\);&quot;-  &quot;;&quot; &quot;@&quot; &quot;">
                  <c:v>0</c:v>
                </c:pt>
                <c:pt idx="4170" formatCode="#,##0_);\(#,##0\);&quot;-  &quot;;&quot; &quot;@&quot; &quot;">
                  <c:v>0</c:v>
                </c:pt>
                <c:pt idx="4171" formatCode="#,##0_);\(#,##0\);&quot;-  &quot;;&quot; &quot;@&quot; &quot;">
                  <c:v>0</c:v>
                </c:pt>
                <c:pt idx="4172" formatCode="#,##0_);\(#,##0\);&quot;-  &quot;;&quot; &quot;@&quot; &quot;">
                  <c:v>0</c:v>
                </c:pt>
                <c:pt idx="4173" formatCode="#,##0_);\(#,##0\);&quot;-  &quot;;&quot; &quot;@&quot; &quot;">
                  <c:v>0</c:v>
                </c:pt>
                <c:pt idx="4174" formatCode="#,##0_);\(#,##0\);&quot;-  &quot;;&quot; &quot;@&quot; &quot;">
                  <c:v>0</c:v>
                </c:pt>
                <c:pt idx="4175" formatCode="#,##0_);\(#,##0\);&quot;-  &quot;;&quot; &quot;@&quot; &quot;">
                  <c:v>0</c:v>
                </c:pt>
                <c:pt idx="4176" formatCode="#,##0_);\(#,##0\);&quot;-  &quot;;&quot; &quot;@&quot; &quot;">
                  <c:v>0</c:v>
                </c:pt>
                <c:pt idx="4177" formatCode="#,##0_);\(#,##0\);&quot;-  &quot;;&quot; &quot;@&quot; &quot;">
                  <c:v>0</c:v>
                </c:pt>
                <c:pt idx="4178" formatCode="#,##0_);\(#,##0\);&quot;-  &quot;;&quot; &quot;@&quot; &quot;">
                  <c:v>0</c:v>
                </c:pt>
                <c:pt idx="4179" formatCode="#,##0_);\(#,##0\);&quot;-  &quot;;&quot; &quot;@&quot; &quot;">
                  <c:v>0</c:v>
                </c:pt>
                <c:pt idx="4180" formatCode="#,##0_);\(#,##0\);&quot;-  &quot;;&quot; &quot;@&quot; &quot;">
                  <c:v>0</c:v>
                </c:pt>
                <c:pt idx="4181" formatCode="#,##0_);\(#,##0\);&quot;-  &quot;;&quot; &quot;@&quot; &quot;">
                  <c:v>0</c:v>
                </c:pt>
                <c:pt idx="4182" formatCode="#,##0_);\(#,##0\);&quot;-  &quot;;&quot; &quot;@&quot; &quot;">
                  <c:v>0</c:v>
                </c:pt>
                <c:pt idx="4183" formatCode="#,##0_);\(#,##0\);&quot;-  &quot;;&quot; &quot;@&quot; &quot;">
                  <c:v>0</c:v>
                </c:pt>
                <c:pt idx="4184" formatCode="#,##0_);\(#,##0\);&quot;-  &quot;;&quot; &quot;@&quot; &quot;">
                  <c:v>0</c:v>
                </c:pt>
                <c:pt idx="4185" formatCode="#,##0_);\(#,##0\);&quot;-  &quot;;&quot; &quot;@&quot; &quot;">
                  <c:v>0</c:v>
                </c:pt>
                <c:pt idx="4186" formatCode="#,##0_);\(#,##0\);&quot;-  &quot;;&quot; &quot;@&quot; &quot;">
                  <c:v>0</c:v>
                </c:pt>
                <c:pt idx="4187" formatCode="#,##0_);\(#,##0\);&quot;-  &quot;;&quot; &quot;@&quot; &quot;">
                  <c:v>0</c:v>
                </c:pt>
                <c:pt idx="4188" formatCode="#,##0_);\(#,##0\);&quot;-  &quot;;&quot; &quot;@&quot; &quot;">
                  <c:v>0</c:v>
                </c:pt>
                <c:pt idx="4189" formatCode="#,##0_);\(#,##0\);&quot;-  &quot;;&quot; &quot;@&quot; &quot;">
                  <c:v>0</c:v>
                </c:pt>
                <c:pt idx="4190" formatCode="#,##0_);\(#,##0\);&quot;-  &quot;;&quot; &quot;@&quot; &quot;">
                  <c:v>0</c:v>
                </c:pt>
                <c:pt idx="4191" formatCode="#,##0_);\(#,##0\);&quot;-  &quot;;&quot; &quot;@&quot; &quot;">
                  <c:v>0</c:v>
                </c:pt>
                <c:pt idx="4192" formatCode="#,##0_);\(#,##0\);&quot;-  &quot;;&quot; &quot;@&quot; &quot;">
                  <c:v>0</c:v>
                </c:pt>
                <c:pt idx="4193" formatCode="#,##0_);\(#,##0\);&quot;-  &quot;;&quot; &quot;@&quot; &quot;">
                  <c:v>0</c:v>
                </c:pt>
                <c:pt idx="4194" formatCode="#,##0_);\(#,##0\);&quot;-  &quot;;&quot; &quot;@&quot; &quot;">
                  <c:v>0</c:v>
                </c:pt>
                <c:pt idx="4195" formatCode="#,##0_);\(#,##0\);&quot;-  &quot;;&quot; &quot;@&quot; &quot;">
                  <c:v>0</c:v>
                </c:pt>
                <c:pt idx="4196" formatCode="#,##0_);\(#,##0\);&quot;-  &quot;;&quot; &quot;@&quot; &quot;">
                  <c:v>0</c:v>
                </c:pt>
                <c:pt idx="4197" formatCode="#,##0_);\(#,##0\);&quot;-  &quot;;&quot; &quot;@&quot; &quot;">
                  <c:v>0</c:v>
                </c:pt>
                <c:pt idx="4198" formatCode="#,##0_);\(#,##0\);&quot;-  &quot;;&quot; &quot;@&quot; &quot;">
                  <c:v>0</c:v>
                </c:pt>
                <c:pt idx="4199" formatCode="#,##0_);\(#,##0\);&quot;-  &quot;;&quot; &quot;@&quot; &quot;">
                  <c:v>0</c:v>
                </c:pt>
                <c:pt idx="4200" formatCode="#,##0_);\(#,##0\);&quot;-  &quot;;&quot; &quot;@&quot; &quot;">
                  <c:v>0</c:v>
                </c:pt>
                <c:pt idx="4201" formatCode="#,##0_);\(#,##0\);&quot;-  &quot;;&quot; &quot;@&quot; &quot;">
                  <c:v>0</c:v>
                </c:pt>
                <c:pt idx="4202" formatCode="#,##0_);\(#,##0\);&quot;-  &quot;;&quot; &quot;@&quot; &quot;">
                  <c:v>0</c:v>
                </c:pt>
                <c:pt idx="4203" formatCode="#,##0_);\(#,##0\);&quot;-  &quot;;&quot; &quot;@&quot; &quot;">
                  <c:v>0</c:v>
                </c:pt>
                <c:pt idx="4204" formatCode="#,##0_);\(#,##0\);&quot;-  &quot;;&quot; &quot;@&quot; &quot;">
                  <c:v>0</c:v>
                </c:pt>
                <c:pt idx="4205" formatCode="#,##0_);\(#,##0\);&quot;-  &quot;;&quot; &quot;@&quot; &quot;">
                  <c:v>0</c:v>
                </c:pt>
                <c:pt idx="4206" formatCode="#,##0_);\(#,##0\);&quot;-  &quot;;&quot; &quot;@&quot; &quot;">
                  <c:v>0</c:v>
                </c:pt>
                <c:pt idx="4207" formatCode="#,##0_);\(#,##0\);&quot;-  &quot;;&quot; &quot;@&quot; &quot;">
                  <c:v>0</c:v>
                </c:pt>
                <c:pt idx="4208" formatCode="#,##0_);\(#,##0\);&quot;-  &quot;;&quot; &quot;@&quot; &quot;">
                  <c:v>0</c:v>
                </c:pt>
                <c:pt idx="4209" formatCode="#,##0_);\(#,##0\);&quot;-  &quot;;&quot; &quot;@&quot; &quot;">
                  <c:v>0</c:v>
                </c:pt>
                <c:pt idx="4210" formatCode="#,##0_);\(#,##0\);&quot;-  &quot;;&quot; &quot;@&quot; &quot;">
                  <c:v>0</c:v>
                </c:pt>
                <c:pt idx="4211" formatCode="#,##0_);\(#,##0\);&quot;-  &quot;;&quot; &quot;@&quot; &quot;">
                  <c:v>0</c:v>
                </c:pt>
                <c:pt idx="4212" formatCode="#,##0_);\(#,##0\);&quot;-  &quot;;&quot; &quot;@&quot; &quot;">
                  <c:v>0</c:v>
                </c:pt>
                <c:pt idx="4213" formatCode="#,##0_);\(#,##0\);&quot;-  &quot;;&quot; &quot;@&quot; &quot;">
                  <c:v>0</c:v>
                </c:pt>
                <c:pt idx="4214" formatCode="#,##0_);\(#,##0\);&quot;-  &quot;;&quot; &quot;@&quot; &quot;">
                  <c:v>0</c:v>
                </c:pt>
                <c:pt idx="4215" formatCode="#,##0_);\(#,##0\);&quot;-  &quot;;&quot; &quot;@&quot; &quot;">
                  <c:v>0</c:v>
                </c:pt>
                <c:pt idx="4216" formatCode="#,##0_);\(#,##0\);&quot;-  &quot;;&quot; &quot;@&quot; &quot;">
                  <c:v>0</c:v>
                </c:pt>
                <c:pt idx="4217" formatCode="#,##0_);\(#,##0\);&quot;-  &quot;;&quot; &quot;@&quot; &quot;">
                  <c:v>0</c:v>
                </c:pt>
                <c:pt idx="4218" formatCode="#,##0_);\(#,##0\);&quot;-  &quot;;&quot; &quot;@&quot; &quot;">
                  <c:v>0</c:v>
                </c:pt>
                <c:pt idx="4219" formatCode="#,##0_);\(#,##0\);&quot;-  &quot;;&quot; &quot;@&quot; &quot;">
                  <c:v>0</c:v>
                </c:pt>
                <c:pt idx="4220" formatCode="#,##0_);\(#,##0\);&quot;-  &quot;;&quot; &quot;@&quot; &quot;">
                  <c:v>0</c:v>
                </c:pt>
                <c:pt idx="4221" formatCode="#,##0_);\(#,##0\);&quot;-  &quot;;&quot; &quot;@&quot; &quot;">
                  <c:v>0</c:v>
                </c:pt>
                <c:pt idx="4222" formatCode="#,##0_);\(#,##0\);&quot;-  &quot;;&quot; &quot;@&quot; &quot;">
                  <c:v>0</c:v>
                </c:pt>
                <c:pt idx="4223" formatCode="#,##0_);\(#,##0\);&quot;-  &quot;;&quot; &quot;@&quot; &quot;">
                  <c:v>0</c:v>
                </c:pt>
                <c:pt idx="4224" formatCode="#,##0_);\(#,##0\);&quot;-  &quot;;&quot; &quot;@&quot; &quot;">
                  <c:v>0</c:v>
                </c:pt>
                <c:pt idx="4225" formatCode="#,##0_);\(#,##0\);&quot;-  &quot;;&quot; &quot;@&quot; &quot;">
                  <c:v>0</c:v>
                </c:pt>
                <c:pt idx="4226" formatCode="#,##0_);\(#,##0\);&quot;-  &quot;;&quot; &quot;@&quot; &quot;">
                  <c:v>0</c:v>
                </c:pt>
                <c:pt idx="4227" formatCode="#,##0_);\(#,##0\);&quot;-  &quot;;&quot; &quot;@&quot; &quot;">
                  <c:v>0</c:v>
                </c:pt>
                <c:pt idx="4228" formatCode="#,##0_);\(#,##0\);&quot;-  &quot;;&quot; &quot;@&quot; &quot;">
                  <c:v>0</c:v>
                </c:pt>
                <c:pt idx="4229" formatCode="#,##0_);\(#,##0\);&quot;-  &quot;;&quot; &quot;@&quot; &quot;">
                  <c:v>0</c:v>
                </c:pt>
                <c:pt idx="4230" formatCode="#,##0_);\(#,##0\);&quot;-  &quot;;&quot; &quot;@&quot; &quot;">
                  <c:v>0</c:v>
                </c:pt>
                <c:pt idx="4231" formatCode="#,##0_);\(#,##0\);&quot;-  &quot;;&quot; &quot;@&quot; &quot;">
                  <c:v>0</c:v>
                </c:pt>
                <c:pt idx="4232" formatCode="#,##0_);\(#,##0\);&quot;-  &quot;;&quot; &quot;@&quot; &quot;">
                  <c:v>0</c:v>
                </c:pt>
                <c:pt idx="4233" formatCode="#,##0_);\(#,##0\);&quot;-  &quot;;&quot; &quot;@&quot; &quot;">
                  <c:v>0</c:v>
                </c:pt>
                <c:pt idx="4234" formatCode="#,##0_);\(#,##0\);&quot;-  &quot;;&quot; &quot;@&quot; &quot;">
                  <c:v>0</c:v>
                </c:pt>
                <c:pt idx="4235" formatCode="#,##0_);\(#,##0\);&quot;-  &quot;;&quot; &quot;@&quot; &quot;">
                  <c:v>0</c:v>
                </c:pt>
                <c:pt idx="4236" formatCode="#,##0_);\(#,##0\);&quot;-  &quot;;&quot; &quot;@&quot; &quot;">
                  <c:v>0</c:v>
                </c:pt>
                <c:pt idx="4237" formatCode="#,##0_);\(#,##0\);&quot;-  &quot;;&quot; &quot;@&quot; &quot;">
                  <c:v>0</c:v>
                </c:pt>
                <c:pt idx="4238" formatCode="#,##0_);\(#,##0\);&quot;-  &quot;;&quot; &quot;@&quot; &quot;">
                  <c:v>0</c:v>
                </c:pt>
                <c:pt idx="4239" formatCode="#,##0_);\(#,##0\);&quot;-  &quot;;&quot; &quot;@&quot; &quot;">
                  <c:v>0</c:v>
                </c:pt>
                <c:pt idx="4240" formatCode="#,##0_);\(#,##0\);&quot;-  &quot;;&quot; &quot;@&quot; &quot;">
                  <c:v>0</c:v>
                </c:pt>
                <c:pt idx="4241" formatCode="#,##0_);\(#,##0\);&quot;-  &quot;;&quot; &quot;@&quot; &quot;">
                  <c:v>0</c:v>
                </c:pt>
                <c:pt idx="4242" formatCode="#,##0_);\(#,##0\);&quot;-  &quot;;&quot; &quot;@&quot; &quot;">
                  <c:v>0</c:v>
                </c:pt>
                <c:pt idx="4243" formatCode="#,##0_);\(#,##0\);&quot;-  &quot;;&quot; &quot;@&quot; &quot;">
                  <c:v>0</c:v>
                </c:pt>
                <c:pt idx="4244" formatCode="#,##0_);\(#,##0\);&quot;-  &quot;;&quot; &quot;@&quot; &quot;">
                  <c:v>0</c:v>
                </c:pt>
                <c:pt idx="4245" formatCode="#,##0_);\(#,##0\);&quot;-  &quot;;&quot; &quot;@&quot; &quot;">
                  <c:v>0</c:v>
                </c:pt>
                <c:pt idx="4246" formatCode="#,##0_);\(#,##0\);&quot;-  &quot;;&quot; &quot;@&quot; &quot;">
                  <c:v>0</c:v>
                </c:pt>
                <c:pt idx="4247" formatCode="#,##0_);\(#,##0\);&quot;-  &quot;;&quot; &quot;@&quot; &quot;">
                  <c:v>0</c:v>
                </c:pt>
                <c:pt idx="4248" formatCode="#,##0_);\(#,##0\);&quot;-  &quot;;&quot; &quot;@&quot; &quot;">
                  <c:v>0</c:v>
                </c:pt>
                <c:pt idx="4249" formatCode="#,##0_);\(#,##0\);&quot;-  &quot;;&quot; &quot;@&quot; &quot;">
                  <c:v>0</c:v>
                </c:pt>
                <c:pt idx="4250" formatCode="#,##0_);\(#,##0\);&quot;-  &quot;;&quot; &quot;@&quot; &quot;">
                  <c:v>0</c:v>
                </c:pt>
                <c:pt idx="4251" formatCode="#,##0_);\(#,##0\);&quot;-  &quot;;&quot; &quot;@&quot; &quot;">
                  <c:v>0</c:v>
                </c:pt>
                <c:pt idx="4252" formatCode="#,##0_);\(#,##0\);&quot;-  &quot;;&quot; &quot;@&quot; &quot;">
                  <c:v>0</c:v>
                </c:pt>
                <c:pt idx="4253" formatCode="#,##0_);\(#,##0\);&quot;-  &quot;;&quot; &quot;@&quot; &quot;">
                  <c:v>0</c:v>
                </c:pt>
                <c:pt idx="4254" formatCode="#,##0_);\(#,##0\);&quot;-  &quot;;&quot; &quot;@&quot; &quot;">
                  <c:v>0</c:v>
                </c:pt>
                <c:pt idx="4255" formatCode="#,##0_);\(#,##0\);&quot;-  &quot;;&quot; &quot;@&quot; &quot;">
                  <c:v>0</c:v>
                </c:pt>
                <c:pt idx="4256" formatCode="#,##0_);\(#,##0\);&quot;-  &quot;;&quot; &quot;@&quot; &quot;">
                  <c:v>0</c:v>
                </c:pt>
                <c:pt idx="4257" formatCode="#,##0_);\(#,##0\);&quot;-  &quot;;&quot; &quot;@&quot; &quot;">
                  <c:v>0</c:v>
                </c:pt>
                <c:pt idx="4258" formatCode="#,##0_);\(#,##0\);&quot;-  &quot;;&quot; &quot;@&quot; &quot;">
                  <c:v>0</c:v>
                </c:pt>
                <c:pt idx="4259" formatCode="#,##0_);\(#,##0\);&quot;-  &quot;;&quot; &quot;@&quot; &quot;">
                  <c:v>0</c:v>
                </c:pt>
                <c:pt idx="4260" formatCode="#,##0_);\(#,##0\);&quot;-  &quot;;&quot; &quot;@&quot; &quot;">
                  <c:v>0</c:v>
                </c:pt>
                <c:pt idx="4261" formatCode="#,##0_);\(#,##0\);&quot;-  &quot;;&quot; &quot;@&quot; &quot;">
                  <c:v>0</c:v>
                </c:pt>
                <c:pt idx="4262" formatCode="#,##0_);\(#,##0\);&quot;-  &quot;;&quot; &quot;@&quot; &quot;">
                  <c:v>0</c:v>
                </c:pt>
                <c:pt idx="4263" formatCode="#,##0_);\(#,##0\);&quot;-  &quot;;&quot; &quot;@&quot; &quot;">
                  <c:v>0</c:v>
                </c:pt>
                <c:pt idx="4264" formatCode="#,##0_);\(#,##0\);&quot;-  &quot;;&quot; &quot;@&quot; &quot;">
                  <c:v>0</c:v>
                </c:pt>
                <c:pt idx="4265" formatCode="#,##0_);\(#,##0\);&quot;-  &quot;;&quot; &quot;@&quot; &quot;">
                  <c:v>0</c:v>
                </c:pt>
                <c:pt idx="4266" formatCode="#,##0_);\(#,##0\);&quot;-  &quot;;&quot; &quot;@&quot; &quot;">
                  <c:v>0</c:v>
                </c:pt>
                <c:pt idx="4267" formatCode="#,##0_);\(#,##0\);&quot;-  &quot;;&quot; &quot;@&quot; &quot;">
                  <c:v>0</c:v>
                </c:pt>
                <c:pt idx="4268" formatCode="#,##0_);\(#,##0\);&quot;-  &quot;;&quot; &quot;@&quot; &quot;">
                  <c:v>0</c:v>
                </c:pt>
                <c:pt idx="4269" formatCode="#,##0_);\(#,##0\);&quot;-  &quot;;&quot; &quot;@&quot; &quot;">
                  <c:v>0</c:v>
                </c:pt>
                <c:pt idx="4270" formatCode="#,##0_);\(#,##0\);&quot;-  &quot;;&quot; &quot;@&quot; &quot;">
                  <c:v>0</c:v>
                </c:pt>
                <c:pt idx="4271" formatCode="#,##0_);\(#,##0\);&quot;-  &quot;;&quot; &quot;@&quot; &quot;">
                  <c:v>0</c:v>
                </c:pt>
                <c:pt idx="4272" formatCode="#,##0_);\(#,##0\);&quot;-  &quot;;&quot; &quot;@&quot; &quot;">
                  <c:v>0</c:v>
                </c:pt>
                <c:pt idx="4273" formatCode="#,##0_);\(#,##0\);&quot;-  &quot;;&quot; &quot;@&quot; &quot;">
                  <c:v>0</c:v>
                </c:pt>
                <c:pt idx="4274" formatCode="#,##0_);\(#,##0\);&quot;-  &quot;;&quot; &quot;@&quot; &quot;">
                  <c:v>0</c:v>
                </c:pt>
                <c:pt idx="4275" formatCode="#,##0_);\(#,##0\);&quot;-  &quot;;&quot; &quot;@&quot; &quot;">
                  <c:v>0</c:v>
                </c:pt>
                <c:pt idx="4276" formatCode="#,##0_);\(#,##0\);&quot;-  &quot;;&quot; &quot;@&quot; &quot;">
                  <c:v>0</c:v>
                </c:pt>
                <c:pt idx="4277" formatCode="#,##0_);\(#,##0\);&quot;-  &quot;;&quot; &quot;@&quot; &quot;">
                  <c:v>0</c:v>
                </c:pt>
                <c:pt idx="4278" formatCode="#,##0_);\(#,##0\);&quot;-  &quot;;&quot; &quot;@&quot; &quot;">
                  <c:v>0</c:v>
                </c:pt>
                <c:pt idx="4279" formatCode="#,##0_);\(#,##0\);&quot;-  &quot;;&quot; &quot;@&quot; &quot;">
                  <c:v>0</c:v>
                </c:pt>
                <c:pt idx="4280" formatCode="#,##0_);\(#,##0\);&quot;-  &quot;;&quot; &quot;@&quot; &quot;">
                  <c:v>0</c:v>
                </c:pt>
                <c:pt idx="4281" formatCode="#,##0_);\(#,##0\);&quot;-  &quot;;&quot; &quot;@&quot; &quot;">
                  <c:v>0</c:v>
                </c:pt>
                <c:pt idx="4282" formatCode="#,##0_);\(#,##0\);&quot;-  &quot;;&quot; &quot;@&quot; &quot;">
                  <c:v>0</c:v>
                </c:pt>
                <c:pt idx="4283" formatCode="#,##0_);\(#,##0\);&quot;-  &quot;;&quot; &quot;@&quot; &quot;">
                  <c:v>0</c:v>
                </c:pt>
                <c:pt idx="4284" formatCode="#,##0_);\(#,##0\);&quot;-  &quot;;&quot; &quot;@&quot; &quot;">
                  <c:v>0</c:v>
                </c:pt>
                <c:pt idx="4285" formatCode="#,##0_);\(#,##0\);&quot;-  &quot;;&quot; &quot;@&quot; &quot;">
                  <c:v>0</c:v>
                </c:pt>
                <c:pt idx="4286" formatCode="#,##0_);\(#,##0\);&quot;-  &quot;;&quot; &quot;@&quot; &quot;">
                  <c:v>0</c:v>
                </c:pt>
                <c:pt idx="4287" formatCode="#,##0_);\(#,##0\);&quot;-  &quot;;&quot; &quot;@&quot; &quot;">
                  <c:v>0</c:v>
                </c:pt>
                <c:pt idx="4288" formatCode="#,##0_);\(#,##0\);&quot;-  &quot;;&quot; &quot;@&quot; &quot;">
                  <c:v>0</c:v>
                </c:pt>
                <c:pt idx="4289" formatCode="#,##0_);\(#,##0\);&quot;-  &quot;;&quot; &quot;@&quot; &quot;">
                  <c:v>0</c:v>
                </c:pt>
                <c:pt idx="4290" formatCode="#,##0_);\(#,##0\);&quot;-  &quot;;&quot; &quot;@&quot; &quot;">
                  <c:v>0</c:v>
                </c:pt>
                <c:pt idx="4291" formatCode="#,##0_);\(#,##0\);&quot;-  &quot;;&quot; &quot;@&quot; &quot;">
                  <c:v>0</c:v>
                </c:pt>
                <c:pt idx="4292" formatCode="#,##0_);\(#,##0\);&quot;-  &quot;;&quot; &quot;@&quot; &quot;">
                  <c:v>0</c:v>
                </c:pt>
                <c:pt idx="4293" formatCode="#,##0_);\(#,##0\);&quot;-  &quot;;&quot; &quot;@&quot; &quot;">
                  <c:v>0</c:v>
                </c:pt>
                <c:pt idx="4294" formatCode="#,##0_);\(#,##0\);&quot;-  &quot;;&quot; &quot;@&quot; &quot;">
                  <c:v>0</c:v>
                </c:pt>
                <c:pt idx="4295" formatCode="#,##0_);\(#,##0\);&quot;-  &quot;;&quot; &quot;@&quot; &quot;">
                  <c:v>0</c:v>
                </c:pt>
                <c:pt idx="4296" formatCode="#,##0_);\(#,##0\);&quot;-  &quot;;&quot; &quot;@&quot; &quot;">
                  <c:v>0</c:v>
                </c:pt>
                <c:pt idx="4297" formatCode="#,##0_);\(#,##0\);&quot;-  &quot;;&quot; &quot;@&quot; &quot;">
                  <c:v>0</c:v>
                </c:pt>
                <c:pt idx="4298" formatCode="#,##0_);\(#,##0\);&quot;-  &quot;;&quot; &quot;@&quot; &quot;">
                  <c:v>0</c:v>
                </c:pt>
                <c:pt idx="4299" formatCode="#,##0_);\(#,##0\);&quot;-  &quot;;&quot; &quot;@&quot; &quot;">
                  <c:v>0</c:v>
                </c:pt>
                <c:pt idx="4300" formatCode="#,##0_);\(#,##0\);&quot;-  &quot;;&quot; &quot;@&quot; &quot;">
                  <c:v>0</c:v>
                </c:pt>
                <c:pt idx="4301" formatCode="#,##0_);\(#,##0\);&quot;-  &quot;;&quot; &quot;@&quot; &quot;">
                  <c:v>0</c:v>
                </c:pt>
                <c:pt idx="4302" formatCode="#,##0_);\(#,##0\);&quot;-  &quot;;&quot; &quot;@&quot; &quot;">
                  <c:v>0</c:v>
                </c:pt>
                <c:pt idx="4303" formatCode="#,##0_);\(#,##0\);&quot;-  &quot;;&quot; &quot;@&quot; &quot;">
                  <c:v>0</c:v>
                </c:pt>
                <c:pt idx="4304" formatCode="#,##0_);\(#,##0\);&quot;-  &quot;;&quot; &quot;@&quot; &quot;">
                  <c:v>0</c:v>
                </c:pt>
                <c:pt idx="4305" formatCode="#,##0_);\(#,##0\);&quot;-  &quot;;&quot; &quot;@&quot; &quot;">
                  <c:v>0</c:v>
                </c:pt>
                <c:pt idx="4306" formatCode="#,##0_);\(#,##0\);&quot;-  &quot;;&quot; &quot;@&quot; &quot;">
                  <c:v>0</c:v>
                </c:pt>
                <c:pt idx="4307" formatCode="#,##0_);\(#,##0\);&quot;-  &quot;;&quot; &quot;@&quot; &quot;">
                  <c:v>0</c:v>
                </c:pt>
                <c:pt idx="4308" formatCode="#,##0_);\(#,##0\);&quot;-  &quot;;&quot; &quot;@&quot; &quot;">
                  <c:v>0</c:v>
                </c:pt>
                <c:pt idx="4309" formatCode="#,##0_);\(#,##0\);&quot;-  &quot;;&quot; &quot;@&quot; &quot;">
                  <c:v>0</c:v>
                </c:pt>
                <c:pt idx="4310" formatCode="#,##0_);\(#,##0\);&quot;-  &quot;;&quot; &quot;@&quot; &quot;">
                  <c:v>0</c:v>
                </c:pt>
                <c:pt idx="4311" formatCode="#,##0_);\(#,##0\);&quot;-  &quot;;&quot; &quot;@&quot; &quot;">
                  <c:v>0</c:v>
                </c:pt>
                <c:pt idx="4312" formatCode="#,##0_);\(#,##0\);&quot;-  &quot;;&quot; &quot;@&quot; &quot;">
                  <c:v>0</c:v>
                </c:pt>
                <c:pt idx="4313" formatCode="#,##0_);\(#,##0\);&quot;-  &quot;;&quot; &quot;@&quot; &quot;">
                  <c:v>0</c:v>
                </c:pt>
                <c:pt idx="4314" formatCode="#,##0_);\(#,##0\);&quot;-  &quot;;&quot; &quot;@&quot; &quot;">
                  <c:v>0</c:v>
                </c:pt>
                <c:pt idx="4315" formatCode="#,##0_);\(#,##0\);&quot;-  &quot;;&quot; &quot;@&quot; &quot;">
                  <c:v>0</c:v>
                </c:pt>
                <c:pt idx="4316" formatCode="#,##0_);\(#,##0\);&quot;-  &quot;;&quot; &quot;@&quot; &quot;">
                  <c:v>0</c:v>
                </c:pt>
                <c:pt idx="4317" formatCode="#,##0_);\(#,##0\);&quot;-  &quot;;&quot; &quot;@&quot; &quot;">
                  <c:v>0</c:v>
                </c:pt>
                <c:pt idx="4318" formatCode="#,##0_);\(#,##0\);&quot;-  &quot;;&quot; &quot;@&quot; &quot;">
                  <c:v>0</c:v>
                </c:pt>
                <c:pt idx="4319" formatCode="#,##0_);\(#,##0\);&quot;-  &quot;;&quot; &quot;@&quot; &quot;">
                  <c:v>0</c:v>
                </c:pt>
                <c:pt idx="4320" formatCode="#,##0_);\(#,##0\);&quot;-  &quot;;&quot; &quot;@&quot; &quot;">
                  <c:v>0</c:v>
                </c:pt>
                <c:pt idx="4321" formatCode="#,##0_);\(#,##0\);&quot;-  &quot;;&quot; &quot;@&quot; &quot;">
                  <c:v>0</c:v>
                </c:pt>
                <c:pt idx="4322" formatCode="#,##0_);\(#,##0\);&quot;-  &quot;;&quot; &quot;@&quot; &quot;">
                  <c:v>0</c:v>
                </c:pt>
                <c:pt idx="4323" formatCode="#,##0_);\(#,##0\);&quot;-  &quot;;&quot; &quot;@&quot; &quot;">
                  <c:v>0</c:v>
                </c:pt>
                <c:pt idx="4324" formatCode="#,##0_);\(#,##0\);&quot;-  &quot;;&quot; &quot;@&quot; &quot;">
                  <c:v>0</c:v>
                </c:pt>
                <c:pt idx="4325" formatCode="#,##0_);\(#,##0\);&quot;-  &quot;;&quot; &quot;@&quot; &quot;">
                  <c:v>0</c:v>
                </c:pt>
                <c:pt idx="4326" formatCode="#,##0_);\(#,##0\);&quot;-  &quot;;&quot; &quot;@&quot; &quot;">
                  <c:v>0</c:v>
                </c:pt>
                <c:pt idx="4327" formatCode="#,##0_);\(#,##0\);&quot;-  &quot;;&quot; &quot;@&quot; &quot;">
                  <c:v>0</c:v>
                </c:pt>
                <c:pt idx="4328" formatCode="#,##0_);\(#,##0\);&quot;-  &quot;;&quot; &quot;@&quot; &quot;">
                  <c:v>0</c:v>
                </c:pt>
                <c:pt idx="4329" formatCode="#,##0_);\(#,##0\);&quot;-  &quot;;&quot; &quot;@&quot; &quot;">
                  <c:v>0</c:v>
                </c:pt>
                <c:pt idx="4330" formatCode="#,##0_);\(#,##0\);&quot;-  &quot;;&quot; &quot;@&quot; &quot;">
                  <c:v>0</c:v>
                </c:pt>
                <c:pt idx="4331" formatCode="#,##0_);\(#,##0\);&quot;-  &quot;;&quot; &quot;@&quot; &quot;">
                  <c:v>0</c:v>
                </c:pt>
                <c:pt idx="4332" formatCode="#,##0_);\(#,##0\);&quot;-  &quot;;&quot; &quot;@&quot; &quot;">
                  <c:v>0</c:v>
                </c:pt>
                <c:pt idx="4333" formatCode="#,##0_);\(#,##0\);&quot;-  &quot;;&quot; &quot;@&quot; &quot;">
                  <c:v>0</c:v>
                </c:pt>
                <c:pt idx="4334" formatCode="#,##0_);\(#,##0\);&quot;-  &quot;;&quot; &quot;@&quot; &quot;">
                  <c:v>0</c:v>
                </c:pt>
                <c:pt idx="4335" formatCode="#,##0_);\(#,##0\);&quot;-  &quot;;&quot; &quot;@&quot; &quot;">
                  <c:v>0</c:v>
                </c:pt>
                <c:pt idx="4336" formatCode="#,##0_);\(#,##0\);&quot;-  &quot;;&quot; &quot;@&quot; &quot;">
                  <c:v>0</c:v>
                </c:pt>
                <c:pt idx="4337" formatCode="#,##0_);\(#,##0\);&quot;-  &quot;;&quot; &quot;@&quot; &quot;">
                  <c:v>0</c:v>
                </c:pt>
                <c:pt idx="4338" formatCode="#,##0_);\(#,##0\);&quot;-  &quot;;&quot; &quot;@&quot; &quot;">
                  <c:v>0</c:v>
                </c:pt>
                <c:pt idx="4339" formatCode="#,##0_);\(#,##0\);&quot;-  &quot;;&quot; &quot;@&quot; &quot;">
                  <c:v>0</c:v>
                </c:pt>
                <c:pt idx="4340" formatCode="#,##0_);\(#,##0\);&quot;-  &quot;;&quot; &quot;@&quot; &quot;">
                  <c:v>0</c:v>
                </c:pt>
                <c:pt idx="4341" formatCode="#,##0_);\(#,##0\);&quot;-  &quot;;&quot; &quot;@&quot; &quot;">
                  <c:v>0</c:v>
                </c:pt>
                <c:pt idx="4342" formatCode="#,##0_);\(#,##0\);&quot;-  &quot;;&quot; &quot;@&quot; &quot;">
                  <c:v>0</c:v>
                </c:pt>
                <c:pt idx="4343" formatCode="#,##0_);\(#,##0\);&quot;-  &quot;;&quot; &quot;@&quot; &quot;">
                  <c:v>0</c:v>
                </c:pt>
                <c:pt idx="4344" formatCode="#,##0_);\(#,##0\);&quot;-  &quot;;&quot; &quot;@&quot; &quot;">
                  <c:v>0</c:v>
                </c:pt>
                <c:pt idx="4345" formatCode="#,##0_);\(#,##0\);&quot;-  &quot;;&quot; &quot;@&quot; &quot;">
                  <c:v>0</c:v>
                </c:pt>
                <c:pt idx="4346" formatCode="#,##0_);\(#,##0\);&quot;-  &quot;;&quot; &quot;@&quot; &quot;">
                  <c:v>0</c:v>
                </c:pt>
                <c:pt idx="4347" formatCode="#,##0_);\(#,##0\);&quot;-  &quot;;&quot; &quot;@&quot; &quot;">
                  <c:v>0</c:v>
                </c:pt>
                <c:pt idx="4348" formatCode="#,##0_);\(#,##0\);&quot;-  &quot;;&quot; &quot;@&quot; &quot;">
                  <c:v>0</c:v>
                </c:pt>
                <c:pt idx="4349" formatCode="#,##0_);\(#,##0\);&quot;-  &quot;;&quot; &quot;@&quot; &quot;">
                  <c:v>0</c:v>
                </c:pt>
                <c:pt idx="4350" formatCode="#,##0_);\(#,##0\);&quot;-  &quot;;&quot; &quot;@&quot; &quot;">
                  <c:v>0</c:v>
                </c:pt>
                <c:pt idx="4351" formatCode="#,##0_);\(#,##0\);&quot;-  &quot;;&quot; &quot;@&quot; &quot;">
                  <c:v>0</c:v>
                </c:pt>
                <c:pt idx="4352" formatCode="#,##0_);\(#,##0\);&quot;-  &quot;;&quot; &quot;@&quot; &quot;">
                  <c:v>0</c:v>
                </c:pt>
                <c:pt idx="4353" formatCode="#,##0_);\(#,##0\);&quot;-  &quot;;&quot; &quot;@&quot; &quot;">
                  <c:v>0</c:v>
                </c:pt>
                <c:pt idx="4354" formatCode="#,##0_);\(#,##0\);&quot;-  &quot;;&quot; &quot;@&quot; &quot;">
                  <c:v>0</c:v>
                </c:pt>
                <c:pt idx="4355" formatCode="#,##0_);\(#,##0\);&quot;-  &quot;;&quot; &quot;@&quot; &quot;">
                  <c:v>0</c:v>
                </c:pt>
                <c:pt idx="4356" formatCode="#,##0_);\(#,##0\);&quot;-  &quot;;&quot; &quot;@&quot; &quot;">
                  <c:v>0</c:v>
                </c:pt>
                <c:pt idx="4357" formatCode="#,##0_);\(#,##0\);&quot;-  &quot;;&quot; &quot;@&quot; &quot;">
                  <c:v>0</c:v>
                </c:pt>
                <c:pt idx="4358" formatCode="#,##0_);\(#,##0\);&quot;-  &quot;;&quot; &quot;@&quot; &quot;">
                  <c:v>0</c:v>
                </c:pt>
                <c:pt idx="4359" formatCode="#,##0_);\(#,##0\);&quot;-  &quot;;&quot; &quot;@&quot; &quot;">
                  <c:v>0</c:v>
                </c:pt>
                <c:pt idx="4360" formatCode="#,##0_);\(#,##0\);&quot;-  &quot;;&quot; &quot;@&quot; &quot;">
                  <c:v>0</c:v>
                </c:pt>
                <c:pt idx="4361" formatCode="#,##0_);\(#,##0\);&quot;-  &quot;;&quot; &quot;@&quot; &quot;">
                  <c:v>0</c:v>
                </c:pt>
                <c:pt idx="4362" formatCode="#,##0_);\(#,##0\);&quot;-  &quot;;&quot; &quot;@&quot; &quot;">
                  <c:v>0</c:v>
                </c:pt>
                <c:pt idx="4363" formatCode="#,##0_);\(#,##0\);&quot;-  &quot;;&quot; &quot;@&quot; &quot;">
                  <c:v>0</c:v>
                </c:pt>
                <c:pt idx="4364" formatCode="#,##0_);\(#,##0\);&quot;-  &quot;;&quot; &quot;@&quot; &quot;">
                  <c:v>0</c:v>
                </c:pt>
                <c:pt idx="4365" formatCode="#,##0_);\(#,##0\);&quot;-  &quot;;&quot; &quot;@&quot; &quot;">
                  <c:v>0</c:v>
                </c:pt>
                <c:pt idx="4366" formatCode="#,##0_);\(#,##0\);&quot;-  &quot;;&quot; &quot;@&quot; &quot;">
                  <c:v>0</c:v>
                </c:pt>
                <c:pt idx="4367" formatCode="#,##0_);\(#,##0\);&quot;-  &quot;;&quot; &quot;@&quot; &quot;">
                  <c:v>0</c:v>
                </c:pt>
                <c:pt idx="4368" formatCode="#,##0_);\(#,##0\);&quot;-  &quot;;&quot; &quot;@&quot; &quot;">
                  <c:v>0</c:v>
                </c:pt>
                <c:pt idx="4369" formatCode="#,##0_);\(#,##0\);&quot;-  &quot;;&quot; &quot;@&quot; &quot;">
                  <c:v>0</c:v>
                </c:pt>
                <c:pt idx="4370" formatCode="#,##0_);\(#,##0\);&quot;-  &quot;;&quot; &quot;@&quot; &quot;">
                  <c:v>0</c:v>
                </c:pt>
                <c:pt idx="4371" formatCode="#,##0_);\(#,##0\);&quot;-  &quot;;&quot; &quot;@&quot; &quot;">
                  <c:v>0</c:v>
                </c:pt>
                <c:pt idx="4372" formatCode="#,##0_);\(#,##0\);&quot;-  &quot;;&quot; &quot;@&quot; &quot;">
                  <c:v>0</c:v>
                </c:pt>
                <c:pt idx="4373" formatCode="#,##0_);\(#,##0\);&quot;-  &quot;;&quot; &quot;@&quot; &quot;">
                  <c:v>0</c:v>
                </c:pt>
                <c:pt idx="4374" formatCode="#,##0_);\(#,##0\);&quot;-  &quot;;&quot; &quot;@&quot; &quot;">
                  <c:v>0</c:v>
                </c:pt>
                <c:pt idx="4375" formatCode="#,##0_);\(#,##0\);&quot;-  &quot;;&quot; &quot;@&quot; &quot;">
                  <c:v>0</c:v>
                </c:pt>
                <c:pt idx="4376" formatCode="#,##0_);\(#,##0\);&quot;-  &quot;;&quot; &quot;@&quot; &quot;">
                  <c:v>0</c:v>
                </c:pt>
                <c:pt idx="4377" formatCode="#,##0_);\(#,##0\);&quot;-  &quot;;&quot; &quot;@&quot; &quot;">
                  <c:v>0</c:v>
                </c:pt>
                <c:pt idx="4378" formatCode="#,##0_);\(#,##0\);&quot;-  &quot;;&quot; &quot;@&quot; &quot;">
                  <c:v>0</c:v>
                </c:pt>
                <c:pt idx="4379" formatCode="#,##0_);\(#,##0\);&quot;-  &quot;;&quot; &quot;@&quot; &quot;">
                  <c:v>0</c:v>
                </c:pt>
                <c:pt idx="4380" formatCode="#,##0_);\(#,##0\);&quot;-  &quot;;&quot; &quot;@&quot; &quot;">
                  <c:v>0</c:v>
                </c:pt>
                <c:pt idx="4381" formatCode="#,##0_);\(#,##0\);&quot;-  &quot;;&quot; &quot;@&quot; &quot;">
                  <c:v>0</c:v>
                </c:pt>
                <c:pt idx="4382" formatCode="#,##0_);\(#,##0\);&quot;-  &quot;;&quot; &quot;@&quot; &quot;">
                  <c:v>0</c:v>
                </c:pt>
                <c:pt idx="4383" formatCode="#,##0_);\(#,##0\);&quot;-  &quot;;&quot; &quot;@&quot; &quot;">
                  <c:v>0</c:v>
                </c:pt>
                <c:pt idx="4384" formatCode="#,##0_);\(#,##0\);&quot;-  &quot;;&quot; &quot;@&quot; &quot;">
                  <c:v>0</c:v>
                </c:pt>
                <c:pt idx="4385" formatCode="#,##0_);\(#,##0\);&quot;-  &quot;;&quot; &quot;@&quot; &quot;">
                  <c:v>0</c:v>
                </c:pt>
                <c:pt idx="4386" formatCode="#,##0_);\(#,##0\);&quot;-  &quot;;&quot; &quot;@&quot; &quot;">
                  <c:v>0</c:v>
                </c:pt>
                <c:pt idx="4387" formatCode="#,##0_);\(#,##0\);&quot;-  &quot;;&quot; &quot;@&quot; &quot;">
                  <c:v>0</c:v>
                </c:pt>
                <c:pt idx="4388" formatCode="#,##0_);\(#,##0\);&quot;-  &quot;;&quot; &quot;@&quot; &quot;">
                  <c:v>0</c:v>
                </c:pt>
                <c:pt idx="4389" formatCode="#,##0_);\(#,##0\);&quot;-  &quot;;&quot; &quot;@&quot; &quot;">
                  <c:v>0</c:v>
                </c:pt>
                <c:pt idx="4390" formatCode="#,##0_);\(#,##0\);&quot;-  &quot;;&quot; &quot;@&quot; &quot;">
                  <c:v>0</c:v>
                </c:pt>
                <c:pt idx="4391" formatCode="#,##0_);\(#,##0\);&quot;-  &quot;;&quot; &quot;@&quot; &quot;">
                  <c:v>0</c:v>
                </c:pt>
                <c:pt idx="4392" formatCode="#,##0_);\(#,##0\);&quot;-  &quot;;&quot; &quot;@&quot; &quot;">
                  <c:v>0</c:v>
                </c:pt>
                <c:pt idx="4393" formatCode="#,##0_);\(#,##0\);&quot;-  &quot;;&quot; &quot;@&quot; &quot;">
                  <c:v>0</c:v>
                </c:pt>
                <c:pt idx="4394" formatCode="#,##0_);\(#,##0\);&quot;-  &quot;;&quot; &quot;@&quot; &quot;">
                  <c:v>0</c:v>
                </c:pt>
                <c:pt idx="4395" formatCode="#,##0_);\(#,##0\);&quot;-  &quot;;&quot; &quot;@&quot; &quot;">
                  <c:v>0</c:v>
                </c:pt>
                <c:pt idx="4396" formatCode="#,##0_);\(#,##0\);&quot;-  &quot;;&quot; &quot;@&quot; &quot;">
                  <c:v>0</c:v>
                </c:pt>
                <c:pt idx="4397" formatCode="#,##0_);\(#,##0\);&quot;-  &quot;;&quot; &quot;@&quot; &quot;">
                  <c:v>0</c:v>
                </c:pt>
                <c:pt idx="4398" formatCode="#,##0_);\(#,##0\);&quot;-  &quot;;&quot; &quot;@&quot; &quot;">
                  <c:v>0</c:v>
                </c:pt>
                <c:pt idx="4399" formatCode="#,##0_);\(#,##0\);&quot;-  &quot;;&quot; &quot;@&quot; &quot;">
                  <c:v>0</c:v>
                </c:pt>
                <c:pt idx="4400" formatCode="#,##0_);\(#,##0\);&quot;-  &quot;;&quot; &quot;@&quot; &quot;">
                  <c:v>0</c:v>
                </c:pt>
                <c:pt idx="4401" formatCode="#,##0_);\(#,##0\);&quot;-  &quot;;&quot; &quot;@&quot; &quot;">
                  <c:v>0</c:v>
                </c:pt>
                <c:pt idx="4402" formatCode="#,##0_);\(#,##0\);&quot;-  &quot;;&quot; &quot;@&quot; &quot;">
                  <c:v>0</c:v>
                </c:pt>
                <c:pt idx="4403" formatCode="#,##0_);\(#,##0\);&quot;-  &quot;;&quot; &quot;@&quot; &quot;">
                  <c:v>0</c:v>
                </c:pt>
                <c:pt idx="4404" formatCode="#,##0_);\(#,##0\);&quot;-  &quot;;&quot; &quot;@&quot; &quot;">
                  <c:v>0</c:v>
                </c:pt>
                <c:pt idx="4405" formatCode="#,##0_);\(#,##0\);&quot;-  &quot;;&quot; &quot;@&quot; &quot;">
                  <c:v>0</c:v>
                </c:pt>
                <c:pt idx="4406" formatCode="#,##0_);\(#,##0\);&quot;-  &quot;;&quot; &quot;@&quot; &quot;">
                  <c:v>0</c:v>
                </c:pt>
                <c:pt idx="4407" formatCode="#,##0_);\(#,##0\);&quot;-  &quot;;&quot; &quot;@&quot; &quot;">
                  <c:v>0</c:v>
                </c:pt>
                <c:pt idx="4408" formatCode="#,##0_);\(#,##0\);&quot;-  &quot;;&quot; &quot;@&quot; &quot;">
                  <c:v>0</c:v>
                </c:pt>
                <c:pt idx="4409" formatCode="#,##0_);\(#,##0\);&quot;-  &quot;;&quot; &quot;@&quot; &quot;">
                  <c:v>0</c:v>
                </c:pt>
                <c:pt idx="4410" formatCode="#,##0_);\(#,##0\);&quot;-  &quot;;&quot; &quot;@&quot; &quot;">
                  <c:v>0</c:v>
                </c:pt>
                <c:pt idx="4411" formatCode="#,##0_);\(#,##0\);&quot;-  &quot;;&quot; &quot;@&quot; &quot;">
                  <c:v>0</c:v>
                </c:pt>
                <c:pt idx="4412" formatCode="#,##0_);\(#,##0\);&quot;-  &quot;;&quot; &quot;@&quot; &quot;">
                  <c:v>0</c:v>
                </c:pt>
                <c:pt idx="4413" formatCode="#,##0_);\(#,##0\);&quot;-  &quot;;&quot; &quot;@&quot; &quot;">
                  <c:v>0</c:v>
                </c:pt>
                <c:pt idx="4414" formatCode="#,##0_);\(#,##0\);&quot;-  &quot;;&quot; &quot;@&quot; &quot;">
                  <c:v>0</c:v>
                </c:pt>
                <c:pt idx="4415" formatCode="#,##0_);\(#,##0\);&quot;-  &quot;;&quot; &quot;@&quot; &quot;">
                  <c:v>0</c:v>
                </c:pt>
                <c:pt idx="4416" formatCode="#,##0_);\(#,##0\);&quot;-  &quot;;&quot; &quot;@&quot; &quot;">
                  <c:v>0</c:v>
                </c:pt>
                <c:pt idx="4417" formatCode="#,##0_);\(#,##0\);&quot;-  &quot;;&quot; &quot;@&quot; &quot;">
                  <c:v>0</c:v>
                </c:pt>
                <c:pt idx="4418" formatCode="#,##0_);\(#,##0\);&quot;-  &quot;;&quot; &quot;@&quot; &quot;">
                  <c:v>0</c:v>
                </c:pt>
                <c:pt idx="4419" formatCode="#,##0_);\(#,##0\);&quot;-  &quot;;&quot; &quot;@&quot; &quot;">
                  <c:v>0</c:v>
                </c:pt>
                <c:pt idx="4420" formatCode="#,##0_);\(#,##0\);&quot;-  &quot;;&quot; &quot;@&quot; &quot;">
                  <c:v>0</c:v>
                </c:pt>
                <c:pt idx="4421" formatCode="#,##0_);\(#,##0\);&quot;-  &quot;;&quot; &quot;@&quot; &quot;">
                  <c:v>0</c:v>
                </c:pt>
                <c:pt idx="4422" formatCode="#,##0_);\(#,##0\);&quot;-  &quot;;&quot; &quot;@&quot; &quot;">
                  <c:v>0</c:v>
                </c:pt>
                <c:pt idx="4423" formatCode="#,##0_);\(#,##0\);&quot;-  &quot;;&quot; &quot;@&quot; &quot;">
                  <c:v>0</c:v>
                </c:pt>
                <c:pt idx="4424" formatCode="#,##0_);\(#,##0\);&quot;-  &quot;;&quot; &quot;@&quot; &quot;">
                  <c:v>0</c:v>
                </c:pt>
                <c:pt idx="4425" formatCode="#,##0_);\(#,##0\);&quot;-  &quot;;&quot; &quot;@&quot; &quot;">
                  <c:v>0</c:v>
                </c:pt>
                <c:pt idx="4426" formatCode="#,##0_);\(#,##0\);&quot;-  &quot;;&quot; &quot;@&quot; &quot;">
                  <c:v>0</c:v>
                </c:pt>
                <c:pt idx="4427" formatCode="#,##0_);\(#,##0\);&quot;-  &quot;;&quot; &quot;@&quot; &quot;">
                  <c:v>0</c:v>
                </c:pt>
                <c:pt idx="4428" formatCode="#,##0_);\(#,##0\);&quot;-  &quot;;&quot; &quot;@&quot; &quot;">
                  <c:v>0</c:v>
                </c:pt>
                <c:pt idx="4429" formatCode="#,##0_);\(#,##0\);&quot;-  &quot;;&quot; &quot;@&quot; &quot;">
                  <c:v>0</c:v>
                </c:pt>
                <c:pt idx="4430" formatCode="#,##0_);\(#,##0\);&quot;-  &quot;;&quot; &quot;@&quot; &quot;">
                  <c:v>0</c:v>
                </c:pt>
                <c:pt idx="4431" formatCode="#,##0_);\(#,##0\);&quot;-  &quot;;&quot; &quot;@&quot; &quot;">
                  <c:v>0</c:v>
                </c:pt>
                <c:pt idx="4432" formatCode="#,##0_);\(#,##0\);&quot;-  &quot;;&quot; &quot;@&quot; &quot;">
                  <c:v>0</c:v>
                </c:pt>
                <c:pt idx="4433" formatCode="#,##0_);\(#,##0\);&quot;-  &quot;;&quot; &quot;@&quot; &quot;">
                  <c:v>0</c:v>
                </c:pt>
                <c:pt idx="4434" formatCode="#,##0_);\(#,##0\);&quot;-  &quot;;&quot; &quot;@&quot; &quot;">
                  <c:v>0</c:v>
                </c:pt>
                <c:pt idx="4435" formatCode="#,##0_);\(#,##0\);&quot;-  &quot;;&quot; &quot;@&quot; &quot;">
                  <c:v>0</c:v>
                </c:pt>
                <c:pt idx="4436" formatCode="#,##0_);\(#,##0\);&quot;-  &quot;;&quot; &quot;@&quot; &quot;">
                  <c:v>0</c:v>
                </c:pt>
                <c:pt idx="4437" formatCode="#,##0_);\(#,##0\);&quot;-  &quot;;&quot; &quot;@&quot; &quot;">
                  <c:v>0</c:v>
                </c:pt>
                <c:pt idx="4438" formatCode="#,##0_);\(#,##0\);&quot;-  &quot;;&quot; &quot;@&quot; &quot;">
                  <c:v>0</c:v>
                </c:pt>
                <c:pt idx="4439" formatCode="#,##0_);\(#,##0\);&quot;-  &quot;;&quot; &quot;@&quot; &quot;">
                  <c:v>0</c:v>
                </c:pt>
                <c:pt idx="4440" formatCode="#,##0_);\(#,##0\);&quot;-  &quot;;&quot; &quot;@&quot; &quot;">
                  <c:v>0</c:v>
                </c:pt>
                <c:pt idx="4441" formatCode="#,##0_);\(#,##0\);&quot;-  &quot;;&quot; &quot;@&quot; &quot;">
                  <c:v>0</c:v>
                </c:pt>
                <c:pt idx="4442" formatCode="#,##0_);\(#,##0\);&quot;-  &quot;;&quot; &quot;@&quot; &quot;">
                  <c:v>0</c:v>
                </c:pt>
                <c:pt idx="4443" formatCode="#,##0_);\(#,##0\);&quot;-  &quot;;&quot; &quot;@&quot; &quot;">
                  <c:v>0</c:v>
                </c:pt>
                <c:pt idx="4444" formatCode="#,##0_);\(#,##0\);&quot;-  &quot;;&quot; &quot;@&quot; &quot;">
                  <c:v>0</c:v>
                </c:pt>
                <c:pt idx="4445" formatCode="#,##0_);\(#,##0\);&quot;-  &quot;;&quot; &quot;@&quot; &quot;">
                  <c:v>0</c:v>
                </c:pt>
                <c:pt idx="4446" formatCode="#,##0_);\(#,##0\);&quot;-  &quot;;&quot; &quot;@&quot; &quot;">
                  <c:v>0</c:v>
                </c:pt>
                <c:pt idx="4447" formatCode="#,##0_);\(#,##0\);&quot;-  &quot;;&quot; &quot;@&quot; &quot;">
                  <c:v>0</c:v>
                </c:pt>
                <c:pt idx="4448" formatCode="#,##0_);\(#,##0\);&quot;-  &quot;;&quot; &quot;@&quot; &quot;">
                  <c:v>0</c:v>
                </c:pt>
                <c:pt idx="4449" formatCode="#,##0_);\(#,##0\);&quot;-  &quot;;&quot; &quot;@&quot; &quot;">
                  <c:v>0</c:v>
                </c:pt>
                <c:pt idx="4450" formatCode="#,##0_);\(#,##0\);&quot;-  &quot;;&quot; &quot;@&quot; &quot;">
                  <c:v>0</c:v>
                </c:pt>
                <c:pt idx="4451" formatCode="#,##0_);\(#,##0\);&quot;-  &quot;;&quot; &quot;@&quot; &quot;">
                  <c:v>0</c:v>
                </c:pt>
                <c:pt idx="4452" formatCode="#,##0_);\(#,##0\);&quot;-  &quot;;&quot; &quot;@&quot; &quot;">
                  <c:v>0</c:v>
                </c:pt>
                <c:pt idx="4453" formatCode="#,##0_);\(#,##0\);&quot;-  &quot;;&quot; &quot;@&quot; &quot;">
                  <c:v>0</c:v>
                </c:pt>
                <c:pt idx="4454" formatCode="#,##0_);\(#,##0\);&quot;-  &quot;;&quot; &quot;@&quot; &quot;">
                  <c:v>0</c:v>
                </c:pt>
                <c:pt idx="4455" formatCode="#,##0_);\(#,##0\);&quot;-  &quot;;&quot; &quot;@&quot; &quot;">
                  <c:v>0</c:v>
                </c:pt>
                <c:pt idx="4456" formatCode="#,##0_);\(#,##0\);&quot;-  &quot;;&quot; &quot;@&quot; &quot;">
                  <c:v>0</c:v>
                </c:pt>
                <c:pt idx="4457" formatCode="#,##0_);\(#,##0\);&quot;-  &quot;;&quot; &quot;@&quot; &quot;">
                  <c:v>0</c:v>
                </c:pt>
                <c:pt idx="4458" formatCode="#,##0_);\(#,##0\);&quot;-  &quot;;&quot; &quot;@&quot; &quot;">
                  <c:v>0</c:v>
                </c:pt>
                <c:pt idx="4459" formatCode="#,##0_);\(#,##0\);&quot;-  &quot;;&quot; &quot;@&quot; &quot;">
                  <c:v>0</c:v>
                </c:pt>
                <c:pt idx="4460" formatCode="#,##0_);\(#,##0\);&quot;-  &quot;;&quot; &quot;@&quot; &quot;">
                  <c:v>0</c:v>
                </c:pt>
                <c:pt idx="4461" formatCode="#,##0_);\(#,##0\);&quot;-  &quot;;&quot; &quot;@&quot; &quot;">
                  <c:v>0</c:v>
                </c:pt>
                <c:pt idx="4462" formatCode="#,##0_);\(#,##0\);&quot;-  &quot;;&quot; &quot;@&quot; &quot;">
                  <c:v>0</c:v>
                </c:pt>
                <c:pt idx="4463" formatCode="#,##0_);\(#,##0\);&quot;-  &quot;;&quot; &quot;@&quot; &quot;">
                  <c:v>0</c:v>
                </c:pt>
                <c:pt idx="4464" formatCode="#,##0_);\(#,##0\);&quot;-  &quot;;&quot; &quot;@&quot; &quot;">
                  <c:v>0</c:v>
                </c:pt>
                <c:pt idx="4465" formatCode="#,##0_);\(#,##0\);&quot;-  &quot;;&quot; &quot;@&quot; &quot;">
                  <c:v>0</c:v>
                </c:pt>
                <c:pt idx="4466" formatCode="#,##0_);\(#,##0\);&quot;-  &quot;;&quot; &quot;@&quot; &quot;">
                  <c:v>0</c:v>
                </c:pt>
                <c:pt idx="4467" formatCode="#,##0_);\(#,##0\);&quot;-  &quot;;&quot; &quot;@&quot; &quot;">
                  <c:v>0</c:v>
                </c:pt>
                <c:pt idx="4468" formatCode="#,##0_);\(#,##0\);&quot;-  &quot;;&quot; &quot;@&quot; &quot;">
                  <c:v>0</c:v>
                </c:pt>
                <c:pt idx="4469" formatCode="#,##0_);\(#,##0\);&quot;-  &quot;;&quot; &quot;@&quot; &quot;">
                  <c:v>0</c:v>
                </c:pt>
                <c:pt idx="4470" formatCode="#,##0_);\(#,##0\);&quot;-  &quot;;&quot; &quot;@&quot; &quot;">
                  <c:v>0</c:v>
                </c:pt>
                <c:pt idx="4471" formatCode="#,##0_);\(#,##0\);&quot;-  &quot;;&quot; &quot;@&quot; &quot;">
                  <c:v>0</c:v>
                </c:pt>
                <c:pt idx="4472" formatCode="#,##0_);\(#,##0\);&quot;-  &quot;;&quot; &quot;@&quot; &quot;">
                  <c:v>0</c:v>
                </c:pt>
                <c:pt idx="4473" formatCode="#,##0_);\(#,##0\);&quot;-  &quot;;&quot; &quot;@&quot; &quot;">
                  <c:v>0</c:v>
                </c:pt>
                <c:pt idx="4474" formatCode="#,##0_);\(#,##0\);&quot;-  &quot;;&quot; &quot;@&quot; &quot;">
                  <c:v>0</c:v>
                </c:pt>
                <c:pt idx="4475" formatCode="#,##0_);\(#,##0\);&quot;-  &quot;;&quot; &quot;@&quot; &quot;">
                  <c:v>0</c:v>
                </c:pt>
                <c:pt idx="4476" formatCode="#,##0_);\(#,##0\);&quot;-  &quot;;&quot; &quot;@&quot; &quot;">
                  <c:v>0</c:v>
                </c:pt>
                <c:pt idx="4477" formatCode="#,##0_);\(#,##0\);&quot;-  &quot;;&quot; &quot;@&quot; &quot;">
                  <c:v>0</c:v>
                </c:pt>
                <c:pt idx="4478" formatCode="#,##0_);\(#,##0\);&quot;-  &quot;;&quot; &quot;@&quot; &quot;">
                  <c:v>0</c:v>
                </c:pt>
                <c:pt idx="4479" formatCode="#,##0_);\(#,##0\);&quot;-  &quot;;&quot; &quot;@&quot; &quot;">
                  <c:v>0</c:v>
                </c:pt>
                <c:pt idx="4480" formatCode="#,##0_);\(#,##0\);&quot;-  &quot;;&quot; &quot;@&quot; &quot;">
                  <c:v>0</c:v>
                </c:pt>
                <c:pt idx="4481" formatCode="#,##0_);\(#,##0\);&quot;-  &quot;;&quot; &quot;@&quot; &quot;">
                  <c:v>0</c:v>
                </c:pt>
                <c:pt idx="4482" formatCode="#,##0_);\(#,##0\);&quot;-  &quot;;&quot; &quot;@&quot; &quot;">
                  <c:v>0</c:v>
                </c:pt>
                <c:pt idx="4483" formatCode="#,##0_);\(#,##0\);&quot;-  &quot;;&quot; &quot;@&quot; &quot;">
                  <c:v>0</c:v>
                </c:pt>
                <c:pt idx="4484" formatCode="#,##0_);\(#,##0\);&quot;-  &quot;;&quot; &quot;@&quot; &quot;">
                  <c:v>0</c:v>
                </c:pt>
                <c:pt idx="4485" formatCode="#,##0_);\(#,##0\);&quot;-  &quot;;&quot; &quot;@&quot; &quot;">
                  <c:v>0</c:v>
                </c:pt>
                <c:pt idx="4486" formatCode="#,##0_);\(#,##0\);&quot;-  &quot;;&quot; &quot;@&quot; &quot;">
                  <c:v>0</c:v>
                </c:pt>
                <c:pt idx="4487" formatCode="#,##0_);\(#,##0\);&quot;-  &quot;;&quot; &quot;@&quot; &quot;">
                  <c:v>0</c:v>
                </c:pt>
                <c:pt idx="4488" formatCode="#,##0_);\(#,##0\);&quot;-  &quot;;&quot; &quot;@&quot; &quot;">
                  <c:v>0</c:v>
                </c:pt>
                <c:pt idx="4489" formatCode="#,##0_);\(#,##0\);&quot;-  &quot;;&quot; &quot;@&quot; &quot;">
                  <c:v>0</c:v>
                </c:pt>
                <c:pt idx="4490" formatCode="#,##0_);\(#,##0\);&quot;-  &quot;;&quot; &quot;@&quot; &quot;">
                  <c:v>0</c:v>
                </c:pt>
                <c:pt idx="4491" formatCode="#,##0_);\(#,##0\);&quot;-  &quot;;&quot; &quot;@&quot; &quot;">
                  <c:v>0</c:v>
                </c:pt>
                <c:pt idx="4492" formatCode="#,##0_);\(#,##0\);&quot;-  &quot;;&quot; &quot;@&quot; &quot;">
                  <c:v>0</c:v>
                </c:pt>
                <c:pt idx="4493" formatCode="#,##0_);\(#,##0\);&quot;-  &quot;;&quot; &quot;@&quot; &quot;">
                  <c:v>0</c:v>
                </c:pt>
                <c:pt idx="4494" formatCode="#,##0_);\(#,##0\);&quot;-  &quot;;&quot; &quot;@&quot; &quot;">
                  <c:v>0</c:v>
                </c:pt>
                <c:pt idx="4495" formatCode="#,##0_);\(#,##0\);&quot;-  &quot;;&quot; &quot;@&quot; &quot;">
                  <c:v>0</c:v>
                </c:pt>
                <c:pt idx="4496" formatCode="#,##0_);\(#,##0\);&quot;-  &quot;;&quot; &quot;@&quot; &quot;">
                  <c:v>0</c:v>
                </c:pt>
                <c:pt idx="4497" formatCode="#,##0_);\(#,##0\);&quot;-  &quot;;&quot; &quot;@&quot; &quot;">
                  <c:v>0</c:v>
                </c:pt>
                <c:pt idx="4498" formatCode="#,##0_);\(#,##0\);&quot;-  &quot;;&quot; &quot;@&quot; &quot;">
                  <c:v>0</c:v>
                </c:pt>
                <c:pt idx="4499" formatCode="#,##0_);\(#,##0\);&quot;-  &quot;;&quot; &quot;@&quot; &quot;">
                  <c:v>0</c:v>
                </c:pt>
                <c:pt idx="4500" formatCode="#,##0_);\(#,##0\);&quot;-  &quot;;&quot; &quot;@&quot; &quot;">
                  <c:v>0</c:v>
                </c:pt>
                <c:pt idx="4501" formatCode="#,##0_);\(#,##0\);&quot;-  &quot;;&quot; &quot;@&quot; &quot;">
                  <c:v>0</c:v>
                </c:pt>
                <c:pt idx="4502" formatCode="#,##0_);\(#,##0\);&quot;-  &quot;;&quot; &quot;@&quot; &quot;">
                  <c:v>0</c:v>
                </c:pt>
                <c:pt idx="4503" formatCode="#,##0_);\(#,##0\);&quot;-  &quot;;&quot; &quot;@&quot; &quot;">
                  <c:v>0</c:v>
                </c:pt>
                <c:pt idx="4504" formatCode="#,##0_);\(#,##0\);&quot;-  &quot;;&quot; &quot;@&quot; &quot;">
                  <c:v>0</c:v>
                </c:pt>
                <c:pt idx="4505" formatCode="#,##0_);\(#,##0\);&quot;-  &quot;;&quot; &quot;@&quot; &quot;">
                  <c:v>0</c:v>
                </c:pt>
                <c:pt idx="4506" formatCode="#,##0_);\(#,##0\);&quot;-  &quot;;&quot; &quot;@&quot; &quot;">
                  <c:v>0</c:v>
                </c:pt>
                <c:pt idx="4507" formatCode="#,##0_);\(#,##0\);&quot;-  &quot;;&quot; &quot;@&quot; &quot;">
                  <c:v>0</c:v>
                </c:pt>
                <c:pt idx="4508" formatCode="#,##0_);\(#,##0\);&quot;-  &quot;;&quot; &quot;@&quot; &quot;">
                  <c:v>0</c:v>
                </c:pt>
                <c:pt idx="4509" formatCode="#,##0_);\(#,##0\);&quot;-  &quot;;&quot; &quot;@&quot; &quot;">
                  <c:v>0</c:v>
                </c:pt>
                <c:pt idx="4510" formatCode="#,##0_);\(#,##0\);&quot;-  &quot;;&quot; &quot;@&quot; &quot;">
                  <c:v>0</c:v>
                </c:pt>
                <c:pt idx="4511" formatCode="#,##0_);\(#,##0\);&quot;-  &quot;;&quot; &quot;@&quot; &quot;">
                  <c:v>0</c:v>
                </c:pt>
                <c:pt idx="4512" formatCode="#,##0_);\(#,##0\);&quot;-  &quot;;&quot; &quot;@&quot; &quot;">
                  <c:v>0</c:v>
                </c:pt>
                <c:pt idx="4513" formatCode="#,##0_);\(#,##0\);&quot;-  &quot;;&quot; &quot;@&quot; &quot;">
                  <c:v>0</c:v>
                </c:pt>
                <c:pt idx="4514" formatCode="#,##0_);\(#,##0\);&quot;-  &quot;;&quot; &quot;@&quot; &quot;">
                  <c:v>0</c:v>
                </c:pt>
                <c:pt idx="4515" formatCode="#,##0_);\(#,##0\);&quot;-  &quot;;&quot; &quot;@&quot; &quot;">
                  <c:v>0</c:v>
                </c:pt>
                <c:pt idx="4516" formatCode="#,##0_);\(#,##0\);&quot;-  &quot;;&quot; &quot;@&quot; &quot;">
                  <c:v>0</c:v>
                </c:pt>
                <c:pt idx="4517" formatCode="#,##0_);\(#,##0\);&quot;-  &quot;;&quot; &quot;@&quot; &quot;">
                  <c:v>0</c:v>
                </c:pt>
                <c:pt idx="4518" formatCode="#,##0_);\(#,##0\);&quot;-  &quot;;&quot; &quot;@&quot; &quot;">
                  <c:v>0</c:v>
                </c:pt>
                <c:pt idx="4519" formatCode="#,##0_);\(#,##0\);&quot;-  &quot;;&quot; &quot;@&quot; &quot;">
                  <c:v>0</c:v>
                </c:pt>
                <c:pt idx="4520" formatCode="#,##0_);\(#,##0\);&quot;-  &quot;;&quot; &quot;@&quot; &quot;">
                  <c:v>0</c:v>
                </c:pt>
                <c:pt idx="4521" formatCode="#,##0_);\(#,##0\);&quot;-  &quot;;&quot; &quot;@&quot; &quot;">
                  <c:v>0</c:v>
                </c:pt>
                <c:pt idx="4522" formatCode="#,##0_);\(#,##0\);&quot;-  &quot;;&quot; &quot;@&quot; &quot;">
                  <c:v>0</c:v>
                </c:pt>
                <c:pt idx="4523" formatCode="#,##0_);\(#,##0\);&quot;-  &quot;;&quot; &quot;@&quot; &quot;">
                  <c:v>0</c:v>
                </c:pt>
                <c:pt idx="4524" formatCode="#,##0_);\(#,##0\);&quot;-  &quot;;&quot; &quot;@&quot; &quot;">
                  <c:v>0</c:v>
                </c:pt>
                <c:pt idx="4525" formatCode="#,##0_);\(#,##0\);&quot;-  &quot;;&quot; &quot;@&quot; &quot;">
                  <c:v>0</c:v>
                </c:pt>
                <c:pt idx="4526" formatCode="#,##0_);\(#,##0\);&quot;-  &quot;;&quot; &quot;@&quot; &quot;">
                  <c:v>0</c:v>
                </c:pt>
                <c:pt idx="4527" formatCode="#,##0_);\(#,##0\);&quot;-  &quot;;&quot; &quot;@&quot; &quot;">
                  <c:v>0</c:v>
                </c:pt>
                <c:pt idx="4528" formatCode="#,##0_);\(#,##0\);&quot;-  &quot;;&quot; &quot;@&quot; &quot;">
                  <c:v>0</c:v>
                </c:pt>
                <c:pt idx="4529" formatCode="#,##0_);\(#,##0\);&quot;-  &quot;;&quot; &quot;@&quot; &quot;">
                  <c:v>0</c:v>
                </c:pt>
                <c:pt idx="4530" formatCode="#,##0_);\(#,##0\);&quot;-  &quot;;&quot; &quot;@&quot; &quot;">
                  <c:v>0</c:v>
                </c:pt>
                <c:pt idx="4531" formatCode="#,##0_);\(#,##0\);&quot;-  &quot;;&quot; &quot;@&quot; &quot;">
                  <c:v>0</c:v>
                </c:pt>
                <c:pt idx="4532" formatCode="#,##0_);\(#,##0\);&quot;-  &quot;;&quot; &quot;@&quot; &quot;">
                  <c:v>0</c:v>
                </c:pt>
                <c:pt idx="4533" formatCode="#,##0_);\(#,##0\);&quot;-  &quot;;&quot; &quot;@&quot; &quot;">
                  <c:v>0</c:v>
                </c:pt>
                <c:pt idx="4534" formatCode="#,##0_);\(#,##0\);&quot;-  &quot;;&quot; &quot;@&quot; &quot;">
                  <c:v>0</c:v>
                </c:pt>
                <c:pt idx="4535" formatCode="#,##0_);\(#,##0\);&quot;-  &quot;;&quot; &quot;@&quot; &quot;">
                  <c:v>0</c:v>
                </c:pt>
                <c:pt idx="4536" formatCode="#,##0_);\(#,##0\);&quot;-  &quot;;&quot; &quot;@&quot; &quot;">
                  <c:v>0</c:v>
                </c:pt>
                <c:pt idx="4537" formatCode="#,##0_);\(#,##0\);&quot;-  &quot;;&quot; &quot;@&quot; &quot;">
                  <c:v>0</c:v>
                </c:pt>
                <c:pt idx="4538" formatCode="#,##0_);\(#,##0\);&quot;-  &quot;;&quot; &quot;@&quot; &quot;">
                  <c:v>0</c:v>
                </c:pt>
                <c:pt idx="4539" formatCode="#,##0_);\(#,##0\);&quot;-  &quot;;&quot; &quot;@&quot; &quot;">
                  <c:v>0</c:v>
                </c:pt>
                <c:pt idx="4540" formatCode="#,##0_);\(#,##0\);&quot;-  &quot;;&quot; &quot;@&quot; &quot;">
                  <c:v>0</c:v>
                </c:pt>
                <c:pt idx="4541" formatCode="#,##0_);\(#,##0\);&quot;-  &quot;;&quot; &quot;@&quot; &quot;">
                  <c:v>0</c:v>
                </c:pt>
                <c:pt idx="4542" formatCode="#,##0_);\(#,##0\);&quot;-  &quot;;&quot; &quot;@&quot; &quot;">
                  <c:v>0</c:v>
                </c:pt>
                <c:pt idx="4543" formatCode="#,##0_);\(#,##0\);&quot;-  &quot;;&quot; &quot;@&quot; &quot;">
                  <c:v>0</c:v>
                </c:pt>
                <c:pt idx="4544" formatCode="#,##0_);\(#,##0\);&quot;-  &quot;;&quot; &quot;@&quot; &quot;">
                  <c:v>0</c:v>
                </c:pt>
                <c:pt idx="4545" formatCode="#,##0_);\(#,##0\);&quot;-  &quot;;&quot; &quot;@&quot; &quot;">
                  <c:v>0</c:v>
                </c:pt>
                <c:pt idx="4546" formatCode="#,##0_);\(#,##0\);&quot;-  &quot;;&quot; &quot;@&quot; &quot;">
                  <c:v>0</c:v>
                </c:pt>
                <c:pt idx="4547" formatCode="#,##0_);\(#,##0\);&quot;-  &quot;;&quot; &quot;@&quot; &quot;">
                  <c:v>0</c:v>
                </c:pt>
                <c:pt idx="4548" formatCode="#,##0_);\(#,##0\);&quot;-  &quot;;&quot; &quot;@&quot; &quot;">
                  <c:v>0</c:v>
                </c:pt>
                <c:pt idx="4549" formatCode="#,##0_);\(#,##0\);&quot;-  &quot;;&quot; &quot;@&quot; &quot;">
                  <c:v>0</c:v>
                </c:pt>
                <c:pt idx="4550" formatCode="#,##0_);\(#,##0\);&quot;-  &quot;;&quot; &quot;@&quot; &quot;">
                  <c:v>0</c:v>
                </c:pt>
                <c:pt idx="4551" formatCode="#,##0_);\(#,##0\);&quot;-  &quot;;&quot; &quot;@&quot; &quot;">
                  <c:v>0</c:v>
                </c:pt>
                <c:pt idx="4552" formatCode="#,##0_);\(#,##0\);&quot;-  &quot;;&quot; &quot;@&quot; &quot;">
                  <c:v>0</c:v>
                </c:pt>
                <c:pt idx="4553" formatCode="#,##0_);\(#,##0\);&quot;-  &quot;;&quot; &quot;@&quot; &quot;">
                  <c:v>0</c:v>
                </c:pt>
                <c:pt idx="4554" formatCode="#,##0_);\(#,##0\);&quot;-  &quot;;&quot; &quot;@&quot; &quot;">
                  <c:v>0</c:v>
                </c:pt>
                <c:pt idx="4555" formatCode="#,##0_);\(#,##0\);&quot;-  &quot;;&quot; &quot;@&quot; &quot;">
                  <c:v>0</c:v>
                </c:pt>
                <c:pt idx="4556" formatCode="#,##0_);\(#,##0\);&quot;-  &quot;;&quot; &quot;@&quot; &quot;">
                  <c:v>0</c:v>
                </c:pt>
                <c:pt idx="4557" formatCode="#,##0_);\(#,##0\);&quot;-  &quot;;&quot; &quot;@&quot; &quot;">
                  <c:v>0</c:v>
                </c:pt>
                <c:pt idx="4558" formatCode="#,##0_);\(#,##0\);&quot;-  &quot;;&quot; &quot;@&quot; &quot;">
                  <c:v>0</c:v>
                </c:pt>
                <c:pt idx="4559" formatCode="#,##0_);\(#,##0\);&quot;-  &quot;;&quot; &quot;@&quot; &quot;">
                  <c:v>0</c:v>
                </c:pt>
                <c:pt idx="4560" formatCode="#,##0_);\(#,##0\);&quot;-  &quot;;&quot; &quot;@&quot; &quot;">
                  <c:v>0</c:v>
                </c:pt>
                <c:pt idx="4561" formatCode="#,##0_);\(#,##0\);&quot;-  &quot;;&quot; &quot;@&quot; &quot;">
                  <c:v>0</c:v>
                </c:pt>
                <c:pt idx="4562" formatCode="#,##0_);\(#,##0\);&quot;-  &quot;;&quot; &quot;@&quot; &quot;">
                  <c:v>0</c:v>
                </c:pt>
                <c:pt idx="4563" formatCode="#,##0_);\(#,##0\);&quot;-  &quot;;&quot; &quot;@&quot; &quot;">
                  <c:v>0</c:v>
                </c:pt>
                <c:pt idx="4564" formatCode="#,##0_);\(#,##0\);&quot;-  &quot;;&quot; &quot;@&quot; &quot;">
                  <c:v>0</c:v>
                </c:pt>
                <c:pt idx="4565" formatCode="#,##0_);\(#,##0\);&quot;-  &quot;;&quot; &quot;@&quot; &quot;">
                  <c:v>0</c:v>
                </c:pt>
                <c:pt idx="4566" formatCode="#,##0_);\(#,##0\);&quot;-  &quot;;&quot; &quot;@&quot; &quot;">
                  <c:v>0</c:v>
                </c:pt>
                <c:pt idx="4567" formatCode="#,##0_);\(#,##0\);&quot;-  &quot;;&quot; &quot;@&quot; &quot;">
                  <c:v>0</c:v>
                </c:pt>
                <c:pt idx="4568" formatCode="#,##0_);\(#,##0\);&quot;-  &quot;;&quot; &quot;@&quot; &quot;">
                  <c:v>0</c:v>
                </c:pt>
                <c:pt idx="4569" formatCode="#,##0_);\(#,##0\);&quot;-  &quot;;&quot; &quot;@&quot; &quot;">
                  <c:v>0</c:v>
                </c:pt>
                <c:pt idx="4570" formatCode="#,##0_);\(#,##0\);&quot;-  &quot;;&quot; &quot;@&quot; &quot;">
                  <c:v>0</c:v>
                </c:pt>
                <c:pt idx="4571" formatCode="#,##0_);\(#,##0\);&quot;-  &quot;;&quot; &quot;@&quot; &quot;">
                  <c:v>0</c:v>
                </c:pt>
                <c:pt idx="4572" formatCode="#,##0_);\(#,##0\);&quot;-  &quot;;&quot; &quot;@&quot; &quot;">
                  <c:v>0</c:v>
                </c:pt>
                <c:pt idx="4573" formatCode="#,##0_);\(#,##0\);&quot;-  &quot;;&quot; &quot;@&quot; &quot;">
                  <c:v>0</c:v>
                </c:pt>
                <c:pt idx="4574" formatCode="#,##0_);\(#,##0\);&quot;-  &quot;;&quot; &quot;@&quot; &quot;">
                  <c:v>0</c:v>
                </c:pt>
                <c:pt idx="4575" formatCode="#,##0_);\(#,##0\);&quot;-  &quot;;&quot; &quot;@&quot; &quot;">
                  <c:v>0</c:v>
                </c:pt>
                <c:pt idx="4576" formatCode="#,##0_);\(#,##0\);&quot;-  &quot;;&quot; &quot;@&quot; &quot;">
                  <c:v>0</c:v>
                </c:pt>
                <c:pt idx="4577" formatCode="#,##0_);\(#,##0\);&quot;-  &quot;;&quot; &quot;@&quot; &quot;">
                  <c:v>0</c:v>
                </c:pt>
                <c:pt idx="4578" formatCode="#,##0_);\(#,##0\);&quot;-  &quot;;&quot; &quot;@&quot; &quot;">
                  <c:v>0</c:v>
                </c:pt>
                <c:pt idx="4579" formatCode="#,##0_);\(#,##0\);&quot;-  &quot;;&quot; &quot;@&quot; &quot;">
                  <c:v>0</c:v>
                </c:pt>
                <c:pt idx="4580" formatCode="#,##0_);\(#,##0\);&quot;-  &quot;;&quot; &quot;@&quot; &quot;">
                  <c:v>0</c:v>
                </c:pt>
                <c:pt idx="4581" formatCode="#,##0_);\(#,##0\);&quot;-  &quot;;&quot; &quot;@&quot; &quot;">
                  <c:v>0</c:v>
                </c:pt>
                <c:pt idx="4582" formatCode="#,##0_);\(#,##0\);&quot;-  &quot;;&quot; &quot;@&quot; &quot;">
                  <c:v>0</c:v>
                </c:pt>
                <c:pt idx="4583" formatCode="#,##0_);\(#,##0\);&quot;-  &quot;;&quot; &quot;@&quot; &quot;">
                  <c:v>0</c:v>
                </c:pt>
                <c:pt idx="4584" formatCode="#,##0_);\(#,##0\);&quot;-  &quot;;&quot; &quot;@&quot; &quot;">
                  <c:v>0</c:v>
                </c:pt>
                <c:pt idx="4585" formatCode="#,##0_);\(#,##0\);&quot;-  &quot;;&quot; &quot;@&quot; &quot;">
                  <c:v>0</c:v>
                </c:pt>
                <c:pt idx="4586" formatCode="#,##0_);\(#,##0\);&quot;-  &quot;;&quot; &quot;@&quot; &quot;">
                  <c:v>0</c:v>
                </c:pt>
                <c:pt idx="4587" formatCode="#,##0_);\(#,##0\);&quot;-  &quot;;&quot; &quot;@&quot; &quot;">
                  <c:v>0</c:v>
                </c:pt>
                <c:pt idx="4588" formatCode="#,##0_);\(#,##0\);&quot;-  &quot;;&quot; &quot;@&quot; &quot;">
                  <c:v>0</c:v>
                </c:pt>
                <c:pt idx="4589" formatCode="#,##0_);\(#,##0\);&quot;-  &quot;;&quot; &quot;@&quot; &quot;">
                  <c:v>0</c:v>
                </c:pt>
                <c:pt idx="4590" formatCode="#,##0_);\(#,##0\);&quot;-  &quot;;&quot; &quot;@&quot; &quot;">
                  <c:v>0</c:v>
                </c:pt>
                <c:pt idx="4591" formatCode="#,##0_);\(#,##0\);&quot;-  &quot;;&quot; &quot;@&quot; &quot;">
                  <c:v>0</c:v>
                </c:pt>
                <c:pt idx="4592" formatCode="#,##0_);\(#,##0\);&quot;-  &quot;;&quot; &quot;@&quot; &quot;">
                  <c:v>0</c:v>
                </c:pt>
                <c:pt idx="4593" formatCode="#,##0_);\(#,##0\);&quot;-  &quot;;&quot; &quot;@&quot; &quot;">
                  <c:v>0</c:v>
                </c:pt>
                <c:pt idx="4594" formatCode="#,##0_);\(#,##0\);&quot;-  &quot;;&quot; &quot;@&quot; &quot;">
                  <c:v>0</c:v>
                </c:pt>
                <c:pt idx="4595" formatCode="#,##0_);\(#,##0\);&quot;-  &quot;;&quot; &quot;@&quot; &quot;">
                  <c:v>0</c:v>
                </c:pt>
                <c:pt idx="4596" formatCode="#,##0_);\(#,##0\);&quot;-  &quot;;&quot; &quot;@&quot; &quot;">
                  <c:v>0</c:v>
                </c:pt>
                <c:pt idx="4597" formatCode="#,##0_);\(#,##0\);&quot;-  &quot;;&quot; &quot;@&quot; &quot;">
                  <c:v>0</c:v>
                </c:pt>
                <c:pt idx="4598" formatCode="#,##0_);\(#,##0\);&quot;-  &quot;;&quot; &quot;@&quot; &quot;">
                  <c:v>0</c:v>
                </c:pt>
                <c:pt idx="4599" formatCode="#,##0_);\(#,##0\);&quot;-  &quot;;&quot; &quot;@&quot; &quot;">
                  <c:v>0</c:v>
                </c:pt>
                <c:pt idx="4600" formatCode="#,##0_);\(#,##0\);&quot;-  &quot;;&quot; &quot;@&quot; &quot;">
                  <c:v>0</c:v>
                </c:pt>
                <c:pt idx="4601" formatCode="#,##0_);\(#,##0\);&quot;-  &quot;;&quot; &quot;@&quot; &quot;">
                  <c:v>0</c:v>
                </c:pt>
                <c:pt idx="4602" formatCode="#,##0_);\(#,##0\);&quot;-  &quot;;&quot; &quot;@&quot; &quot;">
                  <c:v>0</c:v>
                </c:pt>
                <c:pt idx="4603" formatCode="#,##0_);\(#,##0\);&quot;-  &quot;;&quot; &quot;@&quot; &quot;">
                  <c:v>0</c:v>
                </c:pt>
                <c:pt idx="4604" formatCode="#,##0_);\(#,##0\);&quot;-  &quot;;&quot; &quot;@&quot; &quot;">
                  <c:v>0</c:v>
                </c:pt>
                <c:pt idx="4605" formatCode="#,##0_);\(#,##0\);&quot;-  &quot;;&quot; &quot;@&quot; &quot;">
                  <c:v>0</c:v>
                </c:pt>
                <c:pt idx="4606" formatCode="#,##0_);\(#,##0\);&quot;-  &quot;;&quot; &quot;@&quot; &quot;">
                  <c:v>0</c:v>
                </c:pt>
                <c:pt idx="4607" formatCode="#,##0_);\(#,##0\);&quot;-  &quot;;&quot; &quot;@&quot; &quot;">
                  <c:v>0</c:v>
                </c:pt>
                <c:pt idx="4608" formatCode="#,##0_);\(#,##0\);&quot;-  &quot;;&quot; &quot;@&quot; &quot;">
                  <c:v>0</c:v>
                </c:pt>
                <c:pt idx="4609" formatCode="#,##0_);\(#,##0\);&quot;-  &quot;;&quot; &quot;@&quot; &quot;">
                  <c:v>0</c:v>
                </c:pt>
                <c:pt idx="4610" formatCode="#,##0_);\(#,##0\);&quot;-  &quot;;&quot; &quot;@&quot; &quot;">
                  <c:v>0</c:v>
                </c:pt>
                <c:pt idx="4611" formatCode="#,##0_);\(#,##0\);&quot;-  &quot;;&quot; &quot;@&quot; &quot;">
                  <c:v>0</c:v>
                </c:pt>
                <c:pt idx="4612" formatCode="#,##0_);\(#,##0\);&quot;-  &quot;;&quot; &quot;@&quot; &quot;">
                  <c:v>0</c:v>
                </c:pt>
                <c:pt idx="4613" formatCode="#,##0_);\(#,##0\);&quot;-  &quot;;&quot; &quot;@&quot; &quot;">
                  <c:v>0</c:v>
                </c:pt>
                <c:pt idx="4614" formatCode="#,##0_);\(#,##0\);&quot;-  &quot;;&quot; &quot;@&quot; &quot;">
                  <c:v>0</c:v>
                </c:pt>
                <c:pt idx="4615" formatCode="#,##0_);\(#,##0\);&quot;-  &quot;;&quot; &quot;@&quot; &quot;">
                  <c:v>0</c:v>
                </c:pt>
                <c:pt idx="4616" formatCode="#,##0_);\(#,##0\);&quot;-  &quot;;&quot; &quot;@&quot; &quot;">
                  <c:v>0</c:v>
                </c:pt>
                <c:pt idx="4617" formatCode="#,##0_);\(#,##0\);&quot;-  &quot;;&quot; &quot;@&quot; &quot;">
                  <c:v>0</c:v>
                </c:pt>
                <c:pt idx="4618" formatCode="#,##0_);\(#,##0\);&quot;-  &quot;;&quot; &quot;@&quot; &quot;">
                  <c:v>0</c:v>
                </c:pt>
                <c:pt idx="4619" formatCode="#,##0_);\(#,##0\);&quot;-  &quot;;&quot; &quot;@&quot; &quot;">
                  <c:v>0</c:v>
                </c:pt>
                <c:pt idx="4620" formatCode="#,##0_);\(#,##0\);&quot;-  &quot;;&quot; &quot;@&quot; &quot;">
                  <c:v>0</c:v>
                </c:pt>
                <c:pt idx="4621" formatCode="#,##0_);\(#,##0\);&quot;-  &quot;;&quot; &quot;@&quot; &quot;">
                  <c:v>0</c:v>
                </c:pt>
                <c:pt idx="4622" formatCode="#,##0_);\(#,##0\);&quot;-  &quot;;&quot; &quot;@&quot; &quot;">
                  <c:v>0</c:v>
                </c:pt>
                <c:pt idx="4623" formatCode="#,##0_);\(#,##0\);&quot;-  &quot;;&quot; &quot;@&quot; &quot;">
                  <c:v>0</c:v>
                </c:pt>
                <c:pt idx="4624" formatCode="#,##0_);\(#,##0\);&quot;-  &quot;;&quot; &quot;@&quot; &quot;">
                  <c:v>0</c:v>
                </c:pt>
                <c:pt idx="4625" formatCode="#,##0_);\(#,##0\);&quot;-  &quot;;&quot; &quot;@&quot; &quot;">
                  <c:v>0</c:v>
                </c:pt>
                <c:pt idx="4626" formatCode="#,##0_);\(#,##0\);&quot;-  &quot;;&quot; &quot;@&quot; &quot;">
                  <c:v>0</c:v>
                </c:pt>
                <c:pt idx="4627" formatCode="#,##0_);\(#,##0\);&quot;-  &quot;;&quot; &quot;@&quot; &quot;">
                  <c:v>0</c:v>
                </c:pt>
                <c:pt idx="4628" formatCode="#,##0_);\(#,##0\);&quot;-  &quot;;&quot; &quot;@&quot; &quot;">
                  <c:v>0</c:v>
                </c:pt>
                <c:pt idx="4629" formatCode="#,##0_);\(#,##0\);&quot;-  &quot;;&quot; &quot;@&quot; &quot;">
                  <c:v>0</c:v>
                </c:pt>
                <c:pt idx="4630" formatCode="#,##0_);\(#,##0\);&quot;-  &quot;;&quot; &quot;@&quot; &quot;">
                  <c:v>0</c:v>
                </c:pt>
                <c:pt idx="4631" formatCode="#,##0_);\(#,##0\);&quot;-  &quot;;&quot; &quot;@&quot; &quot;">
                  <c:v>0</c:v>
                </c:pt>
                <c:pt idx="4632" formatCode="#,##0_);\(#,##0\);&quot;-  &quot;;&quot; &quot;@&quot; &quot;">
                  <c:v>0</c:v>
                </c:pt>
                <c:pt idx="4633" formatCode="#,##0_);\(#,##0\);&quot;-  &quot;;&quot; &quot;@&quot; &quot;">
                  <c:v>0</c:v>
                </c:pt>
                <c:pt idx="4634" formatCode="#,##0_);\(#,##0\);&quot;-  &quot;;&quot; &quot;@&quot; &quot;">
                  <c:v>0</c:v>
                </c:pt>
                <c:pt idx="4635" formatCode="#,##0_);\(#,##0\);&quot;-  &quot;;&quot; &quot;@&quot; &quot;">
                  <c:v>0</c:v>
                </c:pt>
                <c:pt idx="4636" formatCode="#,##0_);\(#,##0\);&quot;-  &quot;;&quot; &quot;@&quot; &quot;">
                  <c:v>0</c:v>
                </c:pt>
                <c:pt idx="4637" formatCode="#,##0_);\(#,##0\);&quot;-  &quot;;&quot; &quot;@&quot; &quot;">
                  <c:v>0</c:v>
                </c:pt>
                <c:pt idx="4638" formatCode="#,##0_);\(#,##0\);&quot;-  &quot;;&quot; &quot;@&quot; &quot;">
                  <c:v>0</c:v>
                </c:pt>
                <c:pt idx="4639" formatCode="#,##0_);\(#,##0\);&quot;-  &quot;;&quot; &quot;@&quot; &quot;">
                  <c:v>0</c:v>
                </c:pt>
                <c:pt idx="4640" formatCode="#,##0_);\(#,##0\);&quot;-  &quot;;&quot; &quot;@&quot; &quot;">
                  <c:v>0</c:v>
                </c:pt>
                <c:pt idx="4641" formatCode="#,##0_);\(#,##0\);&quot;-  &quot;;&quot; &quot;@&quot; &quot;">
                  <c:v>0</c:v>
                </c:pt>
                <c:pt idx="4642" formatCode="#,##0_);\(#,##0\);&quot;-  &quot;;&quot; &quot;@&quot; &quot;">
                  <c:v>0</c:v>
                </c:pt>
                <c:pt idx="4643" formatCode="#,##0_);\(#,##0\);&quot;-  &quot;;&quot; &quot;@&quot; &quot;">
                  <c:v>0</c:v>
                </c:pt>
                <c:pt idx="4644" formatCode="#,##0_);\(#,##0\);&quot;-  &quot;;&quot; &quot;@&quot; &quot;">
                  <c:v>0</c:v>
                </c:pt>
                <c:pt idx="4645" formatCode="#,##0_);\(#,##0\);&quot;-  &quot;;&quot; &quot;@&quot; &quot;">
                  <c:v>0</c:v>
                </c:pt>
                <c:pt idx="4646" formatCode="#,##0_);\(#,##0\);&quot;-  &quot;;&quot; &quot;@&quot; &quot;">
                  <c:v>0</c:v>
                </c:pt>
                <c:pt idx="4647" formatCode="#,##0_);\(#,##0\);&quot;-  &quot;;&quot; &quot;@&quot; &quot;">
                  <c:v>0</c:v>
                </c:pt>
                <c:pt idx="4648" formatCode="#,##0_);\(#,##0\);&quot;-  &quot;;&quot; &quot;@&quot; &quot;">
                  <c:v>0</c:v>
                </c:pt>
                <c:pt idx="4649" formatCode="#,##0_);\(#,##0\);&quot;-  &quot;;&quot; &quot;@&quot; &quot;">
                  <c:v>0</c:v>
                </c:pt>
                <c:pt idx="4650" formatCode="#,##0_);\(#,##0\);&quot;-  &quot;;&quot; &quot;@&quot; &quot;">
                  <c:v>0</c:v>
                </c:pt>
                <c:pt idx="4651" formatCode="#,##0_);\(#,##0\);&quot;-  &quot;;&quot; &quot;@&quot; &quot;">
                  <c:v>0</c:v>
                </c:pt>
                <c:pt idx="4652" formatCode="#,##0_);\(#,##0\);&quot;-  &quot;;&quot; &quot;@&quot; &quot;">
                  <c:v>0</c:v>
                </c:pt>
                <c:pt idx="4653" formatCode="#,##0_);\(#,##0\);&quot;-  &quot;;&quot; &quot;@&quot; &quot;">
                  <c:v>0</c:v>
                </c:pt>
                <c:pt idx="4654" formatCode="#,##0_);\(#,##0\);&quot;-  &quot;;&quot; &quot;@&quot; &quot;">
                  <c:v>0</c:v>
                </c:pt>
                <c:pt idx="4655" formatCode="#,##0_);\(#,##0\);&quot;-  &quot;;&quot; &quot;@&quot; &quot;">
                  <c:v>0</c:v>
                </c:pt>
                <c:pt idx="4656" formatCode="#,##0_);\(#,##0\);&quot;-  &quot;;&quot; &quot;@&quot; &quot;">
                  <c:v>0</c:v>
                </c:pt>
                <c:pt idx="4657" formatCode="#,##0_);\(#,##0\);&quot;-  &quot;;&quot; &quot;@&quot; &quot;">
                  <c:v>0</c:v>
                </c:pt>
                <c:pt idx="4658" formatCode="#,##0_);\(#,##0\);&quot;-  &quot;;&quot; &quot;@&quot; &quot;">
                  <c:v>0</c:v>
                </c:pt>
                <c:pt idx="4659" formatCode="#,##0_);\(#,##0\);&quot;-  &quot;;&quot; &quot;@&quot; &quot;">
                  <c:v>0</c:v>
                </c:pt>
                <c:pt idx="4660" formatCode="#,##0_);\(#,##0\);&quot;-  &quot;;&quot; &quot;@&quot; &quot;">
                  <c:v>0</c:v>
                </c:pt>
                <c:pt idx="4661" formatCode="#,##0_);\(#,##0\);&quot;-  &quot;;&quot; &quot;@&quot; &quot;">
                  <c:v>0</c:v>
                </c:pt>
                <c:pt idx="4662" formatCode="#,##0_);\(#,##0\);&quot;-  &quot;;&quot; &quot;@&quot; &quot;">
                  <c:v>0</c:v>
                </c:pt>
                <c:pt idx="4663" formatCode="#,##0_);\(#,##0\);&quot;-  &quot;;&quot; &quot;@&quot; &quot;">
                  <c:v>0</c:v>
                </c:pt>
                <c:pt idx="4664" formatCode="#,##0_);\(#,##0\);&quot;-  &quot;;&quot; &quot;@&quot; &quot;">
                  <c:v>0</c:v>
                </c:pt>
                <c:pt idx="4665" formatCode="#,##0_);\(#,##0\);&quot;-  &quot;;&quot; &quot;@&quot; &quot;">
                  <c:v>0</c:v>
                </c:pt>
                <c:pt idx="4666" formatCode="#,##0_);\(#,##0\);&quot;-  &quot;;&quot; &quot;@&quot; &quot;">
                  <c:v>0</c:v>
                </c:pt>
                <c:pt idx="4667" formatCode="#,##0_);\(#,##0\);&quot;-  &quot;;&quot; &quot;@&quot; &quot;">
                  <c:v>0</c:v>
                </c:pt>
                <c:pt idx="4668" formatCode="#,##0_);\(#,##0\);&quot;-  &quot;;&quot; &quot;@&quot; &quot;">
                  <c:v>0</c:v>
                </c:pt>
                <c:pt idx="4669" formatCode="#,##0_);\(#,##0\);&quot;-  &quot;;&quot; &quot;@&quot; &quot;">
                  <c:v>0</c:v>
                </c:pt>
                <c:pt idx="4670" formatCode="#,##0_);\(#,##0\);&quot;-  &quot;;&quot; &quot;@&quot; &quot;">
                  <c:v>0</c:v>
                </c:pt>
                <c:pt idx="4671" formatCode="#,##0_);\(#,##0\);&quot;-  &quot;;&quot; &quot;@&quot; &quot;">
                  <c:v>0</c:v>
                </c:pt>
                <c:pt idx="4672" formatCode="#,##0_);\(#,##0\);&quot;-  &quot;;&quot; &quot;@&quot; &quot;">
                  <c:v>0</c:v>
                </c:pt>
                <c:pt idx="4673" formatCode="#,##0_);\(#,##0\);&quot;-  &quot;;&quot; &quot;@&quot; &quot;">
                  <c:v>0</c:v>
                </c:pt>
                <c:pt idx="4674" formatCode="#,##0_);\(#,##0\);&quot;-  &quot;;&quot; &quot;@&quot; &quot;">
                  <c:v>0</c:v>
                </c:pt>
                <c:pt idx="4675" formatCode="#,##0_);\(#,##0\);&quot;-  &quot;;&quot; &quot;@&quot; &quot;">
                  <c:v>0</c:v>
                </c:pt>
                <c:pt idx="4676" formatCode="#,##0_);\(#,##0\);&quot;-  &quot;;&quot; &quot;@&quot; &quot;">
                  <c:v>0</c:v>
                </c:pt>
                <c:pt idx="4677" formatCode="#,##0_);\(#,##0\);&quot;-  &quot;;&quot; &quot;@&quot; &quot;">
                  <c:v>0</c:v>
                </c:pt>
                <c:pt idx="4678" formatCode="#,##0_);\(#,##0\);&quot;-  &quot;;&quot; &quot;@&quot; &quot;">
                  <c:v>0</c:v>
                </c:pt>
                <c:pt idx="4679" formatCode="#,##0_);\(#,##0\);&quot;-  &quot;;&quot; &quot;@&quot; &quot;">
                  <c:v>0</c:v>
                </c:pt>
                <c:pt idx="4680" formatCode="#,##0_);\(#,##0\);&quot;-  &quot;;&quot; &quot;@&quot; &quot;">
                  <c:v>0</c:v>
                </c:pt>
                <c:pt idx="4681" formatCode="#,##0_);\(#,##0\);&quot;-  &quot;;&quot; &quot;@&quot; &quot;">
                  <c:v>0</c:v>
                </c:pt>
                <c:pt idx="4682" formatCode="#,##0_);\(#,##0\);&quot;-  &quot;;&quot; &quot;@&quot; &quot;">
                  <c:v>0</c:v>
                </c:pt>
                <c:pt idx="4683" formatCode="#,##0_);\(#,##0\);&quot;-  &quot;;&quot; &quot;@&quot; &quot;">
                  <c:v>0</c:v>
                </c:pt>
                <c:pt idx="4684" formatCode="#,##0_);\(#,##0\);&quot;-  &quot;;&quot; &quot;@&quot; &quot;">
                  <c:v>0</c:v>
                </c:pt>
                <c:pt idx="4685" formatCode="#,##0_);\(#,##0\);&quot;-  &quot;;&quot; &quot;@&quot; &quot;">
                  <c:v>0</c:v>
                </c:pt>
                <c:pt idx="4686" formatCode="#,##0_);\(#,##0\);&quot;-  &quot;;&quot; &quot;@&quot; &quot;">
                  <c:v>0</c:v>
                </c:pt>
                <c:pt idx="4687" formatCode="#,##0_);\(#,##0\);&quot;-  &quot;;&quot; &quot;@&quot; &quot;">
                  <c:v>0</c:v>
                </c:pt>
                <c:pt idx="4688" formatCode="#,##0_);\(#,##0\);&quot;-  &quot;;&quot; &quot;@&quot; &quot;">
                  <c:v>0</c:v>
                </c:pt>
                <c:pt idx="4689" formatCode="#,##0_);\(#,##0\);&quot;-  &quot;;&quot; &quot;@&quot; &quot;">
                  <c:v>0</c:v>
                </c:pt>
                <c:pt idx="4690" formatCode="#,##0_);\(#,##0\);&quot;-  &quot;;&quot; &quot;@&quot; &quot;">
                  <c:v>0</c:v>
                </c:pt>
                <c:pt idx="4691" formatCode="#,##0_);\(#,##0\);&quot;-  &quot;;&quot; &quot;@&quot; &quot;">
                  <c:v>0</c:v>
                </c:pt>
                <c:pt idx="4692" formatCode="#,##0_);\(#,##0\);&quot;-  &quot;;&quot; &quot;@&quot; &quot;">
                  <c:v>0</c:v>
                </c:pt>
                <c:pt idx="4693" formatCode="#,##0_);\(#,##0\);&quot;-  &quot;;&quot; &quot;@&quot; &quot;">
                  <c:v>0</c:v>
                </c:pt>
                <c:pt idx="4694" formatCode="#,##0_);\(#,##0\);&quot;-  &quot;;&quot; &quot;@&quot; &quot;">
                  <c:v>0</c:v>
                </c:pt>
                <c:pt idx="4695" formatCode="#,##0_);\(#,##0\);&quot;-  &quot;;&quot; &quot;@&quot; &quot;">
                  <c:v>0</c:v>
                </c:pt>
                <c:pt idx="4696" formatCode="#,##0_);\(#,##0\);&quot;-  &quot;;&quot; &quot;@&quot; &quot;">
                  <c:v>0</c:v>
                </c:pt>
                <c:pt idx="4697" formatCode="#,##0_);\(#,##0\);&quot;-  &quot;;&quot; &quot;@&quot; &quot;">
                  <c:v>0</c:v>
                </c:pt>
                <c:pt idx="4698" formatCode="#,##0_);\(#,##0\);&quot;-  &quot;;&quot; &quot;@&quot; &quot;">
                  <c:v>0</c:v>
                </c:pt>
                <c:pt idx="4699" formatCode="#,##0_);\(#,##0\);&quot;-  &quot;;&quot; &quot;@&quot; &quot;">
                  <c:v>0</c:v>
                </c:pt>
                <c:pt idx="4700" formatCode="#,##0_);\(#,##0\);&quot;-  &quot;;&quot; &quot;@&quot; &quot;">
                  <c:v>0</c:v>
                </c:pt>
                <c:pt idx="4701" formatCode="#,##0_);\(#,##0\);&quot;-  &quot;;&quot; &quot;@&quot; &quot;">
                  <c:v>0</c:v>
                </c:pt>
                <c:pt idx="4702" formatCode="#,##0_);\(#,##0\);&quot;-  &quot;;&quot; &quot;@&quot; &quot;">
                  <c:v>0</c:v>
                </c:pt>
                <c:pt idx="4703" formatCode="#,##0_);\(#,##0\);&quot;-  &quot;;&quot; &quot;@&quot; &quot;">
                  <c:v>0</c:v>
                </c:pt>
                <c:pt idx="4704" formatCode="#,##0_);\(#,##0\);&quot;-  &quot;;&quot; &quot;@&quot; &quot;">
                  <c:v>0</c:v>
                </c:pt>
                <c:pt idx="4705" formatCode="#,##0_);\(#,##0\);&quot;-  &quot;;&quot; &quot;@&quot; &quot;">
                  <c:v>0</c:v>
                </c:pt>
                <c:pt idx="4706" formatCode="#,##0_);\(#,##0\);&quot;-  &quot;;&quot; &quot;@&quot; &quot;">
                  <c:v>0</c:v>
                </c:pt>
                <c:pt idx="4707" formatCode="#,##0_);\(#,##0\);&quot;-  &quot;;&quot; &quot;@&quot; &quot;">
                  <c:v>0</c:v>
                </c:pt>
                <c:pt idx="4708" formatCode="#,##0_);\(#,##0\);&quot;-  &quot;;&quot; &quot;@&quot; &quot;">
                  <c:v>0</c:v>
                </c:pt>
                <c:pt idx="4709" formatCode="#,##0_);\(#,##0\);&quot;-  &quot;;&quot; &quot;@&quot; &quot;">
                  <c:v>0</c:v>
                </c:pt>
                <c:pt idx="4710" formatCode="#,##0_);\(#,##0\);&quot;-  &quot;;&quot; &quot;@&quot; &quot;">
                  <c:v>0</c:v>
                </c:pt>
                <c:pt idx="4711" formatCode="#,##0_);\(#,##0\);&quot;-  &quot;;&quot; &quot;@&quot; &quot;">
                  <c:v>0</c:v>
                </c:pt>
                <c:pt idx="4712" formatCode="#,##0_);\(#,##0\);&quot;-  &quot;;&quot; &quot;@&quot; &quot;">
                  <c:v>0</c:v>
                </c:pt>
                <c:pt idx="4713" formatCode="#,##0_);\(#,##0\);&quot;-  &quot;;&quot; &quot;@&quot; &quot;">
                  <c:v>0</c:v>
                </c:pt>
                <c:pt idx="4714" formatCode="#,##0_);\(#,##0\);&quot;-  &quot;;&quot; &quot;@&quot; &quot;">
                  <c:v>0</c:v>
                </c:pt>
                <c:pt idx="4715" formatCode="#,##0_);\(#,##0\);&quot;-  &quot;;&quot; &quot;@&quot; &quot;">
                  <c:v>0</c:v>
                </c:pt>
                <c:pt idx="4716" formatCode="#,##0_);\(#,##0\);&quot;-  &quot;;&quot; &quot;@&quot; &quot;">
                  <c:v>0</c:v>
                </c:pt>
                <c:pt idx="4717" formatCode="#,##0_);\(#,##0\);&quot;-  &quot;;&quot; &quot;@&quot; &quot;">
                  <c:v>0</c:v>
                </c:pt>
                <c:pt idx="4718" formatCode="#,##0_);\(#,##0\);&quot;-  &quot;;&quot; &quot;@&quot; &quot;">
                  <c:v>0</c:v>
                </c:pt>
                <c:pt idx="4719" formatCode="#,##0_);\(#,##0\);&quot;-  &quot;;&quot; &quot;@&quot; &quot;">
                  <c:v>0</c:v>
                </c:pt>
                <c:pt idx="4720" formatCode="#,##0_);\(#,##0\);&quot;-  &quot;;&quot; &quot;@&quot; &quot;">
                  <c:v>0</c:v>
                </c:pt>
                <c:pt idx="4721" formatCode="#,##0_);\(#,##0\);&quot;-  &quot;;&quot; &quot;@&quot; &quot;">
                  <c:v>0</c:v>
                </c:pt>
                <c:pt idx="4722" formatCode="#,##0_);\(#,##0\);&quot;-  &quot;;&quot; &quot;@&quot; &quot;">
                  <c:v>0</c:v>
                </c:pt>
                <c:pt idx="4723" formatCode="#,##0_);\(#,##0\);&quot;-  &quot;;&quot; &quot;@&quot; &quot;">
                  <c:v>0</c:v>
                </c:pt>
                <c:pt idx="4724" formatCode="#,##0_);\(#,##0\);&quot;-  &quot;;&quot; &quot;@&quot; &quot;">
                  <c:v>0</c:v>
                </c:pt>
                <c:pt idx="4725" formatCode="#,##0_);\(#,##0\);&quot;-  &quot;;&quot; &quot;@&quot; &quot;">
                  <c:v>0</c:v>
                </c:pt>
                <c:pt idx="4726" formatCode="#,##0_);\(#,##0\);&quot;-  &quot;;&quot; &quot;@&quot; &quot;">
                  <c:v>0</c:v>
                </c:pt>
                <c:pt idx="4727" formatCode="#,##0_);\(#,##0\);&quot;-  &quot;;&quot; &quot;@&quot; &quot;">
                  <c:v>0</c:v>
                </c:pt>
                <c:pt idx="4728" formatCode="#,##0_);\(#,##0\);&quot;-  &quot;;&quot; &quot;@&quot; &quot;">
                  <c:v>0</c:v>
                </c:pt>
                <c:pt idx="4729" formatCode="#,##0_);\(#,##0\);&quot;-  &quot;;&quot; &quot;@&quot; &quot;">
                  <c:v>0</c:v>
                </c:pt>
                <c:pt idx="4730" formatCode="#,##0_);\(#,##0\);&quot;-  &quot;;&quot; &quot;@&quot; &quot;">
                  <c:v>0</c:v>
                </c:pt>
                <c:pt idx="4731" formatCode="#,##0_);\(#,##0\);&quot;-  &quot;;&quot; &quot;@&quot; &quot;">
                  <c:v>0</c:v>
                </c:pt>
                <c:pt idx="4732" formatCode="#,##0_);\(#,##0\);&quot;-  &quot;;&quot; &quot;@&quot; &quot;">
                  <c:v>0</c:v>
                </c:pt>
                <c:pt idx="4733" formatCode="#,##0_);\(#,##0\);&quot;-  &quot;;&quot; &quot;@&quot; &quot;">
                  <c:v>0</c:v>
                </c:pt>
                <c:pt idx="4734" formatCode="#,##0_);\(#,##0\);&quot;-  &quot;;&quot; &quot;@&quot; &quot;">
                  <c:v>0</c:v>
                </c:pt>
                <c:pt idx="4735" formatCode="#,##0_);\(#,##0\);&quot;-  &quot;;&quot; &quot;@&quot; &quot;">
                  <c:v>0</c:v>
                </c:pt>
                <c:pt idx="4736" formatCode="#,##0_);\(#,##0\);&quot;-  &quot;;&quot; &quot;@&quot; &quot;">
                  <c:v>0</c:v>
                </c:pt>
                <c:pt idx="4737" formatCode="#,##0_);\(#,##0\);&quot;-  &quot;;&quot; &quot;@&quot; &quot;">
                  <c:v>0</c:v>
                </c:pt>
                <c:pt idx="4738" formatCode="#,##0_);\(#,##0\);&quot;-  &quot;;&quot; &quot;@&quot; &quot;">
                  <c:v>0</c:v>
                </c:pt>
                <c:pt idx="4739" formatCode="#,##0_);\(#,##0\);&quot;-  &quot;;&quot; &quot;@&quot; &quot;">
                  <c:v>0</c:v>
                </c:pt>
                <c:pt idx="4740" formatCode="#,##0_);\(#,##0\);&quot;-  &quot;;&quot; &quot;@&quot; &quot;">
                  <c:v>0</c:v>
                </c:pt>
                <c:pt idx="4741" formatCode="#,##0_);\(#,##0\);&quot;-  &quot;;&quot; &quot;@&quot; &quot;">
                  <c:v>0</c:v>
                </c:pt>
                <c:pt idx="4742" formatCode="#,##0_);\(#,##0\);&quot;-  &quot;;&quot; &quot;@&quot; &quot;">
                  <c:v>0</c:v>
                </c:pt>
                <c:pt idx="4743" formatCode="#,##0_);\(#,##0\);&quot;-  &quot;;&quot; &quot;@&quot; &quot;">
                  <c:v>0</c:v>
                </c:pt>
                <c:pt idx="4744" formatCode="#,##0_);\(#,##0\);&quot;-  &quot;;&quot; &quot;@&quot; &quot;">
                  <c:v>0</c:v>
                </c:pt>
                <c:pt idx="4745" formatCode="#,##0_);\(#,##0\);&quot;-  &quot;;&quot; &quot;@&quot; &quot;">
                  <c:v>0</c:v>
                </c:pt>
                <c:pt idx="4746" formatCode="#,##0_);\(#,##0\);&quot;-  &quot;;&quot; &quot;@&quot; &quot;">
                  <c:v>0</c:v>
                </c:pt>
                <c:pt idx="4747" formatCode="#,##0_);\(#,##0\);&quot;-  &quot;;&quot; &quot;@&quot; &quot;">
                  <c:v>0</c:v>
                </c:pt>
                <c:pt idx="4748" formatCode="#,##0_);\(#,##0\);&quot;-  &quot;;&quot; &quot;@&quot; &quot;">
                  <c:v>0</c:v>
                </c:pt>
                <c:pt idx="4749" formatCode="#,##0_);\(#,##0\);&quot;-  &quot;;&quot; &quot;@&quot; &quot;">
                  <c:v>0</c:v>
                </c:pt>
                <c:pt idx="4750" formatCode="#,##0_);\(#,##0\);&quot;-  &quot;;&quot; &quot;@&quot; &quot;">
                  <c:v>0</c:v>
                </c:pt>
                <c:pt idx="4751" formatCode="#,##0_);\(#,##0\);&quot;-  &quot;;&quot; &quot;@&quot; &quot;">
                  <c:v>0</c:v>
                </c:pt>
                <c:pt idx="4752" formatCode="#,##0_);\(#,##0\);&quot;-  &quot;;&quot; &quot;@&quot; &quot;">
                  <c:v>0</c:v>
                </c:pt>
                <c:pt idx="4753" formatCode="#,##0_);\(#,##0\);&quot;-  &quot;;&quot; &quot;@&quot; &quot;">
                  <c:v>0</c:v>
                </c:pt>
                <c:pt idx="4754" formatCode="#,##0_);\(#,##0\);&quot;-  &quot;;&quot; &quot;@&quot; &quot;">
                  <c:v>0</c:v>
                </c:pt>
                <c:pt idx="4755" formatCode="#,##0_);\(#,##0\);&quot;-  &quot;;&quot; &quot;@&quot; &quot;">
                  <c:v>0</c:v>
                </c:pt>
                <c:pt idx="4756" formatCode="#,##0_);\(#,##0\);&quot;-  &quot;;&quot; &quot;@&quot; &quot;">
                  <c:v>0</c:v>
                </c:pt>
                <c:pt idx="4757" formatCode="#,##0_);\(#,##0\);&quot;-  &quot;;&quot; &quot;@&quot; &quot;">
                  <c:v>0</c:v>
                </c:pt>
                <c:pt idx="4758" formatCode="#,##0_);\(#,##0\);&quot;-  &quot;;&quot; &quot;@&quot; &quot;">
                  <c:v>0</c:v>
                </c:pt>
                <c:pt idx="4759" formatCode="#,##0_);\(#,##0\);&quot;-  &quot;;&quot; &quot;@&quot; &quot;">
                  <c:v>0</c:v>
                </c:pt>
                <c:pt idx="4760" formatCode="#,##0_);\(#,##0\);&quot;-  &quot;;&quot; &quot;@&quot; &quot;">
                  <c:v>0</c:v>
                </c:pt>
                <c:pt idx="4761" formatCode="#,##0_);\(#,##0\);&quot;-  &quot;;&quot; &quot;@&quot; &quot;">
                  <c:v>0</c:v>
                </c:pt>
                <c:pt idx="4762" formatCode="#,##0_);\(#,##0\);&quot;-  &quot;;&quot; &quot;@&quot; &quot;">
                  <c:v>0</c:v>
                </c:pt>
                <c:pt idx="4763" formatCode="#,##0_);\(#,##0\);&quot;-  &quot;;&quot; &quot;@&quot; &quot;">
                  <c:v>0</c:v>
                </c:pt>
                <c:pt idx="4764" formatCode="#,##0_);\(#,##0\);&quot;-  &quot;;&quot; &quot;@&quot; &quot;">
                  <c:v>0</c:v>
                </c:pt>
                <c:pt idx="4765" formatCode="#,##0_);\(#,##0\);&quot;-  &quot;;&quot; &quot;@&quot; &quot;">
                  <c:v>0</c:v>
                </c:pt>
                <c:pt idx="4766" formatCode="#,##0_);\(#,##0\);&quot;-  &quot;;&quot; &quot;@&quot; &quot;">
                  <c:v>0</c:v>
                </c:pt>
                <c:pt idx="4767" formatCode="#,##0_);\(#,##0\);&quot;-  &quot;;&quot; &quot;@&quot; &quot;">
                  <c:v>0</c:v>
                </c:pt>
                <c:pt idx="4768" formatCode="#,##0_);\(#,##0\);&quot;-  &quot;;&quot; &quot;@&quot; &quot;">
                  <c:v>0</c:v>
                </c:pt>
                <c:pt idx="4769" formatCode="#,##0_);\(#,##0\);&quot;-  &quot;;&quot; &quot;@&quot; &quot;">
                  <c:v>0</c:v>
                </c:pt>
                <c:pt idx="4770" formatCode="#,##0_);\(#,##0\);&quot;-  &quot;;&quot; &quot;@&quot; &quot;">
                  <c:v>0</c:v>
                </c:pt>
                <c:pt idx="4771" formatCode="#,##0_);\(#,##0\);&quot;-  &quot;;&quot; &quot;@&quot; &quot;">
                  <c:v>0</c:v>
                </c:pt>
                <c:pt idx="4772" formatCode="#,##0_);\(#,##0\);&quot;-  &quot;;&quot; &quot;@&quot; &quot;">
                  <c:v>0</c:v>
                </c:pt>
                <c:pt idx="4773" formatCode="#,##0_);\(#,##0\);&quot;-  &quot;;&quot; &quot;@&quot; &quot;">
                  <c:v>0</c:v>
                </c:pt>
                <c:pt idx="4774" formatCode="#,##0_);\(#,##0\);&quot;-  &quot;;&quot; &quot;@&quot; &quot;">
                  <c:v>0</c:v>
                </c:pt>
                <c:pt idx="4775" formatCode="#,##0_);\(#,##0\);&quot;-  &quot;;&quot; &quot;@&quot; &quot;">
                  <c:v>0</c:v>
                </c:pt>
                <c:pt idx="4776" formatCode="#,##0_);\(#,##0\);&quot;-  &quot;;&quot; &quot;@&quot; &quot;">
                  <c:v>0</c:v>
                </c:pt>
                <c:pt idx="4777" formatCode="#,##0_);\(#,##0\);&quot;-  &quot;;&quot; &quot;@&quot; &quot;">
                  <c:v>0</c:v>
                </c:pt>
                <c:pt idx="4778" formatCode="#,##0_);\(#,##0\);&quot;-  &quot;;&quot; &quot;@&quot; &quot;">
                  <c:v>0</c:v>
                </c:pt>
                <c:pt idx="4779" formatCode="#,##0_);\(#,##0\);&quot;-  &quot;;&quot; &quot;@&quot; &quot;">
                  <c:v>0</c:v>
                </c:pt>
                <c:pt idx="4780" formatCode="#,##0_);\(#,##0\);&quot;-  &quot;;&quot; &quot;@&quot; &quot;">
                  <c:v>0</c:v>
                </c:pt>
                <c:pt idx="4781" formatCode="#,##0_);\(#,##0\);&quot;-  &quot;;&quot; &quot;@&quot; &quot;">
                  <c:v>0</c:v>
                </c:pt>
                <c:pt idx="4782" formatCode="#,##0_);\(#,##0\);&quot;-  &quot;;&quot; &quot;@&quot; &quot;">
                  <c:v>0</c:v>
                </c:pt>
                <c:pt idx="4783" formatCode="#,##0_);\(#,##0\);&quot;-  &quot;;&quot; &quot;@&quot; &quot;">
                  <c:v>0</c:v>
                </c:pt>
                <c:pt idx="4784" formatCode="#,##0_);\(#,##0\);&quot;-  &quot;;&quot; &quot;@&quot; &quot;">
                  <c:v>0</c:v>
                </c:pt>
                <c:pt idx="4785" formatCode="#,##0_);\(#,##0\);&quot;-  &quot;;&quot; &quot;@&quot; &quot;">
                  <c:v>0</c:v>
                </c:pt>
                <c:pt idx="4786" formatCode="#,##0_);\(#,##0\);&quot;-  &quot;;&quot; &quot;@&quot; &quot;">
                  <c:v>0</c:v>
                </c:pt>
                <c:pt idx="4787" formatCode="#,##0_);\(#,##0\);&quot;-  &quot;;&quot; &quot;@&quot; &quot;">
                  <c:v>0</c:v>
                </c:pt>
                <c:pt idx="4788" formatCode="#,##0_);\(#,##0\);&quot;-  &quot;;&quot; &quot;@&quot; &quot;">
                  <c:v>0</c:v>
                </c:pt>
                <c:pt idx="4789" formatCode="#,##0_);\(#,##0\);&quot;-  &quot;;&quot; &quot;@&quot; &quot;">
                  <c:v>0</c:v>
                </c:pt>
                <c:pt idx="4790" formatCode="#,##0_);\(#,##0\);&quot;-  &quot;;&quot; &quot;@&quot; &quot;">
                  <c:v>0</c:v>
                </c:pt>
                <c:pt idx="4791" formatCode="#,##0_);\(#,##0\);&quot;-  &quot;;&quot; &quot;@&quot; &quot;">
                  <c:v>0</c:v>
                </c:pt>
                <c:pt idx="4792" formatCode="#,##0_);\(#,##0\);&quot;-  &quot;;&quot; &quot;@&quot; &quot;">
                  <c:v>0</c:v>
                </c:pt>
                <c:pt idx="4793" formatCode="#,##0_);\(#,##0\);&quot;-  &quot;;&quot; &quot;@&quot; &quot;">
                  <c:v>0</c:v>
                </c:pt>
                <c:pt idx="4794" formatCode="#,##0_);\(#,##0\);&quot;-  &quot;;&quot; &quot;@&quot; &quot;">
                  <c:v>0</c:v>
                </c:pt>
                <c:pt idx="4795" formatCode="#,##0_);\(#,##0\);&quot;-  &quot;;&quot; &quot;@&quot; &quot;">
                  <c:v>0</c:v>
                </c:pt>
                <c:pt idx="4796" formatCode="#,##0_);\(#,##0\);&quot;-  &quot;;&quot; &quot;@&quot; &quot;">
                  <c:v>0</c:v>
                </c:pt>
                <c:pt idx="4797" formatCode="#,##0_);\(#,##0\);&quot;-  &quot;;&quot; &quot;@&quot; &quot;">
                  <c:v>0</c:v>
                </c:pt>
                <c:pt idx="4798" formatCode="#,##0_);\(#,##0\);&quot;-  &quot;;&quot; &quot;@&quot; &quot;">
                  <c:v>0</c:v>
                </c:pt>
                <c:pt idx="4799" formatCode="#,##0_);\(#,##0\);&quot;-  &quot;;&quot; &quot;@&quot; &quot;">
                  <c:v>0</c:v>
                </c:pt>
                <c:pt idx="4800" formatCode="#,##0_);\(#,##0\);&quot;-  &quot;;&quot; &quot;@&quot; &quot;">
                  <c:v>0</c:v>
                </c:pt>
                <c:pt idx="4801" formatCode="#,##0_);\(#,##0\);&quot;-  &quot;;&quot; &quot;@&quot; &quot;">
                  <c:v>0</c:v>
                </c:pt>
                <c:pt idx="4802" formatCode="#,##0_);\(#,##0\);&quot;-  &quot;;&quot; &quot;@&quot; &quot;">
                  <c:v>0</c:v>
                </c:pt>
                <c:pt idx="4803" formatCode="#,##0_);\(#,##0\);&quot;-  &quot;;&quot; &quot;@&quot; &quot;">
                  <c:v>0</c:v>
                </c:pt>
                <c:pt idx="4804" formatCode="#,##0_);\(#,##0\);&quot;-  &quot;;&quot; &quot;@&quot; &quot;">
                  <c:v>0</c:v>
                </c:pt>
                <c:pt idx="4805" formatCode="#,##0_);\(#,##0\);&quot;-  &quot;;&quot; &quot;@&quot; &quot;">
                  <c:v>0</c:v>
                </c:pt>
                <c:pt idx="4806" formatCode="#,##0_);\(#,##0\);&quot;-  &quot;;&quot; &quot;@&quot; &quot;">
                  <c:v>0</c:v>
                </c:pt>
                <c:pt idx="4807" formatCode="#,##0_);\(#,##0\);&quot;-  &quot;;&quot; &quot;@&quot; &quot;">
                  <c:v>0</c:v>
                </c:pt>
                <c:pt idx="4808" formatCode="#,##0_);\(#,##0\);&quot;-  &quot;;&quot; &quot;@&quot; &quot;">
                  <c:v>0</c:v>
                </c:pt>
                <c:pt idx="4809" formatCode="#,##0_);\(#,##0\);&quot;-  &quot;;&quot; &quot;@&quot; &quot;">
                  <c:v>0</c:v>
                </c:pt>
                <c:pt idx="4810" formatCode="#,##0_);\(#,##0\);&quot;-  &quot;;&quot; &quot;@&quot; &quot;">
                  <c:v>0</c:v>
                </c:pt>
                <c:pt idx="4811" formatCode="#,##0_);\(#,##0\);&quot;-  &quot;;&quot; &quot;@&quot; &quot;">
                  <c:v>0</c:v>
                </c:pt>
                <c:pt idx="4812" formatCode="#,##0_);\(#,##0\);&quot;-  &quot;;&quot; &quot;@&quot; &quot;">
                  <c:v>0</c:v>
                </c:pt>
                <c:pt idx="4813" formatCode="#,##0_);\(#,##0\);&quot;-  &quot;;&quot; &quot;@&quot; &quot;">
                  <c:v>0</c:v>
                </c:pt>
                <c:pt idx="4814" formatCode="#,##0_);\(#,##0\);&quot;-  &quot;;&quot; &quot;@&quot; &quot;">
                  <c:v>0</c:v>
                </c:pt>
                <c:pt idx="4815" formatCode="#,##0_);\(#,##0\);&quot;-  &quot;;&quot; &quot;@&quot; &quot;">
                  <c:v>0</c:v>
                </c:pt>
                <c:pt idx="4816" formatCode="#,##0_);\(#,##0\);&quot;-  &quot;;&quot; &quot;@&quot; &quot;">
                  <c:v>0</c:v>
                </c:pt>
                <c:pt idx="4817" formatCode="#,##0_);\(#,##0\);&quot;-  &quot;;&quot; &quot;@&quot; &quot;">
                  <c:v>0</c:v>
                </c:pt>
                <c:pt idx="4818" formatCode="#,##0_);\(#,##0\);&quot;-  &quot;;&quot; &quot;@&quot; &quot;">
                  <c:v>0</c:v>
                </c:pt>
                <c:pt idx="4819" formatCode="#,##0_);\(#,##0\);&quot;-  &quot;;&quot; &quot;@&quot; &quot;">
                  <c:v>0</c:v>
                </c:pt>
                <c:pt idx="4820" formatCode="#,##0_);\(#,##0\);&quot;-  &quot;;&quot; &quot;@&quot; &quot;">
                  <c:v>0</c:v>
                </c:pt>
                <c:pt idx="4821" formatCode="#,##0_);\(#,##0\);&quot;-  &quot;;&quot; &quot;@&quot; &quot;">
                  <c:v>0</c:v>
                </c:pt>
                <c:pt idx="4822" formatCode="#,##0_);\(#,##0\);&quot;-  &quot;;&quot; &quot;@&quot; &quot;">
                  <c:v>0</c:v>
                </c:pt>
                <c:pt idx="4823" formatCode="#,##0_);\(#,##0\);&quot;-  &quot;;&quot; &quot;@&quot; &quot;">
                  <c:v>0</c:v>
                </c:pt>
                <c:pt idx="4824" formatCode="#,##0_);\(#,##0\);&quot;-  &quot;;&quot; &quot;@&quot; &quot;">
                  <c:v>0</c:v>
                </c:pt>
                <c:pt idx="4825" formatCode="#,##0_);\(#,##0\);&quot;-  &quot;;&quot; &quot;@&quot; &quot;">
                  <c:v>0</c:v>
                </c:pt>
                <c:pt idx="4826" formatCode="#,##0_);\(#,##0\);&quot;-  &quot;;&quot; &quot;@&quot; &quot;">
                  <c:v>0</c:v>
                </c:pt>
                <c:pt idx="4827" formatCode="#,##0_);\(#,##0\);&quot;-  &quot;;&quot; &quot;@&quot; &quot;">
                  <c:v>0</c:v>
                </c:pt>
                <c:pt idx="4828" formatCode="#,##0_);\(#,##0\);&quot;-  &quot;;&quot; &quot;@&quot; &quot;">
                  <c:v>0</c:v>
                </c:pt>
                <c:pt idx="4829" formatCode="#,##0_);\(#,##0\);&quot;-  &quot;;&quot; &quot;@&quot; &quot;">
                  <c:v>0</c:v>
                </c:pt>
                <c:pt idx="4830" formatCode="#,##0_);\(#,##0\);&quot;-  &quot;;&quot; &quot;@&quot; &quot;">
                  <c:v>0</c:v>
                </c:pt>
                <c:pt idx="4831" formatCode="#,##0_);\(#,##0\);&quot;-  &quot;;&quot; &quot;@&quot; &quot;">
                  <c:v>0</c:v>
                </c:pt>
                <c:pt idx="4832" formatCode="#,##0_);\(#,##0\);&quot;-  &quot;;&quot; &quot;@&quot; &quot;">
                  <c:v>0</c:v>
                </c:pt>
                <c:pt idx="4833" formatCode="#,##0_);\(#,##0\);&quot;-  &quot;;&quot; &quot;@&quot; &quot;">
                  <c:v>0</c:v>
                </c:pt>
                <c:pt idx="4834" formatCode="#,##0_);\(#,##0\);&quot;-  &quot;;&quot; &quot;@&quot; &quot;">
                  <c:v>0</c:v>
                </c:pt>
                <c:pt idx="4835" formatCode="#,##0_);\(#,##0\);&quot;-  &quot;;&quot; &quot;@&quot; &quot;">
                  <c:v>0</c:v>
                </c:pt>
                <c:pt idx="4836" formatCode="#,##0_);\(#,##0\);&quot;-  &quot;;&quot; &quot;@&quot; &quot;">
                  <c:v>0</c:v>
                </c:pt>
                <c:pt idx="4837" formatCode="#,##0_);\(#,##0\);&quot;-  &quot;;&quot; &quot;@&quot; &quot;">
                  <c:v>0</c:v>
                </c:pt>
                <c:pt idx="4838" formatCode="#,##0_);\(#,##0\);&quot;-  &quot;;&quot; &quot;@&quot; &quot;">
                  <c:v>0</c:v>
                </c:pt>
                <c:pt idx="4839" formatCode="#,##0_);\(#,##0\);&quot;-  &quot;;&quot; &quot;@&quot; &quot;">
                  <c:v>0</c:v>
                </c:pt>
                <c:pt idx="4840" formatCode="#,##0_);\(#,##0\);&quot;-  &quot;;&quot; &quot;@&quot; &quot;">
                  <c:v>0</c:v>
                </c:pt>
                <c:pt idx="4841" formatCode="#,##0_);\(#,##0\);&quot;-  &quot;;&quot; &quot;@&quot; &quot;">
                  <c:v>0</c:v>
                </c:pt>
                <c:pt idx="4842" formatCode="#,##0_);\(#,##0\);&quot;-  &quot;;&quot; &quot;@&quot; &quot;">
                  <c:v>0</c:v>
                </c:pt>
                <c:pt idx="4843" formatCode="#,##0_);\(#,##0\);&quot;-  &quot;;&quot; &quot;@&quot; &quot;">
                  <c:v>0</c:v>
                </c:pt>
                <c:pt idx="4844" formatCode="#,##0_);\(#,##0\);&quot;-  &quot;;&quot; &quot;@&quot; &quot;">
                  <c:v>0</c:v>
                </c:pt>
                <c:pt idx="4845" formatCode="#,##0_);\(#,##0\);&quot;-  &quot;;&quot; &quot;@&quot; &quot;">
                  <c:v>0</c:v>
                </c:pt>
                <c:pt idx="4846" formatCode="#,##0_);\(#,##0\);&quot;-  &quot;;&quot; &quot;@&quot; &quot;">
                  <c:v>0</c:v>
                </c:pt>
                <c:pt idx="4847" formatCode="#,##0_);\(#,##0\);&quot;-  &quot;;&quot; &quot;@&quot; &quot;">
                  <c:v>0</c:v>
                </c:pt>
                <c:pt idx="4848" formatCode="#,##0_);\(#,##0\);&quot;-  &quot;;&quot; &quot;@&quot; &quot;">
                  <c:v>0</c:v>
                </c:pt>
                <c:pt idx="4849" formatCode="#,##0_);\(#,##0\);&quot;-  &quot;;&quot; &quot;@&quot; &quot;">
                  <c:v>0</c:v>
                </c:pt>
                <c:pt idx="4850" formatCode="#,##0_);\(#,##0\);&quot;-  &quot;;&quot; &quot;@&quot; &quot;">
                  <c:v>0</c:v>
                </c:pt>
                <c:pt idx="4851" formatCode="#,##0_);\(#,##0\);&quot;-  &quot;;&quot; &quot;@&quot; &quot;">
                  <c:v>0</c:v>
                </c:pt>
                <c:pt idx="4852" formatCode="#,##0_);\(#,##0\);&quot;-  &quot;;&quot; &quot;@&quot; &quot;">
                  <c:v>0</c:v>
                </c:pt>
                <c:pt idx="4853" formatCode="#,##0_);\(#,##0\);&quot;-  &quot;;&quot; &quot;@&quot; &quot;">
                  <c:v>0</c:v>
                </c:pt>
                <c:pt idx="4854" formatCode="#,##0_);\(#,##0\);&quot;-  &quot;;&quot; &quot;@&quot; &quot;">
                  <c:v>0</c:v>
                </c:pt>
                <c:pt idx="4855" formatCode="#,##0_);\(#,##0\);&quot;-  &quot;;&quot; &quot;@&quot; &quot;">
                  <c:v>0</c:v>
                </c:pt>
                <c:pt idx="4856" formatCode="#,##0_);\(#,##0\);&quot;-  &quot;;&quot; &quot;@&quot; &quot;">
                  <c:v>0</c:v>
                </c:pt>
                <c:pt idx="4857" formatCode="#,##0_);\(#,##0\);&quot;-  &quot;;&quot; &quot;@&quot; &quot;">
                  <c:v>0</c:v>
                </c:pt>
                <c:pt idx="4858" formatCode="#,##0_);\(#,##0\);&quot;-  &quot;;&quot; &quot;@&quot; &quot;">
                  <c:v>0</c:v>
                </c:pt>
                <c:pt idx="4859" formatCode="#,##0_);\(#,##0\);&quot;-  &quot;;&quot; &quot;@&quot; &quot;">
                  <c:v>0</c:v>
                </c:pt>
                <c:pt idx="4860" formatCode="#,##0_);\(#,##0\);&quot;-  &quot;;&quot; &quot;@&quot; &quot;">
                  <c:v>0</c:v>
                </c:pt>
                <c:pt idx="4861" formatCode="#,##0_);\(#,##0\);&quot;-  &quot;;&quot; &quot;@&quot; &quot;">
                  <c:v>0</c:v>
                </c:pt>
                <c:pt idx="4862" formatCode="#,##0_);\(#,##0\);&quot;-  &quot;;&quot; &quot;@&quot; &quot;">
                  <c:v>0</c:v>
                </c:pt>
                <c:pt idx="4863" formatCode="#,##0_);\(#,##0\);&quot;-  &quot;;&quot; &quot;@&quot; &quot;">
                  <c:v>0</c:v>
                </c:pt>
                <c:pt idx="4864" formatCode="#,##0_);\(#,##0\);&quot;-  &quot;;&quot; &quot;@&quot; &quot;">
                  <c:v>0</c:v>
                </c:pt>
                <c:pt idx="4865" formatCode="#,##0_);\(#,##0\);&quot;-  &quot;;&quot; &quot;@&quot; &quot;">
                  <c:v>0</c:v>
                </c:pt>
                <c:pt idx="4866" formatCode="#,##0_);\(#,##0\);&quot;-  &quot;;&quot; &quot;@&quot; &quot;">
                  <c:v>0</c:v>
                </c:pt>
                <c:pt idx="4867" formatCode="#,##0_);\(#,##0\);&quot;-  &quot;;&quot; &quot;@&quot; &quot;">
                  <c:v>0</c:v>
                </c:pt>
                <c:pt idx="4868" formatCode="#,##0_);\(#,##0\);&quot;-  &quot;;&quot; &quot;@&quot; &quot;">
                  <c:v>0</c:v>
                </c:pt>
                <c:pt idx="4869" formatCode="#,##0_);\(#,##0\);&quot;-  &quot;;&quot; &quot;@&quot; &quot;">
                  <c:v>0</c:v>
                </c:pt>
                <c:pt idx="4870" formatCode="#,##0_);\(#,##0\);&quot;-  &quot;;&quot; &quot;@&quot; &quot;">
                  <c:v>0</c:v>
                </c:pt>
                <c:pt idx="4871" formatCode="#,##0_);\(#,##0\);&quot;-  &quot;;&quot; &quot;@&quot; &quot;">
                  <c:v>0</c:v>
                </c:pt>
                <c:pt idx="4872" formatCode="#,##0_);\(#,##0\);&quot;-  &quot;;&quot; &quot;@&quot; &quot;">
                  <c:v>0</c:v>
                </c:pt>
                <c:pt idx="4873" formatCode="#,##0_);\(#,##0\);&quot;-  &quot;;&quot; &quot;@&quot; &quot;">
                  <c:v>0</c:v>
                </c:pt>
                <c:pt idx="4874" formatCode="#,##0_);\(#,##0\);&quot;-  &quot;;&quot; &quot;@&quot; &quot;">
                  <c:v>0</c:v>
                </c:pt>
                <c:pt idx="4875" formatCode="#,##0_);\(#,##0\);&quot;-  &quot;;&quot; &quot;@&quot; &quot;">
                  <c:v>0</c:v>
                </c:pt>
                <c:pt idx="4876" formatCode="#,##0_);\(#,##0\);&quot;-  &quot;;&quot; &quot;@&quot; &quot;">
                  <c:v>0</c:v>
                </c:pt>
                <c:pt idx="4877" formatCode="#,##0_);\(#,##0\);&quot;-  &quot;;&quot; &quot;@&quot; &quot;">
                  <c:v>0</c:v>
                </c:pt>
                <c:pt idx="4878" formatCode="#,##0_);\(#,##0\);&quot;-  &quot;;&quot; &quot;@&quot; &quot;">
                  <c:v>0</c:v>
                </c:pt>
                <c:pt idx="4879" formatCode="#,##0_);\(#,##0\);&quot;-  &quot;;&quot; &quot;@&quot; &quot;">
                  <c:v>0</c:v>
                </c:pt>
                <c:pt idx="4880" formatCode="#,##0_);\(#,##0\);&quot;-  &quot;;&quot; &quot;@&quot; &quot;">
                  <c:v>0</c:v>
                </c:pt>
                <c:pt idx="4881" formatCode="#,##0_);\(#,##0\);&quot;-  &quot;;&quot; &quot;@&quot; &quot;">
                  <c:v>0</c:v>
                </c:pt>
                <c:pt idx="4882" formatCode="#,##0_);\(#,##0\);&quot;-  &quot;;&quot; &quot;@&quot; &quot;">
                  <c:v>0</c:v>
                </c:pt>
                <c:pt idx="4883" formatCode="#,##0_);\(#,##0\);&quot;-  &quot;;&quot; &quot;@&quot; &quot;">
                  <c:v>0</c:v>
                </c:pt>
                <c:pt idx="4884" formatCode="#,##0_);\(#,##0\);&quot;-  &quot;;&quot; &quot;@&quot; &quot;">
                  <c:v>0</c:v>
                </c:pt>
                <c:pt idx="4885" formatCode="#,##0_);\(#,##0\);&quot;-  &quot;;&quot; &quot;@&quot; &quot;">
                  <c:v>0</c:v>
                </c:pt>
                <c:pt idx="4886" formatCode="#,##0_);\(#,##0\);&quot;-  &quot;;&quot; &quot;@&quot; &quot;">
                  <c:v>0</c:v>
                </c:pt>
                <c:pt idx="4887" formatCode="#,##0_);\(#,##0\);&quot;-  &quot;;&quot; &quot;@&quot; &quot;">
                  <c:v>0</c:v>
                </c:pt>
                <c:pt idx="4888" formatCode="#,##0_);\(#,##0\);&quot;-  &quot;;&quot; &quot;@&quot; &quot;">
                  <c:v>0</c:v>
                </c:pt>
                <c:pt idx="4889" formatCode="#,##0_);\(#,##0\);&quot;-  &quot;;&quot; &quot;@&quot; &quot;">
                  <c:v>0</c:v>
                </c:pt>
                <c:pt idx="4890" formatCode="#,##0_);\(#,##0\);&quot;-  &quot;;&quot; &quot;@&quot; &quot;">
                  <c:v>0</c:v>
                </c:pt>
                <c:pt idx="4891" formatCode="#,##0_);\(#,##0\);&quot;-  &quot;;&quot; &quot;@&quot; &quot;">
                  <c:v>0</c:v>
                </c:pt>
                <c:pt idx="4892" formatCode="#,##0_);\(#,##0\);&quot;-  &quot;;&quot; &quot;@&quot; &quot;">
                  <c:v>0</c:v>
                </c:pt>
                <c:pt idx="4893" formatCode="#,##0_);\(#,##0\);&quot;-  &quot;;&quot; &quot;@&quot; &quot;">
                  <c:v>0</c:v>
                </c:pt>
                <c:pt idx="4894" formatCode="#,##0_);\(#,##0\);&quot;-  &quot;;&quot; &quot;@&quot; &quot;">
                  <c:v>0</c:v>
                </c:pt>
                <c:pt idx="4895" formatCode="#,##0_);\(#,##0\);&quot;-  &quot;;&quot; &quot;@&quot; &quot;">
                  <c:v>0</c:v>
                </c:pt>
                <c:pt idx="4896" formatCode="#,##0_);\(#,##0\);&quot;-  &quot;;&quot; &quot;@&quot; &quot;">
                  <c:v>0</c:v>
                </c:pt>
                <c:pt idx="4897" formatCode="#,##0_);\(#,##0\);&quot;-  &quot;;&quot; &quot;@&quot; &quot;">
                  <c:v>0</c:v>
                </c:pt>
                <c:pt idx="4898" formatCode="#,##0_);\(#,##0\);&quot;-  &quot;;&quot; &quot;@&quot; &quot;">
                  <c:v>0</c:v>
                </c:pt>
                <c:pt idx="4899" formatCode="#,##0_);\(#,##0\);&quot;-  &quot;;&quot; &quot;@&quot; &quot;">
                  <c:v>0</c:v>
                </c:pt>
                <c:pt idx="4900" formatCode="#,##0_);\(#,##0\);&quot;-  &quot;;&quot; &quot;@&quot; &quot;">
                  <c:v>0</c:v>
                </c:pt>
                <c:pt idx="4901" formatCode="#,##0_);\(#,##0\);&quot;-  &quot;;&quot; &quot;@&quot; &quot;">
                  <c:v>0</c:v>
                </c:pt>
                <c:pt idx="4902" formatCode="#,##0_);\(#,##0\);&quot;-  &quot;;&quot; &quot;@&quot; &quot;">
                  <c:v>0</c:v>
                </c:pt>
                <c:pt idx="4903" formatCode="#,##0_);\(#,##0\);&quot;-  &quot;;&quot; &quot;@&quot; &quot;">
                  <c:v>0</c:v>
                </c:pt>
                <c:pt idx="4904" formatCode="#,##0_);\(#,##0\);&quot;-  &quot;;&quot; &quot;@&quot; &quot;">
                  <c:v>0</c:v>
                </c:pt>
                <c:pt idx="4905" formatCode="#,##0_);\(#,##0\);&quot;-  &quot;;&quot; &quot;@&quot; &quot;">
                  <c:v>0</c:v>
                </c:pt>
                <c:pt idx="4906" formatCode="#,##0_);\(#,##0\);&quot;-  &quot;;&quot; &quot;@&quot; &quot;">
                  <c:v>0</c:v>
                </c:pt>
                <c:pt idx="4907" formatCode="#,##0_);\(#,##0\);&quot;-  &quot;;&quot; &quot;@&quot; &quot;">
                  <c:v>0</c:v>
                </c:pt>
                <c:pt idx="4908" formatCode="#,##0_);\(#,##0\);&quot;-  &quot;;&quot; &quot;@&quot; &quot;">
                  <c:v>0</c:v>
                </c:pt>
                <c:pt idx="4909" formatCode="#,##0_);\(#,##0\);&quot;-  &quot;;&quot; &quot;@&quot; &quot;">
                  <c:v>0</c:v>
                </c:pt>
                <c:pt idx="4910" formatCode="#,##0_);\(#,##0\);&quot;-  &quot;;&quot; &quot;@&quot; &quot;">
                  <c:v>0</c:v>
                </c:pt>
                <c:pt idx="4911" formatCode="#,##0_);\(#,##0\);&quot;-  &quot;;&quot; &quot;@&quot; &quot;">
                  <c:v>0</c:v>
                </c:pt>
                <c:pt idx="4912" formatCode="#,##0_);\(#,##0\);&quot;-  &quot;;&quot; &quot;@&quot; &quot;">
                  <c:v>0</c:v>
                </c:pt>
                <c:pt idx="4913" formatCode="#,##0_);\(#,##0\);&quot;-  &quot;;&quot; &quot;@&quot; &quot;">
                  <c:v>0</c:v>
                </c:pt>
                <c:pt idx="4914" formatCode="#,##0_);\(#,##0\);&quot;-  &quot;;&quot; &quot;@&quot; &quot;">
                  <c:v>0</c:v>
                </c:pt>
                <c:pt idx="4915" formatCode="#,##0_);\(#,##0\);&quot;-  &quot;;&quot; &quot;@&quot; &quot;">
                  <c:v>0</c:v>
                </c:pt>
                <c:pt idx="4916" formatCode="#,##0_);\(#,##0\);&quot;-  &quot;;&quot; &quot;@&quot; &quot;">
                  <c:v>0</c:v>
                </c:pt>
                <c:pt idx="4917" formatCode="#,##0_);\(#,##0\);&quot;-  &quot;;&quot; &quot;@&quot; &quot;">
                  <c:v>0</c:v>
                </c:pt>
                <c:pt idx="4918" formatCode="#,##0_);\(#,##0\);&quot;-  &quot;;&quot; &quot;@&quot; &quot;">
                  <c:v>0</c:v>
                </c:pt>
                <c:pt idx="4919" formatCode="#,##0_);\(#,##0\);&quot;-  &quot;;&quot; &quot;@&quot; &quot;">
                  <c:v>0</c:v>
                </c:pt>
                <c:pt idx="4920" formatCode="#,##0_);\(#,##0\);&quot;-  &quot;;&quot; &quot;@&quot; &quot;">
                  <c:v>0</c:v>
                </c:pt>
                <c:pt idx="4921" formatCode="#,##0_);\(#,##0\);&quot;-  &quot;;&quot; &quot;@&quot; &quot;">
                  <c:v>0</c:v>
                </c:pt>
                <c:pt idx="4922" formatCode="#,##0_);\(#,##0\);&quot;-  &quot;;&quot; &quot;@&quot; &quot;">
                  <c:v>0</c:v>
                </c:pt>
                <c:pt idx="4923" formatCode="#,##0_);\(#,##0\);&quot;-  &quot;;&quot; &quot;@&quot; &quot;">
                  <c:v>0</c:v>
                </c:pt>
                <c:pt idx="4924" formatCode="#,##0_);\(#,##0\);&quot;-  &quot;;&quot; &quot;@&quot; &quot;">
                  <c:v>0</c:v>
                </c:pt>
                <c:pt idx="4925" formatCode="#,##0_);\(#,##0\);&quot;-  &quot;;&quot; &quot;@&quot; &quot;">
                  <c:v>0</c:v>
                </c:pt>
                <c:pt idx="4926" formatCode="#,##0_);\(#,##0\);&quot;-  &quot;;&quot; &quot;@&quot; &quot;">
                  <c:v>0</c:v>
                </c:pt>
                <c:pt idx="4927" formatCode="#,##0_);\(#,##0\);&quot;-  &quot;;&quot; &quot;@&quot; &quot;">
                  <c:v>0</c:v>
                </c:pt>
                <c:pt idx="4928" formatCode="#,##0_);\(#,##0\);&quot;-  &quot;;&quot; &quot;@&quot; &quot;">
                  <c:v>0</c:v>
                </c:pt>
                <c:pt idx="4929" formatCode="#,##0_);\(#,##0\);&quot;-  &quot;;&quot; &quot;@&quot; &quot;">
                  <c:v>0</c:v>
                </c:pt>
                <c:pt idx="4930" formatCode="#,##0_);\(#,##0\);&quot;-  &quot;;&quot; &quot;@&quot; &quot;">
                  <c:v>0</c:v>
                </c:pt>
                <c:pt idx="4931" formatCode="#,##0_);\(#,##0\);&quot;-  &quot;;&quot; &quot;@&quot; &quot;">
                  <c:v>0</c:v>
                </c:pt>
                <c:pt idx="4932" formatCode="#,##0_);\(#,##0\);&quot;-  &quot;;&quot; &quot;@&quot; &quot;">
                  <c:v>0</c:v>
                </c:pt>
                <c:pt idx="4933" formatCode="#,##0_);\(#,##0\);&quot;-  &quot;;&quot; &quot;@&quot; &quot;">
                  <c:v>0</c:v>
                </c:pt>
                <c:pt idx="4934" formatCode="#,##0_);\(#,##0\);&quot;-  &quot;;&quot; &quot;@&quot; &quot;">
                  <c:v>0</c:v>
                </c:pt>
                <c:pt idx="4935" formatCode="#,##0_);\(#,##0\);&quot;-  &quot;;&quot; &quot;@&quot; &quot;">
                  <c:v>0</c:v>
                </c:pt>
                <c:pt idx="4936" formatCode="#,##0_);\(#,##0\);&quot;-  &quot;;&quot; &quot;@&quot; &quot;">
                  <c:v>0</c:v>
                </c:pt>
                <c:pt idx="4937" formatCode="#,##0_);\(#,##0\);&quot;-  &quot;;&quot; &quot;@&quot; &quot;">
                  <c:v>0</c:v>
                </c:pt>
                <c:pt idx="4938" formatCode="#,##0_);\(#,##0\);&quot;-  &quot;;&quot; &quot;@&quot; &quot;">
                  <c:v>0</c:v>
                </c:pt>
                <c:pt idx="4939" formatCode="#,##0_);\(#,##0\);&quot;-  &quot;;&quot; &quot;@&quot; &quot;">
                  <c:v>0</c:v>
                </c:pt>
                <c:pt idx="4940" formatCode="#,##0_);\(#,##0\);&quot;-  &quot;;&quot; &quot;@&quot; &quot;">
                  <c:v>0</c:v>
                </c:pt>
                <c:pt idx="4941" formatCode="#,##0_);\(#,##0\);&quot;-  &quot;;&quot; &quot;@&quot; &quot;">
                  <c:v>0</c:v>
                </c:pt>
                <c:pt idx="4942" formatCode="#,##0_);\(#,##0\);&quot;-  &quot;;&quot; &quot;@&quot; &quot;">
                  <c:v>0</c:v>
                </c:pt>
                <c:pt idx="4943" formatCode="#,##0_);\(#,##0\);&quot;-  &quot;;&quot; &quot;@&quot; &quot;">
                  <c:v>0</c:v>
                </c:pt>
                <c:pt idx="4944" formatCode="#,##0_);\(#,##0\);&quot;-  &quot;;&quot; &quot;@&quot; &quot;">
                  <c:v>0</c:v>
                </c:pt>
                <c:pt idx="4945" formatCode="#,##0_);\(#,##0\);&quot;-  &quot;;&quot; &quot;@&quot; &quot;">
                  <c:v>0</c:v>
                </c:pt>
                <c:pt idx="4946" formatCode="#,##0_);\(#,##0\);&quot;-  &quot;;&quot; &quot;@&quot; &quot;">
                  <c:v>0</c:v>
                </c:pt>
                <c:pt idx="4947" formatCode="#,##0_);\(#,##0\);&quot;-  &quot;;&quot; &quot;@&quot; &quot;">
                  <c:v>0</c:v>
                </c:pt>
                <c:pt idx="4948" formatCode="#,##0_);\(#,##0\);&quot;-  &quot;;&quot; &quot;@&quot; &quot;">
                  <c:v>0</c:v>
                </c:pt>
                <c:pt idx="4949" formatCode="#,##0_);\(#,##0\);&quot;-  &quot;;&quot; &quot;@&quot; &quot;">
                  <c:v>0</c:v>
                </c:pt>
                <c:pt idx="4950" formatCode="#,##0_);\(#,##0\);&quot;-  &quot;;&quot; &quot;@&quot; &quot;">
                  <c:v>0</c:v>
                </c:pt>
                <c:pt idx="4951" formatCode="#,##0_);\(#,##0\);&quot;-  &quot;;&quot; &quot;@&quot; &quot;">
                  <c:v>0</c:v>
                </c:pt>
                <c:pt idx="4952" formatCode="#,##0_);\(#,##0\);&quot;-  &quot;;&quot; &quot;@&quot; &quot;">
                  <c:v>0</c:v>
                </c:pt>
                <c:pt idx="4953" formatCode="#,##0_);\(#,##0\);&quot;-  &quot;;&quot; &quot;@&quot; &quot;">
                  <c:v>0</c:v>
                </c:pt>
                <c:pt idx="4954" formatCode="#,##0_);\(#,##0\);&quot;-  &quot;;&quot; &quot;@&quot; &quot;">
                  <c:v>0</c:v>
                </c:pt>
                <c:pt idx="4955" formatCode="#,##0_);\(#,##0\);&quot;-  &quot;;&quot; &quot;@&quot; &quot;">
                  <c:v>0</c:v>
                </c:pt>
                <c:pt idx="4956" formatCode="#,##0_);\(#,##0\);&quot;-  &quot;;&quot; &quot;@&quot; &quot;">
                  <c:v>0</c:v>
                </c:pt>
                <c:pt idx="4957" formatCode="#,##0_);\(#,##0\);&quot;-  &quot;;&quot; &quot;@&quot; &quot;">
                  <c:v>0</c:v>
                </c:pt>
                <c:pt idx="4958" formatCode="#,##0_);\(#,##0\);&quot;-  &quot;;&quot; &quot;@&quot; &quot;">
                  <c:v>0</c:v>
                </c:pt>
                <c:pt idx="4959" formatCode="#,##0_);\(#,##0\);&quot;-  &quot;;&quot; &quot;@&quot; &quot;">
                  <c:v>0</c:v>
                </c:pt>
                <c:pt idx="4960" formatCode="#,##0_);\(#,##0\);&quot;-  &quot;;&quot; &quot;@&quot; &quot;">
                  <c:v>0</c:v>
                </c:pt>
                <c:pt idx="4961" formatCode="#,##0_);\(#,##0\);&quot;-  &quot;;&quot; &quot;@&quot; &quot;">
                  <c:v>0</c:v>
                </c:pt>
                <c:pt idx="4962" formatCode="#,##0_);\(#,##0\);&quot;-  &quot;;&quot; &quot;@&quot; &quot;">
                  <c:v>0</c:v>
                </c:pt>
                <c:pt idx="4963" formatCode="#,##0_);\(#,##0\);&quot;-  &quot;;&quot; &quot;@&quot; &quot;">
                  <c:v>0</c:v>
                </c:pt>
                <c:pt idx="4964" formatCode="#,##0_);\(#,##0\);&quot;-  &quot;;&quot; &quot;@&quot; &quot;">
                  <c:v>0</c:v>
                </c:pt>
                <c:pt idx="4965" formatCode="#,##0_);\(#,##0\);&quot;-  &quot;;&quot; &quot;@&quot; &quot;">
                  <c:v>0</c:v>
                </c:pt>
                <c:pt idx="4966" formatCode="#,##0_);\(#,##0\);&quot;-  &quot;;&quot; &quot;@&quot; &quot;">
                  <c:v>0</c:v>
                </c:pt>
                <c:pt idx="4967" formatCode="#,##0_);\(#,##0\);&quot;-  &quot;;&quot; &quot;@&quot; &quot;">
                  <c:v>0</c:v>
                </c:pt>
                <c:pt idx="4968" formatCode="#,##0_);\(#,##0\);&quot;-  &quot;;&quot; &quot;@&quot; &quot;">
                  <c:v>0</c:v>
                </c:pt>
                <c:pt idx="4969" formatCode="#,##0_);\(#,##0\);&quot;-  &quot;;&quot; &quot;@&quot; &quot;">
                  <c:v>0</c:v>
                </c:pt>
                <c:pt idx="4970" formatCode="#,##0_);\(#,##0\);&quot;-  &quot;;&quot; &quot;@&quot; &quot;">
                  <c:v>0</c:v>
                </c:pt>
                <c:pt idx="4971" formatCode="#,##0_);\(#,##0\);&quot;-  &quot;;&quot; &quot;@&quot; &quot;">
                  <c:v>0</c:v>
                </c:pt>
                <c:pt idx="4972" formatCode="#,##0_);\(#,##0\);&quot;-  &quot;;&quot; &quot;@&quot; &quot;">
                  <c:v>0</c:v>
                </c:pt>
                <c:pt idx="4973" formatCode="#,##0_);\(#,##0\);&quot;-  &quot;;&quot; &quot;@&quot; &quot;">
                  <c:v>0</c:v>
                </c:pt>
                <c:pt idx="4974" formatCode="#,##0_);\(#,##0\);&quot;-  &quot;;&quot; &quot;@&quot; &quot;">
                  <c:v>0</c:v>
                </c:pt>
                <c:pt idx="4975" formatCode="#,##0_);\(#,##0\);&quot;-  &quot;;&quot; &quot;@&quot; &quot;">
                  <c:v>0</c:v>
                </c:pt>
                <c:pt idx="4976" formatCode="#,##0_);\(#,##0\);&quot;-  &quot;;&quot; &quot;@&quot; &quot;">
                  <c:v>0</c:v>
                </c:pt>
                <c:pt idx="4977" formatCode="#,##0_);\(#,##0\);&quot;-  &quot;;&quot; &quot;@&quot; &quot;">
                  <c:v>0</c:v>
                </c:pt>
                <c:pt idx="4978" formatCode="#,##0_);\(#,##0\);&quot;-  &quot;;&quot; &quot;@&quot; &quot;">
                  <c:v>0</c:v>
                </c:pt>
                <c:pt idx="4979" formatCode="#,##0_);\(#,##0\);&quot;-  &quot;;&quot; &quot;@&quot; &quot;">
                  <c:v>0</c:v>
                </c:pt>
                <c:pt idx="4980" formatCode="#,##0_);\(#,##0\);&quot;-  &quot;;&quot; &quot;@&quot; &quot;">
                  <c:v>0</c:v>
                </c:pt>
                <c:pt idx="4981" formatCode="#,##0_);\(#,##0\);&quot;-  &quot;;&quot; &quot;@&quot; &quot;">
                  <c:v>0</c:v>
                </c:pt>
                <c:pt idx="4982" formatCode="#,##0_);\(#,##0\);&quot;-  &quot;;&quot; &quot;@&quot; &quot;">
                  <c:v>0</c:v>
                </c:pt>
                <c:pt idx="4983" formatCode="#,##0_);\(#,##0\);&quot;-  &quot;;&quot; &quot;@&quot; &quot;">
                  <c:v>0</c:v>
                </c:pt>
                <c:pt idx="4984" formatCode="#,##0_);\(#,##0\);&quot;-  &quot;;&quot; &quot;@&quot; &quot;">
                  <c:v>0</c:v>
                </c:pt>
                <c:pt idx="4985" formatCode="#,##0_);\(#,##0\);&quot;-  &quot;;&quot; &quot;@&quot; &quot;">
                  <c:v>0</c:v>
                </c:pt>
                <c:pt idx="4986" formatCode="#,##0_);\(#,##0\);&quot;-  &quot;;&quot; &quot;@&quot; &quot;">
                  <c:v>0</c:v>
                </c:pt>
                <c:pt idx="4987" formatCode="#,##0_);\(#,##0\);&quot;-  &quot;;&quot; &quot;@&quot; &quot;">
                  <c:v>0</c:v>
                </c:pt>
                <c:pt idx="4988" formatCode="#,##0_);\(#,##0\);&quot;-  &quot;;&quot; &quot;@&quot; &quot;">
                  <c:v>0</c:v>
                </c:pt>
                <c:pt idx="4989" formatCode="#,##0_);\(#,##0\);&quot;-  &quot;;&quot; &quot;@&quot; &quot;">
                  <c:v>0</c:v>
                </c:pt>
                <c:pt idx="4990" formatCode="#,##0_);\(#,##0\);&quot;-  &quot;;&quot; &quot;@&quot; &quot;">
                  <c:v>0</c:v>
                </c:pt>
                <c:pt idx="4991" formatCode="#,##0_);\(#,##0\);&quot;-  &quot;;&quot; &quot;@&quot; &quot;">
                  <c:v>0</c:v>
                </c:pt>
                <c:pt idx="4992" formatCode="#,##0_);\(#,##0\);&quot;-  &quot;;&quot; &quot;@&quot; &quot;">
                  <c:v>0</c:v>
                </c:pt>
                <c:pt idx="4993" formatCode="#,##0_);\(#,##0\);&quot;-  &quot;;&quot; &quot;@&quot; &quot;">
                  <c:v>0</c:v>
                </c:pt>
                <c:pt idx="4994" formatCode="#,##0_);\(#,##0\);&quot;-  &quot;;&quot; &quot;@&quot; &quot;">
                  <c:v>0</c:v>
                </c:pt>
                <c:pt idx="4995" formatCode="#,##0_);\(#,##0\);&quot;-  &quot;;&quot; &quot;@&quot; &quot;">
                  <c:v>0</c:v>
                </c:pt>
                <c:pt idx="4996" formatCode="#,##0_);\(#,##0\);&quot;-  &quot;;&quot; &quot;@&quot; &quot;">
                  <c:v>0</c:v>
                </c:pt>
                <c:pt idx="4997" formatCode="#,##0_);\(#,##0\);&quot;-  &quot;;&quot; &quot;@&quot; &quot;">
                  <c:v>0</c:v>
                </c:pt>
                <c:pt idx="4998" formatCode="#,##0_);\(#,##0\);&quot;-  &quot;;&quot; &quot;@&quot; &quot;">
                  <c:v>0</c:v>
                </c:pt>
                <c:pt idx="4999" formatCode="#,##0_);\(#,##0\);&quot;-  &quot;;&quot; &quot;@&quot; &quot;">
                  <c:v>0</c:v>
                </c:pt>
                <c:pt idx="5000" formatCode="#,##0_);\(#,##0\);&quot;-  &quot;;&quot; &quot;@&quot; &quot;">
                  <c:v>0</c:v>
                </c:pt>
                <c:pt idx="5001" formatCode="#,##0_);\(#,##0\);&quot;-  &quot;;&quot; &quot;@&quot; &quot;">
                  <c:v>0</c:v>
                </c:pt>
                <c:pt idx="5002" formatCode="#,##0_);\(#,##0\);&quot;-  &quot;;&quot; &quot;@&quot; &quot;">
                  <c:v>0</c:v>
                </c:pt>
                <c:pt idx="5003" formatCode="#,##0_);\(#,##0\);&quot;-  &quot;;&quot; &quot;@&quot; &quot;">
                  <c:v>0</c:v>
                </c:pt>
                <c:pt idx="5004" formatCode="#,##0_);\(#,##0\);&quot;-  &quot;;&quot; &quot;@&quot; &quot;">
                  <c:v>0</c:v>
                </c:pt>
                <c:pt idx="5005" formatCode="#,##0_);\(#,##0\);&quot;-  &quot;;&quot; &quot;@&quot; &quot;">
                  <c:v>0</c:v>
                </c:pt>
                <c:pt idx="5006" formatCode="#,##0_);\(#,##0\);&quot;-  &quot;;&quot; &quot;@&quot; &quot;">
                  <c:v>0</c:v>
                </c:pt>
                <c:pt idx="5007" formatCode="#,##0_);\(#,##0\);&quot;-  &quot;;&quot; &quot;@&quot; &quot;">
                  <c:v>0</c:v>
                </c:pt>
                <c:pt idx="5008" formatCode="#,##0_);\(#,##0\);&quot;-  &quot;;&quot; &quot;@&quot; &quot;">
                  <c:v>0</c:v>
                </c:pt>
                <c:pt idx="5009" formatCode="#,##0_);\(#,##0\);&quot;-  &quot;;&quot; &quot;@&quot; &quot;">
                  <c:v>0</c:v>
                </c:pt>
                <c:pt idx="5010" formatCode="#,##0_);\(#,##0\);&quot;-  &quot;;&quot; &quot;@&quot; &quot;">
                  <c:v>0</c:v>
                </c:pt>
                <c:pt idx="5011" formatCode="#,##0_);\(#,##0\);&quot;-  &quot;;&quot; &quot;@&quot; &quot;">
                  <c:v>0</c:v>
                </c:pt>
                <c:pt idx="5012" formatCode="#,##0_);\(#,##0\);&quot;-  &quot;;&quot; &quot;@&quot; &quot;">
                  <c:v>0</c:v>
                </c:pt>
                <c:pt idx="5013" formatCode="#,##0_);\(#,##0\);&quot;-  &quot;;&quot; &quot;@&quot; &quot;">
                  <c:v>0</c:v>
                </c:pt>
                <c:pt idx="5014" formatCode="#,##0_);\(#,##0\);&quot;-  &quot;;&quot; &quot;@&quot; &quot;">
                  <c:v>0</c:v>
                </c:pt>
                <c:pt idx="5015" formatCode="#,##0_);\(#,##0\);&quot;-  &quot;;&quot; &quot;@&quot; &quot;">
                  <c:v>0</c:v>
                </c:pt>
                <c:pt idx="5016" formatCode="#,##0_);\(#,##0\);&quot;-  &quot;;&quot; &quot;@&quot; &quot;">
                  <c:v>0</c:v>
                </c:pt>
                <c:pt idx="5017" formatCode="#,##0_);\(#,##0\);&quot;-  &quot;;&quot; &quot;@&quot; &quot;">
                  <c:v>0</c:v>
                </c:pt>
                <c:pt idx="5018" formatCode="#,##0_);\(#,##0\);&quot;-  &quot;;&quot; &quot;@&quot; &quot;">
                  <c:v>0</c:v>
                </c:pt>
                <c:pt idx="5019" formatCode="#,##0_);\(#,##0\);&quot;-  &quot;;&quot; &quot;@&quot; &quot;">
                  <c:v>0</c:v>
                </c:pt>
                <c:pt idx="5020" formatCode="#,##0_);\(#,##0\);&quot;-  &quot;;&quot; &quot;@&quot; &quot;">
                  <c:v>0</c:v>
                </c:pt>
                <c:pt idx="5021" formatCode="#,##0_);\(#,##0\);&quot;-  &quot;;&quot; &quot;@&quot; &quot;">
                  <c:v>0</c:v>
                </c:pt>
                <c:pt idx="5022" formatCode="#,##0_);\(#,##0\);&quot;-  &quot;;&quot; &quot;@&quot; &quot;">
                  <c:v>0</c:v>
                </c:pt>
                <c:pt idx="5023" formatCode="#,##0_);\(#,##0\);&quot;-  &quot;;&quot; &quot;@&quot; &quot;">
                  <c:v>0</c:v>
                </c:pt>
                <c:pt idx="5024" formatCode="#,##0_);\(#,##0\);&quot;-  &quot;;&quot; &quot;@&quot; &quot;">
                  <c:v>0</c:v>
                </c:pt>
                <c:pt idx="5025" formatCode="#,##0_);\(#,##0\);&quot;-  &quot;;&quot; &quot;@&quot; &quot;">
                  <c:v>0</c:v>
                </c:pt>
                <c:pt idx="5026" formatCode="#,##0_);\(#,##0\);&quot;-  &quot;;&quot; &quot;@&quot; &quot;">
                  <c:v>0</c:v>
                </c:pt>
                <c:pt idx="5027" formatCode="#,##0_);\(#,##0\);&quot;-  &quot;;&quot; &quot;@&quot; &quot;">
                  <c:v>0</c:v>
                </c:pt>
                <c:pt idx="5028" formatCode="#,##0_);\(#,##0\);&quot;-  &quot;;&quot; &quot;@&quot; &quot;">
                  <c:v>0</c:v>
                </c:pt>
                <c:pt idx="5029" formatCode="#,##0_);\(#,##0\);&quot;-  &quot;;&quot; &quot;@&quot; &quot;">
                  <c:v>0</c:v>
                </c:pt>
                <c:pt idx="5030" formatCode="#,##0_);\(#,##0\);&quot;-  &quot;;&quot; &quot;@&quot; &quot;">
                  <c:v>0</c:v>
                </c:pt>
                <c:pt idx="5031" formatCode="#,##0_);\(#,##0\);&quot;-  &quot;;&quot; &quot;@&quot; &quot;">
                  <c:v>0</c:v>
                </c:pt>
                <c:pt idx="5032" formatCode="#,##0_);\(#,##0\);&quot;-  &quot;;&quot; &quot;@&quot; &quot;">
                  <c:v>0</c:v>
                </c:pt>
                <c:pt idx="5033" formatCode="#,##0_);\(#,##0\);&quot;-  &quot;;&quot; &quot;@&quot; &quot;">
                  <c:v>0</c:v>
                </c:pt>
                <c:pt idx="5034" formatCode="#,##0_);\(#,##0\);&quot;-  &quot;;&quot; &quot;@&quot; &quot;">
                  <c:v>0</c:v>
                </c:pt>
                <c:pt idx="5035" formatCode="#,##0_);\(#,##0\);&quot;-  &quot;;&quot; &quot;@&quot; &quot;">
                  <c:v>0</c:v>
                </c:pt>
                <c:pt idx="5036" formatCode="#,##0_);\(#,##0\);&quot;-  &quot;;&quot; &quot;@&quot; &quot;">
                  <c:v>0</c:v>
                </c:pt>
                <c:pt idx="5037" formatCode="#,##0_);\(#,##0\);&quot;-  &quot;;&quot; &quot;@&quot; &quot;">
                  <c:v>0</c:v>
                </c:pt>
                <c:pt idx="5038" formatCode="#,##0_);\(#,##0\);&quot;-  &quot;;&quot; &quot;@&quot; &quot;">
                  <c:v>0</c:v>
                </c:pt>
                <c:pt idx="5039" formatCode="#,##0_);\(#,##0\);&quot;-  &quot;;&quot; &quot;@&quot; &quot;">
                  <c:v>0</c:v>
                </c:pt>
                <c:pt idx="5040" formatCode="#,##0_);\(#,##0\);&quot;-  &quot;;&quot; &quot;@&quot; &quot;">
                  <c:v>0</c:v>
                </c:pt>
                <c:pt idx="5041" formatCode="#,##0_);\(#,##0\);&quot;-  &quot;;&quot; &quot;@&quot; &quot;">
                  <c:v>0</c:v>
                </c:pt>
                <c:pt idx="5042" formatCode="#,##0_);\(#,##0\);&quot;-  &quot;;&quot; &quot;@&quot; &quot;">
                  <c:v>0</c:v>
                </c:pt>
                <c:pt idx="5043" formatCode="#,##0_);\(#,##0\);&quot;-  &quot;;&quot; &quot;@&quot; &quot;">
                  <c:v>0</c:v>
                </c:pt>
                <c:pt idx="5044" formatCode="#,##0_);\(#,##0\);&quot;-  &quot;;&quot; &quot;@&quot; &quot;">
                  <c:v>0</c:v>
                </c:pt>
                <c:pt idx="5045" formatCode="#,##0_);\(#,##0\);&quot;-  &quot;;&quot; &quot;@&quot; &quot;">
                  <c:v>0</c:v>
                </c:pt>
                <c:pt idx="5046" formatCode="#,##0_);\(#,##0\);&quot;-  &quot;;&quot; &quot;@&quot; &quot;">
                  <c:v>0</c:v>
                </c:pt>
                <c:pt idx="5047" formatCode="#,##0_);\(#,##0\);&quot;-  &quot;;&quot; &quot;@&quot; &quot;">
                  <c:v>0</c:v>
                </c:pt>
                <c:pt idx="5048" formatCode="#,##0_);\(#,##0\);&quot;-  &quot;;&quot; &quot;@&quot; &quot;">
                  <c:v>0</c:v>
                </c:pt>
                <c:pt idx="5049" formatCode="#,##0_);\(#,##0\);&quot;-  &quot;;&quot; &quot;@&quot; &quot;">
                  <c:v>0</c:v>
                </c:pt>
                <c:pt idx="5050" formatCode="#,##0_);\(#,##0\);&quot;-  &quot;;&quot; &quot;@&quot; &quot;">
                  <c:v>0</c:v>
                </c:pt>
                <c:pt idx="5051" formatCode="#,##0_);\(#,##0\);&quot;-  &quot;;&quot; &quot;@&quot; &quot;">
                  <c:v>0</c:v>
                </c:pt>
                <c:pt idx="5052" formatCode="#,##0_);\(#,##0\);&quot;-  &quot;;&quot; &quot;@&quot; &quot;">
                  <c:v>0</c:v>
                </c:pt>
                <c:pt idx="5053" formatCode="#,##0_);\(#,##0\);&quot;-  &quot;;&quot; &quot;@&quot; &quot;">
                  <c:v>0</c:v>
                </c:pt>
                <c:pt idx="5054" formatCode="#,##0_);\(#,##0\);&quot;-  &quot;;&quot; &quot;@&quot; &quot;">
                  <c:v>0</c:v>
                </c:pt>
                <c:pt idx="5055" formatCode="#,##0_);\(#,##0\);&quot;-  &quot;;&quot; &quot;@&quot; &quot;">
                  <c:v>0</c:v>
                </c:pt>
                <c:pt idx="5056" formatCode="#,##0_);\(#,##0\);&quot;-  &quot;;&quot; &quot;@&quot; &quot;">
                  <c:v>0</c:v>
                </c:pt>
                <c:pt idx="5057" formatCode="#,##0_);\(#,##0\);&quot;-  &quot;;&quot; &quot;@&quot; &quot;">
                  <c:v>0</c:v>
                </c:pt>
                <c:pt idx="5058" formatCode="#,##0_);\(#,##0\);&quot;-  &quot;;&quot; &quot;@&quot; &quot;">
                  <c:v>0</c:v>
                </c:pt>
                <c:pt idx="5059" formatCode="#,##0_);\(#,##0\);&quot;-  &quot;;&quot; &quot;@&quot; &quot;">
                  <c:v>0</c:v>
                </c:pt>
                <c:pt idx="5060" formatCode="#,##0_);\(#,##0\);&quot;-  &quot;;&quot; &quot;@&quot; &quot;">
                  <c:v>0</c:v>
                </c:pt>
                <c:pt idx="5061" formatCode="#,##0_);\(#,##0\);&quot;-  &quot;;&quot; &quot;@&quot; &quot;">
                  <c:v>0</c:v>
                </c:pt>
                <c:pt idx="5062" formatCode="#,##0_);\(#,##0\);&quot;-  &quot;;&quot; &quot;@&quot; &quot;">
                  <c:v>0</c:v>
                </c:pt>
                <c:pt idx="5063" formatCode="#,##0_);\(#,##0\);&quot;-  &quot;;&quot; &quot;@&quot; &quot;">
                  <c:v>0</c:v>
                </c:pt>
                <c:pt idx="5064" formatCode="#,##0_);\(#,##0\);&quot;-  &quot;;&quot; &quot;@&quot; &quot;">
                  <c:v>0</c:v>
                </c:pt>
                <c:pt idx="5065" formatCode="#,##0_);\(#,##0\);&quot;-  &quot;;&quot; &quot;@&quot; &quot;">
                  <c:v>0</c:v>
                </c:pt>
                <c:pt idx="5066" formatCode="#,##0_);\(#,##0\);&quot;-  &quot;;&quot; &quot;@&quot; &quot;">
                  <c:v>0</c:v>
                </c:pt>
                <c:pt idx="5067" formatCode="#,##0_);\(#,##0\);&quot;-  &quot;;&quot; &quot;@&quot; &quot;">
                  <c:v>0</c:v>
                </c:pt>
                <c:pt idx="5068" formatCode="#,##0_);\(#,##0\);&quot;-  &quot;;&quot; &quot;@&quot; &quot;">
                  <c:v>0</c:v>
                </c:pt>
                <c:pt idx="5069" formatCode="#,##0_);\(#,##0\);&quot;-  &quot;;&quot; &quot;@&quot; &quot;">
                  <c:v>0</c:v>
                </c:pt>
                <c:pt idx="5070" formatCode="#,##0_);\(#,##0\);&quot;-  &quot;;&quot; &quot;@&quot; &quot;">
                  <c:v>0</c:v>
                </c:pt>
                <c:pt idx="5071" formatCode="#,##0_);\(#,##0\);&quot;-  &quot;;&quot; &quot;@&quot; &quot;">
                  <c:v>0</c:v>
                </c:pt>
                <c:pt idx="5072" formatCode="#,##0_);\(#,##0\);&quot;-  &quot;;&quot; &quot;@&quot; &quot;">
                  <c:v>0</c:v>
                </c:pt>
                <c:pt idx="5073" formatCode="#,##0_);\(#,##0\);&quot;-  &quot;;&quot; &quot;@&quot; &quot;">
                  <c:v>0</c:v>
                </c:pt>
                <c:pt idx="5074" formatCode="#,##0_);\(#,##0\);&quot;-  &quot;;&quot; &quot;@&quot; &quot;">
                  <c:v>0</c:v>
                </c:pt>
                <c:pt idx="5075" formatCode="#,##0_);\(#,##0\);&quot;-  &quot;;&quot; &quot;@&quot; &quot;">
                  <c:v>0</c:v>
                </c:pt>
                <c:pt idx="5076" formatCode="#,##0_);\(#,##0\);&quot;-  &quot;;&quot; &quot;@&quot; &quot;">
                  <c:v>0</c:v>
                </c:pt>
                <c:pt idx="5077" formatCode="#,##0_);\(#,##0\);&quot;-  &quot;;&quot; &quot;@&quot; &quot;">
                  <c:v>0</c:v>
                </c:pt>
                <c:pt idx="5078" formatCode="#,##0_);\(#,##0\);&quot;-  &quot;;&quot; &quot;@&quot; &quot;">
                  <c:v>0</c:v>
                </c:pt>
                <c:pt idx="5079" formatCode="#,##0_);\(#,##0\);&quot;-  &quot;;&quot; &quot;@&quot; &quot;">
                  <c:v>0</c:v>
                </c:pt>
                <c:pt idx="5080" formatCode="#,##0_);\(#,##0\);&quot;-  &quot;;&quot; &quot;@&quot; &quot;">
                  <c:v>0</c:v>
                </c:pt>
                <c:pt idx="5081" formatCode="#,##0_);\(#,##0\);&quot;-  &quot;;&quot; &quot;@&quot; &quot;">
                  <c:v>0</c:v>
                </c:pt>
                <c:pt idx="5082" formatCode="#,##0_);\(#,##0\);&quot;-  &quot;;&quot; &quot;@&quot; &quot;">
                  <c:v>0</c:v>
                </c:pt>
                <c:pt idx="5083" formatCode="#,##0_);\(#,##0\);&quot;-  &quot;;&quot; &quot;@&quot; &quot;">
                  <c:v>0</c:v>
                </c:pt>
                <c:pt idx="5084" formatCode="#,##0_);\(#,##0\);&quot;-  &quot;;&quot; &quot;@&quot; &quot;">
                  <c:v>0</c:v>
                </c:pt>
                <c:pt idx="5085" formatCode="#,##0_);\(#,##0\);&quot;-  &quot;;&quot; &quot;@&quot; &quot;">
                  <c:v>0</c:v>
                </c:pt>
                <c:pt idx="5086" formatCode="#,##0_);\(#,##0\);&quot;-  &quot;;&quot; &quot;@&quot; &quot;">
                  <c:v>0</c:v>
                </c:pt>
                <c:pt idx="5087" formatCode="#,##0_);\(#,##0\);&quot;-  &quot;;&quot; &quot;@&quot; &quot;">
                  <c:v>0</c:v>
                </c:pt>
                <c:pt idx="5088" formatCode="#,##0_);\(#,##0\);&quot;-  &quot;;&quot; &quot;@&quot; &quot;">
                  <c:v>0</c:v>
                </c:pt>
                <c:pt idx="5089" formatCode="#,##0_);\(#,##0\);&quot;-  &quot;;&quot; &quot;@&quot; &quot;">
                  <c:v>0</c:v>
                </c:pt>
                <c:pt idx="5090" formatCode="#,##0_);\(#,##0\);&quot;-  &quot;;&quot; &quot;@&quot; &quot;">
                  <c:v>0</c:v>
                </c:pt>
                <c:pt idx="5091" formatCode="#,##0_);\(#,##0\);&quot;-  &quot;;&quot; &quot;@&quot; &quot;">
                  <c:v>0</c:v>
                </c:pt>
                <c:pt idx="5092" formatCode="#,##0_);\(#,##0\);&quot;-  &quot;;&quot; &quot;@&quot; &quot;">
                  <c:v>0</c:v>
                </c:pt>
                <c:pt idx="5093" formatCode="#,##0_);\(#,##0\);&quot;-  &quot;;&quot; &quot;@&quot; &quot;">
                  <c:v>0</c:v>
                </c:pt>
                <c:pt idx="5094" formatCode="#,##0_);\(#,##0\);&quot;-  &quot;;&quot; &quot;@&quot; &quot;">
                  <c:v>0</c:v>
                </c:pt>
                <c:pt idx="5095" formatCode="#,##0_);\(#,##0\);&quot;-  &quot;;&quot; &quot;@&quot; &quot;">
                  <c:v>0</c:v>
                </c:pt>
                <c:pt idx="5096" formatCode="#,##0_);\(#,##0\);&quot;-  &quot;;&quot; &quot;@&quot; &quot;">
                  <c:v>0</c:v>
                </c:pt>
                <c:pt idx="5097" formatCode="#,##0_);\(#,##0\);&quot;-  &quot;;&quot; &quot;@&quot; &quot;">
                  <c:v>0</c:v>
                </c:pt>
                <c:pt idx="5098" formatCode="#,##0_);\(#,##0\);&quot;-  &quot;;&quot; &quot;@&quot; &quot;">
                  <c:v>0</c:v>
                </c:pt>
                <c:pt idx="5099" formatCode="#,##0_);\(#,##0\);&quot;-  &quot;;&quot; &quot;@&quot; &quot;">
                  <c:v>0</c:v>
                </c:pt>
                <c:pt idx="5100" formatCode="#,##0_);\(#,##0\);&quot;-  &quot;;&quot; &quot;@&quot; &quot;">
                  <c:v>0</c:v>
                </c:pt>
                <c:pt idx="5101" formatCode="#,##0_);\(#,##0\);&quot;-  &quot;;&quot; &quot;@&quot; &quot;">
                  <c:v>0</c:v>
                </c:pt>
                <c:pt idx="5102" formatCode="#,##0_);\(#,##0\);&quot;-  &quot;;&quot; &quot;@&quot; &quot;">
                  <c:v>0</c:v>
                </c:pt>
                <c:pt idx="5103" formatCode="#,##0_);\(#,##0\);&quot;-  &quot;;&quot; &quot;@&quot; &quot;">
                  <c:v>0</c:v>
                </c:pt>
                <c:pt idx="5104" formatCode="#,##0_);\(#,##0\);&quot;-  &quot;;&quot; &quot;@&quot; &quot;">
                  <c:v>0</c:v>
                </c:pt>
                <c:pt idx="5105" formatCode="#,##0_);\(#,##0\);&quot;-  &quot;;&quot; &quot;@&quot; &quot;">
                  <c:v>0</c:v>
                </c:pt>
                <c:pt idx="5106" formatCode="#,##0_);\(#,##0\);&quot;-  &quot;;&quot; &quot;@&quot; &quot;">
                  <c:v>0</c:v>
                </c:pt>
                <c:pt idx="5107" formatCode="#,##0_);\(#,##0\);&quot;-  &quot;;&quot; &quot;@&quot; &quot;">
                  <c:v>0</c:v>
                </c:pt>
                <c:pt idx="5108" formatCode="#,##0_);\(#,##0\);&quot;-  &quot;;&quot; &quot;@&quot; &quot;">
                  <c:v>0</c:v>
                </c:pt>
                <c:pt idx="5109" formatCode="#,##0_);\(#,##0\);&quot;-  &quot;;&quot; &quot;@&quot; &quot;">
                  <c:v>0</c:v>
                </c:pt>
                <c:pt idx="5110" formatCode="#,##0_);\(#,##0\);&quot;-  &quot;;&quot; &quot;@&quot; &quot;">
                  <c:v>0</c:v>
                </c:pt>
                <c:pt idx="5111" formatCode="#,##0_);\(#,##0\);&quot;-  &quot;;&quot; &quot;@&quot; &quot;">
                  <c:v>0</c:v>
                </c:pt>
                <c:pt idx="5112" formatCode="#,##0_);\(#,##0\);&quot;-  &quot;;&quot; &quot;@&quot; &quot;">
                  <c:v>0</c:v>
                </c:pt>
                <c:pt idx="5113" formatCode="#,##0_);\(#,##0\);&quot;-  &quot;;&quot; &quot;@&quot; &quot;">
                  <c:v>0</c:v>
                </c:pt>
                <c:pt idx="5114" formatCode="#,##0_);\(#,##0\);&quot;-  &quot;;&quot; &quot;@&quot; &quot;">
                  <c:v>0</c:v>
                </c:pt>
                <c:pt idx="5115" formatCode="#,##0_);\(#,##0\);&quot;-  &quot;;&quot; &quot;@&quot; &quot;">
                  <c:v>0</c:v>
                </c:pt>
                <c:pt idx="5116" formatCode="#,##0_);\(#,##0\);&quot;-  &quot;;&quot; &quot;@&quot; &quot;">
                  <c:v>0</c:v>
                </c:pt>
                <c:pt idx="5117" formatCode="#,##0_);\(#,##0\);&quot;-  &quot;;&quot; &quot;@&quot; &quot;">
                  <c:v>0</c:v>
                </c:pt>
                <c:pt idx="5118" formatCode="#,##0_);\(#,##0\);&quot;-  &quot;;&quot; &quot;@&quot; &quot;">
                  <c:v>0</c:v>
                </c:pt>
                <c:pt idx="5119" formatCode="#,##0_);\(#,##0\);&quot;-  &quot;;&quot; &quot;@&quot; &quot;">
                  <c:v>0</c:v>
                </c:pt>
                <c:pt idx="5120" formatCode="#,##0_);\(#,##0\);&quot;-  &quot;;&quot; &quot;@&quot; &quot;">
                  <c:v>0</c:v>
                </c:pt>
                <c:pt idx="5121" formatCode="#,##0_);\(#,##0\);&quot;-  &quot;;&quot; &quot;@&quot; &quot;">
                  <c:v>0</c:v>
                </c:pt>
                <c:pt idx="5122" formatCode="#,##0_);\(#,##0\);&quot;-  &quot;;&quot; &quot;@&quot; &quot;">
                  <c:v>0</c:v>
                </c:pt>
                <c:pt idx="5123" formatCode="#,##0_);\(#,##0\);&quot;-  &quot;;&quot; &quot;@&quot; &quot;">
                  <c:v>0</c:v>
                </c:pt>
                <c:pt idx="5124" formatCode="#,##0_);\(#,##0\);&quot;-  &quot;;&quot; &quot;@&quot; &quot;">
                  <c:v>0</c:v>
                </c:pt>
                <c:pt idx="5125" formatCode="#,##0_);\(#,##0\);&quot;-  &quot;;&quot; &quot;@&quot; &quot;">
                  <c:v>0</c:v>
                </c:pt>
                <c:pt idx="5126" formatCode="#,##0_);\(#,##0\);&quot;-  &quot;;&quot; &quot;@&quot; &quot;">
                  <c:v>0</c:v>
                </c:pt>
                <c:pt idx="5127" formatCode="#,##0_);\(#,##0\);&quot;-  &quot;;&quot; &quot;@&quot; &quot;">
                  <c:v>0</c:v>
                </c:pt>
                <c:pt idx="5128" formatCode="#,##0_);\(#,##0\);&quot;-  &quot;;&quot; &quot;@&quot; &quot;">
                  <c:v>0</c:v>
                </c:pt>
                <c:pt idx="5129" formatCode="#,##0_);\(#,##0\);&quot;-  &quot;;&quot; &quot;@&quot; &quot;">
                  <c:v>0</c:v>
                </c:pt>
                <c:pt idx="5130" formatCode="#,##0_);\(#,##0\);&quot;-  &quot;;&quot; &quot;@&quot; &quot;">
                  <c:v>0</c:v>
                </c:pt>
                <c:pt idx="5131" formatCode="#,##0_);\(#,##0\);&quot;-  &quot;;&quot; &quot;@&quot; &quot;">
                  <c:v>0</c:v>
                </c:pt>
                <c:pt idx="5132" formatCode="#,##0_);\(#,##0\);&quot;-  &quot;;&quot; &quot;@&quot; &quot;">
                  <c:v>0</c:v>
                </c:pt>
                <c:pt idx="5133" formatCode="#,##0_);\(#,##0\);&quot;-  &quot;;&quot; &quot;@&quot; &quot;">
                  <c:v>0</c:v>
                </c:pt>
                <c:pt idx="5134" formatCode="#,##0_);\(#,##0\);&quot;-  &quot;;&quot; &quot;@&quot; &quot;">
                  <c:v>0</c:v>
                </c:pt>
                <c:pt idx="5135" formatCode="#,##0_);\(#,##0\);&quot;-  &quot;;&quot; &quot;@&quot; &quot;">
                  <c:v>0</c:v>
                </c:pt>
                <c:pt idx="5136" formatCode="#,##0_);\(#,##0\);&quot;-  &quot;;&quot; &quot;@&quot; &quot;">
                  <c:v>0</c:v>
                </c:pt>
                <c:pt idx="5137" formatCode="#,##0_);\(#,##0\);&quot;-  &quot;;&quot; &quot;@&quot; &quot;">
                  <c:v>0</c:v>
                </c:pt>
                <c:pt idx="5138" formatCode="#,##0_);\(#,##0\);&quot;-  &quot;;&quot; &quot;@&quot; &quot;">
                  <c:v>0</c:v>
                </c:pt>
                <c:pt idx="5139" formatCode="#,##0_);\(#,##0\);&quot;-  &quot;;&quot; &quot;@&quot; &quot;">
                  <c:v>0</c:v>
                </c:pt>
                <c:pt idx="5140" formatCode="#,##0_);\(#,##0\);&quot;-  &quot;;&quot; &quot;@&quot; &quot;">
                  <c:v>0</c:v>
                </c:pt>
                <c:pt idx="5141" formatCode="#,##0_);\(#,##0\);&quot;-  &quot;;&quot; &quot;@&quot; &quot;">
                  <c:v>0</c:v>
                </c:pt>
                <c:pt idx="5142" formatCode="#,##0_);\(#,##0\);&quot;-  &quot;;&quot; &quot;@&quot; &quot;">
                  <c:v>0</c:v>
                </c:pt>
                <c:pt idx="5143" formatCode="#,##0_);\(#,##0\);&quot;-  &quot;;&quot; &quot;@&quot; &quot;">
                  <c:v>0</c:v>
                </c:pt>
                <c:pt idx="5144" formatCode="#,##0_);\(#,##0\);&quot;-  &quot;;&quot; &quot;@&quot; &quot;">
                  <c:v>0</c:v>
                </c:pt>
                <c:pt idx="5145" formatCode="#,##0_);\(#,##0\);&quot;-  &quot;;&quot; &quot;@&quot; &quot;">
                  <c:v>0</c:v>
                </c:pt>
                <c:pt idx="5146" formatCode="#,##0_);\(#,##0\);&quot;-  &quot;;&quot; &quot;@&quot; &quot;">
                  <c:v>0</c:v>
                </c:pt>
                <c:pt idx="5147" formatCode="#,##0_);\(#,##0\);&quot;-  &quot;;&quot; &quot;@&quot; &quot;">
                  <c:v>0</c:v>
                </c:pt>
                <c:pt idx="5148" formatCode="#,##0_);\(#,##0\);&quot;-  &quot;;&quot; &quot;@&quot; &quot;">
                  <c:v>0</c:v>
                </c:pt>
                <c:pt idx="5149" formatCode="#,##0_);\(#,##0\);&quot;-  &quot;;&quot; &quot;@&quot; &quot;">
                  <c:v>0</c:v>
                </c:pt>
                <c:pt idx="5150" formatCode="#,##0_);\(#,##0\);&quot;-  &quot;;&quot; &quot;@&quot; &quot;">
                  <c:v>0</c:v>
                </c:pt>
                <c:pt idx="5151" formatCode="#,##0_);\(#,##0\);&quot;-  &quot;;&quot; &quot;@&quot; &quot;">
                  <c:v>0</c:v>
                </c:pt>
                <c:pt idx="5152" formatCode="#,##0_);\(#,##0\);&quot;-  &quot;;&quot; &quot;@&quot; &quot;">
                  <c:v>0</c:v>
                </c:pt>
                <c:pt idx="5153" formatCode="#,##0_);\(#,##0\);&quot;-  &quot;;&quot; &quot;@&quot; &quot;">
                  <c:v>0</c:v>
                </c:pt>
                <c:pt idx="5154" formatCode="#,##0_);\(#,##0\);&quot;-  &quot;;&quot; &quot;@&quot; &quot;">
                  <c:v>0</c:v>
                </c:pt>
                <c:pt idx="5155" formatCode="#,##0_);\(#,##0\);&quot;-  &quot;;&quot; &quot;@&quot; &quot;">
                  <c:v>0</c:v>
                </c:pt>
                <c:pt idx="5156" formatCode="#,##0_);\(#,##0\);&quot;-  &quot;;&quot; &quot;@&quot; &quot;">
                  <c:v>0</c:v>
                </c:pt>
                <c:pt idx="5157" formatCode="#,##0_);\(#,##0\);&quot;-  &quot;;&quot; &quot;@&quot; &quot;">
                  <c:v>0</c:v>
                </c:pt>
                <c:pt idx="5158" formatCode="#,##0_);\(#,##0\);&quot;-  &quot;;&quot; &quot;@&quot; &quot;">
                  <c:v>0</c:v>
                </c:pt>
                <c:pt idx="5159" formatCode="#,##0_);\(#,##0\);&quot;-  &quot;;&quot; &quot;@&quot; &quot;">
                  <c:v>0</c:v>
                </c:pt>
                <c:pt idx="5160" formatCode="#,##0_);\(#,##0\);&quot;-  &quot;;&quot; &quot;@&quot; &quot;">
                  <c:v>0</c:v>
                </c:pt>
                <c:pt idx="5161" formatCode="#,##0_);\(#,##0\);&quot;-  &quot;;&quot; &quot;@&quot; &quot;">
                  <c:v>0</c:v>
                </c:pt>
                <c:pt idx="5162" formatCode="#,##0_);\(#,##0\);&quot;-  &quot;;&quot; &quot;@&quot; &quot;">
                  <c:v>0</c:v>
                </c:pt>
                <c:pt idx="5163" formatCode="#,##0_);\(#,##0\);&quot;-  &quot;;&quot; &quot;@&quot; &quot;">
                  <c:v>0</c:v>
                </c:pt>
                <c:pt idx="5164" formatCode="#,##0_);\(#,##0\);&quot;-  &quot;;&quot; &quot;@&quot; &quot;">
                  <c:v>0</c:v>
                </c:pt>
                <c:pt idx="5165" formatCode="#,##0_);\(#,##0\);&quot;-  &quot;;&quot; &quot;@&quot; &quot;">
                  <c:v>0</c:v>
                </c:pt>
                <c:pt idx="5166" formatCode="#,##0_);\(#,##0\);&quot;-  &quot;;&quot; &quot;@&quot; &quot;">
                  <c:v>0</c:v>
                </c:pt>
                <c:pt idx="5167" formatCode="#,##0_);\(#,##0\);&quot;-  &quot;;&quot; &quot;@&quot; &quot;">
                  <c:v>0</c:v>
                </c:pt>
                <c:pt idx="5168" formatCode="#,##0_);\(#,##0\);&quot;-  &quot;;&quot; &quot;@&quot; &quot;">
                  <c:v>0</c:v>
                </c:pt>
                <c:pt idx="5169" formatCode="#,##0_);\(#,##0\);&quot;-  &quot;;&quot; &quot;@&quot; &quot;">
                  <c:v>0</c:v>
                </c:pt>
                <c:pt idx="5170" formatCode="#,##0_);\(#,##0\);&quot;-  &quot;;&quot; &quot;@&quot; &quot;">
                  <c:v>0</c:v>
                </c:pt>
                <c:pt idx="5171" formatCode="#,##0_);\(#,##0\);&quot;-  &quot;;&quot; &quot;@&quot; &quot;">
                  <c:v>0</c:v>
                </c:pt>
                <c:pt idx="5172" formatCode="#,##0_);\(#,##0\);&quot;-  &quot;;&quot; &quot;@&quot; &quot;">
                  <c:v>0</c:v>
                </c:pt>
                <c:pt idx="5173" formatCode="#,##0_);\(#,##0\);&quot;-  &quot;;&quot; &quot;@&quot; &quot;">
                  <c:v>0</c:v>
                </c:pt>
                <c:pt idx="5174" formatCode="#,##0_);\(#,##0\);&quot;-  &quot;;&quot; &quot;@&quot; &quot;">
                  <c:v>0</c:v>
                </c:pt>
                <c:pt idx="5175" formatCode="#,##0_);\(#,##0\);&quot;-  &quot;;&quot; &quot;@&quot; &quot;">
                  <c:v>0</c:v>
                </c:pt>
                <c:pt idx="5176" formatCode="#,##0_);\(#,##0\);&quot;-  &quot;;&quot; &quot;@&quot; &quot;">
                  <c:v>0</c:v>
                </c:pt>
                <c:pt idx="5177" formatCode="#,##0_);\(#,##0\);&quot;-  &quot;;&quot; &quot;@&quot; &quot;">
                  <c:v>0</c:v>
                </c:pt>
                <c:pt idx="5178" formatCode="#,##0_);\(#,##0\);&quot;-  &quot;;&quot; &quot;@&quot; &quot;">
                  <c:v>0</c:v>
                </c:pt>
                <c:pt idx="5179" formatCode="#,##0_);\(#,##0\);&quot;-  &quot;;&quot; &quot;@&quot; &quot;">
                  <c:v>0</c:v>
                </c:pt>
                <c:pt idx="5180" formatCode="#,##0_);\(#,##0\);&quot;-  &quot;;&quot; &quot;@&quot; &quot;">
                  <c:v>0</c:v>
                </c:pt>
                <c:pt idx="5181" formatCode="#,##0_);\(#,##0\);&quot;-  &quot;;&quot; &quot;@&quot; &quot;">
                  <c:v>0</c:v>
                </c:pt>
                <c:pt idx="5182" formatCode="#,##0_);\(#,##0\);&quot;-  &quot;;&quot; &quot;@&quot; &quot;">
                  <c:v>0</c:v>
                </c:pt>
                <c:pt idx="5183" formatCode="#,##0_);\(#,##0\);&quot;-  &quot;;&quot; &quot;@&quot; &quot;">
                  <c:v>0</c:v>
                </c:pt>
                <c:pt idx="5184" formatCode="#,##0_);\(#,##0\);&quot;-  &quot;;&quot; &quot;@&quot; &quot;">
                  <c:v>0</c:v>
                </c:pt>
                <c:pt idx="5185" formatCode="#,##0_);\(#,##0\);&quot;-  &quot;;&quot; &quot;@&quot; &quot;">
                  <c:v>0</c:v>
                </c:pt>
                <c:pt idx="5186" formatCode="#,##0_);\(#,##0\);&quot;-  &quot;;&quot; &quot;@&quot; &quot;">
                  <c:v>0</c:v>
                </c:pt>
                <c:pt idx="5187" formatCode="#,##0_);\(#,##0\);&quot;-  &quot;;&quot; &quot;@&quot; &quot;">
                  <c:v>0</c:v>
                </c:pt>
                <c:pt idx="5188" formatCode="#,##0_);\(#,##0\);&quot;-  &quot;;&quot; &quot;@&quot; &quot;">
                  <c:v>0</c:v>
                </c:pt>
                <c:pt idx="5189" formatCode="#,##0_);\(#,##0\);&quot;-  &quot;;&quot; &quot;@&quot; &quot;">
                  <c:v>0</c:v>
                </c:pt>
                <c:pt idx="5190" formatCode="#,##0_);\(#,##0\);&quot;-  &quot;;&quot; &quot;@&quot; &quot;">
                  <c:v>0</c:v>
                </c:pt>
                <c:pt idx="5191" formatCode="#,##0_);\(#,##0\);&quot;-  &quot;;&quot; &quot;@&quot; &quot;">
                  <c:v>0</c:v>
                </c:pt>
                <c:pt idx="5192" formatCode="#,##0_);\(#,##0\);&quot;-  &quot;;&quot; &quot;@&quot; &quot;">
                  <c:v>0</c:v>
                </c:pt>
                <c:pt idx="5193" formatCode="#,##0_);\(#,##0\);&quot;-  &quot;;&quot; &quot;@&quot; &quot;">
                  <c:v>0</c:v>
                </c:pt>
                <c:pt idx="5194" formatCode="#,##0_);\(#,##0\);&quot;-  &quot;;&quot; &quot;@&quot; &quot;">
                  <c:v>0</c:v>
                </c:pt>
                <c:pt idx="5195" formatCode="#,##0_);\(#,##0\);&quot;-  &quot;;&quot; &quot;@&quot; &quot;">
                  <c:v>0</c:v>
                </c:pt>
                <c:pt idx="5196" formatCode="#,##0_);\(#,##0\);&quot;-  &quot;;&quot; &quot;@&quot; &quot;">
                  <c:v>0</c:v>
                </c:pt>
                <c:pt idx="5197" formatCode="#,##0_);\(#,##0\);&quot;-  &quot;;&quot; &quot;@&quot; &quot;">
                  <c:v>0</c:v>
                </c:pt>
                <c:pt idx="5198" formatCode="#,##0_);\(#,##0\);&quot;-  &quot;;&quot; &quot;@&quot; &quot;">
                  <c:v>0</c:v>
                </c:pt>
                <c:pt idx="5199" formatCode="#,##0_);\(#,##0\);&quot;-  &quot;;&quot; &quot;@&quot; &quot;">
                  <c:v>0</c:v>
                </c:pt>
                <c:pt idx="5200" formatCode="#,##0_);\(#,##0\);&quot;-  &quot;;&quot; &quot;@&quot; &quot;">
                  <c:v>0</c:v>
                </c:pt>
                <c:pt idx="5201" formatCode="#,##0_);\(#,##0\);&quot;-  &quot;;&quot; &quot;@&quot; &quot;">
                  <c:v>0</c:v>
                </c:pt>
                <c:pt idx="5202" formatCode="#,##0_);\(#,##0\);&quot;-  &quot;;&quot; &quot;@&quot; &quot;">
                  <c:v>0</c:v>
                </c:pt>
                <c:pt idx="5203" formatCode="#,##0_);\(#,##0\);&quot;-  &quot;;&quot; &quot;@&quot; &quot;">
                  <c:v>0</c:v>
                </c:pt>
                <c:pt idx="5204" formatCode="#,##0_);\(#,##0\);&quot;-  &quot;;&quot; &quot;@&quot; &quot;">
                  <c:v>0</c:v>
                </c:pt>
                <c:pt idx="5205" formatCode="#,##0_);\(#,##0\);&quot;-  &quot;;&quot; &quot;@&quot; &quot;">
                  <c:v>0</c:v>
                </c:pt>
                <c:pt idx="5206" formatCode="#,##0_);\(#,##0\);&quot;-  &quot;;&quot; &quot;@&quot; &quot;">
                  <c:v>0</c:v>
                </c:pt>
                <c:pt idx="5207" formatCode="#,##0_);\(#,##0\);&quot;-  &quot;;&quot; &quot;@&quot; &quot;">
                  <c:v>0</c:v>
                </c:pt>
                <c:pt idx="5208" formatCode="#,##0_);\(#,##0\);&quot;-  &quot;;&quot; &quot;@&quot; &quot;">
                  <c:v>0</c:v>
                </c:pt>
                <c:pt idx="5209" formatCode="#,##0_);\(#,##0\);&quot;-  &quot;;&quot; &quot;@&quot; &quot;">
                  <c:v>0</c:v>
                </c:pt>
                <c:pt idx="5210" formatCode="#,##0_);\(#,##0\);&quot;-  &quot;;&quot; &quot;@&quot; &quot;">
                  <c:v>0</c:v>
                </c:pt>
                <c:pt idx="5211" formatCode="#,##0_);\(#,##0\);&quot;-  &quot;;&quot; &quot;@&quot; &quot;">
                  <c:v>0</c:v>
                </c:pt>
                <c:pt idx="5212" formatCode="#,##0_);\(#,##0\);&quot;-  &quot;;&quot; &quot;@&quot; &quot;">
                  <c:v>0</c:v>
                </c:pt>
                <c:pt idx="5213" formatCode="#,##0_);\(#,##0\);&quot;-  &quot;;&quot; &quot;@&quot; &quot;">
                  <c:v>0</c:v>
                </c:pt>
                <c:pt idx="5214" formatCode="#,##0_);\(#,##0\);&quot;-  &quot;;&quot; &quot;@&quot; &quot;">
                  <c:v>0</c:v>
                </c:pt>
                <c:pt idx="5215" formatCode="#,##0_);\(#,##0\);&quot;-  &quot;;&quot; &quot;@&quot; &quot;">
                  <c:v>0</c:v>
                </c:pt>
                <c:pt idx="5216" formatCode="#,##0_);\(#,##0\);&quot;-  &quot;;&quot; &quot;@&quot; &quot;">
                  <c:v>0</c:v>
                </c:pt>
                <c:pt idx="5217" formatCode="#,##0_);\(#,##0\);&quot;-  &quot;;&quot; &quot;@&quot; &quot;">
                  <c:v>0</c:v>
                </c:pt>
                <c:pt idx="5218" formatCode="#,##0_);\(#,##0\);&quot;-  &quot;;&quot; &quot;@&quot; &quot;">
                  <c:v>0</c:v>
                </c:pt>
                <c:pt idx="5219" formatCode="#,##0_);\(#,##0\);&quot;-  &quot;;&quot; &quot;@&quot; &quot;">
                  <c:v>0</c:v>
                </c:pt>
                <c:pt idx="5220" formatCode="#,##0_);\(#,##0\);&quot;-  &quot;;&quot; &quot;@&quot; &quot;">
                  <c:v>0</c:v>
                </c:pt>
                <c:pt idx="5221" formatCode="#,##0_);\(#,##0\);&quot;-  &quot;;&quot; &quot;@&quot; &quot;">
                  <c:v>0</c:v>
                </c:pt>
                <c:pt idx="5222" formatCode="#,##0_);\(#,##0\);&quot;-  &quot;;&quot; &quot;@&quot; &quot;">
                  <c:v>0</c:v>
                </c:pt>
                <c:pt idx="5223" formatCode="#,##0_);\(#,##0\);&quot;-  &quot;;&quot; &quot;@&quot; &quot;">
                  <c:v>0</c:v>
                </c:pt>
                <c:pt idx="5224" formatCode="#,##0_);\(#,##0\);&quot;-  &quot;;&quot; &quot;@&quot; &quot;">
                  <c:v>0</c:v>
                </c:pt>
                <c:pt idx="5225" formatCode="#,##0_);\(#,##0\);&quot;-  &quot;;&quot; &quot;@&quot; &quot;">
                  <c:v>0</c:v>
                </c:pt>
                <c:pt idx="5226" formatCode="#,##0_);\(#,##0\);&quot;-  &quot;;&quot; &quot;@&quot; &quot;">
                  <c:v>0</c:v>
                </c:pt>
                <c:pt idx="5227" formatCode="#,##0_);\(#,##0\);&quot;-  &quot;;&quot; &quot;@&quot; &quot;">
                  <c:v>0</c:v>
                </c:pt>
                <c:pt idx="5228" formatCode="#,##0_);\(#,##0\);&quot;-  &quot;;&quot; &quot;@&quot; &quot;">
                  <c:v>0</c:v>
                </c:pt>
                <c:pt idx="5229" formatCode="#,##0_);\(#,##0\);&quot;-  &quot;;&quot; &quot;@&quot; &quot;">
                  <c:v>0</c:v>
                </c:pt>
                <c:pt idx="5230" formatCode="#,##0_);\(#,##0\);&quot;-  &quot;;&quot; &quot;@&quot; &quot;">
                  <c:v>0</c:v>
                </c:pt>
                <c:pt idx="5231" formatCode="#,##0_);\(#,##0\);&quot;-  &quot;;&quot; &quot;@&quot; &quot;">
                  <c:v>0</c:v>
                </c:pt>
                <c:pt idx="5232" formatCode="#,##0_);\(#,##0\);&quot;-  &quot;;&quot; &quot;@&quot; &quot;">
                  <c:v>0</c:v>
                </c:pt>
                <c:pt idx="5233" formatCode="#,##0_);\(#,##0\);&quot;-  &quot;;&quot; &quot;@&quot; &quot;">
                  <c:v>0</c:v>
                </c:pt>
                <c:pt idx="5234" formatCode="#,##0_);\(#,##0\);&quot;-  &quot;;&quot; &quot;@&quot; &quot;">
                  <c:v>0</c:v>
                </c:pt>
                <c:pt idx="5235" formatCode="#,##0_);\(#,##0\);&quot;-  &quot;;&quot; &quot;@&quot; &quot;">
                  <c:v>0</c:v>
                </c:pt>
                <c:pt idx="5236" formatCode="#,##0_);\(#,##0\);&quot;-  &quot;;&quot; &quot;@&quot; &quot;">
                  <c:v>0</c:v>
                </c:pt>
                <c:pt idx="5237" formatCode="#,##0_);\(#,##0\);&quot;-  &quot;;&quot; &quot;@&quot; &quot;">
                  <c:v>0</c:v>
                </c:pt>
                <c:pt idx="5238" formatCode="#,##0_);\(#,##0\);&quot;-  &quot;;&quot; &quot;@&quot; &quot;">
                  <c:v>0</c:v>
                </c:pt>
                <c:pt idx="5239" formatCode="#,##0_);\(#,##0\);&quot;-  &quot;;&quot; &quot;@&quot; &quot;">
                  <c:v>0</c:v>
                </c:pt>
                <c:pt idx="5240" formatCode="#,##0_);\(#,##0\);&quot;-  &quot;;&quot; &quot;@&quot; &quot;">
                  <c:v>0</c:v>
                </c:pt>
                <c:pt idx="5241" formatCode="#,##0_);\(#,##0\);&quot;-  &quot;;&quot; &quot;@&quot; &quot;">
                  <c:v>0</c:v>
                </c:pt>
                <c:pt idx="5242" formatCode="#,##0_);\(#,##0\);&quot;-  &quot;;&quot; &quot;@&quot; &quot;">
                  <c:v>0</c:v>
                </c:pt>
                <c:pt idx="5243" formatCode="#,##0_);\(#,##0\);&quot;-  &quot;;&quot; &quot;@&quot; &quot;">
                  <c:v>0</c:v>
                </c:pt>
                <c:pt idx="5244" formatCode="#,##0_);\(#,##0\);&quot;-  &quot;;&quot; &quot;@&quot; &quot;">
                  <c:v>0</c:v>
                </c:pt>
                <c:pt idx="5245" formatCode="#,##0_);\(#,##0\);&quot;-  &quot;;&quot; &quot;@&quot; &quot;">
                  <c:v>0</c:v>
                </c:pt>
                <c:pt idx="5246" formatCode="#,##0_);\(#,##0\);&quot;-  &quot;;&quot; &quot;@&quot; &quot;">
                  <c:v>0</c:v>
                </c:pt>
                <c:pt idx="5247" formatCode="#,##0_);\(#,##0\);&quot;-  &quot;;&quot; &quot;@&quot; &quot;">
                  <c:v>0</c:v>
                </c:pt>
                <c:pt idx="5248" formatCode="#,##0_);\(#,##0\);&quot;-  &quot;;&quot; &quot;@&quot; &quot;">
                  <c:v>0</c:v>
                </c:pt>
                <c:pt idx="5249" formatCode="#,##0_);\(#,##0\);&quot;-  &quot;;&quot; &quot;@&quot; &quot;">
                  <c:v>0</c:v>
                </c:pt>
                <c:pt idx="5250" formatCode="#,##0_);\(#,##0\);&quot;-  &quot;;&quot; &quot;@&quot; &quot;">
                  <c:v>0</c:v>
                </c:pt>
                <c:pt idx="5251" formatCode="#,##0_);\(#,##0\);&quot;-  &quot;;&quot; &quot;@&quot; &quot;">
                  <c:v>0</c:v>
                </c:pt>
                <c:pt idx="5252" formatCode="#,##0_);\(#,##0\);&quot;-  &quot;;&quot; &quot;@&quot; &quot;">
                  <c:v>0</c:v>
                </c:pt>
                <c:pt idx="5253" formatCode="#,##0_);\(#,##0\);&quot;-  &quot;;&quot; &quot;@&quot; &quot;">
                  <c:v>0</c:v>
                </c:pt>
                <c:pt idx="5254" formatCode="#,##0_);\(#,##0\);&quot;-  &quot;;&quot; &quot;@&quot; &quot;">
                  <c:v>0</c:v>
                </c:pt>
                <c:pt idx="5255" formatCode="#,##0_);\(#,##0\);&quot;-  &quot;;&quot; &quot;@&quot; &quot;">
                  <c:v>0</c:v>
                </c:pt>
                <c:pt idx="5256" formatCode="#,##0_);\(#,##0\);&quot;-  &quot;;&quot; &quot;@&quot; &quot;">
                  <c:v>0</c:v>
                </c:pt>
                <c:pt idx="5257" formatCode="#,##0_);\(#,##0\);&quot;-  &quot;;&quot; &quot;@&quot; &quot;">
                  <c:v>0</c:v>
                </c:pt>
                <c:pt idx="5258" formatCode="#,##0_);\(#,##0\);&quot;-  &quot;;&quot; &quot;@&quot; &quot;">
                  <c:v>0</c:v>
                </c:pt>
                <c:pt idx="5259" formatCode="#,##0_);\(#,##0\);&quot;-  &quot;;&quot; &quot;@&quot; &quot;">
                  <c:v>0</c:v>
                </c:pt>
                <c:pt idx="5260" formatCode="#,##0_);\(#,##0\);&quot;-  &quot;;&quot; &quot;@&quot; &quot;">
                  <c:v>0</c:v>
                </c:pt>
                <c:pt idx="5261" formatCode="#,##0_);\(#,##0\);&quot;-  &quot;;&quot; &quot;@&quot; &quot;">
                  <c:v>0</c:v>
                </c:pt>
                <c:pt idx="5262" formatCode="#,##0_);\(#,##0\);&quot;-  &quot;;&quot; &quot;@&quot; &quot;">
                  <c:v>0</c:v>
                </c:pt>
                <c:pt idx="5263" formatCode="#,##0_);\(#,##0\);&quot;-  &quot;;&quot; &quot;@&quot; &quot;">
                  <c:v>0</c:v>
                </c:pt>
                <c:pt idx="5264" formatCode="#,##0_);\(#,##0\);&quot;-  &quot;;&quot; &quot;@&quot; &quot;">
                  <c:v>0</c:v>
                </c:pt>
                <c:pt idx="5265" formatCode="#,##0_);\(#,##0\);&quot;-  &quot;;&quot; &quot;@&quot; &quot;">
                  <c:v>0</c:v>
                </c:pt>
                <c:pt idx="5266" formatCode="#,##0_);\(#,##0\);&quot;-  &quot;;&quot; &quot;@&quot; &quot;">
                  <c:v>0</c:v>
                </c:pt>
                <c:pt idx="5267" formatCode="#,##0_);\(#,##0\);&quot;-  &quot;;&quot; &quot;@&quot; &quot;">
                  <c:v>0</c:v>
                </c:pt>
                <c:pt idx="5268" formatCode="#,##0_);\(#,##0\);&quot;-  &quot;;&quot; &quot;@&quot; &quot;">
                  <c:v>0</c:v>
                </c:pt>
                <c:pt idx="5269" formatCode="#,##0_);\(#,##0\);&quot;-  &quot;;&quot; &quot;@&quot; &quot;">
                  <c:v>0</c:v>
                </c:pt>
                <c:pt idx="5270" formatCode="#,##0_);\(#,##0\);&quot;-  &quot;;&quot; &quot;@&quot; &quot;">
                  <c:v>0</c:v>
                </c:pt>
                <c:pt idx="5271" formatCode="#,##0_);\(#,##0\);&quot;-  &quot;;&quot; &quot;@&quot; &quot;">
                  <c:v>0</c:v>
                </c:pt>
                <c:pt idx="5272" formatCode="#,##0_);\(#,##0\);&quot;-  &quot;;&quot; &quot;@&quot; &quot;">
                  <c:v>0</c:v>
                </c:pt>
                <c:pt idx="5273" formatCode="#,##0_);\(#,##0\);&quot;-  &quot;;&quot; &quot;@&quot; &quot;">
                  <c:v>0</c:v>
                </c:pt>
                <c:pt idx="5274" formatCode="#,##0_);\(#,##0\);&quot;-  &quot;;&quot; &quot;@&quot; &quot;">
                  <c:v>0</c:v>
                </c:pt>
                <c:pt idx="5275" formatCode="#,##0_);\(#,##0\);&quot;-  &quot;;&quot; &quot;@&quot; &quot;">
                  <c:v>0</c:v>
                </c:pt>
                <c:pt idx="5276" formatCode="#,##0_);\(#,##0\);&quot;-  &quot;;&quot; &quot;@&quot; &quot;">
                  <c:v>0</c:v>
                </c:pt>
                <c:pt idx="5277" formatCode="#,##0_);\(#,##0\);&quot;-  &quot;;&quot; &quot;@&quot; &quot;">
                  <c:v>0</c:v>
                </c:pt>
                <c:pt idx="5278" formatCode="#,##0_);\(#,##0\);&quot;-  &quot;;&quot; &quot;@&quot; &quot;">
                  <c:v>0</c:v>
                </c:pt>
                <c:pt idx="5279" formatCode="#,##0_);\(#,##0\);&quot;-  &quot;;&quot; &quot;@&quot; &quot;">
                  <c:v>0</c:v>
                </c:pt>
                <c:pt idx="5280" formatCode="#,##0_);\(#,##0\);&quot;-  &quot;;&quot; &quot;@&quot; &quot;">
                  <c:v>0</c:v>
                </c:pt>
                <c:pt idx="5281" formatCode="#,##0_);\(#,##0\);&quot;-  &quot;;&quot; &quot;@&quot; &quot;">
                  <c:v>0</c:v>
                </c:pt>
                <c:pt idx="5282" formatCode="#,##0_);\(#,##0\);&quot;-  &quot;;&quot; &quot;@&quot; &quot;">
                  <c:v>0</c:v>
                </c:pt>
                <c:pt idx="5283" formatCode="#,##0_);\(#,##0\);&quot;-  &quot;;&quot; &quot;@&quot; &quot;">
                  <c:v>0</c:v>
                </c:pt>
                <c:pt idx="5284" formatCode="#,##0_);\(#,##0\);&quot;-  &quot;;&quot; &quot;@&quot; &quot;">
                  <c:v>0</c:v>
                </c:pt>
                <c:pt idx="5285" formatCode="#,##0_);\(#,##0\);&quot;-  &quot;;&quot; &quot;@&quot; &quot;">
                  <c:v>0</c:v>
                </c:pt>
                <c:pt idx="5286" formatCode="#,##0_);\(#,##0\);&quot;-  &quot;;&quot; &quot;@&quot; &quot;">
                  <c:v>0</c:v>
                </c:pt>
                <c:pt idx="5287" formatCode="#,##0_);\(#,##0\);&quot;-  &quot;;&quot; &quot;@&quot; &quot;">
                  <c:v>0</c:v>
                </c:pt>
                <c:pt idx="5288" formatCode="#,##0_);\(#,##0\);&quot;-  &quot;;&quot; &quot;@&quot; &quot;">
                  <c:v>0</c:v>
                </c:pt>
                <c:pt idx="5289" formatCode="#,##0_);\(#,##0\);&quot;-  &quot;;&quot; &quot;@&quot; &quot;">
                  <c:v>0</c:v>
                </c:pt>
                <c:pt idx="5290" formatCode="#,##0_);\(#,##0\);&quot;-  &quot;;&quot; &quot;@&quot; &quot;">
                  <c:v>0</c:v>
                </c:pt>
                <c:pt idx="5291" formatCode="#,##0_);\(#,##0\);&quot;-  &quot;;&quot; &quot;@&quot; &quot;">
                  <c:v>0</c:v>
                </c:pt>
                <c:pt idx="5292" formatCode="#,##0_);\(#,##0\);&quot;-  &quot;;&quot; &quot;@&quot; &quot;">
                  <c:v>0</c:v>
                </c:pt>
                <c:pt idx="5293" formatCode="#,##0_);\(#,##0\);&quot;-  &quot;;&quot; &quot;@&quot; &quot;">
                  <c:v>0</c:v>
                </c:pt>
                <c:pt idx="5294" formatCode="#,##0_);\(#,##0\);&quot;-  &quot;;&quot; &quot;@&quot; &quot;">
                  <c:v>0</c:v>
                </c:pt>
                <c:pt idx="5295" formatCode="#,##0_);\(#,##0\);&quot;-  &quot;;&quot; &quot;@&quot; &quot;">
                  <c:v>0</c:v>
                </c:pt>
                <c:pt idx="5296" formatCode="#,##0_);\(#,##0\);&quot;-  &quot;;&quot; &quot;@&quot; &quot;">
                  <c:v>0</c:v>
                </c:pt>
                <c:pt idx="5297" formatCode="#,##0_);\(#,##0\);&quot;-  &quot;;&quot; &quot;@&quot; &quot;">
                  <c:v>0</c:v>
                </c:pt>
                <c:pt idx="5298" formatCode="#,##0_);\(#,##0\);&quot;-  &quot;;&quot; &quot;@&quot; &quot;">
                  <c:v>0</c:v>
                </c:pt>
                <c:pt idx="5299" formatCode="#,##0_);\(#,##0\);&quot;-  &quot;;&quot; &quot;@&quot; &quot;">
                  <c:v>0</c:v>
                </c:pt>
                <c:pt idx="5300" formatCode="#,##0_);\(#,##0\);&quot;-  &quot;;&quot; &quot;@&quot; &quot;">
                  <c:v>0</c:v>
                </c:pt>
                <c:pt idx="5301" formatCode="#,##0_);\(#,##0\);&quot;-  &quot;;&quot; &quot;@&quot; &quot;">
                  <c:v>0</c:v>
                </c:pt>
                <c:pt idx="5302" formatCode="#,##0_);\(#,##0\);&quot;-  &quot;;&quot; &quot;@&quot; &quot;">
                  <c:v>0</c:v>
                </c:pt>
                <c:pt idx="5303" formatCode="#,##0_);\(#,##0\);&quot;-  &quot;;&quot; &quot;@&quot; &quot;">
                  <c:v>0</c:v>
                </c:pt>
                <c:pt idx="5304" formatCode="#,##0_);\(#,##0\);&quot;-  &quot;;&quot; &quot;@&quot; &quot;">
                  <c:v>0</c:v>
                </c:pt>
                <c:pt idx="5305" formatCode="#,##0_);\(#,##0\);&quot;-  &quot;;&quot; &quot;@&quot; &quot;">
                  <c:v>0</c:v>
                </c:pt>
                <c:pt idx="5306" formatCode="#,##0_);\(#,##0\);&quot;-  &quot;;&quot; &quot;@&quot; &quot;">
                  <c:v>0</c:v>
                </c:pt>
                <c:pt idx="5307" formatCode="#,##0_);\(#,##0\);&quot;-  &quot;;&quot; &quot;@&quot; &quot;">
                  <c:v>0</c:v>
                </c:pt>
                <c:pt idx="5308" formatCode="#,##0_);\(#,##0\);&quot;-  &quot;;&quot; &quot;@&quot; &quot;">
                  <c:v>0</c:v>
                </c:pt>
                <c:pt idx="5309" formatCode="#,##0_);\(#,##0\);&quot;-  &quot;;&quot; &quot;@&quot; &quot;">
                  <c:v>0</c:v>
                </c:pt>
                <c:pt idx="5310" formatCode="#,##0_);\(#,##0\);&quot;-  &quot;;&quot; &quot;@&quot; &quot;">
                  <c:v>0</c:v>
                </c:pt>
                <c:pt idx="5311" formatCode="#,##0_);\(#,##0\);&quot;-  &quot;;&quot; &quot;@&quot; &quot;">
                  <c:v>0</c:v>
                </c:pt>
                <c:pt idx="5312" formatCode="#,##0_);\(#,##0\);&quot;-  &quot;;&quot; &quot;@&quot; &quot;">
                  <c:v>0</c:v>
                </c:pt>
                <c:pt idx="5313" formatCode="#,##0_);\(#,##0\);&quot;-  &quot;;&quot; &quot;@&quot; &quot;">
                  <c:v>0</c:v>
                </c:pt>
                <c:pt idx="5314" formatCode="#,##0_);\(#,##0\);&quot;-  &quot;;&quot; &quot;@&quot; &quot;">
                  <c:v>0</c:v>
                </c:pt>
                <c:pt idx="5315" formatCode="#,##0_);\(#,##0\);&quot;-  &quot;;&quot; &quot;@&quot; &quot;">
                  <c:v>0</c:v>
                </c:pt>
                <c:pt idx="5316" formatCode="#,##0_);\(#,##0\);&quot;-  &quot;;&quot; &quot;@&quot; &quot;">
                  <c:v>0</c:v>
                </c:pt>
                <c:pt idx="5317" formatCode="#,##0_);\(#,##0\);&quot;-  &quot;;&quot; &quot;@&quot; &quot;">
                  <c:v>0</c:v>
                </c:pt>
                <c:pt idx="5318" formatCode="#,##0_);\(#,##0\);&quot;-  &quot;;&quot; &quot;@&quot; &quot;">
                  <c:v>0</c:v>
                </c:pt>
                <c:pt idx="5319" formatCode="#,##0_);\(#,##0\);&quot;-  &quot;;&quot; &quot;@&quot; &quot;">
                  <c:v>0</c:v>
                </c:pt>
                <c:pt idx="5320" formatCode="#,##0_);\(#,##0\);&quot;-  &quot;;&quot; &quot;@&quot; &quot;">
                  <c:v>0</c:v>
                </c:pt>
                <c:pt idx="5321" formatCode="#,##0_);\(#,##0\);&quot;-  &quot;;&quot; &quot;@&quot; &quot;">
                  <c:v>0</c:v>
                </c:pt>
                <c:pt idx="5322" formatCode="#,##0_);\(#,##0\);&quot;-  &quot;;&quot; &quot;@&quot; &quot;">
                  <c:v>0</c:v>
                </c:pt>
                <c:pt idx="5323" formatCode="#,##0_);\(#,##0\);&quot;-  &quot;;&quot; &quot;@&quot; &quot;">
                  <c:v>0</c:v>
                </c:pt>
                <c:pt idx="5324" formatCode="#,##0_);\(#,##0\);&quot;-  &quot;;&quot; &quot;@&quot; &quot;">
                  <c:v>0</c:v>
                </c:pt>
                <c:pt idx="5325" formatCode="#,##0_);\(#,##0\);&quot;-  &quot;;&quot; &quot;@&quot; &quot;">
                  <c:v>0</c:v>
                </c:pt>
                <c:pt idx="5326" formatCode="#,##0_);\(#,##0\);&quot;-  &quot;;&quot; &quot;@&quot; &quot;">
                  <c:v>0</c:v>
                </c:pt>
                <c:pt idx="5327" formatCode="#,##0_);\(#,##0\);&quot;-  &quot;;&quot; &quot;@&quot; &quot;">
                  <c:v>0</c:v>
                </c:pt>
                <c:pt idx="5328" formatCode="#,##0_);\(#,##0\);&quot;-  &quot;;&quot; &quot;@&quot; &quot;">
                  <c:v>0</c:v>
                </c:pt>
                <c:pt idx="5329" formatCode="#,##0_);\(#,##0\);&quot;-  &quot;;&quot; &quot;@&quot; &quot;">
                  <c:v>0</c:v>
                </c:pt>
                <c:pt idx="5330" formatCode="#,##0_);\(#,##0\);&quot;-  &quot;;&quot; &quot;@&quot; &quot;">
                  <c:v>0</c:v>
                </c:pt>
                <c:pt idx="5331" formatCode="#,##0_);\(#,##0\);&quot;-  &quot;;&quot; &quot;@&quot; &quot;">
                  <c:v>0</c:v>
                </c:pt>
                <c:pt idx="5332" formatCode="#,##0_);\(#,##0\);&quot;-  &quot;;&quot; &quot;@&quot; &quot;">
                  <c:v>0</c:v>
                </c:pt>
                <c:pt idx="5333" formatCode="#,##0_);\(#,##0\);&quot;-  &quot;;&quot; &quot;@&quot; &quot;">
                  <c:v>0</c:v>
                </c:pt>
                <c:pt idx="5334" formatCode="#,##0_);\(#,##0\);&quot;-  &quot;;&quot; &quot;@&quot; &quot;">
                  <c:v>0</c:v>
                </c:pt>
                <c:pt idx="5335" formatCode="#,##0_);\(#,##0\);&quot;-  &quot;;&quot; &quot;@&quot; &quot;">
                  <c:v>0</c:v>
                </c:pt>
                <c:pt idx="5336" formatCode="#,##0_);\(#,##0\);&quot;-  &quot;;&quot; &quot;@&quot; &quot;">
                  <c:v>0</c:v>
                </c:pt>
                <c:pt idx="5337" formatCode="#,##0_);\(#,##0\);&quot;-  &quot;;&quot; &quot;@&quot; &quot;">
                  <c:v>0</c:v>
                </c:pt>
                <c:pt idx="5338" formatCode="#,##0_);\(#,##0\);&quot;-  &quot;;&quot; &quot;@&quot; &quot;">
                  <c:v>0</c:v>
                </c:pt>
                <c:pt idx="5339" formatCode="#,##0_);\(#,##0\);&quot;-  &quot;;&quot; &quot;@&quot; &quot;">
                  <c:v>0</c:v>
                </c:pt>
                <c:pt idx="5340" formatCode="#,##0_);\(#,##0\);&quot;-  &quot;;&quot; &quot;@&quot; &quot;">
                  <c:v>0</c:v>
                </c:pt>
                <c:pt idx="5341" formatCode="#,##0_);\(#,##0\);&quot;-  &quot;;&quot; &quot;@&quot; &quot;">
                  <c:v>0</c:v>
                </c:pt>
                <c:pt idx="5342" formatCode="#,##0_);\(#,##0\);&quot;-  &quot;;&quot; &quot;@&quot; &quot;">
                  <c:v>0</c:v>
                </c:pt>
                <c:pt idx="5343" formatCode="#,##0_);\(#,##0\);&quot;-  &quot;;&quot; &quot;@&quot; &quot;">
                  <c:v>0</c:v>
                </c:pt>
                <c:pt idx="5344" formatCode="#,##0_);\(#,##0\);&quot;-  &quot;;&quot; &quot;@&quot; &quot;">
                  <c:v>0</c:v>
                </c:pt>
                <c:pt idx="5345" formatCode="#,##0_);\(#,##0\);&quot;-  &quot;;&quot; &quot;@&quot; &quot;">
                  <c:v>0</c:v>
                </c:pt>
                <c:pt idx="5346" formatCode="#,##0_);\(#,##0\);&quot;-  &quot;;&quot; &quot;@&quot; &quot;">
                  <c:v>0</c:v>
                </c:pt>
                <c:pt idx="5347" formatCode="#,##0_);\(#,##0\);&quot;-  &quot;;&quot; &quot;@&quot; &quot;">
                  <c:v>0</c:v>
                </c:pt>
                <c:pt idx="5348" formatCode="#,##0_);\(#,##0\);&quot;-  &quot;;&quot; &quot;@&quot; &quot;">
                  <c:v>0</c:v>
                </c:pt>
                <c:pt idx="5349" formatCode="#,##0_);\(#,##0\);&quot;-  &quot;;&quot; &quot;@&quot; &quot;">
                  <c:v>0</c:v>
                </c:pt>
                <c:pt idx="5350" formatCode="#,##0_);\(#,##0\);&quot;-  &quot;;&quot; &quot;@&quot; &quot;">
                  <c:v>0</c:v>
                </c:pt>
                <c:pt idx="5351" formatCode="#,##0_);\(#,##0\);&quot;-  &quot;;&quot; &quot;@&quot; &quot;">
                  <c:v>0</c:v>
                </c:pt>
                <c:pt idx="5352" formatCode="#,##0_);\(#,##0\);&quot;-  &quot;;&quot; &quot;@&quot; &quot;">
                  <c:v>0</c:v>
                </c:pt>
                <c:pt idx="5353" formatCode="#,##0_);\(#,##0\);&quot;-  &quot;;&quot; &quot;@&quot; &quot;">
                  <c:v>0</c:v>
                </c:pt>
                <c:pt idx="5354" formatCode="#,##0_);\(#,##0\);&quot;-  &quot;;&quot; &quot;@&quot; &quot;">
                  <c:v>0</c:v>
                </c:pt>
                <c:pt idx="5355" formatCode="#,##0_);\(#,##0\);&quot;-  &quot;;&quot; &quot;@&quot; &quot;">
                  <c:v>0</c:v>
                </c:pt>
                <c:pt idx="5356" formatCode="#,##0_);\(#,##0\);&quot;-  &quot;;&quot; &quot;@&quot; &quot;">
                  <c:v>0</c:v>
                </c:pt>
                <c:pt idx="5357" formatCode="#,##0_);\(#,##0\);&quot;-  &quot;;&quot; &quot;@&quot; &quot;">
                  <c:v>0</c:v>
                </c:pt>
                <c:pt idx="5358" formatCode="#,##0_);\(#,##0\);&quot;-  &quot;;&quot; &quot;@&quot; &quot;">
                  <c:v>0</c:v>
                </c:pt>
                <c:pt idx="5359" formatCode="#,##0_);\(#,##0\);&quot;-  &quot;;&quot; &quot;@&quot; &quot;">
                  <c:v>0</c:v>
                </c:pt>
                <c:pt idx="5360" formatCode="#,##0_);\(#,##0\);&quot;-  &quot;;&quot; &quot;@&quot; &quot;">
                  <c:v>0</c:v>
                </c:pt>
                <c:pt idx="5361" formatCode="#,##0_);\(#,##0\);&quot;-  &quot;;&quot; &quot;@&quot; &quot;">
                  <c:v>0</c:v>
                </c:pt>
                <c:pt idx="5362" formatCode="#,##0_);\(#,##0\);&quot;-  &quot;;&quot; &quot;@&quot; &quot;">
                  <c:v>0</c:v>
                </c:pt>
                <c:pt idx="5363" formatCode="#,##0_);\(#,##0\);&quot;-  &quot;;&quot; &quot;@&quot; &quot;">
                  <c:v>0</c:v>
                </c:pt>
                <c:pt idx="5364" formatCode="#,##0_);\(#,##0\);&quot;-  &quot;;&quot; &quot;@&quot; &quot;">
                  <c:v>0</c:v>
                </c:pt>
                <c:pt idx="5365" formatCode="#,##0_);\(#,##0\);&quot;-  &quot;;&quot; &quot;@&quot; &quot;">
                  <c:v>0</c:v>
                </c:pt>
                <c:pt idx="5366" formatCode="#,##0_);\(#,##0\);&quot;-  &quot;;&quot; &quot;@&quot; &quot;">
                  <c:v>0</c:v>
                </c:pt>
                <c:pt idx="5367" formatCode="#,##0_);\(#,##0\);&quot;-  &quot;;&quot; &quot;@&quot; &quot;">
                  <c:v>0</c:v>
                </c:pt>
                <c:pt idx="5368" formatCode="#,##0_);\(#,##0\);&quot;-  &quot;;&quot; &quot;@&quot; &quot;">
                  <c:v>0</c:v>
                </c:pt>
                <c:pt idx="5369" formatCode="#,##0_);\(#,##0\);&quot;-  &quot;;&quot; &quot;@&quot; &quot;">
                  <c:v>0</c:v>
                </c:pt>
                <c:pt idx="5370" formatCode="#,##0_);\(#,##0\);&quot;-  &quot;;&quot; &quot;@&quot; &quot;">
                  <c:v>0</c:v>
                </c:pt>
                <c:pt idx="5371" formatCode="#,##0_);\(#,##0\);&quot;-  &quot;;&quot; &quot;@&quot; &quot;">
                  <c:v>0</c:v>
                </c:pt>
                <c:pt idx="5372" formatCode="#,##0_);\(#,##0\);&quot;-  &quot;;&quot; &quot;@&quot; &quot;">
                  <c:v>0</c:v>
                </c:pt>
                <c:pt idx="5373" formatCode="#,##0_);\(#,##0\);&quot;-  &quot;;&quot; &quot;@&quot; &quot;">
                  <c:v>0</c:v>
                </c:pt>
                <c:pt idx="5374" formatCode="#,##0_);\(#,##0\);&quot;-  &quot;;&quot; &quot;@&quot; &quot;">
                  <c:v>0</c:v>
                </c:pt>
                <c:pt idx="5375" formatCode="#,##0_);\(#,##0\);&quot;-  &quot;;&quot; &quot;@&quot; &quot;">
                  <c:v>0</c:v>
                </c:pt>
                <c:pt idx="5376" formatCode="#,##0_);\(#,##0\);&quot;-  &quot;;&quot; &quot;@&quot; &quot;">
                  <c:v>0</c:v>
                </c:pt>
                <c:pt idx="5377" formatCode="#,##0_);\(#,##0\);&quot;-  &quot;;&quot; &quot;@&quot; &quot;">
                  <c:v>0</c:v>
                </c:pt>
                <c:pt idx="5378" formatCode="#,##0_);\(#,##0\);&quot;-  &quot;;&quot; &quot;@&quot; &quot;">
                  <c:v>0</c:v>
                </c:pt>
                <c:pt idx="5379" formatCode="#,##0_);\(#,##0\);&quot;-  &quot;;&quot; &quot;@&quot; &quot;">
                  <c:v>0</c:v>
                </c:pt>
                <c:pt idx="5380" formatCode="#,##0_);\(#,##0\);&quot;-  &quot;;&quot; &quot;@&quot; &quot;">
                  <c:v>0</c:v>
                </c:pt>
                <c:pt idx="5381" formatCode="#,##0_);\(#,##0\);&quot;-  &quot;;&quot; &quot;@&quot; &quot;">
                  <c:v>0</c:v>
                </c:pt>
                <c:pt idx="5382" formatCode="#,##0_);\(#,##0\);&quot;-  &quot;;&quot; &quot;@&quot; &quot;">
                  <c:v>0</c:v>
                </c:pt>
                <c:pt idx="5383" formatCode="#,##0_);\(#,##0\);&quot;-  &quot;;&quot; &quot;@&quot; &quot;">
                  <c:v>0</c:v>
                </c:pt>
                <c:pt idx="5384" formatCode="#,##0_);\(#,##0\);&quot;-  &quot;;&quot; &quot;@&quot; &quot;">
                  <c:v>0</c:v>
                </c:pt>
                <c:pt idx="5385" formatCode="#,##0_);\(#,##0\);&quot;-  &quot;;&quot; &quot;@&quot; &quot;">
                  <c:v>0</c:v>
                </c:pt>
                <c:pt idx="5386" formatCode="#,##0_);\(#,##0\);&quot;-  &quot;;&quot; &quot;@&quot; &quot;">
                  <c:v>0</c:v>
                </c:pt>
                <c:pt idx="5387" formatCode="#,##0_);\(#,##0\);&quot;-  &quot;;&quot; &quot;@&quot; &quot;">
                  <c:v>0</c:v>
                </c:pt>
                <c:pt idx="5388" formatCode="#,##0_);\(#,##0\);&quot;-  &quot;;&quot; &quot;@&quot; &quot;">
                  <c:v>0</c:v>
                </c:pt>
                <c:pt idx="5389" formatCode="#,##0_);\(#,##0\);&quot;-  &quot;;&quot; &quot;@&quot; &quot;">
                  <c:v>0</c:v>
                </c:pt>
                <c:pt idx="5390" formatCode="#,##0_);\(#,##0\);&quot;-  &quot;;&quot; &quot;@&quot; &quot;">
                  <c:v>0</c:v>
                </c:pt>
                <c:pt idx="5391" formatCode="#,##0_);\(#,##0\);&quot;-  &quot;;&quot; &quot;@&quot; &quot;">
                  <c:v>0</c:v>
                </c:pt>
                <c:pt idx="5392" formatCode="#,##0_);\(#,##0\);&quot;-  &quot;;&quot; &quot;@&quot; &quot;">
                  <c:v>0</c:v>
                </c:pt>
                <c:pt idx="5393" formatCode="#,##0_);\(#,##0\);&quot;-  &quot;;&quot; &quot;@&quot; &quot;">
                  <c:v>0</c:v>
                </c:pt>
                <c:pt idx="5394" formatCode="#,##0_);\(#,##0\);&quot;-  &quot;;&quot; &quot;@&quot; &quot;">
                  <c:v>0</c:v>
                </c:pt>
                <c:pt idx="5395" formatCode="#,##0_);\(#,##0\);&quot;-  &quot;;&quot; &quot;@&quot; &quot;">
                  <c:v>0</c:v>
                </c:pt>
                <c:pt idx="5396" formatCode="#,##0_);\(#,##0\);&quot;-  &quot;;&quot; &quot;@&quot; &quot;">
                  <c:v>0</c:v>
                </c:pt>
                <c:pt idx="5397" formatCode="#,##0_);\(#,##0\);&quot;-  &quot;;&quot; &quot;@&quot; &quot;">
                  <c:v>0</c:v>
                </c:pt>
                <c:pt idx="5398" formatCode="#,##0_);\(#,##0\);&quot;-  &quot;;&quot; &quot;@&quot; &quot;">
                  <c:v>0</c:v>
                </c:pt>
                <c:pt idx="5399" formatCode="#,##0_);\(#,##0\);&quot;-  &quot;;&quot; &quot;@&quot; &quot;">
                  <c:v>0</c:v>
                </c:pt>
                <c:pt idx="5400" formatCode="#,##0_);\(#,##0\);&quot;-  &quot;;&quot; &quot;@&quot; &quot;">
                  <c:v>0</c:v>
                </c:pt>
                <c:pt idx="5401" formatCode="#,##0_);\(#,##0\);&quot;-  &quot;;&quot; &quot;@&quot; &quot;">
                  <c:v>0</c:v>
                </c:pt>
                <c:pt idx="5402" formatCode="#,##0_);\(#,##0\);&quot;-  &quot;;&quot; &quot;@&quot; &quot;">
                  <c:v>0</c:v>
                </c:pt>
                <c:pt idx="5403" formatCode="#,##0_);\(#,##0\);&quot;-  &quot;;&quot; &quot;@&quot; &quot;">
                  <c:v>0</c:v>
                </c:pt>
                <c:pt idx="5404" formatCode="#,##0_);\(#,##0\);&quot;-  &quot;;&quot; &quot;@&quot; &quot;">
                  <c:v>0</c:v>
                </c:pt>
                <c:pt idx="5405" formatCode="#,##0_);\(#,##0\);&quot;-  &quot;;&quot; &quot;@&quot; &quot;">
                  <c:v>0</c:v>
                </c:pt>
                <c:pt idx="5406" formatCode="#,##0_);\(#,##0\);&quot;-  &quot;;&quot; &quot;@&quot; &quot;">
                  <c:v>0</c:v>
                </c:pt>
                <c:pt idx="5407" formatCode="#,##0_);\(#,##0\);&quot;-  &quot;;&quot; &quot;@&quot; &quot;">
                  <c:v>0</c:v>
                </c:pt>
                <c:pt idx="5408" formatCode="#,##0_);\(#,##0\);&quot;-  &quot;;&quot; &quot;@&quot; &quot;">
                  <c:v>0</c:v>
                </c:pt>
                <c:pt idx="5409" formatCode="#,##0_);\(#,##0\);&quot;-  &quot;;&quot; &quot;@&quot; &quot;">
                  <c:v>0</c:v>
                </c:pt>
                <c:pt idx="5410" formatCode="#,##0_);\(#,##0\);&quot;-  &quot;;&quot; &quot;@&quot; &quot;">
                  <c:v>0</c:v>
                </c:pt>
                <c:pt idx="5411" formatCode="#,##0_);\(#,##0\);&quot;-  &quot;;&quot; &quot;@&quot; &quot;">
                  <c:v>0</c:v>
                </c:pt>
                <c:pt idx="5412" formatCode="#,##0_);\(#,##0\);&quot;-  &quot;;&quot; &quot;@&quot; &quot;">
                  <c:v>0</c:v>
                </c:pt>
                <c:pt idx="5413" formatCode="#,##0_);\(#,##0\);&quot;-  &quot;;&quot; &quot;@&quot; &quot;">
                  <c:v>0</c:v>
                </c:pt>
                <c:pt idx="5414" formatCode="#,##0_);\(#,##0\);&quot;-  &quot;;&quot; &quot;@&quot; &quot;">
                  <c:v>0</c:v>
                </c:pt>
                <c:pt idx="5415" formatCode="#,##0_);\(#,##0\);&quot;-  &quot;;&quot; &quot;@&quot; &quot;">
                  <c:v>0</c:v>
                </c:pt>
                <c:pt idx="5416" formatCode="#,##0_);\(#,##0\);&quot;-  &quot;;&quot; &quot;@&quot; &quot;">
                  <c:v>0</c:v>
                </c:pt>
                <c:pt idx="5417" formatCode="#,##0_);\(#,##0\);&quot;-  &quot;;&quot; &quot;@&quot; &quot;">
                  <c:v>0</c:v>
                </c:pt>
                <c:pt idx="5418" formatCode="#,##0_);\(#,##0\);&quot;-  &quot;;&quot; &quot;@&quot; &quot;">
                  <c:v>0</c:v>
                </c:pt>
                <c:pt idx="5419" formatCode="#,##0_);\(#,##0\);&quot;-  &quot;;&quot; &quot;@&quot; &quot;">
                  <c:v>0</c:v>
                </c:pt>
                <c:pt idx="5420" formatCode="#,##0_);\(#,##0\);&quot;-  &quot;;&quot; &quot;@&quot; &quot;">
                  <c:v>0</c:v>
                </c:pt>
                <c:pt idx="5421" formatCode="#,##0_);\(#,##0\);&quot;-  &quot;;&quot; &quot;@&quot; &quot;">
                  <c:v>0</c:v>
                </c:pt>
                <c:pt idx="5422" formatCode="#,##0_);\(#,##0\);&quot;-  &quot;;&quot; &quot;@&quot; &quot;">
                  <c:v>0</c:v>
                </c:pt>
                <c:pt idx="5423" formatCode="#,##0_);\(#,##0\);&quot;-  &quot;;&quot; &quot;@&quot; &quot;">
                  <c:v>0</c:v>
                </c:pt>
                <c:pt idx="5424" formatCode="#,##0_);\(#,##0\);&quot;-  &quot;;&quot; &quot;@&quot; &quot;">
                  <c:v>0</c:v>
                </c:pt>
                <c:pt idx="5425" formatCode="#,##0_);\(#,##0\);&quot;-  &quot;;&quot; &quot;@&quot; &quot;">
                  <c:v>0</c:v>
                </c:pt>
                <c:pt idx="5426" formatCode="#,##0_);\(#,##0\);&quot;-  &quot;;&quot; &quot;@&quot; &quot;">
                  <c:v>0</c:v>
                </c:pt>
                <c:pt idx="5427" formatCode="#,##0_);\(#,##0\);&quot;-  &quot;;&quot; &quot;@&quot; &quot;">
                  <c:v>0</c:v>
                </c:pt>
                <c:pt idx="5428" formatCode="#,##0_);\(#,##0\);&quot;-  &quot;;&quot; &quot;@&quot; &quot;">
                  <c:v>0</c:v>
                </c:pt>
                <c:pt idx="5429" formatCode="#,##0_);\(#,##0\);&quot;-  &quot;;&quot; &quot;@&quot; &quot;">
                  <c:v>0</c:v>
                </c:pt>
                <c:pt idx="5430" formatCode="#,##0_);\(#,##0\);&quot;-  &quot;;&quot; &quot;@&quot; &quot;">
                  <c:v>0</c:v>
                </c:pt>
                <c:pt idx="5431" formatCode="#,##0_);\(#,##0\);&quot;-  &quot;;&quot; &quot;@&quot; &quot;">
                  <c:v>0</c:v>
                </c:pt>
                <c:pt idx="5432" formatCode="#,##0_);\(#,##0\);&quot;-  &quot;;&quot; &quot;@&quot; &quot;">
                  <c:v>0</c:v>
                </c:pt>
                <c:pt idx="5433" formatCode="#,##0_);\(#,##0\);&quot;-  &quot;;&quot; &quot;@&quot; &quot;">
                  <c:v>0</c:v>
                </c:pt>
                <c:pt idx="5434" formatCode="#,##0_);\(#,##0\);&quot;-  &quot;;&quot; &quot;@&quot; &quot;">
                  <c:v>0</c:v>
                </c:pt>
                <c:pt idx="5435" formatCode="#,##0_);\(#,##0\);&quot;-  &quot;;&quot; &quot;@&quot; &quot;">
                  <c:v>0</c:v>
                </c:pt>
                <c:pt idx="5436" formatCode="#,##0_);\(#,##0\);&quot;-  &quot;;&quot; &quot;@&quot; &quot;">
                  <c:v>0</c:v>
                </c:pt>
                <c:pt idx="5437" formatCode="#,##0_);\(#,##0\);&quot;-  &quot;;&quot; &quot;@&quot; &quot;">
                  <c:v>0</c:v>
                </c:pt>
                <c:pt idx="5438" formatCode="#,##0_);\(#,##0\);&quot;-  &quot;;&quot; &quot;@&quot; &quot;">
                  <c:v>0</c:v>
                </c:pt>
                <c:pt idx="5439" formatCode="#,##0_);\(#,##0\);&quot;-  &quot;;&quot; &quot;@&quot; &quot;">
                  <c:v>0</c:v>
                </c:pt>
                <c:pt idx="5440" formatCode="#,##0_);\(#,##0\);&quot;-  &quot;;&quot; &quot;@&quot; &quot;">
                  <c:v>0</c:v>
                </c:pt>
                <c:pt idx="5441" formatCode="#,##0_);\(#,##0\);&quot;-  &quot;;&quot; &quot;@&quot; &quot;">
                  <c:v>0</c:v>
                </c:pt>
                <c:pt idx="5442" formatCode="#,##0_);\(#,##0\);&quot;-  &quot;;&quot; &quot;@&quot; &quot;">
                  <c:v>0</c:v>
                </c:pt>
                <c:pt idx="5443" formatCode="#,##0_);\(#,##0\);&quot;-  &quot;;&quot; &quot;@&quot; &quot;">
                  <c:v>0</c:v>
                </c:pt>
                <c:pt idx="5444" formatCode="#,##0_);\(#,##0\);&quot;-  &quot;;&quot; &quot;@&quot; &quot;">
                  <c:v>0</c:v>
                </c:pt>
                <c:pt idx="5445" formatCode="#,##0_);\(#,##0\);&quot;-  &quot;;&quot; &quot;@&quot; &quot;">
                  <c:v>0</c:v>
                </c:pt>
                <c:pt idx="5446" formatCode="#,##0_);\(#,##0\);&quot;-  &quot;;&quot; &quot;@&quot; &quot;">
                  <c:v>0</c:v>
                </c:pt>
                <c:pt idx="5447" formatCode="#,##0_);\(#,##0\);&quot;-  &quot;;&quot; &quot;@&quot; &quot;">
                  <c:v>0</c:v>
                </c:pt>
                <c:pt idx="5448" formatCode="#,##0_);\(#,##0\);&quot;-  &quot;;&quot; &quot;@&quot; &quot;">
                  <c:v>0</c:v>
                </c:pt>
                <c:pt idx="5449" formatCode="#,##0_);\(#,##0\);&quot;-  &quot;;&quot; &quot;@&quot; &quot;">
                  <c:v>0</c:v>
                </c:pt>
                <c:pt idx="5450" formatCode="#,##0_);\(#,##0\);&quot;-  &quot;;&quot; &quot;@&quot; &quot;">
                  <c:v>0</c:v>
                </c:pt>
                <c:pt idx="5451" formatCode="#,##0_);\(#,##0\);&quot;-  &quot;;&quot; &quot;@&quot; &quot;">
                  <c:v>0</c:v>
                </c:pt>
                <c:pt idx="5452" formatCode="#,##0_);\(#,##0\);&quot;-  &quot;;&quot; &quot;@&quot; &quot;">
                  <c:v>0</c:v>
                </c:pt>
                <c:pt idx="5453" formatCode="#,##0_);\(#,##0\);&quot;-  &quot;;&quot; &quot;@&quot; &quot;">
                  <c:v>0</c:v>
                </c:pt>
                <c:pt idx="5454" formatCode="#,##0_);\(#,##0\);&quot;-  &quot;;&quot; &quot;@&quot; &quot;">
                  <c:v>0</c:v>
                </c:pt>
                <c:pt idx="5455" formatCode="#,##0_);\(#,##0\);&quot;-  &quot;;&quot; &quot;@&quot; &quot;">
                  <c:v>0</c:v>
                </c:pt>
                <c:pt idx="5456" formatCode="#,##0_);\(#,##0\);&quot;-  &quot;;&quot; &quot;@&quot; &quot;">
                  <c:v>0</c:v>
                </c:pt>
                <c:pt idx="5457" formatCode="#,##0_);\(#,##0\);&quot;-  &quot;;&quot; &quot;@&quot; &quot;">
                  <c:v>0</c:v>
                </c:pt>
                <c:pt idx="5458" formatCode="#,##0_);\(#,##0\);&quot;-  &quot;;&quot; &quot;@&quot; &quot;">
                  <c:v>0</c:v>
                </c:pt>
                <c:pt idx="5459" formatCode="#,##0_);\(#,##0\);&quot;-  &quot;;&quot; &quot;@&quot; &quot;">
                  <c:v>0</c:v>
                </c:pt>
                <c:pt idx="5460" formatCode="#,##0_);\(#,##0\);&quot;-  &quot;;&quot; &quot;@&quot; &quot;">
                  <c:v>0</c:v>
                </c:pt>
                <c:pt idx="5461" formatCode="#,##0_);\(#,##0\);&quot;-  &quot;;&quot; &quot;@&quot; &quot;">
                  <c:v>0</c:v>
                </c:pt>
                <c:pt idx="5462" formatCode="#,##0_);\(#,##0\);&quot;-  &quot;;&quot; &quot;@&quot; &quot;">
                  <c:v>0</c:v>
                </c:pt>
                <c:pt idx="5463" formatCode="#,##0_);\(#,##0\);&quot;-  &quot;;&quot; &quot;@&quot; &quot;">
                  <c:v>0</c:v>
                </c:pt>
                <c:pt idx="5464" formatCode="#,##0_);\(#,##0\);&quot;-  &quot;;&quot; &quot;@&quot; &quot;">
                  <c:v>0</c:v>
                </c:pt>
                <c:pt idx="5465" formatCode="#,##0_);\(#,##0\);&quot;-  &quot;;&quot; &quot;@&quot; &quot;">
                  <c:v>0</c:v>
                </c:pt>
                <c:pt idx="5466" formatCode="#,##0_);\(#,##0\);&quot;-  &quot;;&quot; &quot;@&quot; &quot;">
                  <c:v>0</c:v>
                </c:pt>
                <c:pt idx="5467" formatCode="#,##0_);\(#,##0\);&quot;-  &quot;;&quot; &quot;@&quot; &quot;">
                  <c:v>0</c:v>
                </c:pt>
                <c:pt idx="5468" formatCode="#,##0_);\(#,##0\);&quot;-  &quot;;&quot; &quot;@&quot; &quot;">
                  <c:v>0</c:v>
                </c:pt>
                <c:pt idx="5469" formatCode="#,##0_);\(#,##0\);&quot;-  &quot;;&quot; &quot;@&quot; &quot;">
                  <c:v>0</c:v>
                </c:pt>
                <c:pt idx="5470" formatCode="#,##0_);\(#,##0\);&quot;-  &quot;;&quot; &quot;@&quot; &quot;">
                  <c:v>0</c:v>
                </c:pt>
                <c:pt idx="5471" formatCode="#,##0_);\(#,##0\);&quot;-  &quot;;&quot; &quot;@&quot; &quot;">
                  <c:v>0</c:v>
                </c:pt>
                <c:pt idx="5472" formatCode="#,##0_);\(#,##0\);&quot;-  &quot;;&quot; &quot;@&quot; &quot;">
                  <c:v>0</c:v>
                </c:pt>
                <c:pt idx="5473" formatCode="#,##0_);\(#,##0\);&quot;-  &quot;;&quot; &quot;@&quot; &quot;">
                  <c:v>0</c:v>
                </c:pt>
                <c:pt idx="5474" formatCode="#,##0_);\(#,##0\);&quot;-  &quot;;&quot; &quot;@&quot; &quot;">
                  <c:v>0</c:v>
                </c:pt>
                <c:pt idx="5475" formatCode="#,##0_);\(#,##0\);&quot;-  &quot;;&quot; &quot;@&quot; &quot;">
                  <c:v>0</c:v>
                </c:pt>
                <c:pt idx="5476" formatCode="#,##0_);\(#,##0\);&quot;-  &quot;;&quot; &quot;@&quot; &quot;">
                  <c:v>0</c:v>
                </c:pt>
                <c:pt idx="5477" formatCode="#,##0_);\(#,##0\);&quot;-  &quot;;&quot; &quot;@&quot; &quot;">
                  <c:v>0</c:v>
                </c:pt>
                <c:pt idx="5478" formatCode="#,##0_);\(#,##0\);&quot;-  &quot;;&quot; &quot;@&quot; &quot;">
                  <c:v>0</c:v>
                </c:pt>
                <c:pt idx="5479" formatCode="#,##0_);\(#,##0\);&quot;-  &quot;;&quot; &quot;@&quot; &quot;">
                  <c:v>0</c:v>
                </c:pt>
                <c:pt idx="5480" formatCode="#,##0_);\(#,##0\);&quot;-  &quot;;&quot; &quot;@&quot; &quot;">
                  <c:v>0</c:v>
                </c:pt>
                <c:pt idx="5481" formatCode="#,##0_);\(#,##0\);&quot;-  &quot;;&quot; &quot;@&quot; &quot;">
                  <c:v>0</c:v>
                </c:pt>
                <c:pt idx="5482" formatCode="#,##0_);\(#,##0\);&quot;-  &quot;;&quot; &quot;@&quot; &quot;">
                  <c:v>0</c:v>
                </c:pt>
                <c:pt idx="5483" formatCode="#,##0_);\(#,##0\);&quot;-  &quot;;&quot; &quot;@&quot; &quot;">
                  <c:v>0</c:v>
                </c:pt>
                <c:pt idx="5484" formatCode="#,##0_);\(#,##0\);&quot;-  &quot;;&quot; &quot;@&quot; &quot;">
                  <c:v>0</c:v>
                </c:pt>
                <c:pt idx="5485" formatCode="#,##0_);\(#,##0\);&quot;-  &quot;;&quot; &quot;@&quot; &quot;">
                  <c:v>0</c:v>
                </c:pt>
                <c:pt idx="5486" formatCode="#,##0_);\(#,##0\);&quot;-  &quot;;&quot; &quot;@&quot; &quot;">
                  <c:v>0</c:v>
                </c:pt>
                <c:pt idx="5487" formatCode="#,##0_);\(#,##0\);&quot;-  &quot;;&quot; &quot;@&quot; &quot;">
                  <c:v>0</c:v>
                </c:pt>
                <c:pt idx="5488" formatCode="#,##0_);\(#,##0\);&quot;-  &quot;;&quot; &quot;@&quot; &quot;">
                  <c:v>0</c:v>
                </c:pt>
                <c:pt idx="5489" formatCode="#,##0_);\(#,##0\);&quot;-  &quot;;&quot; &quot;@&quot; &quot;">
                  <c:v>0</c:v>
                </c:pt>
                <c:pt idx="5490" formatCode="#,##0_);\(#,##0\);&quot;-  &quot;;&quot; &quot;@&quot; &quot;">
                  <c:v>0</c:v>
                </c:pt>
                <c:pt idx="5491" formatCode="#,##0_);\(#,##0\);&quot;-  &quot;;&quot; &quot;@&quot; &quot;">
                  <c:v>0</c:v>
                </c:pt>
                <c:pt idx="5492" formatCode="#,##0_);\(#,##0\);&quot;-  &quot;;&quot; &quot;@&quot; &quot;">
                  <c:v>0</c:v>
                </c:pt>
                <c:pt idx="5493" formatCode="#,##0_);\(#,##0\);&quot;-  &quot;;&quot; &quot;@&quot; &quot;">
                  <c:v>0</c:v>
                </c:pt>
                <c:pt idx="5494" formatCode="#,##0_);\(#,##0\);&quot;-  &quot;;&quot; &quot;@&quot; &quot;">
                  <c:v>0</c:v>
                </c:pt>
                <c:pt idx="5495" formatCode="#,##0_);\(#,##0\);&quot;-  &quot;;&quot; &quot;@&quot; &quot;">
                  <c:v>0</c:v>
                </c:pt>
                <c:pt idx="5496" formatCode="#,##0_);\(#,##0\);&quot;-  &quot;;&quot; &quot;@&quot; &quot;">
                  <c:v>0</c:v>
                </c:pt>
                <c:pt idx="5497" formatCode="#,##0_);\(#,##0\);&quot;-  &quot;;&quot; &quot;@&quot; &quot;">
                  <c:v>0</c:v>
                </c:pt>
                <c:pt idx="5498" formatCode="#,##0_);\(#,##0\);&quot;-  &quot;;&quot; &quot;@&quot; &quot;">
                  <c:v>0</c:v>
                </c:pt>
                <c:pt idx="5499" formatCode="#,##0_);\(#,##0\);&quot;-  &quot;;&quot; &quot;@&quot; &quot;">
                  <c:v>0</c:v>
                </c:pt>
                <c:pt idx="5500" formatCode="#,##0_);\(#,##0\);&quot;-  &quot;;&quot; &quot;@&quot; &quot;">
                  <c:v>0</c:v>
                </c:pt>
                <c:pt idx="5501" formatCode="#,##0_);\(#,##0\);&quot;-  &quot;;&quot; &quot;@&quot; &quot;">
                  <c:v>0</c:v>
                </c:pt>
                <c:pt idx="5502" formatCode="#,##0_);\(#,##0\);&quot;-  &quot;;&quot; &quot;@&quot; &quot;">
                  <c:v>0</c:v>
                </c:pt>
                <c:pt idx="5503" formatCode="#,##0_);\(#,##0\);&quot;-  &quot;;&quot; &quot;@&quot; &quot;">
                  <c:v>0</c:v>
                </c:pt>
                <c:pt idx="5504" formatCode="#,##0_);\(#,##0\);&quot;-  &quot;;&quot; &quot;@&quot; &quot;">
                  <c:v>0</c:v>
                </c:pt>
                <c:pt idx="5505" formatCode="#,##0_);\(#,##0\);&quot;-  &quot;;&quot; &quot;@&quot; &quot;">
                  <c:v>0</c:v>
                </c:pt>
                <c:pt idx="5506" formatCode="#,##0_);\(#,##0\);&quot;-  &quot;;&quot; &quot;@&quot; &quot;">
                  <c:v>0</c:v>
                </c:pt>
                <c:pt idx="5507" formatCode="#,##0_);\(#,##0\);&quot;-  &quot;;&quot; &quot;@&quot; &quot;">
                  <c:v>0</c:v>
                </c:pt>
                <c:pt idx="5508" formatCode="#,##0_);\(#,##0\);&quot;-  &quot;;&quot; &quot;@&quot; &quot;">
                  <c:v>0</c:v>
                </c:pt>
                <c:pt idx="5509" formatCode="#,##0_);\(#,##0\);&quot;-  &quot;;&quot; &quot;@&quot; &quot;">
                  <c:v>0</c:v>
                </c:pt>
                <c:pt idx="5510" formatCode="#,##0_);\(#,##0\);&quot;-  &quot;;&quot; &quot;@&quot; &quot;">
                  <c:v>0</c:v>
                </c:pt>
                <c:pt idx="5511" formatCode="#,##0_);\(#,##0\);&quot;-  &quot;;&quot; &quot;@&quot; &quot;">
                  <c:v>0</c:v>
                </c:pt>
                <c:pt idx="5512" formatCode="#,##0_);\(#,##0\);&quot;-  &quot;;&quot; &quot;@&quot; &quot;">
                  <c:v>0</c:v>
                </c:pt>
                <c:pt idx="5513" formatCode="#,##0_);\(#,##0\);&quot;-  &quot;;&quot; &quot;@&quot; &quot;">
                  <c:v>0</c:v>
                </c:pt>
                <c:pt idx="5514" formatCode="#,##0_);\(#,##0\);&quot;-  &quot;;&quot; &quot;@&quot; &quot;">
                  <c:v>0</c:v>
                </c:pt>
                <c:pt idx="5515" formatCode="#,##0_);\(#,##0\);&quot;-  &quot;;&quot; &quot;@&quot; &quot;">
                  <c:v>0</c:v>
                </c:pt>
                <c:pt idx="5516" formatCode="#,##0_);\(#,##0\);&quot;-  &quot;;&quot; &quot;@&quot; &quot;">
                  <c:v>0</c:v>
                </c:pt>
                <c:pt idx="5517" formatCode="#,##0_);\(#,##0\);&quot;-  &quot;;&quot; &quot;@&quot; &quot;">
                  <c:v>0</c:v>
                </c:pt>
                <c:pt idx="5518" formatCode="#,##0_);\(#,##0\);&quot;-  &quot;;&quot; &quot;@&quot; &quot;">
                  <c:v>0</c:v>
                </c:pt>
                <c:pt idx="5519" formatCode="#,##0_);\(#,##0\);&quot;-  &quot;;&quot; &quot;@&quot; &quot;">
                  <c:v>0</c:v>
                </c:pt>
                <c:pt idx="5520" formatCode="#,##0_);\(#,##0\);&quot;-  &quot;;&quot; &quot;@&quot; &quot;">
                  <c:v>0</c:v>
                </c:pt>
                <c:pt idx="5521" formatCode="#,##0_);\(#,##0\);&quot;-  &quot;;&quot; &quot;@&quot; &quot;">
                  <c:v>0</c:v>
                </c:pt>
                <c:pt idx="5522" formatCode="#,##0_);\(#,##0\);&quot;-  &quot;;&quot; &quot;@&quot; &quot;">
                  <c:v>0</c:v>
                </c:pt>
                <c:pt idx="5523" formatCode="#,##0_);\(#,##0\);&quot;-  &quot;;&quot; &quot;@&quot; &quot;">
                  <c:v>0</c:v>
                </c:pt>
                <c:pt idx="5524" formatCode="#,##0_);\(#,##0\);&quot;-  &quot;;&quot; &quot;@&quot; &quot;">
                  <c:v>0</c:v>
                </c:pt>
                <c:pt idx="5525" formatCode="#,##0_);\(#,##0\);&quot;-  &quot;;&quot; &quot;@&quot; &quot;">
                  <c:v>0</c:v>
                </c:pt>
                <c:pt idx="5526" formatCode="#,##0_);\(#,##0\);&quot;-  &quot;;&quot; &quot;@&quot; &quot;">
                  <c:v>0</c:v>
                </c:pt>
                <c:pt idx="5527" formatCode="#,##0_);\(#,##0\);&quot;-  &quot;;&quot; &quot;@&quot; &quot;">
                  <c:v>0</c:v>
                </c:pt>
                <c:pt idx="5528" formatCode="#,##0_);\(#,##0\);&quot;-  &quot;;&quot; &quot;@&quot; &quot;">
                  <c:v>0</c:v>
                </c:pt>
                <c:pt idx="5529" formatCode="#,##0_);\(#,##0\);&quot;-  &quot;;&quot; &quot;@&quot; &quot;">
                  <c:v>0</c:v>
                </c:pt>
                <c:pt idx="5530" formatCode="#,##0_);\(#,##0\);&quot;-  &quot;;&quot; &quot;@&quot; &quot;">
                  <c:v>0</c:v>
                </c:pt>
                <c:pt idx="5531" formatCode="#,##0_);\(#,##0\);&quot;-  &quot;;&quot; &quot;@&quot; &quot;">
                  <c:v>0</c:v>
                </c:pt>
                <c:pt idx="5532" formatCode="#,##0_);\(#,##0\);&quot;-  &quot;;&quot; &quot;@&quot; &quot;">
                  <c:v>0</c:v>
                </c:pt>
                <c:pt idx="5533" formatCode="#,##0_);\(#,##0\);&quot;-  &quot;;&quot; &quot;@&quot; &quot;">
                  <c:v>0</c:v>
                </c:pt>
                <c:pt idx="5534" formatCode="#,##0_);\(#,##0\);&quot;-  &quot;;&quot; &quot;@&quot; &quot;">
                  <c:v>0</c:v>
                </c:pt>
                <c:pt idx="5535" formatCode="#,##0_);\(#,##0\);&quot;-  &quot;;&quot; &quot;@&quot; &quot;">
                  <c:v>0</c:v>
                </c:pt>
                <c:pt idx="5536" formatCode="#,##0_);\(#,##0\);&quot;-  &quot;;&quot; &quot;@&quot; &quot;">
                  <c:v>0</c:v>
                </c:pt>
                <c:pt idx="5537" formatCode="#,##0_);\(#,##0\);&quot;-  &quot;;&quot; &quot;@&quot; &quot;">
                  <c:v>0</c:v>
                </c:pt>
                <c:pt idx="5538" formatCode="#,##0_);\(#,##0\);&quot;-  &quot;;&quot; &quot;@&quot; &quot;">
                  <c:v>0</c:v>
                </c:pt>
                <c:pt idx="5539" formatCode="#,##0_);\(#,##0\);&quot;-  &quot;;&quot; &quot;@&quot; &quot;">
                  <c:v>0</c:v>
                </c:pt>
                <c:pt idx="5540" formatCode="#,##0_);\(#,##0\);&quot;-  &quot;;&quot; &quot;@&quot; &quot;">
                  <c:v>0</c:v>
                </c:pt>
                <c:pt idx="5541" formatCode="#,##0_);\(#,##0\);&quot;-  &quot;;&quot; &quot;@&quot; &quot;">
                  <c:v>0</c:v>
                </c:pt>
                <c:pt idx="5542" formatCode="#,##0_);\(#,##0\);&quot;-  &quot;;&quot; &quot;@&quot; &quot;">
                  <c:v>0</c:v>
                </c:pt>
                <c:pt idx="5543" formatCode="#,##0_);\(#,##0\);&quot;-  &quot;;&quot; &quot;@&quot; &quot;">
                  <c:v>0</c:v>
                </c:pt>
                <c:pt idx="5544" formatCode="#,##0_);\(#,##0\);&quot;-  &quot;;&quot; &quot;@&quot; &quot;">
                  <c:v>0</c:v>
                </c:pt>
                <c:pt idx="5545" formatCode="#,##0_);\(#,##0\);&quot;-  &quot;;&quot; &quot;@&quot; &quot;">
                  <c:v>0</c:v>
                </c:pt>
                <c:pt idx="5546" formatCode="#,##0_);\(#,##0\);&quot;-  &quot;;&quot; &quot;@&quot; &quot;">
                  <c:v>0</c:v>
                </c:pt>
                <c:pt idx="5547" formatCode="#,##0_);\(#,##0\);&quot;-  &quot;;&quot; &quot;@&quot; &quot;">
                  <c:v>0</c:v>
                </c:pt>
                <c:pt idx="5548" formatCode="#,##0_);\(#,##0\);&quot;-  &quot;;&quot; &quot;@&quot; &quot;">
                  <c:v>0</c:v>
                </c:pt>
                <c:pt idx="5549" formatCode="#,##0_);\(#,##0\);&quot;-  &quot;;&quot; &quot;@&quot; &quot;">
                  <c:v>0</c:v>
                </c:pt>
                <c:pt idx="5550" formatCode="#,##0_);\(#,##0\);&quot;-  &quot;;&quot; &quot;@&quot; &quot;">
                  <c:v>0</c:v>
                </c:pt>
                <c:pt idx="5551" formatCode="#,##0_);\(#,##0\);&quot;-  &quot;;&quot; &quot;@&quot; &quot;">
                  <c:v>0</c:v>
                </c:pt>
                <c:pt idx="5552" formatCode="#,##0_);\(#,##0\);&quot;-  &quot;;&quot; &quot;@&quot; &quot;">
                  <c:v>0</c:v>
                </c:pt>
                <c:pt idx="5553" formatCode="#,##0_);\(#,##0\);&quot;-  &quot;;&quot; &quot;@&quot; &quot;">
                  <c:v>0</c:v>
                </c:pt>
                <c:pt idx="5554" formatCode="#,##0_);\(#,##0\);&quot;-  &quot;;&quot; &quot;@&quot; &quot;">
                  <c:v>0</c:v>
                </c:pt>
                <c:pt idx="5555" formatCode="#,##0_);\(#,##0\);&quot;-  &quot;;&quot; &quot;@&quot; &quot;">
                  <c:v>0</c:v>
                </c:pt>
                <c:pt idx="5556" formatCode="#,##0_);\(#,##0\);&quot;-  &quot;;&quot; &quot;@&quot; &quot;">
                  <c:v>0</c:v>
                </c:pt>
                <c:pt idx="5557" formatCode="#,##0_);\(#,##0\);&quot;-  &quot;;&quot; &quot;@&quot; &quot;">
                  <c:v>0</c:v>
                </c:pt>
                <c:pt idx="5558" formatCode="#,##0_);\(#,##0\);&quot;-  &quot;;&quot; &quot;@&quot; &quot;">
                  <c:v>0</c:v>
                </c:pt>
                <c:pt idx="5559" formatCode="#,##0_);\(#,##0\);&quot;-  &quot;;&quot; &quot;@&quot; &quot;">
                  <c:v>0</c:v>
                </c:pt>
                <c:pt idx="5560" formatCode="#,##0_);\(#,##0\);&quot;-  &quot;;&quot; &quot;@&quot; &quot;">
                  <c:v>0</c:v>
                </c:pt>
                <c:pt idx="5561" formatCode="#,##0_);\(#,##0\);&quot;-  &quot;;&quot; &quot;@&quot; &quot;">
                  <c:v>0</c:v>
                </c:pt>
                <c:pt idx="5562" formatCode="#,##0_);\(#,##0\);&quot;-  &quot;;&quot; &quot;@&quot; &quot;">
                  <c:v>0</c:v>
                </c:pt>
                <c:pt idx="5563" formatCode="#,##0_);\(#,##0\);&quot;-  &quot;;&quot; &quot;@&quot; &quot;">
                  <c:v>0</c:v>
                </c:pt>
                <c:pt idx="5564" formatCode="#,##0_);\(#,##0\);&quot;-  &quot;;&quot; &quot;@&quot; &quot;">
                  <c:v>0</c:v>
                </c:pt>
                <c:pt idx="5565" formatCode="#,##0_);\(#,##0\);&quot;-  &quot;;&quot; &quot;@&quot; &quot;">
                  <c:v>0</c:v>
                </c:pt>
                <c:pt idx="5566" formatCode="#,##0_);\(#,##0\);&quot;-  &quot;;&quot; &quot;@&quot; &quot;">
                  <c:v>0</c:v>
                </c:pt>
                <c:pt idx="5567" formatCode="#,##0_);\(#,##0\);&quot;-  &quot;;&quot; &quot;@&quot; &quot;">
                  <c:v>0</c:v>
                </c:pt>
                <c:pt idx="5568" formatCode="#,##0_);\(#,##0\);&quot;-  &quot;;&quot; &quot;@&quot; &quot;">
                  <c:v>0</c:v>
                </c:pt>
                <c:pt idx="5569" formatCode="#,##0_);\(#,##0\);&quot;-  &quot;;&quot; &quot;@&quot; &quot;">
                  <c:v>0</c:v>
                </c:pt>
                <c:pt idx="5570" formatCode="#,##0_);\(#,##0\);&quot;-  &quot;;&quot; &quot;@&quot; &quot;">
                  <c:v>0</c:v>
                </c:pt>
                <c:pt idx="5571" formatCode="#,##0_);\(#,##0\);&quot;-  &quot;;&quot; &quot;@&quot; &quot;">
                  <c:v>0</c:v>
                </c:pt>
                <c:pt idx="5572" formatCode="#,##0_);\(#,##0\);&quot;-  &quot;;&quot; &quot;@&quot; &quot;">
                  <c:v>0</c:v>
                </c:pt>
                <c:pt idx="5573" formatCode="#,##0_);\(#,##0\);&quot;-  &quot;;&quot; &quot;@&quot; &quot;">
                  <c:v>0</c:v>
                </c:pt>
                <c:pt idx="5574" formatCode="#,##0_);\(#,##0\);&quot;-  &quot;;&quot; &quot;@&quot; &quot;">
                  <c:v>0</c:v>
                </c:pt>
                <c:pt idx="5575" formatCode="#,##0_);\(#,##0\);&quot;-  &quot;;&quot; &quot;@&quot; &quot;">
                  <c:v>0</c:v>
                </c:pt>
                <c:pt idx="5576" formatCode="#,##0_);\(#,##0\);&quot;-  &quot;;&quot; &quot;@&quot; &quot;">
                  <c:v>0</c:v>
                </c:pt>
                <c:pt idx="5577" formatCode="#,##0_);\(#,##0\);&quot;-  &quot;;&quot; &quot;@&quot; &quot;">
                  <c:v>0</c:v>
                </c:pt>
                <c:pt idx="5578" formatCode="#,##0_);\(#,##0\);&quot;-  &quot;;&quot; &quot;@&quot; &quot;">
                  <c:v>0</c:v>
                </c:pt>
                <c:pt idx="5579" formatCode="#,##0_);\(#,##0\);&quot;-  &quot;;&quot; &quot;@&quot; &quot;">
                  <c:v>0</c:v>
                </c:pt>
                <c:pt idx="5580" formatCode="#,##0_);\(#,##0\);&quot;-  &quot;;&quot; &quot;@&quot; &quot;">
                  <c:v>0</c:v>
                </c:pt>
                <c:pt idx="5581" formatCode="#,##0_);\(#,##0\);&quot;-  &quot;;&quot; &quot;@&quot; &quot;">
                  <c:v>0</c:v>
                </c:pt>
                <c:pt idx="5582" formatCode="#,##0_);\(#,##0\);&quot;-  &quot;;&quot; &quot;@&quot; &quot;">
                  <c:v>0</c:v>
                </c:pt>
                <c:pt idx="5583" formatCode="#,##0_);\(#,##0\);&quot;-  &quot;;&quot; &quot;@&quot; &quot;">
                  <c:v>0</c:v>
                </c:pt>
                <c:pt idx="5584" formatCode="#,##0_);\(#,##0\);&quot;-  &quot;;&quot; &quot;@&quot; &quot;">
                  <c:v>0</c:v>
                </c:pt>
                <c:pt idx="5585" formatCode="#,##0_);\(#,##0\);&quot;-  &quot;;&quot; &quot;@&quot; &quot;">
                  <c:v>0</c:v>
                </c:pt>
                <c:pt idx="5586" formatCode="#,##0_);\(#,##0\);&quot;-  &quot;;&quot; &quot;@&quot; &quot;">
                  <c:v>0</c:v>
                </c:pt>
                <c:pt idx="5587" formatCode="#,##0_);\(#,##0\);&quot;-  &quot;;&quot; &quot;@&quot; &quot;">
                  <c:v>0</c:v>
                </c:pt>
                <c:pt idx="5588" formatCode="#,##0_);\(#,##0\);&quot;-  &quot;;&quot; &quot;@&quot; &quot;">
                  <c:v>0</c:v>
                </c:pt>
                <c:pt idx="5589" formatCode="#,##0_);\(#,##0\);&quot;-  &quot;;&quot; &quot;@&quot; &quot;">
                  <c:v>0</c:v>
                </c:pt>
                <c:pt idx="5590" formatCode="#,##0_);\(#,##0\);&quot;-  &quot;;&quot; &quot;@&quot; &quot;">
                  <c:v>0</c:v>
                </c:pt>
                <c:pt idx="5591" formatCode="#,##0_);\(#,##0\);&quot;-  &quot;;&quot; &quot;@&quot; &quot;">
                  <c:v>0</c:v>
                </c:pt>
                <c:pt idx="5592" formatCode="#,##0_);\(#,##0\);&quot;-  &quot;;&quot; &quot;@&quot; &quot;">
                  <c:v>0</c:v>
                </c:pt>
                <c:pt idx="5593" formatCode="#,##0_);\(#,##0\);&quot;-  &quot;;&quot; &quot;@&quot; &quot;">
                  <c:v>0</c:v>
                </c:pt>
                <c:pt idx="5594" formatCode="#,##0_);\(#,##0\);&quot;-  &quot;;&quot; &quot;@&quot; &quot;">
                  <c:v>0</c:v>
                </c:pt>
                <c:pt idx="5595" formatCode="#,##0_);\(#,##0\);&quot;-  &quot;;&quot; &quot;@&quot; &quot;">
                  <c:v>0</c:v>
                </c:pt>
                <c:pt idx="5596" formatCode="#,##0_);\(#,##0\);&quot;-  &quot;;&quot; &quot;@&quot; &quot;">
                  <c:v>0</c:v>
                </c:pt>
                <c:pt idx="5597" formatCode="#,##0_);\(#,##0\);&quot;-  &quot;;&quot; &quot;@&quot; &quot;">
                  <c:v>0</c:v>
                </c:pt>
                <c:pt idx="5598" formatCode="#,##0_);\(#,##0\);&quot;-  &quot;;&quot; &quot;@&quot; &quot;">
                  <c:v>0</c:v>
                </c:pt>
                <c:pt idx="5599" formatCode="#,##0_);\(#,##0\);&quot;-  &quot;;&quot; &quot;@&quot; &quot;">
                  <c:v>0</c:v>
                </c:pt>
                <c:pt idx="5600" formatCode="#,##0_);\(#,##0\);&quot;-  &quot;;&quot; &quot;@&quot; &quot;">
                  <c:v>0</c:v>
                </c:pt>
                <c:pt idx="5601" formatCode="#,##0_);\(#,##0\);&quot;-  &quot;;&quot; &quot;@&quot; &quot;">
                  <c:v>0</c:v>
                </c:pt>
                <c:pt idx="5602" formatCode="#,##0_);\(#,##0\);&quot;-  &quot;;&quot; &quot;@&quot; &quot;">
                  <c:v>0</c:v>
                </c:pt>
                <c:pt idx="5603" formatCode="#,##0_);\(#,##0\);&quot;-  &quot;;&quot; &quot;@&quot; &quot;">
                  <c:v>0</c:v>
                </c:pt>
                <c:pt idx="5604" formatCode="#,##0_);\(#,##0\);&quot;-  &quot;;&quot; &quot;@&quot; &quot;">
                  <c:v>0</c:v>
                </c:pt>
                <c:pt idx="5605" formatCode="#,##0_);\(#,##0\);&quot;-  &quot;;&quot; &quot;@&quot; &quot;">
                  <c:v>0</c:v>
                </c:pt>
                <c:pt idx="5606" formatCode="#,##0_);\(#,##0\);&quot;-  &quot;;&quot; &quot;@&quot; &quot;">
                  <c:v>0</c:v>
                </c:pt>
                <c:pt idx="5607" formatCode="#,##0_);\(#,##0\);&quot;-  &quot;;&quot; &quot;@&quot; &quot;">
                  <c:v>0</c:v>
                </c:pt>
                <c:pt idx="5608" formatCode="#,##0_);\(#,##0\);&quot;-  &quot;;&quot; &quot;@&quot; &quot;">
                  <c:v>0</c:v>
                </c:pt>
                <c:pt idx="5609" formatCode="#,##0_);\(#,##0\);&quot;-  &quot;;&quot; &quot;@&quot; &quot;">
                  <c:v>0</c:v>
                </c:pt>
                <c:pt idx="5610" formatCode="#,##0_);\(#,##0\);&quot;-  &quot;;&quot; &quot;@&quot; &quot;">
                  <c:v>0</c:v>
                </c:pt>
                <c:pt idx="5611" formatCode="#,##0_);\(#,##0\);&quot;-  &quot;;&quot; &quot;@&quot; &quot;">
                  <c:v>0</c:v>
                </c:pt>
                <c:pt idx="5612" formatCode="#,##0_);\(#,##0\);&quot;-  &quot;;&quot; &quot;@&quot; &quot;">
                  <c:v>0</c:v>
                </c:pt>
                <c:pt idx="5613" formatCode="#,##0_);\(#,##0\);&quot;-  &quot;;&quot; &quot;@&quot; &quot;">
                  <c:v>0</c:v>
                </c:pt>
                <c:pt idx="5614" formatCode="#,##0_);\(#,##0\);&quot;-  &quot;;&quot; &quot;@&quot; &quot;">
                  <c:v>0</c:v>
                </c:pt>
                <c:pt idx="5615" formatCode="#,##0_);\(#,##0\);&quot;-  &quot;;&quot; &quot;@&quot; &quot;">
                  <c:v>0</c:v>
                </c:pt>
                <c:pt idx="5616" formatCode="#,##0_);\(#,##0\);&quot;-  &quot;;&quot; &quot;@&quot; &quot;">
                  <c:v>0</c:v>
                </c:pt>
                <c:pt idx="5617" formatCode="#,##0_);\(#,##0\);&quot;-  &quot;;&quot; &quot;@&quot; &quot;">
                  <c:v>0</c:v>
                </c:pt>
                <c:pt idx="5618" formatCode="#,##0_);\(#,##0\);&quot;-  &quot;;&quot; &quot;@&quot; &quot;">
                  <c:v>0</c:v>
                </c:pt>
                <c:pt idx="5619" formatCode="#,##0_);\(#,##0\);&quot;-  &quot;;&quot; &quot;@&quot; &quot;">
                  <c:v>0</c:v>
                </c:pt>
                <c:pt idx="5620" formatCode="#,##0_);\(#,##0\);&quot;-  &quot;;&quot; &quot;@&quot; &quot;">
                  <c:v>0</c:v>
                </c:pt>
                <c:pt idx="5621" formatCode="#,##0_);\(#,##0\);&quot;-  &quot;;&quot; &quot;@&quot; &quot;">
                  <c:v>0</c:v>
                </c:pt>
                <c:pt idx="5622" formatCode="#,##0_);\(#,##0\);&quot;-  &quot;;&quot; &quot;@&quot; &quot;">
                  <c:v>0</c:v>
                </c:pt>
                <c:pt idx="5623" formatCode="#,##0_);\(#,##0\);&quot;-  &quot;;&quot; &quot;@&quot; &quot;">
                  <c:v>0</c:v>
                </c:pt>
                <c:pt idx="5624" formatCode="#,##0_);\(#,##0\);&quot;-  &quot;;&quot; &quot;@&quot; &quot;">
                  <c:v>0</c:v>
                </c:pt>
                <c:pt idx="5625" formatCode="#,##0_);\(#,##0\);&quot;-  &quot;;&quot; &quot;@&quot; &quot;">
                  <c:v>0</c:v>
                </c:pt>
                <c:pt idx="5626" formatCode="#,##0_);\(#,##0\);&quot;-  &quot;;&quot; &quot;@&quot; &quot;">
                  <c:v>0</c:v>
                </c:pt>
                <c:pt idx="5627" formatCode="#,##0_);\(#,##0\);&quot;-  &quot;;&quot; &quot;@&quot; &quot;">
                  <c:v>0</c:v>
                </c:pt>
                <c:pt idx="5628" formatCode="#,##0_);\(#,##0\);&quot;-  &quot;;&quot; &quot;@&quot; &quot;">
                  <c:v>0</c:v>
                </c:pt>
                <c:pt idx="5629" formatCode="#,##0_);\(#,##0\);&quot;-  &quot;;&quot; &quot;@&quot; &quot;">
                  <c:v>0</c:v>
                </c:pt>
                <c:pt idx="5630" formatCode="#,##0_);\(#,##0\);&quot;-  &quot;;&quot; &quot;@&quot; &quot;">
                  <c:v>0</c:v>
                </c:pt>
                <c:pt idx="5631" formatCode="#,##0_);\(#,##0\);&quot;-  &quot;;&quot; &quot;@&quot; &quot;">
                  <c:v>0</c:v>
                </c:pt>
                <c:pt idx="5632" formatCode="#,##0_);\(#,##0\);&quot;-  &quot;;&quot; &quot;@&quot; &quot;">
                  <c:v>0</c:v>
                </c:pt>
                <c:pt idx="5633" formatCode="#,##0_);\(#,##0\);&quot;-  &quot;;&quot; &quot;@&quot; &quot;">
                  <c:v>0</c:v>
                </c:pt>
                <c:pt idx="5634" formatCode="#,##0_);\(#,##0\);&quot;-  &quot;;&quot; &quot;@&quot; &quot;">
                  <c:v>0</c:v>
                </c:pt>
                <c:pt idx="5635" formatCode="#,##0_);\(#,##0\);&quot;-  &quot;;&quot; &quot;@&quot; &quot;">
                  <c:v>0</c:v>
                </c:pt>
                <c:pt idx="5636" formatCode="#,##0_);\(#,##0\);&quot;-  &quot;;&quot; &quot;@&quot; &quot;">
                  <c:v>0</c:v>
                </c:pt>
                <c:pt idx="5637" formatCode="#,##0_);\(#,##0\);&quot;-  &quot;;&quot; &quot;@&quot; &quot;">
                  <c:v>0</c:v>
                </c:pt>
                <c:pt idx="5638" formatCode="#,##0_);\(#,##0\);&quot;-  &quot;;&quot; &quot;@&quot; &quot;">
                  <c:v>0</c:v>
                </c:pt>
                <c:pt idx="5639" formatCode="#,##0_);\(#,##0\);&quot;-  &quot;;&quot; &quot;@&quot; &quot;">
                  <c:v>0</c:v>
                </c:pt>
                <c:pt idx="5640" formatCode="#,##0_);\(#,##0\);&quot;-  &quot;;&quot; &quot;@&quot; &quot;">
                  <c:v>0</c:v>
                </c:pt>
                <c:pt idx="5641" formatCode="#,##0_);\(#,##0\);&quot;-  &quot;;&quot; &quot;@&quot; &quot;">
                  <c:v>0</c:v>
                </c:pt>
                <c:pt idx="5642" formatCode="#,##0_);\(#,##0\);&quot;-  &quot;;&quot; &quot;@&quot; &quot;">
                  <c:v>0</c:v>
                </c:pt>
                <c:pt idx="5643" formatCode="#,##0_);\(#,##0\);&quot;-  &quot;;&quot; &quot;@&quot; &quot;">
                  <c:v>0</c:v>
                </c:pt>
                <c:pt idx="5644" formatCode="#,##0_);\(#,##0\);&quot;-  &quot;;&quot; &quot;@&quot; &quot;">
                  <c:v>0</c:v>
                </c:pt>
                <c:pt idx="5645" formatCode="#,##0_);\(#,##0\);&quot;-  &quot;;&quot; &quot;@&quot; &quot;">
                  <c:v>0</c:v>
                </c:pt>
                <c:pt idx="5646" formatCode="#,##0_);\(#,##0\);&quot;-  &quot;;&quot; &quot;@&quot; &quot;">
                  <c:v>0</c:v>
                </c:pt>
                <c:pt idx="5647" formatCode="#,##0_);\(#,##0\);&quot;-  &quot;;&quot; &quot;@&quot; &quot;">
                  <c:v>0</c:v>
                </c:pt>
                <c:pt idx="5648" formatCode="#,##0_);\(#,##0\);&quot;-  &quot;;&quot; &quot;@&quot; &quot;">
                  <c:v>0</c:v>
                </c:pt>
                <c:pt idx="5649" formatCode="#,##0_);\(#,##0\);&quot;-  &quot;;&quot; &quot;@&quot; &quot;">
                  <c:v>0</c:v>
                </c:pt>
                <c:pt idx="5650" formatCode="#,##0_);\(#,##0\);&quot;-  &quot;;&quot; &quot;@&quot; &quot;">
                  <c:v>0</c:v>
                </c:pt>
                <c:pt idx="5651" formatCode="#,##0_);\(#,##0\);&quot;-  &quot;;&quot; &quot;@&quot; &quot;">
                  <c:v>0</c:v>
                </c:pt>
                <c:pt idx="5652" formatCode="#,##0_);\(#,##0\);&quot;-  &quot;;&quot; &quot;@&quot; &quot;">
                  <c:v>0</c:v>
                </c:pt>
                <c:pt idx="5653" formatCode="#,##0_);\(#,##0\);&quot;-  &quot;;&quot; &quot;@&quot; &quot;">
                  <c:v>0</c:v>
                </c:pt>
                <c:pt idx="5654" formatCode="#,##0_);\(#,##0\);&quot;-  &quot;;&quot; &quot;@&quot; &quot;">
                  <c:v>0</c:v>
                </c:pt>
                <c:pt idx="5655" formatCode="#,##0_);\(#,##0\);&quot;-  &quot;;&quot; &quot;@&quot; &quot;">
                  <c:v>0</c:v>
                </c:pt>
                <c:pt idx="5656" formatCode="#,##0_);\(#,##0\);&quot;-  &quot;;&quot; &quot;@&quot; &quot;">
                  <c:v>0</c:v>
                </c:pt>
                <c:pt idx="5657" formatCode="#,##0_);\(#,##0\);&quot;-  &quot;;&quot; &quot;@&quot; &quot;">
                  <c:v>0</c:v>
                </c:pt>
                <c:pt idx="5658" formatCode="#,##0_);\(#,##0\);&quot;-  &quot;;&quot; &quot;@&quot; &quot;">
                  <c:v>0</c:v>
                </c:pt>
                <c:pt idx="5659" formatCode="#,##0_);\(#,##0\);&quot;-  &quot;;&quot; &quot;@&quot; &quot;">
                  <c:v>0</c:v>
                </c:pt>
                <c:pt idx="5660" formatCode="#,##0_);\(#,##0\);&quot;-  &quot;;&quot; &quot;@&quot; &quot;">
                  <c:v>0</c:v>
                </c:pt>
                <c:pt idx="5661" formatCode="#,##0_);\(#,##0\);&quot;-  &quot;;&quot; &quot;@&quot; &quot;">
                  <c:v>0</c:v>
                </c:pt>
                <c:pt idx="5662" formatCode="#,##0_);\(#,##0\);&quot;-  &quot;;&quot; &quot;@&quot; &quot;">
                  <c:v>0</c:v>
                </c:pt>
                <c:pt idx="5663" formatCode="#,##0_);\(#,##0\);&quot;-  &quot;;&quot; &quot;@&quot; &quot;">
                  <c:v>0</c:v>
                </c:pt>
                <c:pt idx="5664" formatCode="#,##0_);\(#,##0\);&quot;-  &quot;;&quot; &quot;@&quot; &quot;">
                  <c:v>0</c:v>
                </c:pt>
                <c:pt idx="5665" formatCode="#,##0_);\(#,##0\);&quot;-  &quot;;&quot; &quot;@&quot; &quot;">
                  <c:v>0</c:v>
                </c:pt>
                <c:pt idx="5666" formatCode="#,##0_);\(#,##0\);&quot;-  &quot;;&quot; &quot;@&quot; &quot;">
                  <c:v>0</c:v>
                </c:pt>
                <c:pt idx="5667" formatCode="#,##0_);\(#,##0\);&quot;-  &quot;;&quot; &quot;@&quot; &quot;">
                  <c:v>0</c:v>
                </c:pt>
                <c:pt idx="5668" formatCode="#,##0_);\(#,##0\);&quot;-  &quot;;&quot; &quot;@&quot; &quot;">
                  <c:v>0</c:v>
                </c:pt>
                <c:pt idx="5669" formatCode="#,##0_);\(#,##0\);&quot;-  &quot;;&quot; &quot;@&quot; &quot;">
                  <c:v>0</c:v>
                </c:pt>
                <c:pt idx="5670" formatCode="#,##0_);\(#,##0\);&quot;-  &quot;;&quot; &quot;@&quot; &quot;">
                  <c:v>0</c:v>
                </c:pt>
                <c:pt idx="5671" formatCode="#,##0_);\(#,##0\);&quot;-  &quot;;&quot; &quot;@&quot; &quot;">
                  <c:v>0</c:v>
                </c:pt>
                <c:pt idx="5672" formatCode="#,##0_);\(#,##0\);&quot;-  &quot;;&quot; &quot;@&quot; &quot;">
                  <c:v>0</c:v>
                </c:pt>
                <c:pt idx="5673" formatCode="#,##0_);\(#,##0\);&quot;-  &quot;;&quot; &quot;@&quot; &quot;">
                  <c:v>0</c:v>
                </c:pt>
                <c:pt idx="5674" formatCode="#,##0_);\(#,##0\);&quot;-  &quot;;&quot; &quot;@&quot; &quot;">
                  <c:v>0</c:v>
                </c:pt>
                <c:pt idx="5675" formatCode="#,##0_);\(#,##0\);&quot;-  &quot;;&quot; &quot;@&quot; &quot;">
                  <c:v>0</c:v>
                </c:pt>
                <c:pt idx="5676" formatCode="#,##0_);\(#,##0\);&quot;-  &quot;;&quot; &quot;@&quot; &quot;">
                  <c:v>0</c:v>
                </c:pt>
                <c:pt idx="5677" formatCode="#,##0_);\(#,##0\);&quot;-  &quot;;&quot; &quot;@&quot; &quot;">
                  <c:v>0</c:v>
                </c:pt>
                <c:pt idx="5678" formatCode="#,##0_);\(#,##0\);&quot;-  &quot;;&quot; &quot;@&quot; &quot;">
                  <c:v>0</c:v>
                </c:pt>
                <c:pt idx="5679" formatCode="#,##0_);\(#,##0\);&quot;-  &quot;;&quot; &quot;@&quot; &quot;">
                  <c:v>0</c:v>
                </c:pt>
                <c:pt idx="5680" formatCode="#,##0_);\(#,##0\);&quot;-  &quot;;&quot; &quot;@&quot; &quot;">
                  <c:v>0</c:v>
                </c:pt>
                <c:pt idx="5681" formatCode="#,##0_);\(#,##0\);&quot;-  &quot;;&quot; &quot;@&quot; &quot;">
                  <c:v>0</c:v>
                </c:pt>
                <c:pt idx="5682" formatCode="#,##0_);\(#,##0\);&quot;-  &quot;;&quot; &quot;@&quot; &quot;">
                  <c:v>0</c:v>
                </c:pt>
                <c:pt idx="5683" formatCode="#,##0_);\(#,##0\);&quot;-  &quot;;&quot; &quot;@&quot; &quot;">
                  <c:v>0</c:v>
                </c:pt>
                <c:pt idx="5684" formatCode="#,##0_);\(#,##0\);&quot;-  &quot;;&quot; &quot;@&quot; &quot;">
                  <c:v>0</c:v>
                </c:pt>
                <c:pt idx="5685" formatCode="#,##0_);\(#,##0\);&quot;-  &quot;;&quot; &quot;@&quot; &quot;">
                  <c:v>0</c:v>
                </c:pt>
                <c:pt idx="5686" formatCode="#,##0_);\(#,##0\);&quot;-  &quot;;&quot; &quot;@&quot; &quot;">
                  <c:v>0</c:v>
                </c:pt>
                <c:pt idx="5687" formatCode="#,##0_);\(#,##0\);&quot;-  &quot;;&quot; &quot;@&quot; &quot;">
                  <c:v>0</c:v>
                </c:pt>
                <c:pt idx="5688" formatCode="#,##0_);\(#,##0\);&quot;-  &quot;;&quot; &quot;@&quot; &quot;">
                  <c:v>0</c:v>
                </c:pt>
                <c:pt idx="5689" formatCode="#,##0_);\(#,##0\);&quot;-  &quot;;&quot; &quot;@&quot; &quot;">
                  <c:v>0</c:v>
                </c:pt>
                <c:pt idx="5690" formatCode="#,##0_);\(#,##0\);&quot;-  &quot;;&quot; &quot;@&quot; &quot;">
                  <c:v>0</c:v>
                </c:pt>
                <c:pt idx="5691" formatCode="#,##0_);\(#,##0\);&quot;-  &quot;;&quot; &quot;@&quot; &quot;">
                  <c:v>0</c:v>
                </c:pt>
                <c:pt idx="5692" formatCode="#,##0_);\(#,##0\);&quot;-  &quot;;&quot; &quot;@&quot; &quot;">
                  <c:v>0</c:v>
                </c:pt>
                <c:pt idx="5693" formatCode="#,##0_);\(#,##0\);&quot;-  &quot;;&quot; &quot;@&quot; &quot;">
                  <c:v>0</c:v>
                </c:pt>
                <c:pt idx="5694" formatCode="#,##0_);\(#,##0\);&quot;-  &quot;;&quot; &quot;@&quot; &quot;">
                  <c:v>0</c:v>
                </c:pt>
                <c:pt idx="5695" formatCode="#,##0_);\(#,##0\);&quot;-  &quot;;&quot; &quot;@&quot; &quot;">
                  <c:v>0</c:v>
                </c:pt>
                <c:pt idx="5696" formatCode="#,##0_);\(#,##0\);&quot;-  &quot;;&quot; &quot;@&quot; &quot;">
                  <c:v>0</c:v>
                </c:pt>
                <c:pt idx="5697" formatCode="#,##0_);\(#,##0\);&quot;-  &quot;;&quot; &quot;@&quot; &quot;">
                  <c:v>0</c:v>
                </c:pt>
                <c:pt idx="5698" formatCode="#,##0_);\(#,##0\);&quot;-  &quot;;&quot; &quot;@&quot; &quot;">
                  <c:v>0</c:v>
                </c:pt>
                <c:pt idx="5699" formatCode="#,##0_);\(#,##0\);&quot;-  &quot;;&quot; &quot;@&quot; &quot;">
                  <c:v>0</c:v>
                </c:pt>
                <c:pt idx="5700" formatCode="#,##0_);\(#,##0\);&quot;-  &quot;;&quot; &quot;@&quot; &quot;">
                  <c:v>0</c:v>
                </c:pt>
                <c:pt idx="5701" formatCode="#,##0_);\(#,##0\);&quot;-  &quot;;&quot; &quot;@&quot; &quot;">
                  <c:v>0</c:v>
                </c:pt>
                <c:pt idx="5702" formatCode="#,##0_);\(#,##0\);&quot;-  &quot;;&quot; &quot;@&quot; &quot;">
                  <c:v>0</c:v>
                </c:pt>
                <c:pt idx="5703" formatCode="#,##0_);\(#,##0\);&quot;-  &quot;;&quot; &quot;@&quot; &quot;">
                  <c:v>0</c:v>
                </c:pt>
                <c:pt idx="5704" formatCode="#,##0_);\(#,##0\);&quot;-  &quot;;&quot; &quot;@&quot; &quot;">
                  <c:v>0</c:v>
                </c:pt>
                <c:pt idx="5705" formatCode="#,##0_);\(#,##0\);&quot;-  &quot;;&quot; &quot;@&quot; &quot;">
                  <c:v>0</c:v>
                </c:pt>
                <c:pt idx="5706" formatCode="#,##0_);\(#,##0\);&quot;-  &quot;;&quot; &quot;@&quot; &quot;">
                  <c:v>0</c:v>
                </c:pt>
                <c:pt idx="5707" formatCode="#,##0_);\(#,##0\);&quot;-  &quot;;&quot; &quot;@&quot; &quot;">
                  <c:v>0</c:v>
                </c:pt>
                <c:pt idx="5708" formatCode="#,##0_);\(#,##0\);&quot;-  &quot;;&quot; &quot;@&quot; &quot;">
                  <c:v>0</c:v>
                </c:pt>
                <c:pt idx="5709" formatCode="#,##0_);\(#,##0\);&quot;-  &quot;;&quot; &quot;@&quot; &quot;">
                  <c:v>0</c:v>
                </c:pt>
                <c:pt idx="5710" formatCode="#,##0_);\(#,##0\);&quot;-  &quot;;&quot; &quot;@&quot; &quot;">
                  <c:v>0</c:v>
                </c:pt>
                <c:pt idx="5711" formatCode="#,##0_);\(#,##0\);&quot;-  &quot;;&quot; &quot;@&quot; &quot;">
                  <c:v>0</c:v>
                </c:pt>
                <c:pt idx="5712" formatCode="#,##0_);\(#,##0\);&quot;-  &quot;;&quot; &quot;@&quot; &quot;">
                  <c:v>0</c:v>
                </c:pt>
                <c:pt idx="5713" formatCode="#,##0_);\(#,##0\);&quot;-  &quot;;&quot; &quot;@&quot; &quot;">
                  <c:v>0</c:v>
                </c:pt>
                <c:pt idx="5714" formatCode="#,##0_);\(#,##0\);&quot;-  &quot;;&quot; &quot;@&quot; &quot;">
                  <c:v>0</c:v>
                </c:pt>
                <c:pt idx="5715" formatCode="#,##0_);\(#,##0\);&quot;-  &quot;;&quot; &quot;@&quot; &quot;">
                  <c:v>0</c:v>
                </c:pt>
                <c:pt idx="5716" formatCode="#,##0_);\(#,##0\);&quot;-  &quot;;&quot; &quot;@&quot; &quot;">
                  <c:v>0</c:v>
                </c:pt>
                <c:pt idx="5717" formatCode="#,##0_);\(#,##0\);&quot;-  &quot;;&quot; &quot;@&quot; &quot;">
                  <c:v>0</c:v>
                </c:pt>
                <c:pt idx="5718" formatCode="#,##0_);\(#,##0\);&quot;-  &quot;;&quot; &quot;@&quot; &quot;">
                  <c:v>0</c:v>
                </c:pt>
                <c:pt idx="5719" formatCode="#,##0_);\(#,##0\);&quot;-  &quot;;&quot; &quot;@&quot; &quot;">
                  <c:v>0</c:v>
                </c:pt>
                <c:pt idx="5720" formatCode="#,##0_);\(#,##0\);&quot;-  &quot;;&quot; &quot;@&quot; &quot;">
                  <c:v>0</c:v>
                </c:pt>
                <c:pt idx="5721" formatCode="#,##0_);\(#,##0\);&quot;-  &quot;;&quot; &quot;@&quot; &quot;">
                  <c:v>0</c:v>
                </c:pt>
                <c:pt idx="5722" formatCode="#,##0_);\(#,##0\);&quot;-  &quot;;&quot; &quot;@&quot; &quot;">
                  <c:v>0</c:v>
                </c:pt>
                <c:pt idx="5723" formatCode="#,##0_);\(#,##0\);&quot;-  &quot;;&quot; &quot;@&quot; &quot;">
                  <c:v>0</c:v>
                </c:pt>
                <c:pt idx="5724" formatCode="#,##0_);\(#,##0\);&quot;-  &quot;;&quot; &quot;@&quot; &quot;">
                  <c:v>0</c:v>
                </c:pt>
                <c:pt idx="5725" formatCode="#,##0_);\(#,##0\);&quot;-  &quot;;&quot; &quot;@&quot; &quot;">
                  <c:v>0</c:v>
                </c:pt>
                <c:pt idx="5726" formatCode="#,##0_);\(#,##0\);&quot;-  &quot;;&quot; &quot;@&quot; &quot;">
                  <c:v>0</c:v>
                </c:pt>
                <c:pt idx="5727" formatCode="#,##0_);\(#,##0\);&quot;-  &quot;;&quot; &quot;@&quot; &quot;">
                  <c:v>0</c:v>
                </c:pt>
                <c:pt idx="5728" formatCode="#,##0_);\(#,##0\);&quot;-  &quot;;&quot; &quot;@&quot; &quot;">
                  <c:v>0</c:v>
                </c:pt>
                <c:pt idx="5729" formatCode="#,##0_);\(#,##0\);&quot;-  &quot;;&quot; &quot;@&quot; &quot;">
                  <c:v>0</c:v>
                </c:pt>
                <c:pt idx="5730" formatCode="#,##0_);\(#,##0\);&quot;-  &quot;;&quot; &quot;@&quot; &quot;">
                  <c:v>0</c:v>
                </c:pt>
                <c:pt idx="5731" formatCode="#,##0_);\(#,##0\);&quot;-  &quot;;&quot; &quot;@&quot; &quot;">
                  <c:v>0</c:v>
                </c:pt>
                <c:pt idx="5732" formatCode="#,##0_);\(#,##0\);&quot;-  &quot;;&quot; &quot;@&quot; &quot;">
                  <c:v>0</c:v>
                </c:pt>
                <c:pt idx="5733" formatCode="#,##0_);\(#,##0\);&quot;-  &quot;;&quot; &quot;@&quot; &quot;">
                  <c:v>0</c:v>
                </c:pt>
                <c:pt idx="5734" formatCode="#,##0_);\(#,##0\);&quot;-  &quot;;&quot; &quot;@&quot; &quot;">
                  <c:v>0</c:v>
                </c:pt>
                <c:pt idx="5735" formatCode="#,##0_);\(#,##0\);&quot;-  &quot;;&quot; &quot;@&quot; &quot;">
                  <c:v>0</c:v>
                </c:pt>
                <c:pt idx="5736" formatCode="#,##0_);\(#,##0\);&quot;-  &quot;;&quot; &quot;@&quot; &quot;">
                  <c:v>0</c:v>
                </c:pt>
                <c:pt idx="5737" formatCode="#,##0_);\(#,##0\);&quot;-  &quot;;&quot; &quot;@&quot; &quot;">
                  <c:v>0</c:v>
                </c:pt>
                <c:pt idx="5738" formatCode="#,##0_);\(#,##0\);&quot;-  &quot;;&quot; &quot;@&quot; &quot;">
                  <c:v>0</c:v>
                </c:pt>
                <c:pt idx="5739" formatCode="#,##0_);\(#,##0\);&quot;-  &quot;;&quot; &quot;@&quot; &quot;">
                  <c:v>0</c:v>
                </c:pt>
                <c:pt idx="5740" formatCode="#,##0_);\(#,##0\);&quot;-  &quot;;&quot; &quot;@&quot; &quot;">
                  <c:v>0</c:v>
                </c:pt>
                <c:pt idx="5741" formatCode="#,##0_);\(#,##0\);&quot;-  &quot;;&quot; &quot;@&quot; &quot;">
                  <c:v>0</c:v>
                </c:pt>
                <c:pt idx="5742" formatCode="#,##0_);\(#,##0\);&quot;-  &quot;;&quot; &quot;@&quot; &quot;">
                  <c:v>0</c:v>
                </c:pt>
                <c:pt idx="5743" formatCode="#,##0_);\(#,##0\);&quot;-  &quot;;&quot; &quot;@&quot; &quot;">
                  <c:v>0</c:v>
                </c:pt>
                <c:pt idx="5744" formatCode="#,##0_);\(#,##0\);&quot;-  &quot;;&quot; &quot;@&quot; &quot;">
                  <c:v>0</c:v>
                </c:pt>
                <c:pt idx="5745" formatCode="#,##0_);\(#,##0\);&quot;-  &quot;;&quot; &quot;@&quot; &quot;">
                  <c:v>0</c:v>
                </c:pt>
                <c:pt idx="5746" formatCode="#,##0_);\(#,##0\);&quot;-  &quot;;&quot; &quot;@&quot; &quot;">
                  <c:v>0</c:v>
                </c:pt>
                <c:pt idx="5747" formatCode="#,##0_);\(#,##0\);&quot;-  &quot;;&quot; &quot;@&quot; &quot;">
                  <c:v>0</c:v>
                </c:pt>
                <c:pt idx="5748" formatCode="#,##0_);\(#,##0\);&quot;-  &quot;;&quot; &quot;@&quot; &quot;">
                  <c:v>0</c:v>
                </c:pt>
                <c:pt idx="5749" formatCode="#,##0_);\(#,##0\);&quot;-  &quot;;&quot; &quot;@&quot; &quot;">
                  <c:v>0</c:v>
                </c:pt>
                <c:pt idx="5750" formatCode="#,##0_);\(#,##0\);&quot;-  &quot;;&quot; &quot;@&quot; &quot;">
                  <c:v>0</c:v>
                </c:pt>
                <c:pt idx="5751" formatCode="#,##0_);\(#,##0\);&quot;-  &quot;;&quot; &quot;@&quot; &quot;">
                  <c:v>0</c:v>
                </c:pt>
                <c:pt idx="5752" formatCode="#,##0_);\(#,##0\);&quot;-  &quot;;&quot; &quot;@&quot; &quot;">
                  <c:v>0</c:v>
                </c:pt>
                <c:pt idx="5753" formatCode="#,##0_);\(#,##0\);&quot;-  &quot;;&quot; &quot;@&quot; &quot;">
                  <c:v>0</c:v>
                </c:pt>
                <c:pt idx="5754" formatCode="#,##0_);\(#,##0\);&quot;-  &quot;;&quot; &quot;@&quot; &quot;">
                  <c:v>0</c:v>
                </c:pt>
                <c:pt idx="5755" formatCode="#,##0_);\(#,##0\);&quot;-  &quot;;&quot; &quot;@&quot; &quot;">
                  <c:v>0</c:v>
                </c:pt>
                <c:pt idx="5756" formatCode="#,##0_);\(#,##0\);&quot;-  &quot;;&quot; &quot;@&quot; &quot;">
                  <c:v>0</c:v>
                </c:pt>
                <c:pt idx="5757" formatCode="#,##0_);\(#,##0\);&quot;-  &quot;;&quot; &quot;@&quot; &quot;">
                  <c:v>0</c:v>
                </c:pt>
                <c:pt idx="5758" formatCode="#,##0_);\(#,##0\);&quot;-  &quot;;&quot; &quot;@&quot; &quot;">
                  <c:v>0</c:v>
                </c:pt>
                <c:pt idx="5759" formatCode="#,##0_);\(#,##0\);&quot;-  &quot;;&quot; &quot;@&quot; &quot;">
                  <c:v>0</c:v>
                </c:pt>
                <c:pt idx="5760" formatCode="#,##0_);\(#,##0\);&quot;-  &quot;;&quot; &quot;@&quot; &quot;">
                  <c:v>0</c:v>
                </c:pt>
                <c:pt idx="5761" formatCode="#,##0_);\(#,##0\);&quot;-  &quot;;&quot; &quot;@&quot; &quot;">
                  <c:v>0</c:v>
                </c:pt>
                <c:pt idx="5762" formatCode="#,##0_);\(#,##0\);&quot;-  &quot;;&quot; &quot;@&quot; &quot;">
                  <c:v>0</c:v>
                </c:pt>
                <c:pt idx="5763" formatCode="#,##0_);\(#,##0\);&quot;-  &quot;;&quot; &quot;@&quot; &quot;">
                  <c:v>0</c:v>
                </c:pt>
                <c:pt idx="5764" formatCode="#,##0_);\(#,##0\);&quot;-  &quot;;&quot; &quot;@&quot; &quot;">
                  <c:v>0</c:v>
                </c:pt>
                <c:pt idx="5765" formatCode="#,##0_);\(#,##0\);&quot;-  &quot;;&quot; &quot;@&quot; &quot;">
                  <c:v>0</c:v>
                </c:pt>
                <c:pt idx="5766" formatCode="#,##0_);\(#,##0\);&quot;-  &quot;;&quot; &quot;@&quot; &quot;">
                  <c:v>0</c:v>
                </c:pt>
                <c:pt idx="5767" formatCode="#,##0_);\(#,##0\);&quot;-  &quot;;&quot; &quot;@&quot; &quot;">
                  <c:v>0</c:v>
                </c:pt>
                <c:pt idx="5768" formatCode="#,##0_);\(#,##0\);&quot;-  &quot;;&quot; &quot;@&quot; &quot;">
                  <c:v>0</c:v>
                </c:pt>
                <c:pt idx="5769" formatCode="#,##0_);\(#,##0\);&quot;-  &quot;;&quot; &quot;@&quot; &quot;">
                  <c:v>0</c:v>
                </c:pt>
                <c:pt idx="5770" formatCode="#,##0_);\(#,##0\);&quot;-  &quot;;&quot; &quot;@&quot; &quot;">
                  <c:v>0</c:v>
                </c:pt>
                <c:pt idx="5771" formatCode="#,##0_);\(#,##0\);&quot;-  &quot;;&quot; &quot;@&quot; &quot;">
                  <c:v>0</c:v>
                </c:pt>
                <c:pt idx="5772" formatCode="#,##0_);\(#,##0\);&quot;-  &quot;;&quot; &quot;@&quot; &quot;">
                  <c:v>0</c:v>
                </c:pt>
                <c:pt idx="5773" formatCode="#,##0_);\(#,##0\);&quot;-  &quot;;&quot; &quot;@&quot; &quot;">
                  <c:v>0</c:v>
                </c:pt>
                <c:pt idx="5774" formatCode="#,##0_);\(#,##0\);&quot;-  &quot;;&quot; &quot;@&quot; &quot;">
                  <c:v>0</c:v>
                </c:pt>
                <c:pt idx="5775" formatCode="#,##0_);\(#,##0\);&quot;-  &quot;;&quot; &quot;@&quot; &quot;">
                  <c:v>0</c:v>
                </c:pt>
                <c:pt idx="5776" formatCode="#,##0_);\(#,##0\);&quot;-  &quot;;&quot; &quot;@&quot; &quot;">
                  <c:v>0</c:v>
                </c:pt>
                <c:pt idx="5777" formatCode="#,##0_);\(#,##0\);&quot;-  &quot;;&quot; &quot;@&quot; &quot;">
                  <c:v>0</c:v>
                </c:pt>
                <c:pt idx="5778" formatCode="#,##0_);\(#,##0\);&quot;-  &quot;;&quot; &quot;@&quot; &quot;">
                  <c:v>0</c:v>
                </c:pt>
                <c:pt idx="5779" formatCode="#,##0_);\(#,##0\);&quot;-  &quot;;&quot; &quot;@&quot; &quot;">
                  <c:v>0</c:v>
                </c:pt>
                <c:pt idx="5780" formatCode="#,##0_);\(#,##0\);&quot;-  &quot;;&quot; &quot;@&quot; &quot;">
                  <c:v>0</c:v>
                </c:pt>
                <c:pt idx="5781" formatCode="#,##0_);\(#,##0\);&quot;-  &quot;;&quot; &quot;@&quot; &quot;">
                  <c:v>0</c:v>
                </c:pt>
                <c:pt idx="5782" formatCode="#,##0_);\(#,##0\);&quot;-  &quot;;&quot; &quot;@&quot; &quot;">
                  <c:v>0</c:v>
                </c:pt>
                <c:pt idx="5783" formatCode="#,##0_);\(#,##0\);&quot;-  &quot;;&quot; &quot;@&quot; &quot;">
                  <c:v>0</c:v>
                </c:pt>
                <c:pt idx="5784" formatCode="#,##0_);\(#,##0\);&quot;-  &quot;;&quot; &quot;@&quot; &quot;">
                  <c:v>0</c:v>
                </c:pt>
                <c:pt idx="5785" formatCode="#,##0_);\(#,##0\);&quot;-  &quot;;&quot; &quot;@&quot; &quot;">
                  <c:v>0</c:v>
                </c:pt>
                <c:pt idx="5786" formatCode="#,##0_);\(#,##0\);&quot;-  &quot;;&quot; &quot;@&quot; &quot;">
                  <c:v>0</c:v>
                </c:pt>
                <c:pt idx="5787" formatCode="#,##0_);\(#,##0\);&quot;-  &quot;;&quot; &quot;@&quot; &quot;">
                  <c:v>0</c:v>
                </c:pt>
                <c:pt idx="5788" formatCode="#,##0_);\(#,##0\);&quot;-  &quot;;&quot; &quot;@&quot; &quot;">
                  <c:v>0</c:v>
                </c:pt>
                <c:pt idx="5789" formatCode="#,##0_);\(#,##0\);&quot;-  &quot;;&quot; &quot;@&quot; &quot;">
                  <c:v>0</c:v>
                </c:pt>
                <c:pt idx="5790" formatCode="#,##0_);\(#,##0\);&quot;-  &quot;;&quot; &quot;@&quot; &quot;">
                  <c:v>0</c:v>
                </c:pt>
                <c:pt idx="5791" formatCode="#,##0_);\(#,##0\);&quot;-  &quot;;&quot; &quot;@&quot; &quot;">
                  <c:v>0</c:v>
                </c:pt>
                <c:pt idx="5792" formatCode="#,##0_);\(#,##0\);&quot;-  &quot;;&quot; &quot;@&quot; &quot;">
                  <c:v>0</c:v>
                </c:pt>
                <c:pt idx="5793" formatCode="#,##0_);\(#,##0\);&quot;-  &quot;;&quot; &quot;@&quot; &quot;">
                  <c:v>0</c:v>
                </c:pt>
                <c:pt idx="5794" formatCode="#,##0_);\(#,##0\);&quot;-  &quot;;&quot; &quot;@&quot; &quot;">
                  <c:v>0</c:v>
                </c:pt>
                <c:pt idx="5795" formatCode="#,##0_);\(#,##0\);&quot;-  &quot;;&quot; &quot;@&quot; &quot;">
                  <c:v>0</c:v>
                </c:pt>
                <c:pt idx="5796" formatCode="#,##0_);\(#,##0\);&quot;-  &quot;;&quot; &quot;@&quot; &quot;">
                  <c:v>0</c:v>
                </c:pt>
                <c:pt idx="5797" formatCode="#,##0_);\(#,##0\);&quot;-  &quot;;&quot; &quot;@&quot; &quot;">
                  <c:v>0</c:v>
                </c:pt>
                <c:pt idx="5798" formatCode="#,##0_);\(#,##0\);&quot;-  &quot;;&quot; &quot;@&quot; &quot;">
                  <c:v>0</c:v>
                </c:pt>
                <c:pt idx="5799" formatCode="#,##0_);\(#,##0\);&quot;-  &quot;;&quot; &quot;@&quot; &quot;">
                  <c:v>0</c:v>
                </c:pt>
                <c:pt idx="5800" formatCode="#,##0_);\(#,##0\);&quot;-  &quot;;&quot; &quot;@&quot; &quot;">
                  <c:v>0</c:v>
                </c:pt>
                <c:pt idx="5801" formatCode="#,##0_);\(#,##0\);&quot;-  &quot;;&quot; &quot;@&quot; &quot;">
                  <c:v>0</c:v>
                </c:pt>
                <c:pt idx="5802" formatCode="#,##0_);\(#,##0\);&quot;-  &quot;;&quot; &quot;@&quot; &quot;">
                  <c:v>0</c:v>
                </c:pt>
                <c:pt idx="5803" formatCode="#,##0_);\(#,##0\);&quot;-  &quot;;&quot; &quot;@&quot; &quot;">
                  <c:v>0</c:v>
                </c:pt>
                <c:pt idx="5804" formatCode="#,##0_);\(#,##0\);&quot;-  &quot;;&quot; &quot;@&quot; &quot;">
                  <c:v>0</c:v>
                </c:pt>
                <c:pt idx="5805" formatCode="#,##0_);\(#,##0\);&quot;-  &quot;;&quot; &quot;@&quot; &quot;">
                  <c:v>0</c:v>
                </c:pt>
                <c:pt idx="5806" formatCode="#,##0_);\(#,##0\);&quot;-  &quot;;&quot; &quot;@&quot; &quot;">
                  <c:v>0</c:v>
                </c:pt>
                <c:pt idx="5807" formatCode="#,##0_);\(#,##0\);&quot;-  &quot;;&quot; &quot;@&quot; &quot;">
                  <c:v>0</c:v>
                </c:pt>
                <c:pt idx="5808" formatCode="#,##0_);\(#,##0\);&quot;-  &quot;;&quot; &quot;@&quot; &quot;">
                  <c:v>0</c:v>
                </c:pt>
                <c:pt idx="5809" formatCode="#,##0_);\(#,##0\);&quot;-  &quot;;&quot; &quot;@&quot; &quot;">
                  <c:v>0</c:v>
                </c:pt>
                <c:pt idx="5810" formatCode="#,##0_);\(#,##0\);&quot;-  &quot;;&quot; &quot;@&quot; &quot;">
                  <c:v>0</c:v>
                </c:pt>
                <c:pt idx="5811" formatCode="#,##0_);\(#,##0\);&quot;-  &quot;;&quot; &quot;@&quot; &quot;">
                  <c:v>0</c:v>
                </c:pt>
                <c:pt idx="5812" formatCode="#,##0_);\(#,##0\);&quot;-  &quot;;&quot; &quot;@&quot; &quot;">
                  <c:v>0</c:v>
                </c:pt>
                <c:pt idx="5813" formatCode="#,##0_);\(#,##0\);&quot;-  &quot;;&quot; &quot;@&quot; &quot;">
                  <c:v>0</c:v>
                </c:pt>
                <c:pt idx="5814" formatCode="#,##0_);\(#,##0\);&quot;-  &quot;;&quot; &quot;@&quot; &quot;">
                  <c:v>0</c:v>
                </c:pt>
                <c:pt idx="5815" formatCode="#,##0_);\(#,##0\);&quot;-  &quot;;&quot; &quot;@&quot; &quot;">
                  <c:v>0</c:v>
                </c:pt>
                <c:pt idx="5816" formatCode="#,##0_);\(#,##0\);&quot;-  &quot;;&quot; &quot;@&quot; &quot;">
                  <c:v>0</c:v>
                </c:pt>
                <c:pt idx="5817" formatCode="#,##0_);\(#,##0\);&quot;-  &quot;;&quot; &quot;@&quot; &quot;">
                  <c:v>0</c:v>
                </c:pt>
                <c:pt idx="5818" formatCode="#,##0_);\(#,##0\);&quot;-  &quot;;&quot; &quot;@&quot; &quot;">
                  <c:v>0</c:v>
                </c:pt>
                <c:pt idx="5819" formatCode="#,##0_);\(#,##0\);&quot;-  &quot;;&quot; &quot;@&quot; &quot;">
                  <c:v>0</c:v>
                </c:pt>
                <c:pt idx="5820" formatCode="#,##0_);\(#,##0\);&quot;-  &quot;;&quot; &quot;@&quot; &quot;">
                  <c:v>0</c:v>
                </c:pt>
                <c:pt idx="5821" formatCode="#,##0_);\(#,##0\);&quot;-  &quot;;&quot; &quot;@&quot; &quot;">
                  <c:v>0</c:v>
                </c:pt>
                <c:pt idx="5822" formatCode="#,##0_);\(#,##0\);&quot;-  &quot;;&quot; &quot;@&quot; &quot;">
                  <c:v>0</c:v>
                </c:pt>
                <c:pt idx="5823" formatCode="#,##0_);\(#,##0\);&quot;-  &quot;;&quot; &quot;@&quot; &quot;">
                  <c:v>0</c:v>
                </c:pt>
                <c:pt idx="5824" formatCode="#,##0_);\(#,##0\);&quot;-  &quot;;&quot; &quot;@&quot; &quot;">
                  <c:v>0</c:v>
                </c:pt>
                <c:pt idx="5825" formatCode="#,##0_);\(#,##0\);&quot;-  &quot;;&quot; &quot;@&quot; &quot;">
                  <c:v>0</c:v>
                </c:pt>
                <c:pt idx="5826" formatCode="#,##0_);\(#,##0\);&quot;-  &quot;;&quot; &quot;@&quot; &quot;">
                  <c:v>0</c:v>
                </c:pt>
                <c:pt idx="5827" formatCode="#,##0_);\(#,##0\);&quot;-  &quot;;&quot; &quot;@&quot; &quot;">
                  <c:v>0</c:v>
                </c:pt>
                <c:pt idx="5828" formatCode="#,##0_);\(#,##0\);&quot;-  &quot;;&quot; &quot;@&quot; &quot;">
                  <c:v>0</c:v>
                </c:pt>
                <c:pt idx="5829" formatCode="#,##0_);\(#,##0\);&quot;-  &quot;;&quot; &quot;@&quot; &quot;">
                  <c:v>0</c:v>
                </c:pt>
                <c:pt idx="5830" formatCode="#,##0_);\(#,##0\);&quot;-  &quot;;&quot; &quot;@&quot; &quot;">
                  <c:v>0</c:v>
                </c:pt>
                <c:pt idx="5831" formatCode="#,##0_);\(#,##0\);&quot;-  &quot;;&quot; &quot;@&quot; &quot;">
                  <c:v>0</c:v>
                </c:pt>
                <c:pt idx="5832" formatCode="#,##0_);\(#,##0\);&quot;-  &quot;;&quot; &quot;@&quot; &quot;">
                  <c:v>0</c:v>
                </c:pt>
                <c:pt idx="5833" formatCode="#,##0_);\(#,##0\);&quot;-  &quot;;&quot; &quot;@&quot; &quot;">
                  <c:v>0</c:v>
                </c:pt>
                <c:pt idx="5834" formatCode="#,##0_);\(#,##0\);&quot;-  &quot;;&quot; &quot;@&quot; &quot;">
                  <c:v>0</c:v>
                </c:pt>
                <c:pt idx="5835" formatCode="#,##0_);\(#,##0\);&quot;-  &quot;;&quot; &quot;@&quot; &quot;">
                  <c:v>0</c:v>
                </c:pt>
                <c:pt idx="5836" formatCode="#,##0_);\(#,##0\);&quot;-  &quot;;&quot; &quot;@&quot; &quot;">
                  <c:v>0</c:v>
                </c:pt>
                <c:pt idx="5837" formatCode="#,##0_);\(#,##0\);&quot;-  &quot;;&quot; &quot;@&quot; &quot;">
                  <c:v>0</c:v>
                </c:pt>
                <c:pt idx="5838" formatCode="#,##0_);\(#,##0\);&quot;-  &quot;;&quot; &quot;@&quot; &quot;">
                  <c:v>0</c:v>
                </c:pt>
                <c:pt idx="5839" formatCode="#,##0_);\(#,##0\);&quot;-  &quot;;&quot; &quot;@&quot; &quot;">
                  <c:v>0</c:v>
                </c:pt>
                <c:pt idx="5840" formatCode="#,##0_);\(#,##0\);&quot;-  &quot;;&quot; &quot;@&quot; &quot;">
                  <c:v>0</c:v>
                </c:pt>
                <c:pt idx="5841" formatCode="#,##0_);\(#,##0\);&quot;-  &quot;;&quot; &quot;@&quot; &quot;">
                  <c:v>0</c:v>
                </c:pt>
                <c:pt idx="5842" formatCode="#,##0_);\(#,##0\);&quot;-  &quot;;&quot; &quot;@&quot; &quot;">
                  <c:v>0</c:v>
                </c:pt>
                <c:pt idx="5843" formatCode="#,##0_);\(#,##0\);&quot;-  &quot;;&quot; &quot;@&quot; &quot;">
                  <c:v>0</c:v>
                </c:pt>
                <c:pt idx="5844" formatCode="#,##0_);\(#,##0\);&quot;-  &quot;;&quot; &quot;@&quot; &quot;">
                  <c:v>0</c:v>
                </c:pt>
                <c:pt idx="5845" formatCode="#,##0_);\(#,##0\);&quot;-  &quot;;&quot; &quot;@&quot; &quot;">
                  <c:v>0</c:v>
                </c:pt>
                <c:pt idx="5846" formatCode="#,##0_);\(#,##0\);&quot;-  &quot;;&quot; &quot;@&quot; &quot;">
                  <c:v>0</c:v>
                </c:pt>
                <c:pt idx="5847" formatCode="#,##0_);\(#,##0\);&quot;-  &quot;;&quot; &quot;@&quot; &quot;">
                  <c:v>0</c:v>
                </c:pt>
                <c:pt idx="5848" formatCode="#,##0_);\(#,##0\);&quot;-  &quot;;&quot; &quot;@&quot; &quot;">
                  <c:v>0</c:v>
                </c:pt>
                <c:pt idx="5849" formatCode="#,##0_);\(#,##0\);&quot;-  &quot;;&quot; &quot;@&quot; &quot;">
                  <c:v>0</c:v>
                </c:pt>
                <c:pt idx="5850" formatCode="#,##0_);\(#,##0\);&quot;-  &quot;;&quot; &quot;@&quot; &quot;">
                  <c:v>0</c:v>
                </c:pt>
                <c:pt idx="5851" formatCode="#,##0_);\(#,##0\);&quot;-  &quot;;&quot; &quot;@&quot; &quot;">
                  <c:v>0</c:v>
                </c:pt>
                <c:pt idx="5852" formatCode="#,##0_);\(#,##0\);&quot;-  &quot;;&quot; &quot;@&quot; &quot;">
                  <c:v>0</c:v>
                </c:pt>
                <c:pt idx="5853" formatCode="#,##0_);\(#,##0\);&quot;-  &quot;;&quot; &quot;@&quot; &quot;">
                  <c:v>0</c:v>
                </c:pt>
                <c:pt idx="5854" formatCode="#,##0_);\(#,##0\);&quot;-  &quot;;&quot; &quot;@&quot; &quot;">
                  <c:v>0</c:v>
                </c:pt>
                <c:pt idx="5855" formatCode="#,##0_);\(#,##0\);&quot;-  &quot;;&quot; &quot;@&quot; &quot;">
                  <c:v>0</c:v>
                </c:pt>
                <c:pt idx="5856" formatCode="#,##0_);\(#,##0\);&quot;-  &quot;;&quot; &quot;@&quot; &quot;">
                  <c:v>0</c:v>
                </c:pt>
                <c:pt idx="5857" formatCode="#,##0_);\(#,##0\);&quot;-  &quot;;&quot; &quot;@&quot; &quot;">
                  <c:v>0</c:v>
                </c:pt>
                <c:pt idx="5858" formatCode="#,##0_);\(#,##0\);&quot;-  &quot;;&quot; &quot;@&quot; &quot;">
                  <c:v>0</c:v>
                </c:pt>
                <c:pt idx="5859" formatCode="#,##0_);\(#,##0\);&quot;-  &quot;;&quot; &quot;@&quot; &quot;">
                  <c:v>0</c:v>
                </c:pt>
                <c:pt idx="5860" formatCode="#,##0_);\(#,##0\);&quot;-  &quot;;&quot; &quot;@&quot; &quot;">
                  <c:v>0</c:v>
                </c:pt>
                <c:pt idx="5861" formatCode="#,##0_);\(#,##0\);&quot;-  &quot;;&quot; &quot;@&quot; &quot;">
                  <c:v>0</c:v>
                </c:pt>
                <c:pt idx="5862" formatCode="#,##0_);\(#,##0\);&quot;-  &quot;;&quot; &quot;@&quot; &quot;">
                  <c:v>0</c:v>
                </c:pt>
                <c:pt idx="5863" formatCode="#,##0_);\(#,##0\);&quot;-  &quot;;&quot; &quot;@&quot; &quot;">
                  <c:v>0</c:v>
                </c:pt>
                <c:pt idx="5864" formatCode="#,##0_);\(#,##0\);&quot;-  &quot;;&quot; &quot;@&quot; &quot;">
                  <c:v>0</c:v>
                </c:pt>
                <c:pt idx="5865" formatCode="#,##0_);\(#,##0\);&quot;-  &quot;;&quot; &quot;@&quot; &quot;">
                  <c:v>0</c:v>
                </c:pt>
                <c:pt idx="5866" formatCode="#,##0_);\(#,##0\);&quot;-  &quot;;&quot; &quot;@&quot; &quot;">
                  <c:v>0</c:v>
                </c:pt>
                <c:pt idx="5867" formatCode="#,##0_);\(#,##0\);&quot;-  &quot;;&quot; &quot;@&quot; &quot;">
                  <c:v>0</c:v>
                </c:pt>
                <c:pt idx="5868" formatCode="#,##0_);\(#,##0\);&quot;-  &quot;;&quot; &quot;@&quot; &quot;">
                  <c:v>0</c:v>
                </c:pt>
                <c:pt idx="5869" formatCode="#,##0_);\(#,##0\);&quot;-  &quot;;&quot; &quot;@&quot; &quot;">
                  <c:v>0</c:v>
                </c:pt>
                <c:pt idx="5870" formatCode="#,##0_);\(#,##0\);&quot;-  &quot;;&quot; &quot;@&quot; &quot;">
                  <c:v>0</c:v>
                </c:pt>
                <c:pt idx="5871" formatCode="#,##0_);\(#,##0\);&quot;-  &quot;;&quot; &quot;@&quot; &quot;">
                  <c:v>0</c:v>
                </c:pt>
                <c:pt idx="5872" formatCode="#,##0_);\(#,##0\);&quot;-  &quot;;&quot; &quot;@&quot; &quot;">
                  <c:v>0</c:v>
                </c:pt>
                <c:pt idx="5873" formatCode="#,##0_);\(#,##0\);&quot;-  &quot;;&quot; &quot;@&quot; &quot;">
                  <c:v>0</c:v>
                </c:pt>
                <c:pt idx="5874" formatCode="#,##0_);\(#,##0\);&quot;-  &quot;;&quot; &quot;@&quot; &quot;">
                  <c:v>0</c:v>
                </c:pt>
                <c:pt idx="5875" formatCode="#,##0_);\(#,##0\);&quot;-  &quot;;&quot; &quot;@&quot; &quot;">
                  <c:v>0</c:v>
                </c:pt>
                <c:pt idx="5876" formatCode="#,##0_);\(#,##0\);&quot;-  &quot;;&quot; &quot;@&quot; &quot;">
                  <c:v>0</c:v>
                </c:pt>
                <c:pt idx="5877" formatCode="#,##0_);\(#,##0\);&quot;-  &quot;;&quot; &quot;@&quot; &quot;">
                  <c:v>0</c:v>
                </c:pt>
                <c:pt idx="5878" formatCode="#,##0_);\(#,##0\);&quot;-  &quot;;&quot; &quot;@&quot; &quot;">
                  <c:v>0</c:v>
                </c:pt>
                <c:pt idx="5879" formatCode="#,##0_);\(#,##0\);&quot;-  &quot;;&quot; &quot;@&quot; &quot;">
                  <c:v>0</c:v>
                </c:pt>
                <c:pt idx="5880" formatCode="#,##0_);\(#,##0\);&quot;-  &quot;;&quot; &quot;@&quot; &quot;">
                  <c:v>0</c:v>
                </c:pt>
                <c:pt idx="5881" formatCode="#,##0_);\(#,##0\);&quot;-  &quot;;&quot; &quot;@&quot; &quot;">
                  <c:v>0</c:v>
                </c:pt>
                <c:pt idx="5882" formatCode="#,##0_);\(#,##0\);&quot;-  &quot;;&quot; &quot;@&quot; &quot;">
                  <c:v>0</c:v>
                </c:pt>
                <c:pt idx="5883" formatCode="#,##0_);\(#,##0\);&quot;-  &quot;;&quot; &quot;@&quot; &quot;">
                  <c:v>0</c:v>
                </c:pt>
                <c:pt idx="5884" formatCode="#,##0_);\(#,##0\);&quot;-  &quot;;&quot; &quot;@&quot; &quot;">
                  <c:v>0</c:v>
                </c:pt>
                <c:pt idx="5885" formatCode="#,##0_);\(#,##0\);&quot;-  &quot;;&quot; &quot;@&quot; &quot;">
                  <c:v>0</c:v>
                </c:pt>
                <c:pt idx="5886" formatCode="#,##0_);\(#,##0\);&quot;-  &quot;;&quot; &quot;@&quot; &quot;">
                  <c:v>0</c:v>
                </c:pt>
                <c:pt idx="5887" formatCode="#,##0_);\(#,##0\);&quot;-  &quot;;&quot; &quot;@&quot; &quot;">
                  <c:v>0</c:v>
                </c:pt>
                <c:pt idx="5888" formatCode="#,##0_);\(#,##0\);&quot;-  &quot;;&quot; &quot;@&quot; &quot;">
                  <c:v>0</c:v>
                </c:pt>
                <c:pt idx="5889" formatCode="#,##0_);\(#,##0\);&quot;-  &quot;;&quot; &quot;@&quot; &quot;">
                  <c:v>0</c:v>
                </c:pt>
                <c:pt idx="5890" formatCode="#,##0_);\(#,##0\);&quot;-  &quot;;&quot; &quot;@&quot; &quot;">
                  <c:v>0</c:v>
                </c:pt>
                <c:pt idx="5891" formatCode="#,##0_);\(#,##0\);&quot;-  &quot;;&quot; &quot;@&quot; &quot;">
                  <c:v>0</c:v>
                </c:pt>
                <c:pt idx="5892" formatCode="#,##0_);\(#,##0\);&quot;-  &quot;;&quot; &quot;@&quot; &quot;">
                  <c:v>0</c:v>
                </c:pt>
                <c:pt idx="5893" formatCode="#,##0_);\(#,##0\);&quot;-  &quot;;&quot; &quot;@&quot; &quot;">
                  <c:v>0</c:v>
                </c:pt>
                <c:pt idx="5894" formatCode="#,##0_);\(#,##0\);&quot;-  &quot;;&quot; &quot;@&quot; &quot;">
                  <c:v>0</c:v>
                </c:pt>
                <c:pt idx="5895" formatCode="#,##0_);\(#,##0\);&quot;-  &quot;;&quot; &quot;@&quot; &quot;">
                  <c:v>0</c:v>
                </c:pt>
                <c:pt idx="5896" formatCode="#,##0_);\(#,##0\);&quot;-  &quot;;&quot; &quot;@&quot; &quot;">
                  <c:v>0</c:v>
                </c:pt>
                <c:pt idx="5897" formatCode="#,##0_);\(#,##0\);&quot;-  &quot;;&quot; &quot;@&quot; &quot;">
                  <c:v>0</c:v>
                </c:pt>
                <c:pt idx="5898" formatCode="#,##0_);\(#,##0\);&quot;-  &quot;;&quot; &quot;@&quot; &quot;">
                  <c:v>0</c:v>
                </c:pt>
                <c:pt idx="5899" formatCode="#,##0_);\(#,##0\);&quot;-  &quot;;&quot; &quot;@&quot; &quot;">
                  <c:v>0</c:v>
                </c:pt>
                <c:pt idx="5900" formatCode="#,##0_);\(#,##0\);&quot;-  &quot;;&quot; &quot;@&quot; &quot;">
                  <c:v>0</c:v>
                </c:pt>
                <c:pt idx="5901" formatCode="#,##0_);\(#,##0\);&quot;-  &quot;;&quot; &quot;@&quot; &quot;">
                  <c:v>0</c:v>
                </c:pt>
                <c:pt idx="5902" formatCode="#,##0_);\(#,##0\);&quot;-  &quot;;&quot; &quot;@&quot; &quot;">
                  <c:v>0</c:v>
                </c:pt>
                <c:pt idx="5903" formatCode="#,##0_);\(#,##0\);&quot;-  &quot;;&quot; &quot;@&quot; &quot;">
                  <c:v>0</c:v>
                </c:pt>
                <c:pt idx="5904" formatCode="#,##0_);\(#,##0\);&quot;-  &quot;;&quot; &quot;@&quot; &quot;">
                  <c:v>0</c:v>
                </c:pt>
                <c:pt idx="5905" formatCode="#,##0_);\(#,##0\);&quot;-  &quot;;&quot; &quot;@&quot; &quot;">
                  <c:v>0</c:v>
                </c:pt>
                <c:pt idx="5906" formatCode="#,##0_);\(#,##0\);&quot;-  &quot;;&quot; &quot;@&quot; &quot;">
                  <c:v>0</c:v>
                </c:pt>
                <c:pt idx="5907" formatCode="#,##0_);\(#,##0\);&quot;-  &quot;;&quot; &quot;@&quot; &quot;">
                  <c:v>0</c:v>
                </c:pt>
                <c:pt idx="5908" formatCode="#,##0_);\(#,##0\);&quot;-  &quot;;&quot; &quot;@&quot; &quot;">
                  <c:v>0</c:v>
                </c:pt>
                <c:pt idx="5909" formatCode="#,##0_);\(#,##0\);&quot;-  &quot;;&quot; &quot;@&quot; &quot;">
                  <c:v>0</c:v>
                </c:pt>
                <c:pt idx="5910" formatCode="#,##0_);\(#,##0\);&quot;-  &quot;;&quot; &quot;@&quot; &quot;">
                  <c:v>0</c:v>
                </c:pt>
                <c:pt idx="5911" formatCode="#,##0_);\(#,##0\);&quot;-  &quot;;&quot; &quot;@&quot; &quot;">
                  <c:v>0</c:v>
                </c:pt>
                <c:pt idx="5912" formatCode="#,##0_);\(#,##0\);&quot;-  &quot;;&quot; &quot;@&quot; &quot;">
                  <c:v>0</c:v>
                </c:pt>
                <c:pt idx="5913" formatCode="#,##0_);\(#,##0\);&quot;-  &quot;;&quot; &quot;@&quot; &quot;">
                  <c:v>0</c:v>
                </c:pt>
                <c:pt idx="5914" formatCode="#,##0_);\(#,##0\);&quot;-  &quot;;&quot; &quot;@&quot; &quot;">
                  <c:v>0</c:v>
                </c:pt>
                <c:pt idx="5915" formatCode="#,##0_);\(#,##0\);&quot;-  &quot;;&quot; &quot;@&quot; &quot;">
                  <c:v>0</c:v>
                </c:pt>
                <c:pt idx="5916" formatCode="#,##0_);\(#,##0\);&quot;-  &quot;;&quot; &quot;@&quot; &quot;">
                  <c:v>0</c:v>
                </c:pt>
                <c:pt idx="5917" formatCode="#,##0_);\(#,##0\);&quot;-  &quot;;&quot; &quot;@&quot; &quot;">
                  <c:v>0</c:v>
                </c:pt>
                <c:pt idx="5918" formatCode="#,##0_);\(#,##0\);&quot;-  &quot;;&quot; &quot;@&quot; &quot;">
                  <c:v>0</c:v>
                </c:pt>
                <c:pt idx="5919" formatCode="#,##0_);\(#,##0\);&quot;-  &quot;;&quot; &quot;@&quot; &quot;">
                  <c:v>0</c:v>
                </c:pt>
                <c:pt idx="5920" formatCode="#,##0_);\(#,##0\);&quot;-  &quot;;&quot; &quot;@&quot; &quot;">
                  <c:v>0</c:v>
                </c:pt>
                <c:pt idx="5921" formatCode="#,##0_);\(#,##0\);&quot;-  &quot;;&quot; &quot;@&quot; &quot;">
                  <c:v>0</c:v>
                </c:pt>
                <c:pt idx="5922" formatCode="#,##0_);\(#,##0\);&quot;-  &quot;;&quot; &quot;@&quot; &quot;">
                  <c:v>0</c:v>
                </c:pt>
                <c:pt idx="5923" formatCode="#,##0_);\(#,##0\);&quot;-  &quot;;&quot; &quot;@&quot; &quot;">
                  <c:v>0</c:v>
                </c:pt>
                <c:pt idx="5924" formatCode="#,##0_);\(#,##0\);&quot;-  &quot;;&quot; &quot;@&quot; &quot;">
                  <c:v>0</c:v>
                </c:pt>
                <c:pt idx="5925" formatCode="#,##0_);\(#,##0\);&quot;-  &quot;;&quot; &quot;@&quot; &quot;">
                  <c:v>0</c:v>
                </c:pt>
                <c:pt idx="5926" formatCode="#,##0_);\(#,##0\);&quot;-  &quot;;&quot; &quot;@&quot; &quot;">
                  <c:v>0</c:v>
                </c:pt>
                <c:pt idx="5927" formatCode="#,##0_);\(#,##0\);&quot;-  &quot;;&quot; &quot;@&quot; &quot;">
                  <c:v>0</c:v>
                </c:pt>
                <c:pt idx="5928" formatCode="#,##0_);\(#,##0\);&quot;-  &quot;;&quot; &quot;@&quot; &quot;">
                  <c:v>0</c:v>
                </c:pt>
                <c:pt idx="5929" formatCode="#,##0_);\(#,##0\);&quot;-  &quot;;&quot; &quot;@&quot; &quot;">
                  <c:v>0</c:v>
                </c:pt>
                <c:pt idx="5930" formatCode="#,##0_);\(#,##0\);&quot;-  &quot;;&quot; &quot;@&quot; &quot;">
                  <c:v>0</c:v>
                </c:pt>
                <c:pt idx="5931" formatCode="#,##0_);\(#,##0\);&quot;-  &quot;;&quot; &quot;@&quot; &quot;">
                  <c:v>0</c:v>
                </c:pt>
                <c:pt idx="5932" formatCode="#,##0_);\(#,##0\);&quot;-  &quot;;&quot; &quot;@&quot; &quot;">
                  <c:v>0</c:v>
                </c:pt>
                <c:pt idx="5933" formatCode="#,##0_);\(#,##0\);&quot;-  &quot;;&quot; &quot;@&quot; &quot;">
                  <c:v>0</c:v>
                </c:pt>
                <c:pt idx="5934" formatCode="#,##0_);\(#,##0\);&quot;-  &quot;;&quot; &quot;@&quot; &quot;">
                  <c:v>0</c:v>
                </c:pt>
                <c:pt idx="5935" formatCode="#,##0_);\(#,##0\);&quot;-  &quot;;&quot; &quot;@&quot; &quot;">
                  <c:v>0</c:v>
                </c:pt>
                <c:pt idx="5936" formatCode="#,##0_);\(#,##0\);&quot;-  &quot;;&quot; &quot;@&quot; &quot;">
                  <c:v>0</c:v>
                </c:pt>
                <c:pt idx="5937" formatCode="#,##0_);\(#,##0\);&quot;-  &quot;;&quot; &quot;@&quot; &quot;">
                  <c:v>0</c:v>
                </c:pt>
                <c:pt idx="5938" formatCode="#,##0_);\(#,##0\);&quot;-  &quot;;&quot; &quot;@&quot; &quot;">
                  <c:v>0</c:v>
                </c:pt>
                <c:pt idx="5939" formatCode="#,##0_);\(#,##0\);&quot;-  &quot;;&quot; &quot;@&quot; &quot;">
                  <c:v>0</c:v>
                </c:pt>
                <c:pt idx="5940" formatCode="#,##0_);\(#,##0\);&quot;-  &quot;;&quot; &quot;@&quot; &quot;">
                  <c:v>0</c:v>
                </c:pt>
                <c:pt idx="5941" formatCode="#,##0_);\(#,##0\);&quot;-  &quot;;&quot; &quot;@&quot; &quot;">
                  <c:v>0</c:v>
                </c:pt>
                <c:pt idx="5942" formatCode="#,##0_);\(#,##0\);&quot;-  &quot;;&quot; &quot;@&quot; &quot;">
                  <c:v>0</c:v>
                </c:pt>
                <c:pt idx="5943" formatCode="#,##0_);\(#,##0\);&quot;-  &quot;;&quot; &quot;@&quot; &quot;">
                  <c:v>0</c:v>
                </c:pt>
                <c:pt idx="5944" formatCode="#,##0_);\(#,##0\);&quot;-  &quot;;&quot; &quot;@&quot; &quot;">
                  <c:v>0</c:v>
                </c:pt>
                <c:pt idx="5945" formatCode="#,##0_);\(#,##0\);&quot;-  &quot;;&quot; &quot;@&quot; &quot;">
                  <c:v>0</c:v>
                </c:pt>
                <c:pt idx="5946" formatCode="#,##0_);\(#,##0\);&quot;-  &quot;;&quot; &quot;@&quot; &quot;">
                  <c:v>0</c:v>
                </c:pt>
                <c:pt idx="5947" formatCode="#,##0_);\(#,##0\);&quot;-  &quot;;&quot; &quot;@&quot; &quot;">
                  <c:v>0</c:v>
                </c:pt>
                <c:pt idx="5948" formatCode="#,##0_);\(#,##0\);&quot;-  &quot;;&quot; &quot;@&quot; &quot;">
                  <c:v>0</c:v>
                </c:pt>
                <c:pt idx="5949" formatCode="#,##0_);\(#,##0\);&quot;-  &quot;;&quot; &quot;@&quot; &quot;">
                  <c:v>0</c:v>
                </c:pt>
                <c:pt idx="5950" formatCode="#,##0_);\(#,##0\);&quot;-  &quot;;&quot; &quot;@&quot; &quot;">
                  <c:v>0</c:v>
                </c:pt>
                <c:pt idx="5951" formatCode="#,##0_);\(#,##0\);&quot;-  &quot;;&quot; &quot;@&quot; &quot;">
                  <c:v>0</c:v>
                </c:pt>
                <c:pt idx="5952" formatCode="#,##0_);\(#,##0\);&quot;-  &quot;;&quot; &quot;@&quot; &quot;">
                  <c:v>0</c:v>
                </c:pt>
                <c:pt idx="5953" formatCode="#,##0_);\(#,##0\);&quot;-  &quot;;&quot; &quot;@&quot; &quot;">
                  <c:v>0</c:v>
                </c:pt>
                <c:pt idx="5954" formatCode="#,##0_);\(#,##0\);&quot;-  &quot;;&quot; &quot;@&quot; &quot;">
                  <c:v>0</c:v>
                </c:pt>
                <c:pt idx="5955" formatCode="#,##0_);\(#,##0\);&quot;-  &quot;;&quot; &quot;@&quot; &quot;">
                  <c:v>0</c:v>
                </c:pt>
                <c:pt idx="5956" formatCode="#,##0_);\(#,##0\);&quot;-  &quot;;&quot; &quot;@&quot; &quot;">
                  <c:v>0</c:v>
                </c:pt>
                <c:pt idx="5957" formatCode="#,##0_);\(#,##0\);&quot;-  &quot;;&quot; &quot;@&quot; &quot;">
                  <c:v>0</c:v>
                </c:pt>
                <c:pt idx="5958" formatCode="#,##0_);\(#,##0\);&quot;-  &quot;;&quot; &quot;@&quot; &quot;">
                  <c:v>0</c:v>
                </c:pt>
                <c:pt idx="5959" formatCode="#,##0_);\(#,##0\);&quot;-  &quot;;&quot; &quot;@&quot; &quot;">
                  <c:v>0</c:v>
                </c:pt>
                <c:pt idx="5960" formatCode="#,##0_);\(#,##0\);&quot;-  &quot;;&quot; &quot;@&quot; &quot;">
                  <c:v>0</c:v>
                </c:pt>
                <c:pt idx="5961" formatCode="#,##0_);\(#,##0\);&quot;-  &quot;;&quot; &quot;@&quot; &quot;">
                  <c:v>0</c:v>
                </c:pt>
                <c:pt idx="5962" formatCode="#,##0_);\(#,##0\);&quot;-  &quot;;&quot; &quot;@&quot; &quot;">
                  <c:v>0</c:v>
                </c:pt>
                <c:pt idx="5963" formatCode="#,##0_);\(#,##0\);&quot;-  &quot;;&quot; &quot;@&quot; &quot;">
                  <c:v>0</c:v>
                </c:pt>
                <c:pt idx="5964" formatCode="#,##0_);\(#,##0\);&quot;-  &quot;;&quot; &quot;@&quot; &quot;">
                  <c:v>0</c:v>
                </c:pt>
                <c:pt idx="5965" formatCode="#,##0_);\(#,##0\);&quot;-  &quot;;&quot; &quot;@&quot; &quot;">
                  <c:v>0</c:v>
                </c:pt>
                <c:pt idx="5966" formatCode="#,##0_);\(#,##0\);&quot;-  &quot;;&quot; &quot;@&quot; &quot;">
                  <c:v>0</c:v>
                </c:pt>
                <c:pt idx="5967" formatCode="#,##0_);\(#,##0\);&quot;-  &quot;;&quot; &quot;@&quot; &quot;">
                  <c:v>0</c:v>
                </c:pt>
                <c:pt idx="5968" formatCode="#,##0_);\(#,##0\);&quot;-  &quot;;&quot; &quot;@&quot; &quot;">
                  <c:v>0</c:v>
                </c:pt>
                <c:pt idx="5969" formatCode="#,##0_);\(#,##0\);&quot;-  &quot;;&quot; &quot;@&quot; &quot;">
                  <c:v>0</c:v>
                </c:pt>
                <c:pt idx="5970" formatCode="#,##0_);\(#,##0\);&quot;-  &quot;;&quot; &quot;@&quot; &quot;">
                  <c:v>0</c:v>
                </c:pt>
                <c:pt idx="5971" formatCode="#,##0_);\(#,##0\);&quot;-  &quot;;&quot; &quot;@&quot; &quot;">
                  <c:v>0</c:v>
                </c:pt>
                <c:pt idx="5972" formatCode="#,##0_);\(#,##0\);&quot;-  &quot;;&quot; &quot;@&quot; &quot;">
                  <c:v>0</c:v>
                </c:pt>
                <c:pt idx="5973" formatCode="#,##0_);\(#,##0\);&quot;-  &quot;;&quot; &quot;@&quot; &quot;">
                  <c:v>0</c:v>
                </c:pt>
                <c:pt idx="5974" formatCode="#,##0_);\(#,##0\);&quot;-  &quot;;&quot; &quot;@&quot; &quot;">
                  <c:v>0</c:v>
                </c:pt>
                <c:pt idx="5975" formatCode="#,##0_);\(#,##0\);&quot;-  &quot;;&quot; &quot;@&quot; &quot;">
                  <c:v>0</c:v>
                </c:pt>
                <c:pt idx="5976" formatCode="#,##0_);\(#,##0\);&quot;-  &quot;;&quot; &quot;@&quot; &quot;">
                  <c:v>0</c:v>
                </c:pt>
                <c:pt idx="5977" formatCode="#,##0_);\(#,##0\);&quot;-  &quot;;&quot; &quot;@&quot; &quot;">
                  <c:v>0</c:v>
                </c:pt>
                <c:pt idx="5978" formatCode="#,##0_);\(#,##0\);&quot;-  &quot;;&quot; &quot;@&quot; &quot;">
                  <c:v>0</c:v>
                </c:pt>
                <c:pt idx="5979" formatCode="#,##0_);\(#,##0\);&quot;-  &quot;;&quot; &quot;@&quot; &quot;">
                  <c:v>0</c:v>
                </c:pt>
                <c:pt idx="5980" formatCode="#,##0_);\(#,##0\);&quot;-  &quot;;&quot; &quot;@&quot; &quot;">
                  <c:v>0</c:v>
                </c:pt>
                <c:pt idx="5981" formatCode="#,##0_);\(#,##0\);&quot;-  &quot;;&quot; &quot;@&quot; &quot;">
                  <c:v>0</c:v>
                </c:pt>
                <c:pt idx="5982" formatCode="#,##0_);\(#,##0\);&quot;-  &quot;;&quot; &quot;@&quot; &quot;">
                  <c:v>0</c:v>
                </c:pt>
                <c:pt idx="5983" formatCode="#,##0_);\(#,##0\);&quot;-  &quot;;&quot; &quot;@&quot; &quot;">
                  <c:v>0</c:v>
                </c:pt>
                <c:pt idx="5984" formatCode="#,##0_);\(#,##0\);&quot;-  &quot;;&quot; &quot;@&quot; &quot;">
                  <c:v>0</c:v>
                </c:pt>
                <c:pt idx="5985" formatCode="#,##0_);\(#,##0\);&quot;-  &quot;;&quot; &quot;@&quot; &quot;">
                  <c:v>0</c:v>
                </c:pt>
                <c:pt idx="5986" formatCode="#,##0_);\(#,##0\);&quot;-  &quot;;&quot; &quot;@&quot; &quot;">
                  <c:v>0</c:v>
                </c:pt>
                <c:pt idx="5987" formatCode="#,##0_);\(#,##0\);&quot;-  &quot;;&quot; &quot;@&quot; &quot;">
                  <c:v>0</c:v>
                </c:pt>
                <c:pt idx="5988" formatCode="#,##0_);\(#,##0\);&quot;-  &quot;;&quot; &quot;@&quot; &quot;">
                  <c:v>0</c:v>
                </c:pt>
                <c:pt idx="5989" formatCode="#,##0_);\(#,##0\);&quot;-  &quot;;&quot; &quot;@&quot; &quot;">
                  <c:v>0</c:v>
                </c:pt>
                <c:pt idx="5990" formatCode="#,##0_);\(#,##0\);&quot;-  &quot;;&quot; &quot;@&quot; &quot;">
                  <c:v>0</c:v>
                </c:pt>
                <c:pt idx="5991" formatCode="#,##0_);\(#,##0\);&quot;-  &quot;;&quot; &quot;@&quot; &quot;">
                  <c:v>0</c:v>
                </c:pt>
                <c:pt idx="5992" formatCode="#,##0_);\(#,##0\);&quot;-  &quot;;&quot; &quot;@&quot; &quot;">
                  <c:v>0</c:v>
                </c:pt>
                <c:pt idx="5993" formatCode="#,##0_);\(#,##0\);&quot;-  &quot;;&quot; &quot;@&quot; &quot;">
                  <c:v>0</c:v>
                </c:pt>
                <c:pt idx="5994" formatCode="#,##0_);\(#,##0\);&quot;-  &quot;;&quot; &quot;@&quot; &quot;">
                  <c:v>0</c:v>
                </c:pt>
                <c:pt idx="5995" formatCode="#,##0_);\(#,##0\);&quot;-  &quot;;&quot; &quot;@&quot; &quot;">
                  <c:v>0</c:v>
                </c:pt>
                <c:pt idx="5996" formatCode="#,##0_);\(#,##0\);&quot;-  &quot;;&quot; &quot;@&quot; &quot;">
                  <c:v>0</c:v>
                </c:pt>
                <c:pt idx="5997" formatCode="#,##0_);\(#,##0\);&quot;-  &quot;;&quot; &quot;@&quot; &quot;">
                  <c:v>0</c:v>
                </c:pt>
                <c:pt idx="5998" formatCode="#,##0_);\(#,##0\);&quot;-  &quot;;&quot; &quot;@&quot; &quot;">
                  <c:v>0</c:v>
                </c:pt>
                <c:pt idx="5999" formatCode="#,##0_);\(#,##0\);&quot;-  &quot;;&quot; &quot;@&quot; &quot;">
                  <c:v>0</c:v>
                </c:pt>
                <c:pt idx="6000" formatCode="#,##0_);\(#,##0\);&quot;-  &quot;;&quot; &quot;@&quot; &quot;">
                  <c:v>0</c:v>
                </c:pt>
                <c:pt idx="6001" formatCode="#,##0_);\(#,##0\);&quot;-  &quot;;&quot; &quot;@&quot; &quot;">
                  <c:v>0</c:v>
                </c:pt>
                <c:pt idx="6002" formatCode="#,##0_);\(#,##0\);&quot;-  &quot;;&quot; &quot;@&quot; &quot;">
                  <c:v>0</c:v>
                </c:pt>
                <c:pt idx="6003" formatCode="#,##0_);\(#,##0\);&quot;-  &quot;;&quot; &quot;@&quot; &quot;">
                  <c:v>0</c:v>
                </c:pt>
                <c:pt idx="6004" formatCode="#,##0_);\(#,##0\);&quot;-  &quot;;&quot; &quot;@&quot; &quot;">
                  <c:v>0</c:v>
                </c:pt>
                <c:pt idx="6005" formatCode="#,##0_);\(#,##0\);&quot;-  &quot;;&quot; &quot;@&quot; &quot;">
                  <c:v>0</c:v>
                </c:pt>
                <c:pt idx="6006" formatCode="#,##0_);\(#,##0\);&quot;-  &quot;;&quot; &quot;@&quot; &quot;">
                  <c:v>0</c:v>
                </c:pt>
                <c:pt idx="6007" formatCode="#,##0_);\(#,##0\);&quot;-  &quot;;&quot; &quot;@&quot; &quot;">
                  <c:v>0</c:v>
                </c:pt>
                <c:pt idx="6008" formatCode="#,##0_);\(#,##0\);&quot;-  &quot;;&quot; &quot;@&quot; &quot;">
                  <c:v>0</c:v>
                </c:pt>
                <c:pt idx="6009" formatCode="#,##0_);\(#,##0\);&quot;-  &quot;;&quot; &quot;@&quot; &quot;">
                  <c:v>0</c:v>
                </c:pt>
                <c:pt idx="6010" formatCode="#,##0_);\(#,##0\);&quot;-  &quot;;&quot; &quot;@&quot; &quot;">
                  <c:v>0</c:v>
                </c:pt>
                <c:pt idx="6011" formatCode="#,##0_);\(#,##0\);&quot;-  &quot;;&quot; &quot;@&quot; &quot;">
                  <c:v>0</c:v>
                </c:pt>
                <c:pt idx="6012" formatCode="#,##0_);\(#,##0\);&quot;-  &quot;;&quot; &quot;@&quot; &quot;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83F-40E7-97EE-865B99DAA1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916279"/>
        <c:axId val="106918439"/>
      </c:lineChart>
      <c:dateAx>
        <c:axId val="106916279"/>
        <c:scaling>
          <c:orientation val="minMax"/>
          <c:max val="45992"/>
          <c:min val="43466"/>
        </c:scaling>
        <c:delete val="0"/>
        <c:axPos val="b"/>
        <c:numFmt formatCode="yyyy" sourceLinked="0"/>
        <c:majorTickMark val="out"/>
        <c:minorTickMark val="none"/>
        <c:tickLblPos val="low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06918439"/>
        <c:crosses val="autoZero"/>
        <c:auto val="0"/>
        <c:lblOffset val="100"/>
        <c:baseTimeUnit val="days"/>
        <c:majorUnit val="1"/>
        <c:majorTimeUnit val="years"/>
      </c:dateAx>
      <c:valAx>
        <c:axId val="106918439"/>
        <c:scaling>
          <c:orientation val="minMax"/>
          <c:max val="180"/>
          <c:min val="0"/>
        </c:scaling>
        <c:delete val="0"/>
        <c:axPos val="l"/>
        <c:title>
          <c:tx>
            <c:rich>
              <a:bodyPr rot="0"/>
              <a:lstStyle/>
              <a:p>
                <a:pPr>
                  <a:defRPr b="0"/>
                </a:pPr>
                <a:r>
                  <a:rPr lang="pl-PL" b="0"/>
                  <a:t>USD/bbl</a:t>
                </a:r>
                <a:endParaRPr lang="en-US" b="0"/>
              </a:p>
            </c:rich>
          </c:tx>
          <c:layout>
            <c:manualLayout>
              <c:xMode val="edge"/>
              <c:yMode val="edge"/>
              <c:x val="2.3875786163522011E-2"/>
              <c:y val="6.3860332294911736E-3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9525">
            <a:solidFill>
              <a:sysClr val="windowText" lastClr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069162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1019444444444443"/>
          <c:y val="4.3185331000291621E-2"/>
          <c:w val="0.78516666666666657"/>
          <c:h val="0.17903689122193059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  <c:extLst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>
          <a:solidFill>
            <a:sysClr val="windowText" lastClr="000000"/>
          </a:solidFill>
        </a:defRPr>
      </a:pPr>
      <a:endParaRPr lang="en-US"/>
    </a:p>
  </c:txPr>
  <c:externalData r:id="rId2">
    <c:autoUpdate val="0"/>
  </c:externalData>
  <c:userShapes r:id="rId3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1706824146981624E-2"/>
          <c:y val="0.12796678880486473"/>
          <c:w val="0.8757041994750655"/>
          <c:h val="0.69227540864322656"/>
        </c:manualLayout>
      </c:layout>
      <c:lineChart>
        <c:grouping val="standard"/>
        <c:varyColors val="0"/>
        <c:ser>
          <c:idx val="0"/>
          <c:order val="0"/>
          <c:tx>
            <c:strRef>
              <c:f>Sheet3!$C$2</c:f>
              <c:strCache>
                <c:ptCount val="1"/>
                <c:pt idx="0">
                  <c:v>Worl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3!$B$3:$B$103</c:f>
              <c:numCache>
                <c:formatCode>mmm\-yy</c:formatCode>
                <c:ptCount val="101"/>
                <c:pt idx="0">
                  <c:v>45659</c:v>
                </c:pt>
                <c:pt idx="1">
                  <c:v>45660</c:v>
                </c:pt>
                <c:pt idx="2">
                  <c:v>45663</c:v>
                </c:pt>
                <c:pt idx="3">
                  <c:v>45664</c:v>
                </c:pt>
                <c:pt idx="4">
                  <c:v>45665</c:v>
                </c:pt>
                <c:pt idx="5">
                  <c:v>45666</c:v>
                </c:pt>
                <c:pt idx="6">
                  <c:v>45667</c:v>
                </c:pt>
                <c:pt idx="7">
                  <c:v>45670</c:v>
                </c:pt>
                <c:pt idx="8">
                  <c:v>45671</c:v>
                </c:pt>
                <c:pt idx="9">
                  <c:v>45672</c:v>
                </c:pt>
                <c:pt idx="10">
                  <c:v>45673</c:v>
                </c:pt>
                <c:pt idx="11">
                  <c:v>45674</c:v>
                </c:pt>
                <c:pt idx="12">
                  <c:v>45677</c:v>
                </c:pt>
                <c:pt idx="13">
                  <c:v>45678</c:v>
                </c:pt>
                <c:pt idx="14">
                  <c:v>45679</c:v>
                </c:pt>
                <c:pt idx="15">
                  <c:v>45680</c:v>
                </c:pt>
                <c:pt idx="16">
                  <c:v>45681</c:v>
                </c:pt>
                <c:pt idx="17">
                  <c:v>45684</c:v>
                </c:pt>
                <c:pt idx="18">
                  <c:v>45685</c:v>
                </c:pt>
                <c:pt idx="19">
                  <c:v>45686</c:v>
                </c:pt>
                <c:pt idx="20">
                  <c:v>45687</c:v>
                </c:pt>
                <c:pt idx="21">
                  <c:v>45688</c:v>
                </c:pt>
                <c:pt idx="22">
                  <c:v>45691</c:v>
                </c:pt>
                <c:pt idx="23">
                  <c:v>45692</c:v>
                </c:pt>
                <c:pt idx="24">
                  <c:v>45693</c:v>
                </c:pt>
                <c:pt idx="25">
                  <c:v>45694</c:v>
                </c:pt>
                <c:pt idx="26">
                  <c:v>45695</c:v>
                </c:pt>
                <c:pt idx="27">
                  <c:v>45698</c:v>
                </c:pt>
                <c:pt idx="28">
                  <c:v>45699</c:v>
                </c:pt>
                <c:pt idx="29">
                  <c:v>45700</c:v>
                </c:pt>
                <c:pt idx="30">
                  <c:v>45701</c:v>
                </c:pt>
                <c:pt idx="31">
                  <c:v>45702</c:v>
                </c:pt>
                <c:pt idx="32">
                  <c:v>45705</c:v>
                </c:pt>
                <c:pt idx="33">
                  <c:v>45706</c:v>
                </c:pt>
                <c:pt idx="34">
                  <c:v>45707</c:v>
                </c:pt>
                <c:pt idx="35">
                  <c:v>45708</c:v>
                </c:pt>
                <c:pt idx="36">
                  <c:v>45709</c:v>
                </c:pt>
                <c:pt idx="37">
                  <c:v>45712</c:v>
                </c:pt>
                <c:pt idx="38">
                  <c:v>45713</c:v>
                </c:pt>
                <c:pt idx="39">
                  <c:v>45714</c:v>
                </c:pt>
                <c:pt idx="40">
                  <c:v>45715</c:v>
                </c:pt>
                <c:pt idx="41">
                  <c:v>45716</c:v>
                </c:pt>
                <c:pt idx="42">
                  <c:v>45719</c:v>
                </c:pt>
                <c:pt idx="43">
                  <c:v>45720</c:v>
                </c:pt>
                <c:pt idx="44">
                  <c:v>45721</c:v>
                </c:pt>
                <c:pt idx="45">
                  <c:v>45722</c:v>
                </c:pt>
                <c:pt idx="46">
                  <c:v>45723</c:v>
                </c:pt>
                <c:pt idx="47">
                  <c:v>45726</c:v>
                </c:pt>
                <c:pt idx="48">
                  <c:v>45727</c:v>
                </c:pt>
                <c:pt idx="49">
                  <c:v>45728</c:v>
                </c:pt>
                <c:pt idx="50">
                  <c:v>45729</c:v>
                </c:pt>
                <c:pt idx="51">
                  <c:v>45730</c:v>
                </c:pt>
                <c:pt idx="52">
                  <c:v>45733</c:v>
                </c:pt>
                <c:pt idx="53">
                  <c:v>45734</c:v>
                </c:pt>
                <c:pt idx="54">
                  <c:v>45735</c:v>
                </c:pt>
                <c:pt idx="55">
                  <c:v>45736</c:v>
                </c:pt>
                <c:pt idx="56">
                  <c:v>45737</c:v>
                </c:pt>
                <c:pt idx="57">
                  <c:v>45740</c:v>
                </c:pt>
                <c:pt idx="58">
                  <c:v>45741</c:v>
                </c:pt>
                <c:pt idx="59">
                  <c:v>45742</c:v>
                </c:pt>
                <c:pt idx="60">
                  <c:v>45743</c:v>
                </c:pt>
                <c:pt idx="61">
                  <c:v>45744</c:v>
                </c:pt>
                <c:pt idx="62">
                  <c:v>45747</c:v>
                </c:pt>
                <c:pt idx="63">
                  <c:v>45748</c:v>
                </c:pt>
                <c:pt idx="64">
                  <c:v>45749</c:v>
                </c:pt>
                <c:pt idx="65">
                  <c:v>45750</c:v>
                </c:pt>
                <c:pt idx="66">
                  <c:v>45751</c:v>
                </c:pt>
                <c:pt idx="67">
                  <c:v>45754</c:v>
                </c:pt>
                <c:pt idx="68">
                  <c:v>45755</c:v>
                </c:pt>
                <c:pt idx="69">
                  <c:v>45756</c:v>
                </c:pt>
                <c:pt idx="70">
                  <c:v>45757</c:v>
                </c:pt>
                <c:pt idx="71">
                  <c:v>45758</c:v>
                </c:pt>
                <c:pt idx="72">
                  <c:v>45761</c:v>
                </c:pt>
                <c:pt idx="73">
                  <c:v>45762</c:v>
                </c:pt>
                <c:pt idx="74">
                  <c:v>45763</c:v>
                </c:pt>
                <c:pt idx="75">
                  <c:v>45764</c:v>
                </c:pt>
                <c:pt idx="76">
                  <c:v>45768</c:v>
                </c:pt>
                <c:pt idx="77">
                  <c:v>45769</c:v>
                </c:pt>
                <c:pt idx="78">
                  <c:v>45770</c:v>
                </c:pt>
                <c:pt idx="79">
                  <c:v>45771</c:v>
                </c:pt>
                <c:pt idx="80">
                  <c:v>45772</c:v>
                </c:pt>
                <c:pt idx="81">
                  <c:v>45775</c:v>
                </c:pt>
                <c:pt idx="82">
                  <c:v>45776</c:v>
                </c:pt>
                <c:pt idx="83">
                  <c:v>45777</c:v>
                </c:pt>
                <c:pt idx="84">
                  <c:v>45778</c:v>
                </c:pt>
                <c:pt idx="85">
                  <c:v>45779</c:v>
                </c:pt>
                <c:pt idx="86">
                  <c:v>45782</c:v>
                </c:pt>
                <c:pt idx="87">
                  <c:v>45783</c:v>
                </c:pt>
                <c:pt idx="88">
                  <c:v>45784</c:v>
                </c:pt>
                <c:pt idx="89">
                  <c:v>45785</c:v>
                </c:pt>
                <c:pt idx="90">
                  <c:v>45786</c:v>
                </c:pt>
                <c:pt idx="91">
                  <c:v>45789</c:v>
                </c:pt>
                <c:pt idx="92">
                  <c:v>45790</c:v>
                </c:pt>
                <c:pt idx="93">
                  <c:v>45791</c:v>
                </c:pt>
                <c:pt idx="94">
                  <c:v>45792</c:v>
                </c:pt>
                <c:pt idx="95">
                  <c:v>45793</c:v>
                </c:pt>
                <c:pt idx="96">
                  <c:v>45796</c:v>
                </c:pt>
                <c:pt idx="97">
                  <c:v>45797</c:v>
                </c:pt>
                <c:pt idx="98">
                  <c:v>45798</c:v>
                </c:pt>
                <c:pt idx="99">
                  <c:v>45799</c:v>
                </c:pt>
                <c:pt idx="100">
                  <c:v>45800</c:v>
                </c:pt>
              </c:numCache>
            </c:numRef>
          </c:cat>
          <c:val>
            <c:numRef>
              <c:f>Sheet3!$C$3:$C$103</c:f>
              <c:numCache>
                <c:formatCode>General</c:formatCode>
                <c:ptCount val="101"/>
                <c:pt idx="0">
                  <c:v>93.84</c:v>
                </c:pt>
                <c:pt idx="1">
                  <c:v>94.16</c:v>
                </c:pt>
                <c:pt idx="2">
                  <c:v>94.49</c:v>
                </c:pt>
                <c:pt idx="3">
                  <c:v>94.32</c:v>
                </c:pt>
                <c:pt idx="4">
                  <c:v>93.73</c:v>
                </c:pt>
                <c:pt idx="5">
                  <c:v>93.69</c:v>
                </c:pt>
                <c:pt idx="6">
                  <c:v>96.93</c:v>
                </c:pt>
                <c:pt idx="7">
                  <c:v>99.28</c:v>
                </c:pt>
                <c:pt idx="8">
                  <c:v>98.24</c:v>
                </c:pt>
                <c:pt idx="9">
                  <c:v>100.65</c:v>
                </c:pt>
                <c:pt idx="10">
                  <c:v>100.41</c:v>
                </c:pt>
                <c:pt idx="11">
                  <c:v>100.97</c:v>
                </c:pt>
                <c:pt idx="12">
                  <c:v>100.62</c:v>
                </c:pt>
                <c:pt idx="13">
                  <c:v>98.96</c:v>
                </c:pt>
                <c:pt idx="14">
                  <c:v>96.97</c:v>
                </c:pt>
                <c:pt idx="15">
                  <c:v>96.2</c:v>
                </c:pt>
                <c:pt idx="16">
                  <c:v>96.84</c:v>
                </c:pt>
                <c:pt idx="17">
                  <c:v>94.63</c:v>
                </c:pt>
                <c:pt idx="18">
                  <c:v>94.34</c:v>
                </c:pt>
                <c:pt idx="19">
                  <c:v>94.78</c:v>
                </c:pt>
                <c:pt idx="20">
                  <c:v>95.31</c:v>
                </c:pt>
                <c:pt idx="21">
                  <c:v>95.61</c:v>
                </c:pt>
                <c:pt idx="22">
                  <c:v>97.34</c:v>
                </c:pt>
                <c:pt idx="23">
                  <c:v>96.17</c:v>
                </c:pt>
                <c:pt idx="24">
                  <c:v>95.08</c:v>
                </c:pt>
                <c:pt idx="25">
                  <c:v>94.52</c:v>
                </c:pt>
                <c:pt idx="26">
                  <c:v>95.03</c:v>
                </c:pt>
                <c:pt idx="27">
                  <c:v>95.81</c:v>
                </c:pt>
                <c:pt idx="28">
                  <c:v>97.8</c:v>
                </c:pt>
                <c:pt idx="29">
                  <c:v>96.4</c:v>
                </c:pt>
                <c:pt idx="30">
                  <c:v>95.14</c:v>
                </c:pt>
                <c:pt idx="31">
                  <c:v>95.41</c:v>
                </c:pt>
                <c:pt idx="32">
                  <c:v>95.15</c:v>
                </c:pt>
                <c:pt idx="33">
                  <c:v>95.03</c:v>
                </c:pt>
                <c:pt idx="34">
                  <c:v>95.24</c:v>
                </c:pt>
                <c:pt idx="35">
                  <c:v>96.08</c:v>
                </c:pt>
                <c:pt idx="36">
                  <c:v>94.34</c:v>
                </c:pt>
                <c:pt idx="37">
                  <c:v>93.39</c:v>
                </c:pt>
                <c:pt idx="38">
                  <c:v>91.94</c:v>
                </c:pt>
                <c:pt idx="39">
                  <c:v>90.33</c:v>
                </c:pt>
                <c:pt idx="40">
                  <c:v>91.2</c:v>
                </c:pt>
                <c:pt idx="41">
                  <c:v>90.44</c:v>
                </c:pt>
                <c:pt idx="42">
                  <c:v>89.19</c:v>
                </c:pt>
                <c:pt idx="43">
                  <c:v>88.88</c:v>
                </c:pt>
                <c:pt idx="44">
                  <c:v>87.32</c:v>
                </c:pt>
                <c:pt idx="45">
                  <c:v>87.33</c:v>
                </c:pt>
                <c:pt idx="46">
                  <c:v>87.25</c:v>
                </c:pt>
                <c:pt idx="47">
                  <c:v>86.18</c:v>
                </c:pt>
                <c:pt idx="48">
                  <c:v>86.42</c:v>
                </c:pt>
                <c:pt idx="49">
                  <c:v>87.12</c:v>
                </c:pt>
                <c:pt idx="50">
                  <c:v>86.82</c:v>
                </c:pt>
                <c:pt idx="51">
                  <c:v>86.9</c:v>
                </c:pt>
                <c:pt idx="52">
                  <c:v>87.93</c:v>
                </c:pt>
                <c:pt idx="53">
                  <c:v>87.95</c:v>
                </c:pt>
                <c:pt idx="54">
                  <c:v>88.43</c:v>
                </c:pt>
                <c:pt idx="55">
                  <c:v>89.42</c:v>
                </c:pt>
                <c:pt idx="56">
                  <c:v>89.67</c:v>
                </c:pt>
                <c:pt idx="57">
                  <c:v>90.03</c:v>
                </c:pt>
                <c:pt idx="58">
                  <c:v>91.13</c:v>
                </c:pt>
                <c:pt idx="59">
                  <c:v>92.43</c:v>
                </c:pt>
                <c:pt idx="60">
                  <c:v>91.84</c:v>
                </c:pt>
                <c:pt idx="61">
                  <c:v>91.32</c:v>
                </c:pt>
                <c:pt idx="62">
                  <c:v>92.81</c:v>
                </c:pt>
                <c:pt idx="63">
                  <c:v>93.37</c:v>
                </c:pt>
                <c:pt idx="64">
                  <c:v>94.3</c:v>
                </c:pt>
                <c:pt idx="65">
                  <c:v>90.2</c:v>
                </c:pt>
                <c:pt idx="66">
                  <c:v>85.22</c:v>
                </c:pt>
                <c:pt idx="67">
                  <c:v>83.07</c:v>
                </c:pt>
                <c:pt idx="68">
                  <c:v>83.22</c:v>
                </c:pt>
                <c:pt idx="69">
                  <c:v>82.5</c:v>
                </c:pt>
                <c:pt idx="70">
                  <c:v>82.82</c:v>
                </c:pt>
                <c:pt idx="71">
                  <c:v>82.95</c:v>
                </c:pt>
                <c:pt idx="72">
                  <c:v>84.68</c:v>
                </c:pt>
                <c:pt idx="73">
                  <c:v>84.17</c:v>
                </c:pt>
                <c:pt idx="74">
                  <c:v>84.8</c:v>
                </c:pt>
                <c:pt idx="75">
                  <c:v>85.9</c:v>
                </c:pt>
                <c:pt idx="76">
                  <c:v>84.15</c:v>
                </c:pt>
                <c:pt idx="77">
                  <c:v>84.76</c:v>
                </c:pt>
                <c:pt idx="78">
                  <c:v>84.12</c:v>
                </c:pt>
                <c:pt idx="79">
                  <c:v>84.72</c:v>
                </c:pt>
                <c:pt idx="80">
                  <c:v>85.4</c:v>
                </c:pt>
                <c:pt idx="81">
                  <c:v>84.9</c:v>
                </c:pt>
                <c:pt idx="82">
                  <c:v>83.4</c:v>
                </c:pt>
                <c:pt idx="83">
                  <c:v>81.069999999999993</c:v>
                </c:pt>
                <c:pt idx="84">
                  <c:v>80.38</c:v>
                </c:pt>
                <c:pt idx="85">
                  <c:v>79.27</c:v>
                </c:pt>
                <c:pt idx="86">
                  <c:v>78.569999999999993</c:v>
                </c:pt>
                <c:pt idx="87">
                  <c:v>79.900000000000006</c:v>
                </c:pt>
                <c:pt idx="88">
                  <c:v>78.94</c:v>
                </c:pt>
                <c:pt idx="89">
                  <c:v>79.930000000000007</c:v>
                </c:pt>
                <c:pt idx="90">
                  <c:v>81.290000000000006</c:v>
                </c:pt>
                <c:pt idx="91">
                  <c:v>82.25</c:v>
                </c:pt>
                <c:pt idx="92">
                  <c:v>84.15</c:v>
                </c:pt>
                <c:pt idx="93">
                  <c:v>85.05</c:v>
                </c:pt>
                <c:pt idx="94">
                  <c:v>83.97</c:v>
                </c:pt>
                <c:pt idx="95">
                  <c:v>83.4</c:v>
                </c:pt>
                <c:pt idx="96">
                  <c:v>82.92</c:v>
                </c:pt>
                <c:pt idx="97">
                  <c:v>82.3</c:v>
                </c:pt>
                <c:pt idx="98">
                  <c:v>82.49</c:v>
                </c:pt>
                <c:pt idx="99">
                  <c:v>81.92</c:v>
                </c:pt>
                <c:pt idx="100">
                  <c:v>81.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C90-4247-A9A1-3C1C6D0C1E01}"/>
            </c:ext>
          </c:extLst>
        </c:ser>
        <c:ser>
          <c:idx val="1"/>
          <c:order val="1"/>
          <c:tx>
            <c:strRef>
              <c:f>Sheet3!$D$2</c:f>
              <c:strCache>
                <c:ptCount val="1"/>
                <c:pt idx="0">
                  <c:v>Afric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3!$B$3:$B$103</c:f>
              <c:numCache>
                <c:formatCode>mmm\-yy</c:formatCode>
                <c:ptCount val="101"/>
                <c:pt idx="0">
                  <c:v>45659</c:v>
                </c:pt>
                <c:pt idx="1">
                  <c:v>45660</c:v>
                </c:pt>
                <c:pt idx="2">
                  <c:v>45663</c:v>
                </c:pt>
                <c:pt idx="3">
                  <c:v>45664</c:v>
                </c:pt>
                <c:pt idx="4">
                  <c:v>45665</c:v>
                </c:pt>
                <c:pt idx="5">
                  <c:v>45666</c:v>
                </c:pt>
                <c:pt idx="6">
                  <c:v>45667</c:v>
                </c:pt>
                <c:pt idx="7">
                  <c:v>45670</c:v>
                </c:pt>
                <c:pt idx="8">
                  <c:v>45671</c:v>
                </c:pt>
                <c:pt idx="9">
                  <c:v>45672</c:v>
                </c:pt>
                <c:pt idx="10">
                  <c:v>45673</c:v>
                </c:pt>
                <c:pt idx="11">
                  <c:v>45674</c:v>
                </c:pt>
                <c:pt idx="12">
                  <c:v>45677</c:v>
                </c:pt>
                <c:pt idx="13">
                  <c:v>45678</c:v>
                </c:pt>
                <c:pt idx="14">
                  <c:v>45679</c:v>
                </c:pt>
                <c:pt idx="15">
                  <c:v>45680</c:v>
                </c:pt>
                <c:pt idx="16">
                  <c:v>45681</c:v>
                </c:pt>
                <c:pt idx="17">
                  <c:v>45684</c:v>
                </c:pt>
                <c:pt idx="18">
                  <c:v>45685</c:v>
                </c:pt>
                <c:pt idx="19">
                  <c:v>45686</c:v>
                </c:pt>
                <c:pt idx="20">
                  <c:v>45687</c:v>
                </c:pt>
                <c:pt idx="21">
                  <c:v>45688</c:v>
                </c:pt>
                <c:pt idx="22">
                  <c:v>45691</c:v>
                </c:pt>
                <c:pt idx="23">
                  <c:v>45692</c:v>
                </c:pt>
                <c:pt idx="24">
                  <c:v>45693</c:v>
                </c:pt>
                <c:pt idx="25">
                  <c:v>45694</c:v>
                </c:pt>
                <c:pt idx="26">
                  <c:v>45695</c:v>
                </c:pt>
                <c:pt idx="27">
                  <c:v>45698</c:v>
                </c:pt>
                <c:pt idx="28">
                  <c:v>45699</c:v>
                </c:pt>
                <c:pt idx="29">
                  <c:v>45700</c:v>
                </c:pt>
                <c:pt idx="30">
                  <c:v>45701</c:v>
                </c:pt>
                <c:pt idx="31">
                  <c:v>45702</c:v>
                </c:pt>
                <c:pt idx="32">
                  <c:v>45705</c:v>
                </c:pt>
                <c:pt idx="33">
                  <c:v>45706</c:v>
                </c:pt>
                <c:pt idx="34">
                  <c:v>45707</c:v>
                </c:pt>
                <c:pt idx="35">
                  <c:v>45708</c:v>
                </c:pt>
                <c:pt idx="36">
                  <c:v>45709</c:v>
                </c:pt>
                <c:pt idx="37">
                  <c:v>45712</c:v>
                </c:pt>
                <c:pt idx="38">
                  <c:v>45713</c:v>
                </c:pt>
                <c:pt idx="39">
                  <c:v>45714</c:v>
                </c:pt>
                <c:pt idx="40">
                  <c:v>45715</c:v>
                </c:pt>
                <c:pt idx="41">
                  <c:v>45716</c:v>
                </c:pt>
                <c:pt idx="42">
                  <c:v>45719</c:v>
                </c:pt>
                <c:pt idx="43">
                  <c:v>45720</c:v>
                </c:pt>
                <c:pt idx="44">
                  <c:v>45721</c:v>
                </c:pt>
                <c:pt idx="45">
                  <c:v>45722</c:v>
                </c:pt>
                <c:pt idx="46">
                  <c:v>45723</c:v>
                </c:pt>
                <c:pt idx="47">
                  <c:v>45726</c:v>
                </c:pt>
                <c:pt idx="48">
                  <c:v>45727</c:v>
                </c:pt>
                <c:pt idx="49">
                  <c:v>45728</c:v>
                </c:pt>
                <c:pt idx="50">
                  <c:v>45729</c:v>
                </c:pt>
                <c:pt idx="51">
                  <c:v>45730</c:v>
                </c:pt>
                <c:pt idx="52">
                  <c:v>45733</c:v>
                </c:pt>
                <c:pt idx="53">
                  <c:v>45734</c:v>
                </c:pt>
                <c:pt idx="54">
                  <c:v>45735</c:v>
                </c:pt>
                <c:pt idx="55">
                  <c:v>45736</c:v>
                </c:pt>
                <c:pt idx="56">
                  <c:v>45737</c:v>
                </c:pt>
                <c:pt idx="57">
                  <c:v>45740</c:v>
                </c:pt>
                <c:pt idx="58">
                  <c:v>45741</c:v>
                </c:pt>
                <c:pt idx="59">
                  <c:v>45742</c:v>
                </c:pt>
                <c:pt idx="60">
                  <c:v>45743</c:v>
                </c:pt>
                <c:pt idx="61">
                  <c:v>45744</c:v>
                </c:pt>
                <c:pt idx="62">
                  <c:v>45747</c:v>
                </c:pt>
                <c:pt idx="63">
                  <c:v>45748</c:v>
                </c:pt>
                <c:pt idx="64">
                  <c:v>45749</c:v>
                </c:pt>
                <c:pt idx="65">
                  <c:v>45750</c:v>
                </c:pt>
                <c:pt idx="66">
                  <c:v>45751</c:v>
                </c:pt>
                <c:pt idx="67">
                  <c:v>45754</c:v>
                </c:pt>
                <c:pt idx="68">
                  <c:v>45755</c:v>
                </c:pt>
                <c:pt idx="69">
                  <c:v>45756</c:v>
                </c:pt>
                <c:pt idx="70">
                  <c:v>45757</c:v>
                </c:pt>
                <c:pt idx="71">
                  <c:v>45758</c:v>
                </c:pt>
                <c:pt idx="72">
                  <c:v>45761</c:v>
                </c:pt>
                <c:pt idx="73">
                  <c:v>45762</c:v>
                </c:pt>
                <c:pt idx="74">
                  <c:v>45763</c:v>
                </c:pt>
                <c:pt idx="75">
                  <c:v>45764</c:v>
                </c:pt>
                <c:pt idx="76">
                  <c:v>45768</c:v>
                </c:pt>
                <c:pt idx="77">
                  <c:v>45769</c:v>
                </c:pt>
                <c:pt idx="78">
                  <c:v>45770</c:v>
                </c:pt>
                <c:pt idx="79">
                  <c:v>45771</c:v>
                </c:pt>
                <c:pt idx="80">
                  <c:v>45772</c:v>
                </c:pt>
                <c:pt idx="81">
                  <c:v>45775</c:v>
                </c:pt>
                <c:pt idx="82">
                  <c:v>45776</c:v>
                </c:pt>
                <c:pt idx="83">
                  <c:v>45777</c:v>
                </c:pt>
                <c:pt idx="84">
                  <c:v>45778</c:v>
                </c:pt>
                <c:pt idx="85">
                  <c:v>45779</c:v>
                </c:pt>
                <c:pt idx="86">
                  <c:v>45782</c:v>
                </c:pt>
                <c:pt idx="87">
                  <c:v>45783</c:v>
                </c:pt>
                <c:pt idx="88">
                  <c:v>45784</c:v>
                </c:pt>
                <c:pt idx="89">
                  <c:v>45785</c:v>
                </c:pt>
                <c:pt idx="90">
                  <c:v>45786</c:v>
                </c:pt>
                <c:pt idx="91">
                  <c:v>45789</c:v>
                </c:pt>
                <c:pt idx="92">
                  <c:v>45790</c:v>
                </c:pt>
                <c:pt idx="93">
                  <c:v>45791</c:v>
                </c:pt>
                <c:pt idx="94">
                  <c:v>45792</c:v>
                </c:pt>
                <c:pt idx="95">
                  <c:v>45793</c:v>
                </c:pt>
                <c:pt idx="96">
                  <c:v>45796</c:v>
                </c:pt>
                <c:pt idx="97">
                  <c:v>45797</c:v>
                </c:pt>
                <c:pt idx="98">
                  <c:v>45798</c:v>
                </c:pt>
                <c:pt idx="99">
                  <c:v>45799</c:v>
                </c:pt>
                <c:pt idx="100">
                  <c:v>45800</c:v>
                </c:pt>
              </c:numCache>
            </c:numRef>
          </c:cat>
          <c:val>
            <c:numRef>
              <c:f>Sheet3!$D$3:$D$103</c:f>
              <c:numCache>
                <c:formatCode>General</c:formatCode>
                <c:ptCount val="101"/>
                <c:pt idx="0">
                  <c:v>91.95</c:v>
                </c:pt>
                <c:pt idx="1">
                  <c:v>92.08</c:v>
                </c:pt>
                <c:pt idx="2">
                  <c:v>92.55</c:v>
                </c:pt>
                <c:pt idx="3">
                  <c:v>92.33</c:v>
                </c:pt>
                <c:pt idx="4">
                  <c:v>91.85</c:v>
                </c:pt>
                <c:pt idx="5">
                  <c:v>92.62</c:v>
                </c:pt>
                <c:pt idx="6">
                  <c:v>95.28</c:v>
                </c:pt>
                <c:pt idx="7">
                  <c:v>98.04</c:v>
                </c:pt>
                <c:pt idx="8">
                  <c:v>97.1</c:v>
                </c:pt>
                <c:pt idx="9">
                  <c:v>99.4</c:v>
                </c:pt>
                <c:pt idx="10">
                  <c:v>99.54</c:v>
                </c:pt>
                <c:pt idx="11">
                  <c:v>99.77</c:v>
                </c:pt>
                <c:pt idx="12">
                  <c:v>99.22</c:v>
                </c:pt>
                <c:pt idx="13">
                  <c:v>97.46</c:v>
                </c:pt>
                <c:pt idx="14">
                  <c:v>95.95</c:v>
                </c:pt>
                <c:pt idx="15">
                  <c:v>94.95</c:v>
                </c:pt>
                <c:pt idx="16">
                  <c:v>95.64</c:v>
                </c:pt>
                <c:pt idx="17">
                  <c:v>93.84</c:v>
                </c:pt>
                <c:pt idx="18">
                  <c:v>93.59</c:v>
                </c:pt>
                <c:pt idx="19">
                  <c:v>94.23</c:v>
                </c:pt>
                <c:pt idx="20">
                  <c:v>94.53</c:v>
                </c:pt>
                <c:pt idx="21">
                  <c:v>94.46</c:v>
                </c:pt>
                <c:pt idx="22">
                  <c:v>95.06</c:v>
                </c:pt>
                <c:pt idx="23">
                  <c:v>94.17</c:v>
                </c:pt>
                <c:pt idx="24">
                  <c:v>93.45</c:v>
                </c:pt>
                <c:pt idx="25">
                  <c:v>93.02</c:v>
                </c:pt>
                <c:pt idx="26">
                  <c:v>93.81</c:v>
                </c:pt>
                <c:pt idx="27">
                  <c:v>94.71</c:v>
                </c:pt>
                <c:pt idx="28">
                  <c:v>96.25</c:v>
                </c:pt>
                <c:pt idx="29">
                  <c:v>95.8</c:v>
                </c:pt>
                <c:pt idx="30">
                  <c:v>93.66</c:v>
                </c:pt>
                <c:pt idx="31">
                  <c:v>94.12</c:v>
                </c:pt>
                <c:pt idx="32">
                  <c:v>93.49</c:v>
                </c:pt>
                <c:pt idx="33">
                  <c:v>94.14</c:v>
                </c:pt>
                <c:pt idx="34">
                  <c:v>94.7</c:v>
                </c:pt>
                <c:pt idx="35">
                  <c:v>95.41</c:v>
                </c:pt>
                <c:pt idx="36">
                  <c:v>93.87</c:v>
                </c:pt>
                <c:pt idx="37">
                  <c:v>92.58</c:v>
                </c:pt>
                <c:pt idx="38">
                  <c:v>91.57</c:v>
                </c:pt>
                <c:pt idx="39">
                  <c:v>90.15</c:v>
                </c:pt>
                <c:pt idx="40">
                  <c:v>90.94</c:v>
                </c:pt>
                <c:pt idx="41">
                  <c:v>90.68</c:v>
                </c:pt>
                <c:pt idx="42">
                  <c:v>90.04</c:v>
                </c:pt>
                <c:pt idx="43">
                  <c:v>88.98</c:v>
                </c:pt>
                <c:pt idx="44">
                  <c:v>87.6</c:v>
                </c:pt>
                <c:pt idx="45">
                  <c:v>88.11</c:v>
                </c:pt>
                <c:pt idx="46">
                  <c:v>88.37</c:v>
                </c:pt>
                <c:pt idx="47">
                  <c:v>87.59</c:v>
                </c:pt>
                <c:pt idx="48">
                  <c:v>87.62</c:v>
                </c:pt>
                <c:pt idx="49">
                  <c:v>88.18</c:v>
                </c:pt>
                <c:pt idx="50">
                  <c:v>87.67</c:v>
                </c:pt>
                <c:pt idx="51">
                  <c:v>87.13</c:v>
                </c:pt>
                <c:pt idx="52">
                  <c:v>88.12</c:v>
                </c:pt>
                <c:pt idx="53">
                  <c:v>88.35</c:v>
                </c:pt>
                <c:pt idx="54">
                  <c:v>88.32</c:v>
                </c:pt>
                <c:pt idx="55">
                  <c:v>89.34</c:v>
                </c:pt>
                <c:pt idx="56">
                  <c:v>89.43</c:v>
                </c:pt>
                <c:pt idx="57">
                  <c:v>89.88</c:v>
                </c:pt>
                <c:pt idx="58">
                  <c:v>90.32</c:v>
                </c:pt>
                <c:pt idx="59">
                  <c:v>91.25</c:v>
                </c:pt>
                <c:pt idx="60">
                  <c:v>90.87</c:v>
                </c:pt>
                <c:pt idx="61">
                  <c:v>90.37</c:v>
                </c:pt>
                <c:pt idx="62">
                  <c:v>91.8</c:v>
                </c:pt>
                <c:pt idx="63">
                  <c:v>92.63</c:v>
                </c:pt>
                <c:pt idx="64">
                  <c:v>92.67</c:v>
                </c:pt>
                <c:pt idx="65">
                  <c:v>88.78</c:v>
                </c:pt>
                <c:pt idx="66">
                  <c:v>83.94</c:v>
                </c:pt>
                <c:pt idx="67">
                  <c:v>81.39</c:v>
                </c:pt>
                <c:pt idx="68">
                  <c:v>82.17</c:v>
                </c:pt>
                <c:pt idx="69">
                  <c:v>78.13</c:v>
                </c:pt>
                <c:pt idx="70">
                  <c:v>81.12</c:v>
                </c:pt>
                <c:pt idx="71">
                  <c:v>80.8</c:v>
                </c:pt>
                <c:pt idx="72">
                  <c:v>82.52</c:v>
                </c:pt>
                <c:pt idx="73">
                  <c:v>82.95</c:v>
                </c:pt>
                <c:pt idx="74">
                  <c:v>84.17</c:v>
                </c:pt>
                <c:pt idx="75">
                  <c:v>84.8</c:v>
                </c:pt>
                <c:pt idx="76">
                  <c:v>84.76</c:v>
                </c:pt>
                <c:pt idx="77">
                  <c:v>85.09</c:v>
                </c:pt>
                <c:pt idx="78">
                  <c:v>84.57</c:v>
                </c:pt>
                <c:pt idx="79">
                  <c:v>84.59</c:v>
                </c:pt>
                <c:pt idx="80">
                  <c:v>85.44</c:v>
                </c:pt>
                <c:pt idx="81">
                  <c:v>84.86</c:v>
                </c:pt>
                <c:pt idx="82">
                  <c:v>83.77</c:v>
                </c:pt>
                <c:pt idx="83">
                  <c:v>82.31</c:v>
                </c:pt>
                <c:pt idx="84">
                  <c:v>81.010000000000005</c:v>
                </c:pt>
                <c:pt idx="85">
                  <c:v>80.11</c:v>
                </c:pt>
                <c:pt idx="86">
                  <c:v>79.47</c:v>
                </c:pt>
                <c:pt idx="87">
                  <c:v>80.67</c:v>
                </c:pt>
                <c:pt idx="88">
                  <c:v>79.73</c:v>
                </c:pt>
                <c:pt idx="89">
                  <c:v>80.150000000000006</c:v>
                </c:pt>
                <c:pt idx="90">
                  <c:v>81.59</c:v>
                </c:pt>
                <c:pt idx="91">
                  <c:v>82.79</c:v>
                </c:pt>
                <c:pt idx="92">
                  <c:v>84.55</c:v>
                </c:pt>
                <c:pt idx="93">
                  <c:v>85.77</c:v>
                </c:pt>
                <c:pt idx="94">
                  <c:v>84.63</c:v>
                </c:pt>
                <c:pt idx="95">
                  <c:v>84.33</c:v>
                </c:pt>
                <c:pt idx="96">
                  <c:v>84.29</c:v>
                </c:pt>
                <c:pt idx="97">
                  <c:v>83.28</c:v>
                </c:pt>
                <c:pt idx="98">
                  <c:v>83.42</c:v>
                </c:pt>
                <c:pt idx="99">
                  <c:v>82.33</c:v>
                </c:pt>
                <c:pt idx="100">
                  <c:v>82.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C90-4247-A9A1-3C1C6D0C1E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6916279"/>
        <c:axId val="106918439"/>
      </c:lineChart>
      <c:dateAx>
        <c:axId val="106916279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low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8439"/>
        <c:crosses val="autoZero"/>
        <c:auto val="1"/>
        <c:lblOffset val="100"/>
        <c:baseTimeUnit val="days"/>
        <c:majorUnit val="1"/>
        <c:majorTimeUnit val="months"/>
      </c:dateAx>
      <c:valAx>
        <c:axId val="106918439"/>
        <c:scaling>
          <c:orientation val="minMax"/>
        </c:scaling>
        <c:delete val="0"/>
        <c:axPos val="l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USD/BBL</a:t>
                </a:r>
              </a:p>
            </c:rich>
          </c:tx>
          <c:layout>
            <c:manualLayout>
              <c:xMode val="edge"/>
              <c:yMode val="edge"/>
              <c:x val="7.8099324233598588E-3"/>
              <c:y val="1.338436587530257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8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627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278792650918636"/>
          <c:y val="1.9606039344091889E-2"/>
          <c:w val="0.47387874015748033"/>
          <c:h val="7.99819444444444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1274715660542429E-2"/>
          <c:y val="9.8263818507835041E-2"/>
          <c:w val="0.8757041994750655"/>
          <c:h val="0.697280995816117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E$5</c:f>
              <c:strCache>
                <c:ptCount val="1"/>
                <c:pt idx="0">
                  <c:v>Index</c:v>
                </c:pt>
              </c:strCache>
            </c:strRef>
          </c:tx>
          <c:spPr>
            <a:solidFill>
              <a:schemeClr val="accent1"/>
            </a:solidFill>
            <a:ln w="12700"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289632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B1C-485A-99A6-33AF854E2F14}"/>
              </c:ext>
            </c:extLst>
          </c:dPt>
          <c:cat>
            <c:strRef>
              <c:f>Sheet1!$D$6:$D$12</c:f>
              <c:strCache>
                <c:ptCount val="7"/>
                <c:pt idx="0">
                  <c:v>Middle East</c:v>
                </c:pt>
                <c:pt idx="1">
                  <c:v>Europe</c:v>
                </c:pt>
                <c:pt idx="2">
                  <c:v>North America</c:v>
                </c:pt>
                <c:pt idx="3">
                  <c:v>North Asia</c:v>
                </c:pt>
                <c:pt idx="4">
                  <c:v>Asia Pacific</c:v>
                </c:pt>
                <c:pt idx="5">
                  <c:v>Latin America</c:v>
                </c:pt>
                <c:pt idx="6">
                  <c:v>Africa</c:v>
                </c:pt>
              </c:strCache>
            </c:strRef>
          </c:cat>
          <c:val>
            <c:numRef>
              <c:f>Sheet1!$E$6:$E$12</c:f>
              <c:numCache>
                <c:formatCode>0.0</c:formatCode>
                <c:ptCount val="7"/>
                <c:pt idx="0">
                  <c:v>0.92046659708042922</c:v>
                </c:pt>
                <c:pt idx="1">
                  <c:v>0.93644725069388068</c:v>
                </c:pt>
                <c:pt idx="2">
                  <c:v>0.95637169341809714</c:v>
                </c:pt>
                <c:pt idx="3">
                  <c:v>0.96565400221724074</c:v>
                </c:pt>
                <c:pt idx="4">
                  <c:v>0.96663468764089977</c:v>
                </c:pt>
                <c:pt idx="5">
                  <c:v>1.0814119585716475</c:v>
                </c:pt>
                <c:pt idx="6">
                  <c:v>1.17301381037780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1C-485A-99A6-33AF854E2F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6916279"/>
        <c:axId val="106918439"/>
      </c:barChart>
      <c:catAx>
        <c:axId val="10691627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8439"/>
        <c:crosses val="autoZero"/>
        <c:auto val="1"/>
        <c:lblAlgn val="ctr"/>
        <c:lblOffset val="100"/>
        <c:noMultiLvlLbl val="0"/>
      </c:catAx>
      <c:valAx>
        <c:axId val="106918439"/>
        <c:scaling>
          <c:orientation val="minMax"/>
          <c:max val="1.3"/>
          <c:min val="0"/>
        </c:scaling>
        <c:delete val="0"/>
        <c:axPos val="l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Index</a:t>
                </a:r>
              </a:p>
            </c:rich>
          </c:tx>
          <c:layout>
            <c:manualLayout>
              <c:xMode val="edge"/>
              <c:yMode val="edge"/>
              <c:x val="4.995564304461942E-2"/>
              <c:y val="1.949247680673578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4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" sourceLinked="1"/>
        <c:majorTickMark val="out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62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400"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  <c:userShapes r:id="rId5"/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Unemployment rate'!$B$3:$B$184</cx:f>
        <cx:nf>'Unemployment rate'!$B$2</cx:nf>
        <cx:lvl ptCount="182" name="Unemployment, total (% of total labor force) (modeled ILO estimate)">
          <cx:pt idx="0">Afghanistan</cx:pt>
          <cx:pt idx="1">Albania</cx:pt>
          <cx:pt idx="2">Algeria</cx:pt>
          <cx:pt idx="3">Angola</cx:pt>
          <cx:pt idx="4">Argentina</cx:pt>
          <cx:pt idx="5">Armenia</cx:pt>
          <cx:pt idx="6">Australia</cx:pt>
          <cx:pt idx="7">Austria</cx:pt>
          <cx:pt idx="8">Azerbaijan</cx:pt>
          <cx:pt idx="9">Bahamas, The</cx:pt>
          <cx:pt idx="10">Bahrain</cx:pt>
          <cx:pt idx="11">Bangladesh</cx:pt>
          <cx:pt idx="12">Barbados</cx:pt>
          <cx:pt idx="13">Belarus</cx:pt>
          <cx:pt idx="14">Belgium</cx:pt>
          <cx:pt idx="15">Belize</cx:pt>
          <cx:pt idx="16">Benin</cx:pt>
          <cx:pt idx="17">Bhutan</cx:pt>
          <cx:pt idx="18">Bolivia</cx:pt>
          <cx:pt idx="19">Bosnia and Herzegovina</cx:pt>
          <cx:pt idx="20">Botswana</cx:pt>
          <cx:pt idx="21">Brazil</cx:pt>
          <cx:pt idx="22">Brunei Darussalam</cx:pt>
          <cx:pt idx="23">Bulgaria</cx:pt>
          <cx:pt idx="24">Burkina Faso</cx:pt>
          <cx:pt idx="25">Burundi</cx:pt>
          <cx:pt idx="26">Cabo Verde</cx:pt>
          <cx:pt idx="27">Cambodia</cx:pt>
          <cx:pt idx="28">Cameroon</cx:pt>
          <cx:pt idx="29">Canada</cx:pt>
          <cx:pt idx="30">Central African Republic</cx:pt>
          <cx:pt idx="31">Chad</cx:pt>
          <cx:pt idx="32">Channel Islands</cx:pt>
          <cx:pt idx="33">Chile</cx:pt>
          <cx:pt idx="34">China</cx:pt>
          <cx:pt idx="35">Colombia</cx:pt>
          <cx:pt idx="36">Comoros</cx:pt>
          <cx:pt idx="37">Congo, Dem. Rep.</cx:pt>
          <cx:pt idx="38">Congo, Rep.</cx:pt>
          <cx:pt idx="39">Costa Rica</cx:pt>
          <cx:pt idx="40">Cote d'Ivoire</cx:pt>
          <cx:pt idx="41">Croatia</cx:pt>
          <cx:pt idx="42">Cuba</cx:pt>
          <cx:pt idx="43">Cyprus</cx:pt>
          <cx:pt idx="44">Czechia</cx:pt>
          <cx:pt idx="45">Denmark</cx:pt>
          <cx:pt idx="46">Djibouti</cx:pt>
          <cx:pt idx="47">Dominican Republic</cx:pt>
          <cx:pt idx="48">Ecuador</cx:pt>
          <cx:pt idx="49">Egypt, Arab Rep.</cx:pt>
          <cx:pt idx="50">El Salvador</cx:pt>
          <cx:pt idx="51">Equatorial Guinea</cx:pt>
          <cx:pt idx="52">Eritrea</cx:pt>
          <cx:pt idx="53">Estonia</cx:pt>
          <cx:pt idx="54">Eswatini</cx:pt>
          <cx:pt idx="55">Ethiopia</cx:pt>
          <cx:pt idx="56">Fiji</cx:pt>
          <cx:pt idx="57">Finland</cx:pt>
          <cx:pt idx="58">France</cx:pt>
          <cx:pt idx="59">French Polynesia</cx:pt>
          <cx:pt idx="60">Gabon</cx:pt>
          <cx:pt idx="61">Gambia, The</cx:pt>
          <cx:pt idx="62">Georgia</cx:pt>
          <cx:pt idx="63">Germany</cx:pt>
          <cx:pt idx="64">Ghana</cx:pt>
          <cx:pt idx="65">Greece</cx:pt>
          <cx:pt idx="66">Guam</cx:pt>
          <cx:pt idx="67">Guatemala</cx:pt>
          <cx:pt idx="68">Guinea</cx:pt>
          <cx:pt idx="69">Guinea-Bissau</cx:pt>
          <cx:pt idx="70">Guyana</cx:pt>
          <cx:pt idx="71">Haiti</cx:pt>
          <cx:pt idx="72">Honduras</cx:pt>
          <cx:pt idx="73">Hong Kong SAR, China</cx:pt>
          <cx:pt idx="74">Hungary</cx:pt>
          <cx:pt idx="75">Iceland</cx:pt>
          <cx:pt idx="76">India</cx:pt>
          <cx:pt idx="77">Indonesia</cx:pt>
          <cx:pt idx="78">Iran, Islamic Rep.</cx:pt>
          <cx:pt idx="79">Iraq</cx:pt>
          <cx:pt idx="80">Ireland</cx:pt>
          <cx:pt idx="81">Israel</cx:pt>
          <cx:pt idx="82">Italy</cx:pt>
          <cx:pt idx="83">Jamaica</cx:pt>
          <cx:pt idx="84">Japan</cx:pt>
          <cx:pt idx="85">Jordan</cx:pt>
          <cx:pt idx="86">Kazakhstan</cx:pt>
          <cx:pt idx="87">Kenya</cx:pt>
          <cx:pt idx="88">Korea, Dem. People's Rep.</cx:pt>
          <cx:pt idx="89">Korea, Rep.</cx:pt>
          <cx:pt idx="90">Kuwait</cx:pt>
          <cx:pt idx="91">Kyrgyz Republic</cx:pt>
          <cx:pt idx="92">Lao PDR</cx:pt>
          <cx:pt idx="93">Latvia</cx:pt>
          <cx:pt idx="94">Lesotho</cx:pt>
          <cx:pt idx="95">Liberia</cx:pt>
          <cx:pt idx="96">Libya</cx:pt>
          <cx:pt idx="97">Lithuania</cx:pt>
          <cx:pt idx="98">Luxembourg</cx:pt>
          <cx:pt idx="99">Macao SAR, China</cx:pt>
          <cx:pt idx="100">Madagascar</cx:pt>
          <cx:pt idx="101">Malawi</cx:pt>
          <cx:pt idx="102">Malaysia</cx:pt>
          <cx:pt idx="103">Maldives</cx:pt>
          <cx:pt idx="104">Mali</cx:pt>
          <cx:pt idx="105">Malta</cx:pt>
          <cx:pt idx="106">Mauritania</cx:pt>
          <cx:pt idx="107">Mauritius</cx:pt>
          <cx:pt idx="108">Mexico</cx:pt>
          <cx:pt idx="109">Moldova</cx:pt>
          <cx:pt idx="110">Mongolia</cx:pt>
          <cx:pt idx="111">Montenegro</cx:pt>
          <cx:pt idx="112">Morocco</cx:pt>
          <cx:pt idx="113">Mozambique</cx:pt>
          <cx:pt idx="114">Myanmar</cx:pt>
          <cx:pt idx="115">Namibia</cx:pt>
          <cx:pt idx="116">Nepal</cx:pt>
          <cx:pt idx="117">Netherlands</cx:pt>
          <cx:pt idx="118">New Caledonia</cx:pt>
          <cx:pt idx="119">New Zealand</cx:pt>
          <cx:pt idx="120">Nicaragua</cx:pt>
          <cx:pt idx="121">Niger</cx:pt>
          <cx:pt idx="122">Nigeria</cx:pt>
          <cx:pt idx="123">North Macedonia</cx:pt>
          <cx:pt idx="124">Norway</cx:pt>
          <cx:pt idx="125">Oman</cx:pt>
          <cx:pt idx="126">Pakistan</cx:pt>
          <cx:pt idx="127">Panama</cx:pt>
          <cx:pt idx="128">Papua New Guinea</cx:pt>
          <cx:pt idx="129">Paraguay</cx:pt>
          <cx:pt idx="130">Peru</cx:pt>
          <cx:pt idx="131">Philippines</cx:pt>
          <cx:pt idx="132">Poland</cx:pt>
          <cx:pt idx="133">Portugal</cx:pt>
          <cx:pt idx="134">Puerto Rico</cx:pt>
          <cx:pt idx="135">Qatar</cx:pt>
          <cx:pt idx="136">Romania</cx:pt>
          <cx:pt idx="137">Russian Federation</cx:pt>
          <cx:pt idx="138">Rwanda</cx:pt>
          <cx:pt idx="139">Samoa</cx:pt>
          <cx:pt idx="140">Sao Tome and Principe</cx:pt>
          <cx:pt idx="141">Saudi Arabia</cx:pt>
          <cx:pt idx="142">Senegal</cx:pt>
          <cx:pt idx="143">Serbia</cx:pt>
          <cx:pt idx="144">Sierra Leone</cx:pt>
          <cx:pt idx="145">Singapore</cx:pt>
          <cx:pt idx="146">Slovak Republic</cx:pt>
          <cx:pt idx="147">Slovenia</cx:pt>
          <cx:pt idx="148">Solomon Islands</cx:pt>
          <cx:pt idx="149">Somalia</cx:pt>
          <cx:pt idx="150">South Africa</cx:pt>
          <cx:pt idx="151">Spain</cx:pt>
          <cx:pt idx="152">Sri Lanka</cx:pt>
          <cx:pt idx="153">St. Lucia</cx:pt>
          <cx:pt idx="154">St. Vincent and the Grenadines</cx:pt>
          <cx:pt idx="155">Suriname</cx:pt>
          <cx:pt idx="156">Sweden</cx:pt>
          <cx:pt idx="157">Switzerland</cx:pt>
          <cx:pt idx="158">Syrian Arab Republic</cx:pt>
          <cx:pt idx="159">Tajikistan</cx:pt>
          <cx:pt idx="160">Tanzania</cx:pt>
          <cx:pt idx="161">Thailand</cx:pt>
          <cx:pt idx="162">Timor-Leste</cx:pt>
          <cx:pt idx="163">Togo</cx:pt>
          <cx:pt idx="164">Tonga</cx:pt>
          <cx:pt idx="165">Trinidad and Tobago</cx:pt>
          <cx:pt idx="166">Tunisia</cx:pt>
          <cx:pt idx="167">Turkiye</cx:pt>
          <cx:pt idx="168">Turkmenistan</cx:pt>
          <cx:pt idx="169">Uganda</cx:pt>
          <cx:pt idx="170">United Arab Emirates</cx:pt>
          <cx:pt idx="171">United Kingdom</cx:pt>
          <cx:pt idx="172">United States</cx:pt>
          <cx:pt idx="173">Uruguay</cx:pt>
          <cx:pt idx="174">Uzbekistan</cx:pt>
          <cx:pt idx="175">Vanuatu</cx:pt>
          <cx:pt idx="176">Venezuela, RB</cx:pt>
          <cx:pt idx="177">Viet Nam</cx:pt>
          <cx:pt idx="178">Virgin Islands (U.S.)</cx:pt>
          <cx:pt idx="179">Yemen, Rep.</cx:pt>
          <cx:pt idx="180">Zambia</cx:pt>
          <cx:pt idx="181">Zimbabwe</cx:pt>
        </cx:lvl>
      </cx:strDim>
      <cx:numDim type="colorVal">
        <cx:f>'Unemployment rate'!$C$3:$C$184</cx:f>
        <cx:lvl ptCount="182" formatCode="_(* #,##0.0_);_(* \(#,##0.0\);_(* &quot;-&quot;??_);_(@_)">
          <cx:pt idx="0">13.295</cx:pt>
          <cx:pt idx="1">10.25</cx:pt>
          <cx:pt idx="2">11.427</cx:pt>
          <cx:pt idx="3">14.464</cx:pt>
          <cx:pt idx="4">7.8760000000000003</cx:pt>
          <cx:pt idx="5">13.329000000000001</cx:pt>
          <cx:pt idx="6">4.0720000000000001</cx:pt>
          <cx:pt idx="7">5.4390000000000001</cx:pt>
          <cx:pt idx="8">5.5940000000000003</cx:pt>
          <cx:pt idx="9">8.4629999999999992</cx:pt>
          <cx:pt idx="10">1.1020000000000001</cx:pt>
          <cx:pt idx="11">4.6799999999999997</cx:pt>
          <cx:pt idx="12">7.5289999999999999</cx:pt>
          <cx:pt idx="13">3.3610000000000002</cx:pt>
          <cx:pt idx="14">5.4880000000000004</cx:pt>
          <cx:pt idx="15">7</cx:pt>
          <cx:pt idx="16">1.722</cx:pt>
          <cx:pt idx="17">2.8559999999999999</cx:pt>
          <cx:pt idx="18">3.0910000000000002</cx:pt>
          <cx:pt idx="19">10.723000000000001</cx:pt>
          <cx:pt idx="20">23.138000000000002</cx:pt>
          <cx:pt idx="21">7.6340000000000003</cx:pt>
          <cx:pt idx="22">5.1440000000000001</cx:pt>
          <cx:pt idx="23">4.1040000000000001</cx:pt>
          <cx:pt idx="24">5.1660000000000004</cx:pt>
          <cx:pt idx="25">0.90200000000000002</cx:pt>
          <cx:pt idx="26">11.878</cx:pt>
          <cx:pt idx="27">0.27000000000000002</cx:pt>
          <cx:pt idx="28">3.5179999999999998</cx:pt>
          <cx:pt idx="29">6.4500000000000002</cx:pt>
          <cx:pt idx="30">5.899</cx:pt>
          <cx:pt idx="31">1.0880000000000001</cx:pt>
          <cx:pt idx="32">6.2560000000000002</cx:pt>
          <cx:pt idx="33">9.0559999999999992</cx:pt>
          <cx:pt idx="34">4.5709999999999997</cx:pt>
          <cx:pt idx="35">9.6080000000000005</cx:pt>
          <cx:pt idx="36">3.875</cx:pt>
          <cx:pt idx="37">4.556</cx:pt>
          <cx:pt idx="38">19.693999999999999</cx:pt>
          <cx:pt idx="39">7.8479999999999999</cx:pt>
          <cx:pt idx="40">2.2879999999999998</cx:pt>
          <cx:pt idx="41">5.2359999999999998</cx:pt>
          <cx:pt idx="42">1.53</cx:pt>
          <cx:pt idx="43">5.6020000000000003</cx:pt>
          <cx:pt idx="44">2.5059999999999998</cx:pt>
          <cx:pt idx="45">5.5869999999999997</cx:pt>
          <cx:pt idx="46">25.875</cx:pt>
          <cx:pt idx="47">5.4729999999999999</cx:pt>
          <cx:pt idx="48">4.7729999999999997</cx:pt>
          <cx:pt idx="49">7.1980000000000004</cx:pt>
          <cx:pt idx="50">2.839</cx:pt>
          <cx:pt idx="51">7.8230000000000004</cx:pt>
          <cx:pt idx="52">5.5529999999999999</cx:pt>
          <cx:pt idx="53">7.8280000000000003</cx:pt>
          <cx:pt idx="54">34.399999999999999</cx:pt>
          <cx:pt idx="55">3.3980000000000001</cx:pt>
          <cx:pt idx="56">4.3070000000000004</cx:pt>
          <cx:pt idx="57">8.2599999999999998</cx:pt>
          <cx:pt idx="58">7.3700000000000001</cx:pt>
          <cx:pt idx="59">11.75</cx:pt>
          <cx:pt idx="60">20.061</cx:pt>
          <cx:pt idx="61">6.4960000000000004</cx:pt>
          <cx:pt idx="62">11.48</cx:pt>
          <cx:pt idx="63">3.4060000000000001</cx:pt>
          <cx:pt idx="64">3.0070000000000001</cx:pt>
          <cx:pt idx="65">10.132999999999999</cx:pt>
          <cx:pt idx="66">5.5860000000000003</cx:pt>
          <cx:pt idx="67">2.2189999999999999</cx:pt>
          <cx:pt idx="68">5.2300000000000004</cx:pt>
          <cx:pt idx="69">2.6219999999999999</cx:pt>
          <cx:pt idx="70">10.164999999999999</cx:pt>
          <cx:pt idx="71">15.058</cx:pt>
          <cx:pt idx="72">6.0609999999999999</cx:pt>
          <cx:pt idx="73">2.7930000000000001</cx:pt>
          <cx:pt idx="74">4.4340000000000002</cx:pt>
          <cx:pt idx="75">3.1070000000000002</cx:pt>
          <cx:pt idx="76">4.202</cx:pt>
          <cx:pt idx="77">3.2999999999999998</cx:pt>
          <cx:pt idx="78">9.1920000000000002</cx:pt>
          <cx:pt idx="79">15.523999999999999</cx:pt>
          <cx:pt idx="80">4.3689999999999998</cx:pt>
          <cx:pt idx="81">3.1499999999999999</cx:pt>
          <cx:pt idx="82">6.7779999999999996</cx:pt>
          <cx:pt idx="83">4.8849999999999998</cx:pt>
          <cx:pt idx="84">2.5630000000000002</cx:pt>
          <cx:pt idx="85">17.995999999999999</cx:pt>
          <cx:pt idx="86">4.7939999999999996</cx:pt>
          <cx:pt idx="87">5.4340000000000002</cx:pt>
          <cx:pt idx="88">2.859</cx:pt>
          <cx:pt idx="89">2.6040000000000001</cx:pt>
          <cx:pt idx="90">2.1440000000000001</cx:pt>
          <cx:pt idx="91">3.2890000000000001</cx:pt>
          <cx:pt idx="92">1.218</cx:pt>
          <cx:pt idx="93">6.7199999999999998</cx:pt>
          <cx:pt idx="94">16.146999999999998</cx:pt>
          <cx:pt idx="95">2.8820000000000001</cx:pt>
          <cx:pt idx="96">18.614999999999998</cx:pt>
          <cx:pt idx="97">7.5039999999999996</cx:pt>
          <cx:pt idx="98">5.9349999999999996</cx:pt>
          <cx:pt idx="99">2.4369999999999998</cx:pt>
          <cx:pt idx="100">3.012</cx:pt>
          <cx:pt idx="101">5.0449999999999999</cx:pt>
          <cx:pt idx="102">3.8260000000000001</cx:pt>
          <cx:pt idx="103">4.6360000000000001</cx:pt>
          <cx:pt idx="104">3.0600000000000001</cx:pt>
          <cx:pt idx="105">2.7029999999999998</cx:pt>
          <cx:pt idx="106">10.372999999999999</cx:pt>
          <cx:pt idx="107">5.476</cx:pt>
          <cx:pt idx="108">2.7109999999999999</cx:pt>
          <cx:pt idx="109">1.4339999999999999</cx:pt>
          <cx:pt idx="110">5.4240000000000004</cx:pt>
          <cx:pt idx="111">14.1</cx:pt>
          <cx:pt idx="112">8.9429999999999996</cx:pt>
          <cx:pt idx="113">3.5270000000000001</cx:pt>
          <cx:pt idx="114">3.032</cx:pt>
          <cx:pt idx="115">19.148</cx:pt>
          <cx:pt idx="116">10.706</cx:pt>
          <cx:pt idx="117">3.5990000000000002</cx:pt>
          <cx:pt idx="118">11.15</cx:pt>
          <cx:pt idx="119">4.8689999999999998</cx:pt>
          <cx:pt idx="120">4.5739999999999998</cx:pt>
          <cx:pt idx="121">0.35499999999999998</cx:pt>
          <cx:pt idx="122">2.9889999999999999</cx:pt>
          <cx:pt idx="123">13.417</cx:pt>
          <cx:pt idx="124">3.9700000000000002</cx:pt>
          <cx:pt idx="125">3.161</cx:pt>
          <cx:pt idx="126">5.4720000000000004</cx:pt>
          <cx:pt idx="127">6.5179999999999998</cx:pt>
          <cx:pt idx="128">2.7410000000000001</cx:pt>
          <cx:pt idx="129">6.093</cx:pt>
          <cx:pt idx="130">4.8280000000000003</cx:pt>
          <cx:pt idx="131">2.153</cx:pt>
          <cx:pt idx="132">2.472</cx:pt>
          <cx:pt idx="133">6.3840000000000003</cx:pt>
          <cx:pt idx="134">5.4720000000000004</cx:pt>
          <cx:pt idx="135">0.126</cx:pt>
          <cx:pt idx="136">5.3789999999999996</cx:pt>
          <cx:pt idx="137">2.5270000000000001</cx:pt>
          <cx:pt idx="138">11.994</cx:pt>
          <cx:pt idx="139">4.5510000000000002</cx:pt>
          <cx:pt idx="140">9.1699999999999999</cx:pt>
          <cx:pt idx="141">3.8959999999999999</cx:pt>
          <cx:pt idx="142">2.992</cx:pt>
          <cx:pt idx="143">7.3899999999999997</cx:pt>
          <cx:pt idx="144">3.1259999999999999</cx:pt>
          <cx:pt idx="145">3.1819999999999999</cx:pt>
          <cx:pt idx="146">5.234</cx:pt>
          <cx:pt idx="147">3.3570000000000002</cx:pt>
          <cx:pt idx="148">1.47</cx:pt>
          <cx:pt idx="149">18.861000000000001</cx:pt>
          <cx:pt idx="150">33.167999999999999</cx:pt>
          <cx:pt idx="151">11.394</cx:pt>
          <cx:pt idx="152">4.9960000000000004</cx:pt>
          <cx:pt idx="153">10.928000000000001</cx:pt>
          <cx:pt idx="154">18.056000000000001</cx:pt>
          <cx:pt idx="155">7.3250000000000002</cx:pt>
          <cx:pt idx="156">8.5280000000000005</cx:pt>
          <cx:pt idx="157">4.1100000000000003</cx:pt>
          <cx:pt idx="158">12.962</cx:pt>
          <cx:pt idx="159">11.635</cx:pt>
          <cx:pt idx="160">2.5760000000000001</cx:pt>
          <cx:pt idx="161">0.69299999999999995</cx:pt>
          <cx:pt idx="162">1.603</cx:pt>
          <cx:pt idx="163">1.9399999999999999</cx:pt>
          <cx:pt idx="164">2.1920000000000002</cx:pt>
          <cx:pt idx="165">4.5460000000000003</cx:pt>
          <cx:pt idx="166">16.202999999999999</cx:pt>
          <cx:pt idx="167">8.4489999999999998</cx:pt>
          <cx:pt idx="168">4.3040000000000003</cx:pt>
          <cx:pt idx="169">2.9409999999999998</cx:pt>
          <cx:pt idx="170">2.133</cx:pt>
          <cx:pt idx="171">4.1109999999999998</cx:pt>
          <cx:pt idx="172">4.1059999999999999</cx:pt>
          <cx:pt idx="173">8.4009999999999998</cx:pt>
          <cx:pt idx="174">4.4880000000000004</cx:pt>
          <cx:pt idx="175">5.0640000000000001</cx:pt>
          <cx:pt idx="176">5.4749999999999996</cx:pt>
          <cx:pt idx="177">1.431</cx:pt>
          <cx:pt idx="178">12.013999999999999</cx:pt>
          <cx:pt idx="179">17.085999999999999</cx:pt>
          <cx:pt idx="180">5.9610000000000003</cx:pt>
          <cx:pt idx="181">8.5540000000000003</cx:pt>
        </cx:lvl>
      </cx:numDim>
    </cx:data>
  </cx:chartData>
  <cx:chart>
    <cx:plotArea>
      <cx:plotAreaRegion>
        <cx:plotSurface>
          <cx:spPr>
            <a:ln>
              <a:noFill/>
            </a:ln>
          </cx:spPr>
        </cx:plotSurface>
        <cx:series layoutId="regionMap" uniqueId="{344FC713-68B9-4B9D-8AE1-DCBA42E098E8}">
          <cx:tx>
            <cx:txData>
              <cx:f/>
              <cx:v>Unemployment rate %</cx:v>
            </cx:txData>
          </cx:tx>
          <cx:dataId val="0"/>
          <cx:layoutPr>
            <cx:geography cultureLanguage="en-US" cultureRegion="US" attribution="Powered by Bing">
              <cx:geoCache provider="{E9337A44-BEBE-4D9F-B70C-5C5E7DAFC167}">
                <cx:binary>7H1Lc+NGsu5fYfTmnBth0Hg/JsYTIUKUWt1Suy2qu8feKNgSTYIEARIg+Po7Z3UWZ3eWd+c/dr8i
HgQSRQGy4CAirjETHk+Vikh8WZWVlZWPfz5t//HkjoZBZzt3vfAfT9uf3k1Wq8U/fvwxfJqM5sOw
O3eeAj/0f191n/z5j/7vvztPox+fg+HG8cY/yqKk/vg0GQar0fbdv/6JXxuP/Fv/abhyfO+XaBTs
7kdh5K7CF/q4XZ0nP/JWbPgYv/TTu8up892PVs67zshbOavdw24x+uld4Y/edX6kP1V6bccFZavo
GWMlqWtKqmbpkikeHuldx/W9cdKtyl1T1RRRV6z4MdNXfxrOMbwOQQdyhs/PwSgMO8n/5kcWyM93
OKFvx99v+4zWyw+Hj/uxiO+//kka8LmkJccCik1VF+VAL3LHw8AZpjC8nQOAWBcNxTItqwC9rHVV
U9N1WdXTl8WY1yGBj/lxJMH82EEx712fH/O7ofvsrEdhCsPbMRe7siyKimrFcx7/LE57Q+nKugmW
aFo87dX03TEL6lDEZ8FxJGHBsYOy4O7r+VlwEYWrZme90dVMQzRE1SjMekntSqpomaaiZfIolnUx
8jUI4QOfDSS4Z+0U9ouH88N+FQy9p1E6994+71W9C3liipZcRF3uqpqpGLppJGIeoiiPejUdfNDT
cQTztJlCfnV/fsjvRlvnyU8//+2Qy0rXUhTNUgytMNEFSZS7mmjp7D/p6xLpUkkCH+2UdIJ22kzR
vvv3+dG2J8Pn9OPfjrWkdXVJUSXFlDLhkVNmJKsrSpouGYqRdedneRUxfNTjUQTzuJEi/nB5fsQ/
Qx1d+Z37Rie5ZHZlwGrq8lFq54AXdL2r6LIsKZLCRb4mUXwGFAYTPhT6KDs+t0DcYMU735tUJwUI
HBkCR7UkKRHmBbkjGV1FViRJ1BKFX07XXyx8ahDEZ0M2kLAga6fwf7o4/2o47P5Dt1kGaF1DNkXV
VPgMUNQuFE8sF0U9LAaonnkpVIskPgtyQwkTcj2UDRdfzs+GwXDuN3ikEiQFeo6ha4qE2Z0XRJIB
VUeXRQX7RBH2ShL4kCfDCNxJK4X62+D8UF/8Pp4MPSdcDb0UgLdvvIrShfIoipqixzKnqF5C/MuK
qUmiJMfdUIUKU74eTXwOFD6I8KHQR7lxcXV+btxvht5zozO/a+mqritSUdtUxK6oqyr0UJ27AVfT
wQc/HUdwT5sp5Pffzg+5PXG8BhFX9C6MBIohWSp3uxWxNDSIeovIm0oy+IAnwwjeSSuF2/50frgv
3O8QNw0CrkpdNoVlPRE1xGwGJZ/xAfbMhB/EYlmDHj7y2UCCfdZO0b+4PT/6dzDl+o2qNzAhmNDy
FdNKzlgwjeV2WAnznSFvYFEUhXwdUvjIH0cS6I8dFPu7Fsx8GxbywPcb3GZVHG9lTZOldOpjbuex
V7qSpkCv17H95vfXOpTwoT+OJNAfOyj09t35p/31KJgPvV2KwtsVHA1Cx5Is09DFWMoXFRxJ7Cqm
aIqGebxFyTOgBj18/LOBBP6snaJ/2T8/+v3xbrH6oXMRDL937keLbhUb/rrbmgsm/RrcewR2XWYY
GpTdoyEjvwJh1dYtSVbl49EvPw+q6eFPg3QcmQVpM50EFz+ffxI8DL19sxu/AE1LVg1JFtNrm+LW
o+DcbRq4rkzXKNn561DEh/84kjDg2EFZ8PDb+Vlw4Y5HjV7ayOaLqpd80LxMOTliHC7VCrO/mh4+
/tmHEPizdor+ZQvQfxhOnVnT52wTdg2TWVq54scQcZmv6bhVSK7rSyugDkl8HuQ/h7Ah30U58dCC
O/uLYMymYZOnPgFGPBwyVAs3DTyFQNDRr8MMqEnJaiDHv1o08TmRG0oYkeuhfLhoga37IpiPmj0K
ijA7WTqOgsl2W9TKVOjLhqLruE+OjR4lHlTSc4oDycAS/kl7Cf0W6MS9oTd2h8+jcFKljxX9a17y
HsJdg2moimhpqX9Q4UBiwc9CgyGWeVIcHiKP6pHE50F+LGFDvotyoteCK7iL/Sj4PnSmwyaPhjiB
WIoOViRX+IA6p5iqBtONcG7X4PfCHimdBPGtTz2S+JzIjyWcyHdRTly0YI++him8weMB1CPsy7Kp
pKuhqKAKOETifCgbyZaBJVHkQiU5fAYkwwj2SSuF/fr9+RXTK8dzYfdOP/7tx3Mdd56qbuDG53ip
mZv9cKWzcGqAahRPfjr7a9DDRz4bSLDP2in6VzfnR783nAzh0vpD52Eyao4Fsto1sNni3plMeiM+
NGjwy4jRJ8YpUNFJSHqJGj4DCoMJEwp9lBG9wfkZcTv0w5c++ZWevCaulVVVlKzkkg3CJbcGmGEW
ypKiyCaROlVk8JGPRxHI40aK9e3F+bH+GfbA5rCWkzsIU+c6GmkGzsmKbpom2WarqOBDHY8iUMeN
FOqfW6BoXo/8YNzwjQ8ul03mCl2Y0tDvsdkapmTy1csahPABzwYSzLN2Cvt1C6yuduDDq79BbUbV
4LSlmapq8AUKnO00A5cRMq6a82aeGoTwYc8GEtizdgr7+xYcarF1BUOnSdmi4xZHgw1ZT3zPi5q8
Jnaxlao48SaqDjnU1qCHj342kKCftVP0ey3QJHtDnKSeG91G2SUapHdiYKORAYJmwQqN+0/4EMVn
WrKb1qHoFAPSbylxIO0osaB3/p3V3i2CqEE9hlnWTFnB/pkcVTHBc3oMXI0QrwQ/0tSwRrbYanL4
6KfjCPZpM0Xe/vX8yPeC4d5xU+H79lMUXNK7yuERiduchvPVQXnH/efhQX9e5FdTwgc9HUdAT5sp
6L0WyPvBxlnBftPs+ZU5VcA5ToFbaIxvcc7DuxqGHfh1JTuCRY5QNWni86AwmDCi0Ee5YbdB/o/c
YaPSBzNdhXjXmZXm8BQ5IRtd3TIkFs8Rd9OFUE0Pnwu9dCDhQNZO0e+1QADZ/txHVGwqC5qQQDIE
DcQ7LAkxvpDuOeEPjR/WNdmCrSfefMlCqEEQH/5sIIE/a6fwf2zBQQtzY+xE8+bgh27JLku0LA6M
3Kd0cdGCK63UyUXE2ijsAtX08NHPPoSgn7VT9HstOG/1gsgbOZ1LJn/CoTtskA8sQAAO6tk1LgsQ
y60CCUGSugxnJE3C2aDAgQNNaRtvPZ5gQDKO4p80l+D/dH7l56sDI4PXuQnZThx2/vNLd9D9Py99
+autaYpsyLhaPKr5ORYc7nfhhidhMXCPAV8GnSKFL5HGZwrnJwh/OH9BWfX15vyswjJ29g2amhHC
hNMvi/M7xvHleWOaXVyxgHWpvkR2iWp6+AxJxxEupM0U+l4LLrh6uHBv0DbBzr6WohpqcjQTi4IJ
mzezF4mZwYiKpypqTuF++IgS7IfWEuotcDhBLL/z0np/pShC8CQmugKtiKcTCUAd/g0IsIl78a/p
u+O73Spq+KDHowjmcSOF/K4Fju69SbRq1MJvdFVJVVSzOMPh0aAqEjRU5EQ5POgubMCVZPDRTskn
eKfNFPHew/mlej9wVsGoQXszorctZnmT5eKZSzHiiA5NT+Y/md81COGDng0kqGftFPZ+C+wPPYRz
rJs08wvYTkWo/DrAz1SZ/HbKXNng0yzrBPcalPBxzwYS3LN2inuvBf7MPT+E71oHymbn/SjYj8b+
ulGPQhxtFcRPYm9NFE7snTkugEksSZNqaLgDK0icV9N1iin87yvxiP9nJZZdnF9C9fxViPjKBkUU
C66XdDjgIjETby+GE4Rm4UoSKbMol6pJOcWXdGSJE2lHCftvLcA+CmZYH52rYdhgMhVJ7oqIpkSc
De4cc6sDnlW4bRcVSaWroyYZJ7AvjKb4FzpLPLg6Pw/6q4njL5rcK3BBIEsSi7zEXpDDX4FfOm6C
JZMFgbMHZru8kKpDCZ8Fx5EE/mMHhb7fAuWoF8F08tzgIUBgdmlEcFtiegdgFTggI+xVkWE5pbfx
NSjhI58NJMBn7RT3XgtMDYOh33nw56PDPv05cLwnZ9Gg5QHTXzFVGaaHAvgITLJYeGCWT45M/8Ef
/3Ug64//Tuj6438qCeMz5fQvES6d/kPKtkELlos9/O53vo6C5wZ5heMEopShtSpFKzbbw1kaBCyn
o19LXljZw8Womhg+f/JjCUfyXZQH9tfz7xaI6P3uPze6WyDBmQqHQ0kvLhecn1nSUWQoYmnoitBX
03AK+HRkCfa0g4L+sQX3lx9H3m6YYsCz17/SVNRVVclCcGppe4bVQsENMv/arJIKPubJMAJ40lpC
u9+CKb4fPU2anOGq1WXnNVFFPq3DU7RcQAQpLBedfspXpZoePvJ2OpBgn7VT9O0W2KJtHMWazHWj
Q7ywvLm6mCSdK056wUKySxHom2nMC7FfVNNzAvzkOyj2SXMJ+osWTHwI2WDodi5+D5ynocei8qPv
rvPUnOSBDQlp5bL0QqKIg1jugHDIymLCw0WiEv9PUHaCLSd/iTLq5B+WWNeCQxwySXreyE0vOqs4
9tflUkCOIbdB9UxQJMQjSIpiyGnS2cKMEQypq0hItiApxMZeSciJ+RHTTydD3FrifAuuNGzf9eeN
5oaEvzwsvLi2Lm5TApLiWSKCFXDdEW9jFPEalJwAPRtJcc86StC3wNhrs7RJP3QuR/PumTOY3HjP
vjcKm1RaBBEOtizjfJryvySsWRJuCf4nGjwSD08qdeILxVo08edDbiiZELkeOiNuLluwg8Yzok46
m/rh0+CEAaOOglzz8bpDBsWCEGQJjaHQI6sTP2w33cc7/u+dFeLoDvM2ZRbvOMHnyomfIRw68VeU
W/b1+bl1sxq6u5dweN2xSoXFAHm3NNGMM7aSagGwSscKfspFYv6ppIbPlWQY4ULSSlG/aYMVx0dW
UZZZusETLcyahiXKOEMld5NFs6dgQlRZsHoi40m8hLCAoN+hNkosq+xaNPEZkB9LuJDvoqyw78+/
AGx/Neo8/8fN2neCBpU23MSbFkufnlrOiGlNQ/orw2LlZBJ5Rq7B7D/+tyZdJzhCxlOukO4SZ9pg
od6MnkcNumQhHkk3VAu5HRKekHtj3EjKOALDWTRZQMX1Magkh8+JdBzhQNpMkR/0z78mroKR9zTp
fPbdXdMaFW7ndfjESRqr1ZM79goSLEQqoiQtlNcoAv8aavgsKP8CYUb5DyhbPrfhgBt9b3C/gHFf
ZGUGko26FL5nIkUWQuARNJw4u9CjTgU1fFbYh1EE/riRQm5/Of9KuBx582EwSyckT1F8nYKksQQb
Ohwjcqa23DIwmQMRHIxoDuQadPDxzgYSyLN2ivrlx/Ojfo0LFmfYcNoNZLpX4RaH4hpchxQBJwh2
K4nQsZTbsV7EkmPEBKXtvFnARz8/ljAg30V5cN2CkJlLf+54f5EJlJWXsQxVlDWiFSEtn4JEBcgN
dDw+5HXU1xHF5wnvNwhveH9CeXTZAuPLdbRr1GkLl40qXKehkyYaEGGPBucVFV5daUgfDWuqpofP
knQcYUPaTKG//vX8Iqr/FCGaPnhJJLxuY4BjFpJhGTpU1KJiZFhILnFwJOJbNmpQwkc9G0hgz9op
7n27Bbi7ncHQXTeLPbYGAzFMrOJVEXvEx5hIjAh3IaL89OuRcQL4/GAKfr6PMmDw9fwM+M2Zfx9+
3zR4VBZQEwthAmqs+eeUIXhqGaoOkaSSE0EdGvjQH0cS3I8dFPTfvp0f9P4yGq58ZCh2O9eR4zUa
S8AKwaHYD7WnInkKtgJUxzrhp/gaivi84HwUYQrnLyh3rn85P3e+Dj2wJ2pyL4A7BGpP4lYPymhu
RcChtItcWbIG41L6ulhLrUEDnwvZQIJ91k4R//rl/Ij3w5XfaH5caDZI0IS6nqm3etFDAmkRFdQo
E3EHwbUN1aCHj342kKCftVP0+/02oL9B/izPSWcg7zz0SuVHhmNoXG8Voj434XH1jYs1JqCgiuZP
An3EK1TRcArydGQJ87SDgj5ogU/QPWLnHTikXMEoGuDTm6yWgrglRDUhih4y5/AU9X4LKXFZaXMD
qUEPD3EPiklL+cObDXxOpOMIH9JmyoX7FgieK2fa5LSHNRRO0gjQprWdDXZ/AIVUhkKan/ZV7+cD
HY8iMMeNFOSrFgQFX8PHuUG7P+6OWeYBRO2lpUZYVqCckEGpEpxpLRiH+CesSnr4qCfDCOxJK8X9
+uL8cv0BUQDO8/D54Hr/4H8fjpsMSMINPsrtYQ89UfiWpXyG1QdbbHHKv5IqPi+4P0I4w/0byqeH
FtweXwejUZO1zhGTZCEvPdYAoM+tC+RuhRBCGRnzmF8xL4yq6eAzIx1H8E+bKeTXLbglvo6azFrD
TNGs5l5WbqFodoDDPxz+UA/DkGMzKNkEqog5gfrhEyjmh8YS4i3YafGRq9Ec2YJSacDTK16nZTIf
IQvxR6hzUZjnAnIVKJohwvKZ7BAkG0ctWk6inn5GGfq0p4R/G4RM03YG5sGFQCLcKBbBR6SkIZoo
xnfi3r3a4HEK+dhQUoI9bi5h3oJMTXf+nt18LaNRc5NewGUL7lRk2DePdyo5Ic+SiLIII1RKSl8a
WxTqEcPHPj+W4J/vojy4a8E5K55uQs9BqrIoRaQB2YNyeEyd16SirGfXjogGYIlSiN5TmxA+C8hw
wgXSSxlx/e382uggcDq3Q2/W4AaAzBDMzszy0sRP0dgAjwf40BvweiCsqEUKnw25oYQFuR4K/20L
7uDfD51Vg0ddSCGE1UHNLF35yoe912L2zsOjpYsuFkOVdPBxT4YRzJNWivf7Fuy3733vOQqGYfr1
DYgcXOdC7sOuVjRmCiaLwoavKPJyx8sAO3Jer69DygnUs4+gwGcdJexbsO8OfCiaTQYOmLiyNdh/
Uu9PTOrcngtXN2g8qsTM+PFTZEANevj4ZwMJ/Fk7RX/QAi8GTLdx5yP7x+Di/odOUqE9npBvXwWy
jHQQyLchw755eIr7L8sQilsVyB6NCp48WSl/ePTwWVH4qncdwhDSS9nyvg0bQOSNh8HupS9/3fEL
ldUkJARCHtBjbHVuUWCHYNmk4Z5+jHIrSKVqek5wIh1IeZC2l9D/cn7t5+YJaa4bLfzFigWoEszN
9PxldiWkShElIzWPpiyPN+AalPBxzwYS3LN2ivvN4Py4I2/jcNOg3iPA1oOgJdyv8+UPijTAmwoJ
UUxmEGJPEf1qevjgp+MI9mkzhf6uBQo/4tqa3IMh+BVWf4RVNeUI/oNbFXZpuDjE3UQJqqSGj3sy
jMCetFLUb1qg+9wEQ++HQ8z03Hk6cwjnQ+Q5jQZwYnWZyDqBPLvFkx5CDeDvrjAdmMv8GoTw2Z8N
JBMga6dT4KEdU2CZSh2egvO6bR6YIzG+hrABovRC0WLhN3q64KCI5fd3TMQXqeADHo8iaMeNFOqb
X86/vXzxnNXouXMRDL93+nMHF/mjBk98SKqI6Swjd80xhCmnYaFiB/YX1ZTSjZ5Y/F5LHJ8j/F8h
HOL/EeXYRf/8HLuDizVCQNK5+vb1IYuoxQdDINKjHfZ7tuPnmIRcLAdjrJJyiRxLatDD50s2kLAi
a6fo37UgCuEmaFgN1mR49MIRAMnOYslPbCPwuziEZablm2h+xhoE8eHPBhL4s3YK/00LJv9NGAxH
DdbNUuCKgXp9KHWeGPuKIZi4i8BVs2qk0eE0vqCanBPYJ59BoU+aS8i3IKXJBxQebjQ8HE7Wclwq
iLs3CPA4QlF0C2fEhDW4I81vzzUI4oOfDSToZ+0U/g8tkDsfhosmc+QrSLClwd6nZQbBgsyHJgqx
A99TmpK0koxTkB+oLwF+aC3B/fn8m+wHP3huFG+JGfUMZJsjAkbvWghgklMfJCpgquk4AXhCP0U8
aS5B3gKr68fhfjibIA2Fl67zt6s2KjMlIcMEgrtj1aZoaoLzugHZbmb1N4hqU48kPgfyYwkX8l2U
Ex9bcOP80UdxiCSF0ueRv3BH/xGe+SCekFQnh89fl0btY7TBHWRzsxPhRDJiuXA2TXI1FRVvmKeh
eEP7YL6g7CEGoWpyTszM5DPorEyaSzOyBZa4j7tgvNv/BbkPVQk2foSPqrB4Hp6ieDbg9waXN2Tu
Tq4AqIA40FUls06wITeWsiLXVWLH9fl3x1uk6v58CS/Ipu7EWMCdhepTkpXeTxbVERHxkEh9h+wP
xBoNSl40V/Chj0cR0ONGCvftRRvgXjVaNkZDzJYq6iiQxD3ww2iDQg3M35MYxG6HVXScgjseVwI8
bi5B/rUFkI9CfzVp0NtcgLDX4d8gI3FmYW7LuJqHARKO/vxIrttqSk6gng6ksKftJdwHLcDd+T5C
VGlzkkWDkz92TmQjTQzrOEXmjFsCi2XXkGYY+W+TJ313fNl4W03QCfjTgRT+tL0EP+Tpj//6J1Ff
Sg1hqeWXaBTs7kdh5K4OpIxH/q3/dIjIquqiXgD42l2D4COIDuXgVRXnG55tC1IfaYWZU3ly7UHl
TRU1J5FnH1HGnbWWUP+1DaivJtGw2fBRxIcy4W6yDDPsUQrTHqmWDKLK3Do1iDgFeDa0BHrWUwK+
BS5ut9F2hBIDUTBOF30DR07kCIDGjjmdbK5FjVLHXRRSs+JUGvOFmnPrkXSCD7nPoYzIdZU48eX8
S+Bu+ASdsr67FZGSVXLuBelI5cQdEt2Ph+FTkzcsLKGEhRmhI3NZYR2quFuB+QcuMMcUUHkbZz1i
+LMhP5bMhnwXnQ13LThfMKeQXaP37kiliPODocGvPX6KaoAkohIrzJ0oSMANcKpD0CkupJ9S4kHa
UeJAC7YkfPCqQUVA0ViWCDg9piEfxe0ILo84/MkSDuKpIE5CPqrIOAk6o76MOGstwd2CjehuGKEk
a7MqAK51ZU0VET5QDKKEystyg8P9NHFDKhcdrkPMKeSPY0vwH7tKPGiB7hvzwInCdAq+XRcQGA8Q
RYZQmqN8z50+NMR/MH8vExnmDo+Uvjud/gyyCpJeYsRhKJcPh54SG9qgCfjus79uUPbAjIoQP5bW
mFtrBudvVp0YXigE+2o6TiCfDqS4p+0l1C9boH/53mrkjcZBgyYPFaUpUFXS1ESjoPQwv2rUL7BM
mlf3rhYRp1A/fkAJ+GNXCfv++bH/MoZfdYMTHiZtBSYlxM8nug6kSk7oKFB1cBeJvMbJeiB7bjU5
fA6k4wj6aTNF/ksb9Ew/8J+eGpzyyA6EzGUmct5zb3QEuDQoLKtQ2kuvdO6qCeKDnw0k6GftFP67
i/NP/IELQT9r0tqH+14DBd1gvS56UUHkqJqMjEJI98HbaOtQwgf+OJIgf+yg0A9aEEvzabQYNuhG
hU1U1pijTnqhUDzmmvDzxDUmymsfr+Hzx9xKavjYJ8MI8EkrRf1TC7xK8nVEG7s6O9RKRWrEDPuC
tE9KpsowtCZTHysjj309mvgMyI8lXMh3UVa0oWTqpxGK7gQsoqlBfR++nKjjrKNsalHjQZoP5OkT
kbqGf8lQkxg+EwqDCRcKfZQNn1rgVfhptOnYQ3eESllN7gMCMgWxICZc3BeVH0lHUnWUm8eJK3Gq
KK6G2vSc4kXhc0rcKPSW+GGff0tm3//bCOa3JiP9hIOXhQg/q1y+vpxGCpUJlR1gCIUjXJkdNcg5
zYxsMIcVWV+JES3wwfoEX9tgOI6aPBcAZVVVcC5IxVBxpzDZTsIqMqUx4CTpRC2STrDi+DWUEcee
EhtuWrAenPEoSOfk2w1CSK9osPwHJBIJl9CsOH0SAAAFFUIrv0d/qqLiFOoH4kuIH1pLaLfgJHz4
zib3AeZzgbtPZuCJH60w5eHkjKfoHFDC/WV6XkCeDeRhz9pL6LfgNPzJD1aTDm7imt6NIf51BHMj
2VZ6PChwAXu1gRoOismyLbKHzv76dJ3gBv0ByhXaT7lz14YTmx9shrtULrxdFKH4GNIYK5A5R9tz
fk9G6iEF+RctYhbFJKkg4yQPDuPK0B+aKeKfWuCQ/hm2iSrXztdFosIHjFl+EHNRNE/oqOoAowXq
zR9TguTlUB1K+LAfRxLgjx0U+s8tmOyfUUVmDjEZg/D2yQ4bv8Tq7KWKD5vVuckuINEWiigjFVca
CYB9osiAKnpOwR+PK4EfN5egvzi/xvN5uIiGHXYOiFOypUC8nQkCjsEmqq3qRrobQ9DnuMCyjMI2
isQfCo7PRfjr03SKEfQXSiyhf1BiTgu26M/xmaDBbYDZhxScilHaIeFKkSkCChGwquOqxq6Ri0w5
nE9epOUUM9KRJSakHSXwf23ByhgFUQpBA6sBvpGwhmKDTa/hiy4pgoHjGFDX4JcSW43QX8C/gpwT
2B9GUdwPjSXMW3Ai+DxxXGexQIbUBs10EoLusNui8l5R/jCjEYvDptkWaxJxAvD8F1Dc830l+N+3
YMr7zVqCmIEUSeYUNY13JBxgORlVFTkC44MAPQmg/muFYeoED5JxFP6kuYR8Cwyjn3EmicZN3tEo
OAzjZtIySgkvuxY64CKR3krS3bcGKadwTz+ihHzaUcK+Bd5YvwxXTXp/Hmr14OYRGf9iQW4VxI4m
dWVEqCoiO4uxh9zHV1LDxz4ZRoBPWinqv7RA8bxHzstGLwFUVLbF9ilBnsS4Y17n1E2EOelI7gCr
RJp9pri/1qCHj3w2kGCftVP071tw2B0Mo2fnkAboZXvXKw+8SLGEFOtIslhUbqDpo46bBDf4o9KZ
123qUsNnQHE04UKxk7Ji0IKFMGCOWE1KfuZeiw0Xvs3EE5R1oPY8cp8cJVOBDdWUnOBAOpCCn7aX
cG9B1rHBKECR51QIvF3DxySHUQe3WqnXQ1HuwzcU7uhIBief8EmpJOcU9vFnlKCPmyny94Pzq5kD
ZxQEw87tyPdGzeHPagNjN1Wz666iDBJQZYmdvZAMk5xs65JzAv/Cx1AuFDopLwYtUDwHDrLsLpAB
ojlG4FilGUzUFxkAJzmYPeG2okuxJyIsDwXpU4eSUzzIPqLEgKynhH4LDDyx19hfkejgb884fnQs
vaJjHBg1q4fqXZY6DxWFjwp+Tg/FJnww/sMzNDseFJZBDYJOrIJsJF0EWUdpDdy0YDfwXX/ue4cU
sI26Zwk6TlqyxeobFk4CsEggWha14DQoQ4eHCKL6BJ1gBP0Byg/aX2JLrw1siXA9fPF70GgWOAGu
o7CCKjLq7BWYglMzHOZweLOwaxTWg1+PjlOsyI8u8SHfSZnwWxvOBouh02R+LNQZw32LmB2Byb2Y
AhVVVXRdSsMm6RZdRc4JJsTDKPpxK4W93wYFddXt3EZPTZ4OkIYdZbNFpFlPwjAAbW5XEHQRGfg0
kYGfWS8KywATYVVN1AkG5AdTNuT7KDNu7RYIIjDjq+M9AY0OzMEdOPJ2UKrRGz43fE2ARPkyMkdD
ChHWwGInoja3AW+5w0MMpoMDgn+OxJf49dIvcpn40gDK2a9t4CzCHXEz3uDRA0dwFU4VCE6IOUUK
igpIhSSioCi85/lGwEENik6wLBtJWZN1UBYM7luwuHZIv+PF+cCRbS/67jpP6f77dpMI8uniTA6D
CEp7pysnJ/RwRSEibwbYcUIVZsS9RM0JVsTDKB/i1hITWnDT/DAZOlU3Xa8zxLJDBhwdid8RdnU4
XrMchJKWwvoJ6++nd3Uo4IN9HEnwPnZQyB9acNP54Mz9QECyrVWD0kfAodsyJebbHl/t0EhYKLkI
PIZXNizh7CHqVU2iTjAi/0WUF/m+EjtaYIV68Jss9Q02wMkR7qcpG5TCho5C35D+SHiXMKnEhgpi
TuB/GEWBPzSWEG+B5ekB1cVelK2vEzgsAkdmwa44XCdPAXMBdbdw2W9oqAIb3wHRuV9FzynUD59R
gv3QWsK9BRdvD1Ewc3YNCh1WPB1OdAjjKB6okYNFRQZNTWXZP9hDtNaHP/5vJSUnMM9GUtizjhLy
LVB1GPJzmPqa9fGFDoPcmax4KFI6sqcoa5ipCamgUGgxuflEd/5YV5eoE5wofBLlRqGzxJEWJLlP
irB8hOH/2Z+nwLxd7WR1ZuDaiyCbeOZT918ZZg5Rg2aa7gBYOXmm1KeLzxY6njCGdlPWXPfOfy5I
aBysmi0QhNUCG4dmqMpxOeQOBIKFEwH0J9SBSEJHiDGwNlkvMib9Kj5f0l7Kli+DFrAliBAjuEun
69uXioD0ICh8j7sKqSi4DkdlWcSNNo5ohwe2wsIiqSblBBPSgRT+tL0EfAuOaF/230dNh4cgTgoi
ygDAR6+Y3GLQIcWQxIKVKyDI16LlBPi5sRT/XFeJBS0Ikf0KZ5J9hHJMP3TuISHjuXhqBfx1CSO/
OqNVB6fmKgqetv/IZeZFGt9iQ8dFxt5V9IzDN0zDOKrAZ0ormuMlEXEspo7k3GmlrvSd8aGdUQLz
WdrIg4I/CbKBZAZk7ZT9X1vgrvPrCMobWD9adF/6YnZs+euY/9tw3qjPkABDDQvARroO6CC5xS8j
VRyMmAhSImp7NQV8nqfjCMvTZsrx39qgHg5g9w/Gzl9wNYwErbCDwReUVZw6PAX0BR3FihEGI6FW
dNZf2PxeQxqfIV/KP0F4w/kLyqavLbi/f8B9TG84QQBfWLUwiyLwJZnIihIYSNUO83CRM4bJSkyK
zNGO/a/ITGx5ztSkhs+TwmDCjUIf5UOvBbphL4i8kZOiwdsNXmfSgbMoXLVguU+XSNGblBWu12Wc
ayG/0pfG+1I1IXz003EE+LS5hHkLNqX0yqTj/364l7RhxWowv5yAqGyYMRGhlFUkhOE+t01IiLFU
4VetwaHi8BCr2qvp43PmxM8QRp34K8o3uwXWz/fgU+cj+wdykKez9+1LBiW/VRkOwEi2m7Ejzy0s
GaRixF2YRu5fatPD5w8ZTvhCeik/3rcgANz+439Xo87zf9ysfadJV1Rk/MA9GIwNaZ0h7BY5hiBE
GblC4KrH0sUeHhyC87tJfbr4jKHjCWdoN2WN3ZLt/bphtRcnHnbm1aGA8daJALHGaoSoOlkmbA+u
poXPivxYwoZ8F2XBdQsU4Tqm+tft7X9fGpwonkPdg+NKdM1eGfxdhG7l+F5VDQ/KifsobLREBI54
iASBeourm8NT3BospO5SYfw00nsdnM/zO0M1OXwxlI4jIihtpuLn/sv5jc6DP/7L7zz48z/+++B/
9zn443+8J2cxSgF5u96EtPkKvCM1FExJHuixuX1a72pIp4ntIHehn2fGn6GQz57Tv0QYdvoPKQsH
D+dnYWbZi1F7O8f+tlkSe+5BnFGZFXuG/u1JDCN3KzyJ3+Co+zr9Csvjb19iaof/S0sZDqp8RV/H
wP9vPFdP35Vk5tlL5Mfoe7it2uV0tpd7D5srrr/I0ESD4m4/8c5084z7MNU67JixtZj9REHzylcz
I4NGw3D10ztNxOkSeQhY3jHkt1UkqG4beHr+9E5VuqhJhXQ0qoSaDaxA2LuOx7JB/vSOhQfjb3HX
DXsAjqYKKxATstgj9MFvU4eHlYKM3qhwoqN86Lv0C5GjZjf2vQyO5P93vGj+2UfIRoi3vuss4r9i
X4ekf0hLBzc4UGiyAzDzTlk8De/hBYM/ln4wF4+RKU0mM3s9cbc3e9P3e+p45V3mQOG8Bepr4S34
fXwMvOFNWGnZN5O3qLoobcOpZ6+15ceJuPyyjtbfIm3b9y130QvUcGe//EL6WXgVc+NWgbeESHcD
5uL8Z22V+e5xOt4u7RWsLT9PdovHa8vYCL1XvgWp7ZGpUoePP7grmlAU82+ZzsbzzW66C+ylOAkv
d2IoX6uhosbVAOIZxQGPsSDPIljxkB+HlWqycP+KDHXkLcLMdKXAC+3ZfKva+yDorebjq5nq3Dpm
+LCdTp+irRtUfBoDqPhSFqyImWuocNuDE3Hxpbv9eLzahEJoq/pyfClF+urKWOyEvibIu1tfNBYV
MwSTnbwPxehVvAkBE8iQzhZDHkpjtxMfTX25sgXF+Lfx6BuXeJ1vq+PZquJNpamBqrAifExMlTn3
iCw7SP5Nj7vAl6fT7cr2tMn2w26vzmx5Ebl/4i2yhqtUFaUnFJhhi29ZzzZT3TGjlT1ZTpazD9Pd
8lHAZFyG24oXlZYWygfDoCgjtaEkw6OVzPSpaq3H+4m1sl03GtvRZja7tta+ZpuPjnK1EHz593C1
mr9/eeJzuAUvQmTvgO8ahJFCuCUaj/rej9zIXsmq19dVb3sVqKpw5S0XVsVEpOzCWQsLDAX8kE0H
ySzo7EeMlB5tlopiTzfj6bXvm8rN4+ZxXvEWMt3hLQwJhbkusiO4iKCcIruWS1ccW/J+Zu+Mxez9
bOysbNm9nX+bP0pShWjivAr+FRZcj1ESBmnpiSzU9qK32G4Xri1Gu4/KxNLAL8v44C5k/2Y5m7gV
rOK9jpWXxDzEsoJvB/mycKOay0hybdw/a2FfND3P6a0nS/fj2l0Lkh2pruFVoEl4BjSR2AgTQ0I5
InjXsdQv+SWmePo0NGfOzDY2unCzUK3BbKmFr/4w3Gxg0qsAUUN8CWHZRBovQy308ZLtJrwZi3P1
BlWqp/3J41LqbzdKULHQeB/FBJOOkBVME8o31WTifi5MbSx35yoyFm7ftcbCn/gqXGOyqnBw5IUD
exE6T3Gd3UIyp/Z25ru9R09wL/1A3tn+ah7a4mom9V9eyZyvwg6GqQh+4YKbfpWhCtEei3lm7x/n
UxtCc9Z3pcW2Ys6X3wIWQb3Af5keYJI5b+18d63t9Jm9XDj65WodBpezKPSvXv4WIpUw7TDXoGow
B3TkmjPIW1a6FTrmfufaZjAZ92T8az8c76e9laI8VnwQ71UaAgiQThC+GcgvUmTTSpbGxn5juPZ2
7+r2JFK3g1CyNj1L3k2Hr/8qIGeYbDXBP49hm9PQov06chd7y7Uf9fHDInrcflw7ctRb7DbRq+cC
vMdxyW5iN8Hco1raoyihHuR4MsfOODZmvbUeCfbW8Y0/8UGQ6qg8CR2XfVbxgyaKb2xWoTu39akQ
3u0FcS99kqPl4/iT6FmLDy+jx5l5UJ6wzWOjV5GJioiizdRbmoExm9uiG4o9rK71neiPzfiu66SK
xnmLqUvw30G6f9RUZpWW8zyaC+JG22GJ2ptgEfSn4f5XdecaFdOb+xIU14P+jJmusuoy+Zc4a2k6
eZTwEiHy3L7jBerP49VyE98ZnfwUzsyGJfr4FsIdeTGeOd48mNvO42by3ly4Sm+/WkZ9V94Yg5d5
U34V4s9x72YiEh0zThWLH6RthO1uuVZmtrbB1tvDVji7nMna9JtrRkIFhzjvQqofFTMbhV5Yibzi
u6zZbCZvVHFmm9pU/TgzDO92tRk7Q5wi1ArZUOaTiqra2JtYADfeRRDcPMqCv/PxKh9yta8FO6E3
k6Ww4i1s4uYUdAg7mKDhnC4hrAZnOIXMBm9qbFzTM2b2ZLwYr+/kyPf/7Y5n5urj2hwrC3smC65Z
MQPL78TxQ8dZUYPixxLGF0Hc4Fglb/yxay+Q3b/3OBODS2GmaZduKENVVwKpQo+QGFeKHwkPfdRu
xr04y+Mnkxf64I408ZeuPY6sx9A2lIU1vtatRTjurayd+VXY6NbsWoc8DHq79Src9XfThfirHC7C
f68kc63bj9NoLNsLT34Me7o1iX5WI2su9CR9tnWv1YUTCleRKugf96oyjv2OX7GSENgBNZkdekUW
ZFlEK5iG47GkYDva7OcLr+fu1+ECx4H943fBfXS1ivlQnuBYSzhdSwY71QCy4tvCwF1sgwX0vM3U
WO2u5jNN/hKoy1VgB6alTSrexpkJEsqVo6Y2chTgXorsf/KjM3WiOfY/VZmFva060ad9b+3OxvZ2
6+3WvTWyfP3ysrRgP0nmgiTiZUjeCG9JSMHiB4pjfT8RZrprh5Z45UT6aLcX5/ZMnFw6y8Wsp6qb
wcsv5H0jVi88M6GwIKSKvDAS1TAUltgOnc1W6EVj5Zu1de6WrvNoz1zNqZjrHP4BTNiIDDhYozAz
kyq5bV5x14ohBOrcHuOU4vSEVbh4EHbL2c1UdZQ4lvA1M9Ng2yHCI2Enwem++C5zoQWb3cb1bM0M
t/2J7gsf5+vx9IM7D/f9l0HkcM1gyWfhUwz34YM1Lf9Z3sQb6+Zj6Nl7a7G4XC5nxhfZDMW+jxSd
fRwep313txtX7GFlzqGau6HDZIIFyNZe8ft8U472jiNiLehheBfu5499TdxIN5YzlXoWagFcvfYj
TdSYhNLOjsSosEpWuiAL4+XEhIoWbbabaxN+RdNe5ATRrTvZiB+mj7PtZ0Feapcvv7U8Y+BOJCKe
T9Z0/Atzzs5DG6o71TcivDXY7N3r/RIb2XK2nNvuyq2anCZ+qrj2IL+QrUeFiiMjjzMBVJlahrv2
FnN7KnvRurffqfPPSysQvZ7i7b2v7n7mDmbhcj/pObso8iuETXkOwdCA+Yow6oN9iHyo62AvdBYz
zzaCYHXnu3PNXqqwWfas/Wb6SdDc6cOjNteqdPzSPq7CFIU0vVj/iHuB5CniO1svdzvPn2K3s+bW
zdYcu7eWMjEr1j3vLZChyMV5SERFxdp+vZd34tLB+XyuLS6NWRDY1tiMKmZoaa7A5IWFwBBkRdZY
jcj8XFmttsFa0qA7SsFu0mcKWU/arcCuyWb/Z14FawrOiqg7iXLPxVe5+yhYzbVojg/a6O9lfbW9
VMXdvC9Ohe31yyuAgx0ULCTJgSyDeNFYf05mziXHNBx5O7e3C8HozUVIm8vHwPVfaU0+GAyRvQ2G
DKwB5t5afM9GDqPp3NvjYBRuFuOe+Dhxf9NNIdpdvvw9pYnOuATTCc55kMrQsorvGQvbINTG2ty2
lrKz6IXm41qwzYUV2LOtJNxsfUEOr1byblGxwLg4Qu7pLMIHdiCiHM+UqTbVvd3cDjRr+SF4FKZD
babIzp96jYlTOg6XCKpkkzTHrnGwnwaGvpnbOIBEGgy8ztq3BZjDKqbFwfRTEFfAESU44bRvmLgm
KX2PMfP9aA9+qUFvbO76+mT84E4CvzfX3BtfVN4vHBhvvI3cM5dmdG1YnlyxCHiI5igwyIyx3G1o
RLqEA2Ek6GvbjHTvW6TutfuXJ0zVa4hc1kNnuwuxuOy1st3ezS3zizL31xUmKf5LmPgwUEoW2n+R
bfJ6vRc2j0zX2o1nwZUpjhe2MBcssYJtvNkP44OuQreDnZJuMl7grGfRUp7b2nSp9zbqVroPVXkD
qxQ0PrXnG8vHW2niVR0yuJ8n4dIBZeJEVIkmrNpFmm+JPl6r7h0vsif76f6bO46UCvWVJ4GRkwIH
IxjpkXpZLqKor3cCLJbQ7x5Fzeot/J36/9j7su62daTbX8RvcR5e7gM4SJQsK/Icv2DFOQ4BcAbA
8dffTZ/ur2MnHd/zfrtXdySLEgigUMOuXcVsCTRgFndy6PKPjQoOM9jdqNmCF+RufQB+Pmk2H9xx
8jAno5s0WVvW8djhsv3nJxrjwIlEEO8AP/8lgnc6a3BbKCxnDUtB1OgWO2+W/BN/7te1Q+SOXnTo
SAcxRK7t/XSCdnY72y1GSMIyELGqJRlZEJHQautPdNQmzO9VB1wqG9KH3CFQRPfDylXLPBo+QsmY
TTXNRGv0u04u9Zn5Vrsvm1p9gk9Z272/G3B7MDP6f+IRSAip7fCD7hVe5y22McyxEHYpzl1Vee23
CuG/RGwVSX1hXmc+NoGO2rTsgsp+CMQyBDl8BqO7/bM6+WWd0aoGfjpSmYBKkAb5sM6ysQXr2nGO
y6A3Mh6Y9c4EmHFhTvCZRwkx+TBxtLZDsfFGiPdgV/EA0vebSvumoZryIAb3zoCmXBpjjM7B4rrq
qXE6U1RJGU794JPVNVw6xYh81/UsRxbqnQvTIeIKMOxdX84l/yYWJZuE10WriFpb77pCpHXjIafo
HcrZnBWR3WTN6SID58kVpfaPc19HLeml48+xLee+uDdgn96yI3zSwD9XuHtOamt31AVx5xa8QVL7
jYmtiWZ7mK55C7jvhkazq0Wsh5nSh9qsor2qmTuXpBAlpy9uVA1+ncJKhVNHzDXgISN2uzhCEG4F
nfNC7aUOlnjx4WRcFlYaQR+3hWFVilihrIHARTJQ9bEtCwjBoC1fSDJVheOcFBfUaMnqKzakvbMY
wVU9lrSo0iiS9cyJ8LxmLeJQrIP4a/YMOh8CL6xoLBpnmb87YVFzIHysnzwimnnkFinUNPOkMdda
PDqzw9yezHyh/k0wtlGUSyob70s7TFGQ9YvvqFxjg+1YL21kpX7nLiam7jYOS6Y2Ev3OXQY/ui7X
aoniSY1zd0XLvl/O0yor494oalsd6ajleBcureMlFrfMw1iwxiPGvK7Na2/T5VW0g2FfrbIrVVxT
c3EPUHCVefLdUsjcls005EXRUpmqKWr8J+Ezy4uhBv0wDgpa/OXCqQo5WYvSNYno3aY4OtNc8CIB
GMj4o+EyapMCSrklo+vK5XuzOMjmE8eiTDzjtJU0ob3X0FtKq9A/WF4XBpkq7dn+Ws8WF6nTNNL/
NktmVg0gEF4zQRZt90VaNiqsScnkbN4UTA+UuIZU/rkp7X5K67U3g0M/NdEPiec3vsq2UhMxA78u
9s5gsgoOYRewdCoD6mZW1xnnyAH2Rzo18fnOGSS14kq5Xp3Yy+jJ155T86vjMBWQyse9kdXuNAxB
z5s+k2UzXZmLX5cEcJ65Pkpj7DUJJB8EfNsp0LFVw3khFnr2PNnSrmpiqdZzifLo0CcDQMYhnlnR
FmnlNiZkey0DJ2Hm7Hy3xrpuiBetRhNHSI8x0kSzCCGHrTgrLazvpq1KnrTjsjq7qTTmu4g2ocw9
c5hUyuzAnGPmqtaNS9V4flJXXe9lTWfar4VwtEjCwg7G3YpA3CPKWucpo1OpvwaidtxTsYQYeFl9
n8WggPghaQpjaVNZttZdN7lsTFq3jaZD0HmIuSQru/IQ0sVcMndqiu9TizAltWvbaeLG8vVzsApP
33M4w0MsC2NCxFv68IIAAPe3qmnN5RSUha3jfmIzA/a66sgjcuyD8rprTaqyxiu9hVR1yMxkNMaa
nlhHQycuqA7VQfRD4cYFF87dWhore1y532AzhBALqXmDzLrQlnsPxc8eu2imN9Dddpk2yvfFvdF0
DdRN2JvrfoLO/CFNV3/1xlrOR4AG4ms0Kl4fF3MaSkJV788JfHBqJOaA9kSmTa17NiJRTZDB0hPx
Cns0dgDR+yKeZtr6z2M7cvMyt7WlHutuMW9MaeiztVoAjyYjctcj9FBzHldvqHKj7qJ271FZrjGw
oP6202NZxW1thD/GhUZtvuh56HeRGGx+1THL/Gow0yt23SIqYwdOUPHqTJbVkSFU0ZTXUe8NiW5E
ZxAGjzHMLN4LcVU0U2Qd3Mn0Hn1mKp8Yg2s/CRMBewh/nxk9Dvsc8sNSmOHRWpZ6veoG1jSJ8trS
SMOpcNrYp2wa44guzJ/I1CrnS00NZiVlr+qRmOXqhmkdTtPwQpHO70+qbgNNnIGNTgpdEkyEBvUy
x8oQ66VaAak9S1OZz6FPi/IeZKfSOlYK1d37xWVQ+X3hOSqOBkvbsTWURrmDLhntrA5VZxdkoatv
JYXBFy9WzlwXT5U1ly/d2NuPftWGNHMtowYNwqks6AYOGyDTeZjGHniMU/Q31KhUfVeVjowei7Lj
xS6ocFzJ3CIUIXXr2DeOvZpubAvqiqNFI6cniIpqGZvmREUS9J5kiQzLgSaNbEVzLpqxqx79pnLs
XRlV4XoVFCCM3TPdtZRMXQcrWbKxqpMSacIQgiikjiMmJ0b0KAxzJxdI+VejGpgfCz0OB9co5il3
V2xeGoXcVCkIOSUlUdQu5b6p57X9IZHtXxAzjfW3iQXBa49niMnvczlZoD6NoBKk3GhLi3Sr0cNJ
6Grfe4DaqBxJBlqZ0QXaSql9WzvFfOhwRp2YL1pQgHKzNmdiF5Wkj3bv9/zWCAfTgrCH/pJwcw7l
bsvzjzel5Xbstu6odnOrtTqIdB0Obp2GY9DUd6G5thEjioUDpGQVvD1JNk3lQXUyqvZF4Uag1K2h
u1DCEc/Ix8bQQpdxpNc6Gkm5Otb4rCNk9b95ulDFDR+7Wn135nDGEeKUedd9XYSvbktHGHsz0t6B
g7bBSSOsZc0XfzR4Sluo5R31dVmCMeCHWOG4aWfeP8Az6iHGndGMwX72K8u9c8vFtM6yBpb46A+l
Km5nrPSwW8Z+qs7SXXsrQ3qRjTtRLA6LQ2eoHiffdpebZXQaI8H0Rf+CbKsu4qhc3CH3uN2buWmE
64Rq5CGYgSoFzsFTfFFPHVuBydmWqCVBb5n1KMx1CvdNIACez1bU9LFQo1UTKAlz3MtltJ3ECrnV
ndUiJ6igbsKex8rVOJiEmUNjPNd1aUw7i/XFlBkmRrhybT4FGeLKyjqVFm/meNZz7ZN+NIWdgYYi
GlIXqz1/KZRR2g+j7xjXvRza4GpEOld/7yJznK7dYmmBtgSla6lbZoM/Qmo12TrTRtBZX4JGiHBn
ajf6ZmjTVA8BnaYG7LgusisyD8bgpTBPQEQNQ7SuEZfUX8yW6ImF5reuWCbjqW8LDlO61Mv9m9/+
Lzrsl7/Dhb9Znd/bDuRiuAgf3v6fE/8uW9X+0G9M5/+97I0a+p935+61udXy9VWfvnUfr9zG+99L
8fv/Gn8jvb578wv/9t/80w8M25tXBcbNf/nw/41+u7UbQhOVvzMbv7BvyYA2A3/xf9f+bIzWt/5E
b8xbB/1lXTzhFOKM5A2wIAT+fzNv8ShsVPaATAY25dZ6c3sW57+Zt/b/oAoL3wB3CY8FMEEL+w/z
Fk0I8DRaCzwqpL42qC74J8zbcHvyw0+hn+e/ZZXwlAHwLTAags33EZCQAzdMp3tYEIxdFNRaHRkT
KQ1uHmYV7tlSuQfma0EmC3HK9NUJd3WrY8ees0GXqe/djs7t7CxEhGWilyqKbb4g0YIvjHYcGjd6
ve2WOTNlfWjrY6/pVTuMA/Hnwnp0igMsgmV8qzRQWk1TR/o6GYbReGitv7rRSvR67G0cVyf21IvR
y+Ow1mUO2kGVBJZEiCJMDWeyJszSaQDKEvVpAsrbKwIE0sBIhYPicRk6rUgGKoxYQmP2xVlUTpS6
asgrV5AIYL4vrqF4b7z1hjvcIJ1f3LKiIcU4HfrROLgwnoYRxR5MIbHK1iC11kk/KIeY1uoSKUzC
+Lijst8bethJu04CVe2YZx57Bb9nfB6DUSbFpNbYiIyE+VsLwDBptDhN7qk17biRuUMZkYVpkyqq
inh1hoOC8xSrIRXMi62mSKDgSSeCmBlGNvEwGRRIfPaSTvqH0bIkrH8MiBfdtd218j6M/mIOYle/
L8m0Rjeja11rqzeJAs17p6iORTmcSs+/X2ff3ztWLchshkUWeVgVxD6eyzdv45UhFADnJKm9SZIy
EA9i6rOeK9I0Yh8uYQeNgvynYQf9yeSAjbkoDkZ9Zbvfytl78n0kaCPb+LrWLyKaEyM4TfDExql0
UqfTIA5b9gsd1mZXmXw4IlJX18PaIrHjPQzWSKjvxZGPTfYk6YH0sMIz7/rJTxBUPVhNhXDNs1MG
V4yvu1ZN1/Uw+giXA3VYvPUL7B3b8fDYtBbH4udVYSReVXjHGfgeJ33lnJzRTZdxggPuJjNCdLb2
x9YaED4Prz2tINGtPMx+k5ptl8P4JD2TPyyB9E9Yw1kFojbwzOpbTjrXkrHhzTMp1oE4NDz5lThM
5UL6jiYBLd0qLqWxM4Ihrt1AxJFZ7KxxiZFohZ8Z7oPBTLHLsTC61KqmZJYzXGMjmUKRrOUF1AG4
ytFCZmDLYbjsjC5EEpOfaSDSoByzerQuyIzEZnjrcnhpcrLjQkYJeE7IAOUmLIYMvb1d9D0JDBh0
F/5cUhk8a9R31d6pIGXmA2XwUdw5X2iFPCmNvliRanKUBMSls8bLYhy70CKDiOJmeJ47TnwUuHpd
bjNEbo2ZLpPfnR1weEjDlv1sTjfD7O2stT27nRV7piTIp0liNAhDQ/Nmah8pNw5wmoiovGSLkSJe
q8ycr4WWuGIgoAEflZjTYPphrI/cfLIni1Qd7S9TXSZdyzRB+JbZxlUzAw64gXOB+Kt2h0wPF0sM
xDTrzNaHGUn6oRf5qi4tDj8fpU580VyJud5ztsCjPttjkXKfxoNdxP1qIYAuX3RACZuAo9MZvD7e
pRJOChV+7nSSdKXxpS2/+sz+QQseVy4jw3g3U/5EPZyGcG0gVS9NMIGNChFx2kTqmSzzi0Y+s6Fl
CrCGEyTN4p4pQu37GpBpj2PemRZZ+gkUv1dq/GhKwAJgbXTezejbOy0uQlCoiOvR49ER7twTAkqI
NmocrOLFWsqBVOq+9b026QMTvPnyqvYQgosDq+14Bq+AIBV3CN3pi5RlTCEutZ5aYrAmIAETe2AQ
WbVMY4J885wxCgW4UniwJXxgLE150etjFH6LjIEgSCEma7LWMlPIXZQW5rjr+xag2exabmz0JY2D
evwRyPWwhsbVOt+aLGd6Zw5ueHGd7k5pnrBCfu3cYMfAai0tOpK2bvy8anvo+KKI1qvQkm5iu+xa
elxfa2/tCTzS6kV5DAluryGIk74EdfQ84tSiHuViWm5BQFf5qmBrZFPOz3LiIjaayLoqSpX2Y7GL
nLYgIFT1RLfsXNfexZY+aZDtWzAxfpSivJa0Xp4jYcZmb+W0Vqdp9ROwGPys03y8bttuJFY7iUNp
D1m/anPfu9aQoiamBOCjbvqaWfEiEa5oM6jyfkKye3M+vSunY/OjL7naFVEl753GAlAOI2v6hnod
p8h+tExV7uXsKzL6yo291i6fZLM0xK27A/XMOSkammhauemoFN2pqR4AeliZi0yM24ff684qjoaS
RY7OOh147BGnRAzDoRqD4Z56oU5CufKShNBELffGhGsNgR/DR+Y0W4o2IEXEH9SkYlQczBkqWS5e
FeFEslM/W/fUoGnkmYUgbQEud2g9RAvWTro3ivvFrpTrF4QiU16tdiJM97FhJm1Ib89dNutjUXQ/
XEQ+JGjN5sUC0HQoFDVXEvoDnG8aiTWGYK2kbJH5ISGz7m2PHspxOCKw3c/R+qilTOg6f+e6DBPM
wM1sPseL5+dR0OWWDnmiGmxwMNRJ3/AUcHgZO56hYx9chaxgiPJ79mg201Pr2Y+d3aXINHHSNmPO
6v5L3cnMaNWjDKYdkwhSfXuWCah3YVY0/b4tzrOukwq2XwXrZl5IZ64QKg+gTOwaxr7mFWFCYzG5
oferWQDcHY4aEdOPOozkseoalZitbh46aoTZstA5AWPdSa3BUEMcVdECu6q5A+TZV/qiDadLale5
5yoI6JqVnHk8MTUd7hq3ZakrePHsuz0DhNlIacUdc5eWKN8jfguvAQG/U4HCC6Xd8WBKvG4JYn/o
7C8NdeEQcaFODdC+nQTJ4xICh6tJN7PhgXa+y3Jfu92Fek67EOUIGH/EZ3xfKlQtlFOzK9e+lMSu
CvCz+jVkFWk4RRQEpDg6BEYHjzIAfFuRQZX1AfE0zlvNjOCIU63OJdpsgb5q9CRStb5ya2seoMKU
99yYDHU5gAH4SxSFMvN7Y3hqIQzpOGhtJqynVpENUTeaRMK+HsJRV1fu4AbwFUudQyd6qTsWS1au
zKmJtgNY0XLZ1Ua5HrVTFBd7guHQ1tKcDL1yUrrfZXRXBhPQLL4+DE255NqdumwprYK0zHeunJlO
t4Zi81cXd3/tMxikSVAniUBaSUOl/Eu7LuEpUnN7wa3QnIv5BtDImNTCg5YS8qFcrCgXADiIVw+u
IriB9fsw2XxXWUHeUa9KojqkX2CMzUwxRyVidij8QfNYdogmB6ttXhpuNg8saNsrb9I+jp6wybCE
GK9ZlyJpVQdOhMNSxxXsXgV8uuIdsDCrS6rISUujqjMBChgBE6U/mECSE8Mr7wFVPC6WgfI1Wvg4
kkYRC0DcnrCeg25tD0Vl8xSA/HJnrGX7rQbn+oG7iqZtW057ZcJTriwUp9FhoZm9hP590EQsM6bW
3kc+YOO+n4wS2wXfCtgpy6KyuETC8sgaDvTkyn44ts4obtzK/85bepCNfpxGnvHwsvbqKzLrfbtO
qUnH8lSyLp+AhcCFs4I99aacFpSdNY3K1J3GOx7SAgkXNeCMRuzKnd07Q+spXs3+ZNAJARANeWx5
lDQj56/9hKCh4Qt422VwZffzrWzn2N0cEviG+6DE4naWVFe8gMOOh8kUAFHgoftP1hA8iNH0Yjnr
bBTeF+pO6uCP7pUof1TYy2Sp+A0VSn8xBSwxFbxJJDfKVBTro2fYj403w7UVhThq1scAeDnikeim
CosYavC4RCsYnc50wYMdHptRf9GOUgetBkQHfUUKq7F3KPa6X0b3a7vFLTaCFJDqD5bdS5CkjNj3
p/I0+jPCkKhBwBS585ywAILiR4dQBdUtlCmcYmmtWWvUAIPnwcukYT8UfJanmrt2rjWLxJcgUl2y
Qm5fhcf6xGGU5tIwgnSyjPA006XhmeG1fQ4jC+RF0mjKtnqcU1kNw3XJudgBahNgR/RtiZNRRwmf
+yYpZDCoBHQrJBH6ooY+ZeMY99FopbXmK+KosLavllW3NtZEyb9G8CSnuALsndSQ72SSLXtRusdq
O+yA6kGlrvQIctrauMVA2knuO0PSIetK0+NHX83EXfee061PKAoo094Yd/5ivQqz28mhD5KStZp0
lv8VQbEgxjp/K1BYAiC6iPL/j6jo5Q0gAaDxB0RFflt59Q5QwfV/lzJvj0sMkQxwNz4zqv7eUrp/
IypGgP7Q8EO3hwsEG1t7y/b+C1Lx/gf0T1DUwcQBewp8U/A+/l3L7Dj/g5aN2xP+kP408bzFf4So
vE9fo2FL5KBDKsgVAUqwAPx8YMM4RtEIu5CI9jxdOfHKtJa7YYBFPhSrJ/QnHJ9fh3NBcrMwFAhi
Fipl38M3oJzRodQuMM9SLd5fc1VaK0wtYin3FvivXL//tBP/Avn+e6n2Nj2US7jB9iwl8AXBNn0/
nglnVi5VP5MenKkbDRLNXY80wO6TUbYnI/8MS4EABuTLQSkuSDHgJXxkJOBPlmEx63LMz9l5n2QZ
IdnxlGVJkp1ivD8l+P8kicker5LTMctJjmtOJ7w9JAk+2ycHfJYe8BJXZ3l+Tvb49IQv57g0jnP8
WrYj+En8/HZJ1uL7+V12znP8GsHPkXT7OMuz+BmX4BZIvP0Fr/EmJSTex3uMi2vxi192Z/z8MUnw
U8/4S56SNMUvPiUnkud3JE9jfCdN0ziN43i7LMX38Xvbj8VXeHHCTHBHN9vwu318eEgP26XpISdp
fB0neI1Z73ctJh/j7rJ0fxXHWX7KthvFve3wzZv4G351j0sP17f7/e22TFio7dvJ6VSTbdjbGH/+
85bZn+xY9IFKUQupXFNYl1N2fs6zO0wqjb/F+0N8+8lIb+TN/7BVvI+y8fGIaZQZ2BqykSWXp5dz
Qc4k/Xodm+STcd7IH38aB0roZwKT6lXHgm0cbNFTfnODfY6x3tiS/fGUHOP47z6S/5URb2264U8D
fuD9oK6qFysGPCXPd5AW7NOf9wh67pMRtk38if2o7C6goFdcTpdjdtwEOju9/Rf/np8znI0zZPX0
fMqeT+ee4OCcnp+xl+RqB8HKb3b5brdLd7srcg0JO8THPcT569XVmzhekfh6j/3GycOxSOLLMSY4
n+nhEh+PkL7D/hNO4KeCsCnHn2bjmuNIBdYreUrucG6wYp9J9daG9I9b8oF3uEKTo0Qfeih7Phcp
jiWO+3k78Fi2G/wnJzu82k51QTDDw499F0/kR7Lf739M5HL7mYh4m4L9k4x8UMC1Dh0BIOECLXV3
zuIf+5yTbJdti37KoOOS29OmJrEx2IiUQAfG29vknN0ld/nNKXlqodt25On4kuEHMJXzjuzuvoxY
vgRa5CbfQe7SA+S8I+n1N0EOt9jqJLFJcoFAPEfkPr2GJskSsk/SC/TQ4bQpmD+LqrfJ+p/muVUD
/LS3QNhnlDhjb0/7E3mCzh0J7vvrLiM3f2tmTA9K9Bgnxww3kULv/vkOkFP55Ba2z3+6hTVYUKCy
LfUT1PsJq3Da9NrpNjkn8THPoa33zzgtUNbQ+LASuzTtoV6zDGsO07PfrEDyhM3JnpP8fIbChtyc
bwpCHiFFGfYEViI94BQ+QWsfyJsuy3f5Ob95zQvyerP96Mvd+ZmTu5W8FCSHsoMeOt/g7esrpBE6
fx9f30LH4t/L/ja93f+IofL3t+QOVmQmpCA7HNXHq+vrx+vDPr3PD/u/bi+wFPEF5iBO09uEfLuC
IdpfjsktjihJD4cr6OzDHkufYFXflhkz/4HlhnHFiLAt+xPs8ukY79NrHPW3Cx9u8edNKdwmx8vT
EwQx/uuTHfmz9kKD5/cbEha0NQKYGFjJI/4H2d2dEpg8HH0SJ4e/jVz8iRzgSXh/lAMUb74fthwD
kM4wLMbEcpzOOP84atuom/XuCU4RedlsPdQlzkVOcCG0Q3azWWVsNDYer27whZxcwyHI8Gr7bp7v
rvHv/haLlhziy5tjg2XNNquJE3WNk5u/uQv7wwEHchP1bJPBc7apU0b2ECEsP7R1lkAfH7dtTPZP
J3g6yf6c4Dt/3oDNOvznTKIVwJbLRCMYlPhtvYQ+di0Z1zUqkABXJLSNMVl0N6Ia0tXpn0d5v8v/
GgX1DWgIhKQkKnPfL3dL1UZNqgGDNyJK6WCAytTM1XMxr33Cy8j4uw36fzW7v84KBaVbLhZAcIgq
u00T/XTMK2sNPDB1wNuQkQtIYQLQXY3/jOG9zertOU/ol4QOImjV82FW1hByIU0qiXCZ/Wjyvs51
N6+fCOuva4dR0Ewb7RSQdUaznvdzkWghwnQQSTKXLgMMEM3tQErpeYh00QABXE6gkXd/3q/3JvJt
ZqiJfHswD+IoPBj6/ZhR4/RdPS6StH1jH0wDNWajKsXJHEL/k+n9ZihEfohztqJ9hAgfFtHuarOt
B+CKiLg7MkbNmnV86GIl6uoTTvRvVtJHfcjWjwW1Pb+Ub3id34DFB9bIyJXIBy78vY/w7cptnegM
UCHY/3kVfyOFP4/3kfa86HZtfXDmIOvW2u1ri3ZGKkaffzLO75YQ9UoRCHqYHvi+73eL1uhIwVsP
wGrVsxGE71UsCVourM9OMfafDPa7RfQCH09jRFyOZgvb5z8draiXfqjQdgiMVrtMhlHa18xHXg3l
tUsC2OmzqvffTi5E1SWoFqGHZ5m8H290Bxpq0IGIVQ0uCKDCTjkAXlJwIPF/3q/fDYVGIijuQSk/
YpIPRsEyPA+8UbMnizSrRNuVf63EaoNLUMhPDth7l+/tgKFH/n+G+nDAxjXopAJmRzxkTxnguR3w
6v4hsBz3anLL/kGGw9OfZ/c7afx5yF8WkhvzVFpYSIaaG1dSL8NjJItPjvNvR0HxBvjvoN6jSv39
dqmoY3I1GNKnPBq+lG2HrFzYfFZo/NtR3lq/oSWCh+qC96NQjyIHEgU9aVUNNsPc+hmI+/4nkMXv
RB1NgNyt4xA65n0Mf0Fi45KDzUcMCXJajELc8gDaM/1Rd4rdRdBX+pPD9VsJDH2oQ3ReAPP0w7yE
wSrJffAnNfCyXTUOXz3XfbF7O0j/uTAE4Bptva/Q/uVjWzSgy6yYPKgMRo0gnmoVJm5l6U8O1Ifo
dxNzgDroy4MiVLSYs+wPtosZIR8qrwHDw5EOUY0zIdnMRNp1XbFrptYBKcfbUYrmYo6n0UevH5uB
gEz6WV+BXwUGFVLoBmijd9p2W9vnP2stXiOwHGFlrEZX/qVRLlM5c4b6s+5Rb33D3jtUGGkruUXV
xtYh8MMxmxWIwtbcSlCHWHkwK3vM+r5z7tpRngrfmA9SdX/zxomD8eN5KVmMPdCWjvIB6bFPXKFf
Nc328PmtnAooKsoXP9zPtMA/Msa5R+oynBwyFRvXxEaPEieZzMJG+lGOyCoNup4/2f1f1xwjo/AN
DwOP0Ezko3u02GAbDxYsxey0YQziL5pBOUMT/1mSfzu/n0b5IGLL2EVr0UNpI6wbkwF5q3hCT7xd
DYbAEn1twWpK/jzib+eFDcbCoU0YOIDvZSkMpsaBR9kTZ/m/nJ1Xb9xIs4Z/EQHmcEtyRslBkuV4
QziymdnM7F//PfQ5Fx5qoIH2wosFtN4Sye7q6qo3+MCCYOlEk80M+OUoz5MPb2+zWIG0ivLPnrNb
N2ZS9N4gQ8g57mPjr/JgFX0OsqLMfwxZd4lefe49smQ3rwpnk4XaUtM/OyQpGhr4DieSm892G0/S
1+7MRIfi44OLMKc1GOIlpQq88JyX4u7qCXdETVM2NpDxqu7u8rlpbloxqrf5qIEM9B070ov8kjrZ
uZe7VZu6paNIBCPv9GGX1q9k2dW83MxwvgzQ5MaDGUz5FVQZvQ0FoOrPL3/O55kdfrxhbEpiVNYg
QU8jjlY6106fynBCtCJ2pexiq8onxvjL68tOSmkqGBeZCsTX9lJvha1UMbt2G6LkVR4gHIzAMZzX
F9OBg96gwewF3CpDm9MHqte+aWwo4yEw5vnKKmxoSLn3oMvCCctOP778+s7suZNo2yr6Z3XOqckU
zyVb6VnJcNnKvAINHrNDiu3lQFt9cpq+EXhzAOiyOjbZlF39wj7OSiFUG5aT3t8KX6uumrrSwbk6
/qH1XBBgs8Zgu6KNNL9+K2yGMIzSPZcLubV7SK9YfFUMnP5KG4IPpXTM94ZujqA6HHnTdC6Sc61I
nAtPfGZlol7FRZkKexOX2h0Q3EncwTJmSlEjQf7NAr/RoggWZjqw9Zdf7pm9jt7S3+p64xD/7cz+
8xX9tl97O20pqEQz3bmjHG8qayMgQA26HhIP4YhS9uOF13rmk9LioO9AIfJXdeN07XRCmmoYiGqN
rpmGZQbEds6a/tZprPHdYjd5WPtBH8lsushG3a+m7dBFcsEEjf1XUOs0tJPMdSslGSXNwdOaem0d
6cVMr6IxU84QheMVFyjI5lSqu9zSJYuFVAtrVmUDiG5EJVTMFbe8tlrkyF7+hM824haL0pQboLd5
eu5ioQ5sZ047tGER1EsbylFT3ybNLL0LS+XZqtzioMrCJ6Mz4O6TWKby1p/1sWVVFmvct6t9p5dj
dSOXsb+QW86F8lj/Oix6DlpvV0EMc1I3TVURSqZ9SNtDi1u1fhVw8C6U9+deHrUQW8CAIQCv+HQ5
SLh62WK2mzK1DroGoCzwUyEvbOgzUbZjhqORl6d73u4a26eeCOQG2C4dtYQ6FN5QAkt//QeioN76
ecRAn2gXZTXS1sz7pAln8PNkDN08NIufPyQyVV9fXnNnPpBFlxKuPscMZ80uQ3lmJYUG9Sy05Zgc
h2JAshroEBSg4MIs5tyr+zfS9vN/ElTdIKeskHoLA3f65Hu1dUDgrb2w3raT8eSIQW+A9uSW/8i7
jPhPgxgDBPHGgF1tuI3+RuaL/FBZc3MTpI6tQK8sl+RsNm7J84hQQVAVtZEt31/DlCzzcpZEtNOA
FygNES91DTg4mCAZCScR11C008OaOcFVrUvzj7Zqt71Tt0dhzcXjy5/z3EvmQ6IyaNCfBVJx+vxp
XVajn7ByvGBSsdZq+YEWwe/XB0E5y0Q+i9snmeQ0iCtnlfWt00Ax7xCcWZHNHuJeD1r3wj449zU3
NX2SPFISIFJOAyV2AXF/ZXHW0NyjfONm6LN2NJzpuh601ykG/U311OhANtAm2gSDdyXCuPTuUk1N
G3qDk9wV0yqRQbas+PUvz9/kI6iBqCP3Nzev9DprTcmIeV91cHtEdVgcK7vQjj2zDnhtXKLIiHyo
/Zsr6kYrgkxsdaon3pUzOmNwPsQFTbrzUehVcmpxmfo7Pv9nS/tq0gZtW/tFZlVvIdaacQsx/ELO
fd7pAGakgw+Cf0xjGfD76TKo0C139MqD6jAm2Rtt9S2oI+VtMyPK4urTO392HltNTw5SeMkd/e5b
5CbbC+fLs/qKX8LYLBzoiUEs2BcCsP3HYEhxPlDuZBqHYRF9fW8vjj69ccZ5tqIFdG52002BealN
e2YbcBsAi4XEFIbS+9IOnhJE+033Yq1ylFeFDu91brM3lg0NfewT/vnqNcrhg3Axuk8gl/an9mh6
S6V0sgiKbVk491Z39Cp1aSc8P3oMPukmN+7D2Qz21wF6zunSeXxWV2RpVPoeXPNaeTewZ8SFJfT8
DRLK33RXuX/ABNx+/s9CJVe6OjpZTdgUTqbFSFtLH1kPYPFBbzm/0I2Zkwv7fKtsTk8iWlXwhug0
kr5gNJ6GFKA1l1RaTdjWlRZDPnc+yXFWP+ToAVIFa/qDNshy1yKtfF11Zn9ByPT5csUmhMKAmw6V
JFntNHxVSx0u3tiEetmlcel6v8rO++bUG8k2qKtwA3i/dtFsEbm0blJQMKN2uxRVizwzoXSFtWZy
aZXjeM1WqS98yWcXjk3qkf4tG8Hczp5dmWfmAyi4BrmPLtc6Ffl1ln2Raq3suGsT+14W0wZB9wU9
I68sL3qUnFmzSLZSzlID0j3a4wc71XpFzXg7RA5WHp20WOHOJ4Z4avrOyi+80TOJj1EJV2UUvumj
cCc4/YiWqRX2PMBIXt3+nrxYPKEAUMST3ZVGbPfC+VBYFVdl4PT9cDSTJPFCALvyo+jsun3tVY8Z
GAUvnTnK6w00evrLmGU/dErCdiqkYLtCH/gxu9Tztb4EYbkmxdve/2TIVLz6KCMuY3Q6Z+A10eo+
jatXQenIlpXsrHbZREOaWAr7BSO7pM587tty8QKDatFSNezt5/8kiQpuZgLytEFMZ0w+TivI/gMk
g+RuyOzRu3p5t5wLho0zF3aaPPzZvc3BNk2hDfDTFJ3129Zoxndz7Wnx5Dbz08uhziQ/dwuBVhVl
DX2I0+cyYKesXs1zebmX/MohSnz0B+RYirosrxlois8vxzvzaPToQR07dAR8oAKn8Upby6pxbcjr
6EvEmmCA2XUbdpy/c2GHnAnlM3LmSOTR6Bbv1kbmVm2KQE0TBqvdbXpPI/RIR9XWjWHW9AJffrAz
OdWnpsIbisy6NRxPHyxfaheROa0OjQrfhaQRPYB2yeAvSvze/DWs3aRfSc6aCzenc3FpNxLS+gsm
2a2VcZgNxMVgiRlzTQdnGTP7HQKkSD/Wmfg4I47zxp+EdqG4O/duIdszHqb44l+2n/+zHaBf29Wg
paS6gS5BUrPL20I2kef17oXUcmaFYmcBcAB5cqj8/u7FKmsevWmuGuRulIrKUZlXaGX412gk5TES
P9qFRsu5R+NavY1P6BdzWTx9NDl7qVz8oGbEabs3pgbHrkqd5lH56Au9vGa2FbgrAxAR2NxH0Izj
Xe7OYZyYzCFdoe7paVa+szvaR7ntiON/iMK5i6ww08Dg70Hyz7fSq7ZAUIVsIvNSHmSChI7QxOts
BrYLksHQkY4EqtCbksJ2Ff4nCnwtGqVrS5TSWbwIJHq5Xts5c7V4RYpXXkiR51YFHartHkNRgbb0
aThdVy5qC+Qt+EYfpkE9VI2cQ5d6KvRkLi98qHPR6PFtECraxNzrTqNBJsxdC+kVGL4yva2zzkIm
LEWzD9+fOzWr8cLTnVkYZGQ60YHuEdPZZcnCM1uoN2iPzFPbMpcVujnFaWMkl6qIM4udEFtjjB6t
rQe7HLlAsBdDxj5epsmr4grsQIzYqp9BrEy6Dy8vxDNvkZfIaBKQAhqT+2AJWgD1kPp1iG6/UyMi
HMifqE/ADks0Grl0/m3x+uzIiU23lJqEknt/bKvGrxaxmHWYT5vKu5bGNlL3dGod7WAniAEsizFf
OAnOvVOKakyFUdCkz7S9hn92ghgQG6g0mxqzL29NpomHEuEiqI+YvLz8Qi9F2s6GfyK5LbAwUEF1
2I6wpm9I1UN5qNdiaqOsaPmUL4c7c9Sg7shdfqtNOFN2D1YNnV+K3qjDYVHDlVod7V65SbARa+VB
W4L11kOn7vN/CIoQ+18IErelXVDUjWZUoaFN9zMvMQMK8rFa3Y/Crbuj7krrOPfCvhDzzPWMxE9V
DT4V2MLeN6f3VdPnFhw+bkrIJ4r6NmiX8vOKbOBPRKiqb06FU4aj6egUzqhVv/zEz28x21SIFEpF
De9qv/l1ROAXfG3qEPkl42E0a8TmRJd+1xI5voXsnxz6RPZvtba/cPI9zzrbcmWnUEdvMsu7nFqj
hZQN9CfRTAA4xEgjRQEpNx9efrznWYBbp0cfElgZfbT9+Yra1phlpqBhk4ziG1Z3k4gHhJDqo50s
zbdhdNLvL0d8/kK3ey4tNaSBTMayuyQnhgpVOgix6DFk1RyimejcB6Mq0rBjrHJ0UEYJvTrV0UZp
k/wSauFc9L9VPBKs3lZnn27SSWv0zLApQ/W2FSjtaGxMeveNmKNgLpHnzOpEzXG76BjV0Sw2fr/8
9M+TBJagLGROSXoNdEpP46OJllEmkyTMpbBu+PO9aO35yhT+JTeZM5FokdIZYpTzt8F+Gom7gxmo
klOyTgKvjmskCtYwKJjpH93JWcWFdPR8l+JzxjWCupBvSlvhNFyfawWujz3HiVnKXxwgMR6NRWwU
CR24oW6u0mqVX9vZa6/y1bI/vfxan2+WzWUN10mKb7zq/F29M4xIHow90UGOIb7Xunro5LX56i25
RfEZ9DPtAWK6KwTYIT4o7ZkKEXFGTCftd5O/XLJSOvsoPqYTALYxnNnjanrbdjVQabzIWbX3gNKR
r850fbqEBTuz82lum7QqUQmmuN5VUcxPnWquR4SgdNuJAwnVMTCq9Aa833Lr+4P26vEsgDMUv5iT
wSR9hgjrU3Nt5PaJUHCzDuXkl+8c+l6HKl3s+5dXw7m1CPISufGtYQku/XQtVnmmc99CQ8Tz8C7U
UaONaCZs6q1zedP2nX4rmbc/OF3efoUHd8ls9UyOoYzjldJ1AhC/xwY7ZTEB/aD4Rk9HM0NJR/He
9kuPPubidU+mqTnTpj8ln+wsXbsLD/+8LqDCgsK6jY3xiNgjphpNtYyUS+ZqqtG/8jEy5F5MNmM0
ihTNYwHM8BEvBOc/JBwCgy/YZN1Q598l9iHLeplOXAJWQ/boRPnODXqt4ovhjcWF2nW3R9h5mzeq
gXcQpht8512oZBJ1FdgrmiBzj6KxX/ZXRjPlx5eX0b6p9/9hfPIZNlkk7d06wie70nFHyeKcGcWA
0HSMGax22ERsI+n2+jvmifVtYWn3yZIsR8m08yEZh1cu52e/xi652a0+DxS3WZx1iE4tjtddURjO
V41XWXERqEPjWkPIbqbxBpjx8PJb2J0jf6MD8AOxYtBJpYNzuplQtcdvxxszlIHT8daR7nrQ03E6
Ntl0acxw7rP+G2rXPXGV5a1ONWXxGATZYbBKPzaXiz6Wu8T394GQL+aTUs1x8dl+/k+drk2icESW
izjJULxBC6S3k6hH5A2RujUP9A9eOySvrOa2oCDp2Y1wzHE33Vt0WqstO5wQ0nhORPrWAd6Eyp/+
OvNbTGiJQj8Po2LcOfCg2nLDP4+GjUqJwA4lXLCsfnWHL61VXA9W5ZnX0PV7OEBeS8Z/eYHsEs7/
BaXUYH5BbC4jp0GbxEtEttpZXC16jrZI3o6ZijzVb4KyxeItQTT4Ypqv0lEybX85+LMlwzyftb8p
UWKx/sxFqJsGz9aSGuEoOaTXepeskQvw9UKUXUa3seUAJE4ZxZjWYha8O/jHMoPA0phGlGYrPgmr
VTbvc7kEB81dtEO/clpXaEUfUQBOL6TzZ9uP0D7DZ/Bwm2/C3p80yFG5LhDfjgy9Eca96SBZ/AkF
K1NDMDz1+uHCNOpcPPYFZz61HHD13R4Uyi7NRGvNaC3sKSxnhYJKbpaRM6oufvnbnQlF7z6ghQ/A
iX24y+ItjK6uAFITJdw6DjgWqHjhXCalye7CB9xVBNsHBAXBiJ0/3mZec7pG88KV6CwhF4ifS3Mn
EkxxtASVQVPz0sdhYsafzGMe5dVivZktZ77wEZ+lnC08oxGKOpA7rNTT8KYWBNTAwoxYpP6VpgYz
tN2OxrSuWdQHjf7w8pt9vitw3GYGzUHMTBOcxGm8Nl2KBBlq5IHLwr4uyno6yAz5wpejPH+qkyh7
36YisAKk7zD/ZaLvRanvNlG5gLwzRPAwIf57Ic+cC0d3dgNnb25ee5MtByn8NvPdNCaJ6XV+bO1u
zUQknNIqx9Cv7dWsDyuKZ5f85869TdxKaANQ+tP43r1NQasRDL+p4d/cuF8Fqv2y6V8JB+IjbZZe
2MAxPaB/u78Y4qpVCgTs7Gjlcb5imVOjglW3Fzpwzx8FAoSOozIYd49afHdA5MgKpHMe5LFpMvVx
fMSktCwzbl5eGGejbD0iRqI0pvatqb6xZtH6Wh63tkllBuX1iBT5pfXwPH3gewiACigctFDO1tNF
Tqs+WS2JdKg2If4mhM7xNhv59ZIwrH/5gZ4dcRuiiZrK4vICWWh/xHUI9OmIvxaxhCr2UxVj9eQ4
KTqxubPEvd9otylN1Avr/dzzgYTAinizAIL6evp8neIFp5K3mGdCMjIGyt6bqFcumjFf2MnnQrGj
OF+4r9AX2S0LpxRTBvWLCY6yhvetwPenmXzjqw3A8Pjyq3y+Njb2HhgkOupbW2/b5f+UKDomGWs7
oqjczij5Bn35B4eYS9CD59+L9cA4Atz/dmzu821vGSgHwWxlAXrrx7FRKlYYkLyB99q/1UVbvq2V
hizf6x/t36i7PJG42BLjcpLFiM+rawxKBhR7J/P65SjPaxGGmnTQODahoDPfPH2BzrJmhdS4lKCt
n91XxajC1VtqFHdb884QeVKF2ZxY17YYku8vhz737TjEuNmip00PZPeAi+pbTVtwr8ldrC7c0Sze
FAMOsf8hCk1tpvt0e6GR7R4wH0E8IS4be3ijHa22KcCQ4WD0cpTnS547DYnQ2pSzmMWZp1Ea3Jdq
YxA5Xh0qGa+aue3NI+4dRXUtK3MYLqTE54cX4SCkIKDFLYrb5Gm4Ka1tKZWdI+Qp7au0kOqh3hRt
827rVQXjFFxYJme2AF0/IDhb35zyePetxGDb2uTNGLp4VBvDYDCz8rTGv+YKsYn2tf6byev76vDq
17pZiOE6xUyRM3P38QZtK77klMcph8/RqXN1k2QjLd2Gy/wl0vyZl0rxjzvalv65Ve1ealDrqxek
Mo/7YUgb6GeUfhHoA9+NMjfoxXVhN0h7vvoJucbRxuKAQybM39VytjfPfT+OVVwzDI3oLSVP7jxY
18pqpp8vhzqz3xhcsc1pFDPO3SOohtFjCiCmKgZH7yF8PDlRqYJf/yUInWj6HFDB9tdh3WhT8HwI
vAKAng+i1vUYAxh14QR9tt1on3CMMfejZ7MBXU/XP1KwJsPFvInhlsuHkrZ7jKYherOr4X5++YGe
JUjWu7MNxKgSofPs0W2oPXYbuFrGeeNYT9jFF4iEqhWSa4x/lR7EnNyzj3Lt3MriWz6PgXVhiTBC
ffbpuD8BlaRA3pAgMNxPn5frXAHps5CH1dHxpUJN0SrN8n4qVZ8WkYu4baVCN6tUGYTwJ/u8DHW/
0hHuNRjdJfIQZLpRGR9UZa3ie1aAxbBvsKRvNURQazoUn5O1yJGo97Sp137VVa4lfoS3Ae6iYVZM
dZEf9DnVEysSaz1JPR4mxr351RDknfWETVigYdIjxLz992jCW1+lJ6rhjzHo7fxZmcq13nWV11W/
ZGFjSGWOa2Yccq3BIyjMjSGvbsc2z251L3dxfvHyaf2yiHpgQF6PaZd7R5TbMXxcjWKag5AJm9+9
1ctNLSG3ROl/or1j2nduOvX6r6CH+/QRnxJhobIMLcrA0RohUS+eSi0fa375Zklu2y6vhojJbT1/
MFa8f2TYYDyTxBVD8iLK1yHoPi621eXvu8bRrOsywNfeiXmWxvkqy3W0VGzJefGc606qVFkHfHQW
hJJLfOVs77oTPfYnQwXUCunfhWn1wVgzHzItZklBFa5rm+hxIxJrfcQC1ah/IW3sImQ7oBT4WfZc
Z6e47JpWewdetkneDVmgADuPBlYHwpl6flUXZAkKqqkOqdVSdY2JhNuCaQ1SpCMOS6/LIRo9XJcf
+k2Hpoo1SxuDz06yev23duxKMSIyb9fjh77JabqGU52XneAqmwTGtbDMYXl0s2UouEWkapTMK3Nd
Qw6+NLtRfXYXr0w/Zo4/4UGIgsA8lTclthXiwRNjO02Io1O1Pcyz15RzOJTpvObRNpWlxs5Wd2k+
d5uXNPeuug2GT2q15mRBat5R2oPfW2n50+bERl2+0jQ/7WM1d7npM/HXnfFDg6GU89tUyk4LmtK9
FDqOB5OXiyjzp87oo3WUDar1OPHNKeHZyMFTnqwVmPWxdX11taZOXX/1nULHogC8hFg5W8rRm7+R
KydTD4fRLtS9HH1gkFdaH6wYWZh53TlpVKSDNaIP6ysz+Y2hoYkXRJ64PbQFbV0N/Ytvr6qHs24v
qpuiNNfk+rUVgTJuZ7O11Ue77sb0gxUkQ/0EuxUNWydIEGWFFqE8pPyHpI6xJ1/1txWSThD+acar
T6UGemSIm9EleDdL78265q79acj9UR39pCED4X429liYQSUy0IeXa8nkNaylva5fa7tiox4rTOV8
K/QKxLeB7uZIX+t3FnYcLdr1jMADJKIHTfTTQRc+bUBc6QpmAXejBpMziLCOG9UvR2hMseJE9KCA
EHXHRMc+AhGqfRhzhqZWI8RHqJ6/grDU8hQPcJ7jjWmmeKFhfdEBSw7Xxk+L747sMEfA/E9X+qMr
sFfyYe3gQ5aHagAiM2K92jrjzypfc4HFiJkGHfZJ4CGQ8vWMUtrDOzTPnbK76YZStDiLLFCD+2ji
UuChP2+5ifOmtnK3GtEuykQtbgaydQ5G2giGFguNqnMiEwHytoiycfZb80ZZFenrY1I6GKU/1oUl
i+DQ14E3Gx+7BDcnj+rOd6x8m0ni1bEMalnu8FdSvXloU2XjVRaso3Ho+9X09RjHmLy7x5dpldcS
PY8sB1E4NJixBo45B7+Q6GXmcRzy1f0ztDgl3Rl6gUuZl5n4TVQejHxQf4CVAB5CJG1+mRY5OTQn
qgVssbJputNdlAufVi7I4yd9aLryqixT17zrffSoItKX/sMbKgSOsnFtsYfEjH52EgORiFmmRuim
c/rWTUzxPoB5cDTLoHjPXK1l3lMhXew8+ZlToQ/tdt1ihgy9cQFw22lTpW4taWtfTIve90+eKbO+
DG6OTYUz4gdzxa/FyMEQxbhG4BBK6wq4tV7e9WudOLE7U6ZHRR6Y8os1mr6mh1pVyfYNqtpB+WgW
WSnfGJzAyb20sVF+Q75rvyjbWMWntA5k8tNTmV895IXmew8DDnvBF7BAsjn2jZZ5sTDaab2iVl2H
cFpqQKPoFVfJ7yboje4e2GpWHXGXXIIfLFl8MENc5GT20LlmXf8KcGBzIRZ2vIdDo6bO+p3ZE93p
UGs6k1XNGtGXB8eqGE9p9Tq4H+pVSXUrtNyG2m8vSVl8SlIfw6lre+7dHgcsp0sX43rhopAsEU5b
efdn8tdZ/z0VtqznUAyGPWpRP2i2+cPslmW0YNDXi6tiGBoTsvQoIaXpghebyBCKnhuxoVI7Ycml
j9y1lvVvFPx1vQwbX/awZQW62MF3aSPQ/MnL7CqjYmhY6ALnwkDhCVpgc4otxGiM1VCTSP0FfzUf
wzhoqQaeepnmzBbWd9gPhn6zkM+BHvTj1wpcaBfCocpGUqNRGDjSbpPgxmg0BklLkwEr0ovM9j/h
ZWRXn5JZq36ldYvTpLTLqaAb3BqfDI2OWWSxFq3Ik2lX/exH5T8C8OLEDipdLA9uPS/XKfsreVMI
S9QR2Ud+8Q0GvxywU/G1B9TzWK5N/svNnKG6bpvFemjn2X2AeJoOf4+FrynOGJjIGr17W89SjB+o
FHxa0sIJqiupELe4QtAkGQ46Bp5LZDVB51yrHj39ELhvheOSx8dalXbTdatuxPRGBaZGLYoH6J3b
yBE4sizzY+46yRtuNyt2AFWpvuNmkAU3LRaj9qHFKAgI9jBUh04axdH1V8M+2nqdXnH5QDWkXYtW
B9SWSBG3FbZ40QRoPO6YXoxX+BlNXy2wmFgGJJwxkYPBg82BWqIMNIFqHfDPwEXyps8mbw3tyQc7
hlpcgNdCtuBSgqZ5v9ymyF7gR5XX3nVRdcOCZM3sG7GucQzhJ0qoaMRAY/OHGhM76ozG1WJrMRcD
kF0qHkl35ufewvghNNeg/2jnXvrRSZfkj2Cy82B0yJ/wRjRNP4qsYY6kex12s3DDgxk/oJ5iFeGY
1n3TJtVSPDSNqvsr0+7z9mZp4OgcR2swl48FTHMZ29LTNofcfjNWaliabh9UNoaEvt7gDpK377fv
QCd8LZopGpLENCNqFDwQbEUtAi5xxeqDXxGjPbceze/B7FR3eEuqBU9ZXlQIK2ewrjJNSVjlKsu/
NXyaLMrmUjtaML8dflvU2WkftjWwv6owIy47GAHYJf9KG5YaPC38WoRWbqSfugLPmWs7TWYz9KhU
gGDkftBEgVG274vS9cXRM3M0bYJ+dIej1fQ6I/1AFUHYqL5ZIzGB7A01xxA2W7/Cg1GNVfs4e33l
fKiKNMcK0dXyAbF5r+3xdpTYyjuYPkK1Tq0gjep09oy44Xu276TSTbw38sq5aaxySfhLmk116Y2G
Ci2YQVM4eAPJrFeZXR7ratLem0Crmh9GgyWT5pMzQyxJR5y1Usn/FpV/jAKmYKLic73MSUGK195d
UOaefUWN62N1UwZ18Rv3xGX+7SK88gV7WM6TXGSZFdc9psfHQaU6z2L0dUS1ZKPIPQP3uE2Wzvlk
Omvv3+KxgfOEsKb0UXlprYctyPu7ZUooLqd5psibFLZ+sdvY6YINoh0guyiW7H6Vpvmtt7EuyMqm
ssNBt9KBZBjkGU5CE4lxVni1dqa+fsOhMglCbbIz49EcByQLHCAO1Zeik5h1xEU/jPU7tuWqEFtc
OPncJNO1e9ynvCc1aki7YEqf3TWGMwZRg/I3BX+BA3ScpsK3rvlUznRUo8AUJqd+eJygm+SHZMmw
jkmZUYvrbNakeyyA6uBlDY3JO+K3TTtYaUmFnWKzGF/sWdsAUbA58yNNyP4QWBNo0GQRyZUyJx0d
IidNqyuNerr9LHILAzTfK3BFS0dyF5MND2+gGYpkdd3Bd72n92aWMfOjybiRHk7ViJVzZ2F/uRlq
/gicL/l1bftde0etwq2t4LPkyPsF/H/0fHT6uF9s6PAQWMRnxvrVb9NQ6S9syedfyL+I73NalG9q
B2ze0eKWfq/ysXiqMT9dYp0F9WW0ar2/0gurfuoKTSdnVoayjh4emBQFehLgP0ZBYV25xmIUN1ZZ
9U/M2Z1URdz3ub2pobYeOzh26wEGUhsLjKY4CzROLUwbHPSxsPrxM4rBmgvqVFruPVN5xCkUZKbg
CEZfx63G67zlY14HfoFhSUE5PEy6d1BY/kg2RFZbw6FFrw7vLk0TX/MU5nwIaE2vnvJxnft4qmRi
XZGKm7eAKBIovpZyod2MgYtJQo5WAECK4I/emcsffdCCP7g/c7Od8kSu0aiPDkNLv+c8A2CH44Jt
VOYBHxO/BfeyCUYuRiW/z/MM0yXFi6UI+0BZPxmWcAcaAgPbpEHDxC7xmh9VvWrWrQU7/crQXQw6
aGd3Ei0OusBHmCsFnkZOAvZECGl8mjAsZbs0CgOcup3fucpOvgfDqj2Mljk+BFowF1ctFQ/wycGB
VexVDJ0OWZ7L42xXfXYIjMXH/mjM1rezLBf9WNrz8sNDkrQIHW0dfuYWOgkovdSWGyeL6eFc1006
jZtUfe91e4Iq3/r1cj0VvfVjnu3Rg9OzNt9bkoc6eKOfvzVzU/9jjtX8DkvmlqUke/f7lJb5k8D9
A2ccu+xvRzelRHIYpkzhCsZnui4B4a6xnLPqzyJ17UfdL7lJflvXD5hGIcvSN6oU7/NM2oxNq6n+
jYl7t0bzGhTFYdXssgS5WY53WrVgXWbVq/yTunbybbXa9GHkCL93SzF8FYODXfjEW/vpyaG7Wypp
UOvXfPMQDZYFt+9Cow4sS7HRdu0e2IJuryVeBEKM74KOa3iYL8XArWrFgDSGt5LdG2a11MdWzxw6
8gaKRsepX6cRM/TM8TDpc42v7oAjIfokvfbe7hy2uwnt0qNRxR0+XqC1d6HtLR63UpAEPtMmbQ0O
s7VA4SiWpblVzHzt42xysT+YcmDsOdjDcOXlvOsQt9vBjZrRHFOshzwWWYLJ2ftE+uITyIvyaTZH
+kBc/MY+tNpA6mGCAgPmRK6/PBa4Bv7Ggb58O/dZn94uQrNsPIQpYo7dUvl4H43bREXHhOjGkF45
HJclCJ4405ssxqWtvstheA83uKu735rJ0t4uuaaco+EL8TmlYB1vvbQLHgWe0AvcRyyAtx4LHrar
kPLgG4tXXEvDrvMotVv7ly+tBRBQnZR3turUJ3se2yHqnN6tkTxasfJc+TJXFQPP+ThNQn1J0mVd
3pAtnOoYmIV5qGwf+xsJZIJytk253CU8PG9nDdYvXLqtJ6ew0g9FB9E3zAbpYFCvUQPEJl6+f8os
r+6g+20pnO6Ve+ymrPUiWDTDvTdgBB/yCQ1egJrdSEHLeo+um4W9eqtc/Ol9zZWHlLLdibTS1m+c
aeYxA0gQaEFWs+dh7mbYP5nwJR/11u4/28DpvzEmWO/ScsyXaBBl8Nmfp+YXncDyvhtbLCYdZd00
PGYXMSXn+rswJUItA8w/OLg5SG6sui994o4rK0pLhvmQ6NaEs6edSN4sOYM+iOn0jyXiHlz2TVAR
ZE9P3k/cUjFVTLrcuMNNxvk2rb3z1sMJ+3uZFfZn3JMw/+vtcviBF5ZXhEtJ/zPCuNutSHt5aYbd
2PvfmTBTJI8iSN8oRy5duPIS32LmoWf/4+zMmutUsiX8iyqCgmJ6hT1oni1LfiEk2WaGYqb49ffb
56mt47Dj3OjHbjeCXcNambkyGa1aJ8LCU4oUS05yZxK/ahnr6oRHZmCbvwqkWa9B7in+blszEoJw
oz0qXSSnGK5+pQVirJTmf8vb7pjUYrlOglMwiAcVS7BgZvtpPGRtQDydUxkihIeteEGmn9zZk7fM
UU1/RNh0eqraOjW3Z42HJ2E0a89v49RhYP8i6E3/Zs9GPXlbqDi7xdbct80YfHVTR5pzMpzKJ2K+
2o8RifU19hGtOeReHq5EqlnOi7UCpEY2NzDD/3knH6q54QpIMqwzOWI9/35tLP/r5GhaOVTE6jmb
Z66OpTVM/Xh9uVYXo1U45JvTJFP7Ou20IzpPvORBizUdPUNyimRWmDkNVC1X9daMQ6RV1c0RW9x7
F4Lc+H1G8PQZIwMN11RalreNQz8BDgSnfKy6pLjqN4wSjokI5XkwlP6PtFbNBfp1qphqpsSQY7A+
gSz73Q4Z8inuMBABSayuRkBfAYhhl8nc/HUO2fSxVGPoHUbiig6uR7B9TP7rlsd23w+vVreEdx7i
PrT2DZYkUenWVR+HfdleQmW2bgTxlj+mdTnqWI+NXWHKOlN7BRhHORHZZfXjFApCJutFE9I5Krle
qSA1IVfhmD8EOPH6UU1aoX9wgkke+I31RuXGqHNtD+IVcRHj7gy92wPhWO5wVTEdt5yVsERPvlj6
7ALnSC7HjLI6I+JvFWdhZq3zkUw+39/1pAg2kZtyyCjAsotEVtvtMFZduN/WrLw0jeldGjDXOFEo
zHCbLx63WuOn0JjV1DdnuQ9RtN9QHr64id7eunC1uh2/YXlFarotd+EysLirMqm/jqLU72FdqTT2
qFA+IBnMdeEvY7ajZ25uxtWI6s7CimFMH0INCLxbW2ckmYeo1v5VOoY0KU4ANd2oxE69XdAEnXkv
N2ERa1uO7AIRnPLfLEp1OsPBKZ3jSQDAiHPehx+em/fNvuuHbXldkkk+BhCHZ2YmDzyut5lQunoJ
P+qprbJDIJvmGfN09XVqRdHHiyPqVyvn1o0sOu4vmyhOscRe2B5k77FKQ29aqr0YpjDYr1Oi87Me
rHuI7EbJ7SoluAzfDtriR08NwItytXEGcACwq12uy4DAWGdq130QFG0JzOHUj+WKcQL26VsjorUn
qW5UBWWo7cvG39fE7hL6NXc8eg3I2dtZm1mvKZ47ellTmS6uQfTyPdP5dQ2mprs3YWYvSD+q7QQp
GKvr7oNCBETRYtdDsbF0hky13G1ApvxptIi3XbeWS0X3mihH6f20jU8KrOZ3yO0zN1z0ty6ZWkn+
6tQ5MRgzbQ1B7hNIj/BafTEoW1TYdDoO6BDmeqDEvc6IT902924qlvJqtsRC0OpI/Fucbsj24mzt
MZLP+lETDGtTY6CASZEB17ruSwiatXko+sm2+J/P7Y10Cuo2U2wExW6gvir2mty7rytUA9FqJg3i
VtY+Me3a8aNRe9N3BuJXomktY+mdx89MImMvMgArHaZ3s8EYJwIoKa3jjGqXjMUVh05waJILWTq2
uq6SZHiAVKnp7U3bEPY699VbvqqJYxoPN/55TjUdiUTOT/amwltdEy1/RK5f3A1NKu2di0fE/Rhi
4Iin94jre+MtNnSVzCYqAWuwpTiQh9iuz3VWpGg8inSWcds2+XZdqpJWzeUarKNgnNx1rzeBeaeo
tqW6zPtAnvVaj3Ok4f+fMlbViLKmIgy7ZEo75TDO2VA5Wpk0WpF70Yh6bnqcUifYdpgTa6jMpBjT
KMB4PCFdMlnfVFON1jGjSz0HU3VuW3/xfmZOqMhDXtLREPcJixO5VbVZhDSm5bbrE3t+WlxRi0jK
3Ax4Y6jqlFCb+3Wsa43g2+CNtZLxSYuyAPOihy1vFjzU3Biedumo9pfgGpKo/5IgkbMg/IFC8LNd
CO8O5AgRkC/dJmKTDOhHZc7dVElVvYss3wAlVVg+JTD0el/7IiSsmf7gLlwLKiemi/ossqxhA2c2
VXmeODZzveMKLRO5ODM0O5/KtY8nOL6aX3JraQBW5faxW2j1GPYkPUaSocsHKB8JhNHJiUJomkiK
LQM4KeOP+m7KKXl3eHKX53WZUWPMqZi73bxk87udGKui3ls02YJ1Jc/JUhdP/aace7S/Wx25xB+C
sFrkgO5r2L7rrXUBwMjRHr/8QzJE4RzqH/bUr7eiScZnkbRdtQ/7rvjhOiXXqZ7X7X0xor91TJP9
6FosPGgOnORWm8bjCEpa+3muFJ69M+jTmW+39kcyceTxqqwxeNFt2k1r03/zGwEwv20zjlsTyaCM
JGPlgl9b4e6559QtDNrwQKu66dhJXfOCSFp8a2AmuMjCbB2iapKC2PSpgk9Kx25+1CbIDHr/jegD
bfv9j97Cs4Vq3fshMHIks3dygxvbXgqQ3n4dvoi1prLOxsm6rorTSbNmWXLfcH2O8TLK+RJyhOlb
hMykYSb5IL3r1d2UBzVTV/erNNS7PLK5tVfhYW04c98F/sxh1fue9dAFTdFdDolvrxBM9ezuyEEF
psRGO7DPpk5hleXisOLuRtmYn3yh02FFqVnGGjj1WS4ZYGk50W1FrgL2SLEmcc+4BCW4dp1AhNtb
3d6XJ6eBQ9jY5opjz2loPyjvIy8Q7c9E1ErFzZp1tMKz0z4UazgsMXx5PhxC1WD6Yq+5vCdMk1Bj
D5XP3UD533McBBnkE+MjE5Pxq9VTZKcrDvBJreeo5KxjPGnOfXNOzOzyI3CLQkW1nFQds0jMyzwV
4imVBeG5xvT9W1MmoLUzYXIl0dGzvvOwJ/3ouXluQZrlHZ69rX3XoYVPgOzqkviNE0O8Fo3svyYg
f9axcMx0V1tyqC8Tb9y2qGN7eQeGEeH/CnEyPT75De/rYaCWd4I8zFHzDCKPkdhm7+RmFxSynGfs
v74soYl0md3ZTMNO+36c+32aDFD8K1I+vq+xKSr6yvLuS1mWHZ/6lDzZogZ9t0qI6X0zcBTHplhZ
sUFr+T9HxzIPykzzcKkDjyvHMHMjY3921zdwcF/FAyLko4f1bXaeK+Txp2sOT0ytW4fyr03B7bCh
sZMYWHd7KdZZvpqyCmQ026W4ZOi9/eH5C8AzRs8YrhZQwF+nyp/JxbRqOHw39bvzehD8P9f93FHS
Kp+k8K4M3J/wHi5sByqCE1lcM3PVqIE2C+N46wPsBFi84VCb4xL6kDTNvra+VEJ19l6QWZjHS14F
Jxw5gYz3M/DfHV5y7UO5OOZ9Rcn1yguR0kKzUTV7n+kQL1bdPIzHBf/0CwAfayEnN10fqZaaapc6
ibDiNtiEczRydF4tt8mfUalm3yaw2VfsPGV2hKeun7sid3/0W0sYPUWPBeYPN/eu205dr2HQLf3e
nUP5gXBcb5GdFJgAkEahynOrrJavDfFd7oWdNUm/G1GDsJAZ7PzJflw70MMOnjgnJZwSD+VNt/dK
ken90OfqcsBtArppbdSPxKlBAmQbkLXbL95y8PMNNWE+uZagY2jFkF6nblHzzjADIl5Zr+bQTpNT
xTW/3UUjWwsumYHMH6VexnvdEDW7E8mQuLEBrnb2LkGvRaytyrEut6TqkwhjIvdV2CuMUJMG9ngo
aGAf/FJIHYeuEOY87zP7CTkszgCWzKgN/BYPl3aUoDOkiOOOmyaJvq0aR1cc7kvzKHroMW5pEj+i
TWr/3hq8OT0sYqyJ8aU6IocYsDqqROpyn9mVfhq71f3OzAX4TFNOrR/1Y8PwxYvCyVBeO8bY21XZ
q5zA4DIBbZpT179Fq6vLXcA9vEG1Bx2HknAnxutm3CEOKQEu1TGpOr+4tDk+QJ6zbpR7sirzp6JM
DXCPu4ic7GDXUcB5NrCyHr0tts2EeliWW/nMXJdXRzV+Fin/vN92XmNvY8QVCccxcdP8GDDRVYQX
h/LCW+qkxMMy9C68MhArgP6yPmZ8yme9bQwZr0WYt7EoOfviObMzLIebttMHIKH0bshO/hzV4sln
YWXTV+Y92H7NlCBAMbVeh12mAiLZU6GRYqgksM+Hgv33hk6AA1L5DUSX7XDYlpRZbM7G7nUkcyAG
zE1wXsE3caCJzb1uJBuols6xGvF94zbwk71aaSIiVZrwQMCvKK5csyREMK/WesoCxpkorhoA1bPA
eO4P7RJg3nCkZHwEfzpvJSXRLkADpR42gnavjLLa/IrqzLtatOU3R3cm5Dh23RpRDZUDaI2Us+x3
9WwLAJgtZfFkrtu+zmbiRTonT+9rmq6vKz0BIz6ixeBgC3TypQxSbZim3Hw/BviHBoDq7S+1pkw5
1GDqJaG8pp8Yn3X6Gzkt7YeoBIm7q+25Z0xfTx/eXLl7y86m7gboHs5rZCjScCh13s9wrvPvBm71
RwX6+qy0h3Qi0Tj6xE6ZUr2R3V7WO7KX1e2I3AOFGBwsPkqzWaEcZlXGxsaGHNPNpX/zi5ZDcMpA
y7lJRr+PizIf+CkWn6U/BrpRUZMN6pmE5eYtq+T6bHV+MEW13axvDSbRcldks7innthQqHT88X5Q
f1FqIsh7ba0w4qyWBTNQ6E5QjqmeosWkOsfyyGs2erdtGKMcAxigBhzkgbm03weRnFb15spRfXEs
f7pXggY1GoJ5+LCttKEeoQnSuwRa87zmBSnpksm5zClJvbjK56FFs4JvNWafDsa0s0Zkwdav9ZG7
MHv31eKO2EubzcHnqcu9nRKun+8SPqCMkeX67NWEdRDntpMjW8YzDP5cI9iKTmcyQyv8wCrqiZW6
agLgThi5Uj9jMFV9L9e5b1Hhb9VtU1F57s2camgt6N2aHPRZrYe1gNbuVq/uYuOXijdLmBLdbwkX
DNx4sH4jhLl8oyFgjjuvxfZkS2MxtSK65UmlpniwzSwBjeQCC8f10WrCtW2Y6SoY29t5TLqbWtnO
l76h078HdnJU3KG8+maYrHtNW1M/Dl5JiY0CvEATlifOc+aalgl8kzs3Apo7O2ubtHvL5vakQKQH
KaMFG7fxOFlNKaJ5CrkvhJkK6CTIxCfPQ9RSZNhcRkvXjD9mBi6+ebSghIznDvvToUigmoDjCvet
t+Rj3A1b+kWOEjGRhtE5pWpk0BVuu/Cd8xr76WiabHm/Ost6XxNOpoEuVfGGoo4mxIzz9xVlcR1l
w2kVD4PK27NNl81LCyHMgg6rNY8FwABp35OThRGgE1DU5pXZdTbqxo97Zffcwwv/6NBlasqI98gA
xytLmOpM1QnCoSFdx/t0SJBYFCehfaTUkhn0aJN4oTevbh0XqJsvX4hb3Y/pHeM0mOcmslHnthzB
gPuTRIkN5xJdL8t2CnY+oNozoKJ+tdLFdve+VYHLzn0ub9BMNl7MXAnAFf2aBytdSN/EnLOINyi9
mnszERGzE53DD56NUMk7tgBTHimKvReROXold9xYZ4uAfucMT9e3QLvJk0sVw3fyxPQunQ2Wn4H4
nJgZ6RoadbFkzzLJ3eQCS9bltulwjDmwFTjYkOZxV7YuWcgwsHOXUrk7PXhTrT2uCtP2V0JxtkT+
mI7lbqxUt0XCM8kt8xbzw2wH4/usRtWfSTxDLpsKKp7KrU2gJZX7Bo63cPz5fXrWOkzYg8Xm7dFa
OpQ9qxL6klcdkDb4dpbFhpGrHznrhyfg4X4YrNr7qVVWeXvRz83b6XigS4PzwMubSuLcT9YaW0P4
0tcuWCTzDpmTNtxQIgCeAaO4qXqGC5DHeMnN5lck+m0AcWgRsq2dd2HSppqSSOUXm9uAYOsEnToA
BuqPQydMeVOGLZdn3dWLzfLpnYvShXPC88ZqK3oor3ywxrX4WNrN/5ahB0eQmTnW12HraIrcCtcd
tWaobVLbYsYwnayEstybna+swuIKKf7HmgxVFzuNptrzc+pzfwtsHCGbyjorbI2ead0gOTmwiy7b
FwElezQLOtGogK5DbBQu9jminCzY43RHNpPXCOetQQzHaeVwDRfNbJ1lQ8eWAPgP7wZbO3caBLrZ
JYuzvHY2tyaLTy3vdkPcUFSUhXc5D2i/oiZs8+fFQJeBSS3uNTPYCysccWW2nxD29XhDaUU375ew
GF4vrQt+uB6tRrmKpzJcU4RsJwFi64Z5fZy7OefATZrXniHSl8UZ2pvGylfnrKi0dWjEOqojh2tX
xv7YjplCNQEkSBwQeEI1X5QN/Kc8MYlo6oLIZ6J0PltDt4ZvqHNv4ASyAXsJSmHQAa986O3ZKdlP
/AhJj45pdD2Ijzm4LpecRLPBAR6/ZqgM9KBZS88nW6ZHnwssAVrBvZGN+1n7lXMgKQhIu5ic/qUt
7OXH0nAH4cgF47wrRtM9+qEU1RVC3/yy4LSoY385dVVwzPwRyGXyNPKpvV7wIRWXTC1CY/vbUryp
TC0/4Ph4al8OZbgDt6qC217VAMIkHG70A/jfwro2gdt/ZQ5Ou5eZ2+ZfEB2MIwXXrCckM7lAM7Iy
ylLGvUaBdZYCqQ1XjNMO1zNC8ykOgLu2MxISdZ7dwrWu9hMKi+2dwmtGD7/6Khmex7RkFGTfY8Hl
nwuo/DdcvpeXNXXW6QgnH7S7kK4YjcUkcIekvwbcTv1NvIZYomHbFXjhTTaVYYYaLAsortv2cYDG
R1hl5da7QB7R7La8dJM94pAQaRStab1TAxohmO7TBlCTwazQboK5iwPuFI8K20dpBtMXPo1tF9xv
k7NYkJUbr8mEcndEabtcb/OwAb9tnAw7iJHpIUU0PcEPybID0wzK5xx7BGc3tW2P6w8qQIrMsjZg
xYPLkdPLkqY/QBgikYyN44guRWQlFINg2cDfYuNY6s1Pzjqw5RyTIgrcuLVsKEMouMY7YDum8WbC
Si04gNyX3E2ODTWnkJHjGddvtMtNP9uQVo5IHykel3mf4aB6gZmMBGGxGiFojgeW77JauCp0RW2S
qDQc7/CIAD7nuILTTCM48dF2bYV8c0u7ZH64wUYTt9W5XHe1M6vv2dZwBoqcNJpIODUYbVigAY4m
DuuHvuqqLwgTHb2nq1+f5zSrs3NB4Q23kWvn3k9tHLZWqVmRo9eMEtZQyuuF4uatK+bgEbvgEPER
aUXJvgo3Rjo3xx5v+iC3v2Wt7bu7olit881NW33bh21/v5jGtdBuBCjY21NpXydO2cfKmlCFUZEL
Jq8bb/jaZBV9boEtKIc8Is5kBzKu7jkO4JCYMUOS6zSVEIjfxHTHMbXNsVOUaBx1gaPR0v1zD6gx
nKPWasdrjkZ4YnREyQuTGNWZwVl13SF4gB5E5tO9Gubjhl2H4K27IDfF+pmuTeAcLQHGFwMTSK4S
yyNBksNFBHu5OLSfGI+P3+vUHhYK6jJ9xmN3vjdZP3PDaC9960ZjfqY+MrtD2Yfle8gl3e89NhZM
RFcEHRY0hY8u1FByxqx4yG6VCfYNUwwUfrTe5QcYffPWaj9fIok1/DMsLhjNMozmum2X8A3vF9Q8
MMZuBwuwFUiWHRF8r4p6e8/prXgrWaFpm2p/VnGRF+54ovPcObZyv/qW4+1KcI/cGLdXIHWwnvlp
pmOYQ8SiTbvViE8six8/hba7GBZjj5Hl24vLPlAiQ2VUpP0+0CGya+4WIpWCVG1pDCHb3ZA8Zpmd
b3nWlZs2hA3kcqnaI/Vj+bVrOZUp4pAeTbbm6EfwWH8gNy3umGsd0Rnmdi32KMKTu5HzKYsp8yVt
Wt5OjzZa8S8a7ubJ9eARFLfjVd1WzkNROaq574plwmonzGdzZgfz+jhkw4AN6tY72ADpakyOpnWK
h0k7A8jTYhhaMdYG2kjtgmnqZgdlsKdLEt4+Vy3t4jp0Xr+zR3bNPh3zlfMxXPrmvFGrPTGOu6gg
BFt1OR9cZ+S/zhjn+dD5pkWM11qLo0EhTfEetAgnjlhkzMn1TI+DoIuk+ocV3dwPRWvATy1PZi5N
CtaeqAw5mUEBg7xhtKr3pV+Tp4RK/zumUCeY1ayL4iCgBtwziuO8Mg+C0qNmPOi1y1cu8n6U4bGr
lhKWlQmh+mxF3/lAr6IJNi7sAfm8y3DQIrdOxkPFJGJU2nZVoTABJNklCWMy1JG+fwc2TbXpMhVw
WfTI73Y5EZMB5MHE9YS4xnm2TZe/rwHK3riqfKpcpv/6Lu6sILlrCoXOiMqfIhfaNSsPrVN7j6K2
EfJMmIbcDUKOW9wFybREjL+hZtK+1T6Vfm6+BZMnHz0ILWsvk80SuywMISfIhkrzuOxrStNKOM29
DMbggfTG9tUSg4tgqW1TO+Y8BD4kHa65YiRNNMw1984bfvIIPpHj1uc9g1fzXuL7Psb8PdZTwszz
xbYtLRoRANTvQ5mnrzZoGorabq1zmFiWWGQ7tTAoBeeT7hKBG+IAJPBfk8ZkaociaYOG9wN9RGHP
v3TQ1rXce7BvFMdI8qPJwSdtn/ajfzMWrlg5qivpgv0VxUuvy/wpTMrwDtoQxGVJkk2cAK61jQJP
MNqy5opy33CyvVE00GrYqCyjsWXYIWKwKnn3MqCKwxB2hdoZtBAhOq/RXKjNq/G6sE43TGF1Vb5X
cwYsW6HocPayDvzbU9/pcqhM2/nQDmkfJ9MMtod/k301zJv6kpacYhEGlzkJRLQlh6DXlDOYN/c/
Fwb+rvKuHu3d3Fvw5XnAVAFfmgUZu2OXVtG8GfHCACK/8WqwRA/yTT45q49VS4fu0gYao0SLlrK1
Gbwpm/B+LJPNjWjWM4qGREo2hGWLL0vubF+SfJ4kgvATzowZ3PSmisHp4m0Bh4k3EiiSk6+ggXAD
M7qrjU4F8lna6sg4vrxmXKy/CcIUwbEvayr7VPkjYVGhXlZOeuh5ezBQvdtaLskBoahKzyo5hPei
yXDRCEMY+0tnXmAzoMOHXcKxPzBiwV1/bhcqFNEwkqU8Nr2gFx2h3fc0q03BGGLRtve2kcgC0IwN
DNEkFnwXM3LTvlszo3e9tUoVBxsj0PFqTdPb7Cxi2S9TL4tDmIUleyoLPSotBKgb8rk0LXYSSDD/
vqYAM/tpE3KO65YBeAozUyK5CDs7v8B/LKyvlzkP7ty8rLqdM28VY1otGrtbRn4gtSfmFPgYnVN/
l2Ujh4PJtmTdmRXI6pBmFMY7yVfsdxuHOLVFAUvFh620kKBCdvKQdz61REf0hUDoOVOEGPbqj6pZ
CVTPmft4aEeDw0tHDMA1gQjjC5pZBQnZDt5158I7x85mNNLiQBd4MapEorzl5IoERMqNTCSSlxUk
FSXegix7VzE/9L1NtPnSVrK4VajSrZNgEOwYNNanEW31zyCZaf7AdcEKQQ+puAoXwmb0K+sbFd8y
xrQoDSXo3Ae3UjudPCYq2L6lYrGuGTGdrUuGyZzviyudEzhTIc8kSyg9BxjONvhRq7lluMCRaPid
KYNmJ+AgRgTEjvLXwrrPCD0o41ZZ/GCzZblP09BDK3eTB71bWkN4bkQ6LseF3/tx4wZfzxRoxnkB
enI/OjMYEh5n0xWCCG7JFvXJDdUB10VlDe0cbQMgxjHIux4Ay2aa4BFMsqIEaWcbvVRTBvde3SKG
5bpJb7sKJXE085W/olCfb0+NHlIcq2IeTIh2uGNOMvkoNQhyPDsrHYZagwqZCJEqr2Fm2MypzoyP
PqsCrqgLjHX3uOGpjwqwDWdYW2dPmWpGOl8r7F7xGfIqQLam+khl16OCSEogJaa5K40mvdFPskUB
wCGL/kK5eB5H+UAo+Y5dbL6Fxttm6ngHLcgCVOuiwqFsRCetqgeVM8sQw0J5727Q+/fcQYNzaJMU
npul2++tMe0p8Xvt6Ph0OpuDXQDu7It1BMZ2gw1hZBbUtycNqtlla7deU7k0g3eWwmibfaZk0GEt
14nrYebWPCvb1jkPwETsKMBgnha+XbW8HRgG/N4n1nbrMS06RgvCiuls3MDf7pg9S/A2FX7Lt8mU
2+5J8Rr9q230Kv1MXyCeRQgwCg2kLfT5XkGVOy5avlbNpixqQNqjjzAtZhHRfqFRTCRDU0fdoRr/
6pMaGkK5hI3LIeEAjaGzTQHhEQDl5gvq0pm8jZDRpYOjmeWJ2smQRfvnieuTl8D/OKeTsUZpj+W4
tDA5A4X8NNxdSeOGHcIfCGFlfxNTm0RT2U1Hv1zWOyEqzF5FkvLTjdOuKid5/PPjPw98nx5PVivj
+AE2trBgv85aM8Paj8hW6ojRK9qhCinzdGahEnSY7tS3cBRhtLkqvezXClnwnx/+OVXsn5eHZ7dg
HR3v5J/y69PJCfNcqLsmKhOu3H0vEzZSTSzgvqSryJE1gaKlTGbDn+d0VMyI7ssGtQlFDIB3540v
f/mLPs+e//M9/ucv+mSxguA56fqanyNtFecwFOauSEM7plR67iiFOXjgwnum0fbVuLj4ewXm2DQg
APaSIg03QA7oScK/fKnPFgD//FmEGJ5cb6XzL2exbuWEnhQtcVOnwK3MzqUIOyrQyHJovXb356/w
2Rvi9LSTw4d/cjdFE/PJJkUvqiHmHSUIcuDgXeW+gzyOcSnKwtVd3wn6tf/iKPK7ZYjlnvTc0xqU
7ifrCwSSQ1sO8PCMA9p3HjITylyJFne01nPUc+FRN8xut4733+IfWIHKQ2nsnVYgz5efVmDQMoGI
/gW6DyM8Rq6Af3P9pVbcBecgQVDbf/60/37RX5/3aX0ZTzCYojWDh4210NEu5trw3Ev0GA5a8W7c
dUHXPYRulR7+/OR/r2yejPmMi6mxTx7V6S/7H/OgwbitzBUrm4Qk6yJF28rFq9v/6NXyz/ckJJBl
w0QGIM6vT+HRuRN27GhnkeOFe5K+BbW8gJRfHn301n9ZN//eF7hvc3zAHkMI8mv++rhAhUlYC1Zq
P3KbjUDDMYjjV4Zr5NmfP9+/94TCZ8MnjRy6B3/f0+f9n8/HKFffrzl3Q9LZ3TkVDLNYjA/nMQJP
ppJ74Ny/xK7/9okORkxMwDOa8Nm9UNJhd/XEnteZWD4SA9AVjsUJSeyz8g63xuAvPiO/WyFEJwQM
QgTYP312F19IhFAwt7AB+FwscbGYMYi1P8zN/2MpEkGEJ7xUil/t07fMEZNTUfAtt87v0DqPIZqj
tfvLU373/bArl4inSEFBE//rL7b46HTLjKeMKAQ8RgvD7azI7H6/grHC4IOF/XmJ/G4xhlaIeoCy
jNPs0w7z2t5NTXBaInIO75cGY5B4TVNf7KeKouYvJ8lnk6LTTgsd3+IrKlwjPseUtOFUUQMzedzL
tH7LIfTQh5ZIVzZ9FQzNKZJYjPPzn1/xN8cXFwMmZJKzkuA3+9dvuiXB5riIRCM8BZjolH5yHAx4
q1MXh65KAlAIRx2Vg+DxL6/7m18TE1jYZjyZOFzUp0JltvM2Czp2+pBMwavN4HXBXSznM8LKpkPK
fPT+z6/6m91wKsiIZnEkV9Lno2VYwhGNXQWXhTx05+JseZiE87dU8t/8ir6No5sncSnC+vnTa2FX
kxbNac8ldilXVO/lUBydYZDWQTYWauS8sMytRP+b/eVA++2TuQgYYSMsEL/0X3/KBN3/OpIGFhXB
RB/NMEyySwb2BiDJIN852xG7LoxyJn958G+2Cc+zqC4wu0bfdvrD/uck7Rl595kw5cOWer0YGmve
4wQr7kMQlL+caL95R+z/HAJM2CqnuPBfH9VVlr0tbs10PrN/O9EjLVvdnsHbHALpXiNTfill+De/
4t+8YHjyhic/yAVBsT79pgxM48E8s0lyiYGO1SNHYrQlOaYWUwr/eZGGaD5CUjaIvcEE89cXLBg6
B0/iBRMMgXbhiI5p6dy/+b39eyucEhcsQlZdHN+8z5aA1hyQ4tGRAyMwELgtlxI9X1bMfynFfvOU
kzce/+H0xEL/0/E5Ma9SN27I9eOjEdWycVHrZN5/3tZU0Ww5Gw9F28L97NcvtlrZvFK+I7JANFLf
9pjrtLu2F+Pf9tdvXoeDWeJmb3HJsRJ+fRCMkkob8NNoW3AmzWu7jxEs/sVx+N+n4j+RovhlERFP
+fPpbWwKlmVtADl53fKCwzM3+3xA/6FXpv73TFhr8/pflxxmvIQ1IlF3T9Eqn86NHFk3+AEVs+No
WrYs0Adt1nX356f85sX8gHNRWVxuHn3er19vwb817cuOVjzsoAyrzL8iTGY4BP6UxXpN/xbO8/vn
0QIQZEp999kVf7atyffBdZAgiAH+jzhR2NUkZdKmsIr2flp75+PPr/ibBcIrEmPGLYPn/79ab/zx
mVrhQ5qsyZncbWEX2nH77+sdTx6AMdc5nbrhJ/vtcPCYcWfoIJoqK7kLVgaehqI0f0mv/HddABTl
cpX43JWMxH/au//H3pn1xo1l2fqvFPKdbs5Do6seOESEQvNgy/YLIcsy53nmr78f5awsBaWraBXQ
Dw00MpGAU1acOOQZ9177W74egpta8JkK1nYotaGyUDUz3CLZt7bWYFKDmwQjKbymzbbvP8Y33hzH
LXiBGl6FErGUw5HSR2JUVRiW2IWuBl8pAdK+zp2lNpu0ANth6wmSos37Tb7eVjCm4FEumRx2z/Wm
HQ5ybg24aNu+ks9bDVXW91QgI3kmyFzPr3wqeCW7qELiue83/MaQMcF6mkxAk/m3Zs3ie8kBFt6g
3UOruog1NbObshw+fI6lexbcS5mCK5Dfq/2rKEdq+U2EX1Zq5lvqGn0gb0JuMBXSNNOODNC3hg5b
M9HA5Ykimjt8f52CJRY6Ve6l5hhtYXuhrUsjASq9b8Tn8Ainc42g3VbhcH338cdp8BhxGzEZPtoy
tF6cRIyI2HWga6j/ETNdSTCfvAKm4pE76lsD1JC5E3OG1Liqrs7MMJ9KBeI8ymQ9MewGwcJ3ZYTq
if622lEn0uz+jV5xlQZ0y7WHpfqwVzM4lYISQUanWpSRS5V7qSPzApJ1ZDS+2TFu+cvhg/+aq7s+
ZCpkoRAaILj41BDgDEzCpCmsMd0lmSY2NzOVP8ciYW80upikcO/hYbKFrzaGWUamXM7U2Uw4tpGj
ooRrQgdfwLUJssx9/1G+PskxOLihatxT2RWU1dqSDQlVtmB1KIlqKS5yonms0q/UfhnVSIX4NMjH
bnXPviiH8eDFMoWblclz5fSwentjZoWBTmrCtph2mRf1rXg+jBDErKjNd75J6kiKqmYboozEA1Ag
PWUHk0FCMIORd2TovrHeWIBPWNIVnbV9fbwMB5SZuEMVaGvqwMNIFwlfACn+/af8dp9fNLO8hhfz
MNbbtBd93G/8eR51u+4WuBZWkarmZIrVXmpZKJyIA/k1M4VYW6akogGXm7jyxOIRn6q3xhdv/Lex
AivDarYWwOR8Q6XLAdpxR0Wt+qTUVYIkTAz2fcMd7f3Ov/WICX6zl7BzLqZuh31X9RlvCrCMtqEp
Fdw1KoiMKRuO9OqtgWxgJC4Bx1d4l0uvXzxhlMFqOnbcE0DoVd/8OCCPWMnBA8bbx44Cb3aIO9dC
KEfbK64eIHRkBAISB44aE3HXr1EEkqgJjxw43myFohIWHmIfrN+HHaKuyS9lbFOxCQ4icwOmSO1c
blpUQL//ft56ctj3sLUSeCf4sDrG1xzuTYpaaUhoxY2AMt01it64LqkYvv13mgL8bC0HazzAD/uU
NWPTWgIvqRzb8tL025AMp4mMFzXREH/+NxrD7YoQHEdsaX0LB2cTQofmwNuTgNl0XYvxJQpxt2/T
bPN+U2+9K45obIDgmNnhV/1Cw6TqTUboRlG07BqUhXmhm715ZK1aPmW9cAJJNpbwEDvEmsWcp70+
RTPjLm/QTdodWtETFsfhS0iEalN2VPu83623RgbBPiSKqJXIYa22P6WlaDzTSZ3B08qdeKY8ro4x
CeNcHx55Wa/7RrREZVCw8RHJWPdtUCUrbdBUL9XU9Tb0q+vCrPdI5fSdWEf9kY690ZoJdxn7BDxf
FrnZ4TgcOkXAbZz0ujYI+j7ILOEOaydKd6RuvgLR5x85b74eH0TWJYxzOEfIVLqu5nIk6gj2hYKi
dnLs30ppnoi5ycPN+6/rzVZwOWQaE8og53nYK0Ho9XGGzoSiDQKr2gf1BRLOY55Kbzy75SxEooXL
AUHn5ecvFlrC9VRHmejq837qryTJXyQTVP3u1WzQ7+XKT399uFsMQYJMMrR6Mjyrbil6WkdByJUA
whiH9Uz+GeXGBz2qCSxwH1BZlljQ2TzWR0pZADaRzz3Xu0KBotvAjiG6rOYOUgwK1ETe2ZHZ/Ppt
sa5r2G9yp+SIuU4IVn1JBU5voedLq+7MmGP/XOwGZfjw6k5JhWjgXG6wusvmanU3M/Q+CEASyBht
4WVJ9jQvUrNaj4/ZYL3qkK5I3MANkSuyjHv5alJB+q2FTqQQUaqm6FtWCKWXtOGH4/O0wtWU48Ri
lkCHDocfQlDU3ga44Zoy3MpOchMUzjANiXLedyWyvbixENFRJ8/kh3RZHc2TvdXPZdngRs4KQsbx
8Buk3HSWgl/US3WKViaqlfBMjbTso/s/28niscXGzM7M0njYjAgevlOXMB5lYaZrKcNTjsh49/7c
Ws7aB1sKEc/FLmTJhVvLv4eN1FHe1G2jf++oES4L4VqPdplobApJtnG84YBD0Rd+DUfG5KvowtIq
xUaEddUFGLR6h2gJofWO+vex21uheZb1nlz4TqrH7jx/fb+D66aIHYtkHzDJIeJKBfRq8YjgSsxI
Q6kK1sfgAtqJ73RD1p8K8NY9M/MRk7Gbuu83uh4hz42S4yenKXPEWIf2YqhD2lCMoQ2/I7mmPiD1
ZnMyj7Sy3p1/t2Jy5lWUxVhvNd9IQgfggOlaSJnTgKhEWEKxUJQc6sqPCSbeaGwxC6EOjYw3Fhmr
Vb8uCmzKtEWNGPq0NZTmDRsaO+bY+h8c+PTroKnVwNd03zfmiqaoTRwoYsj8LXCVjx7ZllaI/OCN
QVyNlWS1LnadFKK8h87IIqNtB7LGJNtmY/PRkUB2lioI1imiTcRHDucXFQdzrOkUJ/pRWXKLbUII
i+lHV14yPwetrGYxFxKYACOXR4Cgvg0365uYSN/e78nrAUA4AjQr5hxLtslYvZUxFVo5mEGpYVqk
/5RGeA4pBboLV8I4ZpX0PHRfLkscMGiMEAHZEvJLa4e6AUaCOvVksciiQ5HhzChQrG00Z7WQVReI
b4tNq3fdDvir7IxRLJ9AyU2PrI2vZjF3ZDxPJLRS5lLDuepxVkFYz0LjqxVRAVCBWXRGPTl2mnqz
ERQePFMyNrq4bgTsCxjh4FsyVZnlKZWi7XO86qzth97eoohRuQiRQqEh/E9Wa0WXpqMV6uNgY4YX
olwuzc9wUyghVePwyB1v1aPfTXHKxaqVHDZ2hodDXvGNKMk53Np6RvF3QwfdLhWkjy0Sz62Q+nnu
DBaYayXCXBRgpPKQSptQhsBGRfSZIs7HEnZr+d7vZsguLOZ7XFe11XODm9OTPxOQ0fdavYvHajqD
ItddaF2gbUMuzFR2jRqFmNRvDQkmKhRKd8GJBrfF4ZUem+irSfj8dXRSAcsU5ED8Kh5p5jIIPVAR
xTSmdqMm6ekIzmATUdt2xJD7WRf2Yg4+t4VMTmbgkLznbHz4HlU1A/088R7DuL7rKO4BnaVsZz/Z
gSzeaUX9vYuG752EfY7q3+Za93UkAz1x6qva5AQu/bE4xbJWrr4QG7nJhm4tXrlrtRAlFlTlmiDy
Ram2lKcM/muyzxuynFewM/Nkk0RzJt/AhIse5wga9RG10hsPf7GxFZEqIZgAvnf4QPx6ljvwn72N
NAyGr14ULvrh0q3COHXfn65vzKGDppav8uKOVUmTHE7LsAtbXThJGBBnHEa7j89UWrGYoyjZlr3w
sJWaslY/T5lD3RyEG9kahU0pw5r6N/rCtUoiBUgSQl+NIwuXhRT0GuOoiOPvVEU3F0Iv6Dfvt/LW
4EDqwZQgPkLudrXqILgIyj6jqjqJpHiLZWtoUBEiBV6gBu2ZWEJ1kLuy3Ct93H/+eNPsUajK0Hq8
niiUVufSkFFaqBCcOx8lbXjAF0E4odRbu8qgyoFO0/Ur1v5j2sDXwwThPPct5EocplkSDl+gMJDa
EeoYfoepVudxkhe70GqOZVteP1qTDCCvTjRFLnjreH0oVr0ultlkU5Z3I+raQ6+ad/6s73sILjBb
252h1h+TtbD4EJGUoQUQZpWR6K62ReqPBq7d+UTlKbCCr1YJGHxXSkqkOyBmyxBmYxOQhAHRGX95
/3UuI+VwmTEl9i30DKRfkNSsmkY8QzFZQtOmjiBbGf3YK8qw8vA6otihrY9FHpbPe92eSioETTLi
1dXInaTZVwMZHk4zgDuQxyy+T4PA36CzjiluNModLOJj/n+v17IlHYhECVkpI2cdLQ/xGqQwGr4i
QCPBScRCcBO1sTYlfK0ja9mbTXFnpwgUliE79uEgBdQ249cIZAZy4CCzgYiJ6PlWlGcbKZ4l/WOn
NlxmTPZqBBUM2SVXv9qxhZHaaVOjAkMbYXcINXyrMsE47YODZFGq0wSrJypFbpaHnbJ8BGczDCqH
TWgevLiFSOCmeqj9pDbMhIVWxsd8hl89x1WT6+eYUgBo4mjgUOpZupKaPMWG1LpZlfZHOvdqWXmW
4SNx4HRF3lpf7QvhPIUiSCRYolPVncAqyRxqg/Ij4+J1K8Q1yMKT6GRLhd1++AihivaxUVGlbCWN
5lVhP0Ns0uft+y9qPbs4uzCrmFeMctmERHrYCpVZEp5PKF063xdvRqvHNCnoTibF6G0MiMabvjiW
HnrVJE+Mi8si215U2+s7XyoZyqg0FFJETS25I/xyzbGKVriSICtdWma78Oqm1nu/o8vrf7mMEBST
OaYtskMaRWx52NF0HLpeTDCCajeR3TmDV2yVc9kNjzSzzmSyaBy2s9pzOC12epXSTul+/5K7zAD7
5/7q4f3OPN9H3uuNctibUW9CKv9oRd4iKLDx8vCkCzAvLv4njuaRerNPa3sPPt+e7t9ve335fNXD
ZeC+OHxxfU7VerHUEnaqMziI4O1H49zYf3RfXT/JZcK/aGdMc3gQOe2o1/62oqz+C4LmvX/kha13
73Urq+2Fcvw4FZbezBu8QRzAgU7ulEfm8qt70rqVZU686IsS1ZIaL+/rvPJ+JM7dk7Z9+HJ7zDnz
2dz3vWGxWnYRMqeTFNFM5SE7deAP2F+AbV7OjvEZfufJkZGwjOX3mlstuRaOlSwfNDc4P4C+2o+5
vf/l3B45cEhvLBgvp+76cp41eWOAAl16BQHLIVjk4BnkmK7uPmy/Ne5nWEHHXtiR5WJdANWaSmmF
S5u9y8WOCRZ597P9+PkitK8a94E7gQ1s88jGcuz9rcX1CpAOOV3e3+T8mDfiFkcsr9mEF9GJb6fb
zj7y/pa9/p33J69WkUSlhpLywqWToZPxj2pD/HSAsx15nMtUfa+h1ZKhClgRhWQu7UXRbvc+pRBF
3e37xDjWp2NjZbVomEbcmPky0Uzta+fvIljJpYzZWZ6AIjmWcH6Os73Xr9XiEZuCrAEc+/0A00t8
Glxjgwec8zlyI/cXRfcsxKL961gvn8+f7zW8Wk+GIMNLoKJh5VbeN1+Ki2qv/PCvCDeC3S4fprt8
H10qV9rdkRFz7PGuFpigHSO9WEaMwpiBvMD47Hd4hjm+bTill3uBazqmc0yy/SrYslo/5dVKM8l5
kjbLxCABuYl2knuXObP95Nslj7fYyPbRffytBYCEICL+pVoOHffhit0kZpaLy5DFhNiTmB+Ka3Fy
UB3rNHOw8LturiBab+utemadHHnKb62rL9tePWV4MlNKgoSzijt4+pd0E26GzeQmm+ZE3h2Lmb31
SsknkLRAVEdSfHUhiAFVx1NdNnYN/V2UqL4FT6VOT11eu/F8/X7X1gsBx37ingQ7FAWRP6KFw6eq
t5Hsh6k6O4LSKhv4SFCVpTrCY22aj6w5y5rycorQFMpOEv3UIJkGXKzDplJT1ke5xznLp0r9tLDy
HD2wkh5ZQ9dPb2lFJYPFbWCpll3HVVRcqvGDBHfUUpV7CXTS2Nd92jjiJGeXcZllnyllkq4+/BSJ
4HCt4tBOElRfxs+L00QBKKFuSrwaMZwsPbisrKlqm12Dq0+PjcVlCVs9Ru5wBG4Q4muUX63mAW48
9WwZwuQYeZ9bDuyL5jPwNxhKtVYoyV0q9S3A18yAW0tkuxFs2IjZVRpP/hetzdsCgEDf9ydVpsvX
qEkqPIbqqDTtUsQ36f3n8urwTc6V3JguEWpCF0bu6vDBqJho5K1hYGIp9T2eI0IaTKyGMGtDd2zw
eQUDrfVjvMHhtH+oyTw+Bo0VmK5EdnDexKWiH6twX58vl6+kMD5Ib4F6xcfo8CsJQJoiXOJHB4uF
BNCwItuYUWTfCPwDIxjK3txPpcy2G/XjkaPt68mm8NKQpxEPJkKvrHYnSK7CMFEd4tSt+b1CvPG5
BT50CXHzmEr0jZaWShqdNDxRBbQ8h50MmsXyzpJncHqxjpSCWie3mGJooeSpnt5/ya/nNSFMYl4G
AQZK0NYp+cAQx6wAZeUYoHC8th4xeKqCI+mTV5ccXhtVlQqSTBLIbAFLj19MsYDkhBLPXe/4Qujb
I46idpwFis2AyvZRNxeekfqpJ4uxek42P33Sskk6soK9nnp8B3Q3S7USMrN1pG2a+yEoKmaXCctZ
94LCF27VREQTaLWwcE7AF4Ny+fDTXdYxCnyQ+khE6g/7nWlhphSpT6F9U0DAmdRkk2WGsvt4K4ib
l2QBmgMqZQ9bCYae3NQU92Be8POEhARlGDPtDz8/VVToiERkjVzl8zt+8Q6TSUmMFmGIEw1lfp6q
jeRGAvSZAXqom3Wjv/lorxbNBopKMiCMHHU1ZuRJbFK8aOHDz1GwjwthPvHxZDlySXi9oJiyRs0m
nSLl9kp0SNUvKb3JbBz8YXNXFOHfpEDad6KpCSg2tAEy7Nj0J77Q/CnJ+o/H8T+Dp+Lq97Lf/OO/
+PNjAexpkY2t/viP8+ix5t3/av9r+bW//trhL/3jsn+q265++tv5Q9n8bdPlPx/aqMjXv3PwEbT0
5zdxH9qHgz94eRu103X3VE83T02Xts/N8Z2Xv/nf/eHfnp4/5W4qn/7+x2PR5e3yaQFf648/f3Ty
8+9/cOZ48daXz//zhxcPGb93FrVh95BHBGx+f9xfv/P00LR//0PWP5kMNqoXFV1BTbYATYan55+I
nyzUbCi/iNyjz1qWlLyo2/Dvf2j6Jxbp54pqlXpEfuuPvzG9nn+kfFoOFuhXEKk9f9w/u37wuv71
+v6Wd9lVEWFZxpehKy82c2actZRxorhBfcZXWIfeVEw206DUStdAPG25ZS6pUD1zVX4AaQypGDLp
dE/6oL8DdPkdPpLviDNmdZsZwqzkwV2Ej5hobXbaN3FWenPDvo8kUDAFj7NWm3tdVPXWVQ5LvDkd
R1D3bt3o45cXj/zPfr3sBwrvVUco9iIzR8ASwgSzYS3+NhtTMUBp9a4+zKG1m7Eo7bZRUvjzPsHz
DnBskkY/I7m2To1MrJ4iFCBgbKuhgbRYRlCYwMkoql1qM4bTvVwGn6mjjeCOqJnizEVH4phNNXax
E2lvyOFEEPBVS49ORm0ykw2QLxnErgnGaCcY+ljtGhmkrT2IItTReCDThfNQkX6FzifuEVRRz2o2
oEBtpY4H+coKhuyLOmHdgx0yRDgnnCtWpqBo08fSDFF8DYExpm4ITcoHpVnoiKWiFglLPMrYU8wB
jn1ePpgZlcwATLm+Q9Cq7B51IMziBBMuJ6qD8gpV45A6wCZzLMsNfPI2DQ7N6AJ5yWej0QK3MhfQ
bmAocFVjKbIGpy+aJrXbTJeanW7B8dp05lCf5V01mXtNy/1yK2F0giuwkZY/zcio9tVsaWAOTa5G
YFvrk1Tr62+xEcPUiuJA4SFxGgGAF+Iq5pCumeHBdsE3bR7aKyrZlG6Tkpbu3QwD9gtzxqXZFrt8
CF1ZmGFKSqkBP7TMfMqnhSnAhFL3AZZlUa+Ydo9x6k+/rWvsu8JB+VUBD8UluUiHOyntesw4lFB+
CuQKKHKY1LhiTkJ8IYUt/JNizOWzCvcOjGoovUzcgW+cKUEtgr2IcdnSxGG+w+ZSGW4MPWjx92iy
SdmMldZcihjJt6DU8Nu2C1wiFVfBrBT0AnWKTugXgH/NrMuCjVSr2pe8kM3HaPAn3dGFMIwWZ2S8
4wucritHqnHOw4PewlcBED02JLDfp8CzcoyXZnQcWG/leHth0tWb6pmAP7W1HVPUF6dVHc+/hnJk
NFuYOaqOCIC72TASF0bh4ikPmm3Am7hErOMt6oFvkw49y+YaBg8x75k1XiCVQ+AO1BPeym2/5Tag
c3pOJll2jRFEt634qY49gRgiLRInv6ISCvv1E8bfRPivTrQt9CgRL4cI1ZuTgu6/N1W1Hrw6M7sr
q5KwWBD6tr0H64k0TiErdKfITfyVqCj6qMgch+94w2ASGwoCUOQyrzuZsE2uh+DdRpEYd1GWvwSA
D4+dAK3emcN82uFZY5rbYDbTX7k2tedAtYs7HQhi0nQoEXrWEM5sTOJTnDmHHxmVVXstU+N5G5hw
tnLT/NYaptns5nDy76a24mWDBZHsoSjbR5BipXViUdc5M7+FvtnLZaxjAiuWgGkNI5d+APzvpa3Q
VOZXq+v6dheGoxXZVlnCIIUBAHcYYL7htVAvRYBaYWE4EsytAOK2byhe0mM4eML9W5HsqqlGFilJ
MH6xB0rxSc/zds1QLyLAEwZmKJB7TROeQF3g/MbanTuhKOPn2RRVY9gYCTa+B9yg+SFrSXOv5UGu
oGgS/X3Q51WyRboqgFVSkM26PUlUzhDsVXc4JjKZJ33oOhfx+sxAHEJhtOXBwPfQB7GPdXfqgepU
g+tCkRrkw7SXOENTIPMttZaDeK/WeMRAX1twsGbd3icsrZaTyJHa2qGPwRcup6Ghe23UD8qpaGSZ
10SjtQ/4M9gsDNPvo2kQpo0+pr1iQ4PJQGp2aXATAr3pHQkXF0wxCO/lpzj+lLD+cS+DO1hZ8ArH
yMc2B216B9dcH7GgRjkcSVeBL6nBJgRTiYmtRLB6oydlPLt516uE6hIAlhtLa4MLcKdVuxNqmLx2
Z4COOcusJMIip06HB1muwztTaVRcBdNE/yl3ljp6Yg8Y+ExnQc9+6hH2jiFzHD727JNeRSqgBpCW
MJvYC3BK8X6N9Ux1SznHonaQzcwdTHF8gLEtnUeU+3QOC7P6iMaQWyqjGpND32LJKiK9oZjFauVb
K9LbUyjM0+dwUhbmbNNgrQrW/RL3Jfla9sfmF7hx+cfQ52O9SRJFwyQdTnDr+E1joIiykoVqKlAz
YGPPqNdeysJNlmgIg8sYm4PUKQYNkxOd0WUnFSzAM7NsmwfqahLDg2pBWaKp4IkBMb3Eki9qjfZz
pBq4aI3NYgnV9IY27XxBmHFyGqKu2phT336vQvzTEYQvVuRymESj5w/AmkM0BqMLXL4D5VI0fuya
VareRf7E306zlstx200KugLmx5WuZKMIwVDgilkN04LqlttOAaioYTsaMMRw3A7kxoH/6sOKpKoT
VUtdWFcg7tq7MRNBcObt4F9NdQU8Bk+vVIYwkdem93xA+Z84KJdP+W1bPz21nJT/NxyPF33Cf/zz
DPrqeHwOBv7xsTg4HC+/8ftwLEif2HWAA6AzR8yJMJsD6u/TsSAZn4gLcl0zkV9y8Vzka38ejxXt
E2VdlFjBgQBBYnBw/vN0LIufYMiIGkEOCE8fPR6rzyrtfwW7iOUtPCpiajp3RvQtaymPyQoq5FPw
UHcq2OZsSuTsosSyOnEyTj/VSRDBZabatsX4k6Mh04slasT7VpDt2YxRNG3TSM51EQZZkHfT1TC2
0EzPYBnqLIYigNPKVsWs/pWN05yMMOACs72LQZDj84rlW6H6J2TPxzLgFJIbHTOxAkh8HwDwhtTt
+pKGdalLVRuGoQ5XTHFsTFfO+qAz73AFKlQ0cXjvtvk5KxRb+aabtbS7rcO4S684OXXaVyKKqezh
+6kUuApj3oc1GmLKhwgDp3ivskhPmEd1o+5Z2ch2lRhBgqNwFohA47ADXsIhrVh5BAfqX34oUI/W
qXJf32pKbZU3Fife9rLUs/SbUBWCcWIMclPvUEyAWclNOO9xNsD+9AeZw06m5zGGnQHOVbY2+3XC
/69lV22FCq/hJmf9ENLF9RM4TL/JKZouLo2+ABKZ9GWMxaE6JcKurTMlvS5iJa8dLBA67A/qViu3
kVZpu4Yoh+W0akU4Kgw6HatCDOoJCJpa8rUxk+lc8XFHw5qkHn+Vut90j2rQJflF6Y+idIorYnAn
NIpeOImp+I+SqCyApjEqh88lBg2Y5JXLdSfxItGcowdWGUXdK1mdmk9VOYWos0Z1ri8pOrOaU7Hn
k7yOGnlIpr3RK/tsqtTrfkhLc6Oa9fgjk7MsWJzbE0JOwOFuBIxmQk+VepXQYdrKvhfNUKKcMgjH
hCisHo4OPtm4w83ge77jmZffzlkTKC7Uj/6uZaoRxOHcyIoH0+TKYJ9Quc3ozeRxlxkVlx+RkQuo
Yfi1eNNgVi/2/W2kFIB/ZwMLAry2xPqyNgYzgTe54EoHj5OlVYt2yoYx/NDRSZaOnyikn/CjL/Jt
Hk3mRhKj1Nq3cjXhiiRGcuM1TZXO521uCrU3i0xpjMsFSfOgtFnJRdzhnrDBzWP6XHZieR4aWFru
M63k3B9HZhRcGg10bxe3iIjsSKmD3TC7SudgKs2/xL5cPAgalWkjVmxyxHwQBroLCv4mKwfJPBkG
QdO2PYY7gSMGsD23OpY/6IPh/LtRWKQ3KXs/ewe23tjZR7XAgQEgxYye1WBPmeBqp7aI/TRo94Y7
x7bQZhOCnVYawjb1KaLBgxgnVJd6OelbVIsLfTktLFIesuZXygnsYmzKNTnpeYWyxZbtdl0X+544
9ALeMHEKx40XVEUnQ6GF9Uat5+FzpcphthViymXCsCgF0OJjBSqeJ0OyptMzpHCGDg6AK9KA+VKW
CmeprASo9MzFRL5KIiN2rEkmAdLJUWc441jislIVcANYeoNbNe+M0fbNjs1Qxq1cvUvSArI+pgpD
ehEJImZQAQZjXAJwtZYdOZPEZhNTJxR+xesaP11Q2BNTbsavxJ2xUX3gWQ/D1QiV5TpuWyyOhkEW
hFur6vsdHQeKl+fmgzRURXmiDpmq89izKnFRayYGF6C8JJ8YyZga9TlEVHvo8ghz5hKrP7hkDZax
u2hE6LiJOBunG7nFnwJsFPUKsjtnSM6/y1mRnxIgV5UrueS0uiFTw6lSHbErtKtRiB7mWtOus95g
VZdHvTO2BeV/eFrFQfXLaFR5B9paLe+zbpBCz4S7YG7hYGnSmZLGKrkysj7xtutk6ysX9QIzsoan
FQ9cYc6ouZ5nTzf63nC4Swrw8TAJrD0pqC0SKUDwMW6x9G4KL/CBUeVzhCgGzipNqctfutIwHky1
Sbr7RjC0dqPwaADe4pee3Gr+ot2rBVGJdgMqTO1EHfWx32iBJuAOhM/cbWIo2LvizKTH+1BtRXET
ker80YdAVGwrGYzCkzA8VbjEhoPkiUKJR1ytJFnoqpMhyCxR8yy7YgecHcOuqFWecrMIKbfLwtQS
GrwzJot7mhZYZjnZYphU01UYq11sOH7WkHdfoqB+xyydJ2OUbTnyi+VsHnZCvzcxEglP1WSOsD2b
Ex2gM06ZQv3DRNmJg4jl1zXQ7CmtBwX0Ewe1+6U6w3C6ponmR3gU4ufGrCfcyyatj/3RoWreZ3np
DbkyLuugm9RdMaTZtDGSqhW52cLs38VTjoEDu+BSrd3HWXfVU4c/bYHds1e6ao1DLWd2LJdzl1NK
3E+OrCTyTaabWGaX8jAn3khUS3IDAdffi7gJpfFEjSNpwotZ7YJt0bG3OVSbytcqgRHC80mmVMGJ
GAiztNUgwYO2meJGOyNhQ8hqDgIz+QpqfMaZOw7iqJed1CoUk4x2F5oNrp5xFrZPUSBMxWmTLLlq
D2I74qiNr+FD/2DCfhtNzPvaNnelPlIXiHhFwvxLnMYg/dxsNvVQJe6kJCXUUkkRU6/0sYscPatt
w+k8H7GT8LSQqNOp2nSNuW/gmuhbVc4iXtwcQkAg25KN3eip7HgEBVkgTNWDaSH7jV2Q3uoSN7KI
2KQ2xUgjN4qxy6V+S+ZtnNgxIE/NJwzdgLVJnrAwOU9hKurfq1abmvNeEsvucshxUa1sRYj8+r6U
lVLD64vk6TmWWYJ+Ggpxm1yZlLfmrlUNBrcZvS7m/qrEvGu6q/xa7L+1RSICDyLIP+NMAZ4mOpmw
AaRCP4iyur4BKKST6UbqX3yvQPxGp2kzCLmnanXqf/Mtrag8XMGMOxh11jkPzsAW3VDzH6WBsafq
zNUY998HrUkpnQ39YDolsqarWBGZpEKxsgn7h6Rvsx84tvjlLi24IZ6NOtP4xBfjIfIwG1WHqwS/
ZM2h7NjQd9in5uHpFChqtsf1a8h3RpLP7ddM5HLtqmIU1PdonrXbOuvybxSfSfJnHaeC1IGZVKvb
cka8D3CdWmkHEBwRQvJJqejK/VB3J5I5RMId1JZiuBmsQqNqe8jwO95haMhW0LehxJdqq+EmFFn0
/+8aRBpiifgvadz//y3IQQJDkuTlLWj5hd+XIFX9BIgNZCMZxn8G+3/fgVTlE5J+awEuUKix3Gf+
ugIJkvRJWWqd+TFlpBTe/esSJEjyJxAUCBAoVaGkdrkg/fOC9t9IEqiHCSY0gqB+KDCA/4Da3tDX
vLi6amQxSnSFY21X67aIxdWOmTjfdHMk3ihtoG38odOw5pWq/lHMxcT2kzK7lfNGo96rZqoXef4t
xbcCmndQEwq3FivJXsyxbQpnPYztoc+KK7+ps9CxuHCc5xK7p8OEa9lSmqC7G3Aw/pJKQ0RFrdKm
38s6z86KvC4IUamCLXQZ7r6BoY7npDywsI9LvzxPmf1fp9BQb7s0UQ07YE+LsvAzhcDFvTAoRe2I
acnqJFaSvhX9mIBSMZheYg7+faQV+eNo1bpwJGG3yrosD1QjI0j+HXk199d1oWRoZdLEVqTZkZZK
dyQX6j1I5DTGu2Uwr4upkX62yZB6+oyNGdcQbMycym+qG1x2MAo0lA7jXjhaHabw84IuHdT4cyOP
8z5tI44zQ2VITzOLNUFzHo5pmzEWsy8G8Bspl8Nc9HMfEJosdAlCglzfGX4v8+Eplr9phRsZzkVj
6Q2W5m8xlx89XYhMDzfuY7nblejzdYPLF3qRvFVwdsEcMtW4IZr4l4iXuNvbRJFtpVOvl7R0bWgl
JzlzL3bKRgjzs3ROL9JU3sPFvpf93uOA4GBB86HU9e/vtZTZmcxB6hrWzBe5bsaBga+RiPG5cflZ
sReS0T9SXXiY3/qzFWA5CzOHssp1NXFJQLkxjJIhI2jtWV1LtVcpqBHef6nKoXrpuRkdGf5ShWos
cY+VOEVROIGp2LLbBlJGnEBxPMAcRPKDUzkd/C8cQQAdRFzf7kW9Fr9w16SEvtPF+KFW5upXKGJJ
GNGC4ihBYZH4aufQtbIseZLktOEYPfsSfpSjjvVlKFSuqIZFvxOt1Bt85byzgu6KVEAWgxUMylt0
U/nXqgz1/aRRGwv+L13O/wXXl7wbUGjLKIGdXEpP8PmTU+oTxvlE4WoQ/hZB/F/47g8iXBT2Ky+G
yasQ3h3u0rVwRs766eUG9tdv/t7FGJufqN0At4lQBCLwAh//vYtR1fxpYQbAiKHOiK2MpeLPQJ5g
fkIXwbRZymaJ2pHQ/iuUJ1ifVP4u+i2K9SEJQgP4yC7G57FA/CuWR8hqYbgtyWG0T3zJdZVOPOil
pnI4OiV4mE9OwLlzM5HYg9pXlki9Ou5gpU6dRmwmHsC3+mQu6vBe9GeFVEpHsVdemOLXcfDD/8fc
ee1IjmRp+ok4oBa3TtK1h4dWN0RkRgY1adQ0e/r9vHpFV80Cs3O3QF8UurISEe6k2Tm//F7scXgG
O09+ZhpuaSThDosNSnlu0fzVrMKxzrJ7EpOSI1W8eBX03uwPaA7VpZlaSo3qYMjuW89Te7vx3N+E
y9R3k8YaXQPOxMQKsL5OPWd/Bu5t2/2DY1VrSOPj7x5WhjuR1+e5Caz2y6Ep6idpM8GfFoFGgY/V
1rykbsr/I+cEYgqCUlFMpNxvJGb+n79+liHx6L7qLYfOWx2wiQJgXT1Ih39a1zl/aL1Oe+4G6ifn
oCr5W31oohgrEPmGfU0Pm4N7+OKNXnumyR3QQe/n7FufDH45orX5RVonfbeEW0a62/rRUGo6vTVQ
WorKTcyXmCGp6SR3dotLnAZ5zyQTG7CUAvrePaekwj6PtSk+uIaTD2M1VgT+kybXULmqce5hudTF
t5fkGBSGSS0LzvxN7TRTnKapTt04X6Iv82DjAmwei5z5YDM3Tfdm3KJTtMFMnsfVqxHUEg22l+Bg
3cZg3dvSN1M+OjP5OBtgVPs1mevsnsJtADFa7+jTZMYY3kQNslYI3dsPgm86W+fhmWgn7W1OynTv
KUQ45ZzCk3FjHPSgTo7esAKSTO6zGF316cAwf+eUqZgh5MlwpS15qxMP8EGYyHq3Lpnayslerh6M
JF+2uvWQ+PW9TTLgNwilczD0xfzAJFner+uUfMDpWNPGlaMZpl41RHjUYZWSiRXTmLegMdkdsQ/+
RdE2+46EQX/vsky+5MSV3etzhpjA54/YdPG+0hZAs16iIx6iXz2c9H6M28XQYi2rzbBB47CzK9kf
ukKh84R7iYO1n1/WprnmhRgiOc9NnIMm043O7lllpNZtQDmhTAfeBzYe+uG7Uh9DI6nFhxtg29Qr
jUxXYaT3dTmln8rXqO/q2WDMkXeTqu8yHlVfXkDRy4tFvtVDhQ30KPPW2hhqzHd4UNNodKwy6tzJ
OaUkY+6GevAvVZBpG71oWPkr/r558ZonymTEVpqTfp9NXn+fmQil6pwdqaFcOJBBTqpnAApsyvqn
onrozh1ldkmY4L8TN5c7lz7EcCgKfZ+XeXmpZNmkVOHZr5W81foiUKi2VKmnRZhW/XwDmfsJgZne
YzdOh/WuIwmGX35es7BcwCYrvLkWRWT0H46+mVyGdPDuptIuIg7H5ZK72XzUVgPuy5/Kp4QQ1xOp
kZJI72ktn3Xyf9/J+8yeuJ7Nh7FehlPvpuVJWk16bInUf2n7hGrOIlnG49Sr6SByT7uUlj5c6PGe
aK6tjHO3svVtht5W9+1sdveToiJNeKp57OCk99VUUuPFOXOoE93YrsKCjaes6ctJpulIU2LyYklh
hKljlxGx7f/VmPVXius/jm+uqlt+GuJtgoj/MXDSKj4YDeWcJ9tIq9fWTn1cgo6CuATw7XajkZxc
wPwQxYuzbwEb3gVL1c6T4/RO3zjAJd0Xu0RU5hspu3di0QVV1675ROVa8a6TgH2ySr3aFo0AmnC6
5kRQW1KHQd3+V+EiDFN/u4swcXr4bR3ePRRgpI39M5qBFCQq0iwhTtOKwMpvWIc4sZv1Z1Vq+sxu
n2EP+Q8T89ene/uc5e0Tb26fPUqS7CCQUe1zzeSbUVrzaFbzdKahu78vqci7X7mWLmgN0BfJztB3
AYXtOBduX7spvelAuvF4JDGmrBDR8ICo26My3B4a8KrhlN8eJErpsicAqva9uz1m1l9PnHZ7+Kbb
Y5hKHkgOsOk4GONyMUuFOOr24FKNrV0k8oqNNub7AUb4Pl3WQkQ5x8t3QFV6DBTLgUi1aNSshh45
bouLq5YXV1FQeisMjZoWMUFyQBKz7VvyQUQ48UaDhx0m3bsGJPc0p4Zzn7aMiMr2U6Z/lrSGqy/t
VmnHvXKrJXwsrPdewmyLH5hobf1MuU3d0SKZMQ/rS509Nv1Xs750VhOv9cFsr8X6C/gSicSdhRBO
2JtGvhvoxqcAiG885W/BTLQJneJcqjQri3NT5LGvrV+ru+3RCKMO2I7es7v0yBqujr6hMoO7c5p/
ZdBBSVg4+aGsSUOPGvPkecNjCpK0h0vflO/WgjpoO6sPrXqjgdTW70vWK0H9Z71Ngt++uZe/PB6Z
Jb9OASz6RRpVmBekZE/E5Hb51uIzrqwg7s2Tn72NsGtAynTSLqEjLWK7AP8dvSJ9BJi2082Xppnv
6nmF7HeOc2edOLtiOosodwerbYyNyT2I1jkb1mPmGlmHRC6wD65NsBH1j6YWEYij71GnjW+Wm2D2
mfhMSPs8azMNr4UmtR3DicE4QHfYxiEZxaTfUir7jl0dqQX7qy4lDYbN+h4483mqVDQwa41pqt1A
xK2fo6XOjG1BmBVts1B2H64Fc5Sb1o9alne9MX9XqISZer5NFeSRZj3XbKNT37x0udiv3XBaoKTq
sT0uYnLwGCTvxrRfm/YOyyqnXa5fkcynG46bp86e9p7Z7Nf6SaVb1Zxs+5eiKFvJ5ahZ/S1uLbyJ
50lwoXIargtWppdnJGvNccnNzNx4poTEqpEGtgnVzE7X7z0ftf8mKax4tLPh7tbk21NWl/jyTm/X
XZGm50IFv0qot6XpKkqstf2CSi0sCO+I08Z7qiYV+smvoj6u3tfQ8rXYofR/Wd6zTp9yLXa+dW6X
7Vz8xn2x0YIm9MStNHOJm+JiAtc248ZLsliC8w91em3wTEl8Wl4fEY691JTHil2lvSkKw5tORvSw
hEtBE8qWpwwo8WD2H4F1SiqIRPvNGZ2tlugs4HeD/pGSAdb5DLP1yUuge2/Zu5CKYMzDMUf1NHoT
EjroneuUsrTZiOi0kj73Q5Gecusjk/d9sDPfMox46ewdqrTf6vkh1Zk/JHch0I7Jm1I0+258U0G8
ulZoauNmNK7+SjVr54Ze/+2lB7u6WC/SuC99qiG/+hw7VvHt2zv1R1DIbXTUgImwmc+DGZnmfWWq
i+jueANh7PZt8BmUJzO/zqRNW8vTrT+JcXNvFo9+XRKSVEXTSvWV1UG9g8KjJeuXS5khdnUiBhHb
vL1WEwWy/dZa9sDxiVwPZEduZnhzZW5lYGx7pk/VDbFnvYnqznbqnT79jKrlX2pwbp8p2Kvq06hF
rL1QtAV4xM87xP74gIEqooPynGp07aGC8bujn94xqMdmXv3K0menRz0qT4Xx3tNhalMAqNU/RMiE
WcXcWxzMqonHeSIqsHy1ehWS45eLNTKq7GGSXZwj1vxOXQozMUXBTQ7GvgnuoL/a6rkBqqvFvk9v
44pBbp5407unoJ42IyWqKyO5NkM40WHvnb31wxgosXW0g9T9PWl/EFv7hdp1e/mhLXbjjVuhH8am
i83sqys+9TGmazn+t9X0/wJLsRz+56uVPQ9HiO+TEsN4zb//N5wISkWkltGi122B2DfUllXRTSxC
3zaqQwCUtpFiQy5Uc0WgVuNt9fT5Ewg8YJ5Z2Tys+jLqmjyKMWe4aJPKc0LqvctXoJ1gp/01FMjb
fEDZqjp45lht9cEtTnpNtCDFtf7VrYz2Ok6g6mMz2MdsodfPmjxK4cme2fVzwfEWVPNJlD0mvrR4
4Ix+FXXOM3KbipGC9gupBF5w6iakpJk8Sv1RVCeKXA9+jryPvWVjlX+89lcr4vYmGuxe2lJFrdd4
0cQlcUyN9dxkpc57lewTvR6QY817C/6L4O09iu7YG9S4Q22RzhtzUsudTrXwVolnL5CbdL2m+kWr
p4vbxi714dZ70T9oi3+os35jI0Yh8Cky/MtYP+J/ObHc/jHrOLBeKzPd63izN46Y4pItMbjpu56n
9uB2J1jGO5PUeItqanuYo2nsN66ytL1WqYMbJBm87svIt+ONqYpp2vaTBzUO3yrnOtbupf0F9XVo
neSh8V7YeLLQNWJTuZtpdsm57YniDKKpG0/K954M4KZKYUvNho1bPLddSWt28glZfrLWR6P7cdWr
J4ewpMpT9xj5yS7/F2z0N3fEv8vS/+HyZ8wjNBlUA4k1eiWdaI2/P4tKh0bqnW4+Fd7C6IAEzhEV
6N30ySykLhRqdjvVrHmMDB3sUvfsCHRL36aCAfCvF+O/BWE9tzX/+6eo7G+ujf83N8fuT3tzPwz/
/KtuP83/doD8/2HfIBDp306Q/wRufX7Vv/7u3fjrP/gXpmVZ/0GHBXgWUrN/USn/C9MyzZtwDYvs
LQwMMOnmx/4/mBYOUEC1v/4ArMktrfV/ytM0w/8PHYPCLWQF2MvEzPXfwbQMkLW/nXaO6zN232J1
vFtpG8/ZP56wUUhtQmhdAlChsoscKnayY2DW3aYyhxz61ch8R2F/cDX92zQE2z+8bSPvltxIFy3K
F2/5Xq1CjruCCbE7BrWur0Y4zrn/BzTFzilfqNM6u0P+X9lh05eJ/4LGyR8qjq5gPaiiQHVDGFpZ
3deONvakFBmaHvq51B9Iv7PSQ6A15UxRNQrtS5ozS0V2V6opRkTxboumkVtFV46/9dOqBh6ShC6j
MTALo583zbhabpSKQO/BoGsXwayB1IPqlFRq3QPSggYJUq5pWh2zJqV+PLXt5O69zGvKncsryFnV
pZ+tuqlo0SBecE1kz7dW91MGd/209v6InDRf37uhEkcZND4/2IBEblBii0jhwxYct5Ct35VXlRS0
GssJBRvTjbTHCB129+Xpt4/Ygeiie7Ta593S75y1LS66Pl21nJq0ypwkx3YtQiPIBlq4VnvfzMt0
GoaSUBjd+pDooMMEE+ypqQfv3qz1JC5s/RfbzRQBSk37ZvWcWGbWW+Cp+WQ57oySQ29+spVlLumE
tWv83n8VqkbLJP0q0pO2igqU33ukuRAULUaPLqzsUVjzhnoiZHmDKWnvCP1AKgLD03lYyhdn6o11
K9veNKZNIlXdP9B+7SQfuWeU/WlCLZKw9Fn4f9zaMvYwBT6/v1T0Mmc8IZOhoc5OGBf10OrT+VrM
Of1ZzHw3dHjZ9yUZTHfgF/dNpydp7LuTSOLGLXtMGsAeGydwSnMD6+Sojdl0pvvCvoheeh2fS9cV
0Fk6eKPfa+Gq2Vy6Xq/ioi6zTdJ3MOpzh1Autfkv7MaegbF6mPXHPDcrd+tqwXQZCm2O1sRcHpTd
4D+Rs99ZT1nWm/5mcqb5Y+6RM+wtJoDkqOizKYBkujY/8q2X3hnzya9Mp4vkoFnJVB4dodMxsVj9
54C94ql1G8fbpnJd0l2Vsuruk1rB/fvNg6nw9PSZGP+wfzuHEsz8tYTjQ8PE9No4Fk3fstkTXysQ
ejRGfbrFOoSm3mOzwl3ddFG15HI7MQzyytMZNPzG+aTnTAPZgM1iTXbG4hXY6WdP4T4CpysjuZL6
dvATbMX3biYQkueGOd9eBnUm9P7RMsUdUb7Vzi7GP9YgzHAGj9+YbWe9afx1LaJIYvJPYigLL9IM
vTxqNHw2v1IcND0tYrZYIk/alRutrKzdqfLcoY9yr8IzkIzOUvyeq7JE7jp5d1rbaiXzzeyY7Waa
lia0cbp0IfmVn6AJWY5P2Pudtyb46SDOnFKGt6nVwHea+Z0boHLs8uGA1dt5s9f6aPN7NtulnPRf
s4T6maCS+5zKd2lhBO5c4W165VV+5OP+g5CqaD3fpvWa3552c6ljTVn4ONhWqJGhLFhFdHRl/S+E
GrgIaPPSuniek8Jky1Sls3GhzdqIayMJ9lo3A/v3PR6KWYDjpbh3z2NjGA+8wWvsyLq9eK437USa
F7smrdQHElmZ70Z30UKP/phIt9JvgoAC9MGYsAdWpAN2kzrdzIt6kXp11VpCYXNLDDvaQG+gcPWn
EZ48YdfUtmaieSe/GK0TfIN9RCOo/fan3OH0TNt8Mzhupx8MmzF/28MUW1uvG5ytF0x/yrQMIqPM
JZKbBkXZ7CDo9eSx6tp2i8LYOxkYxKRq+b3x94WN5Xwv6OMulIH4KP6Y4nk07LcFdBiQJFdHDA99
jLENceHc3trlLHsuz3CBKgIiHPZVo/8JaGx9vAmGzoGvBJz2atCqwykS9kQq7jy3dg9O3bLhCTDy
YkzbraZ76hOALeckS5LiXGB9PkCRlg9+bzfHYq2v5AT+YA5BHuv5iX90/aQ91zh3jss6jds2cczH
UvnTe+e2y47j1j/kYPNHfxZglmuVxg4HYrfpMns5GHJYrjn3TB+LxQA2aUwHBY8TfKDhDOKA9pD7
uSsKGOduZ/tJvfWMztqvVd7sSzSmZxZcEmYy5ITW4vIhzqE+8JN47hmR9CnPK+/OW4bnhr4EB3tY
MNixrZwfP1sfcdLZBzgFQkSK5EyeKZrRmc+ibfetML+EMYWGO9wzlrsI+eS27hr9yewhGZrioV67
U8rWCKi0bkGvF1Za65ZgIJBYWOO+AILe4oi6kSzrGOq5sx3NNt1MfG1bFqFHUyoMGaUb9XY3YSPy
DrahhpjP334N7IW/asFkJRc72BGymF7WxNe3XP2cFlmVHOm+G0lH1tJfBJ5NR4VYcOfIsowQNbcX
ozL2XltT3hTc1KiO/J3O6fLgL+rQ59lzP0igNs28OiLdS9EuzxPCN4QNmrvA1GVql1jTD7QS2fBi
kww6C6j1OfR9lBbZcWjFpswgxYrVj1aVvWHrjGaCDfLeOHpmwU3t+lsrz1MUlTdbVV88Zl53Dorl
mPmqiOljNZARtK/m4uxxV4XOoNkK/KY4ul55KrpAHtZSAKbkQyN3ZqteilwYG7+VAFOefu8i2/CX
dYtQDzRTulHHzwZWdduH19mNnJFW91vUfAY7npWcS8i4szIJnsuAsDs15/K90rr01e8acC7LHqTa
GiLFm9PMhT1E9O/11jYQmJEPKp+1Drceeq0QELj6gh65CgTHsZvVa0RihRX589CHIzG1dN8Uffbb
XNLq0I1Gq48X48YUddMkTJQ0mIYybA3bPDDosUpK/ZQhYXjzF19Gga4SLDqKdZ9W7jp3d7xBYoti
1jr4crS50qf6OqiJDau1xXQ0g1Z99I2pb51eBhXoyOBt7TbQHrSG02UzYI00NvZY1O7OJ+3ja5aS
vo0NKmCmSQWP14VIMrt0o8rcuqSWOXtv1PF1QWyMcwGrBFFyr5vjeFWD6e7HNLeuU++AcnfA0UAn
sivdTUZQ4mEJSOre2JXXHgbLUPdBIe07YknXaC6tMlZr2YVzWt6EiXzpiJeDTdq4MhqSyo7HBWBQ
wJJdzMxmjayLPlrseXrFZ109LLJ86IWpXUsqPEJp8ewqRv4drmF5cmanv9Ap8Jhr60fHQP/gM4eH
dltemQMRAU+dX6GOKJ1orUYiaBBKpQO4zjgaIvSL/lV3MXRYQXA2dZXtyI3HF9fakFOLl16ZWnTQ
luZuGfTlmvJCkzKt7/Xc4tNP1J/U1b4qz8iOmTenceblUJvaAXhi+XJ87KLOUAbxoqvxsLaAfdQt
TDpVbkvzzNc6f9TZRGVlGvxebdVt506U+3Zw3pCf9HfsQdYBnRcsrts8oeTnCpOezOJSDH1st5yu
oSZGGgKUndcxb2129h3uk3B2RLGv1tm67xH7Py2kxRytzLIiaULQGdLZYT1wtr5ZL6haiuylJkju
LZiG9NEuDBHNIg+2iMmdOJg17tVg/F4m6wGOUSCLLCu0qPqnhSQtdBe9fkgSMrWNek1/B4UZnMnG
19+dbNxlacvY53bte65YxVOsNo9qbZ50olXfx3z61mC7Kx+LHZSk/NCHeUthab6v0tr+1ZZDe3Q0
MT1S+9fHTZ8A3Y+e96u1nOnaZ7b9EpT94G/o9ykYUhLnqVl4u1K3HZ8mXVUnbYWBxXobTD+OxNbo
aPW8KxHN77TR4zrDSbNzUSt/SvT416pbKPly9YU+k7zTYsuunqXDj+1X7fqkz8uhyidzpwvb+F3p
Pkypb2ofVLo1n0PZZXErfSMugWOvs9CDcDDt+lr5Uv/I69rc6nQERabfvM3WauxWC1ZD89tdu5AC
PeepRH/j9ocJiVkoPOLS8kQlYespFGa61+7UYOS7bs7XfKNPaBU2VdAnp5WS+50Yp/ohmMaIVWQK
zeqGfLqtru5LF4+qtKf8qOVa+aLKDEc6ecyQyd5jJsoBkMsh6E4kME+6FbXZSBhogcB88TLntDLD
E2Ks4jnXuoPulXExFeIdQ4XxMPbts6XX3Wm10guMNqHWLoSaz665t0a/vLaa5cSiJ3SH4Lngyxky
XjV/+vBhzO5rI3VPQhnmDTLKaKbpjbDEJxK5SG3RVsuXpA2O6PGWfdFm1mPBdLRNNT3YFAaOfLfp
xWal/RjHoQMHIZtEPs9zkdlxORnDjKVL2iRbsfBJ7pjvommxy6ZGft/WXfbIms52mXjBcOeW3e+i
RCUwFZaYNo6fpScMU8G5STT9SMMjCZvBrYNV2awbUhMcHrC1ObVSJ5wV+XkyusfZ0s1wvNH1fuoA
A2i1c1d2VXrxi1Zh6UGYPU9GFiZ2h1beyoN9J1GV4+dPo9wccXCUwnlsbqNPvtAibZvit+4lh9nq
SEspsRl0cJDWJllcD/cM16kpOn1r9cMrOg65gQm2duW4CHZv0e5lZdPI1+DrDZ3V/tOlzXsBYf2C
iHyCbrCnTWnI9Rffl3PUxr8W5fx9YOl/53E+JG2ah56qsm2BG2SnzTMu30C59cEWRRWjK6vJJAtk
StWEhlm06gM9D+G1wR8zHMqYSqyjXRagvlbqb3S3OKcz+oXESS4oaB+JScE0p2v5Hdr6l5a8AUNv
gwPZEBdLzlO4dnhKl5LqR4a/B0KMA1zHcxKr7mbr0msu/GrcuSiATgZ2gqkpsCV1CnV/9TnXNrVR
3TgM11kPXjWkLaEiL+MqmWBPSZAIGRrKr5bqd2Y26R7z8nTxBxTgJmDBJ5Uu5NRUWhuttdppMjiJ
qRdPmlvkv+bbxTxaazxponwaUnmuXE+cE0Mrt6nt1c+d9xdfO7wOU7BcJ66ASE6z9c1q8OUL7a41
mt/NkDVfyzr0Z/QLbbWxCsi8NhVuaOjwjvi2h8gylX8ETo41N9DesHzlO2qK3K/CcB2EULa+08zu
XM0YzjhkUKKaCm9ul1j9fhkRDbB/f1otKMJkj++uvX7ziCS8FlZ7Ffjnd2uy6Oe8ac8etAVAdlts
nbGyf+zEXp5dQJ1NgE0tnILZo8EBCklN+AvSvFz3o2b9Jr++Wzc+7pLI7HQngvSvX9a5HDm3YcKL
QYwHtjUXTNjXIjEV/UYI0wlREPjHChQl1gLZoiKoxq1bO6TdtboWOXbn3GKqio0IjO6lI5oI7lgh
02gW9WDadnUUpcnyq/+o1cu2SBbSLc4o14tEoQ1PQqrvIjEJt5C+Tbmv3l8areaa9P9q66Mrtdec
FRWvNexavesjDNHrCf5S36WdujNc/7xI743JiHmcUsY70Yr6MFa9fa58qyUgoqLQwhsT77PBxc5U
mP2skmu88r0uGma3OY8FLKiXBDSk88uFvpCxnjmvSHHwsvcKZ2mtsBpNAT7K3Kp35dCsX9VorHcD
GSV0VRh11NXqfVKd2lpy8s7ES0Fkt6b9R0sTLdRrzX6opo4Us1u0l4EB9tJmgxtZbL5HYnfMp7zR
sVeZEBozHDh8hbpxpz7rYCe0ftflvs1KzRnvsWLENJY8dIJ8D+DvG5Hq13uZqI6UuEY7GGNghH1u
/pBg5LM9FE8DcoNNtTg3Xx9ZaV7WrA9zSXp0NyY/5lwEp2a23H1teuPeNApoyr5L4zro710Te+kk
TcJwqeXgDhzq48LodEfONAy1HAoThTFIx2EBaMT1o7EsLWMX8v44IR6z6QHJU7utapjWRPQB8Ch6
qwrzKCz8EiSRsqQXzQMSIc+pXrigYck0qWLKe72NnYghDNxGD/tM++TGIycHKcrJ99L2kJqLhTHT
ucqmPojML05Guopd32bkziceYyPnA2v96BeRtJcm9ks/p2QFUMmmkmeHw2uNSlMY8ZhANtbO8NKm
66skUSEEXjQ/kSP9qlr3atYJ7K9yltdxDIbbszUcTCOfdvgJrqtCE4mJ5Y/OLRuOLcqFpXfLrSBx
ArAHBV6PpPFoJmN+TpC6xwLH7n1ZQci26bwj3WI5qHSV4YxVbFva2deKCtE6sq6PycmUWbpu5m7I
2l3p1uV8Nkd3feqyxnG25VTe+iRTTA2bukh0qoxm2p3ZVgjrKxDDWDo1MUU3oLTmUMheO+rPN2WS
ZMCPAUEz7+uAeWyDt9AiMsSt/fdFkYURCqDbN9wD4jmfeco2PFGlCUnLuRN5Lob/TRHQQXHLo8FA
vRmsgfSVpNJSFkl/kfPWqwUHHck81gXufnzlYTPd+1RzjDHURlC6B7d0LHk2mQGyatNYFsZIfogR
QRY+Z4An5NoqMoJkEhdr6U3z2BldwLYYjEZ2EtKx5tjBgXcTbVSB9YTtqb5bUhxvR3vhNcJ25dbr
uXZRt6MwS8zrSNvMz0ywE61Ps07cPF2xYJ6kZ0z3gP7BHmus3EPwPdcKXeMsXSa0+pJM3ktFyRvC
EGC3dKn6xyZ1jvRt/kqIosALbYzxXJc0Vaze94zD4JVnYHkBtS12rr5KYn7Qbb0ZA8qasgDgoLJj
3RLrb9qxScs3US2+uATFoKcNYRWquU3kfkdgTTUXr2vS9eODOUwNj0K/evugbuik0pO5eSTPoyli
okmq+gnzF0pdYCBCLQArhz6t38rJpxalRspxWYS6q7IMml6D3h+ycg6h9bWYW7N9Xef5rYILqzsv
+er90n6ckM0/CkM2IT0x59VkOnQ7t/kYyX1k/Hae1lSwEXA+ZpxHZr3rJtHc12MmDmWgeYCcQOav
CtHswRK+s8Xg0L+bZMT8WEnT7Twzp1TEwnlGbF3yXhWjjNORPjtrTo0Da79zWIyk+Al6FKzw8iui
Ts9pB+Pirz3+M2ddjO+ViARODyUc+VW7sjb3xBlhzGcKx7SOyyFLdzz5QfGa5wNd7vnYrsMhz8hL
vUVedL1FRBUCo5gwg6QL7byjpZyqcgML8uK2QLfkevHjko9UxAGRV/2mQbbabsvWwy7coktunkuc
bytIWplzoWIHL4nFQxPSSaW6fZrRIcRElHrLcva75QsWiLQAKN16O6ogQzaZqFhN6m3N2nsA6WMq
dQn/i6jHg0/YGwp8ttYL/9BkNbGQgrQYtUj9WPtJblPe4TNwOs2ycxv0sKQulaApNrqhpVThlPqX
YNaLO6gOnMOZ95H2/RV23g67ea135kKwC2mkFOC2q3btnamN4LvWcC58yvE42A0HwnjuDokQPjrv
oTZPja7Ep7q1lkGUe+fOsPPYUNbymXV+dlwBRtGqZmCxVD+A7dZINtIp8Pd+t6bHiab7absIIh34
fvJBYaXmoqcHutSiikcmLHvbqmOPUJ4iNBvd2DhJ+Ui426cih+YJOuBcG8ZhkZmYts6aLT+q79ed
0TOR60lVhkzfTTyb1NpXwzh4YZ1LM+TqFNfZ4dUlY0Ijswx8auvNIwIyjwgxkHuAnjckyPhhOKHG
cGWy/XC74c/QgixX/eiehSXKkKepiBhQUmBCs72Mqxp/YZm/jgu7VjHl45bhPDgU+roe/TwjnSGt
0QW21h2iXe1/sHdey60zaZZ9IlTAm1sQNKIkyh+ZG4SkowObADIT/ul74a/u6aqK6Zipy4mY299I
IglmfmbvtY+qX47hWFwkCybV+dG1hVoReQBYKlIbxuzWZSeAjA+CmKoiZcHKRCCKP5tlT09OpsHt
/GwE6YUdB/chffSDDHgqNy/Ho+OWtz6itnH1zgWbPAUfmZz7vHmXRgv7fwk+vY7ptOuyW8qjMnu0
ltw/MQDIH+qgbPcReISjP9vMbDcxYwRfYbGj6qsDlKmj8bPpsu3SYC6J/22KGQSkffYgOnP+5rwV
ryN0A76NMj345nLnGtrDXtYDNNsChDZnNLMjzAvTaeiU90TwiWvFZirQ20yWc3LKeUogetjPzGJ/
Jj97EWjvLjSI2Y0nlvkUZNOaLCHG9UhEFz8NsnsCmXonLrYyoWYHdzXmIrySMxsmpbmvawltDDX6
Ere9Y1wGy1OJZXXiejbktM9dzme+0KHxVIetfBrH6rEQ1K8pCBDUglETI561EqOz16us9lRsBaK9
wuT/2pSOGbMw7HbGNCGLNGz6v1Qda9vVX5nqaVeH7BJsb6qyVLCnd0OZLJxlo2ceO2G8KWyopxEK
AL6h9ldeCWQVIUCd0po+p5Ik4NCgaE9gX4SxzxFy3TiNuM2Y8idu5n83IILYnzrmM+G09s6pxlsf
5eF+tQR+HqJ9eIEMof3yrwHZBYMhE+Nm2eMANz5w4xpxx6F1nkdPJARSk4Aoqzx/Hl1uMUQn46gu
i6ZCyrASpj4YFz2lH0qNqbdXUZBa11Uvy3gcLfdMCi6BJ9OUzUdjhko1dXQdUUehK93JP/upsIsX
1h15iXCEHvhULVNLqIxp5vIrxch5bfer6J//ffHG/50y4+7/MXxQiDL6f/bNHj+/2n+CcW7/+X/6
jXDNEupuRQgg/nLOosD4u98oRLRBmgyeImTWgYdk/H9pM+y/ORaCDdP08fg4RDv+tzLDAcbpu2A6
iUZEl4FM9d9RZmxi9P8Wq/OkspHyTWi9fzHH+Wn/LPxxt1ZMM/HOlSwf3LZlgl/43X7WtvNvheyR
2ASonXeBfSdQZzxZ/2KL7NkFpvh74tDqGJXIZoPxrNB8cnw///DW/2+kdf9iQfz7b8LjyMqON8r9
V84yF4AUs8ftkss0sUsobmpe5r/LlP5HydQ/v3F/vRz0/XxmwCdAL0X/omfJvFBJZMa0pQH1RtRm
d3pRPaNhwvD+D+osZDz/9CnxywA+saAKvQ34Q6zzptL/B6lg6nQ5sZTV3kk3hObQ9jK9jaQoqr2c
6xC4hldCYcpW7RNmNjrDdcTGb5PRszLGIeOLhtUNJT7c1ExL5o0AR3YU96xAo6pv16doQNmBHtQR
I2wmYEWXLNfVHUHctjr27H6/pZVGLCC9YUYh0QbtK0baRVCWz4114djjX8Ir8P8UDbm4sYb1PB6c
dvT+FGthBDt+hMsuUkh+sVUY1m/XmItsz/SyRQs8YZreVV0dhee0BHSwG2xHTSj9Gv9l6Ed+NhGg
VRdHlmAArFQffAdRQ5852tA047mKWExXVbC8z9oc33IN1w3+RIrMVFHL9zHovZluK3DEecw9OR04
AfVPU00i3de0Cl80fvPrPAnxRxDudyvbivWf4eTD4zyzeTtUmY3+0Gjd3NhFuvDeQsEmabc2rfGl
Bxm8gF+tXtAQQLQnNdMK0SoybNgUx+XwFhLVY5uJlQvwCOE03K0hwFo4CFX3gUAUV4TK6oxyaCpv
iHUPARQiF2AdqKP+TXl19dXoovjiWzN85kvkcWGtLRrjtLU7BCaOrT8DS681czs+GZM7DFlVBo0p
AXlXUZbimHknk8/yjiJc0BKugRO+ZzhQL7ajoweF+KXkzcQiH9tyrF5nO4QJ61QgPOlC8bcjj35q
BsXeq6mE+8saZ2ZeFvv6L/I4+9c5RRgqKyMNcYcsxTf+Jv2kCZzCHbhguiDSfV7iefZrM67ouW/C
aPYzqB81gs+8m80fc9rUF1mLuRyGp+dRXKnswQZ+OiSD20DnV144VkdWyNZZoo11Npb4xgqqUyhP
RUPFNkd92qIU95qH3gRqCc1TMfQZ1GIHsdVmqDnDdRXrAwzP7L4R1viB0jOndJiz4DGEKv02+AVC
VtnnTbNTMgxzjGPD1NPYmxMLWTbRDPbZ3aF76BXOkZm1zzeWZwQxUxEMb5Q57YB9YHK+q7Zvpp30
83plIDDLnOevRVtrlkZ1gTI4utRHPhPgel7FYwNV5SZlCIFVBDAACm8GPg35j9XyMZYFdLRaWnz5
Z8fbvDBpzbes5jfWeyqg7jcJZAjIjL9WjM1gTG6S66F9IeJ2faHfp0xWpp//Htx6AqOo6UmEI/0H
W5EAAKcmAEfJH8OsqlGRejAHtAjXS+qxMIU0WXX7ejZ5/mlzI3Rt6HlAhLrCe9faKL5D7Yv7hall
myyoPRh8aygzOD4YyyCRcjDjYbtAgLO28/i2CuoQViWm/p55gB6d0n5rmTYMu6ofpou25uWHYp0n
aZBpRUw4bMoabUcK7SBrmwEXgIlcsGrLwUgQZri/FEfmh9oQJBgQnUlS7QVKXEV+2oCGW/BoaN9J
eaIyMI6HrNWoxB0EM0Wc5x22FAbcsHN17Sy3bDp6XqZrTHf8f+LFMUr+A8tEvbGdabNI4CPj6bB4
VOYIOSJwV1/LBIin4SBY2CRzRb3UCKgAVu9tF3pJxgsADQbhgfmmD/hZ1XaVuGkmg4P2MYbGEF3L
+eB4Be6hBrBZeBy1V279oE3B7xejf431eHq32J3PO0tsXhoWtjAvQVnaHGZ1W917TNXdk22ytIkK
1HkJK7YMRranxLmvazytRWspzE0F3qJZ0juDF+Z8DtI0YWdytQyhcojkCBrsJoAcothapHev4F0g
L1pV8e3ytJKqbg8sj+o8rEVSMiEfd202sezJhyh/rxEQLee58bKfgnWpu8+8crx32UuPKCBqFFuh
2c9Pg08EHC/BlctelKHvnqomimYyOdvN0+gsPYZDa9TfKbU6UFdGSSJxEIMbO80k9hQ1m+KgmBgr
J12g3NfGRbQU6yAgDwri18+QttKNF7TOAneDf3JCei6oz4gVsfb3zslYbXlVuU0Y7SBq5Dejyj34
sql7vQxe/cyuNvoypKc+rHCuCXIzsDqCWO6zW0+E+tI7JirGyGJRu2/DQjo7KERFkcDOK15Q3ptf
U1vMj641KbHjdjeqY6v74l40adHu3MVW3101Wa9ZPi5z3E/shHbpJtfBDDaCEhz8QH6ZnG37eggd
mGx22n6xpp0eGDs7iSuUdc+1EFx0p0y22bN9sI0g+J74+eRx6hwa0+T3gzpBCAnvgCJtz3mmuGRk
6THMwF2qn1NS0B8j4c3LQQG4/F25qc1Wpat9ht3KXrl2A86v2LU6xTLU8bBcAWXIENeY3D7K7sN5
x1RQXfU8fF+Sd6NnZoynIR4dHONMm/wC/SsxOU2kvbvZagrggYM2Tx6Nm4fkPZJPGGqCz0JKpgYp
wRG3netDBDRcu/f2DhKMK+5efQSmwXrDLEpmNsTmfraRhKayzhYXSIkJpz86TExYHzSiRnjZlf37
uiAeS5al4AQo1EhQaVoO890kXBsiCztq7hR7Kd0dcwn57vHwVYdgbeuHBW7AH6JAuovVFqjzDSdS
7NrHrPjwkSsCzgLT9dEMJfIefpr5uQbCea8jhvOBjX/imKZ9fd0bbTEkhnImlyT7kKGEGSEbjZlZ
+C/ZpF3m9X+BMmvkuUgH1Tx0h2BhMhOX5cLLmigmo7hfM3VDbg7zHUjpRctB5Jtb8lDfcynvx22e
ZcXZZI4PTe211YMlXSwb2pKycq5k5rkPdiCnKTZtBp07hyNKU8dl9bLjgJdfI6pkICkGM+VQgQOb
Ybe0STXmxbybTDustg3F5F8pkLMVz01rYRGbivG+zGy7PQ6hdoxrkGo5ZsMpYAkRymydaNoD9dwV
lJ3IeS1g517V9ff9JBpodCJUp66xZ6BkrDDYpZNlSPLj4PLBu1Y1fzXGhJtoCW3zXMJfB7tDr17s
qhlJywHqdcRMqOnt5XVlCMCQ1u7ZbI2kQaG9DUr7vrd9CiNoYlxg5mqHN6ozg/FQ9H7pJ2Vm+u4l
D7p6QXKqqe6G2fLri5D+/AnoF/OUx+WIbJzw6Twpy3D8rWw3pYzMe4hlbu9gLMxdUbJTDra/fFiy
kFFPNPr5Llv78ezOrf49rCPDIzyjTO2rzLAEsHSXWyfTSjNpisyRQYb2fb2bCaH/Y5IjcoUSw2Dj
MSEEjY3c6+TDOs9a3/ajU6Lq06kTHSrPHE81bv8Qy43RjVVSj6g9Y4vYkq9gsnSA10RVQBDqyGbW
pzxdOndFX9uHITKYqgj8tHw7cpAH7ooB/exE5QzWEolNL1CSp4XFuWOP7imFHJ92ic6iZoPDZatA
7qAH/9MCB84aKaUT4XJmgO5/6S5ApAjNMeROQLEUubcydA3+rrTu3pgqZ+iwTV2av9IJQcxnUZSR
vK9cLYP7zoavQnmRcRFT3PnVz/+fS/yd57Wlg/3Pc4n4pwb5q/8Rh7L9D//pGrH/hsXDQyIdEfvy
F7fkvxI/nL+BR3HsLeGGmYW7jQX+O/GD7p00LTsMPHpsjCH/ZRrxrL8x+acrxuxhmR4Jw//OZIJI
DP6yfxxOmKhjLZPfYpuOFxJa/C/DiRGVTFWktpdYyL/cfaHq6EDCQHDEahqcMk0W1+oHRy8crISF
RXjl1dndOEkmy3mKkElSIB8pDT6kiffKiuDDry1j5nIxrqJ1rnd2Z6Mu4oXE3EkPDaf6SYRt/RQA
fd7XE9LKfFRnue2KwtIYKAGZKpI6p7d4AhbwS6bPYaOOvljnlzQEQZSvqN5SX8NqKf0dGlI/AfUO
5bEu0UT3BXKZsMfAKgLEBnngCXqRbDqN8CU6Vz9kKXlf46CrJM30XVOvv7yKWl6luXlj2atMJBSX
2JzCfG9iUwxlh3yF6YATL7jhxVizQYwizkI+oTiT2XTNIP73lGMVwXL3nNXIW0SNCd5s9H2JPPPo
ZllwaCzVnjfm/hUdr3NotFOdfHgC1zwjGZ2DNHc4IYxTleriZLcI6hozH65nyj8q8SDPDyEUVlRZ
qU3H7az0yDmVxMhQ6ZcVsss3V8IokGz714XRpZsItk2YdMyodVYB+Bh9v1dgNB3CUx8VK4s+zlCf
ZTZLI/L9sGqjVvHYD9g3VMLLuRRppWN+fr7PpoA1YLUhi20yRZqAU3VocY5H7NpfAJf+hoavrvuA
BVKklH9eAa6d0hV1lbFiMs5GZKyVjaPPYLKxVvIub5S5B5OJoMub6N1WjIu9pe5Rn1W3RtB+uGZ0
mt0ZUEHt1NEVcSk97Rb8UHiUESb54cohiCpOjYEgh7aYkq5CkE9vi5K8L67RbX1EOVK5zsBE4DKE
sVaYvcskktWAlrOAxLwvw4ji08QdW2SyPuWTTK8ziT4xrtOc9X84Hs1+E7i4CVI1Sl3jBjgGRb9M
kAFlqEWdg9fpG/j4W4V7k7feOWvEq88ehoeNz2KL3luRW1svs27Q+3n0vSLH907cicjc00jyz52A
hsy1Za2n1BFyb3p1c4cPkNUuMDi6dGoZ5Pmpq3/1c41vPQpa81wXk7wuuFFexoEuYwWZzVcLsZXL
HKpLr5ViLh+s1k6uXO0l6sBRTbyDtPChdMOTborwThNd8l0aWxaew1IKtJ7euyYlkmsyqY9zuSlK
MVnfsAh3ztqTQG0jJYGMWgEKCnNORA9QwKxoQt1taOAir2VhPha3JWqAh7rXZKdEuf97qpZLJPr9
UKJzgR2dNLVhJV1oj4nplQApSRDZEyIiXtwWG4BoM/XWQ86+Fx0qLxz5y3mqGGqmaHl2kzPMRzxj
NPrDQHAG/pn5nof7JtD2gF8/27bSRqu5y8s3IKQaPkt/6svhXIeRk1jtkh5dNkcpIKOROnqovfOQ
WiC8KaqceppQh7KvrUn22eWMts5O8IkwILgeR2meAjgvu21dfYt3kyJlYYV3CLCuJQMrewCbq/FQ
sNOOUSlzEqHnIjFjJnqj8F/8fHlfNYQdxw6PUSXSKyrzPS4EUBTYkvzWYjaYBgbSeI8dvieCw8Lo
8tgAI7wptFEiHEqjs0zTDhxIZnmXtkuNR5uGbJeXXnrfdjn1MYeDZ4JIKnzjUubRn25ceCCRz41F
9eEp37ndasaF8+PWDFA86wD9ZZmO3o3B7tXZEXnN5o0WE4XqMNyNwm9vaGnIL5mRL49SXMp+NJIo
0vKCuqB+sQKUWdtQLZ63jRUQrenMNqXbs4jujoibrJvV9oKjyX3DlheyEKqCfkB84wZZTObn3i2d
CHXQgk4hblqmFy5JmYc61Z9asFXGm1Pl1h2jvvdlGa7ylSgW7olMBee5M/dlQ08VjXt3CLjClh3U
uh179x3a4RAIjI4HX3/5Ae1qGvBno1VhkzO49oXt+30WFQQXwVQaWViK9iGlHE56G962Z5UZFkN0
BsMI3LAf3kVh3PXj6+TmTx7zUIIsH9xB9d/tgkOhDg0PlxAK0Ki+z6jdNkKEa4BQ4HDagXD6bZbd
VWl9sYS+XWzWfSiRV0JtZJE/BLlj3kVt69x06xYRWreo0Rwb8ewyi2kXzW19tfhT9AzN6ncrGJP0
pvcC7Hc6ejIa+WPx28TNZM9HDOnj9WiNCE0ICdz3Zv6HJwwbvleCY/BkV1wMwxR7e0aUmPYu7THf
IOMVUErKvEGldxZsSWpo/nI9A1l0pHW9ND0C+BTyp6Wn7FT3VXEL+6+uYmbq4pgv6LWCSYaPhO5k
n8iirF9+WHBXyTLoj2TCb+gLERS3s2NV56hJ5e3KyvStL3HMYND6Ilkg26F+979U5bCiH3KenGii
ZnBmI9jr3vZOBu5AND7mhC5TGctJNrV8nhoYBUtgdndal5wWeUUDF/l+cwQ8Knnmtn/m26SkqQml
RESfNUTsvnvCc+7Rg77hOFiuhO8RHBJiowRz+d4O2k3QSyGZz5nloJAemOB2616bRVL1xvq9ovcD
N2QzfJjzQdzkli4+Jo7+A4DmJ5TCaIbC/ittmFCT0QRoowYJY4+rdZWFnTwEbaT2hu+Lr5EW/ZYH
66P1zDTmI8qgj0WeeSWLGgE9M9nHXOCWo9OwdqQN+afRLC5pmL9DtUa7363vjSfQ1PeKLwTaP6UW
KAVLZT5PJSp24Cr1CSthc2jwob4KYGy7msuZDz2Xt8YEGogx55percMU3sy5Ge0NZAuIvZVxIHVn
k1DlGcqufr3JWqGOpKptoMfurowawfAyM3ccE5Mfu7AndmWBu9Tr4B2Itn4l52PLBNgCK4gRWz6L
ERNtE8HHcLtwPqe939VJqAnR0Bu1i41rdhrQKe5tJ3yoeiSVSovqOCDT3lN2rRvBojgOFglpAuPi
zoNsHY+TCPGDqDTRshPHSMF3MM+UeOqWMSluLgrLZHK9W6NHybn2+UvAhCewvSfZCuJnxifgsHFh
kvnTj/e1zvYzkUP3mZWSrR72W7qbm7NfF+Y+N5dn4Bne6zBjYFoAgEV1W37TkPuJ8IbmrJt8vG81
4IelNfg0PTYNoui/SlKvLmjljYmW36r3Xhc2cPay+16xDAgM13txRGvd+bAfWOA5M5WzyVqtyNrn
mnfxJsqgkBdgtmDoBFUyjExaORht+CYR4RdWDoNnTOffTHHNazSuB2dFhdDn9QTsS3xniOB6mygc
L2IEUk0XFWHnm1OikCZo2P6pDXlIva57DABnutXy1mbZlT84OdWAu9d+uCsa92yX4Vsxz68TARrK
My9T4FHczdnR9MllqqD4xuHiboE70XHJ4XmKNP9VIgxcVqw8oxwepmGlbgMK4xXR2YLYE6ZTmkxj
MR7XdXhkfruvvPoAensvm29zCBKdm/A1UJjxx6gPYYQfQ5te5XXHJx+2L2Mo/oSLfUhL5mgN31aS
7y5OV067VRu3zTgfnbA/E/a1z9tszzrpqTQKrgvL36H0B+phP2Zkpv8Qs+En7RzMZwxR3k1Hq468
AZiHNvL2oqcFyBM61XKDbqDLo2jKAoqkINe3RsYQLjf9uyAz3xGmYkYWtr1zXZtPi7OOP6moEVQz
RS0QaGqLUwwtCHdp0Z4rqz2KVZoxIWX39SzjYq6vgg70tolzEC9vllRkfsNXDBFWdIV13zVFeWqC
Dt7fmmMAni7GBDQ+i6x3axrbj95zLxkOk7icZvuYCuZGqkBJVVtO9ijEZH5Oi6oPa8W8gwHbjwN+
dY+jPI01GSiJpQaA82nAgL6Kln1UymYXrZ5zJ4R7ccLhAbOSiNuutD6xYnYHCqj8pyyKAIObWX41
q77AGuf8CvjqIL8zofa8RFZ3mKDY+U1+hN22Y56OWrZAhlFZ0y6ouvkiAvnbb6xu7ziqvzQrN6kD
bDoGGCD24GV/cqul3hpb3MOdd5ikE9wuLctZKCTSu/ZshKUIyH9wmAbJuiw24bvZi7bVdQGpbFcM
+oupX38WQ+0A6FzUsbCqW7svs8+oDAEl9ZPGLt0yItuxXvT2NW7Uz9A0NU4uhfwoXPeVU0yo2gKc
jlWd382Y2qZA+KhO2k2mrNyT9tpbjK7T07KoB3+bSQaNfCCt4ynP8reg7m99Bcg6zYovj2CEOMtA
fhgYiMv2zPWWx6RpFGd2qu5tOFIvcBwV1zmJQXGoex+tjemzEqtvUk3lFslmPbqjxfFXhs5rqmYz
EdivPhvp9O/KtRIH6NLqGEk5RgEdPPhGieqw834JsfEhKYzdyTnVHmb9QUUnxf1zrD2+1JjmWGyH
7bU7ZS+jlMZ5DpcHuy6+fDdt9qYIQSqM3efYQu0avB8Ccz77adK7boZHVVSb88+jjNYdR1Eawfsd
0GpZBcJV08eZJ2FEGJyTKSxFtqfOyTI+R2EwgSWrYnIB2tndeRbGvQf14LPHOskouSRV0MU+KQy+
f1nmYX5dx+pUTJ7zjDQECLSnwoPv9NeKXQA6ItnvZGeZO/JYv4HwXDFtF9eEgJQXd63nfRRU4LWa
IYTioJ4i0oz2XqqjuA26D7jf0SkcQ3Q9UVPT6kQ1N4nF2Rqt9w6bK4+8yv3odrfFwlKE13N2Cvlr
cFuYPcaoTkw32opVC2akNfNprajxm2RcXSId+XrGEXGf8LhNQbEs3BfIIvVLoC1N+YXfpQcg8Iof
qrkxAk8mivA0tpuif+hZCXdMFdd0T26Fhcq3pkOtLQ/8sbDz+2ITs0mrYE2bU3L0XjPetFzzP9Ei
ytPSA0LyzWK5EZ7/IoMGuSIsja+UzdVzBQNxL9ei+SEzyT+P7tIcghn+zGJDPxQOASCsEdkToR3l
zHGqA4CD6k3WZfTeoX/8tINwjOFD/JQQNa+qsCbBA3rswSg7ZiohYxN0bAZLCbM9EZg3HIOZWwer
WXc2Q9Ij03rzY4p1/QKqZRyl4c87b+lY4CHA7h75aMZE11FHHF6RA7Yg2GQ3DBKqZzMGTwSMkIHq
u/nDVLbOY+8EhUqUMYtTP860UoTA8cksagdGZbh3sDTe042HoONNZvdRHyCfy8m3WrARViHr0qUE
my7RkR8BiayJAU5q36xqOUA12PBLhvk8hlZxm9aodQUchtvSxvUlEIKHaanPZZqx3laY+97kyMfQ
z7iH4baaYLG8p6KWJOjwtGQjWVxhhiiDcp6jtZnd6Xpo7DtbsSmHPztjQ2UKzlu4YJLo5Dp9uYHs
0Bp7GKosMz8Fyiofh3x9c0zEdNMgL8Dsw73TVjyZWTAf2QhbvwnCSNkblFz/MBZw41VN2tDjz7p+
muv5q6uMdRcJmT0B6K6TbIFllEQZzF3DRnNjpMwQbHrrraeXR3aFYi8a3IXxqhnB4OAJLovbOold
Ze92gSM+LhDtJzQ4tyinwYp5hqPiti3t93So9QnU2MgJ1fG+ucW7KzpwFKn5lcIDIROmxsXeCjha
TNA/+65+ytPl3ZjUTZSmhHB6I8aU0cYD5C9no3HWxNTAxscB7R49VbaeFxEGp5F4ndeQPUMEEN4K
Cfc13PlKTnUWsf6ZQjZWWZFY2sqSeWFy0QO8OPmE/L46eONOmJUt3jFrBWwVhNfwawu8vu78CE/T
eQ1r807JDmqg7lIOZol0lHPaZCSZNcXe8Do0Ql1q32CzHXkK1+XiBdh9l7nJH9pWirO5omtwM8M5
5NEm1AGShWhh6n+Y0qAAtwD5u0Zun9KBpUVpTNd+6RhHnC7W3SKCS0gZKhsc7QhJ4nae0+euaf+0
lGkJ7oIG9CJy6VhFuXdUxMjsWaMYiHkGbJGmNq6UReP713Q69rUjd7aBTn/WABxRw9JIzux2WLMe
QXkUWND6cLrBjXxIFSpkJoOQ8HjNZkC9XQEEkpHDfpZ4oydMBdmNxqB8IMk0u1rtejp09CHvfqn3
dQ//F4+kuhbTQhnleves2y5VHtTPHRi+eO0KxicdiDHfqyk85wCnhQ+VctsQ3RLgaZ77fplvSeZa
7tgyFhFNqH20u559uZ0x/HTVaTDWfiGqNTgQ7MIHLMZP0wbauzCZywsq3AYYpCnfrRroWBf5fJtm
Vtcyt5hL6FT7x3Ikia6uaj923PxjxiwGKNqwioQg6WzCnOFZLiy1crUeWEZdQZhcD23F9qqRBPA6
FgJ2bcmHCO30gk0dj8EtCvO7KaISXkyUWbKnJGLUEknD5tyCkuYLCLy2pnfMt+Qp+IZpZL7RmJ2j
iSI88JJJLubBZP+bb8vmREfGUyMCaIGzzCAS80mEoG2a3I3idVV2PHGGv5I8ce5H99H0OiQUbvUn
zyn9GLo3v0QOFQVykEz81Rpj6cxfVlOmpHhUj02ajXvCb6ZXX9nVpbelWe/KWuMLRvcEBvS9Y54y
de6jAdwZ4VdrgL4zeCcRi/2RdntgOLLbAmR35uDb2Fb0deA7ir6+GwEpW9AQzECcHaV2a+jdhDku
hQjRCZTU5WlZMZ8s2fLmKi9PaC3+oIU/tCTWHosuqLEqsiGEQ3ecmEefirLB89s1xn7s8jNe9OF2
0ZCHnSHnUBkyEH1R8B74U/rbZsxJBuiLxXD7OfPrYrtCHet6Ekicww5tesmgQFdQwMulsA4ShkpL
AYxzfyzce5VG/GuFyKNLHAP4xo0eAOYxvS27b/pgA2FRAPHVRBqII2yxHHaLy2aAG9UCwT2oIMyN
+IHlfunQdX/5YVNpYmNwFCM8HED7kmoa+vzyNdgm0iOW1mIsNvCFZ9AWTFhWSRsiXtvvI/fSkhVW
nVMEcMM+DYvw3RoB97A4tNotsiQKE2mr4qsvmxloUUaEt2FhIpsHm6a+avpfC3CanbvOH1CqsUOZ
0Su+7sHCqQtQIzScRw+3MIVSfsOZwbANhPGNSW/y1AQSvO7smMfKqEy+rH10IThYPE1NlV8DPyUB
2yDCBVp4aiZjiovWAaZBp1OV1mEA7nMfWfR5oQlv0uz68tixPL6K4Al6yMOBVxbuw7Aa117gfnQ5
7sU0XM+rGUVx5wTHJfjdu3yXAMcwDFt+BkQ7rwMzZYIAiUYxDKpxZ2iCQ9erBh465pxoQReUrka0
Q23DVA0C0m4hK/Fo6umD4JKH3oIXsaIw22fLlD1GBisoVlyxZ3AOGc2KADEtqUaw+x9S1mQ2JRjH
61QeVw+UV9Cc2QrX57Gi1cPYjcAKWU5kOQsasro8zjaLjlow4i77NEy8UkIfZF1e5Q8WmovvEa/g
p94iyIuVCxANojdC3kFt7zd85eypX0PQ9enwIIYFxBoGxdLZqpXKvyw9idqoofgWT1u+eWXYRwd1
+pXOyhcanBceUnunLDiWjvmeExUZhNnzEIJdwdDc5KSjM/WCrYSRDRiR5BuUN1WNsVjwWKSeeg6X
Gc+Taf7OJrbu9Rgy756c8tS6Ba8qxaw5B92lnL0fd+U6lsbgYL3BxuMXPkNQkwl0uuKLiDeT9gCL
7oOxe7O3ZkAqqVMNSUs5EmvbaBI8++xsKss7DapNEIDNu9xd/d1QtI/K6K9SnbIsiuiaOe8xSoxi
3HczPnuxBuXRmFaYTrIN/XsQ6MNOpHhzfMip74zBqx1Gq+rgzoH/Bi3Y54wx0z9DhcMPKK7xZiqy
lXGyp9iVrKBoHis51G/s3ZpkpaKlR25u9Vz8WclUYGP3bXWQSx1CJ9/NuvxgNg/jqW1+hzzd3Oux
DeFzlf5VTdg1waRNK09pSyPdk4AN8qF9Rv8M4VlR+7RF+Jv7r4bJmu6Ete7rMG1uS8eD6Oo1816Z
Wj25fmXfbp9gT0zezlPYI5Ea/wdzZ7bjOJJt2X+575YgjaSRBPoW0CI1yyX5PLwQ7h4enOeZX99L
VRfdmd1dBdTbfUpUIjIiSi7S7Jy999oPEAhjvm1Ek0fBXnLMAioqKZf0BEbOlRMslzypim3Vti1B
ShWvl3DYE6QEhJen34NpP6sJdnFElFaku9CwblSZlPVe5mSbOm9eHOQh7IGBwZ05qTcG6VZrrsXV
Nstc8kDAlJATLXFxEO+sHCdQaBpwbhpn/GhHDQan0WkvI4BAGnJrG9O47B+KPKUbOgXzxu48WZsy
ik5ojdFDPSeNh5XJudek0Z/arrQBPsAnKEuqN0hn0iWvCdY9S5U9tdwU/bwOXOLxrtg7nZs8Eott
N3zv4CsDNJw8GkGAJJHc9HnvGT4J7fQYKoKI3Gy/OS3ltgZ97ckGNRNrE/sPtwy2XR0/Gg4Fc0YO
6lg16amKKFEbq4gLbda+hMtt/SZxb6j6R+rdXs8WDvs8rp6bCCKq1oLfKbnAWJ0vKeYsg2ZlWPKz
V8pYNxCKchwbZ0kD1Xdh9bjjbDg+YZ8BOrYZBrtKK/d8GYuzQz75GJB69yuNVFUePuAGk4ewdb05
vYlYbZtRyIh4zHxZmEc3w5c95InHlua1AySEmmVzfhndHXk481CretxV5ewL2i6fmAtbzxzlk+jo
lqgsYHyUKa2dGH2AXlqLhsoST/yMXBUtGd9VWBCGEbDczfs1M1IRccQEDEli+lY0iEIBI957r8qA
4K0otG3D0jdV4pfow5z/ayBhyx7LeAJN6U4WFPKxSAdlbZj1dAcOErLaTBy573+6EcB6WTCktxkz
QVm+OaSJOfZZxcrMaK/RAu6hAXNJP11HmGxo9QiLYJt7eIye6ohO9i451sDiYm7xZPbDJVFnDv1y
veDMJbJe+VE6nmooJqDweJ8GTZusujzcS6cPCATzLUs7BIkGjuUgjHbfDRnDWX+PFSk9xG15iof6
jC8/vovBPiKL5inNLwTbNySoUIJt83lALdmB2EwuQV0IjH8Ju1uRNqxFMSUfuomlsst8NMXze45m
EfKE7vmELs5o6p7tFKx2NSAcMndXwCJoTkOl2QHFN7c65c2/5qRjnqbK4yF1l4pL60BeMymxCuFq
7NZWAa5lNVKJtIoX+8NiI3iERsLGulOblkb3ia8Mm23Di2JuH07ZmI/0eYJIGKZqZ3alWo1hUUCS
75NzHesdN6Q29RahJezAocNrNctf0sHhrsr1a124kCFnzqvIAorixhlM+7LFL2sXZvdl6am5cxP1
Pt5edVTmhrhGexQLWImrvJAAPcqsWdu6DKldaA76UohtEbGhTJ13MA4U8E7Y8fpkWFO426/rm/kw
nYVxNy5wQJaIbGrzq5XUsRA876Z6m3TZg03aNB2ObNi8SM5PRs0jHt9MdIpsB94pfkDEKLh9ZneW
Q/N7pb9lFQtlp34UFmuUGE66IVoGNNa/HZhrOSabUbJereW2w46pBv2MdW3EJDeUnnTHVx7Xw6h1
j/Dmalg2UAxb8MTOsNbAueUUoyQ8R0WdrivZbadRuz3+qMFZRCSSKhzKQVklcI61FW/ppSd8mkt4
JIVHuOPLTnRP8qQkDupgSKa1udWfAdqudTam9Oitog6g8BgzV95iEMaecYD9gjhE+AYRoHOW+yiE
QbbVuWjSb2TqsAD6ju8MduTn0qY/uqe1YU0/pOaxKb2Sfne2aZpN56gL1pLo9S6xkIfYK/EZatrz
MoptVE4FWXiqW3Xczn5lOtFF9jXxWxebJ+ab2Zddr+1IzyW7lL3inT7KD9smuSlKPd3zbJjpiS6a
+mrgZvC6OAn2Xd1z8y85zbS2/aIfR2x5NV6WIpa+QBXl3DafyWPy8oqj7I3TApdAUS4ekwyIuiZ9
L4m78lBGuH21avHtVvtxCnO+xDaG6Xhqe6bHePbh1YXsrG2F67HnAc4Q9limM3NtwZ2tGoLTiTDe
DUaUkh5rF7KHZL6gbfMgjLECLmIjrJPLTXktrmFn7AI4HESP+Dic+Bdzy7qpyy0l0O4ujNuDXtk1
5IaJusK4HxbmTjKPOOlTfNpRS/+MvjdiiTQ9+smtIXdxKhcrIrNjk17L+PZeTH7m2t0Q+fRGvJG8
auPFWzTjzgan6QRciNo2esSGYm1lLYuFO/Vwp5S5sTRW+6V8sHWh37dMdUw3zkOaOW/CJBNAGsFm
r8sNQ0evSShFZeRxr/wkxKViUHg39JZJuwsaZ0t4BMuN2cYSlDCvLs5lVPnet7F8Vb9JXcCF7PLJ
2Q2D1nrwQs19mmheb0Ws/idAkDcF+Bkp/IgLclhLnWMtATWyjjInPLkie3THID+SmKg9SznMSn3G
bBbEglsMyFcjO4aM+GUSeFqirmqKL3ZMQ6KIXyoxbKc23DqNusam/SDjHGQCWz+PsvXYD3X3kfwL
elU3qLWeuDkSW7QcC7PG6KTx81pNVqT9tnUnGVY6oYdXvQTCpumRAcXIcJLnQucs21KbFCYblOje
PecOa++lNs4aSh9bavuePIQXzO0mr3o2MjqnHs7UcD0m1lKuuYK6NHTTG+Ac7bqMqF+XbkSamifS
x0O/qCe3oTQcV2i0b4ZQe57iKUl85nwLDBalyownlEw84FbnSddUtbGoE7hPnTw8cJPEe+YatyWW
xntp0PXwJ7ID/HrEPwD6+SWm1T1DaeYPtUk+/bbZBDfoeOXMhUiYw9lqiYG1mn6xS0BN2HBA5gvN
J1HymFbq9oo1Oq81Zbi3aTeil9021nbsziySklfMcZGfqe4V/xgjAeCLfdnk4T2ll7yVkB0Su1jj
7vrRyHgsI2BmUzjz2sBYDOrVMFbKHSqwwInwZFtp21y3nuYyumq8hqZuvE/4wnkEHA9VVp61SV7s
tMT6DeCytfVybzq6SwyPLh/NQB4ARobIVcbu8zxB1rMncW7SWwSAjLEPX79FQW8e8JmhZy7riX07
1QfhxgyXC+323qJu2vCwQCTTjQddzGv2ojZmm+wpLfAraFb5WAq4B5Fmu2tbWMFKGjRjrhjZG85w
NmZ53Ypz1XbRVkRuLwimTJEflfNXLqaEpMVMWsLqMZFHrNaSrj4N+N39oqb1KmwxIY7AEx64T6qj
3Ws9p08hTkSjLRLaf3+khnBTmbXclAU4q96dHouZ6a3TWDU70wQISANfEw04+ySr+kqEiOCD6fJI
jVie9F7DgxzTHbMYtFXE04F7SX2sqpKIP2mrE58I1RNGlr+H9ALB46qcUxFz46ur8a1SBlw0kzIl
EdCuqoUjPsGlWbbIdc45buufATVhRdp+XA9THF/F0GIE5/28RoBft27wnRcAS5Yo9At8WzsxuOOG
AnZuria3MhY00GK18QPltd1h6uT4tIXhC2Nw/QJ2wW5cFMv5W/SsZyELDky3/LRHcCH5rp1x0zWe
ktX01HJrOfBnPccG4B/YHQAcZ6fkOC3q4LoIs1lbCe+HRkLgV/aQPnHTnzzgWeaNa+Vemyhu7uEj
ZRzsXIWYPkwybtp4tDQaRSg/DxdP9Vm8dp2ABnYFy7Ry+2yb6H2P9p8n90ZG/osgL2kMbJqkzjC4
KMRzG1yeqqnrC+cZdnAK3zC3IHGNSeA8WYO8co1cHL/oBlBkE93rFakrxJG3OWqmbk2flch88lGa
L1CF0SsQQX3B394fiK6BeWuK3yBko/qjgl4jPBKh1m851BYvNbxcq8idMfFV1COSCoom/QgAp+R+
VLV3TRcN8aaDH0DREF9SkoilEV5TEnv3lSRetHJMxWUM5C8AkLCOwJlQ8Yad1pAxF5l4yTXn9orG
vAqduzIqe8Pz3Pi9u3xX8Cu31hIRPs1tTBsmbvoHM0ranUWMsV+cqyyyTWQzr8T94t73Sm99nK/a
0WwQyNaw5QaDvNGou0yTGEKgujeE2qZjYMinipKNSzRyHcKYfxpNt7rXB9lvkqz/JMcE04EJJzGR
iXNH1gdgcmI3BejUeSm564WszSKT35mYOUXii36nd5TTALCmvke/QniYd0NZ0mZhX2jp8wObiCx3
2sDt18aNiNMNR42fTpzUxGrC14SGETpsW59NwClQ7n4iZahJ9nrcDddVMgEu0gcQbgTBynaF7So8
1CEdr/YE1IWcjTguYMj9pIvMLbcgZ62y0TiGCSHfAAvvTTQaPmQ7b6qS0krAKvZGj4C/qJArkIsI
eBim0HqoIxTQVRkF+mdrJz3GhiqAbZMI+46cU/LZpfRIRXPnggI2aFxtDNptOi63EZ6RJgB/XnVv
XMDuDaemKwcjiLMTYQvLksllBSaMuBVDw4+6BanZcD+UhkkGzZovkdR+ShoPkfn2WjKctKTc8CU9
1xV1elRmxSDO4F0/BoX15SB2cacwmRsb1zA3kRMIGKCielYScZhQ4HJOk7j1ZJ3SJ9ADJ0pyWFTD
xKGNy15Jvydj5nxmjY0yYHQ0ODVLYXw2osnfp46bXRTGwF0bAhkMedneGAtrLWUxXWmPu/Rj048+
bDXrpEZWz2DbnfA9Wm7fUhBaLykU01U6AaNmY0JVGIhuP+BMtMfukkeafM7TjIt9FOP2qfvoaEeu
ibqgBxtDCPnOmvVBQww62MA72YsN4lfeWwLrc1y6z3nF1yQt5/wgKyfZTVbhekFuLG8R3bt4jvTs
BwtFeWfmc/IU45dFlxBiX8iaz6PSP4Grf1cut18nLpKLDIr3PuvNO8aV+VWTkkYY0TfksaIWXJdC
3WdG2PdVXV80rTKv2OvlUaokObV8uBfeyogXDTBTVpzTKm2KcW8nafrVNUTIKcXBqagn/AzY8hlz
058KyEjnXMxAYOEzziq8QdJ1d1d2rvaaTPZXEsHChlOl47LD1j3xgZ8Ta6a/YjLv8y5Mxx3MSuMj
LACa2UDDH3leKUOF7OHGSttjjz6l+fi7sECNdRSzzdoQYCsZknkHd6cBpWVOP2OBBYzYaMGSaYYD
3je+1c+/BKicdRtXJZjSCk9/2sWcWHp2bw8zu0XN0Tf0JrhsrOtZPVKaAD4J14FH1rP1pZ2+4tW0
PjozTWe/agHo0Mr4y+YFV68WHMiM0jxeLPlZUrWLXm1jm9x/NXJx1Y3kqyT/umpGE0551P60GbiX
HQuofFOK3n5kApNrXYXDhhyujqpefSQDGuMooEdGjkOxaT4/gzNdcDvGtwJEay8ht57ZB5lHg8kH
bwHP/pws73aEIxP12G3ZtBSPdDdwFLSZmnftqD7Ilbqn/CZzOFNRPOeZgmJMEAmiAT9UOjWKlW2H
vL/j4adUBjQ3mb+wOmUJvBSa3LDZw4tFQpCFMyQ4vzDEshlbDdt9HmX2jmon1i+T0RZr7GL5DsSs
haKuo07Zi/3O7IFk3Km9DlahqyVGqyqggE3RIH3U09rc2p1IoVu5A9sPPdjPuZlQvdYPm9pNjhY5
m7MsO4f9RJXTomlv28KxoVCy1rFSEOwqiZxrsHRkyTpbbHkiFiSoJXiSGVcOAqrdwYnwVXJdyHbL
4iQe2WmugFy4PjEBYoWU7Hptturc+/T5VGOYWltNxCkY6rS8qnBrSBc778iWkfe2Fn6wM+FipBrt
MUe990I4yt4th/aQte7BNUA3wkG9K+3oO16q3kONBEswcvnTAUKsE+wSFXQc5h3DbtTOiYHd0uWx
eMOUflu3hqiYObgPU3xydb9vLfdGwTT79bRY+qZs5yelO/PLFIkLFmwW0rb73MeSsHupvQ/uwrHF
3cCLtZt7uHb3qijORWY+uq7eYmhqC58TsPUGUkDs1q1nxSViW9A4uR7q8kFyTN+PbUpkVJjBWo+0
ZGcIVWorBy+UnxJ/eZZFdY/dwPISNojYZm8S7Mw2Vktm6NpGekZCWI91Zj7Vf/9yFIX1YGDbAKsO
H7GMuKlBZEUbTdg0rjrHEd4Cq8fXGs0TGuNr3Cjf7aGJ6brW7TFxxjvu2rx21OK8EMUyOcuIGQal
qHf1GDukZmlXwd9OkEQIa2c1iXWKOr6TTki+AMttBwnOboziGwMNRYyp+R7mLSNTmd6BhdXOfS90
L6rNgM9Fztucs2cDFx2MlcWNBl8IY3nX877BgzsZdeqHtMLxLWXGVa22ihK9uo6yNi6tg9XeoBWE
+aqb+hd84zShDNV04urVoKiJ72UgrFfUOl2NUQUgteauMyc5e6XbXYvOiq0Lmeyk2mT+B0Tm3yqH
+pfkoD/3Ov3tn5KI/hvWP+kmQbp/HuSj1bzsovLPQb6//xf/SPJJKsgtS5HkU5heXFf+705zys41
XTehLNAzAkvxT0k+IZ0/LBaVsGs4KsAJ6X/qNDe0P5TtAAayELkdnRLbv/2Pv7BxKM36y//+a72Y
utF9/g9nyOFybkjL5C9pGMgH8v+uf2rt2anBNAbk6JhIlAoPKSwHFqyjeNMZaKh4RTTXZLfuyv6g
GfVHnQ/7QA27+naoW8TNtlY6bBh5CKiYvGyUyroViuQjYztCY5WeGuk8QOVgv212Z2zoT7MddxfR
4mfvDHgw9i+nvrF4YVQ2Y7YJ8u7axNl+6JKP0HQXSizksF/oANkXHeZWx+Axx+1JXFX5kY1mEQcw
CihDuhhFdKw7A8iGWZ7oAt8q0V5Vao+eikjJMBDvC8xRtawitjUjeGgoNeTefyxj+QCiu04TB/Nh
PG5qMfyuJzVuMsJhebh8JWl2obY5X4kqyw4onr5lJx9Kub2vjGYDQPa3QHJlw9dTo5hfWWVjgNW4
hlvuNzEj0wo5jF5ArQ0ficY7GmcuLF0LjG41hhL/GH/LAas5Wk5YiaeCvmVsyEx49cgWHgxKqmKP
6wJJwqWoPKte3vik/S6bzC0yjZ8ZNxbDFB0JzrQroyemGI/35iAvhulQI8m2hQsffgZazsvifblp
uoycBzcNba/TijvWQQWRsiYmSUkroHMzY4oxQKS28/sogTWSZlvk2wmg0b0ZZHdGk5+FS8arwT9t
i+qx6RPa/IjkC4acjepuuBxhf4spuApbHSbbody75hc7mYGm1c31VmRm7g+uAV1uyVtx5GFY9TpF
eotCnMizc0ZIU4dmfi0a41HgnntMuTSucJkQYB7dYkv34Isww6OZlo91s9DSVwO/YRPpWaRGfoug
ktwyFFlO2F1ea8zBS+zg2yqMiLtbHBt7ST9rnyQop1OEhJrVMTM7AlZiTYT2QnPLEXxtmuA3b9Y7
tIDXIi2wCJZwJSeLVoa4Jv1oRhsJMGHjzsxPIrAAG7OxI1e0o0M+963OPkR5Y626ub/lTthtVoO2
KUNd3BfL8MDgumzqzAbegzVjU9bRW4rJh8gXpbtpzK2Z1Pkp7Zs3wrbPmsDZnUXzJqo1emVjOZ1N
iL/ZYvVwuhPK3HUcC02NamBUL0Bx0bVleR6r0WY5F3CtxpFrJP2dXhKlguyUrGNDQ1+5y0ykSlCa
4x6HM5Gyvo5XcMi5deFWOoqkzr22VfOWWDhbTx2ioj1lxGud7HvEpov9AzdO1lFNQ3TuCA6BW0A4
+PAFdiRVeb4jEj+h4j9Lpm+3SE9D10MaCixtU7Vs64Ci2LjZhZjwu8byqxiwaFGahbkn436BL5Y/
CwtzzCIu7TGqhhkL3wvVXKwGeECi7h7Y/cZ1P9iYTnwVku9wPA294fr0q14jzloCWPBgTbMpTv3A
rRBRyA4fqQrB1Jrq9UkJkv8EHrCPL2O7kfhM9nqU7ZtgGD4yVY2bmS7Tt9FtHpkGTqxcAk5f1BpY
J9a56lzL45Auvss+RFwveuWPuZHsAWvR9VGQdnPHAdQCrt7CLi/GMt1BXgLm60zgUKz+xJeAI98V
R4w+R3yrvxZ7eEqS8SWj/qbJo9LPJ/ETq8Fdx7eONy0MLjcbqLnIgznMRzaV3F6tuedVjJY7OwZ/
SCl2bZdqEB1IKrYlFaUS5c4WVCzEOCzyctyVYgD725+TMuU9wHpo14+4nNhiHHvLObRYQ9BjCrUD
NH7q8TzUiiSjrAftBxs5nmSHd1clneQrRY87aAVlsPo0+c7S4N7OimJLLVUHDKZAl2gn8KyAduah
eLTs7D1tHsrZ2BUjprYwQbbKzGzdUfFD8C+bn4IMrenma+31oXuZlWyJT8gDPHV89cWBIBl3JdhZ
FBxYE6qlZY4brq5g+4mPeZSv0kEA9hndW6V3qYou+A1DbmQdVsU+IiWUddNGox5lzD8lJj+60vqE
gMF8BgKiPoe++hWHXbttWOF7ZmftGrifUYnY07HTDrA6Ve1IbkYdRnZ4tk5YLo5fFitW62jIDzid
9jHDU24B+hlugiDcJdZ23Q9B0AmvbXZUgRPspSrqFVvAhO7eyktR+woUEVX3dA46z1CzV2NPS306
/tKAFi+MBymxebrmorsq1H6a9paqZJNMGsHaRA02mdLK8o1iI7eKIxhNJKlSfIXBxi0qOOAtS7t6
ohkwilzqvxt2RV0/PpiD9j7F+BJtdllu2XymGvyQQufhx76N+iuy9M51OX2GZXyP7YBOJTzoOnRh
2h41CjNWkxM0G5QCa0OMal4XsFF2shDL27Qsr/T1URcwAjVjqclZJeSEemnRt22V7OWLKTlkKMlf
ccIca9JOzy+kwoPNO6M08CkKqTBpfGnQc/eUa6e7VuuY4/USxBST+os1z+X7beF4r6VUvswDIQbr
YoWb2bJqzLKUDQzaI66y1xwT3VOicdtewJhWFuWwQc2uqCPGAB4X/DTo9I1IibLD+McxAffTbW3g
yxXd7qFGNNyso03rlodJA+VU1D9jqwyaFBzYrwIL/jBbn0nibgcYpfucXsvHOuxeJYsB4dgPAd1u
HWG6V5O6NXw54s6gTXGFuoStht54jxTlwJKA4zKD07I3qMyaBXgzqmvptrh0RXKIXG3fTxJLDkOF
RMi1inoXB3RL0/lnV/CvberMEhJdZBvMzHpB5joFgVrRjc0O2mWqa93NHDDEZQNB3tapdnOqP+Uu
tLM+Z8NfU85YBdN46Qy5jbrbQ8l2tWKpn861p9WK2RN74lyetF6sJxxGBVp35QYXxH+kMuNjLnUU
34nDtdmPsbaJTfO5zSaPYqXeY3Pou2TsVIJbwyWx0LuIK5F+1iHkFgFh8Ywoimo8AEE/ss220AYK
jAGoRauZKL+VhjvswHinvzNZseNUfqX6nLGXCxM9wNCpYXKH2zzod0FcHTB5bDMEQe5dm16pg+g6
Z6u7DT/ygu1pPIe2H5jLA5TDM6jEcsWmCHvFtDyXutL4myBxwWPod3U/vjg6i0KTzA8nu7r0aKWV
pX2FtjpSzAMWa15+D8CT4vpWTQG1IChostPDm0J74ZvNnQ/w1LKIlUKQHTGWZbm5g3B8F/fNV9M+
CG18rEzm4zbwK+MRPft9qMLXotS3VedsBrfZLyI75aHY27V2riHYToK2qRKyoT+NE65HLd5MbW1A
Mpp/l6nzZqGD3l4QqarfEb1/TC04WiMdG9TeYYvajrLfYqLcRnRoWnG1Ta3x10CYOlYj6Y7hHZA3
ZJltWYfc5uksz90To7m7jB/DLE9teNLMh1At9+XkHonJ32SYjRMlLECbkyKKWAcD6G6dt1k5NcfG
5HIzh/1dn8afOIzYiabU+bkOl6aq+EJ/3qmW8o30roNR4GnAFnzXwQJWFfw2s6Z+F+kttNM55mmm
QqNb3Lu6Li+l0dwPglbCJES65hekztWa8vXSPBgtvZJaTgxEZhfs4LgXa3lHvMXv4G35o+BEqcnC
m7x19i7wSm5quKRfKd+7M7mpWq1+tKX9EpvRc1XQdL6EMDNnAhz0drOA7a+lTk9SaCGPlnSldVG/
m7E12vP3YEQ+plsAWe3sF6Ramsnd94X70iluL3XXH2bEo0kazbY3xP1g6M919WZPtP+pm9NzxCvf
pQ8S4t4KzTxYMY2gCUfjVxEt7tqp0o3MTPOOinLaXKt8t0zynCTadUSaxGB3s3worKj9mGIy+mEF
SFi4n19i3K2MFBHLR0p+bl/LwWXJTc6J80xDLsyoOQWmYthqS0PhLRHK6lyZw0NB6Q34oEs96V4o
+2PKQRiJG45p4Bwg8bqn+gnHjHofhoubVWccLneGcGCbBn7aGG83gJPOa4+DA0t3L6vnniQPCA1L
/CwGYBLrqqm1gmJ2e+3dzzPsgaW/K+veuG/K5Bdw8rtSI5umo2NY5oya1Xkjf7soEGdrjMEfdAcs
t+s5rn67enk/YVAvqzd6PH4io93lSXEMY206g0ZYRWNwqWi/WbWDceDkZlxDyelivOQQYNIp2MR6
v9cx98aL+lXAI/WittwjBAF2y2wJAbu9y0ghxXJZI2btYGp8pI54bVDjbv4OLBTQwZxGxngarM8s
H/diDM8WKgLbX142Rg9KNW5H3Uui1PGCYqRCsQlZUQ4Osmf1W2CCqySmwLDQHlLhOLieeJsjaXe+
3Y3GXh8dYKc2JIDMeQoqDPd5yo1r6E+hziK5rl+GBSF9MorxUOWEMoLZemF0n70+HRbfYMncVSaa
tFFuMRV9RpILpQETfDvoxfMAb2Elg3ovwGBj9mnehqB+x74G/bIVIZHsCbQe0NCcqRXFZNIOQUmg
YulxrMaO+kKBfdDa4rblcq4Ndj5+NxaXc9lepNbfkXo7p2QLMPrpCitozRPVLtaaBhC07ZZldFqH
70LxGhCtme9sJxq3iWkRw6VCYksiLNvEA/rXSJAfYXLCsa2S4kD3RsJHHgevuBmeIkJsDCsjagQS
2SXlTQw+j1uybEiPyxhB8SbEaxLjltODYjPM/pgFXOEF+FP6GbxphHJOjDRS7jqI8c5n1og3pv4x
bP2aNcuN/kj03g6Qe7MwrTbNiC/Xhm6w1+uEJLlTC38a5m5DYaTrqTK2H+PBjLBOM2Iv036WOUMk
DdngdaZrF6QQytQQnEDNUQtpVEIezZ6AfkWzCO0jOHfwJel7mSZcl+D5fgTOhF9LgMOxp+9bs7Kj
JRv6Y1d0EL+VRNhGwaTUyoOyCENz1hpz/oHp3tmBkSBkirkVJ4scPvJ4fAmSYi9M/HBOaBwW+KLe
wrY004wTMnC0mwp55H6Ko413lU9GF2zwzSlgnpTFGw5XxVOvV1ACZlh43P1EtOdoIf3G+KGTJ68t
yX24dDZ2ocefejbp6ykdsq3LcL0NO5YwU9SPHsBD+gRGfA7YaZaB/sobAF/j6ePtERyTMCDAgf8D
d6jyELiJiNjypQ+ir95NfR1hGl/A2eSb6NzW9HzV8AI8xQ7ZX71K1wGAeIrYNpCG0GwWfQ1rY9UE
M0zsjmMZadKkLCYlC4iFsKB7TPbhDgLoEYRCiMyIcqqLySee17DfLY66bpyx6XtsfQ/NGP+YbroG
GXtwY0LZ+CnN+itTwfPUOlekV8+U1oYowsHGMTP02Gd6E7/h0H4E0Ddb8pbges91Fh2z+T20e4qc
5nvDDC/TnL6JoiJ9Xu8sLm0KWEN+A5Q42j0IU8+APdk2IvILMZ7MMrkaecoqqb+G5KzLNgA0q44J
RLqFIdQfWu6K0tFNPs4Rhn5ShYxd+rXns/b6wESmTLTbNYlUxXC7HY+ap6t5TWaG/gCmDL4ii6Ba
Dj4DyLKvNqdVKdHPNZiLzFF3mFI/nY5OSsP81Y3VqqdSXEj2HXFebPBCrxrMz1nCnY8wNzZoB/IW
Q945HjnmJQGbjRnwsBe2P0PYYBPI88cWDRPVqU7qe9CxAK96SBWkQqm5BmoRP7n1fFwIIVJ9RPMc
i9eVmeg77GZHB4M4Jd/s94dwu8TxJm6MGGEc+oSeboIqPWhmcE/n8s8y54/6BLGEMsbfbhw8OFH8
6RbNW2ofUgNTH31gG40jHeLng2xm857XhXaxcvy+vY4aqBu/UpsaxCIvHhHf1MtY1NmtIPX2fkms
kkHk0IQ7a3qdxxOdQLNf9+WEF310iIz1Wk7VYZ4G921VynWLAW0NHgRRQ9HcR1EnNc9yTrk3DBVN
gXRfal5ENpkkR8HzuVQdxk4k+L9vu/+txf8/Xef/Zen/L+WB/4aL/3+59v+f2ddnEX/+ee3Pr/+v
pb/+h2bZkPZ0zTRstvxQ4f9RLKC7gPhMXcHekq5r6Aqe/H/h+0z5h1Ka6yCem/zTsOHat2XfRf/5
H4b7hwLp5dBVgIwA1/7f2vn/lY8PIdDht6dqxjWlKZW8KRJ/RtbXLPQgdCJPQrQb7klyMQzYQyLW
UNCIof5JC/n/EP+l8f/8ca5mu5apUYrOR2HIG0H/T4R8xpHEDGdegVRsmm8LaPAvDV8GGHQw2HeU
z1CwPRKDIeCby/GrNXISXFkoh/OczMrY5QXUGaJ4VkJz7cyyD/5976LhVQkQJRMgbtSpWPMCyl2O
oFvpmMuLatwPvQYpPHZxOawmBJq3NAhLMrOgVSkPUzyepMFZteL0SPIX3GR5tdKbxLhPVVNeyeoN
/F0oaVpBOsQraFIqOPjCdOK3JqjCPTAeQkc2CFMUWpOIADvTqgJl3RT8Gxzm8sM1hM3CabajF4p0
FN2AegYMYCrwtK4s3BYaXviOnb2ubN5SIOeHMyDg8pUEbH4sx4pdeoGxeYep1aScSi9gFHYIt8xA
NNOIleDFeR1w+oVrvZv14SexU0ZxHPXdR0ht3yX6X+ydyZKkSLql36X3lIACCizbZjOfp/Bhg7jH
wDwpoCg8/f3I7JbKzKrOK9Xru6hclGSGebiB6j+c8504XdzDbJT/FoJFnOHylUJuolJMcmstdfcN
djq0Iqtf6f1LkcwPQTHUmC1mQeh32FrdO1uq+DWLTIkyD4l7wHDBpsBP7AUihGtP04dnZz078tQJ
mWqA6trM3JVfFZgbVO0eaEUO+B4pK1L+UG8ReTkPk5VULhYBn0icYHHGh3xyoWF000gEODlInKFD
wBDqOBmJob6eVHjFU9uyKub6fw7h77Y8L3jBqIFpAzeS9cJHaqRH9N4gvE+LVQIrlSUnFFIWaNwO
tZq7e7BE+itX08jMN1qGEe8U/QljhZ6hN/Eu4sUDy83AZDF01h3t0JFhx2xvm2lCatwCjeLvD/Fq
Iz2p73S8IuR7XSmkgmnj73yLYNcaIBv0mMFTP8F9N6t2ZJgI1QMdex2qdIoYcofyR5JbubOZy5nM
moQJ985OlVpWcycUZsdW/T4FqDW+eZMP94LQO6wH7pANgjVMMH0kqWFMHhvpgmFsFCGJSRes8x2S
CeGJeVNUgZPtvfIsvRKsFI+J9RXmEm6usKweC5MMAD3Du2CebKdxPuyKkNJpY1BnMfYB7vLkknBA
2IAiS/kAW4iBrCg8YbZxUDMC6rvJfIUAP5jNdwWOm9YXaDLRuVKxd1SdlGSUALSATkG9akdy+hWR
uFttprDkbebHePZdM3UnmaUrGpeNKPRCa25TYEdzRDh0RaLkAd3Y+NwPClssR5dCLueGxQ3hZ7iS
C/rM28rUVrpPF7/7QazGuGyZzo+IIruomfeKVeNnCxs14w9NmmCf4nL7mLBWAwsYW1KRYhg07OCX
xP05uX413OQtQLmDafFGHJfUyfxLZC10DCXrE/BnNfWhn3XD9xL1x7AddWW7N8NMZjJIBNwOxGMR
CrJxe6wTG0+W8mORlhp2bq7E3SCDmflbbz+3JXl1KB4x8dqq1Pd+VPoOubAICXd+4TKy+p+L+nfS
LlfO/3s//7+Xn+rrM8s//5QCxH/y+13t2/9A82QDUfE8Mly8fy7oPQ8I7xoN5Lnrm2+7/wwB8px/
hJEno4hnVgaRDOHf/t+7OvyHixBHIngPXCrP0PtP9vN/jpcJMPXZjnRch2I7coQt/pJls6R2ms9j
au+hn3NMd7H1bo1e9d8EAK31yB80AL99jBfws0p4wiJ0A/fPdzR4bMdZAp6+Iq6D8wyWEuMww3nJ
YvR1pkqfsO2ctBLVvu3r+V7mCaN64ic+pSlBKyw6yXdDDQ5M+0WwWUqiGmCGdJc/fHH/pphYqcL/
lCr89mPiIebncH3wtpAf//xjZpzNPbsZsfddrz+aJq3h4y1RcjUO5icKVUamoWbViNzivyljnPU3
8C8fTWEWuR6UF9/9y0dDKZ0y8h8EaK+ifJyI0nsdIGKxNB0Vgw3u+aUZ4s8qTsDApvbw2uRp/wpZ
pr+ppNpzkM/nv/9l/JtHw6dUXFUb0VoVrojmP9RVOdetY4815G4l8IAai46sDKrq+3/+MWtxgoRL
kL/8Gwn6Dx+DwZG+tx8M2qpKnXPKj63vT+rw//EpvC9ATylyfy8i//ApjWwJ8iYQkYiOBT4m6t4D
IsSvv/+Qf/OUk8qFo1nyCHE/8z7/8TcWd8UUQhye9ygm3RuKcCDzukaX1rPLcJeY4S0B1Pu//9C/
kLJdnxMkpJwX0oYASc/85w8Vbg8qR8diT0TER1s02f1C8cK0pk4+BMb1TUBA5qGv3JYYg8b/9vef
/i8PyfrpnCC0Fbh/vFXJ9Me/MluFlME/DDupSy6YJriX4BQe//5DuF75Y/70doCkC/jjifZyAhnZ
fzk/ktYh5x3OMo4ca95Nfjrd5Eh2L8XiUh/NCb6vOJoLCqFa3agJUeAiKo8zZsFzgPgmEmb4aG1q
hW0Hsd4wOSY/MyGf8FTG/nSF1ba8jGFG2lNWaNR5/I3YclL/ULLkD7WzUgLjZZTvMZ434qEgThwJ
9fZheOQa5bsPP25TMAKWG5xQ4wvBQ9lescy66ilxHpDdTQxblXyH0Lwc2daReOGV+a+AKItnGvP5
oMeJKTdf87wtOJT3eScBYcPZuilVLrfuPK9UZ/y5blf+hD7e/qRjuXFLE6MsCQE5THbc7AW5qpQr
Dftf1+QB4YBldHE7WYJcBLj9Y/HK8VLxX1/SeMqB0HkuqDcrIxiqRWWNrRqzPEbz1nkfZT6xM61f
dTAwa8o6rHit8YLrvGKflEqK2zFge2rhIGMllYj4kPR9yzK+Hg5ROetX6QbkL+ZVtLOW0ru1k7An
IrLXC+rV2WJB1BOGoCsPc3nrZcuesrl5nCuh36A8hXtUMi2YgsD3d5k0J1a6CboiyK7l3HZnQbLB
CddFfg48MlZU41vdxeUr3MrMvKUNAmtUU97RZw1/ajnEUR3bzllhazvnOV3dMoX6PHojWBh+0Md2
tj9AtC73RL8dFrw00B2s4R56CbrQaaDrscFGNl4BFXqaCLmMn+bRekxGSojOtg9wf+cN05TDkvXI
Pnzn09M5K1TAeKzimZfAXhPQsIsR3JaHjAQaLqZa/zTMhbnkuRXvra7pP4JxOJGZ5Gzx5O0VxHTs
QNep63pbtBKvpQNbp7CvUB58jfC8oBn491nRP+YSdRFLovZMIF10L1VYnRvLE2cilK7SpriFnuPj
onP1ybPFB4r9Jm++D2553VvjN2iwDPvn4UKe9ZvfuvocJvzGsJ+hCK98vRNJhDIA0BVGR4EZjoge
klbJr125xuRimd7sHaiS/kLbNBgipTzx1PhedCKKFNnPCES18BZoF6m1iefhIZyZfXu1h4cgde/s
cCWLTALgPF4/rHf5BjYx2Fmh8v6WUDWx6Z3o3IeZuwNAtjyyXhPntNPxfayKLxPK/pixqAUFnOpV
GY5BzMPFxqCbBRk4vIxu8Ua3wDpZ+KPbant9QqNyNcMb6Dzz3rNaR85cv9WopFka+nf5Uj9A7wpf
gB/re1Ha0TvcpeWc2+Ud442IEDGE6dlEqLVj0VYJpX/4EN/m1c8n/PZeJubI3vBHPLKc6i2ldinB
6mgz0BaS7PJCUP11gxH9Ki74pUXOh86YZwdi/iyhiu6sOvzCVntyeofWmWolIlguE8PTsFqyvWZR
e1oBXi3Pg6Lqz8fSDYDyEBFdRPiimqV9tTLzg+VNsgdkt+yIFzl5CNtve3S8VuqS11uvOeAu3f/d
TNGHShDBDk8VbiybR2sYVjsLhOp4dnjzMPFOUfpBMt5d06jXNWsRoGQ5HGiFeUHXQ3BG6e8DMsHd
lB/nDNdWF6wwEXZHrbT2npkfnKVkOYFoo7HQBmhowLxO5b2xmciKnPh6XZGgmkYc4D2CeTVcpi7/
go95GYPRvfjJCEqkmj91Z6Hn81C8tHzFTTu+Kkyem6Kf38coQBNdYd+ciKuylQ+Q0K29L1mhlSTG
zDlndvpSA2GfJ5gkf39XUSv+y10VRdT5FBtUAFCJ/nJXlX1pFx17kj2QngXX3zi19cE22osPPsKr
n+FCAg+7IzXLkaQyCJ7gjqpuYZErSPI1A5wRXGk8CzHqwmRXVk3zNTGS+oxLauiD09v1ftLD9DxO
Tf8r8brG2zoW055TX3arT7MnoghJYPplZQu5P30xE6fg10lcEQztr7nnQ/Xpeo6FLr+W/vd6puTO
2hL49FRZjtktAezaAODK5+i1LLaXBtrwwclhOOxgVLL5QsDQWwedmeqLR46ukwXive0nyHSA+Sb+
YU6t7B6lKmb3KgH1r2N7zDdOJfp1WK3RN8zL6sMLQ9NXO2uMi1vodeGjDUghP4Y9WrmzIeL2E5QW
8+lglMvnNJJrxqXjZ8sDGU0sSOxOtaijQvqrXeRNXQD2nqguJhXF1G/6qkYuOYVx8x2NVtceIm0J
azepmsOMnXB1F3q5yWG+Vv6LjxRUkfc8FPehB/XnqHyN37uzQoZpSSmia3bSIMakwKGLzthz0CnG
tj/tOrKomZ9Etn505aoEyUoFUmcSkHA39F3ojyrmHxXpDKq6yUTOCtaSCnbHIFwDxt8OpggL2wRU
siLmKj+0LeHDm6nOi1dD1Hu6w4TPcskamnCGD50vK2StEvkhHOtqvooCE1UH5Q/xKZCJD4CB6APE
aqNn2AgjEl0dRyM8i0iUoNoQfrfzluFM8sMPao0NmkA6OBd6bnA3WT5LpL7keCdTpAYPY9ZQrRK8
9SZJKw+0VEfCAswflp9c2xpnCTrOSp74n/5YzTYkfVSm6/bjOhy+JXegKq4DX4VQVyriHB3iDnQN
ArDGiBOfeSyago0QkMMdgrvsnGto5N8I57bwttGRvlrIDQm8TO3I32dB5l1y2XlqZ8AGg2vCHEN1
FFHI7PHyjy+qtjmSmyA2TxNxjQUYlcS0mw4TzLAJeA4eOpHaQCQLJoTrun8Yti12HHf1cTj7Fhxh
wi8wsSFdu1KtoRjJzBiNqTEb5KBQT+xRh7fUQVYrncW88UcmJBimefF9pFn7BD5vPsUaoMcjz9xO
W5mPOEMEZrUe5/pudrsawTBpiMRCAbftOJS84D3pBCkaOo+gV+kpAJPPwcncOR8Wdk+VlsNVNk64
skv0D98JIuVws+I16qF304lNjU9YB8+r9h+zBHcOwKSGAirTNkEQHOEBVDuiK14tKyzjLT4VPP9L
s+jrMJnyT6tHEbQzUnCFeYxsGV7jCP/mQO3GX9w6Ru9Lp0MfAPkSw5KVNEhBHX8o7gJnFAxdLcEu
m9L6ui4C5maRM8XNtpsGyE1VGEFPtFxWp0Rfzf6hnQY2m2XShx+TW3c86iIgnHYICn3X4KxTG3z6
hX/sh4q4Ly8eQY5B34/eFjvISzLcFzFe8nQkBm4EKZJuInaQYlOMtjlTmISfvqfMy6waIQ+OUwJ3
IDDQHSCGh4g4ZtR4B91UbXGEaLZwgI3ATTF6LQjWeuht8JWJJ7OY514ZZK1Yguz4dWGoLS8RT0e2
d/jCWGBiTSgvxssj1pomQZ5bZIaDaOY5nE4E60TMaxc1DXsUPPMd23wiP9KZ9VoXDHGJIl4DntY1
7ww6/ABfGwZGpDkWtFPSOPnyfnC+MnBuW9rG3eB0drjpo8x7cn2dpPs5cPv7BeVpduc4vtOhopLx
rcafGKLLKDIbZFnOHtKuqT9JdCWift8y2XiO/Mx7xpcLblw3XZjt0tAgj/CDbrqT3ay+oinJVsWU
RE8N2nV5oMvI3+IkhRrdaIjbHnGBJLsvTvIleUTO1ZLTPHRh3uFnmibGJl7Uq3rbr4cV6RYhWlJH
KPUtaHDs8TJ6IG8NvZa66uwJ8q9doi9KmxbjYYqZnaF9K/pdJEkmYvRuokeoKa67bWUnuI4iCbm0
bLuHMLLS762HMQBdGKKQOKz7z9iz7HNVhIyNK8KO2O/WPumEir/Zu2VSqI/BkHfdzunL9mUGC5Xu
tbNGGtTwGNIzWN8goioaff/o9EP8XXTG+2mz2iWFxUXBPISN9TPyLRSmhcB3szNssY8hQnuzq1vX
/7CrpBn2mFMSUg3sFCWa3ekGf2nIhqSGeYZY0lFMbcekfRyngdUUkgXcBhKrjMfkn5UDqQTI3TbB
7HA1BTXhBXzTVI7lTLjCZmL2q4+eSYoX4nywn6WZYWcUMBwj7Y2OFa9Mxz3gN2gaIRBgvIEbD5NZ
OyNcpYTyZcGTrstPN+nNIZlshPWCMFK4iLAo0W1l6cvgI32nCyrKYc8ZAktIDK5TndPegtFUjG2I
gHgJB7KHW8ZHGyYry57cvelZZJAQQCstzePEOcaDtfYykQifBbn1j4McXbPLw6q6n4Zoot7gYoX2
GViIpSdJ20RUaVl+pTrKMgCUdj7uFMl53wAVhXdunnskUJJGSKNKqgF8LHzfQDCwsz6wHwiQ7xgz
EPDjN6QhlUmM0qIw6fzVagGMqAqW4nXQA72MCQZudMvSgHItreEeE1bZpc+yKj2q/Tx9typH4kbJ
LX1VBSgNryY77G4LhhWPCkFKjhk7RurRcJ7BjidjN165EH4LfKRsum0SxYRuZGxqADcnPRE2AUOw
AzLHAbuFhS8BQ2eMdk20+acxU48jBwBx+EpjlPU75DXL8kLyn6jRsvTJJZic+F3DPC626xoT+CAX
JFQSBmhPLWYSxG3gueRrGI5eOPHt1Mu0BxGDOGNhk7bF2AyrdHBE/OYPLG+vKpdg0XL0CyReFBBr
AgJ7i53oBs0jTRF3hGFBXlXWzN27G+gMGW8+z9FNO/UoSkPLIXu4sgTiAxkH4qbHbuRjMCSRh2O/
h2/i8n8cl4rZzoHYx+5JoaChL8im9CdKJS7CqcLXhtef9QoiHYXrNLbQupCS5JU/IdFzgAgUVGwV
RYkUOamG9s4bCpKMCpa68e7v63fnX0dN7M0DTwqWhaGIfhtl/2FSKGRk2Hcm2K89v34WXoIBJfMz
UFtB05bYZjwHGnBFLJk3t6iFSDcZ4efAKK41r0sZ9eGZ4BtzVq3VWhtfEDW+opfJzswt4/zI4Z38
/jP/j0Lif9E7/c3i5VeSIpHohz9vXvhvft+8BB6bFyghPFrcf8L1GF7+rpKQ9j9wX/sME1mfhJgS
eQj+j0rCDf+BK1Lav1sm/6CRwGjpBoHgoSBrm1P9P9NIOL7758GtpEf0g3Vy6yDkEIw1/zItxtdv
9+zo8SnXZL9bbvhzThMQkAsCqizFy+9Pl24AdRs3OrlYOn0vvNw+hNrf2mIWe0ep5qaRBiBUH0s4
kLUzMpJLxiLYNrHt4XwPVXQ/+mOc7HtN5bzBD0GvTbZQr/dd6vmdzZ/SCYraTW6KRnz3+9ZTP8DR
mKvFjL312gL/Tl6J1K3e9BDom8ELvoKRfXpZV5QWTtQTeBCmaykrbcRQI8yQjlw47aEm3NlWEj6k
3mxJh5mKXbc3E8OpmEO+UdwXYLuH6wg08HLKvGqN7it3btiOlzb0iXBVpXPRKQJhnz3wFgTkPQG8
+GbinpzurIPewF/dAr+dxuPHrGSzG6mWEFmYTGFTqq57v6ZwXBIn2JWmyXe1UPLITLjAm13v0969
coCAHGH8dD3L+AHOX2THI2zSqHaqvY795lu/wIqZxa7H2rh1EhxrG1oe2DaLW107Ep4cWT20Qww5
e0w28q7CE47y2/mFHOImr/rpKSGYDAF0n9y2WOnJ77YD9U0pb+N7Q37T80eS5LSQTEWoT8HnzhBY
7kQhcEZ5ZVr97GftQVPvCnxhSqQRcpN0SMWukhnk4rT3vzFcwmwwJZy7q2Ji2RqQY7UQU3hoRh9m
5Tw76dMYrfkT6fSNw5fOVDLyOTgtgs3R9lpwBSa7X4PAGHLtEt1CGCGVY3Y6sStFIHaJopbW/WdB
2C4JZL0NFActpoiK/pCWozrCREKdV3KWk7zl3NXBOPp7GDwTwx8eGX2ZBj+9T8IktZmfu9N0btNy
flldPXKHcPq294NTPOQXQsWJjwmSxEN/uJRtvE/VgkygGJmxA1MGiJOH002MY0sNBSUDVtypfSgr
AE2XlnV6tcMsxgoJIEEATyN3Q8zrFoVwiYDNy0t/08klharaB9kRQTHeltV0IzTkgbQnwRaXktwt
PiNNH/ew8eyFGAK/YjzA7G0Hp+TZiZfgLh/Jut1waDQ/DM5AIt1DAW6y9u7c0OB1QB5Ep3A1LYTX
DC2+mtpjo6Cy+QMu8K/azY6t01ySdrimw4NsEH3JwjWHog3gq6voGpNX/M1j6ooHJW8PNnyqCXUI
dx/vUdZm+ESaeDg22ljVT8HLdOCZns1lhI5jcHwUF+mj3k2Lun4ilwMsRmBG5M+mpWMBNhAXl0Z3
5j6wXWRIVq7Dmbq31mvwJGnVJvHsnVnIi7CEXT3WKgieGJ5eQ6rCQBS3FjM5pa9i2serxq1p4JqO
1KlNOsoKoqekUcBu4gWEg7GzOCxNw84kG/SqIqZzOkKoV592Zw3e0aVdAOvRG1cATDLkHoqxeLAp
hWAf96q9SZoG3mBvz/W9GJmyb1rTUpwMLOK+dOIAnAjUxOaipMHwtxLIm5d4Ic6wKvm1IPPinJuH
XVWRNrVMhXyw5gRoWWeVvyLSf97KaBzjo86gPI3p6AD/V6syOYwLs7fqNHuMjf6MTBFdOi/gTS8Z
/nRFWmBDdt1n0JjTJQAadrR74R5JDyISAXsWMMZubbosENjnpWwi+9RF7Qd2s/4SzZ24ClqsndhG
koF5lIHDPbSreMxTnYs/fE3y87sBqbaAhs8vXEHFmqZPpMpi6/bkXq9qmjHOyj0jagWP2zT6ymoV
G2OrcFASTTJRy8YvneXSjAHxiCze3/JgVf6rqD+CTlc7Wj1FrkT4jLVxTAl3fLYwCjLc75NqG8VG
vSSeuCtbJq2WJoGCFq/epCY8BpH7xvmqLj3ytevIn7aerQvCM+b2Jqikjw2nBD+A4aG1DY2PGhLQ
4lWXDwdl5EzclC92g8SOmi6BuoIKdueTjargBJQwPmZPUPxXa1Dxqc0y+VBYVXtx+6x+1xglXhak
eeGmE+Id3PbDOuhHGdzSuqj2haecSYoOHpgKrWMU70GSb47jm5F1HJECMxc/RIDsCXsqDXuOIh0X
eC6pMZlgcFBUjM+3olIjY7HOrU956D1yRYXkOJU4/ZhU3nR2Wz0TbEPCtxdWe9eyu+vWgTm6XUqM
Cku8eknzUSyfTat2mgiIpndGRjAMcyAVcOVmVX+ZiOFirE96vXRIf1cF8oJWKSIvMJwjO2utRTKf
W+BlRlBH4n66boR7YxtCZ1YZHjgbr+aEzWQcv3Y1C/Z14UZaey0Z+lj1EcM2Q0zyM05lltHkW5hL
PkhUqJ8HRHBn1F713YJz29oCEMXtLFWmMjKpIuJnpaqf4wA2GIqDhVMTM3XfPFgMvTa57TIxY27Y
U5JzjX3OQ1sRxQORWB29LJifRJ7RoGW5ZPwpxPgdeRjwQ6+LyCsAJGd/w62RXdxa1nsy4Kk0tON2
l2HIbplPcrEsPZEwQU9Sc4AZ2GQAmtwpvTZhYCG8TlHN58DHMbUF/fBeBDA7t7aHNvUArq+6l5ih
1hR0u7wZiorRme30xhAR315HndDvQQJ0/tr04tZRRX7fl80xH2s8LGX9vSb4NdOarWRM+1FQ2HfD
85IVttmwCL+WYNIZdVEiFnvXzKQEQ8s+FnmQX0TvRs/uaFD8hYxDuR3L+pBzVdYtTsHrLnUfCbWm
X+QxARxMJEF0D4fLSkhep1wlTGgqvxJnwCgRyhX6DISHaTYI05ilSIsCEEdixd+DTbMqdhJlT3sc
flMwDqGNJ4nInTp5ToY5+FnWmshQe4DN4g4B8T606+OOb5CB4TLPbfPNa4M2oSXsG3WIiKT5FNlk
37SjCQA5U5TGtylmULXNoLGPuMAGEBjhyP6HcV0UgyVSmbVs7DGzpoNRsse841nTr9wJsKBbyvqW
VQ3TMB4l9J/gmCQFCl3vAA/vQBqZvNOClzZ0GdEyQbmemwYLeN4Oh6zRbHOQVLbs/chF4gUdt07U
xZC1Vio0Txo+KcBRZd5iuPFkTs/I8OjVsDLEYyNtQxyyZ9/3TnxdN4C1QOHHVzGbZbbV4epSwHBj
jhCO4IUy1cYKZBhrYufKZtzThgXNBtDDcpZhk12mPBUWzNruNIxiwl3FK+9k5c8y87ALocu/zWwV
3MQz+eMMkRNmDFglxK3NVfrlB47au+C4buyK4Rich10eoCzGwkQwVijn5II87AoRsTjyLVO0u5V3
M7t+egTD+URwWpbsNHq+S2Y1BhesehHJOtRZivQ7gMiTTVrKzjZ9/w2yLoBXQlzdL/Da04mQNOcX
X2x7SspcHqPJeqDlwK6Z1VkdUoPHr0MbQCQhg+ij6+CwHhBzZJdEkz/0wskdjpchjcVl9klwaKop
fEm5p0kmtlsMsHmRTF/asrMXCHzVx7RgL5GNOxxjXfrJJmldotYbt/xMXWQXgw21YyN6p/2+gFID
qu/4v3yXKmZf5x329RFXCb49zKCL8efyenQDTsqcxn/ZkWNRvi1GVz9Ycur5opfcK481kY3ROaTL
JsTCcrpdu4wQP5dmLJ4ZEeuIcX3FvxeCjyYydnLQiAalkclNKBbfv0l9jzEDKAKsMkwl6j2QEKxc
5HF4GHhU0uGNmjmu8F+tPMUpRNPKv6fdJxOwQjt7KspzMkm7gcQm9uM4hOYSLu6GyGA4TIi9GAPh
ft7W8Bg17NEp34nQyK+cVIh72BoJNvCJim/aJ7xj9bwqwdXyFOnebz9UGaxM+06dOQmmqiaNpx0/
0VY4zmnMELxf90u2uqch0OKJZreh/KJ7KG2WvkWAoW5TdhFl6Bx7/vNADDWF5chkat92ED5Jeppv
qg7f7DP3SMUw3k4UCoSmfIKJUTaXAaS+PkhhHGSsI4GiZh+rof/RsYYZD9PU3kUTygk3rV5sNfdv
EhJzubX6NHz1heZkz1WJ0za3e3XXBk1xFceZ/0Uql0tKTzQwXvPKetinzAexCVds1A9VT0FVKXWv
QIaQNZNGn1lJe4TPK3gwS+dsKOQGBjMJR8pOj37CmLYuyIIiYlpQd0bsPjCsYIfatE2bWeAWYBgC
GOa7P9oToNyYWxWYD/jI5NQs2P22xB3L4NARADExeiOfObEmHC8s6B35YXTfeYg0urLdsZj0vsUW
S65NV6LF3c+C3dvGl5JEpKLhbiOdOxuvs5QFuNRDIplkZ+ubWlXVLxX7kuFRlDsvVDCYUHtPr2VS
UpxqrevbmJHxlwHVQBQhTK9XaU0lfZZO6wivc9HcF1Hrl0eg4zVVnNscSFdzNdmifpPf+HRqEdK5
3OHi71tpv0FOSFkrOa11U2YJqslGx7cKWhgm5TRrXuoknbPDnAz6oYyd4UtJsghbIr9+9XWnD4Uz
y00QpSya285QzZaqde9Ke9LtwThdk/DPgEhICVwauDHipkeiEcEKOf7ibtrFt/Uubuwh3A9ZXOc3
YzRnhO1xS+ebDjOrwR0c0h3F01IjuQp90ZFvOLAhH4l3eTVtqx7h4CGxhv6QnVzNIfAG19mOLygy
IKbk7LCaXSp6Bqu5L24Ca/EevUJfysQujgzlaFBkZ8S9jloG0HOMWemY+lQFUNDLwtzUEZwHZ4EQ
yBqgzl7zZTDVJdIZGI3esW2K3nRedkVJbPs1mkKaoEkZF5L7tBLsdovK0qeQ7Id5Zzoh6fi8DLRA
50wSt622A3NictIONymbkeaeqJso31lRLtRlpNv6ntRqag5FascH6lyusn5qh/fIiwuMCSPJHiYP
xR5jC2WNKnPrYU7LnluK0A9uwvlRKpqrMST1OfbcglIo824FgMczkxhIQiXeytCq8bVasn4L2ERc
U4KE54h+5Uk5bvpRJuD/hrAMHTZDa8Bb6cZ5xQOnUbqFzaCzbUgQN66CSlzrdp3vktC8l6LuL3Y0
L3cAfGj8TXY7pPa6qFV85RwHO1OTMX0buLk3nIRjOfNT2ZberxQ5mntVdLqsgACtUS5ZF6QMqrQG
x8Rjrna1TGR9Hw7ZwtIPfinrB1aCpo6+YNhXNoq2qCs+9FS116rjvbsLWouAaaiVUTSy5RpPXhzu
bZfYXqZYT3nbPNkhX23k/0BfYL9inuaddLpn0yBTsC11X/v8UXb5gG7/VEFsouHLZwgLHdN0Su0N
CZc3xFqcfDB/GDCSb0PBvVf7l05XXxStn9CKHqK+fVTC+Ylu5lqMdsDGvdpjFP4USCB2XjCck3h5
JMAh2gx9+dlViHvQIL9aLm+jJtREhc1D6FTvvvKeMtu6m0rPv26SOGWk5lLNpM1dZfo7JjdXU8RD
ppzlk9XGe5MCU8Z24B+gqxL4xlG9SSv/e0cSz4/SIR8uGyJEBir5NKLYE1dybUUk/JYRc5QyIMFy
xQcNbDwYGqHdCi2C6Qpa6g2bMShVJChVbfZsr+aTZqHq5GnHwMBTAqL4Mc2bb6qnI/JR/80S51Bv
x+SyIEZTZ6ulzznZud1g/g+bcvJfwMEsZGW0M76qTSCVl7yg3uzw2KprLujbeAbfFrmQEqLF3Pld
dML88MhQ56Zx6vNUS/YYzD1Kn3PLoacgi5HErOLUdnZ/nizt7mIEEYFtrqy+vnWp4eMix90tNSkc
WHVlSYaPtKqbus2BFMFFsnVJXSKH99K4C/q9bDwg3InOguSYTWTaOwouYgGYCaQ+FvlqDOXeHoaX
iAQl5UTNXesm1w2dFMx8sm+DyHQv3QC0ugTP4szgU5FUoK6cpu7KKrrlllXSLbUWHJUgOIUkY278
gf2+jH8mtbeChJZPVzrvjixS1LzFucms7LpvknttGoxK4lYPs/folizobH9GhGKP0aXmaT73jVWf
vJq7CXiUvQtGwN30Pe2V6DsyBfP5LUotZCX8gNz+GwpXgEYgaYgcw/FMXpgpy1vl+OYs0/yxgay/
o4mMefi6jJBWv3f37vqdx/SoC8a1eN2vCY9GcM74bTbl0pIZhNNUEPeOILO+c6z8aalKxkio7u6i
Qs9fvReeZRJ/GyHhZaD+iHINjm4Bc9lw7bkN5Hqqd5uUxdOs8+xY1bR8LRLd3PEcguxxqM6V725t
2Aw8Z3q5841oT1MAv7ap0Mh1E48Tp/e2FFX/xMeAmFt4PdaG+hQo57P7L/bOY8tyHEnT7zJ79qEW
i9lcQbr20GrDE5Jaaz79fPDKmXLSOZftUduuVVZGnsAFCBgMZr9IyX6hJaEAUmKhkGPXg/KHUlNr
Vu9zdegebSpqh65MPtRm9s6I/a8dOpcnhxucbIPCgOz/TinDJI58b2ZkplB7WtYVMjY40beNXec3
OCXkZCNpWDupMHc+I40fYBauGV+CSR5dKiCPbWh/0/zqtlCMb4XVD2dImY7Ii5AOc2A+2bn2tZGy
+hhE84NtoTw1Kc1dYCbtNyfswTnr0XWV6jdyW9kHIAWt85gFFmIzvLcxUIsqPUSNqwuAl1Lnp1Ca
G2aQ/9RQX05/1Y4yQDtKnLuoVOb3TYFAalWG6ts6tLUP5hzPdz2EsSPQqs8Oz6xzaOBwAkxHwnlV
AtM6NNNwNaT4AI8GXz9HrgFjhdpyO7Wd3jVwAm+0ErwTAGrJRRhPOchqbYFXpaCRdxTWS9Ii5P64
aXo6grGvgF6imX20Iaxbw5BcB0iMujjL5oe2pPgWRzdFUnyws/kt3JIPAXn+AZqpddvX2XQFgQVP
4/IR7o1HNnefa/RBUXP36YqjsmA4k+kitQttSrM+KInAwjmhkGZQFdAHrX1lZ+WZiuQtB9c8YC3O
Zpyrz7U8x9dJEyEr1wb0IPHgPvWllZ2VaL7SYHEBv0DdKIkeu1j+OFXmldygcq1TPrvFJbj6Lc1k
AUGHWFjL4+lk1/pdlDfGYQrHaww5rgdrvGmyzH8flIi8gWEH22sl2nVg8oIEgdZ8KaFCXlVz/KBq
1lUcZgl4b+AkCHlgRdO35ldA2T91AIUCsA7gy24/zsoQfqAVJJ/CCqUWdDpuxnisPUitH2oLwciw
Vm+Q7UINvK+ok2f5ZzWyEIHsih+BFPyAfnMafF70mTG2Jycd/iQckiKhxXbAti1DV4lIO/Nq5DmJ
QzNuQTF/a6L2HCUY4W4aIP8wDJZ+4FX8Kx6kb9bUolaheEDLmutIT3/xwOGCl2QBJbtq7fALUl74
uUwfcdcRmmPdRxPY4dcAwpzL3uPH2zDMoS8k97ZsgYodjF9Im3vhaH3zo/xzx4LaisJvrpByGKcS
F1Xzekz8+96ff6tyjzxCNWT2aYg0ZCzVsYOy3kfg9zqkm2WK5robVUnhVuMUocuWF8GJ7hrAesLU
J03uvsRgIc52ZX+y/BhBo+CPNqPoIQTMKrV9IC9Ee1pD7D/oNHAuWNDlYH2P/J3vbbPlwePz6eBe
fkeIyEEMsLLeIADjAty87zUb6DU6rur3NIZpcfBlDQmYwG57/HargKSv76P8kHVIbek179toNIFc
REnhiHqb9TiELV8TT3a2KAKODhp157GVPCowFlxmwMCpXZj3Dl/5lyH7zXdFMr7Ic4Mk16FGnJVT
jW3Wo0EfSqLhaPgIZWcydjFykmtXc+/76rWv1+ga4XxLCcNP/PoTrq7UMIAqFlOAZBOAFQAqtjV/
tDUZnS24KEgVDYGEiNoRAKGDjKeW9sVjT1UhYI2NOcPnRS+KNn7Xz9VonDul7mKXl9QQvgNQgKmm
0dKumYzevqkJHX8SSvj3cjfEv1WzDQRRWYnGj0aS9jIRwcqvkHhtbpJ6RiKkgy9iQOGcbCt8DCsd
hiV2urKbUdsKDiHGaR5VM9QjgFqfygCVcj+yv01Zdo96PKVWhMbNEitbp1TxWAXyfcAv0qWVb7to
i1F176umfJBs4z7zc+lnxF57ozQTxSzqOzUkZRdnIErNIFeLWb7JsYBzlUD6Rbh5yGdMKa3WODU2
IBlK0uhhFOiZYeCpU0BAvyPuW/WXoaIDwdHRT2NRFXiZgw+auuGxglWP41xQ4G7t2F6pZSX5Nzus
LV3VUQODlkltQMvJ/oSmPEvxHY6Oimry2NSKgZxCC9wEe60nAfi5IRvIGy3pOdwquHgrmd2Osqhw
a+n9L+WMhH4soV5xoO+MxF+Yox/WmekRjOz/oBiAWl3/+t//y4AV9f+HMRy7HwuVB/Ff/wvAIIFg
gJtpmqAE/kUQVf8vgkGy9f9yDEVVoXzJlgl6AHjBPxAGVfsv1TIBqsCo499bKjy1f8ijyEPYvEZV
QeiDLqZrf88dRR2avwlxZ11RHJVh1mzJomrpRLZt7zWNPbm1wKpHoTrvAHKW8g7/GgV2G9QvDa4q
neMlw6yUCqsczLT3pLIHryvksFTMBU8RmfQOlW5vKFb7OZkNVtYgW0rWe6aOoHKrOACwfETy60Te
IZousR9Pk4K3ZxtwBanrwzVdjmTDENdTuiJeUUjcNYUh3WX9QAc1abFr6h2n9LJGblwUPpqvyMBq
7KD/t8M2iK4gX57x6f4Z3xLsTjAwmrb+dEAxfSeVhs4zOxU5TQoTQKO14vWfDl0ONjC0IoF0Eavw
DErV4BCi+EnVUZCRMIaJK2rLGbISNTqGx9dPCIog+9AwVEs2VjxmhdtdmikBeA0EecqSvnX2Q0fb
IXdsLJtpamxGUzMdQ9VXezHXAO3YFi13Vfadx1RvrfcqGNXXz8WE3I3uBW1vmZi9XLbOGkA/lnrr
lXar307F6L/FIGPcGWWJc3vaAnwXyHPEB9ngIC9HKVoAAwWYeA810Pq6UnQk3wAYX6NBat0EDkYV
+I45pyyCQfLqbwUQggINUQ2MobIaWcbFJ2vztvW6DgVhqYAMjpvL9OrDTF9QJXRq0HEs2LHL+Vmz
DGUxU0svR4QF3YQKP7IRv2fIR/Xj5Qm9jBtI7xMMdb4ZJ3pNoqejjDohgASvUjLrBmy6dZ0BvH2o
LCO/fv1QwDGgwNq6brDZl7Oid4bdND6+bHHZOuVNjaGsRN1DmmlRXR7q5WZHrfzZUCtqr0YyjNhN
ylBtownio3E7BtnehPZGWfHe+17qqPZKhQdiAMguL/37CArA1eW5bH0hCyiqqVo4JFj6KhJFWTxl
FaL3njUH05URqsPBgehyiuUs2gl6mxP691DrSIRiS+s3iNN7PtX8ayvgnWJG6u//aD7rSxH8dFUW
s1N4ZZzZHvg36xAOkgJKrW93Yp74zP+mXos4wTawHQPaPMfV0UUceRbE4cwiTifb9Mcbg5dYmxlX
EV1lN7Kzn0TDdOdLbS6fQ73RhEGPFoK2HC4MsDhobavwUosGjtSGvC0lK3n1RxKSHGidk0DpIgYt
R6l6yaItY+Ue9J9P3UhFBYrF4L7yI2FrS/KGXimsfIWrejkITxsV5yQ59VpEI46mEra/NMxvUXyj
uLTzlV4s29NYDnYdFmojkA+XY3Fb+QWZYuqVvTl+9wOfchg0j2JnmCf082I3MI4q64jqGaqJWc3q
uBaGQo0GRS9EMJPwQTKd6C6fmuE8JEZ2N9d596ggBX5Pwb66q9JEfUwA6H7uEC2O4SjCL4CrNN9b
He7VMLRi7Ji75n2uTeXt5bV/sWvF72TRuWg0oBJrwQBf7cBstygNg4d1vtWtb1B9RV5UCnTrhK/b
q/MPjbEAE7MosqEY6wBDD6fPm8BKPVoenyZ50E4Ym/+D80bDLvhd/HeyNgaxLQtNGKQQdF1ZJQag
+X0DrGrqYU6NH0gGgdw3+m5n6Z6uq9U3FlcmgmpoocArXgX+FNVbWerg1KPoFX7nGaxNJ1OidnjI
dRsPLDAa/bEcMDzK52z8otGo9ejHyB+I5OqBplz5nl4KDJ2psu4gGGDYCytNqAH3zXxWTLVwh7JA
xhhSbPn28nd/eQ5UFXippaCuQeq5zmpUbZoLLpHEQ9LfpmiC/3gtTfbOyX6RO0G3RokB6BmsTvEy
W542TLPkzq66xPMh6H+dSjyvi2ECj9eb0W3d1/WdP0y/rTls31+e3lNutPw2jGyQSvNtkGVZ54Y4
U+YSJaXYs8IwpmpHU+29MaPyC8hsQoCqsyye6qY2voXllhSnqpxAMGEFGsx3pWBLHfy2cb4lVNwR
+DLRS0+MBvuJnTjx8vjxtiC/0x1WSYDmlwvUwY8YRlpB3mymqF2n8TcjzLVDjuIkvF/0qi8vy9b3
oAcnk+zJvDYE0P/5HUXJvHBEuRZEo68ds5xinSGeHkeT/rNnJqX+rUsSZKUnM/94eeitDcdGIBUT
tAGi/HLoEIGCqREo8tE3i3MbtkAKdPbf5VGejvbqu/PssLBqIsDz5F7F3TwqkOCkEexVcU2fLJUV
oHp9Nr5rmlG/ofiu3QiM98c5xF+mmAP9ekAcQYdd2I7XqoIOw+UftDFtDToqlFuEeygCrO62CKtR
pQDz7DWUCdn8tJHon+1to61RNHIBg1oF1/VaSbKep3GGdBV5iMWN50ClTq/E0MhfP5fno6w+ISBr
epJcF94AXuiMMBpk7jyRdmLG1tHl5NrUSlQAA2Tvy53iF3pld5MeelMP8TyXtfcYb9bQAVACwd4W
jhz6KtUEpqykbPoBd3v89wq1CF1E9eTryDGLnH901F8qh+pPOVqRfXr9Shi2Tl2JAIpn0+qCaWk4
KoB0Q7CQw3SVzfb8Rk+1+Hx5FDHR9V4GJMFW1nmrsxzLhaATCo8imiMvwvXgxnAqzHicLjyTufc7
n1Yci/VQ0AqRYRDCp+yk5VAhOloq2uyhR3XlD3o4j02E3nHaWh/L0neBWPy4PDVF7PvlgJpKSQXw
J+Rw3bbEjn6WLYe20s8QA0NPaqvEyzqcHujrBu0JYYYGmu48UJcHjjrSGj8gBIG2dqGFb/iUxufL
P+XlKrOnOTiqbGo6KejqFlfUAoXDJArJCNP5g2nH6JjaQuo3MrOdYPAy2i+HWgUnmLltiApS6CFL
nLuWkyVXhtJN3hg5wZ3ZVfp/OJ64Dp4tMo3gXq58xoMOkLgmMo2/ogQbbF2Gq4kwrrZzdF9U69DZ
U0VuZ9pY7WlUTRfjxeQ6rSMXoadhSHxVJbKeIn4fYUIC5lO5l/IaGzKrzE++39pfU/qZfy5/y61t
xRLrEBJJMkGUrfexlkhCKC30EAmo3gqdpE9WLjxhkay/HfjK5wopSw8noeTGCSr/TNvaEQ6vry0/
sBIaXoNI/Ir61FqsLRwLywlQn/TGQaGOx7FDnbJDOsgEinJ5zlv7l/oXD1BRKKXgtlx0CBe1EhRB
6NXgGoHVYhCQTBOy3Wo57USJrf2rGZTFVY3zQgFxOVRbxKPdpVbgVTCvbrQQQGYmVGPiKUL+IUzj
nf308lqj5MojCqkZQhM3wnK8pK8lp6IP4yVzWNzmda/8wV4v36lKvYx9jELOQJWZzjfI9+Uo1QiU
ukHtzJMBWX0uU2yvukBD7dSiHwqVxYZoEO+VfDenxg4lOTA0uhCrUBBQayTVzAPUiOTyPVDc4W2o
aMNOANhIh5AllGWuYjQ1TXrPy7khYTGOqQTsHl2x7G0yJ9PPgLBwM8Wa/6CiA3ODjkN4BohRUh+L
8yMaUPCcNBsEcIGBzuWtupL8EVuUn0Nap3I+KaWu88+wmgkgccZSa8CCEjK4T3ilSNygYKscIOLv
ZDs3ajBLWvW7iKECy9mkXyV+HN+XkI2vgbECM7r8q7Y+halh76liGSTqrcs1ymQFR2apCry6dLTf
spz3R8CrNEcvD6OIx87qytMISabhkAxSHFiNMw3a1JhtGHgd++FHoZbOOa3r8tbJZuO27MzienLq
8NoJGumMkUT5dh4ncOp/8yuEtii8Wpo069I8ewGzFwu3CQ1f6S/oOevHGAbjqQU3ibNfa1MCRkIH
caH4YY5w5sgiOuOXf8TGilNyQEKdwgi04/XDubcIWaVuS24mW8lbyZaNM3qQ9c7m34hWNPAIrQIT
ZPMcWH5XcexCMx8kN5jbT/j0NvdRmLl5ZYzEL2fnwbk1GMfLJDKKK9BZnWfw+dqc9K2wtU86lyep
hX19arwx0ty+Jeon716/hER9HQ163ZAtbXXVhk6MP2HaMTmMsE+DkgxHKbKS+78Yhc6poYs1pEyw
XMIuH0iculpyrQ5Vi9KMyQV9fAQvj7IRgHWY4vQe+J9Bw3U5Ck2OEG8ZRulrI34TTLDEnEacfQy8
ITtXw21dNNHO1MRPX53GxaCryBikeD20M68XZIP0ewTF29uqnTCHawr9hwU29qpBJN3zS99yL093
Y/cb3J1k2oZNlX3d7UtyiXpOFOD3EoT4xSKwCXiknL3Lo2ykBWxG0EzMki/45AbwLPeLElMZoKc7
rpKBQhjrOTgahYBURkp8vDzUxoS4x6jgwuC1RGxffr/ex792AMXnoilof7SHar6tS1wAL4/ypKO7
+mKklQa5ungL8Y/LYdS2kOsZy1UXSbARvT10cOGz4DiOE7v8U1OG3J1jOfplxjacvBHpn5+F3ikP
6gzU3TITVEO5c980nSYJSDs4R/jWEr5w/Vzeh7khKFjdcLfzqzcCgw2nAw0D5+klt1ocmUeNb/nI
gQDAKR/0dGh8b1a02gbvm3VZdoUpYwi31ZKnd2juAiBx5DD6mUgF1mKJ4b8JJwuOSquA/z2kfPLy
YOqwiI/TEHTBm8u/dmPTiNRZVKMo99PLWC5xlTidKSmd7Uo9esZO6UQHIf13tmq0tv6jodZtR3lw
YGe1iPvbTTQ+ck001yo4+vtqnP2db7Azq3UTA/yu71sFDn2YeDUfYJTKVxa9E2iG3fA3s9JopsoG
eAW0SpYL2BUJBAa6w24n13V30krByEu02nnn25l5vryEG+fOJmnlSxGeyatWWwtdJaMfp9p2Ad1h
hhXa89lBt3JnStujWGTh4s6msL6cUsrwU1yzJ6jcQ8jMG+lQhnm2E0O2siMm8+9hVlsPbsssj2ll
u1pfVZ9wQqXtDQvpDuGFP3EbKN8138ALsQaCJsObRwnCbJLXR2YbTxa6XQROx1nnJdhCKL4uN2z/
OpOAjmsTEqwoMP7FZ8M8G1ICrvNImywXdIa1ocAwZucrkeLx/4DP5Vlw9TejUG81qSpTf1/db6gx
T36f5TY0TOdPCAzRVWAs7bRANk+WUKunys5DTV/d3IhViPcm2z2qOv0hDKX00wDYz2tKGOyX57M3
1Go+RZ3ZdWByiDG4yFC2Mxyv1VHwiGG5/sVQ4BTE5cnTibO1/ECq2YcC9IPvCDYVV1MLp2mc8gh2
ZWv9xRGmO0EeADKCZ9pqAQVDj9omR7iQZYxgoqI+k3WoO0d4I8ESLgloPPByA8+2ikr4nLZJ3sd8
pqGHkzNF0U0KWu0KXVbtEKl2fdsjCfD58gfbHJQMH1iTbFEGERfjswSk7xQJV1A4g3E/lGfRATs7
mKHcFm07P1I2bmk1aNFOqN+6bR38HpgrDzrGXQ5a1o6FOAe7vowT8yEbBs1VIb6ejbSz7q1QS18f
MRza46RyVPd53Yng+XySCTrOcstZbos6P8GqLYBFD9Xrvx91cIXugVBiktdnGdkmeZJ7RlHkpD8P
AVIMOW8KfPKq/FgD1P9YOd3eBb1VO6BfQ+XZoE6B+tJqb8YIP9Y9K+2SMMBlqiS1eYuoY164Zpfb
X7uUGKmXWv4mgErplpHoqEH602+RlVavJfKWnWXYCAGAyWSDojF9egDQy8UGX65PEwh/1ynAXmdT
B3tB9tFKgMX5F9/VMBSdCh7WIVS8lkPpgDTrRLUtt4Tu9BYVXiSGAniBl4/IxtVK3Y7cnHaHQgot
jtCz3WNKxQBGWrfcFp/5cyfHSOJ2zT++cK/ohoNgAL8mioSUJNdNWISgmxjINHOxqPjGFuTous+9
10/FlE2dJw1dfTpey6kkFlz3NFMsN4L+cdam1AZcrb8aaiU+hgpwDCSKeEOvFsxGVRS9w8FyNQdq
MMRR2Pn4Wu98lq19BhpFE+LUuGDIq7loipTWJkqLbtNM9hUOWcqNL4XZW82R69dfNUR+7hlFdO84
4stlm4M81YYptNzays0TvM4IEZyuc/NQ1ne+0NasbJn6BO0hXWEjLIdKQgXp1DGAfCQl5QlnmOyq
VBBhhse9m8yJG3L1VKONRDZH1xOczbpQrCgxOGtgHq5SG9dRIiUHhFPOFKm/IF2JhGRgfcwduzsi
xELMaNRvQ1v9uLwhN6cLyoSNooOfXCf9/hD5SUIvkOjV5W5hYHiWJXp+ritn2PmIIjV9MVuyY0oX
hGgkEZcra4w2FEIZ8lRTqtJtUKAagMuD4Owqyr2BduNhxF7yXLe4/NkV1J/LM92KItyvhkOPkOvh
KbN+FkUCp00kjp6Jo2eqH+AUtnBs5D3owMvWioPfAbFXXKv4+6irBL1A622CCmW6UoHb7JBDWD80
dAN+oSih3hqzop9K9PXO+EAXH7tB790o75o3ejyr485F8GLG/BSCJlAZ0Es078SfP5uxoGmMydiZ
LmIu2a1uRumN2cufLy+r+mIHUV1TdZs6Jc93bpvVZx3KUdJ6cO2ubhbdhB9YpyBWXmfAL+W+G107
V6Zf0M/IpioZNXiqCUP4MDmIvB4geCOSPugRUrftgPCd17ey03u90eR/isFKEAkaLW5VLAz7W/S7
quQwTErSvx9rVf6IyLOPT4CCKtghNxAhQnRMTnbCnAiWz7etTldFVGBZRxwtgQItVzGYEKawq773
EFMo7hteCyjg2hG6McMsX5U9aYUcq9Lvy8u6XtWnUSkSoTYO3oVW3XLUEtuDTFUgQ5h11ZzjJA1O
ZttDjqyb5nx5KPFXrSZIFOIyoqr/dG0sh4Jx4Rs2dx1YkMxxe10N38wzMmtjoEpvwlLHiwTts+/t
bCc7tIX10lIVJWeySEEJt9yK4s+fbVA4xCF6pigPx6Qsf6jL/pplKI8ZWilXiWkHeMDCe7882/XC
Po1J5ZkUUQxsrc5naE15rfZ8Tj2t1dMc4C0ih5hFAK+bdl6wYuc/X1gqcDpeonTLFcCu1pNi57Pp
GXaMPEJuVp7PNeqmClPrCpnzD+IRxf7c2VnOdYAV41HKZ6visqVR0F8up4qoLraYXeWNudZ4xajO
1/icVUgHRujOKeEQH2ihw2Tk3r6lxR7qOxNeB5ynH8BDUCXaEBLWFc4KUQLbN5E9ntoGPpjBBYdV
wYjKxeVv+HLfcHvQmBDOb6KDvTocdodNBpG39BD7hMhZ5mr/czTRCEWnJY/gbnbaCVmExrs87Mut
w7DU3QUbimt7zbJBo5zXIy0ZD5vvb6ltx1Caqw+zYu1xlDbWkXIRhCtKZFTH1h9SK9H6q5Sp8EZS
6uuswgV6CqTp6tXTwRoOOKvohvN0WT1cZlS6zbKvC49az/B50Hzpmtwb8accZZWdL/ZyRtDKhM2g
TR6HlplY2mdHYVaS2vGnOPdC3F0OutUoB4ox6enyjF4eODB7qlDV5XDrL/g0cjHJEUWEzKuCLj45
Sqsfaa55g67gWiL59au3O8OJbhafij2/3u5jXJdJzkvPk4reOQIagq2MjtjOKBuT4uFqEKk0ThZR
+sXSxXMWGoXXmclnM5u1Y5zoV1gZQIuV1H5nCTc+FB9Zhx8soGUQupajYdeKT6mhFh5KYbDjW5zE
Bkd+LaxWPLCwswHahI4xFX/xK55tB92XjF6plMKr0HJBel8ZP2mFXO2s3MvzyihUBIShNcmJvLq5
U2xo6rTVoRrM6OLAgKJMr/S6N2Za8/r9DYoSqBvhl/rUOtWKZQNrEEkuvL6s0Y4B/0efvpvdy/t7
6+OwuwGwqDyI8VBcLptEIdtIEYL3ShSojmo5txAOpL3G29aGs3nS0Z0FjAlIaTmKMxZEgdLJvSGp
7C/hhItJNznmOYEwf6ytyt9JsLZm9cRL49agPr/GoqadkiWVOudeh6aNix4j9PpQ+ovDykYA28Ge
poz4lMY+23JjVw5qPqS5V4AtOucNupsy7jqv33I0hCBMQBTgMnZWXwhj1qBWIq3wECLLrnhkZOeZ
ZQNw2jo7Q71oBXCIeDji5kr90aaasIqpCChGmRRzS1ChbVE5tQEpa5/p1f6ow/RPlva3YZe/Lybn
Fj2RnbbwxjcTVweIXQYXhMzlHhlqpCUpLhSe0wXTMVb6EsRpvjfFjQPMXw86GXQnxEJTXY6iEhYb
H1K/5xQ4+9UtATZu0reRjTjU5ZP1MnWi+G8IdikJPrDr1UjOXJkSZIjCA4Yeun7VGQe70TrPRzDu
QZtRLynAd1wB+wzeIZTS7FzFW8tJT59uByRNKNriz59tTii9VomnReFZBVLDNXIFLs3QdmfHbBxs
OhBcwWBxFSAlq0mSaGSy0cNSClujeRPPEiDvaNYrXjKJlh3yRO53RnyZqKGHT4kZuiS0L55Ry3mh
Pp5LPXHYSxvMb3gf8voLUKlAqwjPqRm2MOaLYBp2ovHm0cDlgZybbcPjabU9jRGdC8kPCWHjTHMK
SdGPARq5N3at6j/HQsfhvQu1Ny3SeTcqmeKnDpTPzo/YmLsBSo7rgGSR/qP4Gs++KfK+g9LJTuYp
rSPd4AuW3usyNe/GaOGPxmqPmkj9WowBMQGMnrgdZMp+sJeXg0J4b+sBURmvBjl2NSWhc7CkoH39
djXI8QU5iaPCfbQcJSJa20amZp5cTcFbfNfak0Rl4Xz5TIp7Zvl8simjkBywV8V3fPFSs/IuT4fM
86s2ekRBGVu4vM9PY9OGJ7+EcxlXoYSoSRfsRIONuGPwbBPQa4138Ror2mYd1oF1lXlZiY6ZzEPp
kGgTVpyqPOy82V5g/cQXo+Bscfrhm5AMLdeSfwt4CO8zTzLNn0qZ3xlSe99GDtLB9Ru17a9MDE3I
KHABmapTIuFZqwVXdVl8vrzaGyGIsjQ5M4VIsA3r8jeixEHecml5XVcTAbM8Q/ErmXd2zsbKwgHm
tS9eUsCfVyEoMey8VII59aTBrK/8gUiaD/1nScqmnW+4EexYUF4dAudMEXy1ru2USnmSA2IecyU6
NEiYnUCxoC+GYlb+6pY4X1EQ6disJBjkMaskXfNHpWtLK/GiGgPBtMrrr3o/zDu+5xshRTyiIK5w
6ToUwpd7BWM4FIeUJPEMHDG/haPanKcZpfZijJ2btOqVmxjx+j0u6NPtszqIIke3gU5wFEk4lsOG
sxPnIbwND0gqplVSl6QeiubKlZWaLebDwXD2s0l9OyuZcoKTQMsZ+XQXKXF6tYaNjidSoJ7hV9ZO
FvKi98ayc5vR8xUvb9HqWP6yScJtGaRr4hVa0R/wvLUOCYrVQH+cO7wYHxCJjVzM9x6tMLuL8+EB
zWQVedfx16sPD5gP6oQkmCTOa8xVXKNoY1Tw0ySzVW66xqncCfvYnYC4cUTFO9Oktcce4DpdzpZS
49ghUR57ejU0IKLN+sZvjZ+Xp7JxQiE0ik8NGlqIxSwHafLULvXJjD0ftN1pxEbp6DRwpDqn2xlp
44TS0mEj06Xk8KxB19oI/BYvhdgzxzlBmY4Q11gBX4/kf/48B8nee/BFbZ7tAl1KAYIhEIXMcj23
AXWnCNYbMn7BjaGNKJpmuFW/x8jG8EpnTE8SZi/4MaCeN05TeFtPRXyczSjb2blbnxLVHMEnxvGV
Ytnyl4hkaVT8LPYUua/Pc5FJRwlw5Q5kf+tbUpm3Qb/SeAersxwFsaogDQs5hnmLxm6XodDmgKg5
TXou74SmlxN6KuBSOXCeSpCrAChPoT7ghpl5cLCka90ffzSDLl/v7E3xfFpGIkaxYNlzMdPcXk8o
r3zNwbUl88ochY/jMJVR9VYnl5vO8Mz85pgPReufExQg8Z7tywb5Y6qDSHbNGhhZ9IF/UP5N+2MD
clylJkRD7BTqY/0WS7sGHfywKH8YCLL9QnGvgIUrZX57O5s44J4c0lXzmAG3/zW2WvRhyOrxeiqy
6dwjR/iYxEOtHSRFa1DhTus88wZrmgP4UeiUXUlEwE9y2wyF1yC1eWRg5zT5ivat0gCcoEigoYdm
VvL3yB/S39KkyziztsOoHTFdkn+ElTQp5zbt/CtdMhA+Vcsimw99YoHexFSswPu6tqKdgLORR7Pe
PL0IBQKKuy60TnIVx62qwRCPy/lzXzvm1yo2EK/HovptmYXKvZJhiwJEUb2xctk/KXby2oYsmSy/
gboh0D2S6fUbgidoqk6xwZVjzghFY+aKYr/RHFrd2nuubG1isbFoaDGgulY96AYcPxsH1QO1MsNz
MQnLKfsvHnsOhXr65ogbQAJTV48ip9SMvHLq1AsTX7sysqF/SKHW7Zz9rbmQT8IrF4pMNOmXZ18P
EpYU7TovLYsPSBYGnu9n0k72+jLAIBzzbJDVVEJ1isJkYpAkQluzie3EKyMzPNI73yM5bQ7FQ5KO
EdXdF/zDPJi7wqr71OsDuYEghrW1D2D10I3YzF8OMy8vJmYFWueppkuTYhU2Z9A6k2ymfKC6zG+a
slXh02IbiSFjjUp5mo97pJeXiR0jcqdT0BFPqnX6GPt15NQxIxpVo90j4GocsdnCGcYu1KMQZ3H7
WHt9rYpBqb8K3hNwl3ValyQxtUwc2z2zj9BcLDT8nCBocAnj7HR5RTc2IwQTNjzvOTrEazaNPQ79
nOcOBrlRNtynmWp+TypLen0Vli60aILRNqVwqa0uIavJwAfWeG1Phjo8YM7ZfG3zINu5hTY+FieK
LIK3BdTJNRwJiVXyf6gkXlykwRFlVuW6imQFdwdTVu6HPjJPfW3ZO5C9zVENLnMeTQD717k/rMgO
k6Mp8QLYaW6lY+mjtGP8YPqJ7BaBHn8yZ8fwXv/dmCMNIB2RIyiGyyCCIYwqClOJ15ZKfxU5rX+o
rOi1AmVEeIU2FEVTYCFc6qsowlLqSlO0iTfMVXA3lth/HAoDdc/LkxHHdpU8LIYRm/RZQWZqQxNR
4JrXU2vH1yZ5rnUY2+wnujKJ60SN6aWxA9EBLx37Rmt9fecQbHxBjZsUlBmJH5gfUe94Nn6Tq5Mf
Irfpzbne4qs8yVjBBdVx7DsVw3IdmfMsCz5dnvTGE4kuIrVTKkKoiZHQL0eNmilDGblCy8Loo+rM
ReM8RCXiyqHfaH8G265/9rVs3ZJW9QdVjscrnNxUz4TliMVM4u/sqI0wThMQcIxp62Tja+R/RuxU
R6mMPajtA6K9cXrOJ9SF8TIKd87pRtDRLJ5JIJuoNhAYljPPbH9CPpxHGVkF7k5hlWANg3Hw5QXe
mpAl6lM6CakAEC5H0SO5lpGw5b2UhDC657l0czm27zVj2OsEbk5INGzJf3m8rJ9mViH7SmUwVFg5
3wLTzm/kKNwjfG3tUoAREIq5A8FqrQ5jN4aQXmw19jTbj4CNVyN241Nwh3+FdAwD07wG8rn3Mtua
GVViMi7K8HSiV8lK7GdF57BsiAvg0qXY6vBu7Ivq4+VPtXGv0w7kkn0qkjrrRxfSZr6uYtfuWUY0
PCZBgGND7KNv0uVOe2x9zdiJOFvTcmCy0k2DNw2acLk34qkq2z6oKZwohY1etd640iTvKRNuZem8
JBE3Y+lA466rDyhfZz1mJbHnpP1wI4fDeD1kSnSnlV3yJgigbJPIpNcgyqPvTTMbLhZVc3G8vLgb
54ClRWMNhSzKIGuhtSZuQDvPAXHGnvVPjoQDZCUjXFHjyLFDp9hYVg6bQcOGSets1eWydkM3jHY2
RV5eyPl3DOzZnY2Tny5PaGsUsjGaZxqcd2x6l6PE6gCGe0oQi5GUb1UGMFOrUCq4PMjWqgH1ELQk
LgZKlatBUF8MEgwhvTEJJHTkk/6YK+Z0yDBZ25nP5lDke6YlUPgv+DTZjOdFXVqhp4TS1yoY/VM0
qG8kCWvXv5gT254hEKqj0rKcE7dfiYI/wjSFZQbHYmrkszZiPqv4r+aFkDlA3XkqvdEPf6HHoqO4
grCCigaOXlH/q4Gw6ngEny9PaCNxQHyKcqslDLyZ2HJCcW30+DLakUcfENkI2BN+5FplYjZnvul4
HibTmo4+AJgZpXJIHjzGJWNn078IXrx9qHyIzo7gxK7fpgJC2uKhSfGvzYrHqI+bYw9490CmiLlG
lvs7lfoX21+MB9helFYFB2sVkp1WqZG8ymOvt6zMdeQBD0G9DXb2/8Yo9AMYij4ZJXRntf91E1Vd
HtyRpzjDz0rq+pOs1P5O4vXE8FtkfqSp1Px4F1BnBH20yrzksaaEHFWRJ1FLKOkBNGBCJOTuUrT6
39mRkzyYQ+yfcEGUPCtWsIPIajW7t1RkBoOmSXAuVfrOnZugwQYN1ddaG8bzCJjQTfHcPuHeZBzD
qpulo6VV0xtpisydRO7F8RVzcEQZhiwOAeTVSmUoS9Zqy0rpYds0p6rKdbJk20yjw0hCe7q85YVj
+TJZVqAqc6BoiVs0jdesFj3S8TSTBpRZsH3GvXWq4rPtUyK9kamd+P+Hs/NarhvJ0vWrdNR1owfe
REz1BYBt6EmRMtQNgqIoeGQCSNinnw+aOieam4ri0blQRVEUiQ0gzcp//ea89zbSbdXNSAuSuf3e
EVR4HYhJ4FyzCI3kI8M/R7TdfM9cSzuIxSRNt08dcZU33nidlXa6IyM3vxLrRHIKMzck0dOMGmu1
z5Qq/EMz6t2xnmzrrE20J1jV7+np3449bhFrB+SUSK9Y5V9P69zQGwNmBGZOonKul7IvwtImLOad
J/kGs+RJ4osNF8RDkIFm8vVl3MJKjaoYskNi5oQ1rOZel0TftArie/CpH8wL20tuceIjna+295yK
zwK7GsOkIdSkWW7nZnxIRjobkz7pYUcOdVsNVrhg1yOs+R3o4+0z2RCpTZtCgQnx8GSmoP4ONJtm
494mhYV0FWHXLTEBg/bO+Hq7mnGd7QAAgQR152nJQjCh12Bg4O/rZLXuc69ovglg/5pefVV/WEFx
37ngr25sk3XQ3IQNxp/Xb6Hsvbkb2Br2STCSI1lw7rLmrPrdgg/e3MZ22LR1W/f4ZEg5QY4qkWYH
EoduOrMHlceb097/z73AFaFA39CAU024awm1ypp7KdSSXaU6uYiS3Jh3jk9vFxyKLPjE27GRivtU
mJj5phjLCWWIamUbuy1RoL54aSCovHM7vxgLWzUHQQ+TM+DKkwmirFSJrPfdfZOmy8XUVhzBLY+z
x+hMH9vFfW/e//p67DUb/xAG+MnOltsOKZpUWfsadc/XacBo060xgVIYb+4mIpTeWbl/MfQ2IR6E
VPZtNOgnc2otydjE18vd+6YyL5LMKXZgRvP+79eZX74uSiF4oojXsA5/PcAR7wfYl213ZcEeyuCk
HHvC2/EIct8T1P/qAbIXsXBuTDfoSq8vZS0+1oPWisQF9Pd8XVvrZpzpd6yXTlfId4bh26e32Qdi
A0RnnUX0lJmlcqLprCS39sSgbBGYHS9q0qx3Sry3T29rw9FSBQxls/u5Hf4HNiMKh7BzKzH3fht8
W93SiBxw2n2H5OQdHO9X9wMBwqY65lAIS/71w1MkFrIimOa+C7QKorwzxHVaJb+9EHE/kF/pSfOa
2N5eX2WxUp10ZMukDV0UYV4OxkeNuPCH3x1z0IBoz8BaAwxFB/r6KgEWlJlIJnMvF+wP8aLJ94V0
9PvedJJ3LvWLx8beuYls4R8Yxqm2d7UxQxb+bFJ3t4Qt2c7FUHvvGQH+8iK8HEj+BjXB6Vib20TH
opiLuFWzgPZ7xBESBfjO+egtJLdVHYxoSo+NVnGKqjZjhcdrXRv71W+6hy5TFUYrOraSd5pNYX9r
JFPfh6UuS3RqSSP1UKKtTs/E2q8YTa3Yfu5W1xnfWxjf3j5V0E96IITOTX/w+nXqaa2mHG3F3iYZ
7qWCdEn/X2/f6RS/XT2AzXWQ7E3+Stv/BBQJ6qUmJajRecj013x/wWY+rS5H8sUip666d2b2Ly+H
nJPO9OZlfuqkjTQLpUud6nsmzHrWSNvc5y7eTOlYZ+Gs1+/5sr55iJsGhwKA2ob9E77+64c4Jrnd
2cQv7u3RJU/YMxoiKe333Azf3BVXgSbKrszRDLXhySoi9RUDusF39v2Sf7dH5UVdv9jYB6hnjRDT
d86ev7onQAqOAq61wS4nC/4s86JvO93Zz5JUXlzo5S4NrOqdlf5X9wTvjKIT6jQAxfYp/mMNblEq
5lKz7X2QuelhDugC2OM6nfWSPDlpZ+/ZcL4xn/8pvPVZvWChcKY67brlA22bAb/UfdEmdBLlOqqE
/JC+6qK1taED2LaUGdC0ib97v1amE7ZdOn0ijMMpYqznhIyIsTSHyM8mZewqYWgWG0crVDhMClI2
MYLLe02ubel+dZildcDBBS47ghCa8yezdCiopAqjtfddWs2fG0gXu6XR3NiSSNnwTfIvZ2gD7xyh
365ZP6+KyzAIyCYmPdlQhtlfdS/lfJKuWXUtljG4CDD7uCDxdzxmLfERYemKKXZSqTU8A9cnh3kV
17Yokm+j5Q7Hv996fjEkATbgoyGc3sycT6ZZis/DaBcI9Qmfta8XXIRCnRjt391GuWvcGDE5AVfd
skteD0ngMkW8jMIdQ9nLpT1JFxTLM39/ekGxYD8wNiduUNyTq1hmjvkHKeELIRyRM+KAPdiMsL9/
Yr8aN7goQFLcDqR4Jb++itnopWdNvrUn2EEQx+tXc2wECKXCzl26I0ci+wxE77dbvxv0jcAMUYyH
TOpUYD6X3mJUFvUbwfbEwkuBYFcF3TuP8Bc355v0sFnhWQ1ZeF/f3NTYg94OurknqBQDFYPr7DBb
M+JkYj8PcxZFEipd9envn+m2zJ7MRdwPGCGwkqioT43/3KWy8dtcKBiMOQ2HZa4eimn2doZcfCCt
ZNgJP9HvEn/58fcX3l7W2wtvzRLUH5sr5+v7bQ0P33LWHqpiEmHVSOBxiTf92TK4xjsz7S16BgCE
N8B2gmHNwb3i9bXKbsjlMCzGvsl1dNZdJqsIB7aeu56lVsYJkNtzZhdO7HmNv6NJPezcwivsyF6F
2mEpR0i5QCRZLLLbLyy5xKpnxL54CqdfjYZZMIj8omWCkD1r1tGQG7J/p+j6xXpBzxWCLmsGzftT
xVmAOZfOqzH2gdO5R20uiyihZ/LOHPvlVXAQMbnCpiM5eVR9besAKMrYa2530/WJd6uSwnhn0G2/
5OTdsztuKz9XYBs42ftFD5Y564Oxz7WVBTcfvwWyNnEbG8+WnmP634+0X94S5aBHQxAg4JQX3uRW
NiS9NPaKDJRQV5Z3Vq5kU/39VX4mxJ3eFOg6mzHLIFD+yU01xAJ11Sz1vd44jRMhju4eyRQDEQQI
8b9pZZ19EplZ5NFsYeMGlDiTF1+NYJRhWgwEm5N22v9oCTuVYYfj54vl9evTlHRjGc5+mds71BBd
HmmdTRZoB8U6P+Djx75V2QNx00kSuE9OLYMgtq0FSzP+g+5WWMaYU38nVhPmhd18rafE/x7Q1Hsx
OP4+jLY/fSQeNbdh7Fj2I6kN5UyspXI+22mPegAFjDJCHcEexFbTh71W2ak+RzUutx/8ctT9iDQT
OiNIO8V9lU/lY9q1hBdbdm2O0aiLtYsM6ZMhDgGxUiEffHF2//QJ/c78vjH2Y1IRTO6m8INDXfjN
t3dezZvhhoodoBQ/LKRmdIZfT3+XkJXRN6tlv4A0scurAWtF4fcgJ857gq+3g20rMzY1sk3f/s1O
OHD8moxCLvtcjIRVD3Zwk01Z9f137wgiMLsFCBqVA1Lx13cU+JVcYXLpe86Z3s4kTzactVySdjW/
Z0n1Vt7BsRjgFwnCZp1Mlsjra+nO0JX92q77jJNdG3GIXc/AIBoKibrOu7O5K0byv62sGOJqSN1P
JKnIb6aY6oshb5IhWqoJyNcuG/H8209hc6yim4RvE1PvZMbNcysLgQ4L8mlrRgEKz5huqBGasn2v
m/B2t6Lw2FJNIAzxbk/tv1jN06BzsnXfJca0w/rX3mu6P0GAHN974G8LAS61oRFsyxu7+uR0OehK
U75wFnxEEw7RRpvIO2O1FwiydqrdjqVDplC6WJhy/f3jfDt0gVmwwUPMg4kG7LPXL9pRTpUl9sw0
mYL1vBTJj8CZ9HfKHEYNv+b1Osll6K7j1ozOBPn068vItVHdbAT9PhFTGRzbQC3arraNtdxZyTJ/
tZ0WMrQuUkuErgrcT2Puk6lutJMLlbjtE1LMxVwZ8ejUhRni4quRrK2sNg9JvDay3RxIx9xRycw2
Qe1z+zAHK3HCU5LPBYRrTCaO5CACwLV1MLf7tOoR1zuYKu+aKlkIeJ4yWUZzD3YcsoVh70IAQpFG
eQKKdy3rmlSXZa28IqodM/3SLqOvRdIfMz8OGulfwqlL7aObtlBjvU4EoSwn80Efhi3dfao1Sqqk
SMfd6HZ1uUvSOr9zoUTXtI8IuY5+utTHyaCn2013UxltXrJb09ZIqtgyFleGZmLWX/JFJfcID6q7
0U/d720yaPdQ7PQSBzdp3HutYXwerMHXwrnzq4FsKgFg0PbCcWE5m9OVXRkm9GdnDm6aoRNJGJRe
4UTLIrx532dthTOzp63issb2iCbxKlDmjLk2pLQQfU6XrfSD/JrDZK3v19FQtwDxPQKWNdM/tqNf
5VEprbHEw2Ot63DNnToJcwvfkEPryqxGkmYmRUxz0/hgT11u7abK7OWxzrrhk+Vk1hOdXeKe5UZh
zzt3vHY1LatCP2XWfExy2V/k2Wquu9YOpmxTuQnroIRsmsjXSzcu/LkmUttJ7R9Bl7gObj7OAlHO
zlKLyLPFuBknltiwzCf9E8EydrenqkqDHUOlu6uENgoCAgyyoIzVVIA8bkZ+tbcU2rFvaaeGOFRq
CfvWujyWfdny0HyNeZoN2kI0mOw5XI6BZA7nOb2xILGGZz9x7G/a4CqcPmovP1/56W9j2i68mc6n
Ap3Wsr8E7lmtvexH62Ecg2qgqtQzxaxPpyByzdl0SQ0bsh+NJexL05nyWxqh2FJolZ/fVtTWH/y0
rShyA68ZY9X6tCD0wpDP3ToRyjR41cStaX0iIha7CZ/0wRrPRVY630o4DnTqQDK5szpY7V1apMsP
2ZXOvTmNrodPvGnQUlPuMsWTx7ElIgEWCJU8H3K4beEP6xHSUF9HiUr129HVEN278A/YO6Y03wn0
+We178/QeIpc/jCFk3zFuqh9bHzkkmHPEe+uB723IjPgXIw6weiuevfGG9PLNpfJwyRb7Qenv76M
2nHomwgXWe9lQgXxWBSDaRy6oLKXvTladX1RuTYPe8qL7hmpldOQupf52d4csjIPO1LirxvowkXk
2Yv/JNt2fMmBi+54OAnaB8bQHOkYub6IIBu8CMW81oQTUaBPGOkPD8sy6fIgcH/mb71gVLFVG5aI
Bmypk3CVZfEAFppXESH2mRE2uAR86wOAm91C6KYTD0vCACkrJ/nCj+WQ1IbJDct0KrIod1pvB4vR
5ZDhaN4HpS1Y4DlF6YeW0avbypK4jRET6jEq+2xzos8DXkHfeJkMLbi1F8FkJu1Zgrf6uGdGBTdu
avtEns0LjX7bEF0a9q5JhzTHyc8LwfmmB4q7tQt5g1NBRWhYF75wlw9WXejRVFiojCd9sc/bNTAY
s0bmT+e9OUlkupznVIRLbFqH3OBE8p3n9hea4+Z3iavmJi6byiEdZtTt+yRL6js3a3uXVygMgslc
ZRwdOhi3InCRMXl0fSgY8eFpd71NcIIWqAY235Bfrji6PrS2aax715NOe96QnddGfT7iGbz0wRpE
+Vhml1sWDWPDntx5L5ht436dlWgO41DIBmSu8ZtjKbsRDkxeQ2CdRf+loiXRRxkt0oOfpDYLrmww
p6/7ybn0hw59eWW2xrUOZcuNproYroy2x6CsJsXxQC4nq2hDPGB+TsBzqkhNySbj4Lgja2aL7OWh
K4vqOTO1KT04uT+nezUWTX6ocOLiZEelbh1yZwqoumXG0lSkufzKBWYw2IzyBC1tYNwT51HSXu80
KoGOSqyBhqstZYS5vPl5rQk/PXTD6OlH0mrNLHR4iyUvJkcwNAf17ITWkPgiRKipvtR+ruO7UOgo
fRrPXr+Qt01k21or8843y+rMGmAvhPnUijm0LOwEdoWX5v0xYTHWYzMdPA17OOHdp9iZu2HAnnXV
Mem8c8+Tmo7huV1VoVk01UuVDx2uY1gePdK+7y4EZrQJxDGjA5OVHieLZZXLbRKs2ki2TVOzhneJ
M4deUaADLzS74TVjsH1WzYkTCs43h6H19GhN1SUaqv52nDSHvYharghN0sv6vSPlyCPAvoIQs3QL
3KTDPdza+ZwWIdS19LF3tHqInG6EzU9/rTjXB0d+F+CFHEmdwSnCwtapsKmDNRlXRUMVnCxLa4Sp
dEUeL4unXQ41XqUgRE72aNnKvVqXdsoPLJTWHEvNZD/LjEILvaAg8XGo7Zb1si3mW2co+sdaJJWI
LOHlC2upU6L8mgyZxCukkzIU0+SMMROmCnZpPaqnlV7KAX/sxT+fsrw8th1bR1x4FKlPpVO66y4v
p9Q4yxot++rpoy1jOY3GENFly4/CLYadmnOx73OJkMy2ytaImkXWlzzLgpNlLnoR5auWysjEeO96
rdDOfrOXGbR4KJX7IDvHeskCF7mu21eTvquUj8F9w80OYWGwXYe637E8KOH2N2XXtS+qZaM74IwI
/czqk4XjKstu/5JOg8+upAMyN4m+fDasuX4ZV8OkOmi7xX4oR216Vt33rNobRb1+J1Xaf5yrtaGi
k0DZc6KgmphwIvxQGz23jXlvDr1cUi7v2sFXz2qoxs8Cg+4qbBEgf8pnb/zO+YTyTrqGnMLF7Cnv
bCwPq/utPLnLhkXLDmOV4WcZEOU1hsgTEJd0jhqmCEePOYvWeUUwpAf5+NB1pvdZ+o76Uvp5P1zj
V9A8I2Mu3cjvDa8L60Trrr25z384qjG/mJYtORvaSfKDhY2tuTdtgCQiYes05Pc0Hwa7MT6Weu3d
j+2iw+qpNezloTFUbTyzzGkxs7EKzqii3HlXCmM+c1eGE5TgbfSUaB6wTsmQv/qp8u6IAiurcM5k
hhQUx687XVRWGk+aah5lUjovJeJCiuhiDD5qjplZWBI49UufBNpN0y3NVTEZ8y4fjXLZNUZXb0kM
+fBU16J9XlqFvqxOErk+TMjrGBL5nN2LKaBo99LS8EhfRPUYjgnuiNxDuaBubkT5kQdWjucjNi+f
MqHlFeoMocnrte0MLR510NbYY72XISAcG1JR5o53kIYBCItJROrEVarMnINKXxc3+uQu4mOfs2hE
fWfZa1zOOrxNVgJ1hyt6J6Mm8BYV1gzV66br9Dv09S4xGfrE8kbl1SyhBNatQyMj8DX0hyJYwjLA
xTCko+ikRzMgo47surnLQ7rTctiVyk8/kX4bfBc0zKAAenO2hgoi333ZukT6KFfXvtbEqaxU0lX2
YTLZRcM8B1ubOztZQzOD8hPOIhUi1BJeJ9OxSZtzRxlzRujFaF3XuP2ah94d8h+zagZO1maZxEEx
1x56tXk7exSWoSIiL+QQdRiEaucTYVo5DhN+9lB41Wiz/i3a/Ik44mU8Bv6qll3NKZBsR91t6a4T
mMo2E5iaAxzrDnLvJmveHFvECZdmp9QSl1YB9r1WQblPclP0uOJZzo8tMppSdGp850wMYv4Oa9ST
57VtpV3Ya14C2GSmdVSimfhiWYKZVCqPjUR0w9zfmAQQ18e0G6og6iYnL2NjXudPjaWGpwQ+ZRqV
w5j1kTkp+ZQHeZdG0C2956ZYyXAdmmZ1Q7/i/UU5mdxOaGuq+6x0On3wvmr/qRID3oEIY0HQ6tpJ
L/GQb7Wdrlyj2Fm9zEipY2e2whmOexpXbqGnsbamI49nzTezwbRc68No1sgvTG8sckJW8CU5uF6F
t8bkDkDIaSGs6RoTjGa6HXvP/ah5+OBExqRYtXU9946jsoY+1BMfHA4jXNz3ELsskF9B9iInHVv9
2PaVZT5WJJ8M11rfSz/Cc6m5ypa0FWdBuWTXNXWCGw5lYzch51D1iIeQuu0M8tTDeRVOEQUaxWjE
zEZ7tzrmkEQNxwxBwUJXPPTbpaBqL6ryHvuoygqHsQlI+OyHfgpdXKMbGipBPx0Ur9s/5AGxHZGf
ZmN2YTZWsFxQGREL4UnDP6taqUOtazCIjarC6+4roxx+NCUrYjyVS/thot11Vw8lNX+Rcjy8KJK+
Yu1AIkHemBQqu9Sk1s2hv3RyJOyyLrH4zmdm3JxNoguxErKf0LX3WVy6jrydZwJTjhplwKEsaYfu
xKgnX5eSJx13lHZl5KtWv5NDS9FoTbooduMwat32aLzhDkRdBLEqB9WH/hq0Vlg0Fg9OWWYqqSd1
MVDDzAwkMB56+jD5HOOizFl4zrOxU4IKJJWfPU1X+VmJCunR17FMiNc17da4DhrSxatpwbSRCkod
1ACeiwtyQlKoWrz5pcZ44bwfHQ6v40oAWIjQDSchXbZ1wnLl12OITj+96hGg3vqZdO9MzWfJNtq0
1neL3yZmOLpUzwDDRekBlORZwLWGUkZB5gcgAuukP/tjh1ecKWf1vS1ooh2RuyV7Ma9BErtN3zwP
vdXp8T+tbBSSLLRpX24HYlGaFI+tNutO9E/pcmRva1gFNBw8SnY1WQ+eBHlKHRziImxxyQrDGyLI
QmD11Oa9WdU9nzn4bTNOD3SILroPsRro8bQlZuTjIqylmffdaF9hpemyG/cgxr+Ne3keXDqsjl0E
+QCKrwGpYhm0URr6tNeRk0L+RfXU6Mt7Lvtvex5kFZOpiHyOVikD7vVVWHP7LMUHnjCoobiqi6y+
7eqgOjcSx9q3wrfe8Wf4Rb97I/vDhd28E/BXO8ER17y1VsdJp/1kE/LnMI/rbmR3s+ZPGt4nod+0
dtTi4Rw6K8V7XdwVLlV097sBiA66IWuT7llb9wp23+sb79TIjp6aCu+hYjpOksimBpOD336JXAWz
HGjK3LFx6qtQmmhqUmtSezSaSKo7r6c8IDzm7yHSNzAwZpk0raDh6xuB4ZS3Ci5W5SIdsRlPpvGq
qEiQAY11DpTTVfT3l3qDxhJqDZmU3tBPx5TTS6lZyXQdq3rfKq+PuqzJb/s5n95pJGwQ+WswFjEN
PClM8EBk8Ud4/XL48Hbd8154ORV9nZFSzy2e52QEb9MeEZtB7X6PT/7mIWLrpfubUA7BEADqyXyr
BqIele7wqpqijIy60GIPKlyERf9vq/KQGTAuKEWYAhQ0J3PAXHtnTRy17G2CasKco8phxZ37nVHx
5lX9vAoqD7QZ9LJP45mqom6mwW5B7KW27qif13A1xG9bem1X4c+Wq06H6ZTClNbe5BmqWWg8zG7o
gGLtc0W849prf9k+/9erJIn+3//N189CLh3BvOrky3/fjC+dGrqXf1w9yf4f+6H5/qRy0fz39kv+
7w+9/hX/vsqfCegTP9Tpv3r1Q1zpr08SP6mnV1/siOhVy93w0i0fXhAEqZ8XSF/E9i//X7/5j5ef
v+VhkS9//vGM9FFtvy3lw//x17fOvv/5B/L6LQD2v/7zCn99+/qp5ievBadR7v755TuWy0+/+NmX
p179+Ydp/Yumif6zM79pvzeKzfTy8zv6v+gF4sVIVwXZE1TJP/7RbL/1zz9s819sBPhXOKhhUItu
YpheDD+/pf8LSjyUEwwHaSwgx/0/H/H2f2fu/74pHspfX/+jGepbkTeq//MPzLVezXCaSJudNjR7
6Ha6yeA8WX71xW3NTM1VBDY1+kdsbozLYjFfcnmdpcuXAhQkK/qFitH/avTyC9lOZ0DC7tOqacuh
ybrvTlpLmPNgJkwxJDCuI44Wh4/FQec0BI9Wqpn7ujQAzIw7Y+ljy2lvoT59kY60b8Sksh/YhZQh
MMAZDWxOG3Kvz/21qH5Y1gzQVfXJruIkfa84G9ys2TkO+P1S1vdl5pQyrAsnxEAYXlsawoIoP4i2
22W9GZd+fQDNuElnhVUySd4Gxq/7xddWCuc8uMrrJkCSQh820xvsVpqPleg+tfV6hS/clTHhKLLC
yM4bsiHB0OrcW8JBNNYO3KiMZyHcGweQ9spLl4PelGd1QLSESs6GrvqoUo4BvW1GeW4/W4oHmHQd
iFCdFje9aF8on0HK+zXCIjHSDCUvVTtc1p74nuXG99bXjtJhxS30+rOH7yAonPHQ4vGzH1JfErpg
35NO0oToVsKlJjGzmqfPXWtFS7o+tKV8sTJtvNSq5qEU3uNae+dODZhoFeb3Zq6xM7WyeF60O8Ib
QNlY8eYuXWhJVJBG6iq4TnPLjhXiuD1Gv/EkXxLqwl7+IHmRVcXrqVgB99okm8O1b69Wftio6uwB
vYVLO4yDtTc4Zqi6NnZms/nu1eQGokDzPmRm9ZB1HyqTv0iqRIQqb+f7fPY9uhH9A/zdpw2wqexi
PwuoD0XHR60Nte6DIq8BwVYZOv4iQy3vrnsEYzeU1HY8LiQJ5PVo7BLDpdEtOZ2YQ3rMgBp3WUHv
UEAh9VutDTGPBADWK4NMbo0DBceFkIgZHIf0DSNqBLAN/Q48Q7OvCz2p0MLhM5STd+to6W4m/edC
8zV/p9omTLnhnWGCBELQVcyC2o4xUEIUKutveSbOJmPtNxD5mOT+NXZJN/Tb7NAwx8OC0D1MsTua
AHFDd/aiInfZyWsQ+kGWoW6KbwK6UWwrvGe7tfGjsaZNFZlj4j6afv/oZZrA0SRIIcCbnJIPyXyX
Ce+u6PvPU4XfaWLYgGnDxZJYB4Z53On0wW2veECKsDA/qvZbMYHJemJ1Y1oI9qOWaQVf2ru51e4N
+FcqDLQBfllQqjGWJm8AJ8NbR9zQC34UVR8mgTz3m32xfuY4FwdZRrhXfWbQZok54GfXHJjuerot
x8Q3kpuiO5I530TBsJ5BrtzpG6ACYPQCaYXTC+9j5/VwTi3k/+C2OjPXAH4FEnnE3IFFKhUL6kan
A6ss7R0bYVwqs40K+tJHNKryiM3mdGtxCCEeQKZx3bfVwRqN+6pxd0Ogc37Mjs3s6ju984DXrCvC
g9LrslifnCXxrjMJ5SMR1z6JECHoeBu5aRfbE75MOBAm42WemtZRL/RmV0Bw/zCsLf3TQpObkqy8
7MspAQZkigVzEJepdSZs4JVxGjDhqMLB1so96OiBbpaIGgzcQsHZj/+Tzwu4WuwPPZxa/WXs8vMh
y24zPsaxXISIzPkpUFmzy2vcBs1Rv0EjE9uGhtxmivBJDoNgCB3RbWwhwhcszThowfwVD3IaouYK
2GT56thK4BwTCCcsKovOcT999ov1sphaUKxV5+C2eudz0n6hG3XQgXgj/Os+jAAMu6DUjm5TGCF/
m180ggaIOwOOVr0TVaV26cPc6Z12ijVcmb7qpXYOk+rrQodt1tP8uqubYuc59bRjh380ci921HyZ
VogPFnt+Duhml7bYp4GBCne90rKsjp1KQvsWzjFV/W0+TOBqPQu9HMYHnRM1+bKRdL+m0mhCTGqc
K889eKv2BdWqFWXzeuTIGmZ6/+S3/gFZysNslCAK82dwiXGnt/MjDoZXRQ4kvFTk4aZtvGZacJV6
03BdoXA+13wVr3kxAwA1DX3SKd85TdM8i9HQQkr8lOk6PeVrmkVEUt15fY+nmTHueOo/jNFSF0nb
mLHwzOd+hrHspp+mdCmuLB1zy7wt671buJ8b6OgYXCa37vig0Yw+H8yqDRPS+c4TST91rVp160/Z
vV1n7h7//zRegrQ5mwOPt5j1odDoSTc2W6Hrtjc2RGExf6vAouMirR89SAw0WR6bRhIJktOLIh5U
KWh8kdl7sabn17ARbw2Nbrlwf6SyXSId6D5sAvs8LxjPQRvkcVmMduTJ8VlCzgpziZ+EpmcfU08Z
dOvd56VXHdTDxb7X9bm9S2121MFYKA0MUNCzUrV2bCVS+4ipd78bGoMYKCmduHAwdeu2kUbfXX7C
P1pd9Uk53Do6TZ41r9vNAKj7MGeFdg0XAiBx7PW7lLivHwly4Uv6zM1tWyVNdpFpaX8IAuV9yYBH
69AdVnJD+37d19mSfeYk5p0FrVyjdl2tbwEd3MuKbYSSoiT9F27JQpsuNDrkwBA9h8+pn4qnrtXo
ZlpBsmvpqZ/32azvZqcsP/gjGs600RUN4Kaqj5yTqg/lmpg3vqYRrDjSczFR2ThV5xxJBIQFipUK
jddM9D8CH2xMH4omsv2kfCJYb45bs3fO7brubxTi7IvVWp60IFHfywDMfi7q9iEY+iFmoWDZnbvz
Yuuwt00x3elw1neTXifPwzwBG/dIcnDTVV5cAHuloWP2eN3AW7mwyq7fQaHRb3TaNucps5p1vQMq
dOq8vdJ7d46aqto7w5Pjz1GSBmxOTa2qXSuym9rMhpuZxPFy17Vum8dO13V304z9MyZi2NYNHHaN
NZuwKnDt6TrAmCfU4ClFweZHqaV2SpsOJ7AQ0vwswgTt226ocveLmtP5JivbJxUEY1wtavoGx0CD
PUtSg0oXZ6QOs6YCELZxP7iY9Z2bXvI/1J3ZdtRatm2/SLtJWipfVUQ4wiU2BsOLGmBQXS9V6+tv
F5nnXmzy4MvbOa3lQ2ZuNgoVq5pzjD76+3xiSyeX0v4EYZ/GA7PiWKGGVsc0Q3LrZqRpNu1N4paX
iTceBIUu1jB//DIbq36cgCNVUIq0zaEw6Vy6gAv9xqxOjZzlY16tcOsQoHrL56KuLrWNHo9TLSdz
WIrbaarRA8vUYkvWMSnZPx+sDJJaxwhdmZEc9Ks2c1cmFfNMDDYCgKG88sYicmkzv3Pbdrqk2hFb
1Xg/0RkXs23E3sh3W7FKKBr9x6Wonp3VgJC2utUjOa4fxkRNoShFGkhF7PVUZxeiadJD2/qXbWo0
h74z21vNb68pcF9AM3mkKDdRhvX7h3VZ4nJ23vnZ5WIyCFWyGxlIsRobaJnWmDlB7XeH2lvveszb
+nBttCX70CWJ+pyBnGt0IUehtY+2pocp9EjL3E5TPgWdTqhg1eXHRMvvl5Re0eKk6yFd9HOdJx+U
Ig7T7aQWFJtTn/H1OME8tf67NZ3q2DGTo1XqsWdnH4Qz9Ffu7u6gvV3BZG22Jw4VTyzSl4XTrdEk
7QvT+9ET+3rrmmV6oinPp8+f/aI1cCnWhlUiX8ZoWLdocOS3tDfUefLfgx+5aheNRjxQC38dlwtJ
81nkdpxNqw4l1UeBJGiljR9XHBdhzl6wGpHK+v6duSpCYzjS0NC6TRA0uNJdAptoru/+YvnsgYrr
Xu6Li/xgZL12JbzyurFzOrkLYt0ivbbHRzHuLfV8vtZlebVZ6izU1ISqBW9gUnT3bVIhfHneek4Z
bttEjQHx2NhYH3W5GfP3aoIbtKzr53KA82Dp6tKotIDdWBcu5JzHk/QJtRuy8lDWdLRXuzlbM3tv
1i4tdWgs1DLunDHIx2FlYeCv0KD8rYNDc7dxbsaKy1vqdlRUA1EFXeu+PKS2lX+EfCiuBvAI3b/q
In9XRui+Nw9y+P5dUkd4XRZ4UUr431Q82Isv/33lgB5Ly+7/Rclg/zf+VS+Ags4BH4sTyHQ08AKz
x38VDDTP+AcXBqo2sF+oQH/+o39XDAz7HyKrBfZhPChofnfQzr8rBpr1Dzwt/hFYsh1Ep8NV/oua
wU90wYuioI0LxRUINCkOorN6VTWzZ3PY0BHVB1YSeVV/aO/llf2U3mP3PCDXiCgWHMobmOTr1XDy
jt1JRd1huuk/D/fDGMw/yve9GdThmQTbaI636HGJHq7QEkT+ESNokAXjKQ9pTwZ0QBiY6oDu41A+
//LI/0PlYy/mvCxt/rwLi2Ljfhcgg16WNhf6CS40j/pQPU1xFw2nEWIbfsnAvMPvtn5wDkWcRtmJ
XMH7Ny79W61/vzQ5Fbt9ckfe8Kp+9QGOub+lhtXXB/OoDuunQoTVk3ddf/CMY3lZhvVJeSHpLaq5
ad6gX/yHK++oLm4NWiX1zlddBhRFS8UZoz7geT40XnmFl+doZKxzs/HGXf52KViQUG1dqkqCupfz
6vnC3hOTXtpwhDzEqcQY+FWc6sVFO7xFL9of14vv8dWVXhWMnQW1lRq40izuF+uhWh/feF+/Sa4d
iBeYaqiU7TW516YXWv05O7KhPOD1y/qP2zg7bDoavp6PXqmxQ0Xq39oHW1NJ/6PGyeA8OKPtd6dy
rMb1Q1ctPft4F7nOeNnVGpEH7Tq5iAU3ac0faA8KEXM+T6a7P//w3yrpDg4DmKTItikiEkP48jvT
KaB0NnTEQz4/bvWdU3iUeP7W7Y/g3RUGzglsBnxYrwyE1SqouqCwOEwzo8Y+2/T+/3wXP/3SL98v
HxJDhbYNhCMKli9vY3JlwQoMkYpS/TOHvVgYrNMyOS/J/EjrAimYEfRWEmnNG9/w/jf/fmUXQyhX
3mOAX15ZHxw3pZGcH5zr9H67Tu7kOb9bj8vHN+7w97Gy3yHmE6Z1j0rRq2Fpj2NTtKafH0TwmQLV
lQjQUoZz1IZ+zE72vX8cwreYpL83AHlzDE8yeXQTm/XryGHkLslIAbQ4WEfQeTf2hbxIDuoMcPVC
OxmnP9/iT3zB60dJOYZSOC24nQL88lFqGtJaSt75YQmdo3XWbtub4WSFa/BdxssBtXuswjVOAhEO
QRa/1S0TL8vcNuw0nH2A1PD47Hknr5Mq3aR0oROZ+SE7Oeeem10vk5Nz8iJ5gW4gLq/de/vexuHY
hpw6Q80Li+/Fd+1Z3Hk3zg3HxlMa+ZF+6Z7sN57Mz+f8+5P5vz/t9XKKSk1f1MiTWdOY8lnK9z1e
cKomVqJDD4A8jIMSNUkq3Q9ugaYn/POr+YkJ/e0HME9T6IRYhBf45atxG9I1BDnJhzpIL/AbR9rB
O5vhcuHF5Y32pD3ll/KWfSz/se6SW+tgXmonPVqu2vft3XC2LiiLvzHmf5/SIRLu05ZNQKzN0Hj5
kzCtdUghp+wgR0Sg18AWhvvCQO71ht3k9+uwBoJn2olJOwno1SLVEq8BDRSUd05yUxVtlTlRp+Yz
XeM/P+Tfp2ImIhr75DOD9vBeh7UsGOXqZem5UGp9c+qJYi5jJZyUegt6/dtcAm7Oow9Na4dDEJ3N
l48OkgIHoQ7PTNprR792YtM/N3kZiuatFf6n1ejFh7Nfyhc/rV80Hn8Oul94BplRj4kcJy22g/J+
u5G32lf5YF8SFXD2Y++2vGvi/lY9rmvQfNa/em98t7+nttBOpQUObHuPu2NP8/JOO/amGug2LZaH
7jScknMWZpHP9glcy00ddeHzn9/h648FdAOeOhOuMTsbxuurfa/h5Ept+zhp8iHGaKnsv4WGcQU6
t6ghiL4xkRK8GolIMs2GqIf8sIVt6N1VF+3FX96CxV/KbgTQEEZUPsaXjyylpcj5UivjdEXOn9nK
Dyy5dG987K8fFI5A9pgA5tkqMaW8TpjXSgd/6kZUzoZY7iD6PrtE+fq3GV0uxx/kIjjTkUJwruEE
9esuutDEwsdZVrGJn+m6cI3kPq2Jjvy7J8bCqO+ut70H+zOZ6OVVfLxVsyQEA7LyaAQL1LOw94Yk
+vur7KgzTgXc1W+gjq5X8zpIshTXxNWQrI2Mb8TVuv7W7PB6HtpvB70UoilidvC87q/ulyErFxqP
iTlwO3Pr0ofqKUGQ4xbmtf6WPAu73v4Kfp0gAAPDr9g3htiqGayvNqC4EPKx8tFt4pWpbkTauGZ2
64wNCsI86uuO5s9OVUCSC3bFDdAmK4g8NHwobMhieV8hwFdRVQ86Ed22rtwAX/04h4Mv0i3skGL9
gGkmbtmiGie7qaR+TOfR+EqJ1c1iHT/vXeGIro0yyB6kwiCdOxCopYBlW/acBlbPUTaoWqtNQzmZ
OF/yTEwSO9Vsv3eGzKBPMnjGRQpbtrrsFR6TyJeTvcbOtBHajlV4xAZV5FRjXKD5ZtRkRaois6K7
8KHoBe26uhT++iCQtxt+kBnZJMNCZFSaaJhkLkCgGlG81ZfzuzHTDAK7i764q0pnWqmkYg9WU768
98qNH4qdTq+DbLX4ies8VF8Ihht0qr0VX2WZJOO9M6X2NZAnOcaVWxNxPnf0IyJs1aMB3LWkuJhD
JdqLl3lFH9VocCzQHusiqc0bDSS9m59F2gk3AIjq3jj0Wpp4XixajC6JNO/mrlAWTSGl1wc7M2iM
Zmpubxp+FFJDzoEfk17Q2s3x0FELbXVsl/kgu+WQrwMOtEw5jgvX386ZP918aaK5WMqrVin7zuu8
pQmzTaoeAeTe+5eWqe3QyL7pzlvVcbVFpSki7UnvROh0TmPQul3QJosN29mFsbk6Zii9cn+YdkYj
0VUFJYTJnaQeApQFW5P6hVrC2sAQE5bFoKXM5lpyVyqZyDhzB/K0TpU701Q9DvjIvhQmLaygMWqZ
x67mb324mQI3k6G29dofsYlHCx5Vmh3eXKTRVNitiyEJzn7kD/P6KStVQ91z1ashKnzBFs4r2pLG
MXLoGCOptwb0nTESdc0iCRrNmy0JzLoeHrG75wg3rUmoq3mzijFYpgR6p+usCY6cZV6rGBs+0uGe
jv/BNmjJbUiNvABXgQO61GomaoN+k1KDl0p8hNTUfDCsuno2vdr+Am3d7aJWTrUIpY1RmqaH1l4s
IjceGNPKvhgcURhxwZ/+Ujt1gVABDeO3KffdNkhHd/7Bt6VomjWJRVsQbiJU2ZKIvWA0Rx2zzGpn
7kk2llcdUiE0mj2YEmg08jltESIKg+e16P0n325XPm+/87Uab9XoPfamzfDqpV2nYd+VenNh9h1x
ocvE7BboW9J6EdAigl+x5GKbdWYdI3nTDepazE13S1fJ9QJ9kdV6TLV1yE5rylE5aDihfBuLOk/p
/1Xagy6kTb0py3UtMlsXK5GjigQvpso8EdLiwAAjCX2vjrkoENMm8LLNQMM4lsdF4emfSuT2Js9l
dR/Bac+fOrug65yCGI0pzQK7rlPChRqtmm48d9NtBmttX9m1XUxha0v5OAlzvveIfTR4jg493L5G
/HLsrUJejhr9gQByhf7dXHHMIT4d3Zui47AfCY3QsjDV+nV9yFbAn5h2k9TOTsCcPNCSWBZ/lGx7
9dgsLSr4fG+sWj1GmC0yZmTqMdYlRADtmtZGMOQQMIJtaC1SxfWpx35T1+dVmuuDTavunTniTI5m
BGVmPLea/T3VGss/wW/LhgvPl44I0nTMJb4Mw2rw+5iwd5wmpxOQDLVJWa9XBnklOQ4Gv/EbBCfN
iCe3FH2TBeiPdhes7jYYHquBL10j62o4pO3Qq9hDS5EeqZil9FR2vxepVnPWBEOGozmmaVhMJzdL
kuOYdqUR4fmotlBkfv55UICPY9/SVH2TugiGyEZDWZEt/aZCbxkw6xRzL5lMW0gFoYfMl1lJjbAp
kKWPX9Jpsux4ra1KXE5b1poXFlhLdpld5n1fTHwcGEPGgT5r0TtFiFh9mkNbIGc9kJGiPvpj5xs0
l/w+C92y666qoTONcIJMxJW9Cuu4ZpAHQKRKkpdxvxpddoPAx8B1VSNPjyZPoEvcSrI7uHXTekob
OmyhWDB79IWWOTEjPfGCSRppeYJo66W4mgem9kVNWoUayBsB6c76+L3b+lUFPXZtDWLmKu4qGqoo
iRKLEYk6GBlIwe72efJq6M+cZXZZlLXYXuRk+KkDc/WYWpt8wr1ZWo0N7GZ1Md+Ym65lAUixzgqp
PiNrGLG6fXLcQoogE8Y6B1uCj5dQRdtEJ1aZ7iUTysyH0dWSnFqE7EZPgzMf/PlTOom1RVnhbSwE
dkELu0t6pwzHdsifCFBh4kmWtH1OJpU2LGt1Z5yz1fFUaPaF7l4AqDAL/CCV9a6lIPWeaGqJRIkD
4HPhN9Ol7yHtCrSCLyqgbqmZrAT1cjt7RH2FnbmIZyy5qjsuHE5RlSQbzUgjHxL6KfWUv+9n8sIC
bRCoozwxLnjVltT6UtuN+31z/WTl0hkuYORHtLD8eWAD4Wbrdmz7/f9eJrv9ijqCPlWn79uS0dh0
Aycu1oAQ3/7Gp1WPxs5ZY+herI3iHYfCmbVP0jUUALfRKMUh87vms4ZvoQ8Q5JjIZfqheJLWwMyL
X4c9B07n4jN+VeYfRGPsrLiT7vvsdB0PY9ElBuzKalestT0Gblu39R/ObI7oBBZrIDWOIiiGN13J
T0Mt6inStLEW8CXwKVamymG7QEe1IrswhoeChdaIHb2YH5IVhU2cWNaqQkcxz2HlqL5YebIPDnfM
LQZDlW/PhY4kBP+P3jlI9ryq6W6GfF49ohTwFh4m6jRfhrU2VCgYUujpiom4KMCbH6sSBUNYSZnR
cKs3P3QHX91vhCpWobsYznMjs+UbDllzCO1SDk0oCzu5b/GD8n0ni/s+d+wt0lPh5YfcKHeV8Zg3
5oUCo5OqIMup9V71WLk/z7Tj+3fNpLs/FBWBLB4FJvWoWgjPPY7zbBgBKm8xHhVzhYjbRVhXfg9/
IjAH3aYhnO0NQJ2ywqMvvU4dhZbaT1hMOA7rNC2zQzs4uFQnhx4zhjHlbYEFxPkOP5bXhCUe0G/p
NiqJP3TtKnR0wvwB+gLcwAo1oomdJbEHqAbFfDUZdgFHYqupvy6VzRSHYEFeVlz4ko99ziPDKXA9
zarzxWFJS+nHNnmnPxKvG5wDKepJ3KJQAPZusRnS8eK58YZ64wMco8m4y2EalOlFsi1D/0P2ubY9
UsUWW0GWQ62fyTXRvilEeq1ND1XOS6TY9i9HzXTUdIEVcSRVT82dc5Mlfbdcz43udTeiTpPy3SyB
HVyMmTSXY+ksswjGPlmeMgxGVgwvgcaBbPGlHfGwkhhRlIy9sKh6nZ3CUqxlWOalm7/zSNTEvlQ1
uk6jwdiQGdRJWUemSLNvFHG971iEWJPStc1QRvV1aX2QbpN0IZBV/ZPFz01PjdEo/Vr0ozLOFO5z
awxR2kBrLs3R5N1PMunXqzwpV98Oa5br3RpksyVH4j37sYvx0sKSbNg4lplTE8+PS1hGX2dz9UWs
5KQ+yyG1YFdYApcXR5wZ9kPZa9dFwUyLHQeaU8jUbYNSag3W+TVyPQmVsYSqQcd2TtP8qus2Yzlp
IxNIGSypKh5YW3GiOtjvUtw9uERv53kWy4VG9gaTe4PiMR4m21EHG3focnZ8dJyBsXnOcrZwwzVH
t0vQMGVW4lfMqon/XkJpyJ+wGm5PmqCkcEyWxlXntdH0b/6GZgrZLcinCyeZrTQEdzrMY2Bn2WIf
C5Xq+amnaZORyInSPR7luhnvqHfN7o3ZlL0fz6bGLKLLwcLz7M0pfv6mMqz7otbhVc1jUrso2mpr
/G6SHrIe0Qav67lJzKQ6F4Yy8qhpWJxvrXKtzSOJjab94DoQ0D7OahityB81e/fvlmVpnzw2h86n
XOe1RGqBzYR6hqFxPeoTs6+cxDh88XtwljFlAL8E89j0zqEyGyu9G6otWzkzqWmJq0IHreBP1VrG
2PmSPiqUiSSUECkIMRAqR4aOGNsqNBxjGHmQa5lwzOuaJByKbZtj5hEv/0QqQFWHjWy36R4Dl42G
KRctZm0c30bo1FprRY5o3IdGH9T97E/e3YozqyUfUh++2bWrprM9U/l41xZi+dink68dmQ38JcCg
2lYB7F1pXE86Jri4d0HABJot0+UTjncrvShnzM1xU++8GUzGhnEvyxzsV2vmxtH0Ev+HkauuOluK
89HNqPOqIpfXqZ/d0qydwzIMKWgUdyjVCUVqy65a98bSZUG1162OtA7pCgozGxmi00xeyw4CPVZY
uKX1LESp9ee+SzKLYrtauuWyVRqGZZlbJA9m+swym24UQ24cMcgKIePIxwY/PU1jA9GXfYtiwkgv
xyJTa1DBGvFCa8pzw6NIjpUt6MmQwi+Xq3pKzsKsPOtDSyw9kuIumb9amGhh1AjvQ0KEhYjy3pkf
9dF25wetaDEHm9uife8STswHjIDjN4x26E+JKVBn4ClaeRTppB7abu760Cqy9Dt23gWFqFZX4rke
2zn5gDqoftr6LMsxAObdtZ8rE4JQCz0nKIeFk4pF+eDZ2yBwnGq9yX+YALS0ENqB3T6ZrS4mNEep
21y2SLs/aeyl/NPatw3KZ9XV6JwFMr7LZlpTRrQxlY9WI30vLBdzGe6o/GSPlV2l7dko3ao8Ifwo
NPy4s/exb1T/ce4SOR84ovZJIG29T0AUW9juZ1vbBVe6harTmRc2no7T9enFPkPVt3L3F4bm0C1G
iFGMU8S2mutVVTN94BCobJrYrC7cG3Zal01+azxmNTNCCPK5fID6wVoPQGaU15axOs3DOko8SwiA
G/NcoBAar2aNwwg0Jaf30ys4ue1XuJRQFU3ZzU5MsFozRngNFJpx01WYrEwnewdPuZCQKYA9HKxc
wSei+F0X4WwPmhb3/eL1lHzmjXWlhQlyTRbRZlzmKYfVb+zPIExtvech5Jy7WV5tht3cTVXmzWGX
lg4nOeVMVgn4cmi+jUPq3GGhqJNjIaGYsfkwjR/UXbY+gHckh6PlFVm2S9+EHqkJX3YsWGYlM4EA
XNNJYdPd79HWXrf9NHdxJpJeu5BsOQnddNivgPBZ5iICmKMjNePkebeZ7aCuqinTBzuYtdrJ0H2n
3fstE1pxAR2QwxVqotLGc2nr49lNZYIqV4N9EBAr68iQ3fo8B16XVmu4mslP23yKwW5vUX8epYf5
edDYVwRrOYkPS1aoT05lmk/LXPXpySMtBn+4vjHAtLTQlosizdI87GSpqrttbSxGACJzcFvK2lGD
maOCPVrFD3noWxUluOixjlGv0E8ppyiE9QCHvrW+YPymfZ1em/kkymBMGmOLp96UxcUGxewuGTT3
c6KyBLkf9OJLwKflCu6UpD9kugvNqKlk5JWi9DzYH93YHAfO7mew3Ks8j6XM7vK5z0q8jQ023dTv
tChzGl4QhwyOyx3Petd4j5Tz1kkN74HCoC63sGBn7KPH8XPajPaDNbvqIalBIGAVWD3c5v5o4Ewu
lvlLZ3XrV1HW9hBl1CjnYK7z8WT0FRBpZTCIsOgT8tZhDP4kEt5dDDh+Z3XNK2lOs6vxF+XbLJ3D
QJrefOUNFW5rTOjFEJjeZtwJt4FVpxU7fXgkbA20S+u9G4g3u10bavjBIPXyyd+EvvJ9r01P6TiD
CqdniXvXiaJZg1W46f3Qu26x25a356aCyRE0S+pcEwbMbt+1FSU9t3Gcm7wibv04O3WmHcYCAFQw
1igrQt8ZhjsoI6zlaw9vYlSr9iNPa85SXoa/BwjsZpqRA8oF/WwJ6T0oPDoZp2TQPTu2M4ka2Mgo
EHAcSqnMgNvsVjKGhL+cGT5q4yUZzCxjg58wpNhkXdnT6KZRCVmlDvQBsGrgObkL0KbxM84RfUqC
jsmuoWCa8jOEGNny2aiFkYV906YXQCGI6cUgYj20ieN+nmbkPtEKqiXjL1r6Hy728RKfN7y5qIYz
NgamlOl3ZM7jN38ACBEDcst/kEWyUaU2lvpREg70qc/0+tbvIXketMWWtyjsUNvt+R7fm0Fon+Zp
6cuobAsk5VXq2O9aav6PdicbDo5G7U7BYELjZKXWJqYHZ7H1AIBbtl06ydY+SSquepQblX7Oy6TP
w7lK2KuZSeJ96xcLQkCe5+rS6XtUNT4y7HMlANQE8DjYMclGwUhnwWb3ocTkP1Gpo3KLb7/67IxW
vp9dG5Ziwxk8P7TKiRiIKh3ab9ipUCqz94Ja5qH/33BhUeoKXBTlUIa8DQuKiwj+K2Awn/Qeay5C
x2O6DkW1VkmstqZ5t+V6jaNetmyVB07aeQQjij20DmUOGovBvHr227l+MCEg/JjQcwKI0jP3PWDm
5f00kVwYDGlho2otdCNaleCUKGTto7Vvq/k5yzw0Hr27sPlr0y9ZDrAYx7dWPICUMeNK9NbZGdL0
0Ismm4J8pkMUpC1ctaBKnOWjy5Yu4YhbFLfgxfxPkgrEjw781oVpamKKqSxLGZq6q4X72TI2M3K/
HSLRhU9wfcuJ7L3K5uqWOltyJe2tgZaeVfNn06JmdHBZJc8qXd1nW88rN0aUJNpLq+iYZFRbgHby
pH6ZNh6Eq0XvkM9rlXqGNcYgokQ7PqVqnT610+JRHNOK7YtfrlDfzMGlG0KkS3HFcb5CTkWFGUW3
qBY0Cr4av4ACthi0rlh/kFkH3o8M0PVxnUuBMobW1hTqmFq/YiNi4DHuQJ2sTJEqUt3YfrYgqyho
FImAYsOexWACXNwHMXGIZVXrpmvYMoQyWBWbiUCHoFOxofYseDSy7QEtjWAnknmonz29dz/o9L6R
A8xb/T7Xx+bRlNQzIsNa6xFk14q2dc4LqK9rMtZZ1FhSpx1S5smN3IYRQkfHTjjIqsb/jJWocakO
JdQzhDL6ewG17GvK/qkLqHfsZQrYZ9+VGNZHd/OHJ3tZG0amlX2nTskUl9BmbaPZt4Yr6FXNt5r+
bYNFpk7g3jeGOBXGXPSx3zf5Y5GNcOr01nTvrbTY8awqgeogIHPoUap7lXGw3Z33NzgL+LvGW0QX
d71hs/nN2SOEU2dZz1tqSoVJwq+fFeWOXYjsKhPI4U+Hl5c1RYhAVzCUknL8RqTrClXMn9trF+4Z
wkPK+FqkSpVOgTINCEwojNHnaCUPJy4sn+y/vGQt15zCZMw55ny39Aa7olIaoBclwABk5X79qCBH
WJgHjeTrOtFX3GXxPymBrs8pDQrj7SYa+5Nl7psylrPJQVZiLBiw6LOO5hosGbq1dsX/Enoc0vq9
R5aBKJv2MSssanmxYUyJihezLepoxZujBy11BO4ZUX8NBqsDppM3U7GFfjmaIhB1MjvR6mzjxvfS
ZTlWJj2ZLiSOiTH0LI4j18z+IHf+3Fr9mUfxaxNyF3ISGUSpGy+5QfTCy5ZnSnfLNuq+ijvXi1dC
rQv7pPDJGMV5tB5BvRzNTRK1DnnQ8qIUxoNm41AxLinI3RhmE/XWjaDsRx86stPpYM8niC3BYK1Q
Cq8V9MI//+Dfuue0aH066MIAG7Qn9rz8vXMF5mXQ6Dhnpt0/arS6birC4f/6KkKns00wJxlRCLJe
KWx6T86GP+HrUG2fPKEacW8sF7v4n+/ltRgFHvCefLWDgQn1BqHx8l6KkcwoQ5EHZctKvdch2lxT
jHBPHhvM2Cvt5S/1PD+vt+vakCPqlnidQO1KyjTss8ifEgM1gq1g64ry7Y1P6j/eFcJK/k20L+iq
X97VRGMXqY9V4EjX0Y6ZWndh2WxbLYoyFx3C1zfUAfsX+usXTMPeMLgp9Nt8GJbzqmm/daqy3VJ4
Ub3Pa6tl3ehgOjkf0MwwHRhcGfk6f35xr3UCXJLgCe4OY7iDNfzVLRa5WWUTDbyobfPkooWAF7hy
tCOhY4T720vxHSKw1VmmMKQ4r2Q12ojJ2lknO9JMHztU39HfTyltrTOO0D9f6vXQwjPvm7smxTQF
vvrXl2LycuCSWlakJRm1t2zwnGjA1iX/cnDt1yH7z+FzZACQ6vjyA6k20aZEqFpRuYid8su2ol1d
8w0xz++fhbD2xDDUXuiSEFm/vEq3jTTAERRFdBjE/c4MYPOmmfWBnO7y81SRVhwKzC1//RBhZjBF
YUQw0LH/lGX9IiEpKoy8y0aNqnHa7kCNBquZ3WWHv31VaOWQjbvoMZCMOq8eYV6w1LiqtKLMG+az
nYO1Yvr42/kCTgsxBkyBBInRR30d9GavJX50v8A/jjiH8/zO7yyG9Q0N0ev5YsfOkK1iutg6sGCY
4uWLyiVHp0l2InIGtdIZSUg2IFsGzziUulrP+zd0379/5lyP2dZlrnBNsi5fXs9eenuh2ikiozKm
w6D58z1QtfX7n9/Q758fLpNd9kdi777CvpqVVIvqmwonTKvGMW+B74njZPfje8CN2p0qaTVlnsfm
8M9X/X1i2iWqTBUuWmkm+FfPEuO4n0JeFMyFhgr8lOpsYkk8ijMBhz8v9Vf+pP/WdfTCm/T/CUP5
H4g52ZW1f3AqfWm+PL/wKe1//t8+Jdv8xxGgRD3yydmliF3d9S+wiWbsiW//NiZ54h+DuRD9PB0b
/ts+kv8LZWL8wwQpxE7W2v/BX6FMfuqk/98qyR6DRZ8Fi4WLBL2dm/Lyq6fFptMUXdIHvlmltq+0
2EhOiuaxocf/WHv2xGbX7del1NjOTkbX3FHK8nvJZjXtRkToOiTchuLiXJA9XSugvtYJpj4kgqN0
MAd+qWTZjqRk54vs2lt/tgBXXQi9A1d/AlCOZuVa0NSifecpV6vMd5S+vPyB4pnFZexSYyl/SJrJ
gm4/TOZg3BQLYZeUDFHp87/SOVtLxBv/+lkjrGIUwxZdVlFFlab5w/DgbZppgp/vp76tIjb/hc6p
ufFHCxd8YiRe4caF8hRFOy2ngZC8wQ1zXmr6LHTShoA65SDhZzvtilcTcw0uqEPSk340nLRZ6Doq
7DDgFEw8Y7Qtmz5NG5r9NDO+aqutVivMmWOhtCGAmHJo/c7SmgE0R49HImsSuGsaaybFexTL61Js
p1mTpCkEA3yy2sJTOXn+EJZeInjYTl2OvAEgXz3H0a6qOYiFaYqWiWZAOvV9GhfZUvG7Ut1mzxGn
2mJmoFjSYg878QHqmfO5JkOlbGOidHT3nVhImnVDTCSz+zzQeW8fLZ4jv45m1/4XOkOrc+k1S4GR
BpRUK/64jTRJmhfaWCbugyZKvP90SRKpGxi3VTO5xzKhkWMf9j1dV1+nTVd0zwNz2wRNSy7sB6LC
mhJsQD3kR/7+nr7qTA1wrRoeQillwv+yirbgar2Nnz4/9p2h8xOGvgfofKzW3NAAVBAFwB/JJ4SC
KAwLTg1ffxn0d/8aQ79SgvaNxC8ji1e+C3nZaBCRR2vydfLqUErbqYpl+LAftlP3RP8yUcuZuKHZ
sUmPax2ZxWaqym3ZMZ+Kj1yT5cKO+P9Qdl7NcSNLFv5FiIA3r23ZNNI0KXHMC0LUnQuPAgqugF+/
XzUwsUNqQ4p9YpCi2EDZzJMnzwGY8fziF3GPZo2+exwPgnEIQZoOSBimH00sM+BEtFZV/BUReJ+l
gexqolJK3NNsVPS4UifIzuOUIpF9Neyy8cdHlQ01oPXPh8V6fwOyFWCCh74OyOkqicKP9NYlRDV+
aLrgayAK4VWfRslZA29QFpnvXiMmBNZBMrAeoXHZxdKiXIkpu8XSyubQneYT3dz6yzjNOBQcqqFB
2PVzkIOcG58rhYTAm3D6ISmelIid4imk0uhff/4W74MTXoLGLXJjtrPJWUy49f7YRJ2Ws8lr5q8K
Ck3qUfpZHIbRHUD65nPqdK0z3iNqD7z8K1E+DOY+TmVgcb7hJsKpQgj78cyupOUO6eIkX/2Kklj8
ZRirImhPfee3zGHslPrDA4xlWOCukBh67E2jG6P2qV68rnY+NUibsCNSxDvYqbAy0mXaDZ2w9LpI
jFT2B2i8FNA+i6GyUSfwh1ofJ9OYCv4m7eYzmDI5asApLMZljP4E60cH9rmpaUAJMKOXJaKk6HEa
bnRyuAHYZF2Tx357ojbj6Y3boc463s8KChD6AU4zcO7MowTROFZdqHelkSEuR6O4oXwm36Sngt+E
Hlr03T4LwlQG+6Yd9N7GPhowaw/xS/+VEc1p/rTZ5xnvpdxOHywKbwx+GNL3r19P1fqdUVVg39MN
T6X26Ap0NNLvoEfDND90WEZRLhEkC+0bh2jNCNcYrfJ4i9mlNmS/0vZB6ZrMTLkAZVTlFGR6hCOb
7IKnBPTqa95kBVMClyAZ42tTDLVvfBPrAVkGScvkqRa6ZfPnaPUUjo4oczLev1My73PrscxtURR3
eQxepOQO1GTRB+wy9vwqoo/6qUM3bngvfPpGg7JLr081JLL0c7aIkRovWGboe1R4QYJStT3DY7dO
M6p9MPOpiJZeRCk6HlCf4jp32jc/7w2maftTidaWQ7JrPVFVnwj1XFVmNx3bpOhGLbhfqt7+ghmC
ntyM9D8vf4fNEgK1FwG2TfF9kdZ6nU39EPnDg22SgqVXaAkJQ/rzbXlzuXx3ygU0ttALYONehEG0
7uf+N1M/9WOzWxYUBcRAXbPYxwv16Hq/nXlGK7WIkT8iQAzbD10evoi6nXi67VecLOva9uDkVW9c
yeb0Ze0IWzKL/RTI6YWOUxNYFsZlwaqK8B5jwBsJvHLGOieBDkZ0Lz33JbeUl6EDYkJoFN4LNB9w
zmdT5V3yPKncU/5jGyxQ2RbAxaYNhgdnvUBtahPFEzxjXADO6ze0p+v1Tf1Tr3ZrnHXck4e5PrM9
dzTgQnl0lLIO5Ew2YfzWWKKEKLarO/RW0t+3285S8LJLKpKwPyO0aWGrt3ujgQKcXrkeCat2MsiS
uEdHPU9oH6jzdLCDx2QIZffd9DBYgC7eezZ3rGMtA8CrUfZt5997hZvE0RFxpwXiSeVZteOfCivW
21ELONr5mmaQIPzfGnwf+lsJWZG+xZyV888BqgQGeT/TDXLYnEleAYOFEqp5AiidiQLtmsVp77fQ
EFZdhTdcj2ssWGRo5anlPeDgNnEqA+FRbfh/3m4a2OJS041OGjT5IdCDuWB72ZzJr15vT7w8PH/9
pYSf1UVP1OS95pnDNxSc173Zqel7hJ9MM5+VjVqR8X02sRatnlDeGxz/bE9ibFG6ikuK2MdK1X2O
QZCMUZZ+MkJK5hdKPwTXvwAEP1zR+HAg7InhLkqiUaAxwfdjq7zJGBq7tV+sWbYJQuCjWhLqYAWx
LbF1Hede61zw26AL6ixnur/sLz/fyB+iFZ6AfWz5Hgvb1JtZ//u/4JJFSsublnZ6SURdBN7vk6kU
7l1GRPccBn2BU4zzLvVlz1xTytGzG9BLMv+qA/HH56CpzMNai+ZbAL2PI4E8jltRNmxe1rOROrQ+
kNn5XPunPjYV04K/UqQ3BLuecKRPKx33/nw4PoQbJIs0U9FJDR6MtIz9cbHnECBl6jsdE9IBcqME
ZEUU36BgDzXCLn6fV13xkLsqCJJfpC4/jAAfTKQDMMJSYBQ+ZC7LLGQhYPe+pEbmk/1xWARcJyM2
BnzZDh9EzJHaviCBPc6vcWx55a968AidmfJ/He26xwt1D3B3m+Wpy3PvlwQSDKIrkNp5oWKiOP6c
dYOlec3s3cFu5Tg/hwX8UKSm1iCmquYaggBm9PmEUhr8ayc/WUWqj+zCMIkNsyHjykt7T18IbuPd
3mn9ww6BZEqGWs4Icu+nVHkyhCLaGL36khmGGPLPfVz1Aun7oACUu4Ru6iKHRGlbBxpwxP32zTNC
HTjIYBaGPJS2m2TyOYlCvYobU1LouSdDgmG/a2Dv++YpT02bR8nWdExbJ+hAyJ8mfrgd//nI6nvr
5KKDnC6C2gELCKJrFp8Ly9SXhmVniYNrDIeoF+HY1C3ia60WyR0DWdPljl9vQAiNyF1BkMJzi3/D
SajiYV3hkWo9LItOE0+Uw4zY+t3wvLL4VMeit9RTXEJulLCEE97x5Dl0nY2PKMYvmDj0cwwN50Qr
QjxGuwmBtbE9wM1VQMcYpgEl0wjlG81XxkVw02JgxmSfyCcLHgFx7ZRHEGvMMtEFQZk+W/ognfcc
+Bn/tti9hhMmui4YmmakTCvJ4xYIUk9l6CG9d/FDmfLHINal/Iq9pqqwTD1+c/sPFtuahVJz55JM
ErPpAY6dmX6MM9E/3VeHik4t42WEIg6QAFObcuwdF72OrOqJcIFYtFERX+x1RVHT1YFWr/yS+7Rs
uOHNo+XFHKFHAgJ9V1vKoBsIpnlqS3laMsYqPTlVPeMwgmCYW5TjH0DexZw8DJjf9sPexgogbo8o
dhGPmH3kLcWpG9GP/28bB7fo3epnxggensgxJMiLmA7ppIYe416xTGGN+06Ww8AJ1q2xAMpwPvVL
4TS9uYvTCqe9xwrN/Qwp+AS+jDkeMiNHKa4iH7C1DQwKOt3VLftFBfeSXkhmIa/dJUjuqrAuRYfe
JX6CrvdKB88ytvdGzrVk7eAV0za2k6pzzOFE7TqBgyESLJM+VZgSRvMLOwY3gPZQxZBo0U4s/UyH
r7bbLhnlBlJZVDHX/WRSD2A8q6SpsIDIRwfG354wzbH9A5zEgg8KEqkThS272ebb8uHvTIS4t3AK
hFT/le1WNgZQ3vExormXIVlD6J8f3D+cnpjm4SiqkWXT9qKPqVqLbdzk1iJ9Xu8PEANCO4c3Ulcq
7yO3l+tPOhNB4zIljxTByN7++TP8cHkgVc+1ERGZAPbR5v7+4Gwz6CyjNMaracPCvaam8IsnvOGL
5dWoHXKdE+Sgkmvt5x97e7d3BzYfhlMqrbnUCahFfMiRc78Cr4p6+ZxmcRQmZ6uKsigH8sBLwThO
MCbTDqOvtIvMvYUCWCCO7MVi9h4i/PKW5WuUGhI12qlZmO0jxeggbE5WMhG43kEJc5jrdMktoj5O
tbjPkQQu2/EZ3TsJaElrS5pPULtdWVinJA2agfSHVM+iL42ji8pCiX9vav4iB3Hfg+1c04CpPvgA
wvlAA2ivvB9vy28neGLl8BxhpWLJb7lyJXEe9KKB+XaExYdCdJ8GDoQ6w4wK7FK4iyUPGfst/IKq
n8vPQHF0pmrhtLK8YpBp8guiUROUNFr52h7zsWDQoEO+/mHXSPNc3veDpdzpGBkSgHXnFxgFtw+I
tfhVdkz7hPjl4sd0ZOYnFGhaBruvDX0bWY6BG/LfbWD4ynuwFnhCXxJaX1J56DIgluleNdNM47hp
FJIeLmviFopp2LAtBdmM9tloyK6qofDR3JHhR6NxCrh9LXvXdtFghdBvuG/wWtmpedaz3PTxcnv3
PrPME3u3wmbk52vwYyBLAojZq0sEg7MvtZQPwUtOO0IU46pxddxsHJs/yOgLdV1g37HXdMzC6U1N
02M0lO1qFPnnn/9x64GEUmIE6vJ0GP1D+Chazlo0t8MrAHO5vHrrXp+dMmAJ2NCg+EQCeM6E//fn
0l9AF7muMEGH+PDeXjP52YTC89V04Uu9upTXwXGhnejzsVMOULpmz/Czn3+u9QGaorgJzE0JHKNm
XeT4GLeXaVYrOS3LddRsft6xbysn22/hKgdUaot7UeEdYuAIL1XjoUJKzoYNWJ7OVUeK6+aBvAjc
pax5Z3fEQX8AMYTTNBx/8ax6H/77fLIxmwDMvlXRediP51OkTLrTXCe90hlMA9MeMqReCK70u/Av
YgDYuAebhhj5NR9pu2r3NRT7/Dv530Csu6UicYOvb7NPsx4Pu4PjNAZivrIJ9ED//Hk/4MmhTbna
h7utCQa+DZL7/ljpoJCGqq6837x5VhwkfoZiL21NqFLzXXO7ODK6qvMDNkWwAs8mFgXcLIWNTE36
i4f5YWHbNjJlcET1qjapKr5/GB0m9AKs/VpjocVeMun5ZC85XhfwWV24cMF1qEourz8fBOvHUdBK
bGwqFA5M54e0P0qg70vpctIErdFfajlq+LWuVRsXe7v3NHy4IBI6hjr2TEVx3WKuBIYJc9IjYEs4
MIWzDqw9mjZ47A2Rq5rWp50/tJQGQu1xTobsE061S78cAoUjr8YIUU3N/vvzl/J+WIkOZIRAzy1M
Kw0cvB9N9PfTxRvz8bohslGDXefnwWrRXjhmwUIL4h0+WQuCmnXh0/d5R/dd1zfoeSNRip5uN7W8
TQ+znlBwJG8pBesYuOp5adwAByZQWRo36R3qSF3hoqnILk64qZmoYQYVjgB0A/euXyB53kOE7b+O
DvwT47gGC/bkaZA2g6bOFwmoc/tCMtz9mdKYSUcd1L08UUe6tZvSOfsY33sw1mrfRAmhhC8QRvdD
O/bGyyLoouzftulYZkiP5W4ZZj1xKHoJh/QFD1VsEv2ktEp5GldcGoQNPYndhiWXiqa4/jBQJKKV
pjEa7pTH0hH6+dqIbsXpTJ4XVohWoBaAKvUFzyeIukTBimh4H9CLjmvCz+fxh9uGcqxDtccn3kKP
7OPF73tpsrhB0V/H2tE7lGI/uRaa7xH7FChYj2FgwRa/dFnh/fLw/fHj9abAGMPTqTK5+vtVRKyV
5cD8zXWDMl27NrlfiiH0+XwIpEDdLgQHnqJMcib9F69/4wS+O1AxUaERTHsTEVD88P5pj+CFtbTj
bxAkdVaVl8RvYKQ0/9C4jyLuouXdB6q8w0ML5MAE2ovLGjkatECTVGy5GfpEGjccOJD5IfLXGsav
15rAFs7PImItxZ0nzQACd4L7LO1at0/dVhb957rGIRPkir27ORhr+psiExcx/9AjeUEbNzkqp0ZG
P1SdVr9SJfrhoPLBAmmrpF5KmR62zPvZUHSm2B3F29+2I4p0xGXKt2I1jcBW+4ZCPGeY79cOq2X2
01pdp0r+MgH4GJDCZ0E3E8ITvJbQtT9W3GJLlV4yl+pLVfe008JJr/iMqYBafuiikPX4833wAzaL
PihvA3FHV8kiILz3745drJ+IeEi+0BuZOc4ekQISNnonQa8IGUUajd8mN8C4vO90d+iu5Kyj0aYw
wShQsmso2Pxqc/7AdKBoxxDoeJDawI9XVqdKFIkEdhuoc+uTZEYQmuu+oIZG+LsGaBNFInVtjIEx
qRSCVsDEt3uGa80tnrx0RpNsz0bXBoH+4pFdd5mhZ289KNGtqJbXIEfVvDkv0Djt53aKKT/T7Fnp
cusagLbEzuzCzp+JRre6VuZ0epn7FVKXl9KKiDx2qPbgfI4cGYW6XROYcUCXNfTJGQmLABn4znP0
1m4DBAbsu3rI6C25GyEy8ccbGel4FuUSuMn7EDs2vqgVvPv5dH+MBdj0FJU1yZKIIPI+2l0ho5CZ
9H7bL1tmWcmAVjmR0RB9IjWd6aXwGrb3rwIi8GDW0f8eOB4MNAt3XRi5FNg59j5SPM1JwIgNR2RF
McxAeho/QRT99zGOaS11mJ7UpwUqzejE2S9TpOLkCCknFZ8xe9fXju+Qa9l3WYA56ps1gDSArCYh
qM9W19lKliOuGPRCVgGCpumB6h/bdp+mi8CUOQkmtNCrIE3dnPvV1JXYeioHDJxL4JryUznhUESN
jaSJnpitzFIicMKN7dI/x0EUpYVEc3rQhc63DdgSdMDS3jjV0WKN5wZMqMvIVTqveRIW1IkKpwq7
s79RIS+FwPi8coJXhPQ9LuMArnlXHOMRJQf3obXpB8OjCwma+NNk8ubJARn7Bp3E2isykZ/LGbPF
J0vfEKQHXmToDjHo5tH8iQYDqqqETdnC+gHORA+JTjMq9vPF7Ngj6uBMMS2eGOb2Gu3xui5Uxu/z
DP6lhc8l1AJI7qUwvrgTGlvU3UQk5/JUAODYwTkLvZLDfprDHl01kMe5THDF7TrjJZx6zin4cvrK
ik0sMr6DF6X5OSlj3LppjKzZxHBR+0mFu2WtJGc+UCIf4tEOQkSIjohpHkbVBS1qVc6cJngSxTLN
nUsF7jbILwn4S+7cm21E0nul6UR7W5i5CMwOvgqmMt+GVE3mW9QadngZGmnRt1yomO7CfUPnLxfd
Vn7ub4dEFqYDEyKLeJiLR0QyNP63wq5bTT5aC9oGU8rJ0+Pj276N6Nzy2H1BW+O0Gwcuqo64ZvKG
agewJDFXvpUFk7xmeeIBP3GJ+jOwvTxMjhipw+Shkf8q3F4Jif/aY9zkmuRJmQ0cx4Nu9gE9YmvT
40YzwGUUaUa7S9lEici/WEEcUNit6jS+Q26OHhqaMUVdRrIhv7fj4G4qqeUf6P7LigdBj751aMD3
HqcJxQSaj63kS1ni041+epVMT3ZQdVjEK9fHqIpCOZvZ9tykuA9bhTJ4gRZ/35mHQfJv6bmyC0N8
zgsoZ/dGA2x7HgB0sgPuBeO3uCvm/OR42VQdS9uSz6RLmTi2wJ34cC8hgWkjfHu6+I2pypNwcOPB
lSkJ+n3WqyBxD1ZfKOshipDYMAJChx1Oxaw3fAOmwxQm3oIdfdgcAOxEdJ94I46Fbl4HjyQXdXSc
gE1CXrYI8M8ZaCmX7ojB9eLYf6GQmN2XyuswyBqCHH+XaDhI8I9XhdMUymjyG23f7SuSZgVmKoZC
IQq5l542u8SMqxG8OqWy/thyXdkhom8uYj0ooyESZj6CwRn/icbEOVOgqw5znC7HpmGxBl4X3vGu
FtgNSTa6M4v4ghkx7aORO4A0R8sjDSX0lkdlMH81S3c59a3roupqld1nnFmb32KnkU8YuyNSPvfe
cx8azjmOTHEUKGVQivO8+oFgqj6bbopWEq3wGoIKnnTf611DRf6L2XjenzNycV/jrpfX2ZDxYwJ+
fik72dMs3HbuQWQCUeJ8Wo4+TYdcfUuuLshNDQ8iz9RnYSOaskwyPxY5LmF2MTbI0QXW/B9E0IqX
FlrQb5Vr9veg7OmnKUBjgN492pUQw1sezLmMXoCNsQdNYu83/H1m2n2gI+yKpAwfzCF3aQEf5NeI
uswZ3oaxH3Fju/PkgCGHqv1qbxkVRlRw69w7l9bulwaDCrEHd6aAMY/Gt8TOxGMkmmzvW3b/glm5
jQ+YdM5TIOwnmMvGYVrG5e9CxuIt8REYpQRgHMRY4OwMw/nNogRwR1t2cYfJwvwZpYT+yU+6Brnx
cbyg3YFJUbzgG9xkYb7PkJ76DapNqI4QdWo+xYqPBvjAQ9O4Mx2IoQxOYVnE/w0L9Rr5YnizuN7O
1YzwSUFCuOsQHMCjrTC/uBzAR0MV4WcvCYI7Z8kE+HrHCySV76Gl52sRn4k2nIMIRf2NdkMPa6E2
F48sTVouafdjn2BO3ILPsmVQKHpMAKK+IQli3Le2DPcx+ePF4zi50iCBbg5c01ewqGUnljH/ltYF
ZlWTXeOk4aFpFzexRfBDLWM3IXHS76uprN+06pCzs/mSo8PECMJgoVFqto32jxmX6JO3NPmlGJqB
MyNdiis1tv46cdnsFphA5wEKKN2aTv3iTxmS+nElLBx4jWxMh6SjjViNJ0xOuz+toK8/pdQHj8ZU
jcEhHgPay5NiSo7AG680RNJyOIjfUwpSFyiZ38fOefXLiv7soVAnY8A/eYns9lT4QYM2NCbt0WPk
xtUdL1Y6e8o1zSciijQ60ecdj4e2tbmS8RLrabaNG47X2oX0aVu5+Y22fIUqnQeV2G1QN4BFme4a
qQn+PBV+J0vt3eWp4SIMMbd/RZUw7ou8H9lcrnpKXGe6H7Iux3DLp8+MDLj9c+LueLBmz/9KnaW9
VnFr0p2QFv0Jhxz/1ba6SiJBaUiMO1CbPAwEgX8bKaZAIKdNDw5gQ7I9pl6XPbUK9QXHQQ7t0BTa
yjhC1ykN/0AkM9zbnaQptmaE72Gq2QcT98ILkobds6AKcRzsPEWF3ovM56SAWkKfYBXzQoKzBBbA
M2G7ccX6SvwtnJnjJ8qcR/gQiGMx8Ob9BFf4GDpD9QWgH9dutYTfYjpJvhaJ2WLzBOmVRnpG7cWK
cu+UKwtaYRbL8pyIMPvLJfq/C4w5fXM7p7u4cR+AnEzpfvAXm7ahuI7ZmuVUnahQtfeILNUHwHjK
Cy6G8XnWZP8Jm7TdlyqkxdzCEHvskAspQ3oWyrHr0TKwk4cKHZ+HNps/8eDf886vvqM+U4NwUOYS
hcPZ3Tr9UYZaJar06E8u3D76lAXKPWrftpPTTgl2w1PWHHLP8B7poMeArjH/AoNzH1ShMHpFMuE8
RRY6fAZ795DJpvxjce0U8pqWl0djMLprEMz/4oNVUnEpiuyTgRLCnktYPNdSjXd+ZCwXk9PsPM1z
fOfy2fjujK7xjLbDSHWqjowSTzeUT85FEqZofROCL6/oN/kUIpYsJKMsFktjC9nSaqDNL3wSp2Yh
UMOeAoocUaSNPVIyfEZlAMrLloE27UhCvMETWy7UTTX9H88Dyowax+BAgRmzpmgokqXkOmllUeE/
9pSvcLtXZTIt2WtQspYRPYLEzK94K/ZNcKVTpeCGwy/gSoMWBx+qAg/Gnhrkq8r6pP099qIK8bW1
WhctaMM5hP1hm1+i2qvd7+xNjTcqo6eWjWgbtIwDfmjj8gRPJJF3MjbQVNgDX2G2yK7z6095NfTj
gIQmzW7HAaJ7ejQ66Uj0wTB3fzXieg7/NuEMIMVsBVb1YLsFIZ4BQXc6tYHb1Fd3amO0yrxE9Fg4
Artlz1SjEaHZN01R2gisB7by/DOYVIJ06AAnArbOBAN0PvZjbIRAY22BpGdG+TSlazPn4tqRpHsd
8Bq+XE/lmuzmUVmnh8Ei0kFABLLoCZ1QclSsvxrUoUhBqv5vGDMFWqo9JnHef/4pVtkN7j2T5zXJ
/WwiqrQLA9Gc4yJ2sN7r3WLxvxGQ4Vo25NNgnNvWKurfNlopcke6PGE2Sb28rhly1CxIOBRxyjAG
6Wh1/6XYrzn/5jzpdEF5lQbViiYTUEHW0Bg5So3bbqygqphcFOhCfQpct1LTxqOKYrf0/WOMjGUt
PxFLsYQnEi1yeqssNZruDPaCHMoSGt2cnKkENHxmhnqQuhoLpcZLeeON4DNIQXXFBuoSWQYWQwux
ID+xznU2T4UJPKBqh5JvYAXrn1Fx1ayljb0sJluT6lKTXnLeruTquK55RKNqzczWPA/1D6LYZjWI
wIUsqPGDi7nCskGK8TkQvIxtRnF9Gvoembx6hf47Ujr++Jqe08Gq/6xMqrgu9eETKuuSBqM3GpfS
HZ0MlCxgaLC8j6B/2Z/jUUjciSM/kPkDeXE7AjFPVCoaGvfhkI80/3P5Y6sFkZJ9upKuEUywO6gl
KZIvjF0oAmSl7gAN9aPGgH/M1BxbBnw2OAbCtqDsFRbc6YqmUIZHtCGr7dymUzJckgxuyevQubo+
49NYrq7F2u1B62oKrJLYZAf9Mcwo9f4NAzFBrzGIw9rDQCT18+UV6imwChI5fRpeSNapleP3V3cd
9PxpAaA5W0IO6CduY9XS649lnaR93aZ8BtrOjK086dG2l9T92xBF6qa72iEmMo95289MDHpot+VT
Sw0d1aLxbzOC2HeKztdtmrYaYOJOIZX3KsZF1DuMqBMyoTEBS+k95oXb4AtZZbDkxC5A8m245H6r
8SMyC10z9BXaUPm5mmAhEftg9YeqXEb5mEdxba9kjK06nPnfE5peZJcEpiy9dgadeJvXSuewBDgD
701WbVJpYKp1v1Iy1PXlnmKOiZtXTubwpBJPhSisxql+p2Hu9WtbuavLPn47juQoyo1SBAZK6i/q
VWkhjTeBwiV1ZBFlHP+lX+meh84OEC/etRN1524fe4vGqaJsjmYugQEnwZxjwfxiQkFpOJ2jNK9O
Aw0mI5qkYfat1jQZJEBlZBXPZloOcGaUI0meO9nm7mu6JHn5mPmwE0+SfMy/rmdJTwMhYyZuN0yf
VEb2zfDGhbcYexPI1RhNYIZ107Vjpsd8aGl75N9LuFOoXWKiysvaJe3Yr1vxtujhoRP13pJ3OrlY
knWD+agHETwCgduB0PiAd2Hm2cWTZNd6f00BhaXvIiWUfkNEUSf60oaVjb7tDTlYKWkrCtTFpsdt
h5YuAjDnvnHt/rmaRVx9a2xKGcOunAc1axUjGEHZfj2PNsgyvx1OcHD045QGqDoSxyhM7OOgdhvy
wRv+20QT1Yl1iGRRNFW78+JwjlkLpI/qjwDrwPbN6kTCSLkruXG5lZNXjHK9sQvcuBmpWrn6tscx
W9/zDoAKP5xiLBaptdUJh9p6Rm/X/IwpxbWJitn5u/OEO1V7E7a+ukbk6/z/esWpEcljWG3kqRkJ
NMy55A7orpTel/Uog1mTsyc2FLREjnV57VYARZdRjf7zNEt90NABrn9xaCcA25iuk/ZtsBu9kcC9
9CNaim5qAZmMKtTwOab5gMdHxVP/MFYEAcgfNUSxUIlXILjI9G+IttEvv3JpoOzq62eZSNc5v2ob
r+tLPtoVdrzbQeybxsw+WNCt4DfxG+g0+oiMLQ8XRbOernW99C6tI9k5z6aJI9Ghe2x59ccZMuZF
zTWdMvukiIB2tYFukfvBsfSqmeOk1TaTwWX0S30SAA3qmCcpTc6+GecH3qbm9hEt95zIOOkr39cL
fK3X/sPHmGNdE0UCRF9kU5jd+oNumwdjSL3ot8lGhYfHEppMLHbI9+rjBkE9fT1nVadJTYEIdISn
GZHqSmPEjWtEMRDfUtLgGINUzi+iD3m749DjGgft+Vx36MqkND2U5T3wZ9jKs9XRrlX/Vke+QhjW
xAuEL6D8hQn/NwDNGe+LKh1hlYxQEKDfDS48zShEKxmjzPyOHjlNplmwgeMpHVfqXU7TnV6tvimc
tNmXddn037vSEkDZjnQrF6dOc5yD6WRZsy4VmJSQGRmnguf3JsZIE81p0dAVb6o5Dl98lLrV1b9d
OUbZ3e7vG8iPdJjJw1UB4chbt9IDtgIEVUs9gKqtdQTQ+BnXVVyMHtO5VdXXy4uf+zhYOiC4RLdb
cW8USx2kaCSZpmjuAPkpOt0LGEA82lLGzI/b40jseLuqQl/rMCIQByQxtTQRfYLUTWp6SJxUBcVh
I/ZSstMtllEY4BPyNe/DpYxO47qTt2W8bug6RdAjfkoyQy3IR8GLEu1fiHxN7VHQzYDWXUvHDm+x
RTr0lOv5zyojcPo3KPu35XUruCSJECztIkJND2tLVGAYK9OV+tRNIcYSmCnfHdkKDbYB6pqtUTgq
fJpxvQ1gIXNNxkTKVd9MYsDugKprnMLq2GWKIrp3aFa2QIeOEUMojRwiHBXrLke1r5ApyyW9kXEG
N5riAMUwFESI2+pUX1SSq5S/WJWkqrADUPLmb2Sjr/jDW2HI6OAnINCzciLI9fUmaEzaIsEjkVNk
XRZF23bOJ0HQR3dnnRv6b1pcwfy/RFRLjvRcXg5A9ApSLX8aJ60Enm+PhB9DVPtzImHg90RHVHWU
DRN5vxSlb4A418tU0Sd1C6O3In0tIdKFF0SdsgAdwK3yRTcXM2Gt/VEtQQsPJm5h8HojIq+jL2/D
A//xDojd6U3jdZWurs80szRwzWe3sOU3lEI1GWYLdwFhJBNIbSsdLkLOHQtpWzNoeOtC7wRpmR/2
sYT+eQ6jmBrDOaOeWDylo1MTjhGV6W2D5h77ICxNvcm2cYUiqHdKRAMHD6LiXu9ec+I48dDjCXxU
hxRSixUywre7DShdE+lmwMjpGDjIGYlDjjo//IltzWyZB2zVWwKCVuFw2Y79bC2beysvE2K0yVNt
adIM3aezDnWZSeofa0aK9LmuI/Z52jNm6yW/7WkaGtd3JyfOT+1amJutgP6J3Uj71lichJkxZNuB
bSCXzFjx8hm86q39rWrylHUw5GAM8zlYuUohYoGMyFbyc2f6UigrrlfbWmLWgqk8z3Zk5+vZPpjp
wA/zcbrFDnku+G6tP2dp7DbnYVqcybo0t+g7zN2FDzEah9afhzSzOPmQHIROk5/WgV6XXERkyBit
P7LHQsc3AUPABWBW+u78ZzYHW19uiez05JuuAm/C7lWnUktn6NPUGQjviaRqruoZFG8wfDzWoxBx
WtNBjbDZJVS2gPGBnFA729b6Og9OH+pJN72OW16GiX704FZU3ULu7SKPoLTwUeiF6bt4+w74QE/R
RjkgIdQXtNV5aQhnOHQTD6rCuinartHv/w+VMO313V8oRONt7kc80ynWWVIfHxLWpY6YwVr4vK11
ZHvkvlFAALLGnZukM5Xp8prG0Po0k4oiHyHULQSCpquX+noP+CugAUZ5a0pbFm2Q1SHjxtibsypa
3aHv6t4AUju9aM01JdUMXcY7sYXOxLYuzNEKNI4SzVPDkbtIGpahYQBvQDUaB6UnY14bJwUINh+0
kRarMNAMly3pXbxSZ2YbJ3cYGr0/B5jy/E2drulnucUwW7Q4RhNMyIMm/yB+jfQmBKbdtrfIVYnG
6YjQh39/i9hW0CZxQhDMvQc6GCToH9uCuSEZvWFD60quDJYtSdKtfj8pW9cj12B3u7ppLifKdKW6
ZUMpDVCEYSsTd2VKtqAaLBj/Bo3YN+otZQId5K1RVOdOHEvVGuknLjp46SFfT4oiH0bUNGrCm9i4
t9Y+NLvqyH+GhJY9fXivXDnHu6Fl61rfxs5IHcUHr3DLtuPWWFNlN3I7GqC3PbE2rjq4GzO1a/gU
x/SFviERTcofcJDp6V3hLhPrCL7b7tCNL2w2xVgT4BWdsXQQE9Kh+BQMpblg0mSqyCLq0emMyKVm
OayhNjWFjsXjrSPnLMjFnuBTm1Kg5z7omzCYJh3GWnapC8UbPuc5+W1fxJbmMN9iPS7yWfO/ECta
Xp0o14f3RoGgnUuf72sqEK6n/DbU0K1uEAYoFrMe+J3m0gQKHzr1FAIn+u7eX1uwLZtYHo9x6obc
ce6aiS+2KViL2wEEJVrHJSv+tSZABpKs8DtQuPPAiAdnEuF2iVSdnbUFta1b+vuOlI2PwG3TmdSG
TALWXg9R5xRuUNbU90rUao7QDXU6sCGaW0pPLqZj/e07xD41vLC1JBdrzy/blCxxXQ4bhEk/8izl
K3Ri6LuVpN/6ukEuTZL3gQ2FWZmn1Df0kFKFu1FVbgt5JZ3RidgzePV6VoFXEsUSJ3oQ+9CL7s7r
TpEqnLqniuNbXEnbq/kzsvH0Cu5c5bDKIF/qHilo9AGbYrsd14aGjUjd0QPKYZC1pClYHKTdghSR
1VTEKsgBOnKkpcNIOpbldu4Fk9D3gQorfeu1rqnDHumj1ASt9RajJexXzr8NTxEkdUzfKEe9VbdU
CU1QHTaItZNhO6yQqtcNejLG7wYG2Rq5CeRx+GFagfeIiw0lku9oLHNCbJbRAzcaosybGkJht7qV
D71CvFbg46M/2B+3p+3oZSDB9JWhOyKpLOsXSvxZmfIMBzi0ZpQi0ZUkNbcCh30JM45vfJ38M3xs
Er1Ib+A42BhT7SyGxVuxiTU3f7oBhysssJFqi9smCnKgf5LS1tVhhjR9HRxrnrPeghWe5MRrk9Hw
BQM5k/Ecuv/h7Lx240jStH0rgz7P2fQG2JmDsix6ylBqnSQotSa993n1+0RGqCFRP6T9F2igQZFV
mZUV5ov3e80kimRUN4IHBF668nGdtRVDQRUmowTYV1lJKWI4leP2njrUIVBIWdaUhSfWVA3pu0dH
rE/hNu0tujYACasLynSFu6tH6ajOkji+iTuS9YGxHfGHwShMMjsbw+6zt6DLojCHmyWGgK/DsKzg
idEYAQxFBe+HsDzQOUEH2ECLONdcgtz9fuM0YsNp87nlmbmy7Q0hy5BRVrsEhg2Lu2JaqUlBnhlN
hgBMl9lnI+7kwcBRFbVfZzfiaNtidO0xMzOrAy9XAITcAJRQJ5i7aDgWGDwmHX2nrRRVkLMuwWMX
jiZfYSyrPn/2SpoYCCHEYaBcE3EOJTpHYArTYEW2vq+mslvGZy2GNsqJ0i8NY75eDeQf1ExukQ/r
HcbUzezc90EUdKTjpM4a1nn8dW51aihcVEszxZAedo17jk13JICmCI1owIKHNBGP2r1dh2Gfuv3S
fEV/U43zQUP0mN1z1DZIL6jxyBg+dCgocHNEMBenoEHrannHOgQcOq+jV7sHgUYZd12Kv/LNSEJF
HZ+DnJP44xKPg3Upl7LKn0uG0X8cjbbuc+4OwXhy026lr5kWiwscD3Xqupqa4aNeN2117xlYPJ+x
Ql2xEi2sbkmrc2b62uIcu9W0z2B+8fA4kzNinnApXPRzXZH8emOu6SgMg4ksCSvToy6IWH6hm9gB
dtS9EzjDQZ9m+F9WF0/XrTO6FUgN5zvjFvficjrUkLvcU09bb9gF5jpVNz6mrnp7srugx8Z08BHw
JSdshjVUoEmlDXca7GFikvBhJEtrl9ACnMkFKsMpsxDq6UT10q3VhIXysLYTXsYTSUc4hdPCbu15
XyUogtJdgucSqVox64N70JkG1qHxcYG8DanwTQrtGC/44Npok6R3d9Zo6NjOjvSspoe8cov2pSJd
qn0TjDFOkIbhDdVpsRcsN9ck16+SNCXkI3Tb8aHGC6K+EJag2XdB3lXajVONQ/3FZ1Guv9S666Zg
nJrdL5+KFb5TdkRZO9okkQ2IA0GG8Tn87Oa4YGgQFT/EfBNR+A3Hrq2IJhFDRLQ2HDbuuAdrdNeE
Ue1Z1SdHhIEBog0zdbgS10jg0DOiSLuFGWO6j5BkeDK71g6WyoLHnoEGQQnmzJCQy2JfRbReykVE
14GiVnJZ1iCxMFVruVGoQlmW+Oa2FCUV3kAffJB2DgeyRKqiUCBp6Sb6NaUES/I3A/wT56fZghB/
RyeQEkq+SSr7l6x+ojaX72IYm+MJ2ivaEaqXgQJx8plhzINwORD1IQp6ueFIyFO2SEPLbLa12YJt
todCLSb+UAFlJ3uvSDUEJSZxfu/DscH9+2G211IjSbg3KDeThJSOabcaMP2+dqjJKhJ6tkL07zOb
KI5mo2F16/yqqt71tR+Wn5M+c8O/yL2ahsusj3rx1Oe9Xf1Htjflp10U7tQJ749JCzgBJwvGtMQa
5npv0gzq8mfUTdlyJPHYH/wTetFotg5WjDWtc8hk3yvZqpKID2nC4cBcJSkxI09r/7zMPdTMUDeR
jD40xhDlyxnDmh7VDOFWcd7hr2FMHSXFUGYPRHiE68eBwgO/Lhci5bgnjgS84Gj1GY5YL2ZupoZ2
Jjsriarxjdfx9l5zJeJEgvEmBr0i+WnPhh9X2AsekiRCdb3HH7PEq7/Qnfo4tE3b7CBNmdq+4cRZ
3ddzQKwHh6AopQRw/OyUUBadnH6K83PQL9CTIHl7wQmrF5NUBq3R7zsahQeUYzMtozz/M+sT55nE
ouyqMv3hC5tPXx+8VV+OYeCE/QHmIRfNvbi/AUSEGduO9YTnMhjcFee66k0MinlfQJO+9tNxPA5T
wETswZftv2rsN8pDh7K6PWOlPX9pbShlO38lPG8/dUP9uYlqs71d4AAdPMCUt63jtzeTntq3CFas
kvgq1FUn0ymae9eZ088LyusHVjfsjZ3UjgHlCut9XLfalReyzjt2tYxXZm5MLboFy9I/ofliVcvr
qv9AGRJdd3z5BLGF1WB5hwiu58UE/f4LDHq+tqIohvXRBnq5owXBw8vqzvxMCyJz7oi4458JISW0
Jaah3ezaNgEhN9zRPUceld4uoa3lXhxnxWkeADlKIYOZ3ee1LGAgRaZr6Tub/h08ijyeCJZM7J2Z
6s0dFGu6xSWG5dkh5YBE366pLl5BYElqWNNtGkbGR1+vsLWfjORLEmfDNcxH62GayY7LAjc8BbWp
w1/K7Wtz6jJ/39NAFVGTYXttGGb1J3sbO8O4dtmfGpF9J/I6OdmXxfuBmIKPIech7FSm9LHUg+LU
m31wdhx9PlnWrH/CZDd+xubZ3TtBRqK7toZv4hTujjeZOZ3YwZz3Wuk296VtsaQmWjweYNgVzdkq
vOSvudKMt53fxfMxG0m0gfuKGRrMRgBAO9bGeldnEStLWGNV37RTKKIPFjrVWlbf+/3cdkd9MAvy
CIPSgmiqJ+PZc73pJQ04ix3KqNP3ph2OEENm+yYNHe3OYY+/wVcb3mC8OG+NsslPQxqKmMM5IDm2
iOBE9tMUXuBuDtGRdal66w9LdFs1yDWONRXc0xQl019m3ZPAFY8+HXkrrbv2wAex3lpCtv9IcuPU
0IkmGZL8kDm847L5rovC9YRiqPiSa9bivEv9EcsaXnHyRX/gPwl75gtec2V4pWujO7wPFshMzp0/
zR4xthy/18B9RyIM6HaG/9UIif5M0AaEXpweaKBq1V4jOnoAxahCg6SpBSgYRXlfzA9rRtrXnTlB
w79Az6mNCzhaZnxelj6YiWULJt95jkYYHTj8Gsw21hYTyJjKDv+X4kHXTWIsITUWpT4Xh2zR3EBE
YcRIbdOHJFszmES9aHStyTV0Zfb3vF2mQ1GGg3c366lOJ7pCeXc7LZEIDBsxSTmbS7I+Vn07eTud
TJjHJA1scpMwCYtx/ptLKGm7VKfBfrWgVav2dU6viMg9Nvgz626jXxgGufWYDrmz/lb2/CMXX5gu
2Q7sP7Qm0EwgnPyo+TDrJYELXc2Pi6YHc/2VxlrX5M9YFRUZZpl/22k+SvLx9856uJ/8eDETHrLJ
4LRQteBMTLX048WIyjP9CoHbY1zR+2l2GT4kLAuxU9eslE5sE+N3VZi9iRwuc3QIG1FUG8TchM4g
/kcAKvFoB9Xos/R2hvK/OWiNBgFt/N32gxNirUiIngH3vEVzYbvuJ9ccLP6NSAwBwGAOIro2Q2/D
d7uxkYZCJe8n5jvBZzQs+EuEaiu34YNuaG8NhrXAnNJhGJ9ZhdJ1Po4pjEXYjZrdWuEukTeqgdDy
wbzZFC8OI93L7+McIb15KabW4e3rddXFx+NYMevw3qwu4JrShqvEZqgNT06LMXv+vpQPYmIXn5cP
zF3sq/em0Q+69YCP2pgs1wWkNHc4Mbodu7lx5w4LsacI8xE+QGnTsrCPbpvFPLOkK8RBOw7Yusud
0Yxw1q4WPRWnrRE1rVtcOXNX2/HRoVmDcwquyHqewIMDHDXJnw2bIbuNmqnhC1uR2Sb6JUaUt4aP
ue0mRnqqRjsP1z2dJ+GjEucTFh1PIfWJ+ynMfXErCT78uCllmBagtlDfAZOqE29Zk0UTvlGQUqBn
LhYlZTZ1cX0Es14t6x5yvU+QSsA5FAtSKzNWSkOtjcT9rXhm4IppEGFehBdxCOYr12bxkTHRmDgW
dTqWI9hHd5kAaH3UgHzyyqmwWpNDSEO3yBdjlljFa8ewpzgvDhVWVW18rCu74SHaRt0xQrshtwrt
KiONl39UdkKc6Qw9vE4IofDmK2z18Fc6RIPmddGdPpr41+1agsEd85wtyTh49zWx2XP8joZpQf/E
dDOHq9eYpvA0am+gkXjB04uReUlqWnLw9H3OHPqOKMLA3vdJ3Ru3nTSFxH8PAePd3KeNc6WlwRwd
I9Pu3OQhha3HPQ6JU/PS38znTRD2ncgAmTwCIma1ZaM1cDHL+XE+c3VMI+e8eiTdBxonHXLT0kgL
KODdlzuiaWaEnFbvAnUT9iw8+8ASBIbrSxvPJR4Mslz2xLEJ+0HTreHrP2uYGPrRxylk6IAqWK4W
oM2W/iUZDRz33MAJL8iZC7CErQ7ojTXSM9gkKIwupOvqPN0Reyg6Vjg6iuspm1TYMbQOZycENIQJ
IDxWV2ns6vAW/F2MJoA0aYPWvtEcYxv+brGrzRHDvGgiFVID2cKFYYKATeDQcvHDRZyjCm0U5ip5
3wmXGeXz1qRljifbDqZbwFgm7LoOvSNeZlNNWqVhWEXw7YWLmTcaPOueEVtQyIze0hwQ1tj8j0qy
9wtOEd5UflAdjsiqx6I+zZZTjKh0NEY9fotScBmbsP2hRmyGQcqfEbmL8GAEPgrbB0Jf8TSFqpzV
+BiWKYG93KUlzXCqLk6q4oY6lezI/eIuQsqpFJ3dGoUaudT44wswhLWzqKIH10VdxeisSZ/Fykep
OZV3YOp09to80olyjOYK4YzwMjKbRWCRSI4tUpqdEX8JOBNYy/ByZYEYmpuUtCkhChn3yudJqbrM
GvEi7TLayB5xsHGIhyt1EaHEf3aGOHcezc7hyHUpM+SEMGyjzV4mYMgRjFaD14XD9a9nwo8SXhwb
dAtHaK6DuZ1nmJYQvH1ne9YKnWYWBet9hKYLQLHeVP2SFaiaAsq1QlExfn35HzWrXN4E4GG4AroQ
s/bTHj7S9a0K25/Jm9y624oGpaSrsvceEUDCbEIVJCaVAgT/N1L/ze//+0WBCYkJnGNYtoUo3nqt
K8QYxRNtwJSvzR4WGEA9g5RKMWE10LX9UHRWOh3HuqqYK8EktGJxQqsXvyzJYVCjFUOm0EsfY8qJ
wt3FvI7pGtAzYd5JQAANn9CMDTRukpeh8qNifJNlpdjSlBFXwgbsFseIhZua+tdPHTuS1+UM4DK7
IGEElHHAKq/0sjYtY+SvffRQRhUOY0fKEb+sTpQiDPtjhyEE8wIIQuw0sEFdRIVyCQ+quC58eLns
YMXF9JvMSSEcDMNw21PBl6fQdVJey3SZMbi2RAK4bDMqlF72ZIYcHoNzUGwpyTj1yAwGPnaDQlxV
cRmMMBX4L8dAWh9ECSHkXY5ASuJJ+UMr3sQdanwCdlkXG7QXzB6kpLCLTCD7bB4ArqVsHaZYD2An
h+GwwRyGHCQ6nM2UipajNumCtaEIl1B2QIVSnSX+geXRdLpdiVXBcmtCUQFr9jWtZQPPSd4DQw7n
yCIYuuMgkQw7OrKonE+K7SWbwvoU47fwZEFLyt6i64QcJZW4cwHiT+dCmFeKoZ1Z7XoaYMoSKxNI
2/Ks32h/CylvE0UXX0N9I6XDCo5CdigaAn7Rukl1PU7sd9WBngcYU6VlfjzNO33FUmK4idZC0Cq6
NBB8EsmTt/V6Y1HlMGqhR8gmv2Ictg09meyqMwhI877xQfvZFC1e2WZPKxJ5r8qADvJC4OvWfVY3
7DWGIKH0rS8survFF8s4xzPRscrNLvTI9CuJVhftoWoJ7b3D6Vgzd2SlRjDiHL3Ex/vsAynk5sls
Yptu2pTZopGCSiHivhb58IYScMN7Il94joY9nIwl0U4iXJ6vpqw8QZLt4TgzA9MIjCN6Ilq3jtqL
CQchvsS4llPY1YDVXECRa3TNTnk1O35DPbgEdAA+jzVzmSNOokcaPTHVLVJVjG+NJS27xQtLbsyo
2FTNK/UwTQ1fnPboD0a99ieWdJ8Fvl01UQKql5v60NHXtPilTaweZmzVQ+i12P4Fkp5oea5osKiG
VT8Lm5/93MOlerMkxQyqK6kIqv3EJskQUz+ozg+OA+Jb7+0ZOpOipSsvq8zQIK1fGaa/ksIO/7WG
sg8F0dff1viZZNTQjtniFh66pnA3rDRO29aNExl09vaKF60mo56U3ujtCCQ1tPqgOLmR/MJoxIpB
JvsqQY01Fx25IQcjWEiT3sbaAEv2Mi1pV/ioEkSDZ+GcHm3ViKoSctl5l1jimOssSCe8dhKn2XeI
bMO3iCGNSb9uzBL8/0hnappAG9DBMHScqa3Ju50JxBjK+6oiaBVbKnfIehBXdxhIztuWkYlpyXrA
3l/PiMOS1aNfDQc5WkMfKRxVy3z24giX/12iF3F2XZua3dSHvNKjMbjvOYQyJnvO6yxDqe828J0m
6dGhLVAImN4OYxFnBNk1lpAtie8I+OK9sssaR32jOmHBQSmhWAFsXKJLZrCg4PRVBo1YqZdpEN09
xXvL2kEwTbWMmAX643xGbkI9vbXXOj5yVDf6cCFZjszitXUixAFSjSBZ1tNWZxZhLV4JQWYwKDDp
wZj6sTJyCER4d4cj3MBCa5MSVadt+mn9FiXrygsy6gwa0dkwRB4RyMo8SHbOQhotzMgsbAX9Q/lD
qVY34auGoOu5c/Bio0/P7mwzgxS6692licZd2nVogJ+MOR5dgg3VNJu0KRR0w2RqV1RtuzltyWV8
BJSKcQWABbPN5dGHlFncJVUmRrDldoK1mkipANbaOobYrcnRTf9my+yt+OuZpJLmsWC21mMgqFFV
qrMTnbwEx4Eo2EkSVeMMcCwRPApeT4Yeg6Ugok/IEiL7D22CXCG7canD4cqEAUxU76kxaljPkN0D
8TtVjtuSaqOBfo/FvhpNYnyeF8/z0a9JWqK6H0WHkYSROdTs2nqjvq9BcsgN1KWci4EBNLFgx5jC
iUiFFCv7/kS/DWuOO2UkS+eyEcukdJcl9E0M0Kmk1We9qQLUlQ7NdYytv0aCCvo5TIR/GOw5SNbz
5h4SS+Y3LE+xxnSShcnyvD1kln7azH4KeD7dFgWNqvSqnjnn4pvuuago9k4HC2g6u1KvUEtGfCTS
OAiyxPn38xKslS90Zpv4S31AxRK0JNULpF60uyWZRy0xknClKB9quwwl1c0hGYqnr1bsYpgEQUbf
7AqR+IgCpJHCB/iOuuj9Ey1O8TBKAvgou6k0zMSBJZcNCSWfGeQGqagGCJ9F/aKISkmL8h73JNwR
aPEoxIA4QQHsOOUoOAOR0288G2J/xTSHF8+nUoI0+kuipZvJFXDd7Fvaje2ruDqrjaiZUed5RHMT
A0jrxz8RjS06945UAalqPjUjQfMHeYU+bE6bMWQhWWRKWZJj2MC2T5CkIDkrkYxkYCfEQobOhexe
U5+vTRxA8bRUn1sNIvUwvpFY4ACLL0fSkFWDWn18tQgHHtPQ2vUUYm56iCaslChjDAzNvX1sYjJ7
MYnVBGKaZPFXDs7Kxr04ZlpUN3Nfa15+67SIsGiuOk04fcUQh8XykIfwYUhbhT/ifrL5R2pZiaE1
Y2hZ3TFr6fZ4u7J3BLoVUfnzKrBmAaURCivwC8aFz8vCQXw1ZuQDDHWWT4NttxYtXITd6HsTF2FU
t4AVdhWS9H2H2jcV+BVcOt6xJWKa/wV2gsEtNjR2OL9YI02ATxO203wwRZ4D2+UWMQvjdsm15IAN
b5hK09wRJ5nV7xFeCJzOan2B0xHxK0auhI0oIDp+UEBRJGHAuq3FpCR7XWCTdJ8FQ//X54nXpwnY
HtihYPnDoYnT3Hba+O4QGedti4Cisu6nhG2GdOncm1M6UFtv1JbjrjOntUpw4h1TK72R4+7Xd/HT
WRLTxQDPOhf8i2/ltTeLp8eaS7Sfeedv+iU1dbKY0QBtdDvXpvMoKhBFIiykWC2WldGvb+aVUYxp
YJmH8w98F4OsDjxhfjxXp2HVN50TjnexMwu5FjmvYuzI84BSbMAJQPN//vWFf/ouHLrohkWVDyxu
gHH9eGGz90kyCezhzpEbLuHnRL3fKEO1wW5wF1S1wJgMAbqySNbtv76N158fYEGs7p7BQ+Ag/do7
kH7X2EXI5+8IqZCoZSzY90DYgtvGsV/INNRZ/tdXNn5MPsIIjTY+7Q4bYzS6At7rsy2Cqgjr51C7
jaUmJPdCzj1Hn3TuFhHppp9S5KRZqnUGvxHrseLI2LA9w3dGDa3hd5ZQr4eoaXg8CwegIjCwMHrd
snAhmGCoFuq36oSt2Gz9phWUQ1RKHb6x96RaxpEqmN88JzESvkc7TIzbsI40Uf2g/uGefhwprYu8
3rHp4tI3slcsnCVhCz7bqL9Zor6xB4S5vae/5Jkr4GjDIpX6pRkwyI/2QUNeAjB05AWoXRyR9Wb+
zi/zNTjlBpAgTCJvXBjI9Ahe3aEe6hTtzWrfTgRBr/EHy2n7Orvg+mHj1cN6zoLmkftVfDR5QmAy
85gGFDl9NMMruJ893ACmYwm4IvK8my1uYsoRY5ElJry7PlGrIcFXGh3SPUKtP/36Kb+ejrhu2I5P
kiXuKI79k+Unq+aIN33g3X3Lf5GTrcaLhGVYSiD8TbFHHhMsS2MtHB71r2/C+dEk1eHyFl+277Ec
4bH6k0kqO9soEOnlLkXMxlYzNl3lt3fBGOThczTPGl46vbZAr3paWd/5XjOZ45VIb6MMTzH7vvec
pc7OCKV1GB1hH2UvsWYQ3GHt3M4YMW/0ByrO5GwvtJU5KkTC2GoyzAiEDHiWbhREVbEZqWK0KUDX
iKDRPeGvrhDfKppHOGTsx/DdPweuE4CEtiBD4nUSbWNIVLzlMBFKBDfQR7qUsVXj+VNBbGpMmvSZ
LmwYGNO+T1GlFjwXCaP2NvIDJ8FJyRq9djyCk1udX0LAS2Og4TFbIMyf9bHR6ohPEA9Dcc6kYCry
O8HMyc04jvWj51Ca1Qcddn7fX7dNjP/tkUN9rD//+tszfhpDpGKwbugOHDI0dq/3Es9nlYYtn9wp
pLuWH59KhvPdNTAheh8ij6Y8oBMp+dKOdB1XkGIj05fgiwvYTF8zYVK/0qTlJ0kZUh+7oLVWvddn
vH8m6Jy+G/6ukfq6j+rSRMW4TfRdDGxHX1vgWqSrAWLr7S1nm9opv6CIiy0CszdusIobUjMVPhIS
fBgsQsEml+14hLOi/252vFoHPXwjXdI/XLJEPADgVy6WI+Tt1qPVduutGq1usM2wsKKDNm8qzP9T
deDp8I4di26yJ1K9Npu57womeibQklKnuFUNRVXMNbJUI24uoW5sXGxtzN9Av6+XVJYApPeBb+Bl
51k/lWrZ2Agbxam+TeLUY6EpOIe5n75dP/ewbX4kfVx03kIDF7rfpWr8dH0LGAmGnADZbZKfXy3p
Zb7E/eIb8Y1y0J9YEMTx6odwj8JwhHqhkVLlX8+mn26ArxmqrovzLeU/y/OPu54LkuiSfNdd42u7
rR72dt5Sm18ER1Wsyw6H+OTswLj1Pvz6+uIDfr/r+vAjqUuES6cIH349AbJ5skksipablMVlfef7
A15eceeGnPe56VbrTq5JptRvBrn5uiqiEmQdDfAFpTJkzL363JljjdZaVO0NARRxM9x7dl0tz0HR
putFNdPLzKisD73Riq423Rpx8lG0+yQ0UwGFNunAGabzsM1d9yQqgP6cWrMQa7Pq1tPfECs8vcmC
MYQuSEiARoutBWYXFN3qPV1VwYj49WP90dDYYW9mMFmexeriGQT4vJrEzJXFcLD1ubIY+WhlOe1x
9z10x9+FG7yu4bDFZgrZbDtgBGJX/XEAhfCdZtwj0ps+GLEa2UHqTjJvR05dmzVYUmSjg55LhpE4
C9j854FUlxFrByhyg/ub4eS8Hk58qwwoX9wVTbTXh54ph6AN8yy9kXTUZBO1yRpSYk+/fsw/X441
kpYR5DtPpxB4NYrSBL+VYFyd60j4en7+pkXOR0rlXhLaf3PBV+mNPGPQLTg+rBm+oxMe++qSXRfO
wkWjuVZiJuk1MEfIUzHomESDRwS7jflNvECJNGDUu5gv3ZsDhM/8RGpXqLc3OGpk4HcKIlMJH06k
CzmNVI/Om3hZio+wPYC8S5QhUSOPzjr0OXpd3pXuiSMcLYhqCRfRN6mlRJd6Qgw35ToRhzQMSAXZ
CK5SSqakZs4wCsWAlxSiZd/H9Hedgz9Iwm85CdgpxSkYPLAK8fV6SmS1iNAKv6BuLESuSDEieHr2
jEQUkN/qonZMVh0OakNfaU+uB/yjRHZ7xlIT6r7VK8UxjEQLodVpCWvhIur4UUWlAxY21oP4SMxU
riyfQ5e6AqSGnSngG+WfAddZCK4U5VieXXJx2Py8YNzWnfxWs6N+N7Vau7jnriCJI7ikzUoCmkQE
dH3CzQVh7ITo8+REZL49yoeljkVq4U9xDufMqNAahVBXGKmtz6pbDZi2yf03oEECkiA6ApzcvKf1
0tGX9BwSV7MYe2mVq86cvhmIh+k1oxDcqAYcvhAidDLZkE35BOSLVPFul3ZiP+WoQkd8ToDVbOon
sLP6P9SxfrrD9SOdXyRRGjZBnvS7iMdNoEiBC2gKIJdsw7U0hPxKk6pUmAhteaqZVoF7XZj1FNzg
1NgN71JCC8mmAdR21uAgC6BAWDeXJ5wZu4ImHHl1kYU/iW2DTuGfWLxAsUq8fQ/K7zbHUa+F6kuZ
2UgfFVRlWoSJPobM4841sBu1jlWeEcWx45+Azfos1Z2zUqKXgBcB1EiDiI6Pq4TSkX731kOUuVO+
HBTyq6gCSKgF2qmwz3DAjvgzLgCI7Hckc2T2favj2IN2fx2y9b2UHFkNMqSvBaI+8hvjdI2dZynF
pqE7DF+ATQz7mU7sODyQ11rU5gnDK2159uwV1egD5kZCnuwgvKb1ljnT2mFjnK5Glx862XxUsDRx
d0IvjSuukOsrmwkPkJTByqncNTgj1mlFC8Gj2bWeVAea1VAQ+dciQOHw5PlZr9HwkLCuEkW2chVQ
pWKwuHbyAXa6kT7JYT24M1M22ybuiIdVgx3u6JtddUT9Loah7JCHGiD7Va2ZmCrsR8khkqBARkoR
A1MqB1PTTB0dD2aCFtdDjSUBwLTyYlLmWG6KaWB7RIfrDOCGOUIKeKZtON57mRVNUMqUj3M5x2zr
6pPKIeYvLoICpSySEjxlICWneuYHvvYBn8rROgZy6VINJ6W9khOn32xL9A1RV4/pmxI5xUwXXbKU
DEuoHnxRuCVJyaP0VVFCKhvXcNYe8lUj/XnuqWMQPsJsZAKh6mj6t3Vhwr6tLGcswI0lsi7bIq4/
i9GItBxh5FkZ7awz+Qq0xHkyQXSQrRsl1rQlvK7MswJQc5ZDQUhsPqvkWSV0a2FUscBjOotWQrrW
6LEhkP3GiJ34zkkqd0VzJxfKpAx9FtFirhzGXVbFega/NtDIgtwFmo0Cu5G2D5N8v83kpLWWxX9P
aDXf7i5ERY9smQwvA763OszKr+bb2N5WvY6nwCKvlH9ypTS3esjwW0F8YpMVu4DylJM942+6x00r
q9SrEQ646/M4uOKv1S6hGrzSi0QtDxLOVA4BSt6mBIot3BnGZYlTX55H2MYlyfocNBqO2dDrOGoP
+1Jrhe+LIYX7UgSDMZ7NeYDoPXHQi+WJ+1vm0iaW+XuwoVWMD9MCNR4LcoT7/L0l4QXVCyplESh1
1OoL0qV01sSOek3epKi/IKiobc72emqayV9FH0YhNFm1eUx30p5pkeIjVHp0He4sygw6JEo/28t1
pUY1xaY1iLandoT96OgVrfVeNNg4EdBF+lhL/TKKxkWUCfInQxKgZnl1WbtBYhFHFEWAyiiVGEcZ
C6rYjIeSwUcWlWCxeDKVg7NtYdylmr/otw2SK/o7NbqcTy2pKvGHiI4mlt+AGdrXPEUPJqO/cilS
VZ2wGsIbG6ICz6UZgHTTKVPcSgnsNkdGrCVjVwLaQhrxLwTwAAmGUVBm1klzYRtWSAQ2PXBnb8ZC
dj2JVhnotJ37eyI4wqg8uECNQ3ccdJ102GMvDevlsA2sLRhPVQJquyfBlxXgkjTmAOeQ4PK1DPZR
gwgg3iONtrT1lCMJYCBIHaVakFXhqAa6VBwZ2SJqC9UUxOAIbbM6iypnI0XfCDRS9vA4k45sqsYd
ZFGliEWmaQmOC64mQkBM1pBYdaQ/llOaDoUWofJinYXqPzBg1s6N57c9Tc8e10wZ1tFKOmxocm6s
dqmBJR15jZviTREelIe3rd6R+pB3xBlNoLCFVFgrQpK0vEIzKKReOlsBd9XRGGUuy/1IKtC0zYUs
lquTLJ5aWR4q7yLVboxkc1e6M8p2oxqeUloqLRNcWZBKOKmTlS0MZ5c49zFGgAuvExoMT5JFHnTq
kmJrw0RPNF/E1MrRrFwLUjnnUkGlFhZhowWLtO0gLHkXvy+bKkEWFbr250J+2dXmYNSnxPQRrRdD
bHuyXF30l60xirrxXRiNpVORRSCkcrnvCQ4SRwDR5ZY0Ei3dtMqO7IOCBRU57DUcNkyc3myq6b1q
/C6dgxHsKQnJfUFzKf0B6aSLojqVTC2D8oLvv+lwqKge9SmxDKhO0lnPlS5e8iGpOQZBf22Hg+8n
a+5eFCyiRVOfGfsI5Vvs7pp03GBtdskMId7IYoQMSad7SGtYMums3BEENq6DecPOW6IcPz910990
/rMmxqLBlszIUQ9ZRQ+xQ1eNvRccp3i+7yRvBdd6bH+OHELmqj7YCJy79M9fH+9eoyGBb3okMtAf
c3wCVl+jIavjzlUSlfl1kdfQwJVBq3KlWWTPTHnN/H9d2IL0iHiEHh09Dtpkr0G/PLP6xq/W+DrN
48b/vHBS8JAT1ESCEo3YaHNRHktcFljmf33hDWD6DgACiOdA69t06OivECLxinqpab7V8u7xVTkt
tW9fgD97N7oOCD2FLE5fffD8M0Lk1oC8sQ5xl5d7O1ks4lVd9tTWvM02t71eL3zki5gWDFP9+Oub
fM2Ehf6KI5XB8QHvE/3nDN4FioXn1aN1Vgw1yYGbVX55mwpgVvfnOtdOCKrq2EtxrfM9/+3cj3Vd
n6t8hkG3M7E80N62VaJV0R6mFqzmXcEwsIqjLYPjm7jIc+RRSa6V8GGdFlvjXUylasXHAsNq2gNy
tjgbdr99zP/6IdO7+/d/8/OXqsbvJYr7Vz/++/y1un8pvnb/LV7191/9+Jp/v6sK/vvln9wlX9qq
w5b09V/98L5cXd3d4aV/+eGHYymC7Z+Gr+3y5is6jH67B7LJxV/+b3/5j6/bu7xb6q//+uMLWcy9
eLcoqco/1K8uf/3rD8OlQfS3/km8v/qleBL/+uPuJe/B9eVb/f33X1+6npfa/+QohE0NGKYuutwA
bViAy98YKLsYMKINb2Cu9sc/yqrt43/9Ybn/1H2AKsjGJgMe6PWPf3QVIST8yvkn6A55EticAEjb
lv/Ht8+tdFnyC/t/Z7RzqR/wMN6fFEymAs1vYGyQRgH/foes67hWa1Gm9TvHQtfpe0dzsgntCvcU
Afhljtjfv/SW9WjkL2v86A/vh+rckxWPXOBJx4QfreB+Tm+LPjt23dspRBDaXbX6s2WbV1amIxU1
jlQc+zbNDxzWfONpNfu9y+G4vmMb2otLT/U7cz73Boe4G63GfvMQaEdjuYreu/OTnp+9lsF2oClJ
+kR5wQR6Z9W7yhwQt4aHqrpam/zs1meMNnCiaq9RV195uX5wk4uPmrI1o52OLjVpv+aceFo8SfXu
sY4yALivdvXoFkRvNe3bsUwPWf2fdcL9Nvi4kJhpFLhrhssDcT4XDUWmnVm7KbpqHesu0wu2YiR9
xUc/+8yCvU+YsV7i7kApdm7iHowQ14jg2C7WXs++mHV9Wzlv9dBEH/wyW9UzisQjfjEnh4J8h5vN
VRE+B2N5MuroVFTxTdTER8+KTnhWXrRq5CHCQjNI7YmsIwFwh8yrr6aKIIcZMKU4j9Qq3tOCXXpz
GTmv2dWfQ3QT4zXtkHOjZ9jCtfdF0uytIDrC8NlP4ZfC3BXLDHJ9letfjfWLv77TghfDHfawco5G
Mezj5bOzIrmIkkfUc+8AZo+ZR9wCSlIsJ/Ru2c/eR0w9L8g89kM9HTVbY1Hq78Kxw1blHFYxRLp9
NxuHoMz30ZqdR8jKc8kjtxt85+dTZhn7IbbOy9jsa3c4tvUIWbq+t6i9OxO3ouqoYw4Xxx0IEmdY
H7FO84LeZo8NPw7a9l6/mcb4Oom7cyrckob0MC7JTY3v5Fq9tciFSP8qbX/fpNG+9KaD3V9m3961
7Sd9Tg5YWO5LZ9nlKcLg0uX7tc5zx/h28mPpRbQYsE7lrayou7jdWatwsAvKsz15t3jv3AAn7UrI
2HWZnFf/oe6dPY4cCGp3pZlfR+7zOP5ZrzWehHd5F/JBuQdmgrhi5HwycPyoynRflH9mAG4dASO6
dUmTL948Het2OdAHODTMNr+GbtCgQdXJ8Ysz/IRJ+rG1U9dYJztZr+AV74oAI9co2q/GfCAl5VBa
X4osuSqLCelruRzykngdNOYNdsDuNB9s73+oO7PlSJEu3T4RZcw4lwcIggjNoTF1g+Uk5nnm6XuR
9ffpVGRWysr65py6VSkR4Ljv4dvrozVr3ZotNy5fjso9GPGbIvR+2gl/Mwn6o0/yP8f3fzYYph0J
6mkcMkb2foPRLCqHcY/QX83fksmzuuKRABvybOGbk7eqt5GmkdYr3tqKS71JD4tFlDkyiLdi0RBO
HI2hP5u1P2qKP0YmgrPbAk9uFCP8mkUI9qWcT+BLVuH132MVyjK/ozSuYpeOvuALXvlTis1chs/4
eIHR84p7uSXhYc3Uk1AcCiaOpb0unL7a7Aj5yYbUCLoMXFXsjoJvvGGQ/9LUvzEL7qSldGF2Fw1i
u7w7pPFnzWaMG0hHtpemh5w/osTJG7IF9e+bLj4V/eIa8/7PD1V5r0/49aGedQUHCy1/xfiHs+aP
cp/d6lXqxXWGw1LGlMDrUituKb+YFg9lrywtRq7FB+9V+93BwdiPiWhJV38Ny/A4ksBQZQxwKNZO
M1PILdD1AITc4jCQml9WsPydu8bWzqCwJlxDPenmoZReGuswh3hR3bBVyOqTnFzy1UvLgTmRSOxz
/AfNxJFN7HAGNtObPz+59/Hzjwdn00NkLW5/uTiXBiismITJUSqX9he6FN4gm5T6L5ds/eD5vNcg
/PeFaK/B41F1xv7eL/shQqcvTwXD57gp5J7InSKCBoqZVhA1H13L+uW2GEsDDkwcIROh09t7f7VJ
yLOkhjEMcOlSlObJCpVD0k0BgzEB2m8PK3gPC3EE+drLVOecv9peMQ5ZtTMK2cmmq5xAs4e642DM
9Cg62VGy3MfJymH68pkJDi/inEcvyNlZBDkQgRQi+aQ9xXy84JS/SW25Y/937bw5JKPsogdx6wHi
QXQ9dV8VHeymsdyuiteJ6Wo22+N8o8t3jRh2mto60XLHIChz+oZnm2+LobmtRqGCDxOejyPS1hnh
RoALcMGRvmLEcKjk+RIklaMrbCUTrqZtHqgROCPBHtsc6hY9QiwFUc5M1Vsh3UZZd2zjvegsl1UB
dHb2+vFaGR0V440Iy5NEUYhVVEc0zHyED3J+SEQNNSewyjtcTdjVa39KOkexOqflMVifxqj1p/pZ
Mp62Y9hqs72xPNMsx3EHjnexBna8zVvf19YC+H12Fvlqmgest74p8mUmGs8k642lhwVj4yb/toji
KIPWTY0jdhVOZr8J5ZvFI6B+KzVQRDD0IX2NrRtLOaXFzdgHg3zI+hOjExtZj1f/HGWjhwvydgIU
1TPlZ9Q9hisriTdINdTRy0nxgKu60oLbCAD+HGo8o1b7VVuoLeHnyteqE7T14phFs9dVM7vn4kjm
5OrdJdw3bh0T23V2mlU79GvxIPJ+v4114NBpePo4oRPTgxkuc4fZe1rh6smjy/DP42hjZIgl9VVt
+O5z5WJVmI3QoMsHcYtfnOqCKttby9c0bryUgEfjO6lU9nvOvoGJ1ugyx+65YmxdJzbjcmVs7uxW
h+AdOjbUPWs9TuZR7fYlaRi5PeBtJzSfFDwFx6EBSXjbDwzDrlawHanalFJiTj1Qm3upbEFUlG6e
m65tXhvJt3AI72b8+XLQbWm/Z+n5cgbe6kUoK25v/Bq299qs7yOD6hxMa0HwuMRHIwW7UVh0S0yw
BikIKXyzwxJv1NOqGve59jga45WmD45umTD39mH0KKioMpUCT0NjIofpl9zLVLpL4YkBx72QbgGO
uspw1wxfp1kj+prcUU4dXT7CG/dgkzuT5U+iO3Z2SAyTemrxhj6feAQRZ6WeSr3d5fV0UJijVuu3
Sg7M/lS3zIdo3sS3FWqKg8jCyTLh2NEL416s1dTLbcmpKvUQ27eEf5P4vmKvRWcenzfXWjkiladG
3AwGNMo10Ii4Co1DvLA5qKUHI3ke5gfGtQ/Uq2Bmxve4oDjrGLlK2eNLdINZ4M6q22DovkoV70t/
mQbdjW1optN0jMPofgspp5Rqp13uim6Elzj6cf217J7rrA5UYs0lu9FN2e+HT7B5HzGH91YQKdgw
7IjvtC6QwqvO3kXiaZMzri12CdEbmvn9ArJ26/pJyiaCcwi6FwLSpZc3HYtDwd6dZouleptnfC8z
a2U5rYSjYni21Cskbk43AtkxycJZlwoT+vq6QzLllmKmyfFSycdO2tUG3/w44Hh3KDHI2qSSmnqr
BFk8eDr6+vipkeJj1LHHVtmTPY07yOwu2sbdlkrAfLuxrGiHTsOngbtvCtyFSsyKltIZB90r4tyT
8oQBx8WRww5sk3Ajcw5Su6CtftBa4hazIAjhM25fo3bx7aI58LaceXoa0kelfINIRwwd4TKTe7as
H8LNoSJ96ixIupXipff5/M0g7WmqIZiLmkufJMnc98t6jBnTRdfhynF7J3WnJlsPzHFD9okdswX0
mQSM4kMMUnHa6uEsLM6qzTtR3nM0dAqN/z5/kCdYUKzS/DCKi0b6rEzljz8F13JPkW6zKafv37hR
tOzMlr+0YoCVwVLd+DpNDBoofLY4K2qs1l52kWLuEBA5jSEx8KD7MVEt43buwDmUkdmKNt9FBg4R
1rOx3Bd6Cd4mB8tdHVPxjZrmtuUNoXLBwb6PEkA4RuE0rvVFrMfRDibdcCEj0Z29CPvHTA6GKXfG
dp+NwSh/mjAqyvrLJmlJwcqDod9Ixh5MYDbdtRL88SACiRce9f5Sm+/x2WrCICcqEMolfVOP+VsX
3XGAe7zXScDDXkJyL2IfnEm9jlnCTL3AsctJzf3UvK7lU71dp8ivUSK9SiGjFEbzagp7a3C46VNT
dZ7IVrYX1e/mh9aKLpOFRIJFa0PNkFPVKSO4ZvNNZixg5pkAxW9iqa1rML1uD1t4jVf0DtWrSAI6
sMj6mot+Snf56uvksNkukucHpTrAwhqzT6P1Ck/2UWlNV1feCo0wcPVpCnsM2MALZp2uPuoKZ5VJ
TGLgHa/ziFh29UPc40iI4uSgDSu4yp0QHWY8XqjjiygbzsZ4RIHiLDVWZXcA57x0paupAFQCrKWy
VGfsN1dS19p0AA3OCocMDq2i7f0mxPFvjLxYOTI86hn1vui1YFQeV1u/UytjN4uYjyXbZ+3oz8IG
aCA9N2z1UzX6C+lVXN/P3eUwQHfBJy8P60slv+84lXsJoMUU72zrheT+WhPUSZrHcP4uSQugxuIg
6ZOLQhtNZPYmJ4bT9DUJ2wHPSaoSvJhPkjY4vW3vyoQPD0Nl/E2Q/IdUA9mIs8EzQtL5h2nz0ivo
YBbDrtPIV1jWtTk67Wy42/2LhfwojmgRlA6Ve5f5+j39rYcEWtdSbYdcdgQV7dn9pn8JdymtNVN2
pFL1EAxR2McxJfLkNdy1LPa0YB/h6WrcId0DDvfySlVryLAx+JzVo+HlSAwQppjfVXbhlTK2Xumx
l3W4YYuXxcluyYnkqoux5PCt3DzTCU4ouSeGW8jztcS3HFNX6cO3BthSp+YBbRTPsG5n+1ibrSOo
wScZ96K5hb7uI13yLEo+mWrssUFwBM3ctVgv6QexVNLvo2y444h1RIGpqlYHeoduSRbX8RalaN0N
DgSPWi17iR4oS+Ev3ejV+WYjUV/pkLSqUCdpryB9P81hQVcCflnISgUtJ2memc7XYGsckRVXdX/D
jDkgg3Y3b1nrDN0uba6ZOD+o2Mc69JG8bCSQGL51bJm4ehyHUTnQxfEZ4iNdBYLf3K5LsusKLKfM
9WATiOI1LBBLW2bxTbOYHGbbb0qFostrN8++Shk74z3iouJhB+MsheJmKtEnz0gYhTtKPptxL1+A
y/dmCTNDCQam+akQ90COXDo4bLQvrGY9dBVonHrRbQ1sL5NMNASYMYSvwDOIPItAX0iVq9WbqqdW
XX2sS3d59biWjyQFat358mpA11zZw/y2/hzl1r4cr4pVeona7DjoykWTvkTiBU9rV5pGLOmuNNoT
kP7zG2lqr6dtVqBv9ok67SnCGXp+ROsHQis5/cjq/lVd+n9Tcn5Xyf6nAvf/g3VpirX/XJX+P23x
vUze1aX5//+uSuvmX6bGFB2aGhJGBkbI7v+uSuvaX1SqUc4jNebU4Ef/tyqtK3+hndzkyNCnDGS5
KAv/uyot/oJ/qgtE95tKWTPsf1OVBqyxiRR/qhoxd2EqiH23ITlaKuZWNf+5LN2aHZ6S1pDu4Com
foSyy9NNZaQoFFsu8vTINRqtj5zE6h9xkxZ7tWBYUdPxe0TMJmUmhcknvugD5MNnbTHBIUYXuLZ6
WasEVDeDqm4CeOjs1ETxPt5IDhKN4imTuvgiS+tD1kUOUrzQJZKimGsn+atW2P21HEGKzte70KxD
bHM09ThnypU8R59pHqvUOqDDKqR5sYF+bbbmL1FY1Y4uRbDsGj4CLS7uGzECgRX2bh26J2lJIHDV
03RojFTFK5aMNl/XU98b+2iM0iscRMWJvtpwB9geA/Omz5nb6ZRgbhu2Q7PddUDzb4bqvguZReBE
0HRJvoMN1Dsl+mMnHPBLnGmWOZgDHpCrVX4agpwsSeYeO7m+icLaIDzMrutB67EOj2p/nbX8CyJc
n9m59ED8vDpxMXRE72EGBy05TOnyqVFVw1W0nDJPMV+OKoHdoHQ+GgsMU5OpBxgeps4An/Biq77V
oXhE3bCbrKKHPpI+4kLdBnTllTu1G8jltMh2RnCd6iKduvBTNS7biZcUzmYlyjyL5cn9QtppPddS
911ThxFJDMeZbRi619SlN1kTI+b93pi0l5ITzoHo/Ao6KHJpmoFfhT2Hofpwj0UoUsayi1BvVu0j
0weEnlLOtmz18otkar2jdPKjLW5kEV8v/eiZWfdS1vapNc0jDp5T0JrRJbPYNYmxTgEjwoM0pZLb
LwiOdAZZnRXvkKcxF/Z118koENf6tVD6CVsdtQtKKX8cW+sk9Xa8uka63hbpgkUw5zaOTzGFmhnb
vUJSLymRLx7VLJ4jEREe0NZlDkTACdWx2kWldAvw5Xtp56DGgCjWhXnUKjZ8kRLTwne/ZiQMyWU5
e2k2fEnlp6pNn1rBUQuGa/wSl1PvYNEL4aGdyGcYW7pRI86jQi4kP5MmnFehBzyNy6IdKQIuu4Yl
6VP8P9WTAM4q8uhWK8EMp6NlYE6QGbhKTOF38Fybh+v8KExZ2yVpq11rGuGOZdrUJ6AQe6IkeIum
jbiGMdmJicjGieRi9qM84zAMzQhoqEgwNGzm5mum0u0eFXWHnbbmDAQjY3iwmsWmrG4SubT548r0
CLUOxQWgu4+tqL9bZ8RD5SxwbNXl/NEaMwL7SmFxKmnqLrlgoXCglqhGPEMaTmMrmisjQmizWE1x
Z6jLF1unOCb0qjiOc1fCgk4TCBl9U7sGOUzvtyYiBGchH/Dk0mquEqOBhRyq3eMAY8fFQyg+WpZR
PqO4tW87Gai6C2fW9Cf6rwAajOGrBHgsWOK5LmmSGfnVXI3rHTtmSk2KurmrWyvpmhQqN1mJhtEr
KP5T7V+hkbJgzPkEzmu+6UtzusgnqzxZOlpzFA2iITyzm5ZWC4RPdwjNmJwwHdb9SCliNzXW9GiX
MXsVlAj9VZrj5DjUTVszL0+fxBlwcGGsuy1UvsxW+5xEInpurTrXfGXRq10HtYwuHSzrJc3iQEUR
2zigqQpYPTNhc1nJ9o6efPxUYCDsrcJSnFGWpUumyuCMayGPPkEgf4XV8XQ7q+P6tdOs2U3yGdKG
kfRfUpQrTlbiPuIvUGsOSsVHPEhN9kUfLOIlq12vlRlEqGMyjkJWtJrhVasVsb8ag03dCtDwU6nw
pXZMpgy0n8IM+u5qkeOvOp22igJgOa2rp8Eeu2iHDvYq93uQmxhJDJPip7nZtPBgvL83yFlpVKCh
2y0tOYdsl8ujleAbPS3qXLgW+FHSDzTYbiOV35YuBnlsDf1lq8mhXyiT6uqSsH0JcPtFqUiWR880
vWbGXLxEYZzvpLKf9gmjCJFTT4i8HYlBfWrHRfi5aaKFXp2ej6/pZIobVY36oMmU7o662eTHTJPu
Q7Y4V2U8zI0GpcZkIqY1wL++G1ZlOJhIdY7g4EIf0qm1bw2dHGDGuTEhvuyN74WdKpdDnJWvPXvN
6hRKkngFipxHqbQ7l0RQOECIZP5x24ljEnq5Ls3LXszdVQhlivK2veA2bpaqOCwFtB27WlsHeGu3
N+J+3Zj3FQRfEgKqg4SXDYU8qpKRSmK0duSVZJ31GJsX0H+HZxEnwC0N4LRJGH3ukbn60QJAV8lF
i3lPVfoztA6vqyVlN/eV9dJkcfdlkZL0IdLEcsQdVr2gYM6/jjMv/bJ5qv3BNOpDDGaVbz/JqqAB
Ne13dZ3fShHQbBzOp2ujmR4N7JcDLHSBkKImdVAnF3eERJbXp9O0Z0gWpWrBbpfXY4O2BIh8SA+E
BIfKolyug9cWQgoEZoh+lFV0ltaKtRfRdpK0nsFDKXxuRLS8oT0sLoH5UFlp7TsUNOOjAcjE6boO
3t+0U6r+UwgQ0cHYN+Zl+OFYzgeM3g6tNt5H2J7jeYdXcCojTBdf0B7tVpvaYWh5mVJ+qWbrOBcp
iRWucjr6XxICxatrHEWZMe88PUqY4myw0JZaVfjYkNCaNl8ieo5OZY74xmUVFZfhpVsq0vJ58Gx0
2YGo1fz72K3ZqUR++9TPWGgiE+9eQpNmnCWVN1CEJFy2FLrkyyT7VISTZzGP9mlJe5xkIEnuKnOy
EenEk2NAiDkSQ5x0O6NiQryV0JsAI7/DfYu0PrVuCvDXBd70Kx+jl00JzKvY9FHVn8yihV/T6KdY
0j9hZ9q/GFH6qZBm5dLIG4pQBFr1EGghaS/YeL2HipGL0Ks1sbolPsV+D0qJSen6MDbRm0SXjFHV
lWyMtoM8bL1dtGxe0WEErqeB3o+F35kTdUK9aSg0GviaF82DLMs1DuXkakZGZwuP2qmohdPg5CD4
bimqnObifrCmQJCn2Um5o21yLY85xTiTPHDFZbYx9oMNQno5tW1W7JrJNmlv8sJGmYpRO13Hor4e
CLqGRMCakcfbjpM0S0faNCUCghwBRUO9V6POZg6qRe4rrIskL/xMXmi+dvYjvsiKi4b2Te6qfkeu
SmkPk2pPzSP0Akj6oIpbnwQ5txjNXUkUfTSoEihJ8dZEED706b4e8y6npVU31/QGfUqcb3iDPQ6y
sXo6mm9io3ozbdxjgd5dYmQfkjvWNXTkbghUk0zfbFSQ24kK8c4YpBe5Vxh/jiaOmy7ar6W5xwXI
YypYc/QoWwOJFPQkEuuiRrXlwgC5q1S0zg50VJwzJtrogz7ehYlS3VCJL49Gx+Mq8VBxkkW/aNqe
OkrMhk7BByyTp9LwrXZKkz+sEmYTfVgt94sK9QiWFcFbTI/B6txJSte9LSdv/ZwZXqSO5qHHB5Be
GJ5DsDnp8czKxNFhrs+RPQvX1qzhqkaUS5mZPEQzxYUtpSJg1sy6QGdfUiAUUvXMiA8TLnMxHQwK
U2TQ4xpMFr4cVdu2e6AgksvaDR/lUKnckSn4G/xqezcV1ClbdUEXo2JnIRL8netGk1wDWC2tE4Dn
TRXfWPJW2s97isy2RJOB2tX3liLWKSyN+EXnePNVrCYvkA2vEZgjUUAmkznTynl5CEUO1lAdo82a
r6HCn7UregxrdGeNcokSz8m1Po3i2C2Z7uotwWinLDnYfSsdv0+lGPbpUM7Y3qy3zdpksge9T7mu
bASRVl2nx0lQXq20MHTrpkRhAhnpGQ/v7FLNTXDsxFiQt/r+uq4xAOilFDKusaR3VpVi2aHl0gtb
gHgdsDO8mBcietvShwvR83gmVRvcZck+hxohsFlIZaBbDc0/Rmfo4H0rojJgMntAoKI8ibrcM/a4
s9T9sibPVWIexfoWTghjhPqmyig3+rpRnIH6lzUUl20fBmoaXYUqGzHDqDS1wj2Om04miQfkhd+J
trtDpWztS3361Oph4rdpfxNnt4uyBopJPDVWy75o4u0zXTIUSGE67ttppAIqcH4MbTD9Xcu5Ok7Z
eGPi7O4oK57dfXOb9zh47sCN5tTAoykw6jl6qZiTAkm+0tZKK4HjoXGLEQljDHrGsSzHBONxJT1Q
VtpcM4UZfZOTDFOFjumXzBwriqMmHZTWLGjcI6K9S4bYvEmk8cHAHQamr7QpcFtVaz4NKuAAp+jn
2g2Zwf4yaMjP7VIGtZV0zUsnbTVlDXrPHlpyss+7od31SjF9V1GVOR0YXNYBsvZLXeJvy2ojvJLq
dPbTLKqe0I7ml2pTUVBP+3s1a9C6KFImUaCm+sqZyGERVdTlu4n8D41eajpriCMvlsrwmpwI7ycn
Z2D2c9INssJerfV7KGE46whEH2YziTeUPpIvmKuidSnRlsisotu3FsIspL3pnpm89rJMqDPPRj3s
42IqD1YfV08S+S2dv8q6nwE3ML40jlTD+3Hf230N4DcMg6bMrS/S0kcX8Kjbk4p+z5lUimKwh1Ch
jUaBKo1946B0qQYQt24OzWS+aKOKixL9YE3WOsszprx2OqkVjD6k08tYmdWpN6t1NzCImZPYdN3k
TsoARrwb189rJEDzt5mlXWPXQ3yuWQs7czY+d+wUvoRjI2EK5hVhCHKU2m85+onZo6ToCSbzOhGX
6EY2YcZUt64V58+DaSO4AgH4SRLEsU4VIb+QwgT/b0g4yKfwZUkpCMr1cdHz4QhnSv5mhUOhODId
5qPKEX1RrEZHs7WNpOtRDqtd2Ib6smtTMzwWc35lMqL5XW3y73rdpnTiDM3P+KGr5VZ5lTTmeOza
Mt3NyE0WssN29BKjWvxSbaUHW8/TNzj6litb0bpHfW98yquCw0Dq87sSGuKFKnfJbojk4TFV9dFE
gGbSz8PsjM+86Awy3Ezu9nYzTtQm14FSqbLiJiKmMr0zQ8IKx7bVHZWjkSCbOTfCtik/ZljXXlRz
bwRMgk+vtRyxveERTLGTB9W/gt/6nsmDettMWrTXwfFe4RCd7eaIGASSa75yEOkJCyGerhCjLJ69
LJ/VaP00GiEt1ZnNUqou+rzzlmKwnH9fEv1Hie27eudN/b2879vv3/urz/X/B2JcHfHLP1c96Rjl
33/W4m7/+99FT8k0/9IZiN7KnSoytL8Lnhgv25Q8bSTtDDlspAV+4T86XEmx/uInaNSwSDdNpsUY
bv9PyVMyzL9gwxgQAhRqn0KVtX9T83yv4IF6JeCVCBOcBrYJ0GfOdLgMYmkphcP1goG4rqQjUpn5
HTDYPHyEy1kpj3GUVl9+ejK/0eadkZ9MhFDQ3BXT3OAaqg3R432VNZmNiLmiXBwt5yZyTs+X1/d3
2d8LkSX0e4nx+/H/X69xdmP2MjL0ZWQoSpyX14fIuQydD5DcZ2q4Xy9xRhhY8EZrVptLdLu7l6uH
29S7Xd1P6Jo+uBXlPYzl1wtt9/qTWLrR2xztABe6sB3Fe4g9boZ22AdohjN+zS+XMc4mHkI1VuS0
4rVkISZo1d5CRlauSB5V6joqA41a4dkisK17pcI4pRgdIMu0U3O3p/Or6RitA/uphw9kZh+8SWNT
BP509zqS6L8f8+rf3Nju/rp17P/lJdT3l2jo/BK2cOeF8xq7D71zTbv6g8f7HskArxyyFCwXS4Xq
QdHYPmst1LjWzIVt9fuKgG0nZSGm8AkytiaSrA/GQra1/T9djL8vZRKY0MZA6k/T5P3t1BLzdznW
q3vJCKsHEpRjuc5pMKG4P07w0J0+az6yajjbSNAgKJoMys5gUIgWjr5JR396S9mip2tG5hU0HbX4
Vaasa4w01gtVLRmXtz7i52nnz3O74MZKYTPRKbRvO+vPFwyltFFbVeWCBZU4tdXNHVOxJoYbmeWh
CWy8LGvCzXbb3sV9Q0JktDWQ7ElQD4oaDtt++lzXclu7vaIMjOuWwstRzCXOgPkWAoQwPUkmEPXO
KOwrK4w44YukCqIW77Ia+NUu6UbroNtKcSGlMEV0ulueNjSNb6idcBdIhztz05kjLc4h0xaG/+eN
dFsyP79nVaeJhpCZAQoofjQi3j+Cqi+giTAe7Wt1LPs2Azp+VU3jv73KNlPPrAYwKFAiJpMf7x70
gq81gQxlpAUYgQtymK6sNLQfXOWX1wncDgygbao6qBkOpvdXWVuJrvtS6H7fI6qrRSkd88aY7hnE
VII/P7bfXEoR2FXyoTDYhZD4/aXULCzwtg51f4msks6clD1SjBx2Aizr6d9fygZjBHbT4Pjfupo/
L9KqWESV4Irkr0pk7JqWNjT+fbEfY8z0wf7yy2KwtQ0nuQ2DmYpi/AAL/fQBpmq51mFChQomjIEn
eT15fS59hBA931qwoMMcj2+PpUB4Is6/um5Iun6yB+zgFPWtrJU1dttcT97y0GZbWzurvre7kXrg
nx/ke10zy5w4R5dlJk5p99DpPVseMuDAptfHcB/hSaY75pi3aA2yKfNLOUmee8NqPyXEWjjp4Wb7
0flwvrmxuxGKIepjHlBVhHy2Ygo0+/WI2iNQMrlBURRVihHMHdxuFwGufFJHO1I+OPXPnzScJHX7
5IgAaYrb+tkdi2Jui75E+IbpWRKw60YvINILt2st7WIVKCEZJ+s/+DTOF5FuoBm3FP5jYwGbdPZ6
KZxhrWQIpoKwV8Xh26iuKPEkH8xWnn+AP65iE8WSWGFfuk25/fxVKKYSIXcKKYX3XXGBPhRf9dzo
/aybpX/5VXAplaYVATb8TEs9Dx5wYlOWGbVlYLY2ghNLgXCyruPuz6vzNzfEjB2iAYYwAS6Js3eV
Vs1srXHJZFSpoh+ysbUlm7N1lGcNdD79g2mCXy/HmW5w7CmaTt5wrlIYRBXOmdrPwSTrSKNgSVzA
0sU0jn7g9Z/v7NcFge2SQRrCpwew93xXWQepr2LDXAI5DNtrg7rFXq7t+YNQ+ndXgZ2obWIO4FE/
ZBk/7V30p+SIlHkJFCzE/H5K2kBqyi//+lYYDua42JjDJDvbR/7TRbqexUZ5dArov627FPV86aRJ
PLz9+TK/7BU8LZk4CHLsBjszz9ZCJWY6A8AlAmD36o01NOGlKrfNVb1Q/O+Wefn65+udhcesAqA3
vB2aagx8kjW+vy2opXWE/cAcmKUe3ZlZzwyjliELKIrGa+wp8/q6V8HqhpSTNaxH/nz536zFDeRG
VZcBF02Rt5//9FQz9kuI4OMUdEaCp1mdSOjCY8pzOfWVxz9f6zfLBHYaBzftegrt+nketMhFXo4K
8yXUznLq4psII5LpzP/5Or+7J40YBGIb+FFDU9/fUwjcP8W2bgnmRS8/80StLsBbMlH2GAlo1eHP
VztPh5ENQfrjxTGNKyMWON89umToE4tSczBGkwZkMDcbcSsj3XkqI0m6XvE37T5RdRMPUyjEqWwr
jbJdzAwt1j+5nX6wO/+gWv4cVnLLKgwgZnqYEeadbq/hp1cazWaqp5MsBxHPAdFrQhNtT5vJyn11
xbHMa3rsh3YJQPkGriqxnJ/F5ogmJVVra5+Fc1/6OfOfm5RkZewwTnvpSYmS5VadSy31/vz8fvkA
+HPRR5N1oBHjEzj74GY6AUOhrUuQwhz8Vob4AECiH3o3btXNugLhiF2I7opGGGPG8jJ9sBv/clBv
1wcwz4rh7eHP9f5xWf1QG3rRLAFt0RDROdZ5dGmSvVYU7Us46sllyb1/sGh+WaJclMoNlAJDlgWb
zfuLrsPaz2opLUGSpONrZo85vd6sq0JnxLFu/eAU/e3VYCgi3gO+atvbz39aEfWU4bNuGktQjsl4
AJUHMyDqGstVQf5/sPx+9zgB87N1qnx6KAXfX4vPPpyGno8v70HUD6RcbNNLMgR2lUy7ykJ+go8r
Kp0/r6Ifoc35qmdnUTi/VZvN+yzGgwsVr3hGL8GKkSpa5Dgf9mqvhbdaIibdxXg1yJfRp5GdMZk2
1Tf6bKKE0jIM4lBo5POYXCmkLbkr5VGvfhCY/XKq8L4JA4UwN248Udr7pyIllpTjsSQHi86sLz2d
5SEfImThUt+3SHLzjzKX370Gm6Ig7AuDV2GdPQ580RIhT4UcGPCL3awo7SskztVjrTPnMrSavq/w
4rj480v47UXZCClu6jKVz7OLygBPJCNW16CBkmw6ZcoIkTGqDcq5Nj7FGk0mbKcr7T9V638sFv5m
fVO8wGFvi/Ep0p5VvuaGwU2zT+QgmexaB8xoM0iTh6P4xhx2+/yvbxJuB4GOCZeTSOHswJZmO8wz
y1qCGL9wVlFPQ9xIzOF6irtyx9+BdLIeun8byG3n2I8ZTZi+tmmfnZ3mqNFjQzYWyNRFa6fFtKVx
ZVzVot2fb++XQ/rHhdiNtwcpOELfr1QRIzLIqSgHRSqDy9G1LICqOXzwuf7uKmC4bG5K5cg8LyFv
zoyz0leIate2GhlfmErZUyyDcaU/3855lZfTmWaWSjkNnbFNXnT25ZUmA2lhJilB0wIl263tMjRe
bevRynD+9vgU6sAPXR/pwpvWHglA3aq420pxa8X0m3MZU+baYCQ+YcjqI6eC3z0HInTLYmumIGae
BbWhHaI6KGolwICoZkwxxf7ZN4HVfVRe+N0n8vOFzl4ruWoeLhoXMsDtMFRZNhKt8rnJT0rbaOsH
T/2XdJ8tDp9LMN8bh5ny1vtF1DT9UE0ZAx+GxKw96HHp2Uz7/+LsvHblNrZ1/UKHAHO4bXbiVJxK
tnRDWJJNsphzePr9lfYGjppNNDG1jLUWYMGuZoVRo8b4gx5AVMg/5oiavUsavTl6uQHJ6vGCb6QT
JuJd0t+dJBMIxe3Qczimc+YQC+bcKz5ZeK2pflN7cP3LzqTx23nq60gJAXt5VuXPQ1aJnV+wsaY8
7/h2ZD15p6wfKg4tXVB/LaCKXGTYDaptOz4lfVt5rx9/6sZAko9OHIItiO3B6lovcJZNi7QDPhaB
ZM6yCtLe3OUvv7p4oZAhcbeqsutzO6FYso+4R4fOFd9Jm9p9Pk7ekZ5o/oNAFKd+u4Tm348/bGOz
IqFtUlhjHWmgrYbUEW+s6jhzrqUyOscmclpYhLP6xBMw3Hn/bFzMHrckoU7mzFQwb7+OzMjVsk4z
KUN33bc8jYr3BhpRw9GrczhkTek0/U7ut+4HyZCEnRobFAcdyrLruq9VNtWsYeiAkflSO+d2XvT5
ENd5+r5BM/zVMhbVh6iO+v9wcx4hYy6J9lwOmV0eH0+z9ku2epU08Zqm3EieoDHTq+BIER4i/yLs
60BPHlWdiWzk3Gld/ayokWm/1dTGKC6uVXXigosN7NB00q0fXWR46llPOxtMJFgB64RwavpFRHFd
HkEU8MZKhD6jVZ01sQvexOi+FEXS9DDaQz05RoMpMh/QY/gRie/sL9xq8rdqPIENMZYUmoWXaoiK
2M5Y+W4L5QS6MggpKONVWJ2VTBiGP+MECBU0RZrYX8wGAh2WpY6Ap59rPxuUl/8jAa3L1zFgVsjH
o55K4myusIE7xzklWVt+QCfadIBTAxc7VG3rDKdS78wfg+eOkO9xl4fNWWhMyTgr3t89jqkT+ilT
2hxTa1Dc88TJGH04bhPagKkRvqM/NJQfhOFa4dExBg+KIjU462yIGgAcTmioj+S1q4enpTCnb1oX
I60rkr55M4wWRC07tppvoiJBR2NFU/6BmqFKYGwyzvhbW/MXZL/6T1VXwBIx2kX7ZCRC+XcGcfEj
5tHXXLRMWZ5tL6vgkU4Co68FBNJ8DGGC8aHzZBnPGeCi6DigqvrcJMjiHrgL7Q9wOcBOaUUU/oiL
bnIgT4TV204NB+fKNw2fyx55J2BGaKjCtxVqDeeryd/2BY7nPhYd+oT6wqg0pxFPr2+jSkviguNH
9nkaLQ1KfD32P011mKMrfoV4GeYaDpC+FarWDzfSYNUbUDGKV3EOtRGi+FTHh6hMaYnYZg+tPQS8
H57bPHLrc1LwKn1Wl7HskS2pNZSTgNn3vovzVxgocCIGv0NOWD+gBpm2fgSW75o2VanCr/VKFJYw
VDeOAL1A/eEYZfworcjykCTRRsdPsSvJn1ylyv6Z8n76QQqJUJGTIjyNoDREHUuvG+PcuFP4PQIx
9N00ulw7l02fqT6mQ0pxKmdX+VuJVLs9pm3WPFekEWQRvcrPYJ/BtFM74KCWYkAOVNSJPtuYTbl5
irgk//t/A4AxxIRqSPsKdr7ncqb6idoFriw7D8ONexqXCstCJE+jgrF2FBMGoD0lbM2rORog/hs1
q9NTiun83w3ePj1iQ01xBdgVkdMOXbj39N+4wLCjpohMvU1zSAZvgy9KomExqpV+7QiTbxs6FuCV
0YF5HOZkCF8HOWIc38fzkDaOnITfXr/T3HdGaeT6VW8VMHVolWTc/K7a5wviICkCUz2Iou+xM6M7
93jorduF65m+GDZ18ha9Hdrsy0imCvp1zkSdH4rEwowWAuYHq3Kdy9TaXx+Pd/+pOA/RSaTuw2sT
odrb8cIqLBQtHq3rEkITOGAwqSZYSI1V/wpNTtSFFIzPp3O8KKS/j4e+30qOSQ0FqTjKGvf9XJpO
WoKeowiqORLwljvH+B4lYPSg94xujXCIU/SnXie2HnD28fbenhtlOAq3tOrko4W32frh0s2xbc4Q
3gJk1OII/Ro3rv0iKeDEwhALi1PHk04Dz5e0xpU+QKWcBxPaB/Ff7T6balGkO1Nyn8bQyqOmBVqA
FJhtcLsaKR5sxpQlOGk1GO3Cb228V3OrWU9Dk7j/PJ7++53GWJxlbKOwH+GpcztWFVk1zJksDQrX
6AGKJ+nJ1fT+TWyO3tly0aR6PN79TuPNAmSAKZeuhM7q6A4DQPEE3aorXKv0AiLIPdjWglizmLVL
0qYaYiBGu3OSNyZUFggdR+UbgWOsBjXUCWyGZXhXInf2loscKv9sL6eoV9Wd77sPTY4jbU7YE5BK
7xonaPHaTme13rW0pBS+2adPnZj3uuYbqwaNi1NDuZZO9jr/0sKFx0LVA8pRhcIVEiof2xhJj2RU
4ecsWrxTRVgJjtKH5amJTyIlMrp3GBqvZlBMizFOvNqoDUsJOyN2CX/UM4z6Fd4KxjOO06MdjF3a
5sBHwzAE9azF79qxcd4nilkawB8nWosiBGMZzk4L0B8Bg+wNEMoCBUSAwf2lrazuWajdEL51itn8
2oWz93mJSIXOjzfhxn4ACMBrj9adK41Lbjd9MuuklhZQ60nVJ5hdWoj6IbKYqFLNkYWwyx8MJyEO
XFq2LOXdDqe0rlfhnRVeq7pHu8gtilyRZJrmk5lJXaTHo23sQABHBCINp0UZV29Hw2inUZxYC69d
3pJeRoP9tYe5soM12h7F5KrQqJ5yV92O4iGgBXJqDq+lraCVqKSG6HEmszV3Z6CN+wEGuE53lXtC
BsTbgVLHHGrbrMLr4iTOciRdRoswRPSuaXskK5rQRrvQnWJ0RxaEJR7P5dZGkeUAnq9se7hCt4Nn
1Iul+UuIXFOXfCIj6vS/U2EUn3WlMatPLx+M0iCPPN6wAMZWxY+odTHimwblqjSdAjNZeOJQ1rUa
DPDBd07ARgBh41PfBVhBlnEHu5mWIjW1WUqWobCRDV13xGhlPKNX+33meOxExY2oT7MC3CeVNBq+
63aypXbd5OWacqU1Hr/T1bpBjszOXrdpBjG8GpSgQdp6Z+fIxbnN38CpUNLneqeco66vtm6Iu4m7
W7nq8JRVZNfUOPTTWmutU2+3+PzYOe4pBwN29j/I2UHqb1tYPI8XdevL6fPRKeK/UprvdgelBbJI
lt0rVwqXuXaNS+SvEM2wxvFsZMOsQj5CA93HX7z5+HjkrRPqgDP+32oS2JnbkTmK8dC3uXLN6sV+
hbG44kc8Z3e+b2sUdBjozMp0lZLp7SitUi2Qi0pWFj0yhMjowxnHovdaZ2egrR2LLR4JGq1vGhSr
z7EHuNFWiMhe5lBNEvAi0HIbfpoRNdcmyvfAt1snn2OBJyi4TTBPq+E6LxEZvD0PRExrHk2jbGk/
dXCvxfAHh4Meuuy9Aktjq6y2iAuHW/qwhNc+7YCH9ZB6n9U4N0Ey5j0agQUCdOlB1J738iBAPMW0
ktwXQea7IFCy9buFb+zDDuVBzUHVVFvsz9lAfYZia3F6vCM35pS55L516BFIsY3bvWJlFNXlY/Ka
aYiV6aEm0G1yDYqPbbsTuDe2JU0WwiiGqrLIuQrctPLx0ctq71oJK3mb6UX81NuDuLz8g0jByI6A
LrL3Vx+E34Y2lmTy1yjNplduKzp0k7XoX0y5iuPjoTSdyVlFM+4GD0IBIQ2B+tUX6VnVaGMmPCTX
2jIwqa+cEbQQ8vGNPIkawrrNOmSusqgHpdcOw6GyPfevxliiS5gp7k79c+NaxoaC1hKwOG7mdak1
o7CRN5O8/9sqpVHolqjK983wFFFH8xMFKcykscn4uND2BEi39hHemBxKeV7uWsUJ8DG4coxNr6UR
r0d7Ag7lFiaoXFuZUB95PPWbw/FGJewQwO8e44mRVH1hWGSLigej254MF0U9e3w/VrMV7Qy2EeY8
PA9ki8uFMrtOd8Zw8UYXm2TSHaDUGt6/BzIeA6JjNx/aTPV2xtsoKpOZ0hkEpKzz1zoXtpVhzAqr
QxEuWxDxyDvdQKNKj9EYnHHmU852GUbiFWX+Nr3kUYsOSFwYaC94+TRnOwfq12N7vctpdVsuYkE8
FNchQozomwjXDK+tGHPT9yjC1E9NiUL5u6ZsKLfGmXDDU7gow4QgYYpXeS6mf+3Z7v+OK7fsDnWf
2ZCtpkRgNRhpeX5Ru96BTKYbsH5hXoY7UW1rxWR28as0LzuTt1GtCPEzV5c4vHqiaf6tPCP5qqZp
+RW8HAZshRgsfScW3J89nmJ0ysmKPZ6061DgcM6tWMtdQAHLWF/MdtC+4nsJXR10RdadWjT70iOg
HPPj0raevrNl7mOrqyLmJK8OVb5zV/dVD/fOQ9rCJa+CNelPkS2cczoB8Nu5n7YHQkaJeMdTZg3+
jUH+9l3kIqAaIdWM6kMR9J057XzO/fHmc7glAKxRbGHP3a5fm0UI7JYto6RxhsH3gIpgA1YbXOKe
kPbmB/EEgvwEHBHg4+1Q8Vz2MThl54oTpON78AOulT70/kvjFR9EGkHhUJqBr28lQLbq0s62c40d
LF5bLFb9ZkDo3VGal2dJDMVTmmKkJgFJq62gG5GVTNVIqZ9Q4bsFij2VF0/+Mpfan3yVtKHhNuf6
W2/6IifBRl7MuS7x9JcGWAgg9the3LQad662+wMtEVYOSmUG8A8SzttVSixQhos9OQC7Snw6tcI9
q3k6+gjx63CdDOvFAYRv4nEEANYATraurYQx1HXQRe61wCPtqVQxtaizpT0VRjv4GtIVOxt+4/vY
7QaHCkFyF/jo7fcVaRGTOHSED0eo73ta3c+82+r2dZgP1g/4tELfeYltHDE4EIA3AexJQtTqiEVj
16RIQrvXWOnnQ1KO+PYx98e5mqud2Lg1FAtHckCqqd3BuZDFwVwToOR1KRb3Kba69kgLCHsCsxh2
hto4zVQNOcgyBZIp4O08InZk2B2XDoRdqrRd06bHqVHGnX2/tVq/jfLr/v6tC2GgB111c+teORqA
Lz19puc3D59mF9mYKbftP9iNbHoq4g6hnaTn9qtG0reZbi5rVaLPbhal9zzb04yOBDI4pinUl9dY
XMor8Ds8NgblpFVQVNzBocZXuldnQDrbab3+bAPIo8s17bFJ5IrcZhcUgeG+yjY6VWBvNVRviZaE
oGAuG1X3u4rGVGqyI9N8SaGoG+q1cuk+1zAVjpZo9J+PA/NGDs/4wBOoggCuo99yO7dduaSxYTO3
oyPMClvbKP3Xqxf0ldPEdZBB0+22fD/XaTNe3EZ3ahIgo/2Y23r7VFEio9s8wsPf2ccb6QSxAIQn
PBcwVeucq2hm0TeT4VB3stC9By+ASWETOv8g5oEaAG1nD4U3Y+j/02qLFvDjSdk6RXS5ILpQYoNJ
uNpvuYRGo0XgwdRQ2uOUIa8GjVgJHo+yFRbYXPhrwuMBH7KK6XHkmFOi0HZw0np+2yBeexLD7B7x
yPrxeKSNhFqSs7mpfjGWeC+sFpkjhfC45V6BPAzvxgKwhq/R50Ajssjsr2bRCuRivGgMVJXHtqeN
dHsxrd2JGxvzCkUSmzB6ejwo7rI0IzEg2MzeFSOG9G2fVsNhmIsXQ/NtPpbLhG6VB7pwHdkb20z1
sdG8a1igUvGrOgIKe3a7bOfSkrO2OroSmA7Fgi6DLDfdzmqcRxJXEYVXSAbYMGWtYtTHJmvSL1kW
2skTniv1G0Pr1L3i/Ub81aW5I3x1WcFch6e5ofOOTgn7E3n21x2z/TQ5cYSyb9Mh6uTae08gWeZd
f6nEGwLtY1bpO99+qVPq5IipRpXENIavqRviXNXGLj0SegfxGE4nKyFHhe7qXdpU5Ng0dXubZ+uj
aR+wf5AHMPV1+WQyu2VBZIvKEP5VXydRtt7FdnKBqmaBSdiJv7GkOxfPxhElBUcugYY79+r64qHs
MSJ5ykXndk7vN0ucIPXioX7SzOUfDMVYlG5kGCZLvp1iw0Lfr7di7jiADJ+zxDP/bQnOFqKjFnZf
jwPCRngFq/r/B5MH9bcLXFXHCf8lXjF2H6umr5CFf+0X3Hwm4GMFlg2R9h6wh+sgdh1m0/Xx6Fth
gOeGbOyjiKWuo5FO79H0ZsW9KvpYvk3Ql8R7iTz28Shba8cbSgYaXRZl5J///o0p+UTVz4TXGfsd
00BjdkLIDuusKtyZzq0PolJKCxmg6D1rxoyjZVEzsq6wF3WQhkuCtqdR/sEoQDDl61o2cu9AAWjv
IW2b2tc4y+PLkuK/tCQoVj2etg3KjYtNAGFFhwFHM2a1ESlgT6hI5va1rLMKrp3WfpgNxTtwwKnp
megKV+EcXyod67AWdaODAtXtNeAxmpZmrxxVZUQIyqnxWhOoy4YLdi6Pf+Jq90L7pnciyxskZ7Jj
v7rNWgvFvAKMYeA4k/5lNLLYRUfR0Y03lNqsNkj0Er2ySMSiOmKOgI/B4/FXcV+OT+fZJCDCNaPk
sbq4WQW4dklXBVjSK8e2H2Yk9ar+NJYo91MdTxCb74ydXsNqj8lBSQ8dQ4V9Ibtkq8tmFGUEUm4o
gzFSjbMR9iWOMuMe2Hl1aH6NQvvNkAjZjaaYQduLPm5YIBKZoZ2a4MtZGTo5nqLsEVXXIJf/Gwui
qskr7L4XlmZAqVRlKIIWsajpYjRh3WJDaOTvsxGAJ9J6ZfI6spsB7wZ2GzJpU+kq2Ak6NRpkiI/u
peJbU8zOh5JJd1W/ezxNeRyhFDrz8cNU/Kh13KIPCWj8l2VBv74boRkqt5LTd1c16KeWfC/OyyCt
2+YZiycngN6hHB9v0o1DQqlWcv0J8xCJVuGvTjK9mbwaM47BS1FxRCzOPhp5L7RzF8Xjk4neroJt
hCIupc4DayeMbMwl6TM3NWQAcFzrFMUDPRkp7dIEU20bnxSrHJ80r9d3pnJrD1HdRHlDcqs3Xk9L
PGI+ljdBpJjqZ09pwndVozoXBQ1xv0pNxa/ApfrDsHRnoNGer6dT/clS8nQHv75xcDwubvkfSoN3
faQE3KOOeGITOEgdvoWgVvwVejO2eUY07GRjW1PLZUP1UaUVeJeUiCpZJk3YWNksdnwaCp5q7KE9
PONdkKPTCNhL3tHUkfV1I66sjFABaZEGqlNQG8nYaXzN6A2c0Wmp1bNrm+37SA/HF7J2bPDW6Elh
+6q7Nv2ydZM4K0D9iDoTQRJ70Qej68XBMtt+5xK5m0VGAa7JBUKVlQre6hIJvaYrcNARSDU7aAtl
C2KWc7131u83qBzG0vgfA4Hcu+d9nkVJnWBQFURDzRlHVQS9YavJvQrvmHxE2gppYPVpHPXWOA/q
kHS+m1uFcqpxncCNyvSE0Hcenmt1pV8zDB4MpCrRBy7lKjYgL9PqTtyKoKhmxFLHUq0qFAUjlGCd
iQ13UvNwxkGuXJxD7Arvh2FOWXigNqCKV2GcKK8r0eEPojag3Q+TbbRfUcFWmzNQzfhT21RYjiPw
gx7145h2d8iYTBhjVEtAmIF8Wa2Z2Q9FDEoqDczanF4Ju0iCCW/M5ybLvZ3rdnMokgtKQHSh7+KX
4jkFUjtLGhhmml6XNtbRycf4FbHIzy//KEn0ZNNTAbp71+BPWIkh6gQHDUupzmi6IAsnFN6jTDk9
HmoNmfu18KDm4BdKL3Oi5m1OPFAPjIDnpcFczPrP0iyq7jTmBsK404haOHru+beaNfgmhJqKJ7uG
eXnQgCR+reO4waOl6U1kokh7+jdWNVjPCMCjr+1kCZLKk+4W39FmwEdtaCfjS+nCdMDzNB+w7ouM
ee9rtpbIpixO12ercqbXFZq8YhSBMwL/K1BhPNSoG/hD/tIE/3/njeMLIFgSh9bJF/jxuIAcKQIz
gV6z9HPyujSa6Px4ebZCElc2dEWJAOR9f7s6dRt3Hi6UIrCF56Jg2kRojM728eWjSIw68B9Mte56
gzBDliHX+wSTPnSGAXMaGPXgPPXiUYjgvGUByjHWGl+YaEKPS5DiwZjq0fvJpeYN5Ch/eRBnFDJj
FGpcOO+rt8qMLWNhoGYejCoWr9g8pWe6MMZOlrGx0WgRwLuVLRF67auw0yheOYs6JRYU9eycHElu
l971Lm5NFdCYnW1wl7mBvEFLBWkfEmOgRatDmuZokFPsEAGmFfO1H9wCH+4snyEFectfkxZTcleF
8Y+aIcj8eNXkDvutziP3uQ72jtxUhr27ilYbI4vLdSWC0muMY4P/JAaISIUa1wl2yBskkMcvRad4
/1EbdH7WqvXz5ePLgigaL9Du6c7cngA7tNKiaLw0GBB8nM9kfW7zNoJR7ga2l6YR0Ny6eW6RQOpP
RCxaicaCMvTl8a+Q67meBUo7nlR0kxz81QJkPMANsA1pEKtDfjGmlkBsGp77odNE8TFORaI/1War
7hzMjW1GMwriLLuMRVhvM9oNI7UlC9A//Cn8U92itlCup8blF6XVv/yC4xFJoAECyHBrhBfE9dbB
oacISgDoOnLLZvOhduvo52TMKLK/eEZvBtNv1zU1w9qympAXe5+iUOeK6EgXDJ1/8RmZ67/L0Cp3
DtGqWih3Mg03iVslh+QDV2vYJ0jOw59PA4t6LF6ymRg/tQW1PPhdiYqQnhLl045cxLqX8mtQydpw
XI326V3foGxVxRjgkQa5Wy/PdFHQrUqmGd2CAYqWXWCHBikJRX9bA7ReDr6I6uZE/th8b2ec118+
6VyMkAzAKGqeucLusnuSqdVdEgtL8MHq0D9Nnlu97qNYHEPeTeceduq8M+rGJSYDJWm1BRKE/Ol2
qenIp4WtlGkA43B57srGgDSjuN8ff9vW8oLypmlCMZpGwjok6wt8xY5EZold5VzA+zp3nqg/Nk7R
fEghIf7B2eSMcCw5Lxz11XayO9LzFsWmQDUSmhbLhG00jhkXRBn3Wl9bYUDOG6hE+WpY19/Aq0+0
pfM0sNGMOVj19L0ytcWfIU7v3GubSwX1RCLWqNGtQ4BoE0XJsD4K4l4Ur1VHGZ9Cams71d6N64xy
ksyiAaoB6FwtlacCisfEmdxJ5MvwrghbvBYmL1nqU0LPq4HjFBn60Qun2nkq4jL+7/FWWaupyFOJ
jCORAFIAudX61bCYreO0C6l8WrjwOgB7IiekTKBPlKVJx78NLXGyv4q6hDTldhVuqoky09s5dJ5T
fp4TYeOpVokGxXBLmMUJj/AUacPKwzrn8U/dWBB+qQdUgDtARq/bs7OAfUXjg7PTtrxq0izJX1Hc
2Dk6W4Owj4FPODKhWUfGITQxos3NCHdva8IlWschYJmrnXrIxgGVb0s2MTQFaqWrVS/qrhg6muiB
Bd3mgxbOybvWmpJ/5goabU2uvteM2xqQUAD2B7EeiAqroqxTQGeJMTwLlLKsj12y6JduiuY3rrJ8
NWagK4+X6ldquUoSZBkeBD2tc1mRvV0rnNwauhdDHHR5XT4bNmpUB32cY9wyqqj4qI3hUL5xQ9Vu
gpS+7HXsF+khao7zkw1JHh51Dw0XI1HyoX+EyI382gkR40KOpYJxQGQ9Cv1OFJOJUy3E8kOEKhBm
yF5ipFS1XYM6TNTB1ClyoSl+2UQp9qQoWYfnTM1LpDeF0jzVoWt0h2aCZn7MBQKRn+FzlM650XCp
fHmMpCBOQsH9J/EEqxkp9cJ0I0tEQTmjfD+6wJNA4BjHsGvnnaG2Fhs5CnJxjrUsUN1OfsYfjZRX
sRiavDkIC7341HVl9s2sEtVPUgVHn8fLvT0gTz+IZmihr1sOYQ3fJ4+gTIxa7xyj0ngbaSbvTXCO
T8ui7CGGts4oDBhq/QQvifm6/b4lR1UfeBwMDVVtj4lhRYhgL8VOZN64aYDzgvKndw0Kah1uVPo7
Ue3ZylXTO/Ufa6i1V23etB9GGJcfH8/f1gf9PpSc39+acSOBFzakp1xbwKC4gKX5xSmT4vIHowAb
pigAgBjgxu0otr3g1DfXURBlDfIO1MUvIhJ7CPuNCw0YBYp8NrkHD89VlM6SeMrokkZB6OBRXKSa
csIpBpHNftCfcruJL5GbqccoI+Y9/r6tXYg2MQh3E2zSHSqvVzu9GkNOWD/NCeqrUXpBS0M7eCmf
OyLq7D8eTwbpVYyjdAkUm+uTx+h616NyVvEOdeIgN2fl2Ww194xWeIJYMfjN1hbZ1Rpx8/6DQWUr
la4Q/7euUXVVi2uL5cbBqKEtkY74wPRNbAVuh6XTUFoYk1FT3Rl04yggMgjUXJfFWrBYtzvHae06
VJQ2Ctip2tsqtTseu07/RRk84/z4+zaHAq2FjhPXPEf8dijg0PbgZty/RZK4594OMY5T8uitWw8/
/2Ak3niyYwyQeM2DEoWXW3lVRQF0nrr3tSQzKxpsZf41B3Q+nh6PtgYZyTzLomdMWkElBiGE1Q08
T1FcdWkcB23X969NV0nPDmRSaLZuZH9scRWpTla+LLlvItPwDQJu/bpe8n2ZrBVa5f9+iGx+cVhk
q/h2hqOqduoyK2JwsrWBBXqdYj4v+vOoVxAFBk/hDVhjpYdlluvjJ01UCnHteTwdG2dVRgfuKI3r
kMLu7Y9wLasYrcmIgjbFEwuHmJ+5obcHz8ZPq6E4/wcb2KC1SGUXlDWVvdvhsnI09bCURE1Z3zuW
U59c26iLv3eKUu+Jkm5Ec3YTfS6qyBSs11iVqVzAUJSVck3ycfQNrW2e5lRVg8czuHVQyFJpH4K0
vxenm/Pa7q1MV65Thbr90Roq6zqnvYeuZJcYXx8PtrlcvINAwQO+uUsf41G1y1IflWs8DLXlF13J
yoUaXRBRalJMDazay0dEpkiKhsiSz7qmXJnOxN3ScPvWi2u+ds28B8YgovAt3rBzd7Sy3HmhEsCv
k0FhhBY+80pvdhV76gp5YxexxkAkmJaauen5JU/5P7g2SMvIK6g83Nexw2rBf8ImFcfNrQeIYUPN
uTRwQs/uYHSvJCoZVp8RWzvX/8aGka1mJA6kwtddVuiNFJfiQmVbWkJ7iuMyOaXG6BxCYAM7i7dG
yciZRBdUct9ogvJUk/vpt4RGidpl9rBXCoYYEi/e22FXY+uehYvfj5g2fQlHq7bPSLXkybWwLaX2
Q9yWF19fQryLkc90P2LJRx81So3ymvZYX2Z5K+yzsEJL3Ukctmbm91+7ioiNMosMyekkwH2uP5rz
EIPa7fQDgPUXMkf/d2LAROooeICFWj/8slbQv6NHTf1nGT6p01L6ZUHr2FDa+h0CEViWdl2/s/Iy
318lKr/0YF2e+SAE14+/YuibumzIGZzCE8/dqM0HG/EYv5fMfNfOlCNwUfMry6MeB7Svnl98lEHl
ABSUtUZ5Dd5uhgEzzm5EMSywsUMvjlGT0Th1rS7XL9GkZxjMqk6/9wbaSEN5HgBFItHlVbJ+x+f5
rGpF38eBp+jJK60v2zMM7vSwKJnGJqLEqgGw/RoCDN1R3tjaTSRnZEn0XCiSrz53iiqR6shSB0oV
2u9KR8XfTwpg6aJxdhZ2IywTkG3EJCGZghRa5RTObLfTIk3sdVQ6SOlrQ7vkdqpf7IrKZaTWy85J
2ZpV4MO8iqRMBTLYt0uJfLMwQEqLIMZ5/q+xTSsAV7U4NZY2O0+47HnlgZDpnXm9K/nO4L/+7at9
DBeARJs3H5DidanK6rEyt3GsD3B0Fv1RHxQY1+iMq/GT0TpTg6hWiejxOETx0eh48tIFiVX90Bhu
8Q7Ni/Fz1Cgl6l+R3hbvJi5mHHwjLXxyjL5Ln8Mw6Z69xm3e6CH/mF9VbrWcG9cqi50TsZEhOCQI
FEgQZ7kvv09NXJuipjpS43X4Dgi/Fh36uHXPjw/e1jBIHsr3CQ2juyqTEFOKaWMWB8WgzK/dHmmg
wnTinVE29jtIclQV2YKw2Nb5pI3OVG+Pdh5UFnalRyOqvBxn2gqEnElZ+Nvjb9I3tqCrIvKFZL90
aVo3wQZH0pdlsyREcy46hy0GPwcQWvrHJDfH3rfjCt06tmmHgac+o/mZkl8Mhw7F6OxbrltiOfMd
SXacxdz/NLDYXHxz0pvs6mAT0vtTjlLzoffcsL2USzQ9j0Wvju9MNY7Gj51tR6lvFs7Q+BgGRMoT
/uk1N9bQZ6/MqC+eASnjwPP4ozemGMISNhxA7yiyrINZjaZZ7/QGxulpkS9+iFHhxYhMXIkxuY6r
nQTll2z86pzBQAD8I+W1ub9XEWzJim4AO8sUJ4Pm+r3oMs3vc7VB18yCrY5oe5d/64AmV69VMy/U
SxVh14DJOmqsPrjS1j0oQ6P11OcNLT6MS169kFEuL1JyC5CeNBzoZa3fwYWq5cs0zFlQCJf1V6v+
rExze7CyzNyJsluzL01leP4yLXfdjc4s4zjLmiywEGA591nT/QhzePuY0xb/vXyhIfjhziC7q/Q5
buNrJLvbVThkgdqV7nlODfvYKYnr22nx6fFIW8eI+wmAHOVZ2OTG7UhjmPbp0uZZQDXmW5Yn7smz
Z/eArtjybHrj4JfCSo+jVomdp8RGUEKdmbI3vUdAcOtkJOysSM0tZrMsO4zN59l5MwP+enn/lmxH
NgnAwNxzT7PWzIq2adkeUZJdl1SpTvG0OG+UXrN3UBYyO1yfFgpA5G0AA6Rm2e1MJihn5tjx8UFu
FD9Jh1i/sXmRJf2M9/yoxLiqquXnx8u3sSc9EBDsEOAI93jnsENpwUIHIEjmpgUM1YavhDZ+c0sn
2fm8jY2Cu5DkdJFjgCNdBYMu0b2GaJwG46QMS+DpZZM9xQTTykfzbmneLKKcprcDUFP7I6xvPdwL
R/b9BMtuDEGZC+Ye9tDNTY7Nr5oFQjWTH6FCzR6mViw+aTiU14fWsfNPVrxQqUXxWtgflLnypJ5v
40qnVzN5p3cw5C4DxhSvwHhB26jGKDIPyMbn3enxumxsBh49NCa5ERGiWReVErSvepHSTatIyS65
Ptk4wmJTjvXP4mc5+X2IScdOxrm5RIA0eU1SX6LLcLsD3aoc1dAZ0qDHJPSr5pXZ57ksRt7lZnwR
bZe+zplfrjfV2ilCbFW1yDA4xVzHvJjXQ1M9mgt4EmmAbXwMSS6vXJyYS2Rb/QzBc1xHXD3Ljv1S
VoU/DKlm+FPlGtqhG2rlw+O53zoTUAAkdJzk8E7itCsM3s6OlQWoFdeIFPIo+TuJzFo/A5Hupp2V
3ohjnoU3Ef8slTRoNLeTzis7j8uKCwjonwPNoUXvVw/3RGS2vol8l2oErUjeEqvgEpGvUDjsGSXT
nGdAtAZeX3NxirgXdz5o65iRjFLQxkRNlkRvP2hC+b5WOjsLTCtML22eO4lvTLHz15SOsUG/oC8+
v3TBNGgqNPGp79BWXl8FC5JJY+Oh46lnjUYh1MQr7ugZVWcdygWi5ePRNooSZMJ0PyksS/+XNTGl
MCkDKiFxxB3cuvT7UuAUXuRW+gXKHi8ZM2/d2u+ipKmevXKMo0MYesDH58ZS5ovNRQwTvo6G8IRy
osAxsjbH4lQXeofJq2XU5osXBEV9fJ9l1gH3f/26Q9sMosUIgtMCfQSPfLKerLSCdOTq6Ttsxped
8ay7OAuwnO6klIsE177mOoOnq6i7lCIIG2H4pB2NL9wFOqqBMvTOWtyXJGTpSxZIKUZB85B//luB
KOpq2x60LgsIKnN7jPthDK92PPBYnohTn0qe7V/DrK3Ly+I0Se/P0DWwRG8cER3Uoq5QXOjy2H4F
Kn16yqbI+wmIqekPjTep8BiicYyOKpiH8TiIkdt45/fr93NFQ0RK/sMzAIywegg7S2hUTg2AKnG0
5n1Iue37GJLXHcxZX2y/CS3zXx6OqA8tuUcEQhRRfMzTNJ9f20UmpkMMnybZSXruTzAMUPY3wBgK
bygS3U4q89lrXiuvaq2sPmmJYh+M0fNOQz5on6t++uvxJGwMJyv30m+Ue/k+8cG+acyGJAvqkPcI
gvDR2x5bc5+mKUUdcxF7rJn7y5WjS1YsdZY2sDLCJMQrqQX2J+mSD2MMJntSETD5H8LOpLtuHFjS
v4jncB62JO+9miXbmkobHtuyOIIAOIHgr+9PvevXi7coL8pV0h2IRGZEZIQ9wvRSCbteodrs/pf+
5/+v82iaE+ZnOEUO4/8cb9kGkOyw9du1IlGStE5ClKfRT/6Xi5Qj9v3I/L995DdlylBLl8P+3P9E
n2PRVu7WD9n1XE8BWc5ssdQPo02iU4btY0PwPKuDhWn25D9vMbjbNdE+J6WZ9WZzkTrbJ3vro/+9
lha/L/j0PqpqaMRDpOcdwz1PbPqOrZJlLsy4WwnNPDU1kh6/ni+VrRJDwPGyb0+zYek9x911ZBbu
q2G5PVZXTEUgk+w3vuHOe6gj8SS4ZXFtivzqPa3r5iAYkraqRHbofGHrOWGkdGzywRP18tvafRB3
2bHvfyNv2zpWI6JtLIKevY6Ct9IMeect7EQjGJtfv49wk7OCq6OzXqLGFkeW2P5pDPXw7I6if086
X76TXIMNfuMP8yveti5heu1xHPkwGYOb/1r1/b/B0Y28XsGGnDzNhsbkKlLD8stU4yKGnN3IPrwY
E0OdZPicqN91G4ARWqujn44r0z+kDOno1NKHm4vf6hiPJq9fprvegSq9E6xL1eUa7UN/uwrHureI
xoPgzzZkrZMTc2mOv1S0fikiPfjI1b1jrIo2s8M9vhEON940Ke9pGCtNVIpT1RvbInvmfuKJn43s
/2oT3HeBhJvNNyRZPqU5ccZhuk7nHmHqp582a1ygwxp3+t0g+oRZGONbBnh76e2hZ6wJgdOudhCn
7WpIt+Gzqfz1HcKYTkUgZ3hZXeW5VzvpDVuOytKMZbdYf8/HRSU1eS5LpgrgMKMLBET1VzqqICzY
d+yOfB3F8CFtbXQei9pAWmhC7zpVeQOKMNG86ahSmhWzafhvmdpwKPx0pie3XHYZGjeEeycyoIXO
UfN4GJkdA1KdYRozNFc2EJ9VPWVN4XmIPZDj17Yu0akRWAvcu7+yZes90MYs/yEiWsZTo+Z+Om1D
baZ88tNtJWKhqoYizRaJnVJ0zF+c8ajckFf8sHM2tnlrl/jOGdcUqV0C8SgkW/wFk0hfEIkQr8WW
Ne0PZ54SlpJmopTzJNTrbd+lhL3wz/Ra63647SKSM5xRqD82iEV28XvrqXJ23XQoMlMlP9pFxl3u
jP62Fzz+fZdzPbhBPh1R8s/bgur98Ov6RnZ7u5/YqhkUWblDMJSLyz1z12jts1zSq/CmAa+WhBSZ
+XZtCT/I+6SufniH275nXKFDYU1b/5J91T27kT4+GqcjYi5qG88WnV/Vf8PWNE7e+tvQEp4lZJ07
dtm/YyMSTFaUt+yvga+Dp0wNwYrvT92/7tjJv2R1uJri0DZ+WAXK0rJpU/NXho7183WT4JcT2a0N
G1wrmV96Vl1deIlo3bKRm13zTB6bw79fs1OXrlNVbIfsHvvDrT3eWZvorlxnGekysHNr/7K2x1Ge
szZqSgn/N1w5iw7vcPlyHo+qyUqhnVHlUq7G5sgOw6NYNtZ/Swm5J3IRj2khhtn8dDBvmUu7GP8x
rIOBP6KRqHN1pKLYDxM1hcjW8b3tp+GrVw5b6RlRyXy7JE4vPIXj+KStbpIiItjurakHvEv1XpMn
QJwBB2SbiFAsMKDSf/rIlyavKGainDXw4Xlp4vg1djvzNcfp8BqMa7+flngjFy6b4+YpUk5cX9CT
swhkR73WZTNMEdEpIJZBScNPhojGQWPOTe34l3DuBQniEhIp3+p5uieKg1iLtRLmpfJ9wK8xpG/O
ZdIFf1u3rZuTnbSdz31vU6Ad2Jf/gmPsmjIFKiM8HWOAl9lpqrUQbRy9ge9Ny6lzapIv2Ms8vhx4
3u81tj09sBl17JvczTgR5OmIqylkqC6M7r0uh8tz+jLmmclyz1HjEztu3TsCCzRg27xse45/8vJR
15W2ZMFI93cMPPs2oLXQeTP7/ccQ2Vif6nCgPBB7H1R50vK7iq4laYA3NEYRRuSt+iKMKJ7KiVgS
cdo24gUxu3GHR7yAxx94gi97sexNsxT058Erm9xgkG67puqlWtwYq8FwG38f3wITjqNHhMlR44Jy
9hMVlKFHIEnZa3/BFy1p9lfFlg6tabQ70ammE8f0hWyNtUym6fDyY/L1zv3n7eslHo8jOaVEGKHB
SRzkC+hUKz8PQ2WvsQeLqsss1ffGXxK2fCj+DuJfRH3vO8WofE8Qcuv4r8ADRBggYkKgt0oZfBKD
m92zfcS6YWLZccm1kOtYqnCwP4J9U3dR38xJjrEJ4iauyP7R+pN9CWV/vMhB86zWext/pRV93Eni
YKGpHT12KF2/utyU3xEr4a6rIM/Uilula92RT6YT4XAX6C28buu1+U2G9rLnpmuIgMJMV7/MYdD0
525jyWUD5pc3rWoODf0TYpGhZu+37mvCRDfFT1gdf24p86tbn8YpMV9qw5g+lyz2gCaLmTLozjK7
Z8mhqku72uTi+eOsi6CK4rFQUbP8i8ZqiPJDESp47uySCE5ZnX2xxD3ZfKSaOPkhuS0LgQywwXGh
1UMOBy2+1jbeDnqLhvyYSA6hzT1kBUvh1VM95J4Zs8embuabzbXRXhBTK6Y8DHT3Tkpn808q32xl
lYjUgmo78Y86cCXnP3LCEcZpiGgw5mpDoMTF2mu+5zxcx/nxSP11JrYo9X5WDutw55naf73Ge5WV
u6hojhU3kQ9WaNcUOXWbpLCDhls3jqvpzQ8lBkRir/vnyR7ZcBolAth8a530UeE3sJXJXvFMSoKl
56uebbV/weiMT70zknERiVCYok5T1RemyzBSs/131YLFsD/2WrbxVed37T1BJgsrJu30reeIpu2p
98fYXjA8PLwzVcJ9Sldn2mkKPHuSq1DZAyN89yOz6HBPU6gTUeKSgtTNOt9yCe4brKggTAZ1clt3
WHJVu1w7dRDjMj0QmdPeOU6tJL5rclCFYdmC+xE7DY4o1f7feCzdEzaITP8epuOqWAHO/KtjGffP
zFvryxyPUcZ5WfZnGVt529hgeXZdwTXoziP8w6hncl2lT4UtNNopk4vQ5fJ3+t4drtIE3UE8mfi/
Ie04Ye4xBTdVJ9KFdwD0mVcTRbkgEJo0sNBpNpnXvozvmeXaPU8wsFdl2AWrezp66fvF3mjq4hTs
UVQi0kFGNODO4HNEsvQREVCHz0fVYA3oGFuNPH6NczdjSiFypeeNv2y37FEO8HbcMwlxVZXJjLls
C+g5/NlA49VNdfVP+dHasplPE4ucUnRRPsw+z0pl1/5z5bVV+eA33i8hVP3iRGv2nswul3w9UNPX
DpfPi2maajpPxyJWzMJ8bwKhVo4spnmPHR740YFCiUf5vmUu6cAD5MBVaKeGINW9DZ4FgUcB84dH
fjORiWgas3XyxrOrnRBBd4RGo4TVIIbGxU38MUyPhAE3hClGixQ1KmfCGqZcWb8h6wKqZskluqvv
bjchb9KJo/7P6o/HdDWGjfNTCLft8hmh+ov3LRApounYmBBi5OM56gj/ijQGnObs1PZtzp20/spa
pd2iX9LtY3a9+q5JOHZFPwWDvmJO9rqClQpuEodhp6c9FCEZRBhg5X3aeDdkfnnmIpDdzfmQmvUZ
m5SIV+1G5DwFNnY/etV1NyYmcbAYEyVJi9Rqf9OI9pa88ebY5Bmr4nvR4Ke85OjvK1VUvembk7fS
iBfZyGRT8qh62D2jvv3b9OGG223WJl3OLeO4956DEOSW4QBPb59INUapzRc/ddvKOZfj4P9l7Tyi
BclGcaoTrcTJdCMPWdgu1uQYfuinGkmjzHEeqP4Eq7e8HkpMe7nTfIx8Tt+TwCR2MZWb7ReA85R8
s7yCtER9o3X7a+6O7BHmhvv/iO1kzjNtUvjtY17/XXRQ/Yb29EQRpdrdirgKFb/Wb+2DhEf6nMKI
Drtx45/CYTk3H3FNeqiVCwFrx2j/PZgs5GPy2IMuQqlmU1o6rz8EoU5vZMGT0WPoR96dw8O1Lsjw
T6/2Nf0u0sIueU/38lsMG2/Pn+0GuswewEMFH2POvjO0fxnR9q9BDSRbzMnAIxoKNfVME5s2edeE
FOFqj3jBxniYtgzMGGIGYqqC5R5FQ0SW7KiGv0Eqp79hnXFrDKEhyU03M35FS+eE7+HKbFaEe2Le
GWgpZBQsdJIp5fmur0XYFtZrtwYvfZQlfD4CS5HlGOxHtMeaINftYLaM/CP4YFGUzsdpt2UnXy4b
JvaXNvneVq35jFaBlKMTjE454hTnkY49Ynxd9VBdNi08PJHXZedrHiLdngJF9ncpgBsWbsXd/ifa
vgJeTybXwU057W6qbJRUm6m3fxxTt7fSJ3Hsx+ghBZKOiF8JYKz7szI2YxlBqiy4TV3dqjIlgu2S
VtPS42pfKwQsnt3URWzYM+T7ZIOaPruSI7ITf2VyFqHPsRY7cX9V/A0YYz2ti3ZKpn/Ej6d9buzR
MgOC/Q3kElfOx+GQqZvHSIP6khpdPew6aL/ieAm7Mpqd4efmu+1Idmgkb6XIEhp3Hbu6YK/AvwtY
2ABomxfUc4bu8Vdq43UqZmN2t0ASgj2fcfr189tvaqOeHpLoEaxrrsYu015OazW91KlN9yLpcKDI
nWlyfg9cGn+qPZYffVAfWW6GbKX2E+zHRBzTdXnh7pHvtConK4gbmN9III3afHL2KTlz79tfnSvb
38hk9A/8l8QHQb4e+V+bp5ciw0OuzufYKm4MMa6yaA6RUP4FcmB8vHXIcNw3ITaO0/IQtPzevB2r
7XNXvRiYug9T4SNAJmKOMb+NClfv5mng734OrZM5lxgn0P8qIbKfZLh1WVk5CK84CXriZg4B8PP/
uyL07WC2X5OydzREYK8BcrD0wPPamLF96el9L5lIsw9zxFg3N9nYRdS7hVQ8parsH54/msCxBlX9
KZtwsT/ji5B2RZA2FFRSWcUbXaN3Z8b0WPNQRd5cqsSb57N0dfp7rzr7ERp/uYm8DjGOrmP7Sbnm
WUmXiF+YiXWkSqIYrHMPCOCTDPv0cU0OTY5v3LV/6I+yMCd4b7xhKWP5Tp1dURyAB+jqulEHONKs
3cNcusx0QPZux+0RH1OSMdAG4tIxme9Xk9oah6X4yPFOzTzM9+hWLFmQS0owMAcWCGp0ar79Tq/T
kM/+OHCdBdakt44y7svaTOsjK980Q0comjuaZsY12ww1+SjRvIncbj6AXXs4AX0hSr8hb5Tc5pOI
/PqHK5bhavR9+dMc8+yUXjaOWV556S5LUzWJyo90MyMGEWnaFk1jOR0rKxXAZZtvT2nYDH+Ozcs+
XGeZuqLRmQchq49szbfU+nWuUkDyYl1V8By4m/zoiHbtOI6pMYDPs3KvmRtXQ8dqpraol8n1igZg
mcxHLDZ/1URY8FxsunlwnWwggXrAKujMYiJsB3uQ0c+uib2xHPz1QL4IwGXz0IsxPOmSXX7GBNTM
eY1RLHd9ls6vfbdXP80eVFUJyeD/m3k3D33ms0+YeEP6Y2+Xndcouu9tZD/5qJBkibzvGMryuQLU
zsMpq38TM7rWhZBaccPUTapPiqn9nx+YtCkXJSXXyrKRchypgLVQibD4oQoEd6oGoJnP3veG3c1y
6O2RcFHRoAdcsicVTysFmnBQgI1kCpbSAW0dT0ckSbbfYby93BWHfyNXGYe84Cp+x8uFbbZ02MQP
J/Sae7ym9xhEb5dviV3nsHDjdn82nV/zedU2vnEm6SQ3yI9TD2JprfeCSz6Jb6pg2r8U3mx9qdDP
fanQAsvUJGhm0EoZhXNahvVTRWadcrv0/h2dmV0v+DH7NIotGA8+pWp/nGhjP8Ysxh43gYx/yY5u
bRjIv91L6f7TDzVmw/MmNE1LtSu24FgkYRbrD7k9ZZkkmULiZemdQkEEKytVifsLQtCZrsfvvK08
q/z4YYiq4Cbh4Pp5utXrx15H4g8dnP8VCAsX0LTh5hRGBRj5qCrpGzq2w5su1di6t+yQqglhdSX3
MjW1+t0GWBBCoWX1jIkDUcqn5ain1w2szad5r3t1ohcAWkzWo50xe2z01+Bqd4YDqsTfjcBgLx/A
bEn0JtKGk3fs4olMuuYLhQ4ztq/X7fnw5v3Rho35j+cj+BkTnvanAeUkEnRGHZp7OPF/CPwi7uta
1j7mgVv929IxpsXUWXjALGEYy4/el2+12cb/jt5z3zfyUH9NeAW9O2Ke4otBP/jIvn7yu23rSp3U
bPuu1CBwY3k43n5Bl4aqkCbT/3egAv9vxsTofRh3sRdYHTG40qn6n8KC85c4SZFg6K4ckjUNeozz
XK9/jkMydU+9XyEqCbn/3TxrljnLrRiyqYjcfd8v2QTCQtsil1eIa/9Hl2TyF9aZ8tbTbdJfLcJ1
m7LHGyQsDJfJni8NOZXwu94x59aE9XPl6O8YkMTv3kzWOJTN3bjBScop+jc6iQVOhfJ5P9qV4JBm
aFUItN276gTnY25UbHacMd1kefVqv9EUtTpILoTybGnOc4nkmXeH1YBd3TsKEeWtrWQF86q87Qsp
IVXFJZnIKyCXpHPm8/pm+3jMn61KduaFhSnnOlDEzeZWwiPmKiPcOaf12D40WwNjztoL4ZOoReMp
H2AFxlyrNlzLdaHC5AIBdgtlsvJgBbU//JsBGMCzPRcx5jQHuGajLfSKcFkDxudmYh2XNRFKo3YG
RuJD4aqSRwCFtpSgp2SNk6z2tPa64vMwIpbcuTLLirrT043xsXfjJXZbV4qkDu4HLbK4GJrefa32
Kf7CKnb8NdYbPcbS83yuKH0ncMJIhpSn2cnKYBjGN38xpKXtbdK+bGuwBS9mMuFPjZRMjedUQXq/
wVnP/1btO9T4OV0DydDMXRdd4rZT972frcwzWkx3Xoue4woDvk2c7Carj5XacU1nuItzp9BQFEO8
yM+wrbrjJKshnXICO4Cee0dkjM5yW19wmm5AWanZzWVLlvU+WxZ2wduk3r4abb4nNgbEH5Ht1ZNt
vWTE6WAKDM1/J+6N8vynftvd9qRZ0GrzVM72qxNxcCubxD5HyuvfBE9pVB6JNk92D6bfstPx6wjR
DoLWxoyb43eE3YDcWt4l85iSSNwNhrFS+zTPm/A6IKFti5glKKStflCgq5N3NUi8sXtAmMhGpNJH
rpVEx2sSGkQMWDAR2wsrMCZ0OZ2lc3cRBvenZvIqZi4vaG+UHkCf3bFOxtxJd88tJ+rrS0em3lMK
ckq7gRTnn3F9/23tZ+d94rV45MNnlYUXmj3WE5nWP5MlCKFXGJGDAsVBd7OAaamymdU3DkiVIZbZ
HyRbWL7Rp67i5cBq7PENqxFjeHYbFoQ+B49tZRKnp3XBda7a6GQyGkocuZjoKQ7I0LDnzbFcrh6i
PXT3YrMi+zUavesrn7h3eyGRpWOy7YWrrnzDEHeKfLFvpyEY67fRQScLfDEB6QyHaeLClVnUlY1t
juXWjeuuOu3BkWTlOMbpkrezSkwpv6NraUuW8ScbG7aDmLcaKXZi+CD6bDK/ACLkXHTZ4KafjTtE
sIJpM7k38+rh65twezbFrALasyUlt5LDRJt+gRg6rvx5ZXDQsdKi1EJoC37K6sYp8EaXAbCtXdy4
MovA4ywHb/eegiTbkG5yx735tkoB/8fv9PCTCgPhnmICaV63ZF2y0gTJwgZzDJWFk74xxyNfn8Z5
PoZxK5ctVbdc2uJ9m0xAfMyg//bcYM3VhjK3PxMmLrpzrHX2KLZZ9CWHBQih8xPdMGbEPWm5Htui
ebtGNIgtALs6f1+P3nVtWpncdwwKf6shPL4GvQX/yYUAkrIbvHHMd9xZZEFADcUIibH3FY0hnU0O
HLbEFy9R/vJko3Y93gE99vn+AAKPTyFtTJNXg6n/scVX24sHdSduxZECy5BtkohXiQepf/Y0Vhgl
oGCor5EWd/V5S6ZGPoRWVXtemyMZrw1w+sQkGtqk4FzQBINGt/ZGBOHsvVO2mGgyxRZCm7dmWuN8
aLmDH3Z3aKMnJ8P4JMidzO7LieXR4ZmuqoqvfWD8+jHWG4Ndn0bWL4Urj0/ZAgX+Xr+XNy8LD9rC
kXch7prW9U4BJa87tQTNBMW2NENF1R2Jz9ZpvTKb8vxApXoGE7e2CreF/1JW4Q1uVPFySySIL1+M
36T7325wVpIwYa5msqLjlc8LD+39Ae/VldIm3W4qmFmD4D7ZdyzLmXZFX7Ae0QGkG9PgHFpx48d/
ZRyp7AKUL+piSGf4kSaqs+0EN5G9NjZz0ALqw/8b2HDef2J/Pq8nafo+g1Udl/nehBu+BU0Wavcy
NJhT32Mw63gXp2sh9ZyJ0numzumvPXAm90wkErYNC1zoeTg886nqDhykr+xuaF4y72vjh293QHC6
PweAmMsLPmPjkPfz6ux3TdRtQUHYGEQXlKMNCt603t6x51nvvJFS+8lFkpoCpmn0npxKp0HRpCpz
nkIaNoU5w7FuD1llUihJzrv54cl1Mvdg00n47mEAkpzmfQ5hVqT1zU1nU7Pc88x7S8FUqfDlXDgA
ZSjZis+3bY7cvx689lSmLVD8dWCGQV0D4+ImgN6eS2Nh/2CmTnE5XE3RopoyilvCZPwV+VDOpor1
nwfgoDkn9wXP7t4FOi+0lft4PyYztX9gbp1LM40I0ne8akQ+qINKjTDCvXW9rQNkaoPJFr4Ks4VR
CEPUmwyg7fNQFk4ZLfq8nBhUq+Bc6wrnv5r6sN2Nmea5gdI+9nKh1ZG/uu9lCe6mFhucfd0xfZZx
H/a8zLUiLxsNQLwXlVy2D78/NiKzWIQ+ch6wJSbcM+mW80yaDVND5g71yR+3cSmmsFv7cvahgk4V
jnJ+2Syhtm99KnwXcjJc4+doVl5yk8GlMhTiY1gEzsgLr7txeZn0XrHRIhGzFxtLpXsxL2o/ynbY
tpge3S7LfjNXU2vL/Qjb7sQWjc/big/2Zxpnwok8M2P0kx/OhSh5c6/zYmavPJY1w84CHv+TyWl+
wPSotlcTh/01bnvm+2YwqXvnNjs5xyozdBKRob+EoXNo65q4Fuqmqxfuwb5xjrhE8XHAdi9JoGwB
bKqDm8xZwl8h4yxqu27B0C4HnOxHxoRqPV6ldQlcxzk+raATRphema1VdXY3N1QvEA8zX8zWifoW
4ALWf26XBUwZPis+DXuD8BCd2Qx1XQ/e9grs3tTnYyctC7IuinWpUhaFyaVJl/1hXBPnPkJOkV4D
H8Qqd5TbercRWMcLt1G1lQu4AvUdDOmXz6cAEhf2ob1bEoSGxWCDDNzVFwpAzhNVc16SOiaXvGV4
vCGXEwvgsW+9nwCxTBS+JVwWvAgD+pxvovtoQk8epTRHWxUiPtRMyJwM27Ibkev8p4Sg0Q1go7o8
CYZxuJpkO7uPWc/K5FkQeePeu9jbUbA3EAIoTGgRmhw2AUhIwlu1w6USsms4pfvIEtk6zWzyNN0A
push9HUeAjJP5x+Ef/fuG8mXTQP3u0HOnlRXMeaGCK2jXypu3a1cN/yEP7ulSjXcAGVzoB0HrgGL
dXnOtcvMdQknEMqHw/e6tnTQuQanJTLZcjXW4byeM+SAza912ie6B5bgxvPuYByuCGGVV8bMy7PA
fvqWQMF0Kv12OSARkXWUQeNF410SdFJdc6kJhIV7CyLSLjO84NQG237GxEO8A29VcdHqtGrytIrW
L/xkkPuEvbvpW1VPeDBtbH58KuXNjwau651VdtKngUlccP9lscEZZNjxr1sQoOY5rTMCH8wcJrr0
VedUWAfRAe94HsNxISYIzuOIU+AzVjUo1BMZjP+6dd6Pm5EaaE6OaVNEH1S867FSsDSG0+b/RG4h
pVuIHrT7nxyIlLywYNqLYoK2Tkp/TOLtrENYebbIdmfVMk+Orm/j3HW3Td3XuIhvuBODyNwhcW23
c9xJ/cGTSkeHV2ALkJi5I24ZOHlWFMS6rovZP9jHH7ZjemN4ENvjFGXNHUvEU31pJrsFZwkmDCiw
9dC0c3Z4I6qaMahK5fd9nE9mSRHzxBMY4KzdMMkjltBEvjuBuW+h6LNLa6glhTfDEBaR2H175euJ
4W115nY9j71WlwVtVV0EQ3A0dz4cmSAaigXhqxQ/LES3duxtSVLqqgrpW+8olzqSawGlwAXNrd4G
0Njh6hQ2Sur7XekA3/TRpAB5Wd88LCg2EQ41a8Qba73jFLfeElxsNk7/deNUP2wsKSN9aXndHv6/
4nwwNr02jY4fLK97LLIqXRm261a+mX3wf+N50P8Mo0F91JUnEFpsR3g8fQtt0nsv2MBYkSrNeNaA
casCLEoeucEw9iPo/aQ/T0OPTMtFX3g5dmf857Wc6POwV8t4Hqc2ii6cwiU9+U2yDWccIhBDLdJa
dfGduN8vMcqBuZjbOonOLP7M1fO2MhSXUxh+XwTj4r7xw7zpbqEx9X4btWTRRUrH80vZmKM5qzSe
s7PtvEP9XKutfQm7kDPbkldPrkk2g1TsYfABrYNeq8Me7NdiAQZPe22ij6lmVSTXDHJwwjQnnHUq
0usMttYUVTPpLxOGrihbOKAHkL8e+Uy8JE9YAEyIGNJo686w6DtHyG9ITnAD2aIrkqs7YgpYxyDg
wh1fGrlnL52N1Rfq4HC4D63bIlIWbDj4mxxEkcgGLC1yW8XumuaV/VoiLZsrJFqSu38DoX5ek29y
go56/REbbf94aG4EppIps2nqSP0JEde1d8G4cNFXcTyHt4Fd5vndoItMzlXvz+FlaigsN3aUur2w
mNfupZ6DDW2MbwSrphUDTAd0tF+vbbL8woKXZ9NxYvUh2Fn7Y1BY/3AyHJuLscZMhqNI6NFVt2ML
UMaJUeYlqMcNHVWwtvaqsc4mL86m95/bbmB+APUxf1lg4rPSTy0cUe0MC7Bc05IJoBRjLKINY+cr
BEurKflf3SdWiUDFJCuL+Icy1xKayNj3T27pDgllE0jnqebR+0sM9lTngb8fPmjltutrxH18CDQQ
Kp/H0Ypz0Cwekdwkdv/HHIE0ALDMitdVLoabe924jNZUwl7n7IBIfJCVPzenFbC1u+9l1742ph/6
UsvMc099sk7yPdHVGPOlBbAlQQ8/duV6S2hwEBLun6UyCHQQ3UcH0imz/ZkX58A1QbfrcoUiiGgE
wnkqIqLMRi1I/D56dJNmMp+DXsFS1gAarjDuzKbwMDqNRMk1xe25CTs8ZDO89XDhC5R6NT6O1ufJ
TJO5ohj1wYk/B/gRRrWR+9jjeZ61WAx7p+3x7jX/h7Mz240b19bwC20BkkiJ0m1VqSbPjpPYuRGc
dIeaZ2p6+vNVH+Ag7Rgx9sHGvnJ3q4pFkWv96x+yuDrg5IvHGfQ8OUQxGxV4F0b956zQtrpp/VjD
SdCDo6M5GcDK7dDyz4tlGkChRLUFs5ruUplifultPeVBDNEIzAFRtR3DPGLQUp2qIsS9bawCPe/g
uCUJdJIGuGps9LBu4iYABXRqZX1ZqpKOieV6sa2gB9pqkIsxwWfMu5vHhHEQnEobsgNHs7WZNb/y
bjWF6o4pQ/RXkoSAyRQY8Uj9pnMqjDRpn8YxDcfTnMzO336f+HHUgXM/ZGsPmYg7MkFB0Sj/MoYs
TYT82kc6Midyx9zQe2qhzfgR0oX4bzwH4eBczHLuV98ts0MYl7Y6c26O+Y4yW7jcDU1L5+utNlwh
+vZkrykXg4PHD//TZr1a6tpBpYcCQnLx2nc44m+oNZg9b1JVuUfgf31GAW+ZE5q2ML/wXdZm65cz
fbwL1Ng+1j6o+catAsC8Pguc+YpzM5u2XtgEUXDRiG0GJgfO0cOgtTzQECWo+jSZo2cYyvkM+dLr
EaArELU9O7zKbxyIpCVvIGhGhDA/PhPV1t0kAz//fvWN/Ykh2fhIlEn4rYNpAZ6PI1Btg0PbbB4I
ifbPtAutfDMwwEx2DHwcsc/DmSEGaHsB82sG8DZt2j2qSdrTLmaxkW6aqgk2AwS5CYJyP7kR6HrO
cM9JXXjiYPHpVU52SYcszhk0A3vwq2dFCI91nQoqgF3YMu7dSmJwp62buNb6ADcDhG1o49DfTYXt
3RRwvZLHpeYTZ5thLXuzhX2S3hTD7FR3Yp06hnn9koQHYaXpxTG/dx5t9JaY8FmpOz+0Ya0RCdvN
8PdcE9dzNYP11nfUIiT4MSGOKYQru7YPjFipQ6Q/tO49CFQ9RBYdc8PpGmRf637K5UbErtc9reC8
1FG5BgOOKSGsr07bWuP1UjhM4VZEJN4tMFcx7kkN8ORnqy5WsYO+NQMR+6kILt3JhEYDclKy66lo
000+ZYPFMjXhfUZjBkzNANQ+QlwOXwQs72w/GMm+CcNihrIoxPLDjOHCHZi3jJg1jJlLUvqgf1pN
F46PmnQgTsCYGNJ7mQQLbFFAoel+FWb8BnE276CuwtDbtCO5Qgc5QHqK9BASrSfWpe+39azG+9Vk
7kgFG9cvAxWQRmdSWy9LY1ElFp6LeikU5Tg9Beg9hh8+4C+UcTkNiGDqtZk/rQSE2PcDwBDUCNdI
2R7TaeSC0jDfHly1SAne4YVfK6ewX9uwU1+IZhvMpb9rX0pNjPknN84gibsroWLXk93o4n5exQWZ
CtKgPbjQa+HyCjjD28ZlqPuwpiBI113XtuG10yjmCHIY808eelL/1hqMmx0ofWI3cnMGJiQShaMF
nmXFHR2tr9P5OvPAnaKJHPgfIVftuO2TpuGo7mu72pfc22jhHacH48fn7S6De1hu/LQx0CwqOuD7
BaCo3uHpVcUbKo1y2MtmLcYN9NcOF0yP8T4MyYtrAQ3XSNXSrC6//RBA0RvkGg9bRZQZkFftGrHV
rDsWVaadaqoLP2i2NgfupXZFH7irF2bcAPhwJc8xr2C4XVKwym3elkFN/dK01Ra7Yz5hEDZ293Od
M+EmFx60WaIudD136wB/v6T5VEwbtJ7CjYxKlLzpu5rfUfaYNN/gXwFVugndpn8qwGLX/UIWyWU3
hoBvKDCyYrv6fVXsJZSUBcrlpa3BsQPuE/c1l+Doe89OA6C0pcR1ykNu9U13NY15+uR0Tdlvxz5b
rJ2ZYeMyeRVwkyU49d1K0oa1DzxRiqhqtG7Ok9NmyZUMmpFKVYxwMVka6s8qnZbbCnMErLzaosZF
lTi6jG6zr3pq7nA5o/vIimeUzUSsrYl5bEUCTWhum+Z18lTxk5lj8EQKDdC3cWNo9qu73pBqmN8V
KJzvp6oeumhmIgGT0yzuY0EhzGybsfajHLmEmF1idURtNJH4FxcuNGfb9ON+qnoRXgNHOmpngqT/
xtvQcpXS+jMCdybSG2qq0JcyGEdEEUsH7W0hGPKnnkNXR1na5/MWAlzfHMOkFT9LCxpr5BeQJ+gg
AzfFIrfNGp+5cz5/N1D9v849d8Rldu33e7m2uX3nLJzzW8YVbncSqYnXQw41/QU2FGIHdymDJ0cN
fnfXQMYbgKqUM4GvBHF9Z4KFQ7oPRuzqxjnwXpM0z9QBiIOpWK379CzUEiJewKm+OHKpD1BMlbYj
5amujOCuQpLr0Vperc3KJCLDKzI5l8TlPtRDX5MIWUNcctuYL7WkU0whU9vyHKiSU1Z0df8ylpZr
71WScb7TsHPI8iHpjvK08NtXhwvl85z4fbdNsMERke0lIjiWKQV+hOpJNlQ5lYcHVKxrhb6lgUGW
+VP5Yy4C83VZrNacLWVPp3zQo3xsHK9Z5CYujfuXVoopmqxcIP8Jz7CXcXVB+1o8mq39yvG1g06e
VWhwmzbcr8aj/QKpnZNy71izkyJYmMx9YlnVX/h70A4vtt19q9Miq/cQs2AnZ+MIkF9XTe1RpVf2
V4LS+uQJ1c30mT4FBd0cLOFuWbk94UgIGy1Nx228ULB/L2Q3EW9fG44zggEhY9kigOxc0mHeZjAs
P2MhwHBNtkn7Q8FMGzZBHjZXStS1jILYgOUQ0JhegXywi/C3nfttkLjet9nR2ZclDVK16RmPJJtu
gdSB0jpdx40skhTW1WVUeB2QNDNHTtxTXarBgReOxBrixiQsFwClX/D6GvDNeJJrqZlSwIr4oQza
5pMapxXVtL363V650MK3sT2L9iAo1uLLFD9MtyNji6i1Emow/OrrHymvY3IeKkRqQImuW+ysSXDM
GquWoFV8oey6LBlgwNtvYZLAH4QuX7m0BVHRB1YfNaGeb/FJmvzvKyuJqwp1o33VKFmiicqMO+6T
NDQi8iex5MdCzbJlvTxOimItBvQ9Y0LIHs0NbvWbmXKS7WAz+QCSb+pvOG0h8eKnEOmOSeiFXtTY
4Xe7gWe1gSdepLer3RdtZPkBTC7qEilZXMJe4aW3Y2z2HdKY/hhYQOwMblc4st3gsOd6mK79jvyQ
OoRfs0DoTSnCkelpQsMi/LtdiCzJcJvTw90oNfR6p5JBq2tfLM53MeNUzBx1nOQBXGleDn0aTs1r
3qve3aYjjPjzhRvW7AjBAAIB4QvGnW9pNF0UGEFw7J0py27W1ql/0CIvj5xqeXpAN5PeWL1vmsM0
69S7ghIePmFGlf6oBrNgaQanWUICrjrCvuoqTWjrMezelGrkgoZDVaX0JpBMt0gLEB8xrNVgTDXN
4h5/NML72lRwQUO789bDlI2DvEdG5aT72B2ya0yX1yHqKXjz254+Y18ZgctWaLUdZ2ZqdT+J7JHZ
GZrh+BzKOL2V9Bu0zDof/ta+rZ4bgcjqNginrj6unT08qGIW+YsNDrF+XvU4lQSNLnpgj6IZ2VWq
HUMKhVz1p0wrbhiOQOfz7OBxuy1kwVlHyc/hyz1ocBGld+rxnnUqebAmI60dyoTqEfg6/Vlbo/Wj
gbRHd2eYHUIUNOWrVVbUiSQBtuuRCZGfRl5S5BRR2ZxEbppdBlzBJTizpKa97sAVql1rQ8pFyS5y
GeWOsjww+1V9r+aEUZ0zoguihmnzdTdXaEqjQqWwB0dM18TRt+CLHDKzui/KwJ/aOdCwi4Ptq/i7
P/FROxMb/I2Yvt2hEYFYZWZIMBfvG5g7Q1ktw8kD+d7n/jK38BvYSyXyt6r7mmSj5R4hLeI32Alv
mg8t0GfLoVAGryiGxQNkCvc7Z/voX5hTud6DNbbJJyexTQOTn5t6eEjyqWZ+A6c0jrJyXiYuIS/N
j46rXaptf6HFhNRe1TsLcPy5bhNpDmKh4WKCpevyJnGJTEHJF9fm3k68pt+N7TJe52NewS6FCkkD
JZj73SCzqG1IsOnKqL8UDTmSckjNfLQc0O0NAKtzdJvCt2F1zWh5kGj02Q77n+rKy6pW3pEwkXR7
37qAMf0Ypvd8oOobrGLWZ7MyFaNqW5wEYKFydfNJxDMjD7OOA6ReDOzRwEz10p8zVYdlFNrw0XLU
dTDvsSYPDpxx9ni0EuiqUCHCntMRrPwJOvpCFe21rr7RnamG2ylcV4PqUa1wFWzEDwwuBhQuvUFY
fyi7OFaPfKgK+BahTrydYlt8JgLaS7eNk9L0qiQJY6h3FYdxmEAQXGyDyHyELHAdu5an9hUSh6s8
Z9M/KBufpCPdOnR8Oi0oc37rWPFzkc8GOLSqp58etIP1RPPVzQeLoa44Q46n3PSrXOwhthdspCzN
b0ztTHBRYcQ/oZWC68U+rYtHStDwBwTHHJWw0qbdIuBy6VuxA02e/DbRr7CK1LJvMO706CdI4kOf
JZW7b8t/mk988QTvHZD7D3dqumkDeza7ASnq0jO5DuW4ncu8/zkTqJwdgIRg+bdYBLKB2opfO6V8
X/e2Z5r1XPMq610h0/Q+1WWGHkPxKn/hdq5g/sMD0DcJ3OjgDI08FTuTIz6FGsnQdhcvQ3tVFiKL
t+B4wdcWi6n8gFKQesaUedacVOfkydlx05osTUoM5DgMmPDK1KCCGx0z5d52heybr1Od85a5boaF
JeZohB54lT0MEWB3UNxBy8Vb358XtCiL2+g7guJqbt2xmCNmADKOymwC4W4sEXyuNGwmvukyxTe8
ZBAqLi3dJ1tLxxyLNaByiVXAEeF7yJJ8pL3Brnd6rv5QNLV/bWaFyEABBnD4OpO6mXJ/fU7Jg+af
A5MPt6WImbmFObncCI7G5b7kOawKuoSUF7ihHwGHrshzhyzgRYKcjSkqBSrAqHKkZXPCgu5tTAev
autrV+YHyDd5sHfToJSH2WJUigNX1R3sIIVM2/aLSI/Sj1O5H9NEXNhiXnY3DFNcw2jL/eZuLbu0
euD9rf1T7FjTfEI2AWhcSHOXKHSz27pJRuihLCIVOWZVrt045gY/oDk4h01X3eoF+fopXPAYgeyS
r3QS6RLAdYmznyu61u7EcJMmCmAqTO370vKCZoOhWi7Zbdla7Moh8epdxxD1e18yuI9Ub9XdtlUg
SZRYq37oUQHMr+0giLlIqdjyKIYK4h+akWHXsRk7ReVIGMJPMtxBoDJFGtPO9t2sOoxGjtP94NS5
j5SvWL6oCdd+HuGXAfIE0V0F9aztgz3Act2YVTOdwOCBg73SqBNBo1punjKH+LKZc9/hg8YZYw8g
ugJysm35f4WJ0t1Wu3OSboNuaZ2oxMD6NIccn1u4lZiaelTLHffX3PWf+1GvPmMqspRqiiaJIEub
5XOfx8GDZsLjUDpA4N/ZcoizrQMNCXZznSByrjBrRsNReP208WLVvjIJYWgfVqGgk5UJxEIWJwW5
oC7Mj1DHnTxyhVoBbHwjU4ZgSIgjzHK02jsdI4DTAnEG6KqCbEoJlts9kCBkul2rptTaZnnP3Rbj
8yhP8wp9/OjNZfAXkwekV4BCmY7E3M4iWuty+cxbzDQR6eWyCZyldg6iwnkW+4RRPrWwDevrOpyW
4axbb/zCC37J4xuNjsqwrv8Sg1h+Qs5N0Yu11gIDLKB49g38Ti6NALVTk5VpZIf1wLwbCV14sOZ+
7bazjuM16oSgi2K739cwon4yQg93MP4uyiPw6e55XcY148P51MIT7QZCklG3d8yoWsrDGYbLicp9
CqjLuy7Y1PHKqSdCDB22CG2qOiKyw4Ptcml4dnOCCTxZ6/3ydQy94ZNonf5lLtVyJPu6Ts8taPWV
whftIlmdkNoUxKbA2lW4/YNsxdl1C+Pt2U26oKK0rJ0G0jUHN1tetXOEg1UMrkm4ijoGkxXku0Uk
CIHCCZ+NJIDqcGig9WHgYLUBfIRAV/fEgrUvmNsmj+mSWy+OqRjvlIrb5BonrEJEwJWjt4XmHlyr
bEY2Qr6OhPZkE+EncgU9oozd6XiZgTLZg2IPug6f7qaXc/PdJux4iswssR3APgGFuApq7R9m0jpC
cEEIRo/D4oc0eNw9G5ql8EsP8y5FJRMbH1Oh2Hvy4C5nB7CE+UmVa/vVlzkhU8Kpk9eBU2+OClDo
760Fv2sDpVjPBzzo7Ve2BD6htCk2fZGa5jvsJOTFH2/1JKkhXZ5HfWj6/p5Ulw4KtVidH367VnQj
TOOqXa3wzt7pVTWfUrx+RNQ2Rt+nGEb9xWWu/J1lisWlnXYEPNqqKL5XzOtmCOetoq9ZJwmnTuQM
trqxhjy0Cor5tUGhChM2yL2jcmnOtgkseyAkF8fljd/hRrF1nYS5hpx1iCNFinnRwJjGHHJdjzHX
/OQ/B7YzoWYRpXenlaYXcrJQPI+xcpn+12p+yNJCF1c+tJWfvhrT595qeJdL3q1/gNLV7PC3K9UW
I6Tki6rrbDy26Yo6Q2kVHq1QuNMtajBSvcZwNrAn3VQs58CHY0rxOIKJ1DmJpZt8mP2XZZphCcwm
HOJDzlT6ykGil+4bslJsSqP+Ah4jf5SH1VqXa9MOkzm5CO7CnZ/TtKIvnEJ1xay0L3kJWz6FZWrg
aFSZWc4kFAeJnecMWXNb6RhDC3av/TnntKgOELRIdrJEvvSPuW+y+7xf1h8O2obT7KChvIzJF8SH
Y93qPRw8b0WKFABbh7EfulvZUAWcKr+VNkQUC4c5mSa5Png4MTCT92Std7OkvjyAyyfOt7mfp6da
jla/R8Lo36yDLruDjwHES2roLABZm/IR+mY1bSaPhWMb4Euw5cbEW2OK/fWxLoy3bAASFri6nYXr
mnZ8uCzGWmh56PYXfdQglZFrzwz4s7R0JIXL2P41uAFNwgCzYNgMkz9Lup01fihNKay9QC7wwy4K
4Z/k5Iq/zdp4JdCKb9/Ha15CsK8D83wJjO5hh3UNpYKsQu+8Qqsk2B2PkLsKpyqJrF+ztS4WKHdt
CGE/WprRW/eozCsosshoNh7Wo68TynlQ9MDrX0O/TKyTAW/71CJMyDZoodPbAfpwxlCokfcO2Dgb
bhEMB9ylTuMbhIcpAs+8C+96pyjmA4JM0nfdy4gGLk37yXIGkCq7csMk8oai5U2yusHchZOedbRM
BRliPZbv9ZGTiuIrLB2SfNmZBZlBc5AXbC2FiUhawSJJNOMyDqUhEIfGlR5Mnn/AovIiCQXm4Mba
Lgi7r7x6Htl8JXQmaqiE0QzmLQZOoMMQ63veJeFdxk2HLQx3yjcfXVd3TpNYu5E1K6AIsIlJRApz
kXSH5lY9uvHqwHUXTVKSU9Gp+yFpOfB7Q71nlS2yWLxwGo5yDBJDxgRhocVuzeMGwM1t1N5mUAXZ
qUqEtzUMYwAkbbt+pF6jpptq20Hj1nNiHVZPLHeFw3G6GRfmapOXpZdqugOAXkc/AySr02SbzhCA
N2NMitKVaOyiv+hQqCq/094ohRWI596xzlwrnmcTFYaQfnmQGHF9jeu2x3UhERDw15TDZI9d19Cd
bZqZRz2pHP2916SQhVBSjZs6g4d+AwIBJqbrXn6Jgzy+H/Qa39iMbuIrWfur2mK2YU1RGE5OuVkX
x19g70iM0+bBLn8SO9i8WImJvyywRtfTxYrrJ9OQlCSzCk7EJhjWETvwNgEmc+KwvMYXmvNXyDH5
jpFRog64yZGSuCzF4tMJ4YdwslTT3sVJ6wDJ+/Rgkdcx++NnSCoETJ4fi6OyYM8jxEd5tgu6tmMo
UQfOTlYlRFdSBr0jczJmF/BksngnVxXAYoPiTOhGXpjqEbGDuV8yMz6Isu45sWGy99Dwk/lrJy+t
CsKR8YwJAwSyIC/VdMVxF9uf2I0oKPxFVCPcNc9zIh2Dm6AAhci2oUe9OO7bw3QVBzOkSc/ysMlk
mldu/UA7tt7kZCv93TJyv5DXkBhvQPHHF+MEUL9pWbrHZGjg6mODc1UPfupF8cJMDsMmjRAtFjr9
S7fGmXdwxfF8uZhluJsVDki894BgBpwCRPjVi93kCx7t9ad8TnlxUlkNx8WvbZu5TCKvUOZod5Ox
afD8p/TJIi8X2EksqR0e6jAT14xph4oYbnDvu8oUsHNArr2nIQzGftMY0fEiQASKQRY0l6ekkuxv
1zhtw43Gpcrb9k51kW9rSpzI0k727PdZu+5bJi/mno86P3bcUzjyW20ImOp7YohWdAYQK7nGfJbL
Y+RZyrX/gtcT46CiCJoffTiqbuNoP+DWKAySDVgdkEhkN1jDRl9SEbaZiMv00Nlzw9jAdGR2AAyJ
/tZdw/QJ7N/3btmIBWahrm/iyGk9rjemAczStYFmDX7ptTqy8wkrGP7VsY3wPcawIFMrHngIGXH3
Z20RW4EkgcHi6aCyXTdOQ7bv8bJN6LWS8dZ1R/viHhAkN+sqrOCTjuXyVF5eRpCKjIa3qUP/yYYS
gq+B1+RXugsKgbVO2D+PTEHnQ4m4/rbkbiBHrSIPVjOHqrklzPRtwBP6b6wS5LW0SomnkQriYKsl
7OkzEjYb6+amnk/YEnnnriNrcYOiBZrESpHFfqXl9745YKNfHaiaVFCQkMA24VeqT75biCYau9HH
4oa7edujLjrhQDG2B/6W5Jt+mpkXFK7f2DuBpKjcB9Is3wo1AXKvYxLqnUszXH4Dnw0itL0XdEd0
lNB0epY4Qi0051GMQEpW0HqUKMoLXxmnuQXqeye53A/YQiOUKCbxhAWb/Wnu3eKHxT556cu5vkmk
Xi56kZgT1IuX6gcKffsiTXZAzkLc6/5OSosUOwYy/rxZuL+uQnb6clXIsri38iz3tisE4WzjKbgH
z1hiaGRuBBAjS8OXGQh/pWnknmH6vBvmZnqcs2wdHmvmdwimwm74UgJPQhIlAPYZysUUHOCTiRZa
UMVJSRqk8jZtSw96nOza6r8xKberrTulbXMNxFGfa0qt9dDBk3GjxNYWWgY4XbjzlHPyQEnifnN0
TCFarfBIIG8PsOFWO2sHfHSIfNi0DJpqEGbRZId1DRekZFVBHd34dsieSypJxcwBOO9LujlOgbp3
mruwkvktKpouu56awoMbZJewsHItKmjDmdSRB6zcUE2Ol8Foi/3iA/ZnaNY9Jw2qE7QZX2whasWv
WG/p7L4xXpftycBwq6hzwwl6ZuC2tyQ3t+3GSW0+NQob1z27ATxw6NpBcSicskjOYKU1JRy5RDDm
q36xn4egsf6iMa9Y3alWD4tfSkiYS9b5G/wiTfqp1Wu/F3peTFS4M83/6o49VFgR13todtm9g8UR
HlF13ay3adsK8mbR2JD8Bg9Xl7f/gSPoW0M6TCc/GJMzvpyNuhndNA43q1pmZ/cfNxadhB5bntZ4
JCLLKaumwmtHVkU0YQc876Gj2zX/qRWWQp01y7HplkpFheHGWgw/HIqJfPrA1vMdB1GfAgdfTWxd
aVcuf//F1ZNp6MLMpzEnnKJt4g1rAVEEJq9Ly/mRK/R7domK/LPAx4OS/70xu8wuNqFIeczJ4I+w
i3E7ilLfDW4XXGG2gEXqmxWvtBYhdSBDbshoNYU5CsBMfGC7+Z5DpBJkxjMhUuQxvfECtdjSIGe2
OfVqHfYGI0z8sdPx8Ge3zXfML32FK1zgikucg7j8/de11SC6Cx3JycTdJ35A/VUktI38C9YJKIF+
qi1QYv/5oc67q4zzvQOzmdSgt2EmFdrHKQZ/PE3j6NzDawgO0nWsrWQ2s6fqwrIIwk1U9v66a6a8
3ZBqGm6bqf4ojfe9rYVf1/99kIsZ6S9fH5ulTnU+izyWJbZ78K6CwEmv0ImOH2Szvvtzwt8gCeri
6P6btas/+4WSnTn5jJIPIhDerY9f3Adm1e8+RUnFagkB0+3NzzlCWDFOL+hgiWUFqJLesZ46L/rz
7/fupvnlKRfn8F9WTQzah5Y1m1ODGvpENIWOAgZFX7Hgqs5ZB7OSmm/84H1456ci68cmvdSxFYHC
b74ayfEhmKM0J4URYsQIf7g1+RTj2obe78/f751VhBwKzcaHv4RN/Rvnc4PLEgSRzJxIqHMRzg5+
sIc7yRz9v32Oy26wBbE3Dh60bw+bpOI4h9XC7st6cVuvLtzRddYf7InfDXV5CmWkkApx5G9Ws7g0
whD32HkxPov7oG7dz3E4W/N5TTP3BCQYux9ksv/uHE8QlS2JELAVzvFv97pLxonCiKg/USKYL4lH
m2FlRR7Nla/xUr6Y/Od+je1b7LofON7+Exzwb79bvJ+d/02FImhVXX7bX/YmnkECRVi6nobR8p1T
DvMXzyVphTTATeXWp1FBRDx1hnrsyIDAb2lTHO9sDDqFfW6HLX1VjJiYcT2GLV6hlnKLOCL2jhU6
WvgEJQagDF2DUJ9L5TGQb+B7bwq0+GVEDhSU2RKzE6iDxSqfVLeK5oPj8/ftyVfkYpBQaCShNW9i
B52wqNM0dZdTEuT+Ew5RUBrWxH748+b8/X27POWyXzihSUV68751uZVLxhsLUyv8BRJrGrbWmLin
qVn7w58f9e4XCv0wCCXeifgx/fs3s9GoroFWPIqg7CiXgLQXLuEHb/V7X4h0C6LjhC99MPd/PwXn
qLDrQkm6IOyi7dJ7eB6sNHWIGD6KGXznBQDktIFZ6XoUA7p/Pwqyc4WAMZhPmgap3hTlhDGUmS5e
RjgXusk1/qrJ6xQaeLhuYS3JBwfL5b//5iUIeLwjFVpVRgRvDjCA1aw0sp1PwCUWaGLJ6Lae4O2B
OFy1rZ3tfFF/lD7+zvoGgIEeEWUcM0Q2//tLN3GTZmrollNmpWR5+FMRqc5MkcDv5r//KXnUJSBB
Et1BguS/H6X9DPf4nL2ZyflZurNB58XY1xey/OBJ767kL096s2mG1sI7xpTLaaAIfYTG5d9WYb2g
lXHHU4u9CePZwN//+X1496Ehg0VBgo5NxfHvr4cyjgY6QOHRw+P4zhujf5QNzUtQIeEtHeO+Lgxh
v//5oe/9fJI7T7KoMrDfGoUjYNPMd/LppBG9nNsStZUlkUCAVncfLOp7jwp8V0LOCx0XK8J/fz9M
p2lRp2Y+TRI38Em2qJHS8W8zT+EHN9GblSSpJ3A5V6AbsIo27NZ/PykeiQryEe4hqncNDgNwt5xd
ZFd4EcwQoT44mP85eX9573573JuDLKkavIm19pndjs5rPEjxF37nY7k3dTf527KT+TFrkhqSbSGb
cyDUKKMwRs73wQHwZoX/+SCMUwSJdiH7721lgSsXSiZ/9Bl8ZcNzmGAN4bmtvsu9Kon+vG/eHN7/
PIr6Gcg19D1qsDdLTJ55gi/yomj2LQFJ1F53GhOrD7bMmyLmn6eEHC0E3zrc6m9/SD8bLirGLjji
WaVOSR+4OwF+tGfCj5cymOoHC/jOxhFsAMVtpLhp3+YTUbA1Q8MY5kiyr7mKQXaibi2tW1Zg3s6Y
wez7pa8/WMp3fjWMpLmZbGpC2317sbt5GOsAxOIoBmArnAMv5mmWxyvopR+0I++sp2B/XCJmiECS
7tudmsBKynGgPk5pE259B7nv2GDskuABv7V0Pez+vEve/Wq/PO/y91/KsgIvVubWmTpqP00h7rnu
raoR/oVzmx3/H4/izhXULKzl273fMOwwKRDnsWS0viGoC5Vta02faz/+4Eu9t4h0c/hIOsrxxds+
IRQClJTZ22mqMQPEZrGNuj4g2WDCuC5Tnnv48ze7gA9vjhcAAWIRA8oyHvsGnBjT0hIr3dcJRFEV
pyEeUYJVjlNv81oQ04XLfxFx3ML1YP7pXg35mH1QX7/ztgMSBGwIPDI4Wy7vzS+/44Dg3qncQJ8M
jsx0YQTZ2MysPnjb39RPl7edo4u+iAAQ1w7e3kWgn2kBgqUZtQzNNQOq8cbH/vWGXt2/1vFQhztW
aNAwksOP2iXn3YcTSUZl7V46mMuv/utXVKvGCJYkc4hCYbudl0yIKO1K8qJNPzVMw9saIIJkI+Bz
b+yT+IzErMRxwsIpGvzXoOGcMV/Y+yQPrZsW0pU5QHiA8QBHCB706gDtbJFatfL5zzvkvc9Op+ey
dpf/v4VzDN60ogHGPGqiXBIsYy1UpSZJ7gsc9s7IsT2GOj3UfQQB/4/Di0tAAjwgK/mt5o3VxdBp
oKmySxRkIYRTwlM8nEix0v1gE773HpDSyStHPBgF55srR/HS2WW1pqfKJDmT+MUdUcRchOffGJG5
30i8dl5mS4ao9hIZXOdOXYQfxMa+d6CRMeSCExIF+BuEhdUrGtmUJGAUfikyhC6OFqV/oFRbPzhl
3rmKpIOzEikbIDrybYASEzFtyyUlZR47dX+TpFiIblNjdes2QWWBhbcfDlOUtpP5CA5954CTJEb+
k6zo0lO/OXAwmmSzjb11FLS05qYcAxTw8EUwra/522MvE9N+cDO9s7A0gT7HqecFzm/gAWwzF1ez
3DoShfCZ2Xr12S7Kz+UQjB/8gu+tK6tJAYid/u9NGhxRYzluHR+xTp6TjQ0JPVkLMZ7biRzWzbhC
co7AgzFc+vNL+t43hIZwMUVFyPMbvMR4cjADY+ZjzRAt2BEQUUHw8J1MII7t1g+Sht45EiRad4So
XBscC2+KbWWsgqtkiY/djIDuEA6wfwmiGIPhSBhnVx9wavL/RtqjP+FM2i///VEuPQkWifzUwevs
zRZCkYCJaBDER0ot67MTYmO306pfUIFRZszXJpBwZGSQ1d2pXafR+vLnxX7nrJD4pBOdDQDGO/Tm
64eBXzsMHZMTbhPqf0g7sx25cWQNP5EA7cttrlJtLrttl+0bwd22te+7nv58rHNxKpVCCuWD6fEA
04CZpEhGMOJf+l8dnZjwrmD/9YdZHQZrX9pWnO+BiqFq2QUGJGbFaYA43P4Za9+c1ddZatpf8vIQ
F1VVATnJOMRjE9zDS4qxekH2CqWWbOMAKatj6dz/JMzs7GW/pABimMySJbl1BcHj0Sm1QD4h6BfC
q5rodhcW5D6MOiQkrU+hKWfNiwN3Z9zLKkJBp6rP6vhs0Xi/M0ZJ6u4HSZqQic2LLY/T1R8qnmcW
TZ3rV4qRDaXs1IHk2rCoDOjkSfBD6vtaR+W8hlp/+xOsXWZsQpU7xRZv60XUyOCEJj58ZTfMTR5G
iDcgoGuHs+YFyF0jGorMyun2kCvZEhGRqr/K25N26CJbIsdpRzWQI0+flOyEgl1xmgdTPd4eRRW/
fJEXkqjQWhD1EDb7Yo+DWkUUyjbIWOo2zH7BfaGH0RgKbiw1en8jQD81cO6mFj2gcydDOvLopKOg
4NPbjr1A1dL4pYKoJCSQtBoMR953T+EQwYRstb409tMcW5hiRGY33akxTLNPkT/H5m+4AkIRICvx
AgOlHRQbl9eyUyQywddDY5tCJO7q+A66MiaarESe5KSa4yngcsadRAVD3VXT5ASPXSyDR1B9B+xr
NzescGbojTDnlNInFDxxQLi92mvfFCkszjLWmTzTxKZ+kx6aQNnkQTMjT7H80sO9qwR+3m65Za8c
DfIaapWy6uDTuXzvVujm9bVpRx4l5vhOJh1+Ttq5PFtRrnz/iwkZNFZk4RR3lU1BvK4j0DSRh1vU
eB5jPDIUu9E2lm0l2oq/m2OOtC4Z4mKPIq+byDnvWK/tIHJKFugfgBmN5RaliZI3Ik+PgRKW57+Z
G4tIg4X37vItmM69Bn6WA4gwVQDFe9Kl+FBUdrqxhitB1hBFZYNmooqXt/j3bzYFknUwDaCzewmM
N/3AHHP1LrJUDUpAkvvo5/p2VD5J2N98QTgdc6Db81y52yi4qqqBQaztyMuLJgARMULNFhdNzbOM
2uK+yiogqbXs07doQ/cvxiOu8gak10jR43K+AzjMUtMB/GQG2J+5AJimo197iKZwepHHuNvYPSvz
A+UguuAU1Q1zecO1VGmccq4CDx5PeUxD7EqGOMrP1JxHV4bFs3HvrBw/UwRQ6qE8Qi17ccgtbQhS
2y8Db+rhGc4t3mkYmqmnCdO6DZvl9aGIgDq45etmI1d3PABlDjyogEi1V6Z6X8FF8cohqr3bX211
KBjBbFXKoVcvCbQBlLRQeR32A4CcOW7Se78K7Dsp64aNWa0cd5PmEfVdm+W7qhPMCJIOfZeE3jyh
UHbfQ/nHqoUHoXYoqxkN9imMY/+bkbVz+HJ7lq9N7kU4NMGkOo54i5L7LjanguOwakRK4NHHTaoz
DHq6jiPE2l9N2Kr3yUjieepmDKoOgyaDdG4dYDYny4zCFCQQ5Nu9BDL4pW80A+XArrMeOpP/42iC
W30KZEMPv97+yWsfhlYNPWeLgEcF8PI4JaOJ7M7UO+5QGbhraYHjUgVK73j5SBv5+FqNmuqKgRcz
dUaDwu3lWJIueGNAAt1UMdQnjJp0EuFiOPZqUOxB/YbHIWvGI1qUsKDB0+2rNuo2suGV69K00RkS
r1oiwvK6agCe1bFcO2gDlP2fAmDzXTOOABPtWd9PuAl+so3stx9X/cbeWAneJBTUJ0xg4LTnFlFo
hpEVRaPiuEnvt66Ps+KzRddha41V1nC5A3lycM5AaNpX9Ssa3J02yprjkm4n+a5sJN0/TODYwpMK
ZfE7wqLxSwvp9MVAuwQ2WBzmvDXDoihO0hwm5tlqZyd8f5CgaCcrmrBVZ/0X5wIAdgP1nb3V1HXy
iKL2/Md0gvlMZxAe9+SX327v6pWvbFFEEw0I6kGAmC53WjggS26ape0ONX0Xx/xjKdGHsDYfMed4
wZr7Z5HDdbg95sq9AziE+4bOh+FcvXYbFBjzOhkddw604nvjZ1gD2i3SN6NFmXYuf0F20DfuupXT
y9HlYcHBZbLLJAPJA2T/g8JxMyf+TqWpRYYbUm1ZA9G+PTvxhRb7ilSQa00HFUarYLF9zdowkUTV
HbfDDyHaS62KYEED72UEcMlpQ7MBBVxU95TqX4QmG6RLs1p6vv0j1qZL7c1w+KS0z5aXFYrdUh9V
FBSUUlIzdJJk86mxDF/Zo2eBA/pfjEYcMcj99evGj4GOZY/OoE+joksF+C/4WhshsixaX/3NxN4M
JS6PN0kcTnh9MGa970YIFCMiJH0HYDqcJiUZ/uIkUtBRQchooAeXMK1s4IERoznpdqhLeQLm9wDC
OjzZE1R4G4nj818sIjk3exNYk7KMiKWmUUxLK9+Fywh7DVaj3B3Vps1+Y2eiOn9xBnkb8WKjMXLd
O4tyYaXRmo4LpRi1wHZE9g0FX8NIDiqqkhRYYkhkOyMwovL4/omShjs2sGlWdzlRR0P8C0lDjr8d
90eZBXnKiwx7gkKv/mIoKni0lWHAcxwXZ1GCO4xEe+q7OJTDQKLPum/0QHaVzt6qAK+dOCSrqZAI
CBcXzeXGbIWBPYZ7lpsUQ/qcYUXH2UMtvZ9L3Ixur+DaFUPiRFtQtFuvMu3BcnL8c2kMlnpnPUNb
nIGG6vJHHblUtCbaoXnkmdWAxW2G7wOtma339VrUQM7ZUBQM7UjiFlEj0EHVDhkaTgU4K9mDfZF3
p5myyW90q/0/VVj2zSEYUu2FbCENNm7YtaV2KDUATGXuV+VKhx4ebQfHAho2ZR/azBxPpQ0RieKO
sZGLrA4FDMIgGTGundktlCwi3Eltt+h6/1TH2nyo+ii5kxt1C7C58nyyaJ0jvW7w51XpS0PHXKMU
iMiLY88PJT65+9ZuU4wUICH2Sb21YVc2EYtHC0pXLPO6ORIgl9FFM6IycVti2ORrxvwFHQcYLBHu
Id8nIyF6oUdr/Mcjorib1Cb6fXsbryR6gBIIydyy1J+XpxM9F4B3QLMR9DCsfd20GMdm1hb2YeUT
ikalOCdEVxLKy4Op2WOLSSZiVN1oW6eh0sM9GJ3xDH3X3DiXr6npIvaTtoOqRBBVNa6zKYxl8Lt1
HLdH4qB3jQFBjhyWg6H8W0Fac16UMkWlNO26tP4dSK3xMI969AQvWyu/znpJi0jvS2t4GrQBZsTQ
VlP6VUJou0YXC5U50H1FkAEvCrN/ipK+C0q89fxk9oj776ehTuaHHlP3f2gAI5MGpXDuzjMaCb+c
GBkUzHYaFTDbMFUHyABNvocSH0YeRhmBYP1pmNrUqqWHd+hQ7Gondb4p1jCNH418xLRH1SJdcfOo
Sf9R5iYwd43iRP1BbXCuanSYzDtQlmW7j7NclSF0Re1PJOtU0L9Bx1ayqyb8ZCb2NCIqkyBpmrZ9
1dNn0EukTnOnhuTaxa28k2TaZEclK415Z5e2/hQjyJu8IGCvycfbO3DlzNnco6+ngA247GFPGDPG
nThzVLWwrhrQ/5A0XEoypMq8Hlfc9ydKjCeATqDGIHwv7s2IFNQ3oNKzM2TrI+q32V1bomTVy87G
2Vrb9dyBqHeblNJ55V/ueoC10EvmMPBCA677yepylL2VJLAbFDsQytnY+SspPZGP/JqCDGC4ZdI7
VYAdeDtLbgcw6ER4DD4b09js4iQ0D7GORhuV42Fj0NU58reCZaT6c9VIR4CiahTZoAvZD43Hx/Of
VKcwP3Q4CB5vb5S1y9IUbUgqXPyzfCYJ3v80NDV9CQArPR0hNaBoYdQordcSKvT4NE2Fvo9SRPPU
vrPGfRxaWuXe/hVrEwZ3JFquiqFcxX0/lLLJHKkWluEQfDGtLN/rc21/RZpvC17/moUtrzJ2KbVz
AdS+CvGwXy2tRQ/VrUkEp386rER/0A+1yl2ZRnp4SjEEmk5A8PP0fo6k+CFoaaDt8KowvyWWZj9l
aem0ngbLND9Y84jVBLJxc+/mhaTHH6PAdNBDHQ0L/028c7/gq5TY+6FpZXlntJhN7XN6Iz/BbsRf
SVVz6QRxV7nDCxSlosHO83sckqPk/VsKPAveSWgrYvGw3McjNTlJMVXJdeTsS5JozrmcTDw3EcXb
+JYrwQ/4Pchjest8ziuQTh+rjo+xs9slbSpko7l7C0j1t3fMWiWJUrOO7BhjUelb3DhFWepOnel8
xkgf0f7Q6gOSgRDdHYUljnP88FCyiY+jmXwb+jA6Bp3y+/ZvWLlk+QlUkRxR5+MldXkVKR2FzNyR
OKYQ9VxJT1CdKiCAHwEKKSclyYMN0MDKMeHao8BPsAesvrz7mtlESLWZJDfRtX6Hi2q61x0pQryL
2Ht7bqtfkRyYa++1TrZYXpggWmx0muQaGIK5kRlO7uDUxgbQcW0UHtYC0GWp10WhKK/UsBx8yW0C
fdo39Yy0Touo7u25rO4VAZIzEf+kS7nEUxY2svTjRAFfRt3Sc6ogcHEE0j/0JpVvwxmxpuLZYe70
3jEx4TXmEHmIyvx4+2eshBJH4T7nuwFFAKx+uV1GZ8AfVYoo66Mg7k7IKgiNtRjRLGumejMiLIfQ
0sZ3XBtUYJWAH+iEk2Xrv6IzhefkQJc7DMxjIEv+naY0+SN84srtg7z6pKI6slFhWAkqqFSzQbkI
DI7mIjOtmyoyx7EACBZG5VclxAQlaPFGh7wYHUapzu7H2EbeZSRyKjnetrcXeu1c8grXAZSb6nXV
Ro6ELJlRcS5pcj7iR5YfFKf87dtUGnn2jxtLfL2JqWsA7kCN09Kv21+xgiiEiouRG86W+tlCygZn
9nzaOPtXL1Nepfhb0KihssA/4le8qQ9NaoVfMV0N1ykb+2Pd1+WHzlGbQ5d21hNSdNZ+xvsi2IFf
evdDg6FhDfIqpb4o8EqXQ2ed48eGanUuMvudjKhaWP1o/HlGfyFH8+Ddp5WrgJIGXACNdi1ticvh
gsnW5wmFWhc0BpsGnwMp3SFSNwcfemuszINSUgjdz3mZTLuKh4cKJx7RlR2pVBxv4FlWlp0HMvw+
cXpIlMRWf7PscdyikRTnPXPPHRxFAe5jVc9qvMRVZ3+z5arTT0GjWYjhhQaPidtbeWV4QTckwJAe
EU0X13CHqkg/0OFHcLjW9gWG1eRoiGHvsFTqHxBcxmA3Ta07tcte3j+ySjIvaGxUtJe3lYPNBUWW
eiAA+PU+scv0Xs5h9WADmg9nBU03XIoq7Efn2PduD61cnShk5cA2knDTIiJdWewA34YaC1NkcOPZ
6u+SGr+pw5T76gElqBkp/QZBnLjTvjtT19M1ippTLGs+5onYQtDDrHdNaYT/dX7ubFxsV7cpP0yE
Q/4AOYQ/0+VuwNwIk8FY7d1ukMyvdm46u7ycrTMchPlz7YTal05Phy+3l+PqOqP4hskOBQVGpAK3
2AMVhqEKaPzOHeLO6vENcGJvkqf484ibo3as1azJN87gygewTR0JbTo2SJdYy10/JBzAoOxdFJqQ
9FGj6ShTBj/entjqKGCHZFHNJ16IdOfN2WpQdI4Ku+Fs8SL/V4iBPrUIm2x8s7VReKMRhcALiB7J
5SiVntpIcVK0qAfbODf9WJxoQG51CtZGoWFvyaBkV2QCGmwLEPKaeAWUhbRHlMfcT3ZtbVwH14gk
9gKwHJB1xAJy+cWSlRWVCtPPelcfLERb1SKoD3jvIS6toZd4sOKBOgMFEONpRtPxucq6wj6Qk2qI
WqF3PBxuf8GrrQl7AxwJPrwkNHQUxPX15gsWVhuWloKWcCghRrrDWgi3iTaV8SQynQLfgZG869ft
Ma9WWoxJeQ0LTwvMy1U9uizCvgEA5kqkp8+d3jZPWekPG3tzdWZwT2HCENcJSJczQ8PQgMirz6Qw
AZ7rutO5cRdVn2jfqmclCnGxuT2tq5uefjhHjb4aSRpZ0+KUB+g65Xz1yZ1RlD46wNkekPmM/xnx
EdiNSmCdVaWo3KCNgvd2EMXI9BL4DzGGWvLlVLFC8ztQILIrIUBy0tFX+ahP9BJMPArDjVmKv+vi
8S3GIp7x9QQodvk4tDWE5FvEwVygzfqxxjjhoa3N8J+hxkF9Y6zrtJ/BFIM7k9DNm9cQ3/jN7hzp
EOI6oM7ukErVi4YD1z35qB1hs1H3Dl4iTYQcVGO0/w3o1j7Z6Pl9iGMqghs5xPWOFQ1a0TUFfavQ
srn8HUhUlX2AjJGrVmr+DFkDzw4pxonm9g5aG0aQDR1V5U+YK5fD9FlbGLHFlmWD+fEuqKbG3jsK
LP+NW2hroEV0SBQ1kyr861yUq/X7uEaqCV+Ld6OuaG69mc4r7vTN19OZpGbG0+wi8dDs0CCbP5Z6
/J+vzv2hUtRxY1JXoV0Mp1EDg/Oj0vAVk34zHKIyVBUteXax4MAfPDMaL9J15PdiFEhy5MM8rMr7
w198sjeDLlYSyzHFmPFqcW1jVM64A2cIuQ7qxv67PnSKEJIQ/+U+o2l+OTX0oAPdxG7E9dVxeg7V
qTq2MMPdAKrDxlDXW4OE3SEUcOaIDMtgixFz2CJbpbm5lIQHPQTBo3fNFvXtekJiFHGkqTgbvOov
JyQqlmAOK81t0eHcq1M67AdtRIu0o/p++wtdxwEAK2wMGARAR6+esrGupn4SyZo7zbMsLI/k4zSj
rtVmWYRQaCO/3B7vehvCqAY+rwjOBIwm9XJq5D99anahTkEg7c9DJlc/kCBFmjMoA8QoUyeo0H7s
5I1CzNqKij6BBTAH1NCyDFxAEbbCLNBdgJwhfltpv08VmuWFpMkbe35tRanFCDgFywoE63KGKILH
lZzHululSeWFbZd8CSpzfphjdfqNnBY59e0lFYfoMuaANSNpIhoQeaDTXw5oIIAZlSHsT5Ra659p
lFjV3RwbEBK0MitU0ttGMs5pjearSqXfy3W1+O/2T1hZXtHPJUsinSDTXUQiRICbtIxyy53RA991
jlXu9cRXjngzjufbQ62cQKrbIP6Z8kpjd5pCulRBZrpzoYVnSHHmYWZtjrdHWfmIUGM4FABUqaUv
SXBQQI2s5xolW6ksWnNGdhpKoztAHEXPLh2lrfRoMS06sQQ22zLJMUH+UAC5/IgWKICcDlPqUVmx
Hwy0BhFyDLfedyujQIEmsoAgAWC83Cpp3WnO1KQpfJ0kf1KCqD7Mhb1F8lyccTEXVcbVRTRc6GJd
zUWvkqQE+unpCia6aZco+DSk/1o4PJY7fcLdd4fU8NabbnEMXkcFEMOjjhoyfdxFRtu1rQLLok69
wYjyzzFNrLvex6tmN+QxntZFggrfzsdXAIiMEWjPCd5P8fuO4v/+BljR7E3BYVhCLyVNn0aCauqh
LWh/MjQSrtFHXbUKEFMzo7l+lCTcpM0pzr5hP1R+ub1r1xYeeB7tPB7TvDfFv38T48uU1m9f1IVH
m1nZ19OgffctNHjIzzAPkNT8EXIYt967R9Wg1CMf8KpvseRsYCI4Ns5UFd4M2exj0MrquTLH5msj
j/ZjXCa/IzAY326PubKR2V907C2aXNfVGwXN7Xau+9xzikr7UBVSheO5nLq3R1nZUsAPCMAqtRoQ
94s6TR8IgFwl5Z5iO/YPbMLi5DhUQ1K6ZDZ1cMjUIC92fRzE5g7fdKM+lsKP/ePtX7G4XMWmAsdG
aZ9MnzbWsrU1tDZSNkZaYDDtN998vf9vyhG2lpCd/nx7pLVVfQUdkiFykS+jZKhg1dFGWeFVvt+i
mR0Yp1kbk40bfHU+3HGvoYLS8iJeobMX1jqeRl4T8/SkBVkjwO5jdNVIW3CnqwOBbhnvTQONdsp8
xpJiW016kfeKOXhx07fPQZxqp6mbiy/4UFQPth/guBbJG7FwdUxSDV7x4Emo7l0ewmhC81gRXg49
TobZoea+vU/BVByiUe6LY6nLKQZkGGDqG7t1EbPYHSKVM9mLFIIo5S4GxrgrT5IY11+848MnB7Fe
LJX69FdBkeS3Fpe4Hr1zu4gBddGk5K6BhrcYsEYaaAjVpvIw+2lQtVQG+DhRs6Eyc7UpX0eBCAMH
jy25rFTQzCkkaWwrLytGOsjOqNgfndhUNyZztSvFMMStVxrv9WdTEHfWga3XXj2Ec4DVUDOfTar/
wyHUgv7P7ZVbGQzotgLuhdInsLHFyiHFP1lVFLaeE7bSfRvG3Skc/expkstog2xzdYeJy4PXMltR
YGGXdRdnMAwkz/3GK8uman/lcYi8gtpN6VNeCqPHPqqN/g5fYv85peGKFqeCGNnt6a58QsAsHD9K
aRQRl4hcsy5mOKdB4xl+2D3IbYc3DxbJX2+PsraogqBF7YwHGuDfy4NnR3PR4v/XeWGmhid/zn6C
78iOwJT6jfmsnDRxtsnXLGqV6nI+o4wUsDKC7TLjWT4DTwtiVLb1Xhhk9N25dZTW2giyK5Pj9W6b
MFAVHhfL7Ab1mHbUaqP15Foan9Gryk+8eZ17tdK3CsrLupK4SGglkUFxpEHpLNubeuWEmPYYuDBj
V5/d6UUY1rtMwlF4hxGsftdAbP+dJ9Pws0xA/wsxk89qgAPcu78nGwbYDj8BZbllGokN40hBSZis
YED4GdAIngp2hF7ClOEIenuslS/KpEULimo9z4VFTLKsjFdpFHVehBXVvUSu/8WvugyP8sa01X0z
5NUWaf16SEo8Glcnr2GAx8vpYSuU52kUN15aY/kwGuYRo4jmIJcY3Obw7w63Z3h9BhnOdMiMaeaS
GtqXp2MeKAyFrV17oRJ2XmvYGNMz141RrrcpoyDMJ7SP4MJcPTAwQdT9wa+9qHXmpxJ98nMaODhB
KtDxb09oORRfCvkY1ISJPKRnSxCqVOl+6HQSbh8U6O6aQmuw1YOhTAf8vZJqr0Nx2DUwgCCqltc1
EvFYXtWp7I1ymLvIqn3D63wQRtJbCOnlV1qOJDbNmwxemTQnSdpCRve1HE5D55sHXdLnjaVbxgQx
Ci03RLDEo5P8+XKUPp7Ah5NUegrZSC68D76KxpKHqqB17FslPhY8fh/H3GiOozJtaRmuTPK1FilE
ZtiRy4ZfoqDVIF6InopDzF0u2Z0bCWfU2/tjeb6YpKhFA9ZEl4Ci5+JI51ps6hE3i5cnsHbqTAZG
K8/DAWkbLChzo9oItGuz+t8cBaYwaYR6uajdLJEN+ZLsYV0g07adk/hbXVv2VnV6Zd9zK5IHQVog
rC8jQY810STlpgqwuIM04PsUcD10qwYwdkpt5BuxbmVaADNYwFeE+1UwMApkLiYabAh7Gvgm8wZ6
4ONa3u2PpYnVeVPE4tVBEwpCG9RJuBFXRSy1NWNwqFiGceIb52tUQNn0Qr1oPlelhGGVLYeURPw0
CE+53kxfYZ6rKuEWfOIOs71eRVctUsJTa3dWdAocuYZjISvNvkb0zkf5N0QUBR4JSXCB48DHos5b
6eDj+fA8YyyEuGzK6/1kDknkfB8deWp+hKXaYxaJ+amKbP8QSnejLyfdvjXmHAhMmsgYXWJPt6Vr
sfaBqQRRrxetpCuWxBggcjUnqeqFsh17Mxbpu1ji+QeDf+vjrpwRKtksO0RsMLKvmcCb6yaO6xjx
tmn25DHsX6wIO1IctIdDp3fl73Hqf9z+yiLGLD4y72iqoqSikM2XDwa7Hrp8lhmuRjFS3iMF9se3
evtLUOrFXglH9YOaJJlXZrp2uD3ya/J3NTQAI1JDvC+vSKNZGsRNVeENBW48MO7LXI++4djifOol
2/CogdkIdoRd8GHupOqbmnXVCRNS83PlF+rL0PbZh76bx+PtX7XypSllIttAw1fjulrcw9moUIJL
9JlnQGO4Qd02dxPmkF+w+9rCya0PhVYDLTo4KssQ5iAggPyPyZduZe0xLWr8hKiTPRaUETYu3tWh
mBeoKp5rzvLBRt20ik0sI7wwrDBaDvuxPaRSGH5ypKTdYBWubGChJAngF9lhUPPit7zZwBUUYCdu
bGhURTEnXwNyuy8jdiePHaiI7D9VnaR3ZopcVBrsG2T9QarwP4sRQXJHAdDX2VOG0voEiMY4YNEl
H7AHQik6DaqNnbssJ4jxAFwg7sGLHqjS4lXT9FJpVXBIvCQM1MOoou/Rl3g9YSCTYWsX/CfzAHxn
5v06JnuSi5iM54oN44ShlWWBwQWcW8WnoLOxoMevEC5zGv0/hxLh580HbKn8FEFvT96s2nF0zNtp
+JglQr9ESmV12tiaq4sJvQehKFEiXeYE9OBNO8SoxnOaQbkf0jI9A2hK/winTzeYy/KrTHKysUfX
zgONFYSUSYnlq6K7sA0rhw49ZQOH5KexDdNzW9bRWTzpNnKQtQsWSoXNYCC4wOJermYMwrjgUhs9
YhYy6gGACjzVFbzdE5VHBdlP1xQByGrrvar0r1vmzciLxLU1jSmWqEuKxNVGHsXCnwlBmJM85o6r
j0r3qw8bXE9qs8g3CkRLTUmROyBFKmqwYOqAzSxmXRllj0VIwlft67ogkqPdiefaRDs7b/QYcgKA
lvGQ8ywa9iZ+iN6ko3Kyy03fuStjyVZ2MmqRgl6mB+FOUaes3anT6Nu72qiacTcgZlZ86Ia+SI/v
jwBUgUh+6CXrV5l4Fma+MmWJ7FWpnZ4GR7IO5ZymZI/yln7y2lVJQkFpl2h/7Rsg97qZ6sMMPaqu
plNQhI3rABY7yME0P4RhMZ1vT23trMG0pv1Dkg+8c5F/412oBYGGZVTv+I560jsNjcMBZ57nXitU
28t8SalhNjXtp9sDvyraL2M9iC28Ugn1ZMqLkc2AOCe3CabZ0qiWB0ra+s/akaPYa63Krs+Io1r2
Kcc0OzpCvQvn01Th1YsT3Gh8G5xSzj+YiDioh1iO8F72C32wD+UUdcHenpMmOTVKBpyoqPr4SyZU
UA597pfdSS7DOrjDMHT+griGjIvSZJiY3OGvpf9og8Qp97AL2//mdp6LQ2RjYnTA6rf6PA3gWnaz
XY1YiHa9ld/LcqiVWx2ylR1AtZbOn0M0IctehJIxzhtTErcD56Xo9kappNI9RK/hh1bKcXpqOhBg
p9sfY21MOsOiOawjSr6scpRyRWbZSlTgC7kcDlWZT2w7boYjlnyoGjRhT9Hjb8YEmy9gZpR0F53A
mnaMOtaMOemWz0dQsFxsuRtOhjSO/0DZ29hwIkYt9huWMIRKWSOHBkl9eesCEtd638cWLchmnRcZ
HTAUwYeMztvtia0cKUDaIF1o8yMPtXw4O2Gi4ZKdjZ5uNFX4IKcy3fawyWTpOI243+6CcJ4f4maK
f94eeCWEwTZA2QU+kmiKix/2JkrPQ9yYsoH7gBry6tmHZjQ5R9OHpYOyjaFugDXW9gx7VEBAQdFd
6W3p2VhOFa7PXtXO3R1Glg0WjJGkjgeEWzT1aGrp1j28EjhpYSCGB6lZFHkWW8YuwqDVwmrGM6l2
8sc2KeR6Z6IVgylb9tOUpEcrt7Rxn9utvxGzxe5Y7h4MHUT6DxD/ihs4TVYuNzxPPe6UCrwBc8ta
LMRqW4+9NNF118zU7ABWUpp3ZV/VG6u99m2Fjr1lkkFTu1vsXkrAGcm5wq3Q5h/tcci8JlH+RZUr
2wgIS+lMEafJJZ3X2g/dlmV2kihGOeTA9ryKNEn9gM4YRVXoivAMOzWmI7Jz5qx81KxuwN4yVPIf
VVPlLjZS9lckiTV80mAy/MspqMy7CGed1kt1mzrS7c2+cpwJV2DzQFXSb11ivHDRaS0nG2dPDzGa
V7u2O2qNuiWYqYvbdvHdoX8g8SaE1IE0LrIWCbgr8TiiCEfUT89+n3XlfVNhfAMVfez3uNBBiYgj
Jb639GIedzSb5+/UcYt5344J5rtYfOZn2YqwJbWsWvnVyAiz70PcyNpdM4MN3es+3etzWoIn454w
8uyIZg+GtLHjxNa/ptTY/j6irq/e8z5MJ9duqiE4gG1Khl0dZZa/88t24iNFSZnuEHft04d+muJ/
Rz0sP+pREPxRSzNrD/6gBDIO6Jbc7VGkHZR9htToHdqoFm1yyZxyty4H9U6TUe/5fvt7LekUYl8B
tgW/JpQergURUmPOIvGq98wxKfwXrPRqPF+TfuLa0J1y+N2BMX5RI1KeZ1lvdO2xykJndLEoNd2q
G2fMEPlS4Z7K2vTHwtcy24hIK1uKEj9ni4IdWeqyvWArpW2mlaJ7WiGDGg8M5UsYpOM7iWFiIXgg
0vxCOhs6wFIoEbnXfChKQ/ciiYvm0Pltpd8hkA5VN2hxvP9EzyF8/+uGmgoFSZRhGHJ5cwZzpEbG
qGvwDDOUX8khnOg0qF0wfptgz2613lZCIBI7YGsoSq5AI8NmotM4K5qXaYXpaajEn2vgNLtcVbMX
3CaHUyaXGwCMleAg6BVUjYBNgZEU//5N9OMdafVtHuq0uC3s8lBzhrU92NnwXFcOqTSavl4ZzMm9
M0NFdG/v7pWtYxuQ4oj2ZMzIX14OPmRzU+hBamKil2IfG0TZOYnG6f13HlEdVS/apgIfKX7FmykO
kWrOyZSbXtIZwy5QrfQQh0q8EepWQg2AOkj/1DXp5y9L5HFrOL5OduaNBS5JjlLFsFFb6agVtBFv
L9tVE5OzwIMQRKSCqQmrt5gRtqFTGkl4ote9pR1kMzMedLuNjpFkzK41Ibgb6Fn7Te967RBKdnyY
tV7bWNWVREbAT/hyVHEFMf1yVU0sU4Nejy3PwCX5JY2N9pNVKf6psAfjZWqcYKtLvDZrAIsCh0/v
lhArftGb72g3qVnWOKuI1Df/DOMCd98Z0YjaMcoDjSUJVBgkvmQYw1MWRMPer2brcHvpV2eNOgw3
nkBPLo9LAndrDFPZ8vTM0U+JpjJKbI4H3IJRT9OseOv9L5ZxEUmFOjPNYlJG4sACpoX1SWrC8bA8
LJpjeze2TnKsaj0/tDamIRZaS/sosaNPoCDSg2TLzd6xKP5PRowQPfXfw9Cr9jky7err7ZVY+2EU
QaE1wq9ExW6RNivFQMlblgzOrq1/ssh3d0bXBxvzX7kSWen/G2VxQ4AiJ/7JkenJiRIcnbD7YTut
+jIO+s8evZy7Zmi1jYP8CgFYLjkYbqBptF+RBFzs7M6SyN9tQm5ZZ520Ky2pq09FPpbPmpUKWTLQ
cNgKp0UzfcibsMFaufST7lGNu1x7SOS2/962xeRCvvf771Eq6dKzruY6GtmpFje7HthWjbVbKAX7
ehiST745mH+aRO3NPcVSpJRzKR2/0tCRrPMYBI3hhaXRWGjkKsM5TGDeHTRscTBIr+J2OBR1rPgH
yI2G/8n2R0BKCCpQZAxwDg0OzWBifNzAEd7q564eSGCKJLsIxNGlVi8PpDUGSNAGjUldrJicUxyT
yZ3rypJDV0l8LNibGomDHYoZlquY3aTufTXgcjKs0Dc3EvCV61f0eYRENDr5irU4J07UKUUbTqY3
03Y4xmZgH6tYrfdE7i0QvNhzy/3B3QsfQ4jE0j68nHZiJLgi4x7m9UEU/kqMYdzZWdkcs6CeHvHp
Hl2UlKY7+vvGxht57cwJiAO1NC4FOrGLkTO0GmHVmF4z9/MxN9R+r4/RVuNsbSlpiPJkJMsC+7rY
/2Y6T0kEuw7VyzH9dw6UjJst1l6SMPxy+w5ZG4mbDYY21AWRPV7Op53aFPOFjMjs+DiaJ1HxE4dA
7TFqwVbcHmrtIqFw/GroQE4jL4KHlKMeUSKb4mWjpd0FhlR9NrNMfYh4gT+o42D8sMx6I7danR5P
LYo1HA6uwMvpYYygJXHEQlpa0FlHiSQs20dGXx5RU4w3Xgrrg/FIQOeapFVdHEa9dqrMCHrDi3JN
3AwFqbikxK7Rlfrh9lpeD8UbFvA7cVioo2uLbThFEVKiPZeyo6bzfVVPMgLNxvxPOYdbhd3rHS+e
yxpsbaq7pBqLoQy9SLhUVcMzhkLe+wiz7bO0sU+3J/TKdb080rAuQCvCUACFdlXJc/rQD9UuhieG
9oRzHmlhqB+NrhjC+2zM8nRXyE53L/bVr1ySVBcZ4h49aOqlnxtcoD87OiDDfZ3F/8PZefXGjaRr
+BcRYA63JLslKtmyHMZzU7DlMXPO/PXnoS8OLDbRhHZ2FzvYWbi6ihW+8IZaGVaRSnro2jxZEopm
SZ37ou2Uxk9EZ3+dLDMsXCVSi98LVqwvQ4Wd6FmUpk65chLi1cywXseoIAq/YGxd5g82BGgbCSMK
kS7SdJLi2YMwX6EeGNpN3Mzpq2VMdurakWT810SD9tosS/EhyXX7Z+f06KqSzw7ooA1qJbtObbU3
kVP11messal3pctSD5/aKUuKe3Tg5+elMMb0LIZq+WVraZPfijJ2Zn8ewQd58lyrn0dz1gAk1UB+
PWBehXKmQNdCGcvgtLshBOrXLBXRcCrnpJt97lL9Ea8aEzXNHE39O1VI+Q9Jwe7J7S0b3n9mav2R
EPvO60QXniccygAJHAWPt6cv7mR57lBLCoiCl5YvCP/qp1xHvIaU3WI7crs0UVM3Mp3MvjGocSaU
w+0hplhdOc1BuLSTyHMo1xwScg/lsG0uOXTDWBaAdIiXohe71ttTQrv+NtOozTeP2CB2p74ROn7H
NLFQo3L8CFsNP2vwEJPoLvsz9eXP1/e9sq7BZt+vQDYEXkkkaMVuLuAlL+tmQtk90LO5TxPXtKXi
IS4SEOvN4oTfrAU0y+1UxLrstkMcJ17uyIt0h49wl93lVT4lZz3G3engoVPW63j7w1bxZ0TgQfVR
K3378WiEgThFvCxYpa2HwEFjOjll81g7j7Mj9z8WyUFAZGhTu/RE38udV9PSUvHkbaX8q5p3E5To
eFE1H4uMrPLstOt+0KifP1SxMvy6vow7lxSAf8CH4KsJPbapkGHNdSupjUbbPJdfkI6SJ2/WzPmo
rOZcLgqleDDGgIAZzdy8YUNvGZ0dwWaVx8L5ng2h7INwqT5oxKm5i65iknu9Omb1aWozK3TrBJf1
A4jA5TvK0wL+H3ojhURQg28/jGSrtZlmNRcyf/PCJ7XdWs7VAWlg1PFPtTSjDw9A8iAP2FtiXgH6
O8Dk0SXbDBtXOfdWtxiBswzqOTHy5I6sQT04pDsPm4ooJzUsKE50tDcLLBA/kPDP1QP6ATWqY2Xr
vPZOFT5DiJST87t3DVkGcSSlaSj12/uJkH6YiibTgrLKjWBGvPN56ZLwoAK+s3BkjhbVXrqwwB42
U6oRpUtSa9QCYsrwTsjO4EI6qg9kCNY/ZXNcwXCA24OSYiJcuWkxFEtnCQ32UFDEQji/nVE1Ux+G
gW66c8sBfCzoXh+MubMTVxkNHN+IDC4748ViIp1a1lOg1Fr77yivOJUWrpQ1lLFfJVb6MJd1evDR
tHUmm5nqRD6r0MOeIHaL1ksUT9oQDOnYNI+5WoOas5qILgrApuYjyyOpgR2hy5Wac0i327QGA9Wh
NqpQtuN7Q7aM6tqP8zxR/HBqm/DDBE3+yxgvK78UyMajldUFyvNpVCmfqaW25P2kA7GrpFy4P7So
jNLvFanVD0QelPI25cJogXSpMVKyWZrixkBoHX7K7CHH9q88NpLfW3v2FAhNaj9QczfdVityIMrW
XRckiTa/CKnN3JhoogbY0qnniUp27U9KPX66fmR2ttnapAO3T6cO8Zn1/P5VAYqKWkszvBMDBeuF
j1C4Fs8obZzYMBZ95rLqDp6h9VbZfmwKlHQlyW6pIa7L8Nd41L96omcg5fEUGc9jobSvRWlH3hgZ
0wnLrOUVyE2NmlVbHOyznWNLYskdhBrVenrXp+CvkY1KbSvR0A3t9dZy9VrtbozQOOIb7z2zjMAp
Wm8HJGk24XWN2PlYVyZ+2nGflnedIeT21kwUNTCr0QzZsGW6+pDakoQ+cBUt90bLnnjpFUH3cOg1
0f1qwqrMz1x0g/xRqI0KAqjENFeV5+hIjX5n23FbwhWBfost2rbJlo2jlqC6RzsPcyEaxWb1cc4y
QSDQaWnvxo3IghJlZce/vu/2xuWKBlkA+BlNmc31ViVaPNiLmAOptKrbrO9QWWnKyRuGVPnAM9li
5NXEX68PurPZ/xTGKfvtqdcOw2TydfA61+yl8vNETv3aHuzT1JdfRTnYB/XcnR1n4kjMWwG8kf70
5kg3RSrrQxPPQdv2Wsot6mADq1fZEVBjK4NEIwdkPIUaQhmHv7YMnMWoaQxWzhggeILg/Rhq8Y+C
8hIibNS1BWYmjR4oUj0PgDbS+EWWIl29GfTaeJhoVc4/ri/zzrfFQJKui80rAqNxc8YnUUi6ncko
howEeMhOx9ZzxT6+6VBouk+luFVPShaV76+yrJEix2KlVLMim7tsSVM5ph8Bt3BIxEkIEblZGra3
A2HB6foUd+JGiwuMd4uiDu2WzfadnZlENa5abI0ixTNCU3HrRnY8OYm786RV4kYRcneOOUvnyC6X
z9eH38vE2FS0krhLKVBsoR3JAso9VqsuWLRxET5qhLntFu2Uf4ylCo8FpAKN5FxbvBonLc50SqyJ
En6TI1M9IrHvRHgYZq0RLMxBcAmbe3UixU7nDA7PlPazb4LWQTlUmvrGbyGXH3Xbd44wNzhcBs4V
SvLbZ5JkFxBX18LyGkuwe13U35Jm9a5TFsJve7k4KF3vzQ5nFUy+GY75bc5whNxipTlJF3Sw1kuv
bjS7vpmKOfw+2FGrvk/Vcj3IdGRJz1bPA+RHNqPR2q/a3mw6eGV952GJ63hYR5ZBnyjS2Zrm7m4C
bPxcZxQQr+8o4zJvpdayhs1Mc23Qbj4jQJdElBlUIrh+KUd1IFT3FaPPUXmE9Uz/CxLJ05LZ44uT
RA4kbN2ev2WLLY0+aD5s9QqcZdFUXfAa8BtRyRqvnBhlvxu7Fk+jpZ5id3bGRvHthXLQqR2zIvHa
cLVYsnGmll0ExmIDyy2h/M4dDaT5IMLZcvF2tF4UjJsyd2nz6Un0ivE7RZskOhsTLYMAnyHlcxmK
XHeHpuiBfLT9izNajXxG8MlMPNEZksbHmzv7NFijM3iUFVJgvUo7+gb8xMBUIzH+LiOzFwH0vc7y
TIwvCr9pulB4ihkjUusaed+qXlhHpnGwzS7DIo4yqE5qZajTXjzDCDtB+ZOVOYiR09ZfROIkzu9l
bvvoJk1NcCVR3sA6SbhvEXbU0DA6+P77P4C4iLKFrFyA/eow6jAakXiPTb1LPi0tKBvsadr6MSSa
u6FhlDwB82g/zHBL/7m+9y7P9KqWR7+D+INL7c9l91dkFrc02pZUW4KQeo4nW2nsy/pkuaOBA+48
EhZdH+/yTBNwEASy1KQ7yEW+jQSz1IpqVPVgHOhtcYrz1DgZjfxfN/Sjd32ky5fw7UjroftrZpOq
FrFRQSrryjE9dZPTY48w1OeCN/GsRlHOBp7rm+uDXoYdDMopttGO35Gh6JIZZnrE9PBHJLCONftu
mNIj/0L6w/z4t6E84zh/CtbcWhcXf5HPY0f9ZG2ZJ8X4VRtGO/7XqctU+4G5LvgGWY/U8QbemaW6
XdzkMx63Iin9JhOhccIY1qmx+4XREkzA2BK3Mudu8SUc8dKbsswXw9WUrqrdLMISwlv6qkruEyej
Ih6aadW7fQ7K1uei6eugrfRs+EhssagenarhV6ULOLJRXHcqXCGxSK6RKUrh1ulkoZgWtdytSqt0
hqdkokhvQm2ZB/g0s9Z/lCKLKBR4dzR9BhAkfUEUsEIsOQv78N4YEKV3HTGGv4VppZavV1aLXUwf
03bUzah1lxF3OSwdizi5oehfPdHOjrPTWl1azmoWmx90GiVoQmpd8VoSJJ51HLuebWDwHxt+/L06
OkrkI7Uom65oxqb1F5yhdF/qk6R+gNpsUHVO8vir0il26kWqaCam16lPY6csyT8oo4exS1m8o8wu
Zsvhecyb6l876e3mZ5eVFEWHIXOieyNEmuRpkaXka4dWkvDruh3LsxHpzg2+GFr36mhD/JL1eZ7e
mGY7jbd2OC3lR7nkyLwW1AQa5itVoadGZgumq1vUl6lp9ZH7vU+yUzVVffkxqSGpefJk2PEPtaU8
etfaDU8Lzk2Z5il5o4auYxSDc1vqsogDDu/SeMukRvDJq84+m2mjzHdDTcHQKyLIeB+wFTFHENLY
Cfi2Ffbiu1kl5l3XqXrlUxmntq9R7v1HMpp2oB6upNPnbKlUx7fhwWgfRJzo1Qn+Q5561lzG9tcx
BEr4sNTgCb+amlSXP8I0lRRXtZruVmtUtqJTy3ge64kqwgepE+HoTlNPdLXQr9bvmyXWk9swLxvy
qRZMuYuTgqT4BOFm7Bq0BdrzPCm8epnd0ACQE0OrviHfaY3fWkNqUW6uVfVHWGtRe1/i3cW2bCO9
9ibuX6xWaqmfvMlawzmn08oPuBlxTaJgZsnnyCrl8lya/fA85cB9fT5E0fgdtfi45WgpyGh2jcDk
L+kW3CzLPEdNpTLUf4c0Rh+xWRKKJ3rWzc+pLvTMtUPZ+eksqdD4W3N6LPN0RvoPMmPvpaArfgrR
mNSG0jyp7gvbmX45rRXzRo0Vn51C1aTdV5FlSIHVQVpwsySO4vOCjOZqGmvhK0MGkbXwIyU189rB
7hRPy2ztZ2MAgjjR9qG9j4SNI3t4+rW5H6qNHPvFJMU5Uos9nio2IUvhxuj2fS2nsr83jUijI26L
7Fk2OtM42Qmo9TsYPsN8VzkKysjWYomAOzgdP5BJxI8J0kvlTTaaXePlc8HBsqKZzuIUzXn4ICvd
qN1mmTy+4HcVvUKD70ZXz6ZG9RYDYTp/HIewcpG7TQxfmE2feqKtMuPGkaPlcW7s+p5VY9FpX9PH
quk/Ybdqy4VyWhKnqX2QKGb/dZK7xvoF8aM3T3bb64Qa0ywacgqVt3c2itRLWvAgELp4sn5h1Gkq
r5MqD1+nuCs+KpmqfDEgzIQ32KbGwTi1ueLjX1dr93VfN80Nf4QWDDaZl1s2Bv2aAfDnQfC6049Z
5XMIHtf8GsH5zWtnp5URJ1lsBwJV1ppoLrLRT1X1H3o9my8pUl7/VoaRPTaV1jzGcWif21A1R9fC
RPDfcCgmcRq70LZoJunKQU66E2MgAorUAPR/zCm2fX7JjFV76iVI60LUHtu+Ok+OM90XcjPfy0Nh
vP/lR1+Sg0f1G7S0uv6ev17+LuwKuatYi4S88LmxpmhyecWyW8Fejlb3dufzXIr+67vffoCjCgmp
QS3xoie/lO0igczD1QF5Cp8kdXgQNO3O10e5zH5Xfw9A6Gw5ACLb1kEPTLlzhGIFEj7wmUtSKCYP
iXrtqcBj9WtTR8W9blTDQw2l89PSLPXr9R+wE8E5DELBA9E4kpbN6pqqnKhdw+ouqtn5WAOPbhVC
1pik8UhWZP2jNlEOQ63YFHrml4gDGXKqPPUqc6U45grZikjJeBTkrHWQxJuP7Np2p0bxguIhUgQX
ImJq0rYF4bkVKGr0Qw9NxBkzx/yUiUW+vb6IO3Eimpp0MTD/Xeuxa0rw1xalP66mXCcA78KI5Cgb
lSdjGOdP10e5DIH/qFoiWEK7BarE5lIQs6nWgzLZgdFK8n2ShNJZR1mWReyqWzoCpTeq7J7rg14u
IsTxFS2/UiRWksbbqZmLnSNxTkFPzSPDLeqlPpF5G8DTB+X0vwxFz5YdQg9vexa6pKqFPDaUueY4
OpfhpLmRbsw3eSKOPIMvPxglJ3BK9EQ52xeoW72t4ojAzg7qCKj9ikR/JOqtD67xyw3PKLQCEKoB
qUeV5e3aLRnImmTUrYCbXMgnEJth5mqhYd3bpZTjt1DHSu6+fxFXawWqpVSjeUXejiknLachS5wA
t6Q1puIUKB4PseSZXT0e5NpbyyuqLKuM1lrvXncIja63o+WWVSKoZZvBWNuh5Dm9MJ7okBq6R1fA
+dzHavIbWp6BxSaA7cpdiRON1zZjgRdeAULQpZBvVechaaXyxhTDqPhDFSbpebB7fIarumhsP3TM
qvmIyY3aE8rPYfESStAoHlHORSIFjp/ZnMBxaN3tjDLN6AEMsINhafASrZJUewVD0qsH9+blDqLC
gOIVhx258YtXsC6HZUaLygq6ukhuo0YL7xfkc/3rX3PneUDacaVGIVaAN9NmfR3cAitH4gorq7H8
1M9N+r0enLJyNbVTNLftreiuyCMkstWmLm9iO6+/vfcXAEs3FaRRwWJQfN+8D22Lubw2pkbQT/lE
2KWLMMLPPUuANo/A1f1p0uznCVee3p2RchM+Td3pyCH6jyDD27cD/XpOEu1oauEXkAu5jZNGoO8X
aKNVqD64E7N4GdOq6e/tghKpB67ayb2MFOnzUMI3uUFKJCd7qay4+x7JTj36nTSVxS3UtlycZAzT
6/s6GS3tNEuj2Z6V3K6PCNKXm4SdQeOZOuTaB94uXrZYUsXW1SlaKMspTpTcm0LlyCZo54pezxTy
T9S9OPaba2aUetNpYscICjwYvS6lSeCiCUzSV2fqkYLRuuM2H0JDrY9bk7Lxyil4e+KTKtS7UIYV
IZETe70zzf8My2glrg3A9aNOkFp7PXLnD7HWHQpc7KwnmuYWjRmZaglL+nZwTR5CLTUB2dcWZbtw
NlOvm42jx2GHxgywE/E0mLNIPwBtfzsM6iit1dS9HTjULB9h5jG9ucrb51aVUKcjL5klCmtyp9Zk
6RxNqC8pWUFaSNoI5V8OFRdE2fIDOheoNiqvIWe1TJTSRWqhy93GXoqY3ncjZyc7TZq7qgPX7eWA
2R5reumgkNO++W4ORBwhhDy7HxBAVmv5BC3PebWVDt2twqq1Jycnyyf9U6XSQ8mn0k7aUjipO1Wj
8+4bD9kNurFYWxEmwvp/uyr5kAv+x8QO7L7NTliNabcaMJz3v1/oy9ID4daheqpugpzSkYUZTmQX
MQx9b+qsFFuiwvmQ1PPR67W3m6AzIS8m/1H62BQvBzXjFVUJAhS1lX1q4IYfEawH1y/QvdP59yib
CVHQS1BHTlk2NV5A7VT5OZzE8DnBeOBgqJ0AkSgUgY0Vg03ksflCYoyzKg0jO+hlZXwCNSdylxek
AX4WZw9OTbMe0vyRdcxOlAN9ieO44ttX9eO3+0IsnSpjXmXC2uySs4HJ5VketcijoTCdmqhWPl5f
0L3PRlsHwwuyCfABm1nmcjMN+jhaQcpaPi3tNHuAz+yD0GZvLdcWHDcroRv7+O2snAzEUDwgzUYF
0vledm3ouMieedq0qHdVO0pBDJz1SNF5Z7OsLsgrz46g9OLBsCnxIRWum0E2jdM5riQ8/eYwcVUn
eqfQOqHbKmxDI44kF+7ZNpvgdgenV8gOulNRQc6ZGuqrpEnTE12e7BEuZX4AztvptAKSQwwY0D4v
B03ft0s6hTWLiAZ5QPU3fERpy/oFUFL7Rn3K+TyBf/SL1dgTpQfHT9XcfK6TUkzn67vnMqIC/IMN
AZofJqCJ7ftFpFOiDVeGd6VJad3PMTa6X9AsR7EEtYKvEWGd41FvSSPPUYuQIB2LrCPN+Z0js+rg
rIabPGJQGd6uBIYIkKpBYAedImN258i41IIClebfxSK4UiMzKg9u73W/bt5tSjYqCmAAChAA2+xn
3UBKNJocKbCdJQ4m8BsfyzEEJRLPzW0cYb9WONHiDmQUN9dXfOe8wnBfUZlwX7SLzz6GuVE5C8VL
w+qsj6NZDK5TONnBef1zuW0naBECcWJXRarto53AIg0Xp5YCYUyycmtKaFMNSi5bbjqCMXDBcsv/
yZKVfkxgSHcuVeP4g6wnyw9VWYzlcx6liXBNgsOIrMlYpqcSQe4c31UHkdlKqU3Fc6ShU105lGLl
jOq9JbxGwSDOK/rQodCZY3Z/GmCyPrQQK1Eu6TNlhN2USR2fdLZHb5jjMX0YMvoM7gBo3bitwlD5
DI3BGW8V0NX0NsJB+9SOrfiGYk/8qWuKTPXT2CjbE62UqLuZIcE+LyhhgREfR4X3kdwdmPpc67M7
pqJVXPylphczhcnvpYjxTf4098oHZ5JMG/GxPPs0FFFu+qI3i88D0RoeXnZFpNEJyaT9EQMr9Zop
b4Bj1p3V+vngVLnXSX1pul2ohB3xiRR/4pkZgPYjvtK7UT/V9HLKqXg2SsyQfGVCyg1hn2xSP2Ja
VhZAxrVi9be257uCZPR3bnTq7z4E4F3NrPFpDPv8X+QpU8edKGe3nkzj+idEY+1zk8f5T1qa4nvf
hM2rncXqfJf0yfIFYpVS+DZTbRDh6O0HeLSwuBJLys5YkZJ5CupDuot0GET6DJqi/iWXLDM6eHt3
bu41+gaAReN55YC/PdJzb7ea0vcSRPP42zypeAUmjWKfdL2IDx7AvaFQlEYugzicKGkTUdSlM/Iz
CFQwCZ6eEWIpPxY59qtxaIWnd5/dFdKoUvyBHHDx1tLgS4RqE1F0dExu076bn+Zk0A5qTDvXob1S
ITDdWRFH27DeLKu+KEfLDvRBkf7hA9bYaTlyDE1Fs0mZShwj/fdPDBwKyB9QVTLBy+ZzJW2Y0OCj
TDAjwCFZw/CYqRBXr4+y96WI/Vg3yoNrVevtKHY0KnUMXjwYW2Xx0yGffL0fX4GTpQfbb+eSXfFL
ECX/EHK19dn7qwKpm1JmmhHzsRJoVZoUZ75ZiaN++P58/n8UfTMfCRZokRUA0Sh2Zl6KDsYNjaPY
6yDA3l5fur0J8V5R9l9lb9A4eDuhvqjtdIgc6lhKb5xayl2/WslKfr57FN5f3iVjZaZdVHH60rIz
qYmcIGyH/KT15XxWyrJ4/ymCQCjzKIGpI6TcLFuC9kMu0tDBHyC2FTK0UTi3edKM3cGi7XwfMiZK
Xat46apF8XbROnkRed6uTtRV339OxwSggKqho0YXvQ7d62u3NxhOumj84vkC9nTzhVQxUH7pSGwg
Ywgfij0oXEwwXaErycEFsRO8OECBNYdWDBHkNlYNzYLIRaUXk1H+kLxWKeiPi9RONHcupaoDEDDY
P4uomnlEzeX5+kR3rie0kvl0pDird8ZmopGGllW+UHefxyl3pVmyK0DWlQ7Ftpo/o2oSHnzGvely
muHg0hLiX5sB8WnUlARwRoAaRPoK7jchYMMX2afdlz1JGRhMGBnyUzs0KOVdn+zeV4UmQYMUySkq
/tux0SmL+zW7At673HXmYBDqGI31CPxDVw/ux51DDr0LH/i1ooe61mawlgtELFZpgcrDQ7zRnPzJ
ztXsYJTLKSFJQdeEBsZaqd0u56D1izW3rcDhCRFxkA2t27dR+WGyDp1AdjhrAA9RIsMO3sKTfTsW
AFOFLnUkgqKm0OOTpc+Rv5aNcJVaNPsLKUUzehizm6Pfdnk7eWUuoO3rlV6EqqvrxIcna2rNI5jt
5Z5afxilargYcNa2CiAyWkNmW8RrfLKE4Zm6Z/oTqVH9XLZCqRDcazvdU+ewid2srI30dH1b7Q6/
AqnoTHDZbs/QZJdYb8iKCOK+N3Ivot03IHQE+tOVwra8H0ZZ+wYuMotP3YjG2cEFsm6kt8kBnQrQ
G0gwIs1xIRFeNtFY4LohkAiH9aNLjuMXcjWcCuFon/IwPWrV7eS6PCjk1ZhMryT1bbrVNHVNZ7UU
gaxVsTfoHXRSpA7Mm7nXCq9XOvlkKAl+IJU9fkyitjv3+lh9ur7oexufhAsECQVTXPHW4/dXUIDn
wtC2TiMF0TRq3uxMMGezrjiphWUcnLHLk7w+oJRMuTNWHvvm5bHS1gzLsZQCdcKsQk/Ipy011/6H
XUSPGsW01cL9oidvLV1fFYW9rmoyn2Ulq28AfiWnKUVDqsdExc/SUfNjCznH60u5t4Ho71JaA0tM
rLpZyqiHmCcWXQQoAJtebWr6Y9jXhWfLUvFBogNx9Lru6Gbj60prjRsDDOJFtzfVWx17vM4JFuAh
a96Wp+q/aIWF9SdjWMz8XOR98c3qOu1LOxR65llmalleIey4dCN0pn8PUPeetbKlunN9MfZuOfCQ
gKpXUQuQ3Otp/2tjGam9ZHJTAcnIjDQ/D2OavshmoiLbik7ft3GWleoMd7z4V5acUHcRyS+etdhS
G3/srWTxaqlS0oMteFnZAYJKOMKpM9Y60+ZHtekqhdJYVpDE8qe5zx9KBMlvYqc17uZQyU6EB796
W138MKuzf66vyGW1kHXgL3IY1CIu5NzNQo00M6daGCrmY1+kfho1HkCk7CkrI2Bv6G7eXh9x52yD
DsJUlmfTphuivf0EYTikklbXTuCICAC4Iw+nKFPkX5Uyvx/dQGWXoJLnDH1jXpC3Q/XVDN+L/m0Q
W7nqaVLT+1C+uoPPtzshmCZrvxPRrW3gkcYaQSolmACYXngC1p+TYUA1fFlGjWTj/atnQHPnj6FT
SFj+dkoIUKm6mEihQxNQIdjTwkcPx3BNVRzlgOu22zw9gLG5sHj3aGBuy9VyCWvdlnonyA2jj2+7
AQqZKyZMMlzsp6bSk80YJLo62OGL3KTS0WHdubkYnzCLnID/2gJ8qH3YhFjcI7ItLb4NMeC0aF3t
l9aQeZDWjpS+16XbzpeviFQhDVvoLJuYDv6pqsxrMt+3xvhIMqSjrx8f9Tz3ZkWxBZIWATkP3Oa9
mQeJPgCJSRDi6xrfGaFSvuSxxjUsV5boTygNvR/rzi1s08xFkmAHWTGmnd2qIVmcNWr/qXLbPFT5
Ih6pxGVH1M69s4DSrMxozO3iLMxS3jsjezSYKnlE6BXl44aapCcjc3xQnd0Ziu4g+t2ADFaF0M3n
khcQMNpsakFkgaI/LSOdD0pmhvS7ito0P10/d3svB6VZaFbrxYW0xma4tFaWcUG2KADZWf8ecw0l
MHDHcuomGTnyzbyU5fRJa8YF3f2wQR1mcGBP+2mqNlRhW9isp0mu5Ozgfd/ZtfjAksdyUDgm2zsO
9ZM6zUMo/JkuNd8WOfw2GYX06frsdwZx1rSO9A1lqotOmRwJTakEWn9KpYaeQqUwkGbQ/ddHuTwa
a0ELqMZqNsu/t++gqJVeX4GLvV1Wz5LZOzPuXbEJBGdJfsRzqB9cppc3HAOuaqoUUgy0LzZnMUXm
0moVxPbg8YnnztTz8xQ71UsJbsRd5mj4B65R4TmJ0R4U/Xenuj741PCAZm+v8VYRnZbIgwXIfZpv
QI1VNJM001Mh3NKJ1N6vioCOO3aryDzxEtKmfvtszKlj0uGvgeWKYbopJ6HcNsNovftpB1K1FqNU
pImJAbfvrYrKJjUiK4C8DM9L1sKHoll+OupQvn/9kCylULTuejrum2dQt/ohVUcQmehnq09q7wCL
7loUaBtJOS9ybBxUKS/DJDqNEGkQzaNjjPbu2/VrrCGJTJhXQAiQQU/MuDlNKE14gySmOynRZw/V
nuHgPFzecKRh5P0mrxHP8LbjBzDDUZe2oqfaOKYflxiFsKGq06oF/+X60bs84KAWgS+sHTaHPGVT
hQXs0zP+JG4nM46eh3ZsArtSxiODrZ0ZMQxPLHJrLOKWFTxrHQKXcPtuS1uXKk9SlNKHkjj1vqym
Ry2A3cGoewGhXU/4Vi0ZsWRcpfNc3M6ymd20fYUzk1mL20ipj5Def/qeb2IHNCtp6xOTUCw3Luhr
CrZndm420Z002+AyI+Q5rJPcpwghNbPevc55NU5+iQa76cpNhhZRb3TFj2JxkuIUWkaBlv801d8K
o8z/GwuKTud+6eeSSkNW/owYF65YPdbC043eyrxkqcE7T5otWR+0kG+mumGIc62bLYluIXQU95lX
FiXyurmKNJq/9GkofB7T+ZtWi/q/cU4TUI0Au3rkowB0cLPPiBqvjFZPQ42Lf7gUY3EqeqsbvGoU
9QdDWihx5UuIT3y7aPk3/g8oZC1NMfxekrC5BVdkKH5UOEoPxq7PIHzIS/ppWmxoMO/csOuCr3Y6
dGapNG5zJhiIeSHwQroTUxv6tHqKoFABOFwf5WILAbLlBHIGybhAEm6uGTmSkCjoJilowYR90eVK
87NF6Z8iwZt+faiLE/hnqD9qEYx0AVe2I2QgDAN0htW08UkbGvV+KfIjEMHuKLwD1JMo61+gEZes
7030PSimjZlzg4SkdCrgrx3M5eJ1Q64F+ZJV5BOixUXVu1qcJhlsQwQ0F9WTsLrMUyQ1/kc4fXKn
N1N85HKw852ociOauwLfeNA3Dw+tsNZccCu+G9JVr7aVrRsBFs+NouEoK7oEdDI5HULHKq5IGL/d
eaUyqzWwTClYIlF/IbPUOn8tpj0oXbIMLsWNYfDjrM9GqI7LyFGJzO4O88DwU6Im0ye1mOSXydC6
CG+6SerdslQT+8TBLX7Sem6OWl87n5xbCZ2V9b7lc2zWRlnMZOqgsgVWXiTPctPH/0KulA9kg7S9
T8AQdDtogwLP2byQSphKWW06EKtsKaYJH4Wjw5uskWLMDVy523SY7MVtRYw+64z/lXQb0rTvblWl
s3/ksaNFz1oRSgPa74PxD55AMKYipKK027RIm9ml/9hZp1Hm8rwfUOxJPSMymuhZEVNqIBaTmwka
smpn3EhxLLUerIP0RzHpw+y1gwFeEVnMghsOeUHtZFh9XZ8jDX06St0yWAtwRstvqsA13Dch1COv
6L2vQKip8h/yImSm3wYQkpEoBj4G1HETPeKyrec7TdQQSq/fIntfYQV3ox6Eh87FLTK06mgUfSGC
WpeK197QosdKySbdNePBfDfmi5MAwGx9WhHidLYpkTIg8kF5XgRZMqTQDhfVNdQsfwBJN5yuz+si
Ul+HggpDpYqa4UXXGxX1XmiC7sQcT7o3mug+5Glmn2Z5GR5aCls3UoGpTj2Z5n/XR74ozjHyKkDH
5UIB96I+PEQoVUr26AS1A0TRrebUuI1zygIIN9aeZKPHqJoZ8LrcWE5wAcqDyHNv44CWIHFHFIor
Z7NxRmWReU5bJzAKEd2Nkbl4qAHk5+uz3FtfEAwyRVukB2DIvd2eiGUugyEkJ9CtBok7VBuHm8yI
su8rl+9WksYfzWi1HqC8d1cMWF86TutzRJeD2PDtyFIJeAvPbREY46LdVI0m30ygnEAXV8V7KwbE
75xlTsb/cXYey3UbXbu+IlQhhymwAwlSVKDkT/IEpWAjNXJsXP3/gGdwRGwUUfLAZZXtMjYa3atX
eAOzNHov61L/1vztzBGFv3W/Rm6bP5a6Wj6UzeBc2no8qix3vhpbFUTIqmR826aTa4sOzZU4RE68
+6sx4pXxWYwH8n07Xw022lqXMF6mVtisnV3BKZlNBOiM0c3/jfVxupYjDNtz3U7e34tWGMQ1q0yu
RV5HBztm7w1Xos4LXHedFL1eTCdXXLdnChbW1WBd4d8bE4oNMK5Ob+/M9R1eZ9YAnekFUKAzk6JX
/fo5Xr/kJWODOFxg953Bmd8txXj20n6+w93kyGF7Z0VXqho0UVod7ObNikpDpqaexGmYGHVzFsLx
LvUgbex17OyL0ejNve4W7dceAsnB5rypMFeSCjwZjh9hjqHf6/fEhsRDhLJNQ2GD8Zu10br2QuSf
YcwaD2Jp/4UfHx0UmC8RerO4gDkR4MKhgsHUNoLLwgZm6AgRQk2oozO9ZQUJIbeKO9+Z3GE+911V
ZJc+zSrjLpq1bgwLEG3A1sYk/p/A2Xf2JSpxP2Hy65Y/mmlZn2n7Yxuie4Pli67qet8Y2aZ+Zyrx
VVNm2/Bbr7Vcwpilvp8TQxNhO9p9HXZJG/V+5fTYp6eoX/5yCwmXQPHS+7EeWt2vKy99Alsbf7Vx
4P0axer0bxqrGHbFDVgvP+k9/Sd4C/GtxKkgPtuIASVPloUzb59b5icGtMuTw4aFrL+otgwQWm4+
v71fd78j5576dhXy2e7Xxiu1YRJoFtAjZ+5VLFqv+YXuTZbfFXFtXyeJjVswwwk2Do7kzlVFUc2D
cVClR/HCDvktvqHXkqJjXiRh5gyiv4oxj8ExdrFpfaryrn3Hhp9+KOCl35MWD/oj2q7Mtd5+/ds+
Kfv4ZU+t+TjBaXNfpZohhslI01BmeZ9/FBbXNnhGJvYQSQhL/oCi6hIo+Cj/gKE+f5hxLlJPcHy7
JNAaZ3xeRiNTDiqS27E2Pwt1Q3D3SP9BkdmEK3ueorjrCZVV2XXjmQd1dTA2NcyWmSGk5nuFllpX
TRvrPuhkYwnf6myz9F1hagdV5d53AlKMoJTBJOcGqWIOACZoB8ShDhfwtI45z1ktoychwFhFhY1T
q1KWp3SGjZYzNP759idaX3V76AEsMvdD7/G2gInkWE2tV8RhabaN7yrSeoxIqg/OwU4miro4Liag
1NiU27m6dKkAIVrxlJhKE9gTmig85TI1y1Ho3H/UOjxltAtae5O8UIZ2TuTlXBG57p37YTY/Gpk2
ndCwaA7y0P1H0WznteDgbmdidTyQxWRxHGbF1ONxpZqnolwWfxiHo6nw7palnMV7CzPMFWz0+kZo
J5GUFUaI96LM7Qd0Z8qzEhnWZ0Mpu6c5rVAIU0sRqCiEXvpZg+llROKvt/fK7nEG8b8SOVdG4Lba
bfAYSxONRGbQpPONMWdKDty09ftOFRlKJpjHFtc5N5NV95vw9g4zjWo5VbExfatMTfF83S6NI2vq
vSDLDl5dKbBZuoGnqnmxOESROORuG3+gwz4DZRex+sWJ+u4BSU14vfqEJdzbq/HSn9wcHUSjqETI
x3ElN43XnwT3yZEJopKGTF0QoG9wTflRgUv/Xs1S/VbqQ/NplI4oP+nZWKFc0qiD6sP2y9DXES1F
qdf3zicUcLIvCzK6wi+cRfmOS+BYBuUyaJ+N2pOJn5ZNM/qqMSlmgIqNNpxcO5F0FZS6vYyVqcP5
9rhYm6nuYOMNmfOMIYKwQgPuHz5TSYuDbbIk3d+ML0rxUGB/+Avz35HKXzj1GW+4F6g6MjcBCkAJ
sHUpsk+ZbJpfSpZWU1DBAwAgj94J2khFkhnnvKyijsgoq++dq1Waj3p9gy5bZhQfKA2V6mvnWtUD
ANHOeI6XOT8XZrd0D003Zz+bRFj/pHEy/Tr4ILeh7NX32ByROpauzA1252Tl3/Uxdc6ydZqgNPPl
7o+fBOkeyDosTgac2xgzSAqniTwolCagN2vEtKucRudUprP14e1HrT96s8nWucbqmsl4yNmWKWXX
IMCs9Gk4Vl710C8oI9hVW53efspOJEP9k1qIuRcC1tsL0QEEi9/AnIW0xIf/mVGePpVelF5KrHMO
0sxbbVKAkiSZIFsAE/CnTYCmO4uerxVn4aR4zfduUpe/JczCv1S0X56Hup/eT21dfNeaMa3vUjWZ
MFmajKE+T6Yb/f32e++EDu5dVpayHmmN7eQosUAYjw35Cdi39sntFzSI8GW5MPF1zlaV6V89S9gH
n3SniHFd2jFEDRCqN4IerSeUsqm0JGzQ2jpDRoDcgQDyUzy0fYCBSfzlP7zkOoijTbnDFUOYa1hi
3jLM0pQe06pW/hxrpcMfRRp9Y/o/L75JF8o4iJB7e9dFvpIZCKCRG8QNsRBpJ2a2YUK5m/pG6S4Y
Uyfup7ff7xZjxo6iXllx6RYWidt7WOJQ3ju6TMI2iaAoAxAcP6umQLS7j0xkz+pYfFDgYP5symi+
78ZaILXW4dN6noqpCfpezbRLs4zNwYfeO1UrNxHtbjb7zZww1qFKtENC9q9r+dOkONN1ilzvMV/y
o1nazlKvgnsUi+Qha3fq9V0kktEuq7pJQj0Z1b+dVjcu/QIL8u2V3jkuHgKz8BgIFhiGbY4udtaN
t3hmHDY6F85sLKd0iAKpZjKIcihXAzoafx6ZgHNwzdLyo8W+DbXTXKK62WNqWlpCnEw7Vq+2xkDe
RsjlIKrvnEuwtQjP47nAE7fFGmJimaKKKQ1r2SkPY+YOT0uaKTIQZP39pVQqfTg4ITsdBorCVaB4
Rf8wVH792WoQvVqscUJUQ7TvGjLv585x5QOyomqYpMnwYNmdqzDhy5Th/PbH3Nmd66FhnrUenZv5
/KgvtlOoNm3E2iiuppN+Gxul+qA3zT9vP2hvb+IqATcF9DpQgM3elDkoo3E9nhVaw++BC31XgRsc
lFF7DyHpB60MIZgu4mYlMZWZjIVGRKh1mOzMKIgm58Qw2yMa6N4R4DJYATCg0G42iWJpZZr0vMzQ
j88Nbegrs2vnYvYibSEyqnWQtnCrD/bJ3reiVgUpxtzxFodtl+jBYNNHJFHM6ENbT0XgavjC2JU8
snN+iZabjGPlv9PKg4ZFYN3U7DA2jC62axFC4p2jiz50TfYemfzh39a0UH6EPoJC29zH5smg3+j4
zDD6DzVqE4Bnl+Rblo2oSTppVH/vgAr9VON4eC5Fj+ZiUVp1409e7Rwl47ef32Ius2YTyBUDy9Bf
HySOkNnJQoqwNlx8iIZIO6M1XB80Dvaess7N1LVDdju3cb2BZNeJ6ZBNZXrK0EU5yyav//hgso0N
ujZ8aojcN0FhSOak7xskGRdbXNjw4tq2Wn2ft7At/vRoMqyBTrIOgRna3BR0rZvp3TRloaOApa9F
V5/bqjgSkLo9M3Cn6ABxXDSa7dtpYCH7oYj7LAvVHv1XX++bpQ/Qx3DeRz2TWV+vZ609j0BOjqAY
LzXY683MRIq0YJ0TQZLczoJtiimUJdMiBB9krIlIp7vBqA/tfKqxBUn8TFtMb6LIiqvuSj/Wtn1F
ndXvtdCHLyXyoONpygYoldymNsOmsSt+NkWvYSLVxGgaJmAC4kevShPAr8DE/6ENOb+30E+1A0gR
5nvTS9JPjWajl9LoXlv4blUY82npNYHnX9+79hmtUgNIeRLr8sr3KmWQigXldisaXQGDuTNbGNpa
0Qduu0qziK4w06CqVfOvxaigS4+eRcjJKkkBaIrWRUzI4h+/vVduYxBLaZG30ztDyXA7XwAWD57S
0Lkeyz67Cgy/z3pV50Hl5N5BMN/bMCvXHv4vWJ0bgZw6ksmkGHMazgic+iBW7R9m3oLzdcb2GU4K
9mxz98dYXC5B5rHEWLpwKEFvQsg49JrR5KTJIEe0u05CeFErDz+4WVdOwDmbg7N32/gDrkJBZ1Pc
gWm+6eh0bY/SUZmFmltZ4pTmifkza+1IW8mAOUqx3EAXR3rldAbx4vzU4waZ8re/6W3+sZptkO5g
mLYn/5UludJFI/lHnZVRMEYy/kwvWjx0cioe7V5t7k29HZCV4fcfPHtvP1FuMuZg2W8R5S1ALKlP
PLsUwgtW/OOqoWyiiiuOGr57cXt1OrOpQ+jEb5c6VxpKnIL9FCEifJ7dsr6rvKI/iNu3+SPy2iRT
qJ7QEULZ6fUdJKSxcG7tPNSVIqhEUVwj+u++2iDtAuziIBfXdtYPz6G1aOWVbqUw4kzkilWBoYn1
QUcZQMb2XQb67bOblF10XqPBfLLiDt6xO9LN8dsmVx7HAlRRm6YiKBV8C+/sCdmwIIKo/pCp8ZFY
ygusbhN/6SyvEywgoFycmzWZYyIeumbcZTHOANcF+AtIGCYC2DL1yIM/aqgLqudmqIf3cTSbfQDO
a6zO6VCLzyr+i//iA1wsD7aaVveWrvarrHVr4lCcZs7ZhmKXndQxdSEgCrWu7gX9LyXEJ0eMgeuu
flARQizzuYjsLgebmY3dwTbe2VsAjVAEcdbSE33K11/dppORyoHPoKEG8tksTM830JE+0GB0VhWn
7UIyXsWpE6YDiMnNQi5GWnOPAzTy3HaWYYpevOZXNvMxH8WVsn0A0Inm9pA2lvbRqitTCYyc8YXf
WSuVTQeWV6DmJacoyBy1fI7ixUTUA0b67M+D2tPS7cwB1bvRrXwd24Pi4g2AE4MsLkUbxLN031GP
AGGUdq0uwaDm6c+8NwdGkYv9oxgW45NVycnwNSByqa92SZqdc3127VM8KFZ36gSUrrM2NLZ+mkbG
u3RZnPmvqjUKMxgnGd9VlTX1fpFq6t9NnUb/FHVkP2m2xMXBART7OZ2E8QMKPUKNfenV3kNUIt7s
1zQ+o4vMl/FbuySF4hPEUVoQsZJN52KAUPvoxHQH/WqalPbk4aP8hQxLyS8LRmP3MhfqLzcqnclX
zLb/UTSj5PyC3YzRQkEV3aezkWrvMrOZ/9JabNcvLgR4i7xAGkfl7k53jCoGiBZvQZP95paVdoIT
EVrg9203I81Mr/SUmW0cxGoxv1/7hE9el1VMzPryXaH0w6lnhhI4zqAfRLOXynq740A7rQUVOK5b
AH6sG0U+Sfce0RLDPHvxmNSnJuua9mnx5oaTpSdp/JB73pRdi57sAIV7JU/vumxuLb/vvcm7AtOK
5MUwJjToCwdplRwdZMu3aM27j4xN5PCPqrVpHyCURNu7YLt8UQerE9i/LgmS8XELv2dWRrX6VA/u
WF+qPp9+FMLBHgDdc61657qL985epG2e2sRuP2SWkn11a9xdIWOYecF/Nnf88r6QMlA6Z8p8BTWB
b2m1qPmlcNQeuLhMKUyWxCymT5DKOTASYfQyHOVQhVOXDngKE2Dmk/Ck9l41FuziHI99dhBMdhIf
iosV2sMxJzFYr5jfhrZjg3jOMlfeva5ikdvoReMhEu04p0ljDyh515wSMt2Dp+5tOh6LQAXccgZM
2/FcVK2A3VZx7xPkCfzMBr0x5UV1SuuBadZQicAtuijoO9JRVa+nB1S32qvRySOI7U4+wvVMOcJv
gel7gyNBYz1j9MEPgVp2mpp8eVL0uT8zi7Ke+kGdUbUvnItlHTWCdy5TfdW2QAxSXbVQN1HcATfg
GfW62VWvvERdpgZZ45mXVarx+nbOtdOu5KJiZkgnhE9906qYS0atJj4A924+9x8R1sHzN3PBYPud
sTADtot8+ZilI5L7TqMyyYQQNqSfh0lZ/jZ0xBMaxBlhO/lxGqnlHyPMwP2TxawMSSrpm2bNjOXK
tEqJuEorznlaLKExT8XBU/b2+To5I75BErnBefEvikJCssfbMFMYbgGc/QwtpV1vj8EL5yF3sGO2
kvQoE9R2su6V2cCs3QL9eoOgA5k/OX2TKPdxJLr5bLTxKppYeBbYFf6VCUK/r9GFtkb5Y7bS+R9i
Uf+JfcNwtcylhmlvYvTe2dYiq7kj28z1U+TU4/8kQDOGeU6mXNy5ZX6fUZN+Otg6u79+rWZJt4FU
b+c0tJMnTY/hp9cLkQocKTNtKxMdIAGtMB+lgY0F5M/4Ulea+jBHsd761MVWAB/MfJrwSgk6ZVTe
e8asXBZ3UJ9j2U13YFGUr4bZzddEKEeaPjtpMYJ53GjUzsBQt9X/4C1O5yVAjokj4j5biuQ61Wbx
TzbP+ee0ULSDRdo5yhBkViUmuie37cYkb+CU9DwP+pT4KWCYNEE1Du2HmEv/iHmw+zAa4g4m2Cgy
bNvTPeL9GNfZyr2ch+xECwqXFtSi75Bisy5vf/ydRBOuOqFxRWjdSjlW6L8hEsN7MUieA21BRbqS
lnFQle59rRXjzI7mdfhur28g3pB0KimpEQTQk7pZxNmkRXSNSYROSaUfYez2FpDbji44lLSdfipU
lBZ7kOh+LuzhZJFZnRVM1H3UNP68iUpkX0XAmMZoWHFvGptmFDmziNdXS2X/CDNVRXrZxfRLjOlB
fNt9K4C6tO9WntgNNKCfGLMOuXJv1mP6blC8+Z6uZfd3oSWO//a2OHrU5oNhNqMlc5xxvBBluTiq
S2sNLvGXOEr/WNmezjrXgs1fTEvBNrzeGw4YwAmab3SfYcmT+IM02gCzl+ludggib7/Wzg1BWwQl
hLWgZn62RsLfMiGl7fUMTAl883yIz525ZE9JMWYnx1r+bobkH7PTpoOLeWclf3+ku8kBpnKx8tla
vHvNTqGH4W43P1dop44kp90RhGDv/WgXgFl5QTtvU65mhdio+H3c165dPik41DzkTWc+lHaH+uwU
T1yCi3PQV9t7w9UeY+260FfbAlr5h0vfDZGLx6qah3Yy0HutFv0SW1N1sC134ghemKuwFsMtdG43
21Li36p1PSllNSr9aUGW8TQZPcZ5ZpoGlOr2+e39sve8VZR1xbBhHLCdAcMOjoaxRN0hH8bskvbT
8mvqrG9m3+thao/eQT2+s5JUZ3R6GIOSrm755qmWlopoV6xJkqBJbOFaUWC8c0Va8shvZPdRfKuX
+/OWRztXKbxF2AYhwXd6NEpLPtH1sT8MLlyjtxdxB+BloYOGYBdKHIzUt/MAyxa4ntnRqj7qaZdZ
FkpQz6V5msFlXBXNkRQiC8RaCGpPrVH3fxVTXga6VisPcUzH++2fs/fmjH1tcAvspZtJlNHw/MrT
IVehenqWEODuyOmUc0yn9gCVsnMc0Z9h56zXHtef/jrcjO0YTc4Itw8vNPlYd1V8p6WKemmXWJzb
zvowK1V2AD5Zj8CmwAYVwD3EuJ7+6UvL57cQp3aFQNheKvdZV8ZnT5b5R2YR7YFe8e4i/vaUzZvV
alHZuFAo96OdpdTj2Fr6mdekPrrQgJfe/mJ7lST4fLivfK3VzXtzRQyRWMwe+7d7aB7Od0zRrfsJ
KYrTGMEQIBX1jA8Njm0PfTR7f2lNbjpBuhhAyZroj1nuVBcQLtZpBWXGTS1ttBTvmUFqVktVhL3t
iNCLvSNri93lReJula+Bur+tWBU1c+KsqOOwM6w5dAUgGtdK+ifPK/7DsI41hRJAmrTypTdrO4Eo
zJoGEK07J0Awda+8E2Px/PYX3D0Iq+ob7Qca89srAiECr3UjoNERXiC+dCSeJHaO02CGDO4o0i4Y
8uTAimtvDV8CN/AdrqetZg7gJG12EMgNTRl39Ab1CnNYVjOPIA2//Xq7j1pFJYhv/G1bjFSET4F+
GfrRMPACKXPMNjq1uI+QbzvI19fPsT3egDoQ6YZAcgvsZoLWVmpDrYZAq7gOg6siuTLkF0RUs1Mx
TNk3CjDrSx/P/6ElDTjRJvkEybKyOV4Hs2lGQAexaKJ4UnvXCsmtk5MO8mAAsRe+KLBol5BOr7Oz
109BoV+bLJejDvAYLZBWUe9zXc8P7gBtb0NSOK5KBLhtwfp7/Rhn0Bi3ekiWKa21xD4SVQ0o2n6U
mm9jUdXeRc5i/MOAjEFqu2hzfWo7ObbXQizW2reax9pnEtB7J8dzgNOueyPxK7EUv9Ryabsz7U39
aBS0t81WEWXqGjoppLCvf7SuL8mMIZtyX46qDBe3FT+9UjfOtjNr/+HAOkD3meIhSniDJkQnq53U
WtDQqAr3tMKo/NRWh2vdl+Mlz2XpF1WVHXDN9j7Ki7Mf2m106d3NDgPZ6CWtCtxMiaYR7UcNC0yM
IM65pXy0XQldAUrWfzi6KxnepjylSbftTHk6PBodz/LQ0WLzOa/aNECJu/0pneXb20Fi5+R6L01v
nkJVut3ZRbZodZcBc1NKlJIYJ5jtg5HG2hPedx72klZcPNu9WS9XoKVHhc/OsaI2JcDTiaTTs41Q
Toa/FQ6wcWjNgG99rVXBbKKAqx4s5+5z6IHRCVtxJtvOhVlFdtJ0Fiz5Nq8nf7Qm5zJh2/7jz9dy
dYAEu6eSX23XMilQkljMkSYmSkkhw2ZErSRgUOa9UYjsfB94MTRBLD+Oyv29F6S1SD7rgXO7ac3o
DLvsLqLN2g7F+ImBVgPdpD26lPcyHuph9MsRoHE4g5swGOGL4sgGymqSrJKsS9p07gmywqqxW8uF
NuZU1s65yLwi8qGmTDPd22RiWLIYgxMYbWnUB8ns3puvRFowDKA1b5rZlTvHVlbBvi9MVT51dB9g
BMxH2fnum1PgUSysYFDe/3WQswQCiTVklXvYEdrdTGc6xDOrOsU2FA9DKDp40CJ+An0z+14yjPdq
7zWnYXKbg27L7i9ZZ+/YJgAxvKHZTdagjBxa914oKJmcigQIA7xwK21OpS0d+w4JogERR7XBcVqn
UDnXiLS0FwOogevnij1lBz9p5wLwQNMDXVlr0RtFEgtoZSutPLrPZSouLSidRyObtcsKHvwPXxtM
2qp2AYD/Rhe4WKoIcbGUfe6oydnqm+yszM0RAWmnvkY6ET1l0gmEDbc32izLyOgafCnsHARV0tTx
3ahqORCgNjrVS/bz7bCxt34g31g6nW79DUPPo5iuRLU689pQ/NUWaYi6HHGQGXPx53fZatW4woxW
cvG2c0B/okGbKlYQMUuja2d0meKbdls/jt1iGWSiiWb4uZUsf739ijt3KGk2UZHUBKWlLc6yQky9
xyCXUgkfhms7KG3oOjJ+iDIX6wskCMK5M44SE2MHR+BBKCEwEPIptzY3d1JDb8dIlPy+VkrznNaI
LwVpghYL84+Scgwi5xAOeHobfmYk7c+hdbHqchpAclAxIy56NTeVEyQUR971UDVyf4AFXQVN28rh
7CZi+igXTwF70uYgRbV0mDMfK47sO+3Fmcl6sRTppUf+6Cvum3kcwPdtv6k9zJMPnTeOuMwBgrrL
6tZ1gpEQFh+klHvXOyEL3VnELEEgbeKWoyR12tQ1LWclqRCVn538sZG1d2mcjM5zkXTVfeLlHvOf
Or2+/dH3QjMQehd+PuH5RmFVWJDIS61BxFvX0/PQGP21SKMjFMHeYfUMeiFgq9ZHrVvvt85CVTBf
VyeuPqXJxJ2ltio4VUyfo9rC4qQy8oO+4gu6elPrcMn+/wdudlVb490I8QDVU6ey6a93RbAKdL+P
ZwCC/MnzTYkxkgDw5usROl9OyqTk7aXdfWlagEQp+o0Ur69fGmdxdFTgpREy6ub9rHjtJV1iPVAa
w/JjrzqalN6GKPg7DBPIR10kA18mjb8tstJ02ZigGYN/yYiB9Gii/AMr4WxH4qgIug0Vrx6lb16t
ygAYedkq2+w65Y+lWKbAQ00pYHZnPHXMqVnj4kgqaO2wv/6mvNQq3czIbrWw2HzThgyb6SbfdM50
1jPywEMCQjm7aSRGX9hd9TGP6f55SocBlbD/2Pd4ZQyDKNU4opDHt4Vf3lnuMutDEhpGkbxP5qV8
dIemXu4zwK3RwQ7e+5icE+QP0Je9lcLqxm7SFZzswzyOxZMRdT1uKtH8QVR9dnBf7z2KqhDF3hfy
xbbVOJuxNLNWAG61vfrUZy4mQ0gVnLsc9eu3j8Teo+h/YVXmwji7obepbVmrcQ8zNpWp8iA1Rfzq
jLE/OdKYP7/9qNvTRw+MXgMp2Cp8t+0biaFQJNcOEGtqT6XjtrCMKb7k0ZSfaJIs57cft5Py8bzV
fm01QSP3W3/Pb6ev7TKZxhOauUglup/Htoz8eYlAIyuFdh6HQYJAs40LjgzyhNFV/lhjYxXMuWYc
tEFubxNaLTAP6IQAMMcd5fUPscWUjPXID4mmPvvgVZYXGDa1KbIFTmDO0vLTRgH7XY7WgaHHTrf+
9aPXy+a3NUDkSFjjIPOwWVS1A6nT1b11Vq08f7e4aPT5dbuko0/rGQJxobVGOGAqUIeDiNRLx8Xc
s3qNcRQ4dm4DrGjQvED8kCN8I2kwDwyxRurzUC+xjSjLzr72ypJesnGm3CtE/WCMXXbqx9Hlo7XJ
Nasm9T9s/VV9EYc8atybGr4zNewq2CNh3ltOEJWt+k0bhj6wcTc7+A57W59ez+qOTVv2BlIyqnFD
CwkiVV4v/0NKoVQDFzWak9LVznNJJ+EggOyuLwkMySqy03i8bq4DIzHRqrCUJIyyQVz0RKPDlcrC
8Actsk+VEZlnqyVuVbqWvLcaerZYELUH/YO9tyaTWTG95K/U2K83Hzr1btnFsOW0JnP/Vtvefj/K
vLwgq9E9mGRwRwJjuw9kfTHoBB90Q+VwtCyLhEfc1Fy2llWo4pNUsuLBmZTko0Ab+iBV27t0KXSQ
W0DhgQi6iTBVMuRGjdFtWAwoVTjThMtgOWNUVw6ZpLQdo1ObmcantwPb7luC7ljxny9t/tfLmsRk
/tmI5lDrjfO3uU56v1SS7GmyIoa1cXrUpd675RnVvHBjoDZtb1m9aQu1L90kdBob970JqRitGL9J
O7LQ5C8WjAOTPJBUy34p5K+3X3ZvJ6PihKQ8zBLi+banZ40VbXoPG8uIORXugrGGyKWmoTZ0VXp7
uRTYZoV6qzsXjAKmd7TLjE/luCTOQbm+RspNrqPRj4VdhygY4s+bb2031pyIeYhDwTzbFwgsPNeT
oh4kGbtPocoExm1waLboLZcVdoXLrEimjfGLztyXBknC/x2s6c6FRJ2OcxZjfvqI231r0PdohtUi
Ry2VxfJpE9FGTJe0fzeoNT7Okg5BqLqJ85WTK3Kwr4im+uUIutQXA5hfX0mipfWlx2b0sQ0d4mCx
8RzHDaKx+tNQjqu3ZJXnytGlvt6V28+wtuoIonvGX4I820sLjVLcNhsvUKZkeczmpHOv6ZCa6l1G
jlOReur917hQR+vkuLP6oEV5/T3uh+jRroRbnMgFqj+2H1jtz8miEHwHWHbTxpzgYYjSUgCVKfF0
mZveuCRg6X/polI/zuVyJIS3t1XIXGgoopOw8rpfhwG2iqOMiDyHOrz00NIjxIcGOLQf3t4sO/w4
tPlJoEApUS3ezMPQ+1ESumBxWIhMuD4kueR7Etnml27RG3ZCEaFmCDUp/q4Pjja/U6RR3KFZ1I7B
Avu1ezJklTtnvVhrEuid87fEsUEI1K6uuHeOJdwWUaFRfgXl7/xox6xXr9rMiT/ZbtYgfLAUxXPl
RhiK+sx03P5uQlHMO1dDhd+bBQ3V9RfMJ6bLNCPRcCd7Vy6+NKvqAXSfF/vTqOXPpax1+52aZENN
G3aI26sOVuJvh/9J/m+fwE8HWtvGzrmrSZHO8GWa+PlgJXe2LvmvjhcjsLmbSOboS14tsoehq0oj
BL1tP01dV969/ZSdO4m5IQGTaEVzbBunRi+tEABg7lJnlfrQ1lPzYJdpF4olL55gH37xqkj7+vYz
d4oIyiJCCbgQxonbCXc/1p1eVGx9dBbqYC7M4r5hBnyCQZIeBICdyw/oAKRjZulIBm9DF5d+JpoF
0JBsqp+1545801w+Y/bhvY9irxwOksSd58HboWewXoAMvddQ+lsCLSM3BlRSABGIDAmBcoUMXBqh
0LCKFaOdA+iWavbl7fXceyhDiTVlouC8mQ3i0isaOYzRfZ8q2nmZ9B9OsnS+LWukGevlyBJi5/PB
32AtYY4SWLdd+sZJOwhKzCeGtprIt+M1evNfW2ZQpUZ28AV34hZgTjq33JMvueHrFY1No47VZsV/
VA0KESqmeGAGjYOLdGcJkewEB4u6yArm3ibAJiTs2ma82qoMUS6NTnfi2Z68BAi01y7VuW6r2D69
/d12FvIFIUStSbsWbMTrV8Mw1upQE1Tum8ls0DxclEteZ4wHKXYPVnHnUcxVgEKsXAgGLJv3E53M
EkTLAKw0Y3VxKF/fjbWRFEEjDgOXvvPJ1jSX4mUVF7vpf0MBtRV9MUTooLtcnsdIg45pL6o1+pY1
trafUkb+bAcn/TstiqHwTW2cc2hawvwnz7PmHRG3Xk5GC3P5XOc6Gs9znLgXU7raX3B5XDtIvFr3
IF4NcISUqe9+aKOu/jLc2MYwpcqmZxc3rSN38r33IsnS6ezT0rlptZrzQIdgVvKwTr0WsXtZnyKs
RA4i8t5TXnordD2wXt0eL5ObyJpjanDLXMRdPSFx4xnyqBe29xRQjbDCSFBJP9Z74fdAFWtx6hqj
CEEC9o8pvKygq/ojc8Wjp2zC4dDwmEnvRJhaQAmM2U4uut2o/2Fzr+Fo5R2Q4mzvE+D5MNkhl4R1
oSrBZNAvYv5WXUzAqQdxYv3Br/NJsAIECcRw/5+41etlAzUyd92S5aEWxWkbUE2058gu3E+jZhfx
yZgs54Ly753h5MlBkX57hMnyaZu+dC6xW9kcYY+80FZnMw+X0iwxdkpV3zBHGSbKIA+Kl723BLXI
AMtZgbZbXFiC+FxJ1S1CI4Hkdk26rBsurTO7cSBKCPQ/dWdEr8AsjCjsZwkB9+3AuPt85syQnskk
Ia+9XuW0zScm0axyX1vlg7lM8RP9U9V3Oyu5K5I5e4LGpl5glHUHT95dZEStwPRTNNzwunvd6VNw
4jx5UbUlwCPe/WHB+Ix9V6+P9u3t6UAViOOHwQyPvMmDyqkWQ4eSf5hCxsZjXiaPMPOG69uLeZvh
wRgAgkTcgt9/4x2SGeXEnLeEMI2kXol632wVJ3QIusofo4bY2iR99M6m8XI0NNppqa5kBfRAUK8j
udzuo1aNy6Ez8iKskKD4ElXt/E6IzFbPBWphP5PeGj/2XemcUNgfHnJDifMgL0UlfNvFVew/fFra
drCqwdDckuljENUZmhqC3mb9uUkK5z6xEv0E6zj5/OcrDlhiRYmueeBW9gmUsd4PdlKEINMF2sKe
+lFCWfc9UXefW28oLw4oyIOh807nA4EdlJ/WQQAygtv40I0NvdsiLsJyrOqLtGM0JjRr/jDRaT4N
jv5LNoN3zdseUUbRlWd6Hkez4L0NzZdmp9E3WeuWzblVpgi9AicPWxrk16FxjSAD13sQ7nffFFQC
UFKQKLcTZ8V04//j7DyW5FS2NfxERODNFCjTdLe83RNC0j7Ce59Pfz90J2qKKKL3RBMplAVkrlzm
N4ocGlkwO23+HqPT0XFldXZSN1fqeEWZT8tT1UfxyTaTonLL2pw+CxwMj8DJt1njCmhdbewBXNs3
0SJUJ+jq2NwFeKpkwq01a/pZZ9A+kc6co1OpZP/lMDM9IygrQKFvaEDtgJbwQF6wUoixarK5XB+n
jqG/l02h2bhDloyZ16pjaxwcn71v+/fK69//lTDQ/sbXqEvzwK4k8UafGjPAvLg96HzvrkK1S4uC
OR3o55erzDRIo6IJ+bSdY5QBJMAQndMkGhz//hnd/XSAThB5Avx3I+obyxPVhsMVF+pqcza0f1Gi
+onRl+qVDtLN9xfbCcFEA+IgPdi1NFRfPtXQy3NkZVoaZJOqpp+Yk2RfVRwz1LeZaYUXjBCqB1ke
5uv9ZXeeEWofIy3iArzgbcun1xedKbWB5ns3gIAeBdWBF6a0wBI16x7VchgPuj+3vV/ESxGGRMEW
7cAbwXdgnWOdtPSazXKiu+5OzaQ2T7bUS6Bi7Wr8IGR11M5NmeTx7w5Fqv5cTFGvf3r9gwOWXYUL
ae/ffFwUldSMpZPABhD9DKW18mu1HYHJVdFTbA1HolA7czOeGyA9etTw3W+4QiMBkdEIyjO2NmCS
FYe1PyaL/tTaor+0lol1SJwhubSonYdXTuthhfuYSZHynbRuPPjse7ttvXdBV63gre2ti0j7oOs0
doIqzuho5oMuFWejc5YvTWsn/jjo3YNTK9HrpQfBO8OXAr+wAq22vY8IFbcwK5haRVFY+Looc7+1
z0oB3D8Zn8beeaelVnlw7e0EDJJUDGnW3sDtQBqgEAiG0WFUJofIt9S99cYR1REXbCctZBVUAFcJ
hVU17+UBjh21cCiUEDw1pMSDnNGehbKE/lLgWXt/7+4tBVFv3UUrNnnb0i8BtFSWQMTJERP8p6Zv
cX3KeidEzXnEQfL+anshAooSBBsa/Cui/eWDNRIs4y6W0qCQZ5zaEtAtPQCCqyOSnwJc1eujLvUZ
7THASHQHtjlKlIpKT1o1DdSuaB4Yc9t+OWndAyVidkpDozvIffdeJk24tR1NxX6DiCsRERlUifXG
qYuDeArFqUdVx6+QFzrdf5O7S63ITCb2O5STXJkXKUEmPZAKkpJalOopmzvla48P08FbvN3zEMrU
tbeOyidRbrMbuy5ynLSeswBVevJLKs+T2kOHvP9AO2kWy+jYy3CD7PSMgOCbbHyVZRAY9rCZzS5r
OXOqnciG1q/Z75APay4WkqaupMy6b+pte3Bz3l4o62+wcPyiskd1b5NRzmmPlNBCRmkYAxuGKH6d
R2l5Svne3lQ7s+ESzysX1y+0dZb0iAu9/v8v633WR2sQdVp27E17XO4jE4VBm3xE7drUNc32MbO7
9hQx3/MGkD/uWIvlfW9lycHJ3P3IHExaaHi3sx9fnsxe6QZk1gvefhH3J4Fs+qUrde3Vu/ZPY5xp
6Qo0ge3xchXgpGXSZAhZzbEUehX/yptaxfKjrpUOAtveq1SQuGQeSuZ6A+5eefSS09csFfbVdbKs
/twbc+1asnDgTc3yGRTldDb6zjjiaO0IpPCY1NkqVRmMn21F1jV6r0i0MYJmLK33c6Wnv4rRAP27
TiLGC61JzDnyWEqembzVzdXpreTERTD45twlnzoRgzVB3PHVLR1+FmMXAEek1jc4j0gbx1LSDPLC
yGwWkFtp+EEgC9n5UtsCGr5/oPd2FKwC4OPoMEAw3OyoOapzC7voNAgRz9Zc9LHsT43dd6+XAOSp
OKwAYleS1XZPJRaDd5FUKVX/0I7nFEnHzzbiwCN6Hfb8WPUFtT3k5DxCkVALDyoIVdk5sigPoTcL
ZPNWSt/Sx7zunSINhBBN9kEt+hnNMi0Ska+syoNfi7kekXIqlQRtsSmd1MXXQLJprqog/uYmtl7H
+CKkZeVKCchAfzY6u7vmQnTf+lmtoWQM9Yie4xKa57pY5uQqy6MWumLRY+0gAN5eKyizrZwLyiH2
7ra3aaB6W1RllgatrBZBkc2z39tGfu2FdrQ/dgM+2HGOCUo6tMA2wVYNHaXpxjENYsBUb6tR11Aq
Q6XqtKDPdkqaZH62jQk5Jwhu/7P7GESegm3S63cpGkZI0sHRY860iUhpnwyRYSAgC86wfzOLUfKs
orAO4t7eWSBHxYuOKTx546aZiiRxXPY2sIUia8YHw2qlK5ph9lGDYO/rsQZCmHw89Dg2b1SM9lgh
N8d0tVVMP5YT0+t6GJtOHlkHrOzbTI4GBMg4dL6Aod8obhG0J4gpE1mOqPtnBYF4LNtpWc6jMvpC
sxf//nfa3S1gJZma0eeii7N5hUM2o724OjHlQpN/oga0jKfeKkf9MVesUvFbmuGNm6MumLtOmVXW
u2Qo7bdy1kNhuv9b9l4zmrxrm5OE6KbyoGcbSfaCpHsMSci39TYM4tSxzikOdQePvbsUNTwzXs7J
jWqiDooEMiiw3gqs4OgrudwpzxM6Xx7mLcx97z/Y3kelrqR1yge9BYnEWKPIlpRRUvVG6c1Amh6j
FOyBk4T6L0CYR/De3Y8KPgSmEfUOktSbO0KtUVSn5YbzTTipuYvGYf6o9bpeX9E5Fpk3VXQPUKeK
Pi1lnDanOmyjazbX2lF/Zuc9I668Nv/RM9PJv14mJh1vZdLQ66JlImavUASOMsCt0utYTs3BlbG7
FsGV+oBRLAyHl2up+cCnxosmAN6sXk0nbU+OBZ8uUyCh3P+gO3GHUS/9JlZhhL59v9HU6jE0YrYP
WoGXoujqcyiHR3yUvTuQXAdjUboxXIV/PvNfzTptmaHtQqAITNRadRdByvkXvlLKPwCb7DeaUlZY
dUyhWj4O1VhzGeI9OP9Aaz11Tqi11597Z5GHk458/7Vq+0j2pzqdMsXVlAVbVEVHtdpLqbxbF3OT
bAXw2NZJX+rcef3RBgJDMUztjS7KNnPDc5wJM+rFgWRqWPI2tuLmRZRdMzM3Do72zmFjKUIn1w4Y
1G2tUYyJNqpTkgcV+uLPijT0ttdCR/qeDNJ81vRwUQ6O997Gg+ICaYiUGMz3ulv++kxxL1DrKMi+
calYnodOty+NFPWIJg7OQTmxk33j4gHolPwXTOb24eqlEiO0PqZAdpS8k0onfRBtZlYXXr7+DGXO
CphrNthRwjM8+IZ7m54ihjwGlBG5//ri/3pMtKSAbhSsnaDjcVoAY556I+kPnnDvZa7KWFzphEvu
25erVNqohP06TXOaojFdYE0GGu1S+tsUenrQV9jbKuBIwbZTM92SrtDUTJG573N82sz0lKhx/ThL
0YdaHSu/tOzpQBtobzlgFGvqDimAHfPy0SbEh+oJOF1QVoXud9w2X6IBerOkj9ml0IyjAdbeq6Rl
TA6GZhSD9U3aYiSZ1ep6kQcCXXo/U6fQZ0uWfqlJrx8Z4RNAO4jWIRz/GwwM9QpaKqC0Ajkcw0el
HptTGhVHA+XdB0LsgaEJIKkblUPg1cOg27S5+iWyvJne7JuqdnRXoM/7+X6Ev+2+8kBQcSBw03O/
aRVmYwU6qs6zwG57cZaIi8zAYvst0Nni0nVd9pA3ofzqLiiLImdBvkycvEHoliD4mibKCCQNqbIR
KSN3Wf3v/Sfb24WQUuhLkmkx9lqf/O9jXGCZrkKZDTRQvFDQW7dymuUcLWPjS0p58B6PVtvsQb0p
O64FVLDHKjGe6rz4kTZZ9q7n6Hl1t2Sn+w+3t0MAs5Gr0+ZBa32znKMu8CrKKAuWEZ7BAOTAk2LY
p1HFCbi/1O6TAUoGqodC7E0KiQ+vQNCYzahLknNONDW/ql3Ue0mayKc2nsfz/fX2wi/7HjY7KONb
2p2mCscqbRovTqbkZ1L5OghXVeX7q+y9QHInxC24pm9nXLWOla8zVIjA2aNzMqDhnhY6lddoUNv/
8K2YMFChMm4hSdx8K5uWcT6ZhMMoVZNzFSax5kuzmE+IP4/FwWJ7X8tCUpfBDl2ym2ZrFQmrjTRi
oRTLkBSVePISCyFnWTCvs6ruCIGyFz9A3YBMhTQIgG79PX+dMlAnME9KrrHFKcrPbdF3LgK6yTmp
O/kz+jLipCbSEWx1Z1GSRG4YKmG+3jbLYh8Wbbb2yXkBXVDlqCa7eW/23mL2kWdKBWbGQ9t9u79l
dlclRq7KUFzcW5UmyVLhmFoiDboSq8OECvqSMyI6521sPSLTU56FqJTX79NVsJPZpKGsvfpNhVOP
jhjrtGXRpcveDKWIP6RKkvmFOusHYLGdI0HdTzMMfhG1xfZTqlasO2OIL+FsxYp9Ds28eRtlICcf
KpPS5qC02NmoxJMV+wErclXReLlxZtw8ci0Oqcez3PqniZvwMg5NdzGSSepcZq3TwaWz9/kYQlCi
rfLaN7BjXqIoxxGLR2hxkpckeImoehxdtVgdzyXweE+XscK+v2fWs71pyK/lwDrW/ZMQbT6f2tjD
aGLTHjSlUr+zlPkNZax5Tix8Oa24SS5LVM6XGbOuT/cX3vuYrEl5gPTdbV9KKdshA3hCIw5hr9TD
rwfp32KCxTSaZvgfvuUKWqftT9y+aU8tKikD6vBJoJlV3Hto5NedV2t1TDOsglL1zi656A/upZ17
gguQex3FdtAK26wPz9lizXihw62zFtMp82cbD66DD7i3CjpiFFhkfMTwzQdMzQZaVE/PuymM2s+W
td1Yj+VB1N6BnnHeGPlZEH8orLYPk0b5VCOdDZBPIYnwRuq+b05TS+9ajmHqZahWlG5XNmXtKjCB
/CjSjdgXCUAT2dL6gw7D/s9ZwakraXq1Qnt5OCEnVAUIRtILDaxHNFaFV+Kf8aSI0vyKS3j9rUSn
HO8oqbjmzN38IWv652hGNfL+Nt7/JXRWVzW3HcpY7Mw5J1ehoM4zo/WWWU+ejFRK2NJm7gRdGPVv
WqXVz0tlLG9Rbpaf4xZPeVx0+tfzXAFpyA7bgfkzmkebt4I1sCnKil5vm8W/cjRnqNrSzkV0Vb1M
qdT8h61H1kXkJ+zf4oSjvAOCYpiklEoqPhhWk72NgSocnN2dQKGR+Su4OqxiedsGNuIb5hKhmx4A
PptOnWb/Wrq4P5Mq1wf3y04shPFPkOAYrbzt9aj9nSqMoT1bpQwZv63qH3pcpfNDYXf5Gxn2Qu12
cVGCeWkwvRjs2ZQu93fS3uo0fpF3RasJwPomUYmEXXc57YpAovfKABi4Tdp01Vlp5/iaNbp5afEd
OKkEsoPvuPeGaUMy0ycQc7euv+yv5x6iSFmWvKDVLWfLKbUk24+tMLvQqaoO4sjO/BnwAPAIqPiE
xO0ORcmFKNxNUZCJrg9kuW+xESkKr+ii+ZOFhr9bYpd2sWK8Il2GrK9nCVKAr5cANw6BeTvqxzZi
wrybT7yM2QmGijiLXsCz6bvE58sevNidG52Iyc+EekCbd4sGwfO8QoOxDR/K1EGNSTLGJ9uKF6+V
28XPmNue4kmOPt3fRzuMwZUBiaYz6AHKym2zsiPzrqKcG0HGNWQ+ichiKmwKsyhOoqlweBlBi6Fe
rWWVAm94Mj+kRh9DwTfMcPRmq1a+KkqEbYFtT7/lKc4bX82wYvDappCesjqMcnjWKgK1Le5X1mUU
c/Q+UeZex02orx/DKhOyiyxHlJ77tqu+6W2lLBdqqSx3GcL3PxgXNfGZYVf7BYvaROejo5jqL7mT
2NfSMJfEL5SoeldCDxz8AWnI/BftcYo7tBzESfSDHl3npoqUr6raL5/wn+2OkBI7xxHFWKgpjHd5
mdupa4ZkIgTHJA6MPGwuBU4N53FABy+X6vR/ac1AZgnLGDJOIl/vf8CdXQMdgQYOinVkntuxYRwq
TVtODLnUOq4CfCVhb87x8J6uB/oYY9QiiJodYed3Dib5Ozx6bEVAO29z6ybHMmdwYEcWQ1SfHJHL
foZc9tdG1XJUevL6Mkfl6HUW+LNxrobv9595J4uhW7CaFgJjWsETL0NQZY1pBi2UBA0h8ocusZKz
nIv2QAlkbxU6LYD4yGNwatgE+LrAI8tZsnXENlaRi4/v6Fd5OR+0F/eXYRyxtiNgnG5Tsk5wPcSg
F41JlIVbLFHxo4yrI2eLnQIFbSMCNgHtT4b58p1Fq04NOx+7x9gxnmsbP6Kk01S3QzDBryZxNM/e
fSySWfRjIO2wSV6up004RTklSXTZS3WQ2n3+cc7Ho1nL/ioOc1CHu5g/Xq6CsL8xRFz19PtQ+fej
RTa8KMsT9fVpBX7HwDq578jCt+gNK4XGDhIJ8aJJ7yN3VCrqrcrqoC1PEiD31+9vVqJbBK1KBpzy
8qniSlHTogEzl5fYn7U1iOy4PRQa3ItZsGxgAZOWgUrZrGL2w1A3IJACPdKkNxwny08Rd3sSdtah
bDlbPhGl9BRlfr3I9h9rKng3KkocNy0kITlwxTJgo4pggLlUMrZ0Qhrewxr8dv9N7iQrTMhXVDCc
DEaZm104xbY2t0WRBJFZj98ro2x4sqT7NAOUPvhoewdsVdqHCsxQ6cbZPHVGzU56PJ3x/2QO0TpB
r+a5Z5biSx/3X+8/1+5ifDP6weu23+YKEO5tSct0zL6HqH92jCR2i0G2zzXu3KeZd3EwK9s5Z+tj
IS5AC58m92avJEJX80mrkKgp0uVMIrE8CLik/v2n2vlarEI+S+4G3W6bWiZ9Ps2LMmPGrSbi7dzh
hmMyDXwauukIxbmz+U0wNmSWnLDbZMuU8Q7CACUOGLQ4epDKWZ76phjaa2VLjoG3oJleWjbpF6cR
5kHI33tOoKOQNpgpUZdu7q9Sq/CNwWcomKe8zfxwKpSPYTqltS/H6nK+/1L3ak7wBCBTmHLS1Nye
ASmPwtJszDLI0TA8KYsW+pk8525q9dJ5tNTwmijOJwpFPJCN0oGUrMS+PWQHR3Fny65ubPg/cP0w
Klz//q+6Aa35JmzTsQhytYoeSpRwvBms+tkoHJK0MT3KUXa+8EoiXAPcijHaPrYqV5LeJFYZTNos
t0iLJPE3eZbUzreUcCFzScy3XRYn/gIh8d/773znuADyAzoCVoXx2va6aOyJyzzUi6ArgPjxgUPj
XSRb/ZGG0k7yBziNvA/gP8YlWw67WojekGBpBvk0RigTj1BjuY9PZQfIr0HS2+varrj+h4ej4wjm
B6HTm8I3Smv00FqlDPRQ7h4LvS0e2iltDsrrvUejJoEFSxsOvM/6ef/aLuBQ9TqTljJgMmT86kah
XkPFyr47daXBpomQckJ7ODvCrO99uXWkTGPEAHy81cUFpgJ8MYxLuuLZcMpaK0F0U50O4GI7AYBJ
DzQDJkJIOGz7YyGNb6hHeRXIWl3JLjAe7XubdtWILWV0aGq2cxJoSHPy6E0rGK9sgnfTk6GNUshJ
CE1nuNrW1D0zbRm/dY4Sl76lAZ308NkdFPCXy1wZl/sbZg8AzA+ACMXokoJhW6PooZKxa2ymOGKG
nCIGPZNdcGLtjy52Uoz4GqMW15GwEbtWFhX/arjWfxFxN/9setVO6S33keJKcK3Dg1t750twY3OE
FEBeO5Ar/OPREDT5aRFaqnJkL2dLy/UrlY988Bp2AiApCBPwP1HphhAmAeE36YHl5HJN7RuiGp8w
RxywRlut16FcHwSh3ddOpCUIAf24dSSXjDyCXQzyY3DC/k2XmsY7cv/GPuO2utjnZJYlgX/gnMl+
h+SzGWi52X5EbRUVd2uQUvlBFJl2BYOPnOX9LbH32ql21nYgtDQMtl+ebqmOp0qZ2RFVahS/pGSB
2y4h8RFOhv56mDdvfL0AVhvBm+avpNr5TL6BPoGW/DZC3Xmy22E8azQfPr/+oZhtQUOhBblaV718
qBnGUJioRh5kS1b5i5wkVFcIzBXqYh3UI39K3M0khkn5CjalCL9NoXHZNJY4aYqgz8P0n6lsxft+
ykXoTpmTPSiTo19MOjCmq6cF2jt2ZZymnvbNq4+PQ2BhxGZTIN9iVVKllJy00oqg0ZRJ92AWDpkP
1m0FtS1qeyQTerttHJr1ZBBrubeS/V6+4SobRluOQZdba9issiX/spjmD4RetVdfcqzEhJJ8FCLs
TXN85FYvQ8TnAxUHLdeQQ/HQVPkR/ub2kmMVdJhQtcQh9yYw0iaftNFOGEygv/uZfSJfSeKyXxp4
O8uVY3M4jTIa8wdf7TYSAQfD1YnAB67vpmeUcWenTTojSijM/CNKwCqM5qp7Yy56E11GLVHU8/2j
cXutsiLFLD15eAE3cGWrainQDD0JpiTCaXvqC1+qLeUgwu69TnYFLIsVB3GTdmkVwa5jXB90TR5d
26pSTksx2G8SvNXOlAL9x1XO8/VHkbE9Qrl/Cj/+2GQqcUKhogiq2SQtVTcLOXrCGWKPRuHysUXZ
9vfEtPRBGdr8jAhh5NZwxsuDT7r3golyAJHWaQ5J4cuTUdv6xDthmEMnvbiEsRM+krwctUFu+34M
DeFF0qkyQShvwzb4jkXB+iENaklahsuS6M5V4vL+FKlo+Z3VfpRl+O9x/gEAbjJ4TFLbd6/fSSAM
6bSq7CTizssHRbYv6gs1hjsQjtGDpkmKPyGWe9D72zshHE0wm/SvDPKjl6sMvOShx6AmUO1IeEsx
D++yVkUPPYp+pjlgl/sPtRfXCOYmPSyAwzcIuRIVF5x5oA/ICsFNajUNV5rYfuiRHTvYKHtnBBdH
ZUXIreXYZqOMhaqx/Syg3XFe+4NjADFHixSGiWXGq8pyH11FuQxf7j/hDkmbrgjk3ZWjzLW/rXmH
RaonuaLgjoxmDj0boI03z6H8FAF5/W0UXdt7cOaVixFli+NSK+rhqRHCfovnlsR4p4zsX/d/096Z
WT/uysAlK95WpAUKiHa7jHHQTYn2M4vs8p0+/gdD1/WapgsFxBII9bYWlGwJpkbLaMA2+jCwJmRY
HHVcns1WPpLM/zMQe5kV8GGRwCMAMq66wXNSCyM55RDY0yzJMXNFzeGpKaZicYXWdGA0sgibtMhC
1uuccoV+wk2wiH62URXDHlG7r6NZD2/lvi9avzebUbvYFlueFl0vTFfEla64SDhqzGBmULFnu3eM
E445dXeRBrk+1Z2t57QTmuRbrznT4mndyBxAmQXoLUdJKssT4HU1d1akbjyI/jufc5Xsol+KEtWt
UCqi0+R6EgiKuXI+KUNuPucIsx+UpTsnlUXYw/h8EAu3ETDScrXPei0JIBf1Pn7hzARU0Twa4yQf
3Jk7MQhwLpiQ9VPeVk1qnNVLs2Je9ElW0JQX09upV+NnSwj1RynP40Fk2F1vnXWyT3eEvEarRDLf
4o6WckQSk8T8hg5nfh3pXr5Fwdc+uDf3Phe6HNSF1FK3LAmpdkbUMWJ06lp5YD6nzCcY6v3BKnvf
i+dBi5hO222Tu4mE0lUwL4N5ydNHZTBrv5JUxYMaVh8U9Wvk3By+VTKcBGCVDueGenlnVOgx4kIC
wCFujeVXhtakNzC/v85DPni1ZKdPFk5R7/r00LRq5yFRTaSeWqfytPPVlysrvcJwUUOczKENZJzR
9czeJEXafs9Tqf/nftDc2SWAlOgjwPjilW5VhsxWW5BWXukE8pKcsXGoem/QmRmXWSe1blvq6kEB
t7NRMOalqmLuAsFuG0AzTRPlnNRFIGKp8syx1C6r58zp/nPtvUPoBLQn1s7zjUORKRlwEkVSBG2n
0+GO4iTAqNf0AKUdSXXsLUUOBYyb/IJe+WajoHs1OBiNFgE6XOIHjoJR6DGQM78lcPT+vf9YO9c9
gjCAbgympVz4m7VGgrOeGhimVuqUPyvztLReWHTqxyRUk9KdVaVCLbXKD2Lx/rI00bCKU5jxrN/0
r+7dsLKT6wUcbWvP5eAOhJXaHePcOMWzLhlei2pZsMiTc2S3t/dumcKA+gRHTpa6ed6FU/L/NKJp
Hkw/wV/wU6nhfFrMsvrh/qvdW2ptutJXX9mI20xKygx1zgqLq6AvDRRnEJh3rVrPT8WkAXe4v9he
cOG+AYUL9uZWdWLCInkpTPw45Mkwv3b5rKBvq3XWg5m3xkMqau2qwB56TstUPyIF7z0oLWboWbxU
3VK1lx9TBzm76D1ZhWFDe6kaXZzkJmnOSWJHB2d9L7r8vdRm3+TDlEf1rDA1tov0XKZ2d564PX4L
LcFzqInD149aQUDjKvin+beSK14+myZ1TZ2UuBAMyvQ70cfwKe+SI7AW9wz/zeZuWC86tgutIXpx
mwiNEErCmAHQVFjHhv6poLwRlQtbXoKXO6jyORdJZ7lhqGa9h5iOMXgxCv6UyxBLsF4py8KzlEFa
LmZjm7W3RIb8Hpcb7avVFZHlwqxJW/wEitnwZT3vzHeLyNrfGRSl1LXt1vkUZUZZXh0TuYmLZjdK
dOrisupcCYHuIFcUXN2dIgtlLy7n6bcplzYOLJUtf1PM0lH9CJTk+3Gcwg/ZaIruNBVqWfumOiPg
7qTR+CTNTtefGyfVvtmlNI++ng1R45W5Jgo/Z0zj+J3RjIOLia4kYTQqxJtZ1WrzoZ4GsO6TBOTe
c6C5/jI6CssPIZ02YkZoZspFrdsO+uMi6NOOSM55S1JludeHkjW7i9EzkhfAFvFEXIqyewPhCKfh
Jrfzmuyimn8WCA6icE1vCWRKGc1f5mjOPhOlLPG2cyzmUi5Y/9z4F7HJGSmITom/d2mTTA9FrTuX
YoQz8iCpUxedyOaV1NMy2c5PoZxn5kkuIh0XCT1SNeJaoklepaXJGwFeIPfxeur+R/SYzUc1nxP1
FElSCy5qSsvxc7pQ5PjC1ovynaia7mOdNuYz8npR4Qpzmtt3i1nHtZu3pvhmG5nzazLFcnZmPKzc
IUHo5yopZmtdSrkpUDicxvHNkJVq9jx10zi58E8j26eunEjvCyOLfFGMcEczZ9LFVcYbL3IjmVvv
hEy/lfvKMuitV08mzoY1vanumsmjUrhRXje63/ZO8lguUzdg/J0539Agm2yvn0vjc+MYXelagHXs
Z1WapsColSlHWRjOrydz0czXMa6WBtkHu9AT7E26QnF7B+YURJ966v0cfFTzoGSxifcWl0Xj2mPU
/9voyPy5YS6ZDXZ1TJy9Dhd5+bHuhfFlkMIYAJiRll4+lIgqmhkzancB5Ra9GykmO7ewzUb6Us6t
anoR9OpAqjvxUUsRuX9XYrMrXHK2dGRTOsv4MCdN+3lcOqN39brXvtaNKpQzQqtm9RtLSrXwVMw0
jhpIO3cldSH9PyZ55B3byrjO5gjGH0QMYyi0dwBxw09O49i/Cmrzj02n/NvO9XJwndyE9JWAgQQU
FyTJzo1SepfZk9XAIMBOZ0m8bsXa1YmUnhbJ+Hn/4rppGdHhR62ZkhRtTNbaXMgzbX3ZmKwiMDs1
/27PTvE+0noTzJGT9t9q9DkvQ9ZVnLxl/gJeN61P93/AzaMycqKOov1IusoocRPh53TuRD416EY3
TvV+jucFh8Zwomxrs/N/WQrtDKDdXClblEQ6lmXkyBABwwm+ZlFGAnpCbZxVKTyyqVp/9fZCIZtj
dIiCzS1HIYkFYEe7ZN7bTM2/q1vXL2VgUvb6B1q1cbkhV82gbVcxStB2A8xP9aSNHNtWzKnj2XZq
/FjlY8XBpty7JCl4MT4FcreCi1/exXpfa4tTUkBlMPWfnESbLiMD4vliajNpa+Mk84M+lsqpkpX5
6BTubROcr2mLMW0GhLLp+JUN4DtaRJzCDuvIotdb2VVZ96GU+v71ariAaMAFoMsLdO0GTlOaidzH
gj6qqsD5z1RClN3Plw4zkoN3+gd5+mKjrNBFrkreKL61N3WNakpmhSQrA+00Tyd/bZg+Lq3T/RR6
af/PjHXuK7mwM9Ut2rZ8zsw2tp8XvdYkv48lOz+Hc558l8NSZmQ7Udje32E333z9editwURgNnqz
w7DsXHTsSosgDtvSw1Ode6QTk+bntfNjjCztZNtz7oVheUSgukk1WZlKAXT5CiFFpvPlbquUJJ6i
ZigoQ8L5JGllccrrerwYmSWe1MRYjvorNztsXZCKb6XvUjVsIyHSw03YxCxY4mocVIs8c6zqD1BS
8oMm1Z9As/3osGgpTBhE0hJc3/pf5ReuNwsIXYtJpCrC0VWnCMT2rE5G5Ota33Ivho1duWQsK6uy
KRskbZe0/UfN0uq9jInTJ9VI9MUXC4z46zgglu2WidHFV81prM9F15kTRhB19g9wgfx7roZgl5aZ
xzuNaqWI09Ro4lc5S4h91mMIuAHBVSXHOq9t1S/s+aF3007M4/s2plN3sjpIpUzZYNi7pD0mTTVQ
et+bKDJml3LASjwcRlPH5SocezeqcH95Q9jKPrbIQIWustjT1/sb8ybA8rXgDdKzRgEPfqT68hWW
ZWzOcYmsfcKznkwR9p+NRMpei6tbV6ELxjgTBs5NIJCtFPcrOS8COe9V4lwiPbdFc6RqeQsBYxnm
U8QvipDb6VCSprmZgykNhBUmlzwPpxP5juzPSTrw/ZXQi3NVfxsnfYLLnCH+iVtLezsxt/bvv9Wb
XGf9IYwByfwgEcKCevlWzSmU6WQx908yfTlhRkSwlzpm07I2+5ktsScJjgfHYS/GsBxHQcd/9IZa
x0lzxAo8oQcSlf+LjGJ8SKXItlzqS+sc6pX+D/yw9DlElPuIcLd36NHzWZHd4A/IgF8+MFur5pDV
ZWAOy/TYyvkI3izEGm10juR/d5dC5JiWKqvdqNukUk25t0KXEKO2aXBKEUwVxALmTNgHic7OZ7Rl
BqyostKUo9//8qmoIiJtQa8nWDqnuix6Vgd1ZpknhVGDVzdx9ShbYXmw6M7z0VBCHQbcJBOkbTLS
ao1JZi6KAKnt/h8NR8pL0g794CaqsI6QdcrO9UC/DKkg2uE7ppc0zqggRjZNS9notqOhPJhtW7hV
lyNOmCyyC1w/PbXZYP+eGBX6dQLmLjPl7ppCorlIpTAe6IL1q1qlcMNGPlIz2smsGffSDUKoSQZr
uLnAVuUgZZ65TxLDAj6FwGNBsESk7oy1Q/UJM6DumwA/fJ4zNKJQ28iX6/3TvPuO1jEpR3adOG1i
ZGMDd2kptQOhZuajPBjvMKhAmXMqYErhcHKQy+wtx1yHZjBjy1tpw9psSsHEqQhqW5E+21WH8IBR
oDxaj/lJWEs/Hyx4i7KhDQm9BbNJMEq3Q8turEsnL3owq6FZvwFHFJ2Kvo7RXTKy9DveRNM5b/ra
8rTSWT6FfTo+wHWqDnKkvY1Pyx2KPlXUrT+oOkt5W+iAbAqzSx4L2E/o9o6N20tFchCfd18xzlnU
aeRigMdeHuwil0VjZ1MR2LnZn6wocS7opeRXp46sx1601vf7O2jv0ejt6wDjQKTwjC/XU+O5niZz
gA8bxd0/rGQID+Vl/bMxjq1+8Dn3Ho7tw6Fj4oTe6ubADJhNR1hYZWgt/R9n59kjJ7K24V+ERA5f
ge6e7pnxOKcvyN61yaHI8OvPhV/plQfQoNldaXV0VutqoOqpJ9wBd+1USeeLIlRxKREm8TprjP7D
w1Fl44hJS5Nduzz8X1lYphSpFcw4JVSclMscFO97ZxxPMZaon1//Gv9eaXnyv1YCVaKEM+nQrWXI
7AMLS+l70XfDP/aoYbr3xagnsEZaCJHG+syrDS4wjkJJODVV6Zbg+B6zpsVVCvbbp//wVAtmlG4o
/LZ1sjDBe8WMF3RUIhftLbY47H5pE98GbNikg1J32WmrlHmBbGtMDf7ona1eYUqrTKZLlNy6KOy8
wdam+6iy54NUZO/tLcKapObGTuE3NGast8Bh0ametU/JHKWnsTXmczU3Ry2evQeiwKHcoLJaZoPP
90SfOfSTBIO6JsxQJaKdfAO8c4Rg28mt2Agkr1wDTLvXQxAMuM1kFLiNQdhEF1VuIle3p+Zq9GZ0
imzas7HomwsJ4VGo2nuVZOhQOMABbvnkuZmBKuBSQ5YrieFryNMdXajUy8a0PL+8EXdfJTccKBEG
thvqQmOOmExFZnYjvYbtPLVoavbWEbhx97Yhm4LxRU3MfHB1naKvHY2NtZQcgdOdkiaZaZTK0YdJ
m5MzyWWWuOgjtSctnenUDV2DYbFVHnBTtqhh7ryFlQJ9gYtvk7EGHXqeFD8ZXuKtGp4SNTBHeumJ
fu4TpAgAldg5rGAJor1bFk7dXcoyR9E4TXFspdrOcxcoQXcl5z5qeu1tNmIOv4yeyRasXfdhUgQq
Q4ACuPT9YAqGGKYlvc3j8ucQjPIPB7G27z0jh4ObY28DEBooHqjTtvReNbBNSXOq7DbKvflotUP8
BamSI2mqvayaWx7wDnw1jDxW3x8zCrVIqzy/WbEV/pN3Y/jVkdrJVUZI7kCIRtcZ0yN3971jxCMt
mjwLIHQdZFsdCx27Rc7JyA35MVemvHIDx2p1F0iW+vPlg7T3ARcFOJxBbPrda4S0WTf2LOcsxo+B
UqvFQ3VBLyIgP64j/YImUPRmFPLg051uDkrtJYCvAvyCVaa+hOROx2dRrv7rjoyqLESUk3jIQEl/
LxTp33TMnN9YcUXUwF1fH4wyd/bMs/VWX7OOArV3lhF4myl95hZqO/10ZjXxX36lu8vAhYZHQkqz
ycEJ/9AbIy2Fv19Kj5KAr8wQ9yCT2QtNCDAsTEqgH/pGK52vKTO3xMasj9S+v0NoiFYSdu2mb8aZ
qfiSacaKaxSdqbpR3daFi8tOnPk5fmOvHkcjWIV8KwBfyk8Oyuqmlq20JviRM4oy/64ZKS7Cdmd6
oE7L19/WWJtggUBMxhVkPTqQA73Wkhahya7Ly89tadO1KkrYgdlk/ofMYPmICFoug4oNgLdnuK91
GY04G52JD5WVGk9RUgW+NfbWQdm21w5amoKEGpoSnPxVaoANSCGZDapqRqN3cE8mtfudp1X5s5ZF
9TAmSnBWskZA4sdD7QSFsr+qWtEpLl522sH+3Yk/7CjcekGeoULhOM+P5dTUlS0pJMmqGYVfunpS
PGMo61uWhdPp5aPy8lIApZ4vVWJz3M8OMKloCmKv7DrhI1qVv5E0CueXl9oJ5fAGUDKkD+Ms+Jvn
SzUaZsDNkpBHqQJmyYKfMEZJfHXGNr0IlNHvpugIO7GNBCCXgAuyXynguMGfrzmqsWiToqaVPgY4
sAWh8ZG6UT7SBN7GUZZhM9IAWvLydcmmRaFlzA69xL63p1McxtpjM0iFH0iF+RA3zZGQwN56KtKG
UILZtHRknz+WmopSmxXaPnFUKW5TKcGjOkTpG1XrTfBLGOe8/On2XiOMT4AaDGWXHvDz9QpzdNpG
wFNtgt760ElK+qaVFXGwynYvYhKF8QQjSY2MZl1GxTq1vIkowm0g9f8HzdzgnHbR+KjJ6YFQ3PbO
ZSUK0IW9TXWzrgNSnXnWFAGfg1JS/TM7uCZ5VisbFzsYGQqgW3o1DGavsY1h5MEx2HuXrLlQP6h4
8KV4/i7BccA21gDVldgqXZtxVB7isTpCku7tkL9WUVdfTA+iKJ/Ugh1ptPLbUJ3ScxVN09lUum8S
wOfLyxtkbzn8FRfzAjLCDQIy6UjMYckjdTxVrVcMkpW4GFiE97HZNZeG/+ZAv2zvCzIXJeNVgJtt
JthmoynBACvxVitidM3IAmKDhgJSf2PwQQK7TVOyT75h7O4cxbE/ln/PsyZ6TuCi2D9L0b+p78Dz
dxRU+W1IphZsiEUG5ba4gStez3zkYyVShSgqg0TRgu6Wjp30AGofIyvMIL+Qz5k/kFhNa9ce8yRH
qCroD/b3llkAKZdhKieWlHKxIHi+yWw1NQaGDRD8wIK8D9MyPQ91H3xEw6h/wDN6vgPihYl1hqWI
yG3ZRbNZ88K+sR+z0ooODvafPb1+YwB6+EUUxUTj1c8xZNBQcdvDtoXQX7idmQe1l6Safhvywa7d
LjKK2Mf8MJ/O0lBWpW+PKIC6saJltgesSc9dO6hN2wPMi/N0qLRR/DZJ6sby2j7Bj8zKZ7BXcWTT
4R/bWpUPHmE5lesn4E4mByEkABtdDsDfmbKwozJ2zPzmUPuddJpI5w6FITihdv2oBqj7OBlCcVM1
FGiw1kdatjvny8BgE33+BSC7qUgw4XXwS1eLm93X0tMg9+1ZMTLjUpeT49ETOpJ73EluOcwa6osU
JnTS1xGSwyUVYYjBi0gc+Trh0+cJQ/uij04pPGOaZ2ySqhIEAmTt/o0QRv4ZHtT42rcOQpdTtoj0
oICxuVfLwsQnnmnmFSfZr6LW87fQ381l7Grc1VWdP2lzDQpMnrMFj2VcXw5qm4SF+dRCEYaSu2jE
r4crPJiJVchoXh0JLkgJbuyJ2VH/yOhhPOcqFqc0T4/I13+ix7OdhmD2AqDlgrKgIhqrmmy0ndlO
5MS5Ojqygw+aakJSaYZUT+91Y3Q+IzdtI/KUdbFr1rZ423eVbLq41ieRnyLr9UQvT5buAmdicjgH
afihYPO+kU10UWe9me/JHtSj+mOzP/nRiBIgtkxnF9GtJVz/dTxoVI9jVkr2tRfRlwSDuYtuhem5
gervtY0uDrLWneXIi00Ip4Dft5weTAGbYDFMvaLWOL4PrKbxmBDj/z2F0k9b1B9fuxEgowJOoKm2
CHeuN4JthXKv4/96LbVCY6CVBt2D1qtfpSzQ3+aIVt6BBG0PrtRNNoQjB76zeL7SudXpWT5/pWNe
iZ7ayLkCNpquti5sT59QFxwGxA1ffr5NSsJStOlg2TFMBGi0Cm59V45h0IxsORMdP99GXS6808GA
/PvyOtvPBlUBmtBCBuGFrhXheoPTRK/Kuoohs/1Ez6Sr1QHvCeY4PreVUA62ySZoo0/FZ0NQiZky
7dTVrmzVwRa52thXowvrd05atncCQMVdaFTlTRmd3pWssnxjj2idT1p+1D7fxg9kOih20KKjr70B
twg9c+S5VaxrrsnBE9IO2TfGlh2rGoXxHWFDLmXHEqH/8lvebhyWRY6Ly4IEaZOsd3WLajwci2tk
SfMlBV/sIS/qnNESTw42zs4HhaBJEkbziNHHeuOEeYjqoNZLHHv5EwBt9TrEsnXGjrvw+2rMPr/8
ZDvLLeYfyPUAF+fkr9II1ArzctFFvyZmPeQudK/m22Cn8ZuxzBHiH6ZX46FAR8Cc4yMy1l8mus/P
4NRAoKMT4FztobA/SKKS3QTNx6/AzpnuKPXvl59vZ8MsgpNL6U9YY988X67D749aVXGuwVLRDXBt
30xppzxpkiXc2lG66yxr3fnlRTeZ9PKMCBUw6VnY2utUERoK8JS5dq5trjvhJcTprHKdfIF9zKCM
0isijtJ3IyuUH2Vet0dOxdvYw/LAMxZVtyUMrb4pWqzdYJqE8pqHPk+2lt4FPORB12pvFf505Fm5
xzmMy876636yE03rgtZ2rqIW+heBhuitjMNX9x0NNgsDHwNQC9z+dTs1D5sxdCTIs1Zc0IaXGvXU
VelRNr1zvp+tsnpjdq3rIX1+RNUmpzkJpwI3HGiyS9fh6FrfeW3ghNmT3Al8nXXADku2vR6iqGu1
s/CVblKvWmcHBwFrdxU+DVBvlf73mvs1RpUzSGT0zGfz+aqMKVj5cH61byEfh2mVxRwHYgUXwvMt
oISKkosasUctKT7PbZBd8lqJPWGZw0HWSvOXP+t5DkeevmAy0L4jLq4hA2ouBnWMsUxuBtt6skoR
fu3Rr3hSZjlK3E5LkRiKi1gf3aHMEVkDF6Jmn4vegFIf9J0JEjKKwPXqQ3yHoAeOCzpNyadIypLf
qRrCAeFIA/ddmGTpY2yiHuZHSSf/I5eR2blQNdT3VmsBEi1o6+EsmfT6Y2Tn2eTmOv1nNyWlxcRZ
wt/DAnUbe04b9+o5U1qhfiQpz2XXQIOnPyE/bpFoZrmc+KXAJdDD+JVZ12SV5ltzTguZmkeyspM0
6NxsTqfY/+p2KlewF0Lum7Qe9bf21FEbNeHszG40iHl6Q5Jr3BtNjWJkP9ryj3J0kt9RpFnvoPiG
gT9I6M27Js4nv/Q6K95nGZJzl4Lo/4RGUlD6g2mBv5Q7KdW8HteXL4lUlN+bvssdbzCM3PazvgoG
HDCt6GNqw6zxW+h3Jy2wh+4u6EbzEUf4on9nzrb2oTKckUK8CbSvSQsRg369tgB3olQ6DZ02hq6J
GKN0TpVYPOTj0MTekErp9xjVqviuQPtrdK1GqZ0z5thR4dmOJACRxig+QIIZ0RzrVEM8YXKmCD8Y
W7Xy9CwX+nVuUHZC1Cn5UiIOL7BhjOC5SPHcCddoWtt0zTTqJR9amdV5Sclfri0Z1RPKxVLqiwDG
sG+Su8l8KVOiDdFyC7+ZaoBQDIwm7d7KrbF+lNR8at41oSb/KspZ0bxUIL3g9kLM4q0apOklMUss
NkIaV5IL4KX+p+Jj994wp0HiiaaAOKLbY/lutsbBco3EEfWdpKriN3IEWXStWZLvocKocY3YTpy3
ZlKp8lPfm/RnqE6aBwIuOgrA4SogWVZm/cAhJUphSvV58j6AXFoeCFZsT+Ey6l+YiITlrSxGYAOM
0lFSvnK7G9/6MGg/c7X0/sv352YVyIcgrzBYIn/ewnWqaJaYhGOZhj1Q+iZBReq7FRvOQSq7uwoB
jHSOOQ8I/+fRK+9TKbAkM731xF/gMnV3A9KT3b3yWYiR9BcYuIMGYvS5ynfMWCgynLz4NrXhcK9o
TXAyzKI+qKv3LjCb25hSkfx0Q+6ZuLxGzF0Qh+mG2IcUNTO+7xK/DoYjp6G9pWgb0K9ZlN6Ykj9/
bTgbIj8aZ0jCzxImShRsYEvi9ELx2BxQ3XeWIjOFA06Da2e8IatNORiJkK5B0mpeIur8XAkzfNDa
3jkCHC1fe3W/QFbCMoArGcPT9f3SGiZmciDBMcbQu5M5yenJKI3sh5SH2cOAGWJ9kOhvth8pEy1r
vhUrMphaZaYZfGG17IvgOlvN6OfYVPiCwHTUttxdZhkNLTL+WwWvFoh1hmcsaRoJqJ+JzvGcGgt3
G4UQ1xxU/R+jr9M7c8o1PzfD8r4X008OZ+aHs1ncDZXaeW1d9gfHYicvp3mNTB0lB0iEdfbIYAkf
mzm0r41Z4V8QOhHwfiGfWssuv+uTaVxIY48ANjv7iUUBhi/euVt6bEAInzPQ2NeOVrMfICBy7ucQ
bEAnWQeBcrud6GQv0xB66YuC+fJZ/sqOp9lGW9Co1KsShlnnRuEYxJ9rGf70UERN/KMcgiNhiO3T
sZ0YzTMwYOZKg+/5kmEBIXdseuUaj4Pt14hnngIV0HtSiKMADap9fVxYhIqKv5eH3IBIKjSdJ1sw
WEr03hYnbKPNsyqHgem1EcoN7jRW1u+0wJH9nGZtYruynlv2WSuDKvGQ9Lc+qcz0Qp8OYBz44xBC
LAUwNHLPllbpppraCD/q8DLHjrZUn2I49iPmyiVpHhrBenqWmsF469S4Dl+yYmq/Z+C2fylJmn82
nClULw4teucqh1gKPGiELN3LmUhzoTqj+q/Z1kZzxkZj+GqhEDjdVUgDWaeAduC3AgegGPJy1szn
Vsuy86wMPSPBujSs60Idr86Kk0y2b/YogtxLXUOqEqK4o/uGnsWOJ0tDh1oFVjDBKSpH8MIKKeL3
HOZwiVVGLhJXhUFg+LEttapb6079oWlgPZNq2GAaUPizFK8MOjoMaMNrFhLgfR250tiWgSs55qS6
ehamyrcxL80SJHyTwVZJteSnEddx4JEFpP+EjMT0cxE7zlepsiGyOGGR3TeKE9SXmkyn9DLdbKJz
B+n+Z5orQXbujLF9r6RVl2B+EJejW8BMy9xS67SHYZ6H+V6rnCh8dFLJ7r0AUNdXY4hNktnIQoM6
d9L5PpKnIfNtNF1ar5drDMz1Lij/bTGlxdOvRCfQV+IglSBra9WD7WRp76EyM+luMobarznL8+9p
22r3GKyUw0nNwrFxLSsJxV2SNvIdzpty63ZODhBkKKR/VRP9Q1upje/T4Eh3aa9mP7u6EV/rAosG
CBDvEdApuyDW77JAcz5MqTYlpyYsu/i0REPoy2aeFG40J/0vPrp4TLRuVt6i9G+aJ1vtu+wdFlg4
mfZQIGtfqNL0sY9HKEd51vcXKZli7aQHeYs4QxU7T2g9SQIS+hAzSDHn9pTbahJdi04LSo+Up/qe
ZTCjXT2ujfbcOLOc3llmoP8qx8oRPqWjBLQtIvPxs26GxjqmRnAWclgVntrqXewXTReyBWRprCd3
UMbmfQCXfzEALzXxIIdUD25bNIblD3KgpS6egzDPx1lq78w+m5075hOoN464wD4JKdI5Debwfi4D
57EpdfnDFDHgvKvCNovdvDezTwzisomvqYf1SbS2HV4aS2u+w22B3VXBaex/hOo8KH7uCIXyI50M
cYli2AF53NSpO7eijLxIsavBt6s+vxtjpap9grD6vlUiY37jSGPzrS5N56eFKYF0jyW83N5HUUiN
IYVxeT9EZmSfwjYZwPyMWqa4MCLapzrVMgiNcMmlyyQhqwXJOHA+4bw2Dh/QlOJVqgk7nPNJkH8q
SSHaDyiCxs27WS2a0OsyCtwbX0UFVz+3XwLkyoyLXszVx6qsxey/nA1urj0y2wVSxLwODM4mG7Rz
5LqhmTH1F7E3wnlEkbXTT1lcQ9CfG/PUl68m0SxLEk2AGy9aXWuGmVUyIATIANY+H4ZzG+OVUTV1
5NOkqK/WbMV+ryfTQb2+yTqWRYEYLqqdTPfWSWJRlX+UqWEGjk3wuVNT/R3F3ZEQ2ebG+7PK4tEL
XoMe3+rG6xUtxt84hDcxitxjIqp48PDF+04vj1S/lqz2WXr4Zym6rIvwFzJPq/uccodmOFrKN66V
PnaHrsLxpE7BL6K0ELgt5kAAnMrsnGpx+PU/bJo/cyuG47RAVmuXMb28pgNHhYOW5TVVa9Fk18dT
ZrUoK4xxKnlcBPL3l1fdebkAGBlTMjOh6bJGb+V5hOjGsEhhVLH9kOGU7QpLSr6jgnrU1d9bikEJ
HxBPIj7mqv0G/7ctxuXlzrOeev2E3Lai5YXf4Uvx2q4lvWCkUBFBIOfczp00O2j0McPpQi2Up5jM
975GfeEg6d4kfyRHYHqWQ+eg97mt+QAmF4t6G6JrsLVCOelPtsFAJhaF7jqU8ge1xPYF0mWWF/0D
xum0ZFe1xCBH2M230PTDhB3RSrJ2j/rq7IXQnQ9e4M6zLbUyL4/UdiupbPWBBC0Wk7s8FPmdSIv0
VGdtexGlXHkolBwOb7XNyePZCFxU0BSbYJafp7VALAyzjYf0prdxNvkCgUcJu2ote5dLyVz/UpWU
3CjS1IHZbBpNb4sR66c+mhTFnaYE/RuDzXXXWYtV88tHZBvlCOEwtjibizryOigEepT3kY6fsJTZ
DW5WSvCuCbru/X9ZBZg8H5jp21rUx9Fq2iGpTeezUytfQmz7DRlL/+/Lq2y3EAdjAW8temHMn1ZB
xmhhu3F7oPTQRAHWiUHoIuwdfWy7sT7A/u8thUkigZS+Ptpdq6WCFNOCFP7ELWjV5HEaM+NdkM/D
6LbpOMQHR2P7jRavVHo8jJlBoa5RJlBhNScckDtVzVT2Bi2Kz5pSH/FTdh6J+2eRPuMmQnx41RSZ
zHQuaeUn2OpK39OmyP1RytUrQqTDwW7YroQ96QKLZAaL3MK6s993wuiqAtk43Sjnh0BM/2bWhGt7
rL3aLXvZcdB8l/ubGdZ6RK8nw9ygU5qi1w6TuC/o0EJok1w1qo6wMZup8rIUD0MzDljyBpTSAuyS
0YTmdi0RaQy72vrmQDs9Z0htfilL0/zEI/fXKg5h4Epg0Q6q9S0bZfkBoBbp1THVxsf3eZDpe8so
y4obaGotMV7yIjYdVxOyU52sKigCV2NYZ72rsVz8ZbeVkvqtw8gBf88AnYIstRG2aSPTckNFMl5N
7ubHMWABtEMA2DphoHjlaI1Bo1IPE+VWzaZ+oSsvXUpcPg8i2l5+SntEZTKLEhsb+vl7QN5pIq3j
Q2C/C8E3V7I3ZmGm7jCAA3GjgFFA2cxHuIy9zw9qFPjJMjTdUIxbLAPQXEc7H7N044TWApF8EOZF
ox6/tIzmPiF8PXvpEF2U6Mi7aXuhkdJhM0KLDKzxJohb2oDxX0WeIySj/IRxmuSG6Fm6Qa6lqYuF
jnzQ1dx7x0CaIXiBQaH/t7yNv1pDmBfKgdRCchgNI/jcR6HkYZsTuGk75I9dlcxL36M6SMi3YYOn
/P9FSeieLwpDnxCZxKRY6JVfDETC7wex0MnFoTz6TsQF9wBGcgm8EIlXewggsOhs6L23flRphtDb
fZKD9OgSWf6UdUK+GGosip2LmObyWf96i1rUQZYOeCCmZOp73G7zc9MbhYeAlq645ZiblyQavkpK
czQ32NmtiBUBtuGWBCe7KagEcEoxTeFNpGr/M0T+ama9WmG4rwLadREOc8S7qrCsf7SpkOt7dEyT
I3TwzktWoafQG18caDcKF0qvCfjTRYgRuDkB3ozCsy6VR+THnVXgoyzoIgKQsskr27kcyXTp9SfI
FNw7wxgZnpVU9tHu3F2HNiLiQc5iGLDaMsAyxtZE4A7KdKzgqZuFTxm0wIMzsLNlQD3iTESP31xm
Ms+3jGKnpjrkknRVu7zwGNQ6eHsrMz0job6xq0T1IoTl34bAx16f8VAdmn9oN+Ax1pe2akRyH6Nw
fIvDAL06QwpOyLPbfhfO0UF02XmVtGQ57CiQYO+6xp6EWj+oBG98c1EveFsPlvIDhlxysMpODKOL
wU9kqT8M7eevco5F3EldEN5KG1PJkyJC9ZeRmg6SP2NW22dYK9V4LUNqnYPaaieQ/R8lizkXOKk1
AC0r+rq0VaAa7UC3zInS2o+nufLHQoqur06JyYNtggvisoCIViFmUJo4A8yGlnwV43lK/VAAVAzj
MyZH6n94LC6EZagG9mvTT0/7FL3zwAqRNAw77FWyyLybIKIyVo6L4cilc+8lMnShnAKIDPN92UR/
Bc+hNpxaipv4lgoudwuRJn8QgeHbsXQ06Nnbj0tRCmDPImNd92hsVWntTJ2phYsgfKS9OF0kbfj9
8pfaYquxgQfNTMYCsobh0eqBSqc2BpOs7UZ1VJ0SLa3fIRuF/3o9aKcxaYXPrBcr0kQyT0E8GMhz
Tq9Gw/AbFnUERN3Q4CE6P3+pUWx1iRyQmQ9yLq6ZJpSLNiCpLsJmOtgtey+V070I8ilcAJudKcWO
nBQoqqZZ1N7ZYzJdxtSOD6ilu28VMjIQMmZZSLisnoiGIhNQaAQ3uVJUPypV61zO+exacOG9Tu4y
f0BVzCtRonHrqcvfiUB/NYNpeatQQkDco922wUPG09RnoVzF8GnL8hzTAAF1WQ4uyJfs4K3unQrq
eGInpHjQ16vzHmGFXXVNjan7GOIZ1k2WW49j/X1qDhEOu0tB9QY3R221yV6EpUW6AdH8BvM+OalI
o/naGEOGjrVXY1eRWAFpyeGgeQBBZdU/WRTGNCdTcoj2Xf0B4Iz1GXUSFBMcMzIPitPlDa2SsgVO
wXLM0BHTWN2wEqfb0gt0XaSs7c+yLHfuvPCw1TqRLnJR2T9fPvc7r5H1WO4PEG1z7GWpS0JVRjin
q+Y8QoFYbR80yrG3YLaCg92xc+WhILMstaDHNyzdXq8GiAsL75ExeeIb5Ho+MglOgXpCmvN/6Gly
QeXW+vDyM+5kLZBUuBHAw8BeXfe/ZKPUKhRkydzVcj7VahUT3+TsSesbGaHbpGEw1clPRZYPr89a
aGSi4AprZenUrM7DmOcSp8RAB6EdRt8Io8jHIDE7jfmhSfBeqGGP4oW4KDRSPaxCTWNOyHllWIsz
4dWFa8XmeKpUZTwnhWlC4ddUce7M0rqpEsArvxxFZ94LR+u+vPptL6khLUcaqtvrqpKMOMxUCY+D
oKsfIyltPHpvzHrT4FeqYukrY1/jjyNUs5cX3gnpLGzCjlnEzzdbGXt6bapMqqYoV51H+OL6Y1sl
8enlVXYODM1vIjpCT1wd9rLJ/7r4izAT3FF0b1UGMx8VuRvOajgtghqHSqe7D/TXUqtYgGFob42M
H2/tWJm+o8yZb8ndUedo53Qs9sQ6FdkiMvyHWPjXAwFzjapmKabTYch/wN0NP6lweC4VOcdVT4o4
gUZoFMxtza749PLL3Il2z9ZenQ9Vm/paprS96WlenNDmshg/0TwleihuzLs92CJbQv1C2qc9Q3Nm
Se3XiLVSJM3USChLgf4MI0AEYXZN2tT+QvMKK8ChQ9PKbYD8+PIUhDy5k2kPRljOj0gH5kcgkL29
tOgW0JpHiBi1lOd7KdFnvj6+fDeufgT7LaaqjyZYhsrVtaH7+Pp3Dc8dortmABr6Ez/++s40AkfN
AdaAuFD1vWDGdo4S1JVhOsZ+poyvRgrxppErWe4VQv1mfukgYwQ6daIbHjvVLdL1xkssXfKj0DQO
eo97O5iKlKyRAtvaeGyrkQiGSMNSV6tBVwAXDaJ3g1QinB51QF4GK2SEUcdmMPogjdLX72Gyj6Xp
SljY5jzgEabRQFPwJsezCVRH/JIn9G4MtereJVaSHWzhnT2DKgueLtyhxKD1laIMmj1lwI9vfd23
b5GO0n+LcBDfql7qjiLq7loLvZSGsrmFmNkG06DORE2ntYzxoQhM46oARbt2BhzLl3fn3lIQPkjI
DQYAm5uyCGRmDwphNWr76M0sDfPZDPP+YyIJ9fLyUjthlRyXyA2ZhY75Op1Li8GUy4A5TTYaydsR
YPAdgI//8J1IS3lzKvSpne8UMHQWtrzMnET0bWpa4bUAdh77rtEOHkjdOQAM+LhuKWfgxayPtoSO
XBIg9XAb7NmSAC9XVn3CGF13ziMQm9jT6jzpPAhn4KzUwjJ/BoWOym9Sa/L3dsadmdKknMBrGkr6
sclH/pOoHUwcUqS+Qcw3C/nfrTEZcDoHEmErz22UrToExDCxn5LecyJHin0sh9jwYZlrvzC1HpKz
bAS4EMStDXLn5a+4s2EYrCy5P0yoZez2PHaC5uqAx8NmQEtVnKB1TScH1cmnqBnevrzS3tvFNRI4
IHIaFFLLv/8rcEp2GjQ1muaIsKjIG4PHvNijmV4waigxastzT+vCEUM+fPBeXnnnegQmzEdlrr8Q
IVfP2FltHeRqibFYn+SnhPfhijQdLkkbtm5eyP3Bk+6cDBCujNt1bqQt5oRZ94RzExjoztTDU1kG
81eQ9c5BOr735f6QxpcG/g4sQo2iGQxjfAtmSHpJrw7vpQF1MtR3jzL/vaXAPmNiBIKUOn/96egT
GmEo01CozdIXcVifIYpkbgpj/+BbLXnfqnBjqrig4CFbcZkv7/bvXTLBvJfVAIsWPZGGi9lq4qsq
oWTlOWUQn/Mxyd/BNa3C/3AOFiwBomAkcJvZthgUaw4Tm3UjgIGQpsZveTC+6QJLvH95N+6+TG4d
YElkEJs+AnNZALGGEd8sKUyQmwt1D8lR3ZuU8ijJ3tv4yxakl03HYnPJtcOf8ccUIwA05Z4JYfZH
FmSyZzjh9GAJGigvP9ofZ6T110Pgn8QIUjXbZXXSMBQzwXYiA2QNkfGVoYP6RYCcfSeDav1iVHn0
ccwEDj2xVUc9cuyB+rsEO/HBhlgje3JnSZNHvoNRp9WL4oogQTe5doNp3oALanvuEqv/0RuNXTH2
FCNcp9EQuV+rpXGvz4V+5Ka3M2Ghd8CDIGrEP9btSe6KXkc2JrkVnd0z6Jbyfyvq3p+lldS9p8+6
Tf+nVkd/ZkL0SRvsZj64lPZiCVpAS9tpoY+uz0Nj2KNVCwt6/2yUXzQTZFmZhuMBlmbv1IF6YrbN
l1tkoJ+fOkhCbW8syA6pngqAinFzGeP8k+OM4g6wcO05eCbfvbxZ9s4BTdcFJ84Ea1Noz1SeTaAD
vugt6SeUI+WxSpPoTs3a7qBhsncM7IVUTApG82ldH8whDQoSLtAxsyx9tyVd+aE1WRoibjaXD0NT
HAmO7V11DnCcP4BDaIKr1xk5mHaYxmLbHdXVE0di8pwYw6lKsnVXrob2s9ZI0ynL2Lsvv9Tth9Ro
ZsG2BPK/A4pqNIgqZUmkbp0hO2HDPACatseTjb+sN3aYWorciA52z/ZxWZQ6Hk4kcm4bgN4syGCS
BONOKWiLO1XSfw5mqnvZHKq4HWXGUxOUhq/if3nQF9pBS7AyJ3NRrGZmsT4d9mRodTzgK6KXVfqV
gWtmuEM8z1AR8RY4wUuG9JzUKQoErSMNxB3D+Rw0TflGYOykug0prOo1fRYdhd6tSg9zL+gICxNC
24FkIYKuqhSF1DNGYn0Gy1GAY0JLPfANpS9+4TJWGrALpOSpmdriZx7OJER6q2rfUkCjs8vkMM8O
LrltMOE3IXID34eqko7a82OulGMpZR3JtJx37Z3Wo3Fq1nASX96D24NNWwH0FhoFewqNVpEw+i5J
t5wgN269lNqRV2WxpLqd7uRH1jJ7m48SDkQezYhFeuv5M3VKHtudRIhOo1i6zzNDdh05G08Uk/Il
l7Xp3IWlfq+j8XOQquw+J8UU+GTUSzcOOtBOYD52QK3ApEAH6EFO14JrTFIQXnr5le495CKqDeUR
dN+m3yK0JslhUpLrhVF+jSCAxF4ROJLu25lUYAk3BfZnETTVfTKj23qwbbbxk9EL6QrSfgseZ50/
h0loJjpf8Ca0qfGmLE7fWaEVuXM5JBddTaODO8/ai2JMVeluo5CyyPM8/6ZAnqZYlItRda8lj7Ha
DiVE4KpoIVrUaMDjzZjXfFyYFd5c2pBTMyaWP6zUaeyTZXdjeYWiMdXvUXiDMTJrNuzZaIiHN702
t/aXPh6k9kTPLMkfZ0stiYodKBuf+s6Q7mozHYML9sNx6jbBpDh+pOOBdx6F02invAfjip5rUDQu
rYpOg1TQi8fB7JMWw6jARPpLVYL7/H+cnUeT2zgahn8Rq5jDlaRSB7vdTjO+sNpjmzkDTL9+H/pk
SSypvDvHnWkIIMIX3pAPUA1qd7G/0o12Y19N2mqly9Tmc9TIRA3AxQ4NzH5RvxZOirToOClGvUOE
qUx33QI/wneKjppZzLuIrYVZDCsIyUBsbKDxpzDptIZ0A4ge3y05GxPiTfbw3QJ1q4ejNTl0OLuh
4JCn7uwEVb/gJ6tbooPn1ivVGC5qL2BlTENu+81iDXpY9JHt7nWZJppfNGo5cX4Ts3lQMizh9xJF
/PZIHGd8LqtGlc8ldI8mbKdBfVHp8Ke+jOwhCRcxasbr7SOwsQlJC5DwXMsA7Il1z/yRGEwNRil6
w5ua42vml/RagrkdzXcZv/uHHTvDp9vjbexBnBCstcTp6WgyXICjSq1ehNKm2UNRS10JTO+pRNay
8CM1Nn4Mldq/loPb3HlJt66UVZ90VXWjU3258SUqFjzPYArmLDZCalf4LxIDH9pRiDuRwuZQq0EL
lybiTpeHWtCRb1O7AFPgLeWeW7oLUJaJHntc0m+v5MaXQ0GGJAR1hvVlWF+lP76cBU1/KdOB5i1y
FoYvOzt7JdOyD2JyxXerVe+h+Nc/eJ6FIDlCOZhCJqWcq8hSOMsAMKqF6Vw6leUrUdziXalwX9y5
lrdmBvecQvhK4rxSxlJtadMrwUF8UbMuGOk5h1JrhU/ZcSCDme9Jpm19M/pvcFkochNbXNyLU2Si
mO7iF2SoS3PAOKoN63zoXyUN3N3tj7Y5FLJfpI6YY1AaOv9oMa/poFZJ9mCrcniMEUJ/0Bqj382z
bf4fO5EsgCTHgAyrXdpGVDNQyiKbWMWqMndKn5t+GyfdLjGhLPz9rNZKF/1Xey0xXMxK2PZkJA2S
0XM5ITiojFN2RDAtikgykXS/PdjGDQLnFp09akC/pbfOlzA1tRlpjdXez3DzwFg8V/rAlqWPDEVz
EEhlv6OOcQ/8cZ2y0jOEiWQAniVrvby3mqJGW1UlHionM/1OW6rd5abWun5nTZiI072I6MfYUK2g
uXr251iR3t3g95qUCyaL/xypZLoWiFSeT91RO94d3s8HWGYOJamqVd4p3ojeapO0xROKM275GkNY
7lD4B50f4OXTfC5VtSS+SFGmufMpNg4qqPjVKWot8NLEPv89k1bqg53WSIVPNZJ/yEz6XVbrvpV0
+c4W0T0+xkaDbPWGgFbOJqP2ol4sgMfLBA6PkCnRM90XszcdW7m4ftYkTphbbX60nbrZm/ES7/Jl
ySg2y+hhcXFFvb0JN+5C7OspfgLWX4lwFz9EGyw1LV2ezawo5NGJrPSDV5rR/vYom/OljEzziLY5
kooXB6uj3Yn8My4pmbviLdzS2+NebWLzjhZMP7jVyfEa+PvkQUFnoZ8S9wB5TArsh9u/ZOPeAoBF
WY0OCD/lcr6I9tW1g1bDwzRPcYimIZeJlS8BVuL3ql2bkwaywvLSBVl7vue7quzTKC2h2T2YUWsM
vlr3rgXTVe9+ECM272FQZp/rVFpHK5mfRuTxSfUq/dQn/T2t/42rZm0TMm3uaoDrl/tbtwlOloZZ
W70CtzYphke6W/LFlqk8kIx3X6g6TPdu7o1hETCAW8ZzBKfzsjwWC0GFjorqSasmXAnrxU20wEDK
dN9BV6oCmOxoCPWNi4bj7c+8MTL8ObqFa22Mv3WB0micuLcHkXsn0xLOXm+q6uSNznRQTCi6GVo/
OMxU98S5Ns4SkNnVe2VlhlxVAw30RpykYtAUM4c9GJliZw/UOG5PbWMHY/lFS4bqBLXHS5YVAHWX
PiHy0RnQ1VBpszjsTGPfQ6H++7sBqz7K0NxFFMcuw4l4WRKgilyIDagLfzI6/UXEmX5nlA1EDbrA
zGYFIzLQZYaOD6slcFZB6BXHsjEYRau8ZprbEzGNcar4i2xs81kFOb8yopoW9dmkr+OnlsJO9vdh
DZ+OG8pDLIJNe7FvEJiNnEgV8UNEsrivUS34POaO5SfOck9fcGPeK+sYVDIPwBoIrEn9H3EvUW8B
5g2Ut13hsFp50TLzzmna914vlzbINK8Vu6ZZoo/pqg0RVFk/vPdEZ/y4vaG2fwjRIg8S7JKrvqbb
DskguaEf0GiIcJSq0wDrWyP1KZRFMBh7bd8nzRzoqT6HZTrpvh6Z9s/bv+J6W7MaKHX8ZmxeO63N
bW01uF8rJ6k2iDzzexCKcm2Uh63yzgnanDAbjRuCF5gtp5+vfFOXZjLElnLKV7eywIjbzPDT2sAa
tgA9cURWQBeHOlGVzHeiwUr2pRV3Dwghw2u8Pe2NRwKwI/OlMArxD2HU89/CcF4uLCumd9YnwLbr
xv6YIfb2royb4b9MMVJsnBbzdS66+SRrtK53OISahl8tCRpdt3/NdXB4/mMuF0ZTSZ4XGCN6pVav
ieWg6DVqs/PUZs0YFLPmIjgEhcxz45cGXbC/vwoIhQC2cgIRUUTc6Hwx2r4x5ID83QOy3igwmET4
v5HR33FwIPQr8sZ7Nw91tEfQb1W5U7wH1kKp7twC1xf5CjUnGoJW6KyGa+c/IzPZjLEt44fccsSx
tOxZCZYi7eWdca7DTv42afyKW6S1cvnta+F4iTJqsEnMCTKXk4HLtGq5Xyw78RFFUz7c/rxbZ2w1
FaG07Jm8yhc1iwSltMX0Jm63slHCfmqmQ7cM0kdqxLvDu9gaauXlAZ5heuT350tYuUNcuSN3SmYp
qR/T1Atjd0Glr0Kc4070vjkWmEyQgquJi3nxuZzMqsqqyuMHkSU9ZGBAkVavTmDLrHvtts2hVnqA
S0ZKE2XdOX/c2VUOgGBKbERvCzX5gJiM+bm0x+Edjl/eP7c/1tYmXPHQzorXsSnHnw/VRwoW7HYG
e8scxp3ZRMreyYvyTmTubg2zsmOAkhJMUBM5H8YoY6uOxjk6eamc0r2Tmqp4niGlxy/C0uTXtMsL
LSidhe7z0LTiLYW5kx1Q1KvyIKm92gp4IOYUDJ+XfSrnqc/28UCt2G/FrP6YOp5Ov4mmukccqEtz
zF9EYR46IoslHJaZymWf2PGv1My6xuctwoomMdIpC+qucIZQ9Aocx8Wx0iTQKbb8qiDakxpY1vSC
R9EU+VSIiul9G9VsZxVRTBGMnl6RM2ad4xxjV23NYEgSu+JJLYw9mhtli7SdtLtwENPk7cj58wFD
BrBEz6q+uJ8zLZ/KJ7x8BWrVyGLuZjPDa7HHKOtYOFUJPsRpkuy45LbxzS5wBPCjSsbRLp+Gcjk4
xaj0O03UyHY2alO4T4T78zGOEez0V+2Xd4ZSg4meR0V+6dyijE6J0XU/SG+9ZKeoTf6st6JFZWks
Ec6BDinkToAhR/cpSlGH7JA0qP1e7eOPJEzoTyQxxrN+r+P35leVNiMe1XfUzVLFrN+o/afZnYdi
4xyABlqbpqpmUQG9iF2ilHawjv7NKTPH4pF3HUvfIgbysVBtTu6c7+vuBrnw6g7DU43shrf+mD8O
XdR1tRFXXfrg2XG6o58w+YiGL2G5qGKHwkBYlQVagk5yb+DrLALkDBWItZZmQaC8uFikXkujc9zk
wVTz/EuG/cLXURszxNh1V5ywFuYtFk1s35nvxiuMJZtFkWYVZYeqcz5f10gi2eYmVd6k7t+7LMoR
6fn3o+kuj5ln/kdbUzl000AhvpbtnYt7o2dKOY/yMsQgYAXogpyP7lmLZpZCpg/IiFYe+lpDc8Cc
ibqUFHAQ+84c6gfUIfXeR5Ck/AbOSL5IwyOZRLM19yetMw5pIsfj7ftwY8tRqVgbTS7v1xWA2inj
ckk7FdRUjZUmTyf5YyancKIpdmd3b313rA25dMkCeFYuNlyK/Jq+ZF2CElFqQyldZFB45U/ViGs/
k563o2d8rzO/NT2uYFODkbLCmy4ezCSby2J0ISrC3Nf3XCDaKUKU7ClTtHuq31tDISdKEkl2vmom
nH/hXAA/I8BiW2u0Wy16P+HQaQO+2NV8uP3RNiIc8mE6yat86er/cj5UNHou4BSTRyybI8OvCy9+
GmU9CNrumTikUMPUO6dnY0jakWs/cjWnpGB8PmSMVQu2e26M1ViT7DAasD7Rf4r3XoIoWm5Nyp0D
s7FZ1iYvzQsIWdelrTozRioY6GSnns4TLaePVVfU38Bl28HCNelb4zz/HzcT4GRWdiVLQTO9uJkK
4OCOPXnkjmkrg27Q7ffKXJE8T30RIL4sgqlp/trBka+o2dSq0bBCLt6+GNRGwtAdbGK6yaoRSowp
STpBxIFw/o9PuEYjxKjkpMDgzj+hFvc1Sm+LcjJwpvZpaCSBkdVuuOrIHeq0UHa3d+lGDERRHErP
iiSmDnwxXpRHZeaISTl1edd8c9xKBm5u3dso6185bzutTGQq73TTqIpdHjslHZbMyV3lVPSVfhhn
WQX1UrlBX3fW3x87OoTwc2w2JSn9xQmfp9mThcdQph7Xz6MC4aM0vH+yrHV3GHzeU3XaOnJ/DHdJ
KM3AMNv0h8ndEy/1k8TSDrNRidBKCn0HOu1euX5rJQGj8ThaFP+dS50xYST97ESTd5rNZfQRpqsf
0C01Azko4g5Wd2uolX0M2XkVw78sTs0NNA4N4ctTP+frXOrmaDYTqyhhk9/ehb8bWRcbhB2yAtDo
717XYfqOs5U7CcZwlV4dbaTGJaCCbDy5NO+fJzUirhvzzst3eFlnPzpTdqM/UnoGqCRnTqRpzO5y
FJWBmndB8mx/VFNvEZ/Q7TXFzsRMRg3Qp4/asKwX1XrBOU0/uFVufc1MUY+BBTbnMSkq+6NTL9ZX
1FCJ3W17KYx3FOWcaM8zX/9oCqNEVHNwxXNELhR/dwk8Zx/eB/Ze6QSwLJh0LUlDBwy76o9K5Hp+
YwKR99H6F+73fhmEuoPFGn9LcSyZ/cIaVfPkdpU6BlGqDv/kejbKA0I41hfqcTxSZChI5RsJ4nWm
osW5Pzj9DPZgdrJfJaVzOke3P8ZGzEkZgn/W/JWHZN0Xf8Sci21ndtqg6Jzouf1YjHkUzhpK62uD
iOSDpFkBJPKzgOJ75+xu7DiKrjCHINgjNXN5TfQaAZSKHS+mGFa9H/k3wiLpqffM1vR6e5JbhbAV
RkCIi5Im461v2x+zFI0iwJkZyknBwe84k9tCEVPymfiaHagUs+LzeI1Bl9jme7My3tC+aT/c/hHX
88XRBXw67QmTpsxlk6DEDlFaFZDEUjReYAPjDaLOWT4ZIl/uPNXX9/wq3rM2+RBXhix1cS2WpVk5
sU2reqQxdCS6VY5F3spftye0NYqLOJPLEBtVFmsBw9NUhO84O2pP9TyaJ1Rs9XuYL+361kVuCWUe
wCf2CpC9CHTE1KJFBM4KtJ4rP2hAXN7yYVrsABm5YgiAWFNCRxlDvCebFZ9xF1gOcwotNl00+w3y
avpfNnYeYGU1+TRjI3Ac2c6fby/Gb/TG+aVGmZWWEyp8BLdX9U3KNYXuVmPygIB1/1BTq5l9VSbl
r0Fx4yNpBUKDOtTAp7mKB/LecvlULvm4azLFCa3BUfeDI+33Q2Ivp9s/bWPj0a1BmoN2DT0O62I3
JHJJJ8xhEFJ3++GAzWB3tCI8bipbK8K/HwrWAJBfnXwZobLzc+YqLm2wAlkVoUg1VAuJ50LVRrvC
yO/KyG1sP+DoMDF4RsByXjb4K8ICEHHEozGk77eBEmrp15QZ80NkyPHNRn+xCSTJa+y3ViTfA38Z
Bh+0j3izKWuIJxEjfTGZ/WACCaPaE06Lp39vgHhhwexClvGRYV2mfRKrgtKeUre53w5G/wkLx/Sr
25Vj4hu0eY+zPmVFmMWRtpZe6umbZwHGDVVLypdmxWKHhr0gqt4rGqqoZTmhU6bFVmNBnlKNN0EP
hvJvUVudP/CG/JrGOnF9gbC+TUNiztpAx0Akohpdpx/bZPHu4Xc2dsgKqSTDphpNS2j9//+4HhU6
XnmfoKtSuukQ6NNS7XRg2x8mo74H3Vk328UxWZvwuCLQccAa5GIzSq+wjMgj/Vuq7JsmjeSwKJYI
3NLoQt3t1RcPNkSIJb3qp5WY7+zP6xwGPiAFB9p9iPHQwDyfqAbiwJUFheHOyNWw7DwRQkNug9jz
cBeGFwKssb0nzbM1ZYMIf7VwRfjw8lDEo1PmCvLgD5OaubuO/stJ2P2KpZNj9FpF0QwoJSqjQ9LU
1BVa2QERvn0ut+7QlbS0xsn0G6iBnk8cqZxx9iI9QvVa5Ow7ryhPtIEi79eMc4P2n0ehSfoDjY+T
ADWZHnF44lFcaKMru64y9Zcxz9wv+lJZv8yxHpFTdAaK98uo3EMubC0XzQig+9SGNuoyrQmKy+mi
U4ltTQtyAjwZItUpMWBD8cr2RZrqDtydZeqOjR0n6mct7U33zpJtXC9gqdmpwGXAVasXIUOVqmRG
eUd4YnhzMOp28WJWovlrSgYJEtsRxsDKVL3MyESeOz167cppblJ1DC3FS16nGEXQoJ7rTt+jr918
ur0XNp5TNr8DOQkyzXVVJC6IMfNeRCcjx/oz7JTGPvTlMHs7cDreR5fm/ufbI25cL8BV2f8r+gZa
1MXm67UI6HkfR6eOC7ElqN4Jg3rBVOTlndrZ73rsxfVCLI+iGDKma7Pp4gGy8jbK01kop3GylWcz
8QrHJxld1CBtpuk7G27BOAAsEgjkpirnU55p6feR2k0VKlXTvaHRb7Q+bDvvZ2SjH+2biq09W/lo
veAPMo1+r7WZFiyaOiF8WSpqv+8GpbIeZr2haub0VNB/aj16LoEejxMxQNTEHm4GU/cqxxRDU32e
ImBvud58ttKeoipJUlJipkIquRuGdgCCEEnxnXYLUkn6pJifBm2hudQ1XvWi0Ck9edSzSFiEYnqv
RCXqIw5mmhaag2nXz1zfk/hApwqUtSuzcgkjrQD3PZjt8sEk5FYCt/JyaLhlpXTHNK/QsXerVktC
Re9MPNawVjx40FGLD4T+AHr0ekYronO9yQrwCHBEkEpdlVhgN/J9q4qupHrq0DxNCvWzhEvyUSLr
1PlKogzPadE2MaIzXMnBMoFurEvP/WgYJFQAtwfnnQEW7Iur9bULcAbR6TCtndbcJ3RNwbkv2bSE
1bJMrV92A80uHC7jLhCsy+AvMY5MfltFiRu6ie1yH5VRIUPsaDIZwoZQCwRZFg+CyVQX8E70WFF9
J2+qf2FK4MuEpGr25fZmv35iMP6E4u7CdEM+9TJnHzphufT+rJNKMXknFD39p0Cdea+WA4qSkzXt
sSe4F3dtJDir3Si7njwOTvHlG5MIkhnL6uzTjLoYKklma6JzZdazRU8SgL9vG138s+gMDM+oTrp8
Ej3p5uIRwlLe31mC6/N+/mPWq/WPcAIZIj6O4sDuz8s4rPAk3NV2q+8m9a6t3sZqg3GGrk1dixbz
JdHSsUsO1qibJ42bMwDerz5Iq05KLCwXb79wUJ6FgbrY7W+8MUFwpQQxXDJrw2S9Yv+YIMw8kcpy
ME4D1+YhstU2RNoAbsZ4T2l+YyQSc6AC/I9ZXsq/psJGpTzDQkaC3Q5bYWWvQk3Ux1ZayT+3J3X1
LvxW1QOoY60wNt6Hi0mNStoMeuydGl15XVjWB23sP3l9iobgYsT3HoWt4XQaazwIzPCq7atVZg0s
KcPnFI+a3ZIIMyCY0AIvi4zALJd7HpxXK7l21tbMhLgTROSlyCtOIYkVqQsYvcgpP0eDiMBXKfic
NtWi3JOfuIph1sEo2CGJwGt0VWjFJTC2CmQFT1aeptGxAkdkBUWll7tWt3sZLHOL396AO0fMLZkU
73u5VHfE4rYWmHjvNwvS4uG9+J6LTjsCb1Pn5NK2fo5n0ykOA2jTlti+qB4brtA7kcVvbZ+z15dp
E84YaOyTcV6lZCa3dwmwxzsluWv3x1briyU06KFBDIamMACqwjOk0lILDpwnKyPUxBD96KtRPwlH
Ql5O3Dz+3KTJCL6h6fMean0h7tW8rkI7fiYFGNq6IGSp9V8cX8VdeH4U3GBbYIyfdFSbfzqD8dcK
5OsoSB9CFQP6SdR9fp48HbYaPhuYvlbt9K0pZxuM1UyPP0Yh6fPts7s1o5UmBqSP8sPVYaoNb4wW
+hkn1E6mHTGxfEybVA9vj7J1hBA68eDbrDJDl0eI6K4sSVbY1dmYBzleOAfqq40fedRUbw+1dYBI
6sGFQFvhJb2I4+yxx3ERAPup1yo19h1rMP5peLc/SFlGXwtQCQl2R3FH6BpNIPhs2ibznQxg6wAB
1EN5bKXxM+nzD6hhaoVR1uyeZvCBqycoZQPIYP2QUcitFPWEI+m9eW98SEppnFpSAnNV/D4fc0bU
nNBct0+kNG5YVWV7NBD9P91e3d+Qy4uDSoZFnMLlxIV42VYzO81VMhWztxiCVdOH9dKP3Y74IvtY
IiggdhmJrBtqfdsLrKNsJDzx3Cq6FxRMgdAsqVW3AQ4oivWtwxjpRUYYofhAxOM4ULVFzO88ZHGS
d5GT1P+I2hLK4yIRxgpmz4l/DKZZEmMr1bJHbtfrA9XCHsyMFEy2JP4VmF31mlGcmrGOvojKyX64
Ms8/YoVtuCHKPrN71E18goKxa4dvqjODMZnMcfxvFGZ9D92+selXAWSgH6ugAzWD8y+ijoPr5CPG
ZY7bdQdNjft9NRjKvhZ5tb/9Wa6CGeohtOZ45VE15GG8GKoq5qSzFZy4Z2LtADCI5/dmkoWQQpaD
pZekTMiI7W4Pel24XEelYkmvk378FQqDEm7eWMgmnpDoUfbk5RXpAP2bj7WmaQ8poWQcVPT0nqeh
td4vfV4+KxQ03gs7z0724MEhEaZuf/OQ403u5HMbx8Fi1dGrgcbPr7u4Bni4rCVrqAXoil3/FynW
8mGOp/b/WXfSCTgqOgnxZfCcGb0j0tb1TkqNRl2GQFAdREVidk8OhAZ5ypS+/q/NcgTFb6/9xi1H
KLI+ECQEK3n6fG91etE1XTZEJ4DJtHo84YXL5EXBbGfVbsxq9UFMhbcTWjy9YtT71yhYvjzlB4JL
Nrh5td/w5Z1zlPU9gktLnhrhpYGSFeWx6GSDmpVWPHVeKXe9HPV9U1j6nS7F1uwB5NGP8QjJIESe
z37W7KzQ2pQI0HW7L6ucw3vLqFWW3kGtT+ursNWK3ieBHIPJUe+iozfudywhec5WURh+wXry/4ji
me/sRlURncyVvYtcXl+9ZG6RaaGQi/4yLbpSkSF27c9sGRM2Xu7821qJ+QiiY9QQTV6M6ShoZH6L
IpMgpTLT+GWCHd3c2SZbV5AH53zl9f8WBTr/oXOX43I9ELpWadd+m/TMASyQzeThoxGPdx75jSMH
1g1yO13HNYe9OHJOPE1KF5MG6KBa6ZQK65c9qfLf2zt/Y+3JnwAIANOlWHO59lWiFaqi1DxA+WIf
Ud7SPiezEHs1MhU1EO1f078g9tIPWxEdKO5eRf+5Ibpm7BLvNOZVdOgREs92Tim78k5meC13wUBg
TA0d8Batid82nX9sqkVHiiPKCFwqTeCaUWiz7VKDkMY3PLWU+qMXzcP3XjcRx+UhEG96kZo4uHgm
tWenSpuHzGnS4e830NmP0s83EL6eDk6XrYtZZjfv0YqPPugYBu9aNVruBG7XlYh1AUAr8JKBhiK4
OB+rNSqnqxvVPU1mJA9jAu4phZzrO7XXHEtumwCiheFzZFKcSSeKVLIq8jubeOPEcLGZVPnXqggP
2/mPaLJ2yZWmJ8LnuX02bQU+WldHD6j23nPz2xpqZZvRoUSH+CrMr+TSzVbJzqpNEf/qxSB3WJWL
L45df7p9ZjZOJhsXrP5KIOfGvggPNItKWgp27tRbvbkro7h+XfrEuaMls3EyGWMFRIJdvi4PLy6N
S6sj6kWKavmiJiI7jvg1vaQsdRzknrS/357WxjOwUpBWnj9PISXp828lslI4sVq5p7oHpuw7Y5t+
KyYnm/5JtBLIlVl7ydvSFfJ1KqDoBgMaqvcOyNauXUmxOPogBIAu38WPQLTZ6dtqdE4of47f6M1F
hw5z4t53B6PK/IgUIPEh81ULDYmuewQjsDzMLlYnd87PFR6DRGMtLfEer12qy+t3XiK0r6RqnbyE
8mcsXcPXrDHfZRoqx2VTiA+zXJTAQkroznP8+729SApgS3BmV30TFAIvDo2D5Y4zxq19cp3GWXbm
1Jv7Fo9U19cH3RieELlsOt9ADOJYe0b0KRFO9CnznOXd3OfRvSO8EQzjVbMikrlEVnLj+baISLGS
ooisk152PUZHfB9/hPgQ2sii7LWma3Zu2S1vtzfjxhlDItFBSRBg8DVBmgsdkHxb2qdS2t/apa0e
4SIkdyozG1cGitJgnuFEYzl02QMlrSwgeDM1kWJxX6pTi274LOfv+NXZ7e72jDYHA6RB9wWAN0Yr
F+uYxavD9kw9OivrU4V0y8NqEBt6/Wj+fbROBRqcJi3ttd9z8ck6tbSjwp6sE1Uc0BllI/azauV3
TsjmPiVohU3Os4hI4UXUPKmlMUZzZp0Wc2rznatWJco/ZZG9Rq2WiaBdtOxJpnWWBzhCJu9kA7TJ
r6YRR+RKLVFk/vsVhu69+o3SPb9qaXtO3ffFnLNT9Tp5HCgs1f4I7y4P1cE15Z2nbWuHwl4BXgHg
7bq0SK3SnBa3t08K7b1A0EsK8AEu7qREW7sG0i2AW4jFPKUXn9LEZWioakahjQ9Zz7DGIDfbeQ/6
Rv4fywdBnfdsxUUhdXm+QZEybKymYij4ALlfeON08rLJC6O40+4MtbV2bE1u0N+g6cuoM0k7ZWkg
iJ5URykfBsYD6Tjds2zbeEzQW1mLf/QHcGi8LBl4lEpc+OAcubT0fgistKMgWoQY/cWekTrWgKb+
IEay0TgqlwKz7rrKQ8McKWrd3prXjzm/ZAX3rTKyRNsXa9vHdMzdVLNODiCq5yHPB5CVwo4HTKKd
8kmfhX4vf9gacoU/rSdhrS9d7BwbxGoaEyKedJhqR3hLqyIMlKt9jAXYw2TIe9Xc661KeQBYOh/1
ty3DxdNNEX0oDTd1ThAIhjAru3hPPcnaVR2IwtvLuTkUBQmE49bi8WV32ZhUA4SkZZ8KxS5hTat4
tiFZum/7TL1DEV2X6fwxZlb0fIimHWLYSyEJIjAazRiqnYymc3ZqNA37WQxvWjqZuzxzKIkmboR0
VotBw5zdB92tdLir8cn/Vn6/bYPmPj+VamYoCfAf5zThTAQGIu4+4pilPapDhBdwq42Hxehq6ec4
L6W+USXjO2Rr7mEVthacu45qGJCV6zRxgCqXWWbsnNReK/c65IrANObiqOn0629/24062Aou5Ovy
tqwc1fW3/Jm51SCM4XzbJ0DXCKgiAKb/V2TJTNLiKp8KEAwHxSq9j1032adpqrC7l9A0n5ZCHR87
12gPMh2yV0fm06/bP8109OuvwfZGQAY5QYSHL8+xmblMHcznKcpjb3gj/GrMD6NVaEpgKIbT7s3F
RsHMQbRMf4LVI0BKz8o8+6vCmrafEgw8G7+yWuS60hw0oP2haZSqb56s3LTyFyL+Pt21JX/eH7qp
Tv3BydtfYNnc+udc2SLetxoI1iehVpn+1Hp0dz9ZKRmBLzF2dx/0eoiBC81qvfybFF5fBXZvohun
WN6MnY5txNkboJ92DAdjlsZBcYxSOwpXE0bgNZFtBuh7y+iXg81WCeJgQowtoJMdZ8/9MHZIlEJP
n8IBzXieI7OWb4WdZPkeRD4YrqREmC6IFfRFgsqVpQiJb+lJ9Mjrzu+TTB8o3CteX/h9l7UPck7H
yE/hJEw+Mv4I2CGHpL+4aU0HpetbxGfyfNbKQDfSntgTeLQL0mgavndWPdhBqicyCdVW8l92aZS8
IJ3Xyoc8bbXoGEetqu9wsQO33cfe2H/JpVHqduhQHHfelrHT4n1l9k60awyA3bvJTWesIcDQLsVX
4Blu8zRlqVY9jpk11/uuICX4PtblpAbA2+0hqCbdrHdpJRGIqpH97D6oRaMU6Iwu87eutSozhOlR
fBSo0Cvf8e2u38V1bqghrPrKGk/90muN8KUdq+ZzMeNVE7SmMT2t3CjQFIOwvjtSt6IXze6pdqNw
13617HbIQ+SFAY9pIgGFBbNaV32U0lD9RXdEHTC8ivQv0PqTn5ohPSIufZqeyhay5sFu2D6vEHDL
N1ocTutTrc8TH3kY7Z850pX+PWStSfM7DZfuJ/o8xjtrsJcRtSgz+yGRL22+JHFRzAfqzeMTulF1
+bLwJCS7NLb0zM+GfO59YdnTAyY5Q7Qfl3r4ghSM7oWzroyvWmRZj6qaK1+8mX/QLJ5n3uDUKQM5
J9G/NWmd5atdlA/hKOYFRQRPqxzPl6mTLAE0k/qtpJcbB6bZGC8dRY7h0UZ+D0HDmTn6RimNOWiM
FuuthPvlszNW4k30rtRDr8zoXKjgdeRjHnWlcciV1JDHdJDVT6hWzRhWmIV/Lz2Zt37uWZ3hN6Sj
+0XY6VuKbMi30sHH1rfVAgmtWBm9z2mfqBp9r1yTfjzI6YPSKMSCWdakve9ZNOd82dqptjcBdnp7
ZA7xfFFIw8MpiuixJoOjkeOlZXUSeJTPx9wom4gfaabPGY6vP8Toam2oac30WcaznYQ49LgvNvpx
1RDa3WQ4HyYtKs3ASCNp7emuQ1fozCYRZGdSU78aPcJ6p6Kw4/qxgxERKUFnC2cODWjTAPsSC6RV
1ax4xM50yK/HPvEiJDFGi8hPGoby6phN6TxSbxOfS0Gf782d8wJDz15GybPWZZr9Zcrm/EiwCpw+
rZMepG5bTKN4nPLYiN47epp2z5nVOHWAwqT3SKdcZLtY8ebnxlOn70O2UAODOIDpQKa15ocmyYX6
siDT5HEVog3DTVqY/2m0QPIAvqo3PRhubw4HGpH900QhwPYLnLRiv0b3BRVJoNziJc0mkJTR0OKI
uEAS8SNDG0CedVn1dcSrEcKDKZcRejm1uRfZ9MU7BV336DhETT7sJBWlmE1Xzhbyb2n92tSVBu54
ZsVaa2k/9m1ej1+0REbFLuZ6eb9IkTnQXZT/cXYmy3ErWZp+lbTcIxvzUFZZCwAxgDNFSqS0gVGU
hNEBBxzz0/cXquyuy8HEzl7kTZNRIiIAuPs5//kH/Zsr/e4aQ93Bxt5S6Qba7nZA1QostYa4W29e
6A+Dd+NhjGaj98GZ7MKQuGzcouAbHrdeY31Ymd9f9i7v9j7nPIAs2ld+pLvodCLcwLs1ci3St+IG
W8P1gfirat1nFnS283YzCnJgsqVoH3JNDcbBRqF+l49r4+15tn5wxWG/jhFpZ9O1TNtsieAEzvOl
XD2oaLjCeENsFf1WYRWBA2BYF6sSod3peR15bT11+7oy3WwvG8ppjjhjrHeWiSE+BYnR7h1BullU
ZBPsr6kynefRXgYjbEazxgCeLi4EyOPlXYkNC721bj8tMF++G9pY/PS83rqpBd4xyBmb8keh+vmH
XnluGcspU144oyzQ43lc7TuQ8hJmqrHpiGR4/x44kJWIg7FdvwZGl95N7qLO26VZfy2+uzA1rtfx
80TfzT7RLMMQkn7YPczmVhOaW2tbv6+F0Xz2LCW/ytQo7sCScwJvqlrucL40CMQoJv+bU4EZE3Db
FFXcYN3zy/WZC5ylej61iTE2bR7PU65ft75WdQn+zsXVNvqzG1UwytNwmMiZizCUyj9jvC09mhLe
6qjUPSGTAfpnGTP3dteLoXWdhxxKUEo4xOjpISbey6/ZZ2KDkxbBUT5iwsseA2Q7dHoHl+HadbIL
u25kFaJqyfFpX4c+TifFfuZU3gYUPAyKRwY98FYwb2HKOWTLFmlNWTxvMt3sHU0FWUL2YKtvU9Ya
8mFZfPGF2eKsIUVqMeVpnJydlmQlzUvGVeaJT9JEy75hBd/maZXPNik29o6tSOhf12npnH3apwZZ
Dfmq27uhk82V6Yn+q4X7Hof8bA6Xo9abj+AJwxY5lhqX0JroX8LW5PcdZLsWbtypBdpLONSb9M88
tNIW2jA19WHV1wW2ENi+YWruts3tvGWLA/Qt6jFKlZ4mlJLeo0uzV0VAbOm932BkG/lrp/obSkiT
86UuJKrdoAzaeNW07bnxJt0J25GQlbiHokDv6LmrdbYMpl/GaPVXY7do9aIfzMnpj8oYPCfW2nLK
L2rT2z71U9vZBzIkecehPS1f+ho+ZTQOpjdGuR9UNU+ko+Gueqi5UJEcwvKoF+QVQW7benRwD6Xn
z9Lt85DlfMsAXu0n0RazEdnujHfislpCy9Hkppv7oxlU1z/8uex9C4XCNTnhY9h8nvxZXzWv08Rq
sPPKSIQn7KTSynGOB72CzGittEBhpqfZucIS+qIcPaP7oAF7p/XAJgqDLKpMGGqvm3jU4nrNiWYk
QR2cirSsuEENLELplh95k7xzKciLYL04pDMNe93rsSGLWhvYizGunuOMOiry0lQd10H+244/fCEM
8QF1bAN0+XUH21p61uZz5ySNspxdirf6PptFdvvnJ/cOBnAyVAO4NUGp3kx220GM+tjOTgKHWNtC
hDDyy8KedGelc793sQ5+/vMF37uDEFtp3xCKI6h+1a1Odt+KuQ4gZFJX7oxpMC/mxsPJq64+8hV9
5608Gbqj5yC6gBSrV3jqMiEUJHbQZutpjW634Sm9S+WaNsch1dQBNz6fnKNhbjgbpZF/lMTx9tae
xhOnNxJkAO+GV99UVKposraFEDpk9t7Ti/TcrOHW2sGkx5jprR9gurS/7/SehCCDBuKEAmnu1TIU
lPnb5JsmFoO59iQxOEzJbuBThO7WW3XU96NeRUMzTVPkCl/fwkopddGllg4vqyEFcLdmyG5JMSEc
ms9d+k+mIgMpLJlxlKGd6VMX9zpnKkeF1RJF1OnB02r1G/5sJ4uquPaqjEBb2xwe7GzSloe56cwq
knbjPE56ZbNRaUUFsXmTLsbNKUWbjqt4SQK7QFGz9YOkbpowlaEZkIW2q8xgSM/4Lel2Lu3TTk9l
b/RxLpnMVJjgzv51Cu9k/aQ6zy922iSkf1i6Or/ppb7a33rDWiyCrEx80ikojSySAH44wuQccFlc
y0AToY5ALT24WT/THKWG+hQEqj35S5/Ssq5KYYzLEaqFicFH0SyMWTqhuZGuD+kY24WFoaZf6ppx
AEZeqnjSMsfdF8FiNDFFUDNi1OJ27bFbPEruzDRLeTW5BkYeqBm68rOHz5wW+nisFufolju586Qt
MR0iJpxoLgv5x2ebFv56W+DYR6U7WGMkx3LboszCQT50FfwGMJ9Vv1mEP9WX0Lmdu80JyjbKA1Sr
uynPDLEzgqwl7hvjd0jlDAfso5za7WlZNuNLirMPR7GQMrvQDE81IfMtzh5btAJflUIU/QEeX3cz
BifqFo4kIqBOMpfTX8SJcWcShYPGE7A7D9dU23ymgJnUdsPUF0PkYRkFVjE6pYoaGahbzfIFJwPn
2LDXho57EFXtat030q3HLBSBOw/hUI11dyXSout/lVvfPLh64dI+OPbqnxeGn11gI0psJL1UNUYw
d9Kzrq+IeQ0azceBUq9bdSFmUznHVXNpXJBqiy9BU3cuMg7TYR1AAniY5tE9k3Ixg4NajRJxtcjW
s6F2+jaUhZNOh1mUxhYPrl8/jgWqP4wIJzsP66Wy7kZHBl9pc8q7JejM84xBpBaNuSPqC+nDkg37
ttGCIwr58bK2V+SWc7V55RG7fJVGqmJQsB/qksJBQEZuYzI3RxmyVHX8ljrTv6pyPI0gJTd4iaku
a2TkTqJ9sm3S8liCdfBsZyKfWTebtHcUWzrzyCxDnoIvgbFFJkIYB9fEdvo06o1dXeg1Fg3oGNf0
wRZiE7jw+8UjNaJXR27tbPcBsPivaev0bddl9XJfbYscDxpy8wFbcuv0O8ulqPZVP7mfsm04KTZ0
bwAIapzmSk511zL4dKwftACbdrnOwXg3Nzi7hhMSZ31X+0VXIeNZPe+Q+mMB3COIpti3cDV+arUr
VxQuEAXDyRKWIFTAWT9hedc1UQ7GaIYWMQYiCWTTHwolgiAacORuI30NMj2ihBfN+VJAVMN3Sy94
WOOA8HgLRqsNc81Kd0Ul0yDUNber9nR0Ft0dadI8VM3ZW3M+Mt0w0uV8NKexjBg8LAJFsGSk7bXD
fD8Vvc+IMzDVfdm3nhlDK3DdyHDovpg81SQ3Exr1mKnMNg9Oly1xWk4S+zGmOHk0ZEpPqt5app3o
e22MqhV2U7KYGWkExpSWN/Tc7jdhjnn/wRHxdqqCqR/aepBqqFycEi+B09pAZY4xi5VsJwiFUbCK
zSkLPsJnT7/mJSLNZSBsceiBvb+xgjG8hqakK+0EZuxYhrOj1HXQlE3Pep6bn0zVm+tVNc6hyjEX
DQO3lO5JQ2pinWiVX/9ccLytAiDPYmaqY/lHafr6O/sbAdMeGEhCxFF7EaT0p5ppjmfgft4tEF+J
j2Iwhr4tqsOfr/xeAQBl7jfj5J3J3FB3yvSUshLVm/7tMi4GPcYq9vboN1ezkWofzMze/aanDGho
WriIvi6t7Bx3w1l2VnIq9cI2GNrY76xiX6fttzQQ7iMtkgCr7Kf9n7/o25oO63QKuhPRHKnN6wJc
KydEiZZrJm6dbVhgOWO8mJUPqqWvH1zqbYnDpYCvMEBDt0Fc4cs3GGijKksnsxLoDltcC5VdDmxm
15hzl/vKYuQ5uZ4b/fn7vbNsTlGTVKvg+lD2Tzf+L/OGyV1VO26lngx21yXBmD47q/5RfME7bwsy
FG4fMYykL72e48opbwsM9vVkMQa3i/xxFt+J2R0u8XoPup3yC+cDRes7j423BekO/4ND9JrTWrgj
BuiZtSVrxQ6qO3mBjVJT7EfNFx8wVt7OyE7BzTA1AupgwN5Xj43oRXNqndFIyAbZdlvvmt9P1mIH
NG32WY8jQ0R/12M+MNLlY5/6wY70zr3FJsrF/QLXB/gVry5f5FXt1YxrkgkXuF0/QeGt3DKlLN3K
aJzt/48FAS/lVIb/Ntx4zc8RFZMwMehbMpm9HsmtarGBLKbEcab6AxLYW3M8yAO8nCfqDTeYbf3l
y9k77tw4o6snIm1Z2brmqaeTfX0XGnPePwc1WTkYY1mNDMsy0MqIlm8ZUIr2xtU4dBVSR0+fiEle
gubfbi75aHSVGAeeRuyvb4PdDcodqb2wJi2cT71lrd+NaSmrePal/SwNgJMPVuo72wM7PbwojM9I
OHk9GexqVH6uVyHKgG2RTLpa4nWzCGR05Hh2Cj+MRmSrf94d3i4jkM2TiOzU5zk45b18AG3QLIaz
bVbipO2wM+aGmdLMmCHAFPDfvxRXglkM2kKS8esdHh6lW6Q1J4rROCnTtXmsD7jFuOuuGjEK+OBm
vt322PKQvtGtszGhS3v5xfBVJwhO881km+DTgx26l9tgOx9sDW8fGSw2OKho0CBaQWZ7eZWSUM6u
7jIdWyO9uOwdatzCFO6FsyInnnRdRqtVG09/fmbvfTUEf3AICe3Ca/bVRfGRTD270PWEgEBxruyu
Stpg/Mg07r2vxuqEowjCciJ2vfxqPjIa0yY1MkFE5F+b0BwYsg3qpqoy+77rAj0N1xym6gd1wHuX
ZZODoMMb4hHp8fKyA1tPsRWjnhiW1G+1osSwpnaK/cQQzI6MCnkC1UE5dR9c9x02DaIUbiiLAXMy
XpqXF+ZFMu0JHVMCfO2dJDA9k9m697cHHPXh1HRz76SxogTdy2LBFswYhIirRnkfxbm8XZN8EsQ5
zOdPWfSvzxttQH9iiI4KdN2qfQqgnZi6cnZGpz7iEL1zKYxKQOlOlcHbo63xhqEQp/GM3cmrtPCH
q8oYcCxpNHP37760v48UFwYW4YEcLS9vL3Iz1SqCTBKTuUAXa6nDPMxphfHBiny7OBDdniJkT6QW
NptXr6255HUhCHZJnKVsL+D6N/E6mfoHe9k71SrFAEJIRG0wWF9/G7DMRnOkrSfuwkGAmgZ5zX5Z
y9Lc+2Unp8gZxvL7CoLGKFk11UeL8zed8lWXQrTOCR002QfevCOIM+wxc1eDqg4YMlTYJaNeqRp6
fiaPtaSjXWc9hJJufsLAgjE5OlH7GY+44DFwpfWsV8v8mBKLTjQPs9arsQOyj5b8ZCc+M738Vlmz
OT2Zxgie1DO+D/URGm1iYXBwbdEQPVW573yVZpF3MUHrmoo85Y3feqfczi1VDRredWg8YrmC2Hyw
WN8piSDtng6sk5Hxm/gbp/RbVUH2SyyCDcDaFszJtYy5L612hM5sPP755X29TJCE+acBgc5DP9G/
Tj//Sw2thGU2vos4b5zynsEZk3pbq2WkiVwmH1zq9bV+62uhBkMghKXOpvPyWhiKCR9QcmEfKpn4
KQC9q1rzFvNqqyDSR0G/DOc4LhBWoGVF/pUjV2tDZwrsa6oV/2LZ4LyEaMlw1xsYgZtRObd9+1ja
6epddVCCox5u8tOSEg7/o3fq4EKfB6Uvod/lrgtwNDsYGk6OUcUYWTj5tcoXh6l5L8c2Wk4ZW1FW
u2mG3NzTv25rsJFmiIvosF9qHadUU3b9EmvKrVWkndRXIXljSKz1re+y47joy4OjmTmsWeHyBQfh
+1mcl7NsbuZ5VntnGab1yk4FQIbC6jU42nNQWDedmZUcr9lU4XlCkSoTIL4iO7TgI+4Rns5Kep8P
7Pv5z0/k9YnEA+FcMJjNkFb7Vi6JxUqtsS7GpPCljwEEbmsHK03H+nxi+j4dQR3Nx6DNl+wjZfCb
M4lLn5jpJ6k7FRNksZfvAuEppq1p7pRYfp9VkZ9LUpXyuc2+6W3lTVFOgoh25g44TCfGoBlfWK04
nIt6gy3/b98FCjeWms5oB2rraUn+ZQl4YwkrHvQ9USqd4hZLhbA0Svc5sGE0uFLIyPZU9sFm/vsL
/nWb4wYw3oEpB2cOrvdrJi3BAQB/sh2TGZ7cRIvuBteGAJfD9G3G5Ky0F9DgfE1b/VIsGUKKLusG
N9ZKqeDsGFn5kU3g2+WJfoPzhfkWRRH/fXkf8qYoC9wr18Ru2uA6G7Uy8fXZirdOVR/scq+PMg9V
E35NvAB0BOYbfm+NipTmd94YAY3l0R5EfSah3x3+/GDfuwr+MdDc8evCDvwVPiCqYEs1c9KTrR5F
nG8V6uO+/khv8s6rbIFj/c7m4ea9Ie07mD7NfsWWXRCIfnIa1/EJ9NXO60YjNqtTVD1ym7bozgOt
c6+Mppk/2MTfrmM+ARga6CF+GUx8Xz65dlbwduxVT8a5To8w7opjhyB3X3ipl1RWv0atm20fFApv
OtzTQwR3YQXjfko7+arusSYM7+oZs0ViLeHnmKlHTK2Gxjnfj82iJ5OsOpuZBXCvYa4Kaz5b787h
2+UDrn/MZnIv0zx4kvimfPDZ3sjzf382nBYQOXDWvDnW6izAuyMftqQ2avO8LWf3NEzyu+/eRmoN
pJZJLLjFMbiJ1WloASco2JpEn3o7j6BcZ00EKxSLqFXOTRGibRLmsR+oNiJtIDozdDH96iNroE+J
0nx2HyxLuUvYS6xo4tHs1I1Lk71EOiSOr2QMK4nPdjcxQAHZf5pZ/deLyMs+TE/lTNgPnWhCPdPn
X8RaFGChg1cWoTMwLghrePY3Nq72X/VxkB8FWb0u+E63Ct0ADjI8prfmoLYr0yIY1Jb0jpFe6U7j
XYgyI1XD3qrgRwMr7xeZxmO/99revf/zCn1nFwSGBpPBHgAo9k3tjKLMVKyfLYG8W7Q7bzWdX1WG
V0VoV8JbTmSr9Lorx7KOFJtjE5+KiId6WMhyMOwBtPzPH+jUO7/clS0Txwqw2lNBRK/2ciWRroRj
XTfoCRv2rDFkWcsJeyzy2QwLI+lwyCtmQwaMLxGvtlVQUeqa9UEX/M5GjB89BTibFzj966NhsbUm
S9d+TmTbl1Aa9HWna1V6RyEoP9gi39k5cAClHgPcp1h+LfO0VZpS7G9LsjGjue6GilGz6GQ0Z1I/
a9j5Y1GV9X/f5P/1vPxH9rO9+e/7qf7rP/nzcyvXvmClvfrjf11PP/th7H/+7fJJqr+xIfx4Goq2
+c/TL/m//+jlr/ivy+IZKk37a3j9t178I670r08SPw1PL/6wa4ZiWG/Hn/366aca6+H3BfjMp7/5
//rDv/38/VvuV/nzn39/bsdmOP22jA//93/9KPnxz78j//7Lm3f6/f/64dWT4N8d2+bH2D+pN//k
55Ma/vl3hqD/OAkYUYBQnSO1CTjb5p///aPgH6AfJ3BYBxolfIPXp2n7Ieei3j8oKYihwozihPCd
lhsQ+O8fmf8I2KlPWQc8a3wq7L//ny//4oH9zwP8WzOKm5bxjuIXv2xTUJtz2HikXjCysH5bJL1c
J2AqY51XrktnOK87ootD22mc80Evby1ytkJEbDEJ3nAAfXJmuod07tyzLRNmMiGO3xlpFm+NsPbC
KD795T7+66P+9aOZL/czPpoFeuTRuZ6sidDGv1rChaego9lTdtiY5Xyt0ybV6WYqdnTJxP4gZ5Ut
O89RIsG6XGcWDMBahbiE5YmeauvdVqyQBa1R3Wv5pBjHtcqOmU+3R0nFcmMOg3GBsD8vbkqCvSWM
1NSeCI8X5vfCLfUBknia/jw5LPa7Mu8FiT9Valxott1/0FAZL1fv768Kfgtght0NfrD+q4pN5b0F
y3VJ9+TPufcLzqTzPsVpPULG5x1dvBLvCkPjgNYqYmBgZ34VjsT1T635KUG48YpLTrPyukjx4ffT
wP9BuYaDTCZ3f34ovwHe/9lXf3/S0xCFt/P3/73WUOZ+Rx0WFPmhnLflpoSP9hnEdtfnvBaOa83X
E4Lpz0u+9Putn+zrLaAhKTevjat2yCABjuYCG7gtzt1tnfcffLqXUh0+HcMP0FTKcLSHhGK/uo9u
u7i1v5TOXko13LVDt8Qwv/xoNvDyEEU1fdHX6tquu/RMUXNcOGr+CNxBqP3i6Pn9IbD3QRJ1crqi
SX4Vr9WoFiS3z6y9p1ytvmyWLLPOMuFLkkmqx6y0ZQziukaqLqHZIGCPfFql0Ms+b2NfxFXfGOdV
t5k75c36hebgit/N8P+njQCobGo/zarBMLnV1qPb1tXebRzzxiqc+bDYRhHJ8hs1moFpjl5+aZ2V
0T++Nl8U2zuZXrhez4gle22+z/EyuuxmvHTs1dwmQJmxuM+Zzmuhm5lTc5ha74lZIG6YkIzrPSW4
08KM4PB20zEnm7mrD3qvXxRmtfnhPNnbPoDP00BKzKakJbWAhLt10KOSpv9hTAn2XMsUmYsg36Gg
GpLBHq7WLjDKe8+rllhpWMiFOAQ/U+bV33yj6o44NFC2MbKLLVQaBGFhjMla7up5N9eOgj+Sz+Kn
ppFY1mFqHBU193ce+jT08BOHERN0xRfitKDaZu583BbRfQvc3r7SRL2eZ9JfD4M5okBJ+yLJnaU9
anannlJfRSVcpAvf34Z9t07ibDwZuuOQU4atU/eJUO0V6V5khEGrvWjw2Ty0NH+fDKcUMKQ1uQNV
yg+wU5sLwM38ZzDU1c4k7owGXd5ZzlBjuzw9NqbV730vnQ/6uG6PHk7yO0JIg+u6C/q4mBmphZsK
gm/DnH71/fkGadHURTB9rPt2rrLI96f7Yl5kHef+GtyXs+b/ympZ5ueLFrgwzMUSBQoegGc22W7S
NgrUteLer6pYrjIzJz8Gzq+4c1c5xWtjuAd4OcVhWYa7Vch2X3ldGhoq60JYgDXUl2C8z/MyiDM8
PcZo9SHC1PDtdwGCKibTbY5EaiHMaFbFT0OtThToTb1DVfZ13VrI3+38tc4D7aeWqzmC/Jzf4Hbz
bckxDXdbbvIGM2dHGkN6AOp61tZh152iP5Z67q/TdfhudKYZLYF04G5DBWonM2rLbNo5Wu7sapf0
tq1sVEwU2rNQi3k+bdpt3pW3aOgZDuAmZvfumNTVZtGdyxTCQDr8qGrnhsJ5O8xdfiVkNu+Baf2f
xCQ8a9OA2cIpq9xIfWfPtLWK8F/giZlFH5ktSos0T0+tkzLPlynNf9GqqSv2Gj0ItTE3v84b6hgs
rd29kbbTkeIXyla79UYM32ZNeoD7nSaDnxzVUJCcDIhqTOdruVbbviqL4Z4s0CDMIDLfdLBVm3Uz
dkFZT7HsHdFiEbRaFw7MLBEyYNZ3nBrLN9EswXfrBNJDhXYfNbyXviEnssM1sIuLVCjdikaMh2cA
qyA/Omr71JrBdoXgWRzwJnev/a55Jg7lIVMw1dnvnAsljezIIDLda7D8vvTWpu7ynJjytN6wsxXp
bbWQbDuI2YrawD0a21REZbq6NYImszxC69aIRyphzgPI5eOvijX6DUqC5odpbYrrOluy44mIvGeg
kUXWWiZrO9exkW3lgSDcIA1VuciHsSmtpBSomZzaPhuRE/zSnW2+au2+3zkw2bZdm9ZrGWZ4c90E
SmkRoSmPpVwv+hRzi1yxjflW2oUYRHdnJ6ndjuDu6nxVWnXlb5n7UICpN1E3L815m/r23reLryoo
I5yw808aypIrO8vq4zbVYx6KuTkzMOuFjz4H93OzOSCD0vikTFgi9EZq77o5JRQtaRCEBErK2MmK
a+wJrX3rFQ8tOikC7bRJSYDNcbstbYg0AxRP7Jkboz+UW+ceWqz4z3RLFbFe+A2jn0BEmL60WGeC
d4blUN928LXizhN5ImClPc6lUXzWq0b/JbNtvgxM8R072OIcHFEm+Mw59xj213GTBWZCzt0vBh93
I8rz0AjGRxy4qKjyTDb7XIgO58yySarGhfxiSe+y8xBcnbIZr0tX3Ipt+FLaWGTQpd5xTOVnmEQb
u7kflwT/wr0OSnbm9vNF6aprb3Ws3bxaV7IIjBBTMSeqir5PPCngttidcayKzTu3s+0snfTbZoTz
VUC/QVk044zS94N2S9CWD81gTSMLjWSsg0fs0zL93qypF+eKUEnRufUxW3HiGyf5ALTbPhldJz8X
Zkkkhj22YWBNaA1G2zngC4SLcm2X541rI8Oxc+voVgGwLxX6bgmmPLHzzru1Bz8HgurqvajJtTDF
SPCO39vXoyi7Gvkg7zcn33TUmqk6b6n4Pq9BQ76v8H4spnbZD8XnsTQWes/0ppsmuSNts/y12mK8
bGxXXJapVxx9iCKRN6QzeoSlcH6SylD/8tCDXXVThwxCDjgDkrwZTphC3ixlIBUZwZpoY7PTsw07
V1kSKjSlSxWWGRO0yIC7BQsrI0PwAjUJMAA5HMo/74up0XaNn7kN/MYVVUiVTjBth2lpdYRzaqmt
u7VAPprBDK6xjNq6DlmNVuBX5IwDgtQaJLI+jNISzw2HU33ZTeXsIQm0OiI5/WZTP4TllTIuUN3q
kc4L1B6bQPb2QRJTUt39VuAb2FWzPwXwKCbsoIarwbNa95h1SgMuxoA4S3R96dy9OVv9fDs28HiR
wSx8N+kp6xyHY+PSsOfs19ivMAkDkoPukGkq+4rXfKSB6eVBLXlz4QRqufLEwv0w15U7tI6pNVOA
ldMFBBdTxHhXqQeYycbnsZfVwUaAcSUbn02XHMbYw8vgSa8G69h7rbVryExCGjttaKKGDNHcDr4I
DFsS6AYctt0issbc3iElqc1wQl8oI/T4yyE1xMJ8Rp8WK+7Ndmt3+aqyPtxabxbRMAwQlyu71m6E
PdpQLN3sZszhhE4rPHJ2GR0jSd26tFzLuKjxh/zqFT2tCjOySsaTN7XrLs8L9qagL9Vltki7DtNB
pmeaIDe+Mr3uRJNXTYJ4bL6zMEU/M8cRJMbUEQnnhQFQZmPFwh2gThsbJJXEwLqf2g77qLyYqM02
MVM9LcY+3Zrpu1RmcYYlj9FHPdjXjWmm1gPmDtY3am1rx1/ZvgPGbTtozsRMtlrr/SQzLPciDxXB
nSfmuz4NFH1X80V0fRunQfFQcN+iFHmya5ZXleY8qC33o80GiaUUBeNzzIWAUPVp6ibrom3W4WKb
vS0aiw52b6NjoWm6XfMpZZctjyVZr5Im1miboyT0ITKg38alVk99BOWjcKKhdcozkQ9pubO9cRIX
st5ITEzTfDga1Whol3k6KPO22IK8JDSpr37MgT1ibp+5P/pM6851fxrjxjBFAohYP+akVrau0kKm
XgXMalfea63L6LHOujM5Bezvnh5ca1NZJNStXlQCVW5hua1orwwyPw+u1Tl6WEobvBVh8yk9x2ye
ToOo736g1sfcrnEn8Tp1oap+/VGX5delmkjeMTazC3OGE1FBROs3t2hpgLe+ymJ9G8ynMiX6YjU7
KH4Q2I5FOn3Out75bKl+289jdqmaRT4aE8VBs1AtxC7jtSdtyN2UPhqD+8ZnW4uUm89Qxnu33EL8
UVH3WWZd/hBS3Oi1Vl6xfsUl3O8SKhgfPwsluEYMTxzFw5Y51Dau/wuM343FPJxNcjqIqtLP9EXP
yx2jROuyokTe5U43XKOdFjvuhFPHuB+gNMW1ENb5onz5AzMkL5TCjlsFDVlYrRaEFTlE3wLmgTFj
v1srzfgnTeVPsV426UNl222J4s4fDo7NovGWUVyv5L015kY54nGk5l7Xh21Zp9hfTRrC2UBc+F1P
9elrcWdlRmT0gRbakmCwaVyuK1UmnLvscmkz/CoWAyqY9CY/OI6uPXhxT/yWiEgsbo/o+rJyV9dz
YETeWnWHzBg2lUhbqkvu+S8CstYmClbnaBEdHDUW8SOE+4a+qKNZWXmCo8BwG+jidh6KOq4q/yHr
Osa+qqOYtPon+NFzqJWsL2eS6X261LcVIunLRXjNZ9/cOpSkTrU+ZgWrErsZO4VRGoi9W9cL9MF2
gxdQxeNpSE+/yPVqA1W1nJ0wcOlR1ejnScYGHKc59VeMThbgyCb2uwEQpfBi5ovOBQyJaicqSq/8
Us95GTkdJSfFNzZarciPlHTVud1netgNy3zvOnZSL8NFj+fHHUYPvOy1WNEVuTRzsMGbz3Jrlzgn
dGUKCf920BzbmnU3LFXxMIvRJIHB1kUfLr3Zn+fIAaAVsJsHq+FcoVI1mQwv1k6ZVvaVEwctdzmZ
B+Scw74tEA7hxe496WP/Rdaud+VWafldVEKdizmYdyhIckpWlWR1eWdrfvU1zafOOeh1mSVBb5XP
kM/V/2bvPJrrRrIs/Fcmeg8NPBLLAfAMnWhFow2ClEgkvLe/fj5QVV3kk1qcmtVMREd3R1S1SMFn
3nvuMXdyEuM2tsfolsJWOYH5pJ1W6Hof+6VtznE8bwPViNlwObNUYjcaG+amLVAQ1Uupf1PHaJAe
kc5imzc2M1SVzeDIxAv0FB2UHmAiWp7EiZ48v8InfwvOvSlz/nuIy77Dcv8levvup3bP5YqQtod/
1f9BiJfZwX/+iaH+BPD+FxqyDNz/B1i8IsL8+A9wVzc/wdyD9C4sLOqg1vEnP7BdTfvETBRuD/Yp
Fj+zpnH+Ae0q5idoGg7+m/gKAlcxefsntqto4hN59mDCoM4ru5IB4J8n9j8Ad+0V7voLrFvFf682
n2sIBlNTAmfeg7ulVLuVn7d1Er1Td9hnuAQy5hUykWwnjEy9yLESuQYGQL2C8Kk7AjCwFF+v3fl7
pNjIYwsp8kfiWFgf+jad7ptFjuezNShfEWnqVJujHO+ahMbHb7tk/Gx2dDknGWVh7qPDs01Pyxvl
22AqEt2skriT1+dFkfhkS1rkriQzFJUs7d3rxJr6BohCqBMeBOU8bFg0LWMXjiJy79RYKZBna715
g/GG2mzNVIYvUapG8NuifJo3WtaPkKzbLL6dyQnDFUSJOYITV4BLFn6GvqtYiH/KDMu5NVamTwLS
QJgbTvQRpm8ZOJf4oqrVwY9xLL01xziajitcUvNNC4OOOKqoZMX1nGkcozPGS9nOUYuBxWicRYXJ
xKjoSbzJKyMpXt68cr/AwhkSvH+QFh58XDoTHvRSK+b/jtkwVhUVKWZdsVo456nqjHegw27l//4o
h6/LyhwRUNMYgltEFB3KDNys6HrohefjkK4bdIkR6x4fgVbuh4hQrA9iVjEvfH9VqysWQ1TMljXE
LMhZ1j9/w9coCP1bw+2fGE80JHoYaXZfuE7+GK/iwP0SK/SQblkQ0wCSijRQt6VbI7ZemnEjMSo4
wS/BKLylk+ND0giTvoyHVrfPpJIIrbyPIjovlNxadDGlPQ5NXdQJdSe6ORQnxqzBmLRBNiYKRMai
XjSxgntGDTbrxc2EuUUzFZoX5hmFXpFH1ZmrSdJmjU4r74RJdg01QWeMwWI6YoMvvqn5mVLj14ad
hZUTboCA7iYcaZW9rDGNfAPlBaxPFejbzT4mfmaquqbak0UzzsdObA9VoFS5oW2tpOy/q7l07pnK
YHNiNWItrmZzkPs2Vu19j9Vqta9jSxE7y8qsZ7pS63i0qpHWLO0RgCboQLHR3tTttEwzbWE1VUPv
lzo9vJ9IzTpvnHmNUlr0qfWqdAEYqJfFJCQHvqXXEho1UGNVk7OjxLAupqJo3WMCuuiUjIVbwOab
pk8gFFGxtQe0v/5C56EGzA3C2rfMEmP7EEHWoyYj8kT7NJ8131YaDBtaqYT5FqPAQr9ayJ53fZFJ
Z+R2lP3n1shb69Tu8gE3/GEEqcdOxfUkCYruCT7hQkdoZvZ30nCBrudmNcooBed5jBsNcgOLr58W
QFLbJoxKbiDcMd1VIsgPW0hext0y6C1oU9MrqKITYXcbmbeYoqQ4Ea9XJVKKh7amFu0Uwa0gUn26
rqJQRzAaVSQsMLxXQdEMTJN2k2bGFth3ErZ+LUDTeXXmyDk2IFSell2WF4EEByFUtktx7IyWKq52
SQ307juFVAHHxlotNr2WwFaqy1i7TaOhfh7xI3+WpugXb1CYC/I1LjbtQtTQVehKD1wi2soOWPqg
+QJhnRIBOeCM0KgM2BfrM7leRXFMVFyibYWRpMdLPZnYJs2LdWeIZfoCSlxhuDl2G0qf8Xly9P6O
YDDEdo7ZJJUP1BvjJDHCbvKyBZTDr6CgtZtMHxoEdOnMVCXD52wzFpiueVovBhl0jBnPO20xv9nc
4zuMNMorS0bNsmddwYlEbzSsU+Z5HpTdEjVMGqy6J38zjCMeSabHwgHZKkmyavRivJ7VNu+3FUJW
hKXpHPdYmRQFuQf92PiZmGmGu9HBXcZe6peMVabwkrIYiXvqrObLIhTwp8LQmxtNptOz1Y+G7o2G
3UK81ZRo51pOY5HDkGfPPMrUCcI5Im2FsQUhD2Ie6Jbq2Q4vywxx9j5ZkBB5br5AIy3nbFqocGM8
PQa9FE9gK9kZLmOTdtIvlXiRemwyZ7LHZ2STVbNRQG0LIKosYyRSg1R52ZjhoGszyfwimfuc4Tk7
vfQ5K583KXl4T71YJx7vSCyCCJMqnq026teu2VZXYLL8GF+SgcwYIHoO5rhyziM11RFcR2OzoqeO
UmwFLdK3IjKrOwweSaTHyYLkCUIVM+z1hdGR/zyEvIS4f8T71kCHsC3V0r0Kye2ijnZiXD7GYQJD
yGY4PwRYqfWXkD0SO7PUDJ/txYI7aesGLlilm6l40mXgS51ulKL/VjAe6XylrvGKCHln+ZmxzcWp
1O3yEulIRXB4PdXNfm3QegNJ7WKWOwMHSH05CfWlE77su5J5gGopwzEsLAsbcUWvFVifroUBST44
uCJjjXySZhhVeYvZVJc6/XPhG6wFA4Edeny+ONaIpLdUojPsxCJnU2HZ8DWNCNHdK5hwPcd2ZFhb
smLmL02thLZHJkih4w3SxERrt0i1sTPCZq9EsiGaHYYR1Wd3HnonsFvgdrDtedZ2WRpVuT/WpV0d
S4OCgL6IhLZgDGOMsHop1Nux7bTnJqzFdyu3uKvdHMlzw9KV+2lIkHUDyMYvSTQbtJ92hpFa3Mam
7VfcyNmrRZvHvi4wQgHNw5DJ0yluTNYAayhxX5CRwAjEpRBJDYl8LmOOBeIXx3XhDVg7td441XTn
WmabAFGhHcKfcl32AEj8xY2sIuVbk7jmA/nh3Tl/n3NXNo36jVhOYHJXtjilORjFEN5NvG8cZK1G
309y9WAFFaM5VEDceDjWTZjcJY6imL7tRlYcAJ+NpW+oSagii8qtGuzVNJ7A3MketPR5pJADhvBq
Re3OQxbhgh6to9Ii8cNUTxhwWLcRwbPXHS9844ezlV426RoCUmVqeK6bkciINjTRPswy5jkhRxsf
qmiwMr9XFomPDJlAMjCBJI4tCN9kBtCXRgFbYXoxJm3P1jO7YNBxKrsLbaGiDFwigb/lqLoaD6qg
+lIPfXGfDlH4HYogWQx2Eol7kB6evlYoqh3IMAfv053S/p4x1aWWnKoZ3ym3Q7CUpZN9g3O3/cgQ
PHrIO746ol06xOtq2tbd1lITlfkRITCTHyuKagB3u1Q0TFuH+7wI7XvYK4u1xTfCdTASIcR6yk7S
EUUq458YVzs+ZbV8yTUivdnKWv3zxGf2tawc45vljDDgJLsu5vOo9CO8QQ304XkGQxcNvZM17Oyj
bC5a4Sb3JEqT4VDFabJHEi/lqdLAJvWdQRapP9VD1m6dsE+zjQuSsmAPmTrFRoYirfwQrRENNxxg
husGiNfO6TB0OXGXtqruZnzITH9SYmW4Aoh1Bz8ax+LaQjGufx6hg9d7bGk73sjC1KeGnqNcQsD4
wTI7bfAh6lnaUxHWEWx9VY9mMPI10oLyzK5nQFe0WomODKDXHdesOA2g8Ls0prA8ri1ip8IVKIpw
2yui0RrhMjG6QeCfYq/xFFtSmvs5yozJLyF+WKdZpdl4BhS57kDgpdAJ8wvFnsdq9hWKCd03MsuS
BR4NaGaZY1K7Kgby/lhXLualX9JT0btELfuTCmb5XYfHrmzzwkyci5QEttUpaL0egjfi2NxkGHuJ
I7BD1WXMKKeUVMllLFzdx2uujLdVqDdVUNYTV2GR7kdDk8bD7Oxap6/jL627SECxpBZJfwvCsJRf
gH5zfZu1RHrcEH5pGYzWjSW2txQkerOP3DapgcXzRoBmSuTFjqc5VmNfxQstSOTHcqIC98bEYRtV
Cs42mFLC/UDdQ7tsv8zwwlyyj6StskBGDEo3ZAKZ7ZmCzV5xWtTNMJ61DgRWhvRgJQ4s+4n29yg0
m1o972vAJz8no3jEgXMI9Wu9rYR9hmttpqNJm4dbV1lUPr80NG0vnXOKHDFipqCFiWncjXKaX1qt
aXO4mc0gaPVqPdsXkTHet9juhRuLqc1JTfi7WKX4I0UKyY/fikK0yo1ChT15RaIu9iYOMZ+gzOv0
iOGUQ4TSSJOhMsBMxx2TB8Pwid7V7+WCbiBo2t7U9jWg67IR5WJVR64lXf1YY26MfaSMG+iPBjef
9yvEBa/qEJ2wM81LTCbnVJIT2mWG3IAwD+lmbijMgzhXTPIujDyKN8xyopdyJbh7UhQubIOiba5U
K4+X/dzi6LYxQ5UCfyZd/GISBmdWniRDjgdOqTohF6IMUPCLcdXe1qHMjQCKVXY1alb/TU9c4/tC
9xvdK2pNHmfVRJdRWYRIWMsh7Twb8Hfyl2Eav+voyJKLEDOXemPpAKEQjdx+5tLLfpPbGts37OD2
ueGVAK5SJsZWDbYd+GgJWO6Yw2T038JqJkJ9nP7LZBrdrcU2iGvhUkPGzYZ4HSXG7XgpyhJehTnZ
qr6TrZEJX6HnjSFlFta5RmwtnpFuFN2ojZ0/LNRLtueyQyjBlFRGtq2lwoRljbt/wvhDADGjsaq9
sg1BE4hKRT2mM3T+VjN5uAzteAqDBNXw7NmMzFfo01DZlGAzIdY1gGx/8JL+FrD2P0PNzqvn4rpr
np876JT/D6Czlcn2r7Ez71E2j/F7OiW/8AM9s9RPWCXBIxMCDdwKO/yJnvEnWIA5K4drZcThe/ZP
9Ey3P4E1YdqFcpaoDH117fqDGKlbn14DFyHQrXgC+/Pfwc4OiG6O4YCMAVMD0iGbJUjwAHKxFMtI
HDRlAYBWv02S/KXMk/gxAe07zRWbtzfJnJ0xDMu2cMP8uynzlaoxmbtQustXImUx357ZcA1jNI/e
3MVfwUHvKWY/Tu41U0YHr4E4eCCIwCR+VPje0ChWS09XlPTusdv03bTJyn4AyYjDR2hM9CttN+T+
UvExkJhSYfofJniA9vKrNRvmhairJzt2cZsyR+N6jfbALaUazVstnyFbRqbyYDTUoAzcMeLwG8aR
YGdu5dzqkdn7rUMfNyNQUP05xuzfS2wbIUAXhW5Ac+JcU7GUmzZkd2ztlMa/gcNselVSnlmMkaCh
Oc7wTARvB06o0nZ6uj3OL5rhRBZjmhxfKUxu7a/sNK5HwHSifsASP+CY/riRK2MdLyYOIOwDrp7o
liyh22tgTPQbjbUVC0R/ntwMb/jC65TwbMi/a5W2G7JhY7Rfi1zsHHmFA7BHGCPMjesQPr2zjavZ
w6r/aK1++t7yYJNtkW/4RHAHAnF3bYq9WSofGEy8hwX/OHuDLEK8pAgqeRVPvAHQljrtaElazj4d
4iDqoBJqaVzsfv+2vefh/jgKvucM5VCXoSVfX8Y3R9GcJZZ5kzWBw+hxs4KomyK87PPTzMm/Lg6z
ygwX1w+wSP09OMhReRVWKByoHJ9L+uD3R42Mpk2QEjWBUZAHVZm5ejrmc4dTcqxOjxgdG898wsnq
TRyVl2bOQgKcrMpv+CHnp1Y8l6cZeoWLnmGQ6uUUv6cqI5O7BJbgFzlnRlA3Y7qb7NnSA7YM86NX
C4j/DWb74wJY21zGAzryvENxOsvKYhGUBsUzG6YAiK/zrZSB9bJyjfXExs8atSpbbehsbbXPtvFs
8M2pleOXmpiOrFbSnisy20x2SUakXrX7xVCo2jGO3cEHg2/bXuYZplB5XSZBjp/dmVYq4/nouAY+
0+pVx7D4PE2iIiAjufvgAtfhwV/DBa4P7rrGyg3D1YRjdIgWMwMwOO2xDpLBbPY65J06FlT0uvmC
ZDAQDtZzv38Rf1r1OCJqfyTFawQl4433r0SW4gs85Byxapob/I9yiBujHqQKzLPW2Pz+YAeKlh/X
R1wEvijMd2BLH2wAJTPopqVSDUhl9bPO6raVGmPqZcbK2j4JSKEw78oLdQ8aZgbxh1b3P313cMFZ
lrhalddIP1yb+lBp5t6M6iCijd5lZW4eI38LjzJnIUQDVDSQdM2bvlgbJdwO/NKoWWksp/Lbvhn8
dBpIC6DDD6CNbV2ju1mwBt+YiXR9JUVCr0sTKi92BZ6RMzAthBz522yDQJy6pQVXrZt8ujQFyhlS
/uChFFhyS4yKNuPgRlct3hU3g+yLXYZT88ZJmtxjwqRTd8sZ7lonyi9anOEXxtohabgAnhLyArqs
vEWR3R9rZTV40PyNDX3F9CNZ6N811z94I968yj8NLE+ei/nx7bzy9ed/1Fym9gmJEEuro6OtwMuG
j/rHxNIw+JNVWMKokM+Tydo/ay7rE0HK6C5xRdDw+ySL+J81F8NMB3EVf9+6FrAMmO7fKrr0gzVl
dURAKcOsjQKPl35dc95sNaFU4jkvtCdrKkJNv5+0ZKLSIg2jUO6QCzT1lRsSzXok2xLRnpmCcV+W
IXmiPsGwUfW9F0beqMcDCN308OYm/qLmej8cYyvh1DA34n8UpiRCHgyrMI8rqzDtv0/S1sqNoYQm
rn5QAAdfm/rK+WDPfb+zM/qF6ItPHOpJllj2wYOlbsCtoTF7uEtxpEWB2S7ZbTWl1eXvr+lXR0FN
C0TCmrqaYr2/3VLOIIU6oW7RTLJtmkNsyHBb/kCW/X4d+3EtyDKYd6M0YuFeH/qbh4q4wY0cAku8
SsuT7VCN6meXGI59gUX2CQ517kaV1TNkmPmDy3v/yP44MKo7gxKZmbo4WMFZEod2hOHjzWOU7WZt
Hom0UNKtRtP9Qbnyfmv641CEfTHux02YlJr317hAlLLqhQLW0hiv9R2UMTiij6OyvKjEe3ywEf50
YUIjEZvmyETv7sLcfH80N48z5kXwzdM5usMzTd0Is32GLPNRhOV62n/t8VwWylsOQUIb3z52cOuJ
vHl0iZqm2M5K6O2apgRMt/NNYY7mpsbM1rfUsThxcYb9wHHrp7cSyTp1nyXQxGFu6B5UfoiwiAxY
fcRTBhkMTceqf9F6po0f3MVfHsfmQA7bLKYBB7U/zDsNZ0SOs5ALcW+FkMYiAPWn339jBwq713vo
rg5F639U/vXgMFaSzHqnC8D9hOgBCSUQt9/B3MVRegMF9ow4nSBLzB3yM79mGLKmwaQYCSxqeTaT
ewAHsPxs2MsH4/dfXf0PYyiaaCq4g3doiC3c8V1FQjS0iiNEK7OX4l/+wXfxizeVvoQanjdpNVA7
eJbqkmCXa3KP87EZhacSo4NDfttCScywLv8oQO2nz5BXB0s0FLCwR1TrsGkwoZIpIgklrLdIIVdC
fNUGcdIK6xjf1+iDNfrXB6MxwgBphS8O7qBVouI3Adi80cyLfb6o3aUGwxKoEhnTJtTr+qNX6efP
Uecr1ByDLZIt+bWbffM5hvgFNaPG5zi4Y/2ZSTVAp4AigTosJXtDXXZKd087D8ytB0tYLUGupvu8
xVon65QWf2nOdi6SW6mUzd/+mpjygZes/BQc1Q8pKva6b3LO0uujXmfQN6q+buTzB8jHz+8TR8GO
D3iGXQur+PcLkhbGEjjJkV7dqvZ8MlWoJoMBeua4i8I4+cjp66AJWD/edXZJphref6yBhwsg6Ypq
XSDUAM0EaD4eBtvOGI3PzWlkyurErrruCYkc1FalaSOxqQ2h3DGQMEWAzKT8W/3+j7NBAbdWWliA
2YedeNcXkcgbrh62bN/ux2HBNpvwgUj/XzzMtwc62M7KBHflUXKgok6yPYlJcqNpzUeLw4Hhxh/X
A7SG5QXmDgBu758m4TR1WSfc3UhRwytIrH3rKS7yqaYwMPvpQsO+HaekZwqrxyN+Jl3STB7JQIRt
/X6V/tV7hVOWoavMG1imDja6UsucOe5YDVOGa8G8xgTlEdkrLkK+/e8PBSPzcFdd9wMeH0pfjsm/
vL9stTUI+TBWUhF0g3qf4Unce2bjIvhBRhSRTsXs70Y3p9z2whKQzdenWYvYpxBafNdCTXyJ8xAD
bs8Yi4E8F1mVCzSmUhlE+USNj2wLuUbvfHYxREI+yWjLQCpSYQbgpwiJwoeumnvt2MkLBh+kp+iK
j9h6Si+VVSnr95hpqVdQrNiCirFuaeyibgkL1J6QQHQvEmOqBNpsLXB/S3X5LKspMv0+4Zx8ZRka
2k29r7vNMNkdIVJwuHe5cBXFx1Q9hloYkVRWtAoROUbpLhEQWd5JTqFL013rVgbG5HlRYghmzAb0
17gMG/Iupi7fNa4g4IUv3vpKaWTkp9DwGn2X2w7e10adW87soQ0YoW5PmSMJ+Bhy2goMeKJYH8Oz
pq2cKLuUyjA37olaRqCOD0lVkObpjSjhB9cbZI5T1X52tYlQD9k0YhaBUKKmR2gedo9mbXQXVZ7F
l46oHOLx2rwkbbGhgfLr2MRaO8205Tp10zraqUmlOn6PAvfrgBnfdwypaXqNNNWqoJ2dJEdXGLoX
+JWHDzFjKOoAZOfQBfjw4mNdVjZ+Tlj8Ee46NUSvxITyMlEf0SMd26ERPwyKrTYnS0E5Jf25w5bL
R8mhNvfqyPwf8U+mPKwDlcUJBLcN+5QBjic3WKL3QF9UKCZheYp5Eblx4RzXjN86LyOmPQn6akps
sLEw26FdKfE3LQhSQ99lRI81nGgktVhgZV6ZKprcuBHBLSdyqOZb08rBzMPazIegn0ITEU+MIDcy
ytxgXF6OtRYweCFZqDIqDUooxmUr86qfrmRTxLmvaLM4J+nPvYTbMVlbBKELw6nRjKY2aEa9ykrP
GfE4PEucEhr8aiwOWY/CShDTFtZZgeV47ozNXdRraOSKrqsuFaICFAaLdnPatriUBDqrgXNDfPWk
XuE/T7ZyjlLH3VUm+XP4izLyLW6nqe2DSos69ToVk91shF4gj3In6OHRMQIC5AMnxYDAIz5K2LTi
I3qbwt7nSoPXySj7LN9NiVAvHPDrp5FUXnlWTjHSXqbP+LKnSiY+S63NECDRLkTM4QoHppQG/91v
owU5lAV9Ab3I3Mpn5Nwh/A7ZTu4mK+i2vGmyWjUA2dSIsbHMBV2NOxh4FRQKMo10qArkt9B/+62s
4R8SQ1FMhFFEYv0rNZMBd1Im3Lq+1rqQD24yp6Aa8ykF1up0M9BbsZwmygThqMYXG0YC7nNNUOGt
T6RYXbqbyiHozU/KJtU8JIG8EK0aZQQHFAs+Kyv7KAirrEoDGO7jRJuJWhWrnWLWfXuKheLlcbc8
ai7MtGxGwLWZ5JAdxRGGsMFQVNjZaqpSPchxHN2HdKkXpFlhkq1sszD9VmdC4ytYGlsnX8IsXIyJ
Sss4FhADGUg7pBttG7ullW6y3Pg6hF2mbetqYdcx3AkqEeYWyTcp3AzdySzVPRabcbGpkoYkwhr5
Fil/kBFc7CGSut5SD2B/LQFXbM/hg5592hOYVSLBgQ+GQlx/brXSvMfyPHkpOzuEJtf2jFWQZjiG
J3Mtv09dFZLOmOuV9GGYsEoY0sALrB8HiA1wYqcUc6Iy73alTK2rqC8yEEjbQN1uLzB+JmbypeEP
kIeykyLr6vkaAU+qa77IuzXqSJdFhbKsk422RRKkNpt+yLAZG8cpPmdOT0ZHxHe2pLcj0KJI95T/
lLObOl7lbmQPOkbfdc9OElrNA/6BVofZ8dCQu8672PCF9VT1/cU0RPqR0i7l1zFKtNafQqsgkAmR
RHosSwtwkagMqNlFXKrMnhr0OcqE9i0fbSugJRkjc+fqs0o01+sW+2/s7x8rRPOv563+Y/X8H7fP
zffnt/jf+jt/uNHo+qdXl27SnACWaOypc/5wo2F8Sn+KjS5Ec5uVj1/6y4yGRlgF41+xDWTeQF9/
mtGYnwQU3pXDzaSUge3fmrm+Ymh/wQ0Wvw86BMKGneDqwGquhdOb/ibK4dtYAEE42yrWEXxc/jGk
e3mwEJsfD+j1v1bzHOkIn+mwKlkjO3Phqm/Xuvix1JJjGfbExisI7GAGZK2Oz6CanVOmm4+mKPWT
Xqh5BScOnzcvRB23eHoxi/vQ1ZTzpE9H7DfmMr9zw7E/VWAJTGXmIIulIdk3mqvc9XUpSta6eScR
DT8lqqk8mvnMeounzMaEl0F3sBhwgob5yFHFGKS2Hn9581B/AUXq7wtI7hPYKDWzsY7IUECt8/G3
96mck6xOC+PFwk7/i6HCymqzehp3Vg+GYEbZCuZrSKsiq6jhWNr9N2t20XRnAD0lVOhousa1mO03
QfSMRglqttcMU+MzCz0r2ekzQk7UQfW6piHyTuv7eFOk5vKBdeIvr8MBUqZX10Gf7YNCGOO5CGpm
+VJXUl7lmO1II513WFf0+A4p7FtR+R1llglVOjJ2iKLsKxeth98h0vdISEz8sIu0pzALh+PQYojs
MiVEe6yvOXjNSVoM5gV5zMlRpJXxB6Fo77v/12eAboG5jOCzofA+6P4bch6N1o1eijzMTwvAx1MR
RR0V2KCfaqlRBr9/5ge90no8GgV8kHmmPFUAuffPfBmJfsS0/Lk3snsltb7IDDWyVSXdviuL7CQc
Uen1uECxH5W8+9NHyWzGzy8d1prwb2xWZgii4uBhAQ5PTTeVz3hXkLaqJBYqvh4K2feS3OuXJSPs
l6kUBphKZxGgPKjzU47tSeUvsTU/jlot1zwW6L/ZpJ9jTqcqXr9kNTvykG3g4jgQNNWu0iFJKfHJ
IHS72JSao9xaZbWFzu9kQUzIQUumlnQe3ITsziGh4UHdlBJIK7v6Rglh93k9hIIfwyQEa7+2yTrg
CXD317EEY0ALD2rGDasn2NsvzjQwNJWy+wbtFlvvUrfn41lxxvtmqkfsWehQtqURqy9SnbARMMMJ
LWWlhdjiisy+xmlHIlLtW25cOpYzuQCIxmENV/2dDen1s7TNZdlOlri0RWvdYp80fub/anwpa9Nj
MSqPiko2Z2sCzs0kxKVDBMQH0MpPLzQQB++xw6eogzBoh4uvVpbR0FhPVe0A0eHnAWmVhliLMPSp
kvCj+fhrS/1used4K6rCMsbkAQD2/S1FI+vQ3tVPfedOoK/E1M/pGuOZdXlyBBFefyR6y9njV3OC
GhvSJWk6V9gSQcglU4dS1YmGUxRGCWtslUffGvS0JLYaDTGUi+oeKyrhLD7RAl2P+ARDgGXW28sY
/50bIuV0BblpNN5oE34bGVi9h4mugbUlKTnMKQ2MC0l7P3Yh8r2s06Bzyx4MX0kasLTff9nrQnFw
HwS5AozR8Iuy8d98fx9Wa3Pij5Zvo4tpbRo1ajBztzygPnlSebPXsr98cMgVzfjpkDZQBxuJrQIl
vT+kjGOns6rpm0pjeeSm3RLomRMFVgpv5/cXdwCgrR8OMYR487NyQckno+r9odisSc1r2m+zO9zb
TVlDzeva7EEryBRbXFjLdjQu4N2WwIYGIvJXFCvp2Wza4/TBqby6Ur+/6teXDUMAmD6MMQ9OJXVz
R0jdfSrNSX1I5yUn+Ns1mws9aQoI4Lic4lY8zc6XJBzhXytmpNzLoh3vIWukhHmN9flk9CVeNGqP
4W0+Fc+WCC10K1Y8QI0HxdkPdUUb6TRNcaKHsVF5MD2x/9TD0OaQufMh6vrzozRIJVnpFyBJDu/t
+/urxouoM8V+xKELFxibHOLvKvJ9v+EzPx/wli+Z6xfUORmC003Fl/M8NYJuBgq+CJxIhyOKKMf1
cAJMbqJ+cU6lZleT3yHVfkICOb9gY8WKoCsLfSMU2GuzzdrPaTSb+MMYwy1uEPq5oqAc9BImF2Ed
X8KiLxXPmcWAHKoU3AC1ixz6ihDbBX3u54c06xsyt+fsi1p11oltyeXERP11ChCXM/LAtpoG3IIl
40WamVwCqHUt4eEDEp/fv6EHRKP1DQWwYKbLLE0jzkA9KKaMoWtxEtQfSa5GXWhMow2+GgNKOAI1
nAqtL8K7Hp1ZoLlTfmKX9nTkQI320yXJjhPwkiRQB6d7mbK2DZyGjdxLkNWcRWyML50RI/ZukJD7
7gT1Hz/Ytvwx5/x3u/OP1QD5X7c73mMRZY/fn1v5tt1Zf+dHu+Pqn15zIxzYpOxoQMx/djsCnfVq
DwsVgl2GmQWb4R/dDgxTe6XcuCvVDex/Zbj+yTDVPjEpXElpAEM0+AC7f0ed/W4RZsVfP1kOTc1N
SYXBxvsvN49Q9DL8jvdLUppbAsmTXSQxz7eXItsRO2lu39ybX3QN6/L21/JHPcBCr5I5AXsWtxUK
1/fHKwwtxfOqiPaoXyff1NrwBjkpBiDLkJzNQqqneobNxe8P+n55+nFQDYdTJj/QOSDUvj8o4NHY
o6OL9l1tKadtlspAg2GE4xPGhb8/1FoAH1wf5sdMoAxzHY7YBwV5gfHkUtFs7WecmE7dhZArSb+L
BjVNt41mmSRuO+3u9Z8goY8fNGUHhxdcpFD1lRPHXIMAoYNlxKI9wo9QNPu063ugZDxRu3JRLrDX
w7+oLpuFqHlpfk6oQJ4KQ7S731/+IWGZE0BMjQk9N536nBf7/a1Ox8Gi+dXqfciYaD+nk/6lB5T8
CjUUz3Sy2kc0r9I8qXQYZWjLdhhVW50fIRPC3K5rtWvH7qed0PrxHmeuLPpg/31fX0LXW2WAfDhI
Y+D3/DRuj0sLT99Mrfe1kPR3eTHg2D3ZewE9ctOBQ38w4D4oPV4PKKhwKC5dgTvD6rPwtmZXmk50
Q8ecTKFjqT1T63XN48pssVFRNVxJZk9XSZMGqSrDTS508M+0d+bTCe5ft/n943lNPHrzemIRgQfD
64qDTffKhnl/NnmP6/YaN4sStjUXD92FW3qDo7fHtY5bn2c0MjnFEbO8j/vqu42d767Fk33TorxM
vD4U8spYQvWrWeoN0OXUoIQrjNi8jbq+OmpmOVVeVDnIpKZOE2B9gg8OC5z4NC9q5SiXYsx8HWnN
NhzK8AycVv36+0s01jfs8BIZv1OPvH6Hh18gs1DabOD7PTJ0oXlLUbdGAPI+fckaKqjSqabb0qXw
h7epuZ9VMOFtneXRadOb7S6lgz8q87B9GjRLuVi6KbvOrF79OkEB38/MLq4xr6keRGmFR85/03Ym
W3Ji6ZZ+lVw5pxbtAQZ5B2aGGdZ5Z95IPmG5S3J6OPTN09eHMm+VZKErVQxqopWRinAcOJzm//f+
dtMlXw0cMEAUIRkBnXKpGhUtXedK741ns2lwDjWgx85D3vfwv93s8vvbXT7ov9ytbdEcBrClovT9
+YUq9G1SB3muj9XLXInOpAozQc/4/VWuv5qFaKvysVBhQgj2HTHy4yB2rNTusMVnvp3WeHYiRg74
qX1fz9Y3jIjj35uvl1G6oKrRK7NaYG+7OpTZ+N6jueZyRl6G55SqCb8Y+FDCVP8wHVwtR/++EtMk
Ah+ddVhfVo4fan3Q16jpNE1GFzsMzxkhb0+JULPLrFTNoTPi7JKjdHj4/dO8nqSX22MnwF4AnYjG
FvjnixLp7apZW+Swl9rwHWCJ43h2WvElUv/WjJUdCeN5ckf5OW0zPqLaomf5+1/hakX8ft8AlJFN
A40h82154T/ctzIIOyGoW0LWsBWIeKB/kesWMSwCKw/+IBj4xejhTTq8Uhw2nLavLtYbCSHcnCl9
qdjZxYQS67XxYO9KdhsQFdr2y+9v7nvV6+qjQKCynLNg7/OArz6KEhtrDEKq9FVIVKCoetsCr0Co
L+KTtlysKEo632nw3zaRkgAPD0onPk16XeBRxuqe7Eus3eciiJv3TtTdO02S3lxFQ2Bsh1gop8Bs
5eff/9K/fCNCoGJlZv6rTJAsPGq0kSP9KcZ2Qj+OQDM7Q9oWmtXj7y/1q0GPEmZxLqESdK9NRQWp
zE3FLbEdqoOzpjfaGcDicMDT7hxMIy2OEXFI/u8v+ov7Q0iKlJ1TIuLfpR3w44ib6QMjlFUKH1iK
ubWNIiAvmjgieHfKHyq6v/i+UHHgnudiiwzo+vVHU5XNkyx9VLpRsc1FkpxyLOMeLenmvmu1aa8b
bRuura60ToOTh38Y8L+6V66ODhnLHqod4+d77VT8KIrdIscyQ8DoLXcIR8u97eLS/VuyVnyLJrtM
jVMyWmnKbddbWzboYpksc99kzTqMhdEcGjGzNjvqbDyHxGEkG/yhzUGp/vhKf/GcNZuvjD4JHF4E
ND/fZuWk2WwNQkLHVvudYQbxQ1RNRrUe7Sw4J/PE3BUj6MjgoxDpsMpCdlu/H1W/Gso0kajcObiC
/vKq58YJ+p7YT9+M4NGEiKigFwaqh53zPg8Ji4ESALvy9xf9xetlxqTVxPmMjtRfpMSLLKxqmDyh
qLtgPWnMgIyq8mgTiyDZ/v5iy0O8mstg+9PVYvu4iNeuJk/JCclJB6f0K/ZqN0S/PBGT96c7+sVF
0CYzVhc/C26+q1177hq1NdNi9Vvw/7AZpILjVwn/GNT0iydHmqjG1IytEcXi1fYza2aI5Mog/VFU
5nOKNw2HrlzcsSmMgz+MjeUzv3pyOmspZyo4ZxxJrm6qBkveQw+vfWyfaHMiN9Y3IMDb3Syc/Bgp
lXIXdCVk6IHK1d9+aaiqaJMsN4vg8GqFpy2By3gsaj9LhbKpe/NdSVj1fn+RX4x97GQug5/O51/X
cBfrtD2qdu5XaE9ugplNw4wy5RC2Q0zDvRpAarjhnzYvv1jM+dZdJOYcMEFOXD1VVMr4apB/+Epb
mM8QQZQ7QD7Vo2OU0GkAWP/hLX5Pm7p6jfhB0ItRLl38AVcfQEjMEDFtovQTGPICoWEPBySJleiD
j8F+YmKAfNnRWHwCeRPcucXgwsGNyx4HqpVUH+hossuQ6JwC6gJSgSJbw4HFEb2D/2fvn1otmHC2
BYBQ0PoYnhFVvV9WevPIxkW+/P6l/eILMBeng7WsvdRvrtYmunhNaxZq6etSIToDvKOxAWyvvLSJ
1v9Bwv6Lay0TIwsDOh3yh5a//2GTZ+vE8E16yuZWKOGmJW5kO9dKA0mLWsTfvi3QaaxAZC5xyetl
aFKrFiXNlPnfKx6NahNVFcAmNYMo+cNGYil9XX3XJkc7ygzM+IIMmqtHmMehMgAw5+Ma4b2sWmEM
1AuE3JHGpr7SOZkt0PpWOd+22cTi000O5WhoLJdGGehSZ4yzO6rCAOIBfT8RV6T1Hq8EsBYw4Pff
Pxh9mdJ+Hr5QGZedNuU6Jr3vdMQfXkJlQkuYIgoii6jyKOGwvdFEVE4SCDQsHKAp750a1Y+tVcFJ
TbWAJIFan+9DO6puk9kM15GGprsuQSblNmeRMuv6TSTa5iDi3rkfnGLcqfHQIfUV+XEgpmX1+1vg
wPXzVEq9gK0U1j86J8gveOpX8xnm3j4lfEP6DTq3tQ5N/XOg6yYhaLKANoQ/MWiBSov8fWA/wCNP
w5jz9VwN/ZrKXu6uKvqFMWBDo4ItQTMdBQ70G9BKjmI+g6RXCnR1eol9EPJpDgfdkF6JE5w9jZmN
o+/KzAi2rYnbb5sEwIk8MaX1W2Q6MvZSVc6kLC7+1ZVJFLO5cspjmir2PXlpxaHCV0YzZ6QY3tdV
tLasUL9NQnZN6wkyCG2KmTP7DtZa+W5FWLE3JXSGTWsjVnAmYl67ObEPgZvaT5rZAq/pzAoZLKIz
OHt+oGuNN1Za0K4DxH0XiMrKV0cGBkOTbIRvNokGc1p84DrQF7HlDDVQQ0eHeBqlFqJpGXTzmzrW
yt5CybFq09K+yWh0cP+9fCRF4KsLjP1sSFf1KSigzzWpPj5FhoW81Mgisdfdpj9XjjJ3OzSfoE2K
JAPqX2W+rky8jqEIlMeqnOJPWDV1QlvUWPiRNSoflt4AGXNbs4cAFEOttuLMfYwrI7gtsiZjvJLe
SFxI7ci1bKW1bWVjzZ4yQ3xKOgmXLrD7FrUGqyvVh6B/cyEokkTdWxEJdcNrU47WOwOhnFatlU+f
69GM9/Trlc7jFJLuYJ5H2cqpBXESQ5M8sGvOWooy/WfmzvwLFIyR2EhhnLI8k89u2HeryeraswB3
EK5SPZW8oyF6y83ggkb5GYwaioACBaK5hViAejdRtPG2GQBs4OdxAZtDxaE57jausUH6WJJ2pKIa
A+O20WdCaRzYY3dKVTSnmBX8JRbpROskiA8OgUF7xSjUbZGbDq4YKDqromydz8JU6v3cuOk6VQQi
36H/ZEugKyJXIngq1tek7q1t0I6GnwuDDbnlXMyxfLPbNofyLJVL26f1o5XYht9AswMdVEIdKOu8
v8k71QSLoiJ+bzRB27+u9HeOLM09MpVqNfVmeqCUp+/DSiRPmqIpHi3m+qQGkSfy5HEOejS0MRxB
6rU10SYKORYFBHKSdubBKxFCeXEDmGpdpmPFQxLkKmEKT6ZtoFXYSJyFZBJGlLORX/dd5yGBlpC4
7IwTlDOpbbCG/w00OFB2RKs672MVpxx1TIdMIPJ/UwR5a1lE2loCeNukcxaeuhnqu21H/RlNODrr
OSZEBIOxtgfEONmrqVJhY5oIwovY7GjEWc5rPyRM1oUD1Vx2XbNmjGv7HEgg+L7eUJ6dKTojD59f
6nGSxMbE2re4iooPevrhE2is8n2u7gPFBnDWMnPuiJYIt4E0k9sRk8rJLmLAOSmh6oTmEg2Aggop
SWojxrKGXO5Qa8kbHEbqu6zj0S+wfByGWVEfGjMLXyGy616fDcV+kuN8MHuQMm5tsQwOUusfKvQ4
30RHIHBC9XXTICLfWoX+0qgGVXKlqGhG1GOLbLaP1OmY2iZ6jgmQG3lVpeyIja3sp2BQuhcT/cEh
xLRIzgzkqZyMKbX3x1afvjj2CPdsHtnNpAOpSJ4texJPSBANgcZOBsRchynbys3xvgjc+aWLdc23
ilHfjDDm5V1sFApzdzUq71oyxbtM1SMvifv8GWWUcxwJ8KBNy1jbmFhDN4UR1OlaHQajWfcw9nZL
5KsXANbyTTYzB8sNmkfFiqwaOzh+HQaxLu+swojQP0c9qR1pHphbmGqp5mnNbBcra6j6eMt+yD2N
OQxwWtzdJgZ3+WhJN6A4A3lgz8vTq23ZyX4XpojZBYeVS885+b0pPsYhpcUwm9k3apOGZ8dA+YZT
ywQJYtu07rHk4jUgyHQdzQr2r0y1L+Dc3WMLrXVlkz9BMMyAPhd1bRW8ib5xb1uZFIeh7KtDK02F
SCdL7T4J1MlnDAMC4ll0tMBF+fmYAEjXjHRr1Fq2nlx7gOxfVzs+225rK3oHn9XkXi2deBFk4Fst
F+a+mtplBWEP8ToIoaZQiQdxiZvOTT9Brk9IPtKh/pvkLTDwZb6q2umbpcjurIyZuZ+ySX62hE3T
JOqSe11a9a5xbHnJdGvwcluJvk5mMT/LgbiRqip2ra5n951tPkPjJyRUGWDHDuOoriIMHsxeJUHa
aFUS7jTgeP3ZzEzz3DlWeECYDioiTAe5GvUp2kNvUQdMSYaG82g22qM06/ixwDtN+gge11Pem8Nt
NSG5OADYtHSP/8Da6MR/8BKiLLyfzYRgiroTXq6UrGzoN4CqKVb8qA+2ug1CY3ysS/CyQeT0nmPR
RLJ1eaOYvQbVSYZUuou4dS5Eu4lpQ1ETPXkmpPMY2WN+X6LYqdZSV6J4N7Qau9PGNr5FKlAcE92c
uiG9I75H70a2WB5VGileyBeCiVAay0oxRCpJdjJVxZ9oN7wjhCT9Ke8TKhmmRSBCMKCfj/o6O/UT
6SJRUEWANaRFNi7UQ7Ltx4Hj2Sa04yW6BfV1HmbFR6Z02o0UkfXUu2SmrWDKhSdE+HgSYmyZTKYl
yQ1NJ6TwykJ0930odX+GTbXXc0JVxjLWjxMOZ/zSIrqRk7EM7W4+1jm3SYgNx6NRCm3VCI08WNN4
I5bAWTtKVqwnpQlYbQ013QwiC5lnrfwBTQI0Lwv3zNqU1XxkwkIC6RbezG7l2BRh5ZdJX7z1Y8iA
R6Ejsfjs25YEIRMd0ymMaToYiZGBFLNDjzrwBHUQFogEr5j0Q/2i1taIw7PTPsWNo/htYD9rEpuw
k1b6iiqSik9ZtY19PELmRvmKzgXkmC/mMvLCfsDeU1iKj/fK3WhaYZwCtgj6MJS4SDg6rkNmv1W/
KAEVOjdAgKroQhst3yXAXc9zm8A37K2+2FZ2b9ymaWQ8GOkw3ygSIrA6uCBROtt9qGXQXGr6ce06
1UcilsGBgv6aHBKJwxLSb61s2qEOnsekavAolUm9jku7hKbHI2rsdPIBwnQEs4jat+sh9Iz0E6sf
s3ihh9qjqaUz2/5JsKCpKgcTLSzic9iIvcZDPoDne0MZVK+MpnW2OsA8XyvKfk3WZYaVFP38Axuc
D0G8zms/F/Wxj2ri7Mb6s127742c2GrbzIEa8++QArzMa+01UK3yzmBe8Iownx/stH1WhiDYJroS
30coH/EUspnehVU+rnIdFqzWiWHT1XQhO52Dde22+VkVjeuZgkSzAGfO0YGnuY3KzN2GAcTBJqn3
ph3HZw4hO/SIOqJmuNbbHEPGS41laT/l0QPk6cdsInCqb1p5mAuwx8gTixPuKZDYWt9uqsB87+J0
2duNwnN1/mCz6RW5jD/HhRCHiM3jRqtF4CfOXG4qIlg8JWmU7VgP2WoUuctkMDaenhfLRrM+T0mH
Brlun12VcLjUsLoDEksgSSoJamtNi5N0pUGeUiFJBrCiFPGUTPmM0lCpkmhla9Lkc9PcdZOGrld0
ijgnGRYxbS77XZ8r4INRV7EA5PY5ccb8dkws+UUWhdjZxXjBQmVttWRWt1EX5y8dgQq7gaOPp5fD
Y+WOOk0eaT1jMk/PdRgOXpMO6TlUYKWosR+bxXTIVKnu9QxYQd21/S4qy84nLMbBmebEm0qRzWHO
Q+PLEBvqthUJwJQKRJ7bOeOTaU4upywFxjOhLQeavJ1XRMZrnFn9ZjQWaWU7MMK1oKYkUPp1nszr
xAKiRMr1yC6JcKUbd2ill9ZW5+lDZd46pWHvtSj7ojVx+9xirvKZ0dE910RBaYmWemZnhe/DZC00
zCKiD2qQ+ii67q1W4O26oLs/kd25Miur2GHgMI4ECjYblCL1Srfc/qCQJeX6cUEtAYkc8YXSaHh3
2ZyCT+qLDygg8YbQFUxlM/J3ysyx6qt6Hd24IqrQnbPoqkqgeErUVYd6YjcdIe7dojlXN7yybB1J
pWYLjmPRHRxML5i+WBxgcavkaVcNrOA4tTyLMO0kdcA19oDLAfTW23xIkzVya/kwplnoy5i5kODK
2pN0x9cw44O14AyzSYghPIt0HDmYOq2yJpCw2Gotvh0FgcFWIZUzWJls7CELJml/niBX3dmiF0dq
NPV2EsbMOBWHGu1asXFR/d5qsaXdFuwAfYVd3d5J4a1NLSfipgrDB4xm7YoLDJvWceoVbfsaL9Do
+JkCAXZUpcakUqkrJ5hPWRm/q5MqbrLK7IlLS256YrdWCFy/mlWbrO08PTsxwUj6oOsfZQQrqquK
6R58cbbV1Uh8MuJJOWZlOeuraewsZHWiewp6vThVZTSRJVrctH3/Sk+AGN9GfSnStL9VFskiGYTK
SoentcabNWA5bTiv6216L3uUehlFcCR62puZSfDu5OAC5+n1mIN5FewIOYz42sfUi8zAfR7I8fOy
JP6SWsN8qhrqlaQvzkuIE80Ps2+nnTVH+deevdW2RdWw13SZgNktiYvQmXNtlc3Kqq5pP64r4glf
zT4FuZlnigf0JX9SmiY4Oo1wtmkgpnU4YbUyWyyy+hhOt0hG3p0Qk2U3xxAw6siGWw9OgHOT5kP1
NR87iyNvkQu50bqSCCD0xNB0RWazfCTzq93xtgBqw+824/CpdF30+vioHXsod0Mztmi25+IpL9qC
BaUMNr000sNAL9xrBGYlnpZ4FH2wm6BZ72H0Esvn9vVb24Wtp9bjTYkXg1AhBrfVufJewGdGaVs9
6+ZQnPoCPFM84bWYnTE+uHkgtond2PhE8KduR9F0BBSWzWVKoXN3OedHOOujk63kGKdHI5jSdRhG
HzPqXqI0lJDgC6GibSagVA2oq6JgluO2heuyVYHDg6pK/FIrek861LF0xSBGsgMUl2F38XH8zB8j
O9KTEthk9c3BWYmN9gLuOtrSYkIWgxxu02h2+ZXwJCDOldKwO+DLo4RExoFNg+QOpuiIoofZ8cWO
FxsKLNMujaobBNaEb2bjq5vW3yAzk0RSE788WPW0VWdX3bnDkB/GviQnJJOi/6YgryrgDpb9U+JO
0UvmJPVXq/pIapuzplXizguKeqMXZCjZ+px/JhETH6chugOwWfMAFLm/m4k4AMogitbTiRPzg0SD
viHaUOzUXIM/vJzlAQcAYIOB/RAOTF5BOGd+jCr/wuo6rnVZQAgNCVeFbDWWK2h15TYrW76kVJmn
dEUXig1jmcrXIB9GH69zQCUqheraxRGPVZsOcPvea1AGhxpl9y7NquqZyrR9OxHLma+iRAWQ7Ian
ocySNYKF0t3WcZWqnNDriOxRThjaim20wjqK/WlcmVOd9p5Abqt6ljmZ2VpDLB7yC1Vy2DRwj9kd
04JrNiVIvpojCPGwY7EtqVTv7TS9iyzb8MqQLXg0O9nanNJsneCn3KrlnO7RDKksHI58nvNyMZMH
1RiuOeClxlrPwmkLiy8d4dt02oT7I9K8Lo4fqFnREQCk2sqJ7SApvpJt9LiE9c7aOiT2dctlhhvi
dIOdlsTdzRhABNOjGVxrbq81lFhrUaVnu4vf+mLGB2/GrV9QMdvit/IqUg8IXVUpT1RudxwIi/Kz
wbyrBwAW0MnZfka6fFJ7s1xXeC9Wc9DFClGzwfhCc4QISMi1XqmK6mOg0fVWsjzeJ5i/1y67r3UZ
y2inQX8/d1SvPxFMCFg3ZKdtrPKcfCUZhtrODsxXV8rcG1wiDzuUo3tNTbO9rWhHEmFeSFEs9nZO
cGdcdU+lpqXHDAu67+boga3KnL3cddrPvegE3L5gSVww0VCjTiJ2crAD65KNVrrJjK7aGTLrgNTX
6UEG8bSNdDN6NSi6pquhjpxN1fTyrGdB49luE3/owN1vlL5ydpy0eqKulfDQMUqP7AxKH/S36zeo
2Nd1K8xDDqGEPWxrPFFScN/sxQ5XR6I5W/1o37luSMNmIKezLh324d1UyK1o+GQ5TulbMrPa+zmI
xR24iXQ1Y5i4t3DEL3sx69iMvcmmLTW6t7Qv6nKFpcPEmswzvKgooJWVOpGOF9PVjVfsX+q7Qh9Z
MOqJ0wz7hgM84ubMYm2vVSewj1UrFriwpth+p6f5vlCAS63sivpOZTXBp9mOyn1i9+reKUPtWaPG
tIVMjXc/UKOOqbWfOSKjdHmtAxSGSSzbraa6o4fvAWaf0gwmVGU7eSFBqb5otVndhN0S45aRag6v
m5mM6DIs5VCGw9SNVmFSxG9hOfGzawFqeTMRpHkWdME2xpyNX9ooITS7irJdOmkapdlyHm5nRamh
k6X6kex6+ZhoYcpuopg4C/YpyfSR6I+pGNRkHUIGSjf2jMCf7GNN+zrEWX1KwiF/V3NBaT4SY3LX
T1FRrFUSRMQpbws2AQ7cx1PjANpbpRVpbBt7jPUXk2jGj6ZLa9xoWo8RISHHAD+JjdWaWIPgrhji
jqWXE/dJJY2pOtd2oZDUOVjCryrV/jpBIlgiVKqPcCpD58g+jChfg1Qmsim0KFh3rtar4CyxOUji
x6kUNQr2qzAyn8lyaL+o+I+pFgYhLqeypUc6MFW94n/qN3OOZ2vVEft7CoHnX1LTNp4zWAkfME7V
V16yvSJHkiDLQQdN0EWJlBs6lKGzdkULXhV6BjIgxIXOtuFIR/0+1f0gMvSLzOrmBgu3QWxpTnbe
KtRL8xw1Ob2qQW3B2KomRfJNhO1jFbjh+FTMDoLJqszR6Zrffy+DRKx1I0lj2bLBrD4TDwRegOR4
/iSnLX4YYF5TdLTdWwN5yRmUbk15xI0Cfxrt8QkzRKbuIJW6hwQYdgXRtkurc4jfzcAuN8bNJZED
golADcOdTWbsR0yMZXPpE5zXWzNPzG2eKAU++9LILpg7w3SfOUEUr9veqY0NrHOC3Oe8MFZT4JpU
NnS++qBLjHrTNDSFWBAiRJOk7Rgr1wnyoz002QUufLuTmFYsr7U7HkhD1ignMeRG5EhYUjO3jFLC
YmiYsbPIG1q3aUPHayVDqhvrwJ6zCyWN8BNleE7QriLNbacN6iuAkuZA/TzZunmSPZOoBRyXYLSR
MKSy3QUkcn5phq690aZxOggLnMvRpd17Q0GWH582CHXmpWPptC7jlBN9cCZ6lsAZBPoI8dxOfhag
BM5ukoRnG20ugIc+8Z0A0DkZJVP4TphLciL3B01DrzsUaGtB4YmUIw5IHpR8newA1V2CmPupvNg5
XAsSMfHjbNq4YzSGATR+tXH4n7URxKeO0vgzFYE4XtexrJkssmZ8K12rekyGov2SQKu3KdEZyhvm
pvCTVRrVI1VNcOTGhPU4dlIC01A4D0+1atQvlUvBItUK55kzg7ixjZD0mCx1z2Ut2B9UWSNY5AE2
rOyG+Yq2Kftx8oZQTWQyhD4dJajFGktfqyD5mV6ZSG/4DlqSJCnOpuuEyGZ2KdoUNhtdBjQPOtCC
4a6zB/WTzFLCmQiEyS5UsBhZdZ+Yzw4V+mIVVAYvokosmhJEB/Ey00Qe+xh5rjHVTfCAwoJ1l2Jw
fhujbt1UvROd3czN7si1CDLizKmrrhRifL/MvG8KoKQSeygYpuiAQMx6Nio4BkEj5OdMb8VXgR/q
RNSIThlyGpge1BbVY6uYNjHKnMyJ85riZKLHoPLxZOWiUwHVbnYbUq5cYudJFclt6BsrRVa8hKKj
c7RtzA61VZ9YBKcUOHafw97Vcp8a1fBEhlPiqwgcbg0aBhfao906Gxi4LAvBObJFdpmIAH9MXSdq
DrHV2F857Az5puxbvo24RYLMhmBWEKkqJTuzFjndjn10mGxLM9DL9Uwd8RP5Mzr7rFLqzR6qbPTA
UlSBwSU6I9mLqUv82rFDuFF8H6TE0OJ4JdKK8U336qZI+Tonq0y3eK+ZdeH6faI7xeO0NR2G79A4
E5sO+PaeSsco2X5vXHcI0D7IuCh1DzAu072QBkO4Spbvu5UcdG4A69CYnxqgh4hZLA7ZBWkkWkpU
3ZqL8EPdaXjJDJey8ODq9aU1SJZY0edtt8kyMxcsAFt3HseTikdz7RalfCjiYqRzpIEbZ1PPCpQK
/pqKs7rTk2I6g8GreQbofu8aOyit1zSrs5gjZCQoolJXXypUvKQRePGuLCIOQ3WeC4Kh9ERkt1FL
5m3VVuUe7Ee5d0tFPbRzxLtgkZNizQumyG3XjbG1Rv4kjTtlbh/UOLjNLMEcGc8G85wVlEwiaqUY
zxwp1V2WkN5ghYS314zv22pMg/OAPcVrI4u47lCjWTayp17n5cxDmvQ4b4/EKDfTxi4KKq3QjQLl
MOUqAXFlyYDTeyircDiSfqfr9Fw3AHLZbKtUSXcR7ZoTDdPZWSVGykxSkBKZ0DHNkDe3XfU4So1v
sYCKcdvLvt/wHIQfVC7GMiCm1WaoIarAyrMOJf2EcGU4yIp0TVqPJqN7lzYQT9mXldZbxoLCLlmb
K1+GwxlLWtOfaIWyZLUCkXFhov5j85D47pgYfpdA1ElCi6FC0PdItgWdj6FA4YjbbRqecGEL9o01
ixRUa/SNxpRd2GgpgDSdkMHbJi49ykg6erQe7IwFk92hfuQY391OFVbIQUZASqKmQcafjNodNarb
DorKilgp8ikK1gbw9Uig5agcum5oDpQmuBsrMohRozSu+GMGr36VA5jv2bQsEUxBaxHZ811g8f/B
Ofc/xZn+lHn6+Mvw1OW3+VLKqY5DtJb/9T3VAdv5Au796R+8AgPMdN99q6eHb02Xtf9tLlv+zf/X
v/xPTunjJL/9659fSo4ty08L4/KnFAZ9McP8z8a6p8s/nuM6jIt/7Jvsrfja/OSvW/7b//BEhPm/
YHRaBu5JlByQHJA3Dt+a9l//VATYYDSygDwAX+qLo+D/WOxIOWUwuTiBTDz1uIEQtfzHYqfZBKci
MiIOEi8mvry/ZbHj6j8ogCwEWNibESJbeDvh3F4rnxXyJwBc6cHGTfutHk+7yQm8Hx7M3b/lRP8o
uvyOlbFt/vXPn5Vef73ElSRKcNSnTMglxsg863LcxVLxRO9efn+Zn7V//32Z7w5xS3DYufJltJwY
IFCpwSbIBladnOhkMGOW+6yU3f73l/ou6/u/uql/XwuhkWYKbC0gRq4kR65V1pU6TwH0nv4Yae2x
dArkUSptgmlXsduIjf5YTuHOjNJDnE837QQtLTT85em6w7RTFfGH2/9ZBfWfXwn4BBa77yKoK1m3
lqAkLImt2ZSR8kDgix/R40m17hguL7Z2njif/i15918vuYytH9RjJvFSWOeHAIRm+FJMXLaN12NB
JG5Hy5VAKNKF/qCe/9Vw1X64yyvVYOtgg68r7lJSEiLK4BCZqf+Hl7sMlOuXCxYMfAeWJeMvBp/E
JtbQCVteblDezWrxWjimr3AtfJUcaM0zZYojUb5rtst3yOr+dP2fRXn/fqwLJ8jCLClUPAI/P9ba
tDjRp3WwEf0rZeDbuc03Ey6gtHBPDlKfKYwPieU+DG7mV7nzFDXtH7SZV7LW//wKJrHNMI3hHF1L
od2AVcyACriZWHLEnHzW6/wEFZDeoPNUAE0tyQtVu8EzQuNA+7lZOToapIgquhZ4RQXLy+L98OEx
FE6Avo4pkV14evweSRTOhj+I3pfv7fqV8R06RAA7iI6/U5N+GIlVLQsBoZhXNolz2yScq0LP1Lu1
MbgXdjZHME/nQm3efz9UfjWzOSq2M4wqgKbFldw458Q3BujXNoTNvLt1fifL5WAVPfz+Mt9hRde3
t2jf0cqaGsvC1YggNZ42WJvAqlMfKajeFaYDiG82PNmWWzWxDuRLHDg3bdVUOS1TTEJv2p2Ukz65
p6HI7mUx7+bZWinxjJwmvBcp4ovWootGwqIxMR9NKDSScItGEDVjdSuRCYh52gyMPXU0DioqVC4+
WdHu9/fGvv4X747DGvgfCANoZ6/mbfqkTqogZ9wUGocXO7+jvX0MLfcsmmCTBWJjQ1+Cutdv55j4
bSEJmkvfuib0OEwjYDNprMefx3FhNwWexK87jLcVw2/kHETjeWsi8eoVAHSE7Hh2jajN7rfgsZgh
hT/PyQNVY7+nJDenClY3Mnu0aafbmT/qvTca8yZswl2RWysLlcfyJNUYqpLOzAp7S2uGd7sByFdZ
fs0TDfn/I3e4saqKnMZXRPA3kdHsgQ1h4VK23Rg9TIPZoCWZMXbRXU77ZE2Y4sm1e4/EijXmz8+j
E9JZtmjDlXd85aduCtd2Y96EY7ZpRfYZUc4RUsfXwVAo8Iy7KhaIlpLDPOoHBSVSMM8bmGR+MXWk
JtZvuhkfCH286+MQcGRU3xKpcXborPci2iEgO5YNQd1hcJnd6k2RS5gbTRp94LM1nedci5fe/G1c
ZaRYzuljj31pVRcZXQ3Td83Qo6rl0dq5dRxl36XxV6fIOJfOu5Kstkz21BT1F8jDZxzpz1QoFgjj
yp1cyixrQfff2lnGmUS0Vc/ksUwkpfiIeLbLvLs8aznJrVF4ZvXqCEFriGx0iW4RnqpfVLAeWfZ8
W8gHLclpDGWbfLYvCIeOWaxs60I5LT+r7P83c+exIzmSpOEn4oBaXPYQQYZKVZWl60J09XRRa82n
38+zZzEZTG4QOcACe2j0YArVHu50N3cz+8V8DObmyUloNsNlbtr0HnG+SwaudmcZ07GT9M+8Tr0+
CC9NBdjZpzIuzV98zXgwod2O0nzWov6hDbq9pKf3pTMec9W5jxGyrCTno4g6UiQfA0V7wKr5qJqB
R9HgRIdkp3chRbGe8kPp5Pt6GH9NmXSI7V78Qz8/59psunOcOp+QV/rSpKEHNQQ5WpkNMijZfVzJ
VKaoOVmcW6U5N5UJhF10qMKL1A4HkmPKRoE3WD1ysfgtkJBBgj2TeOzqYXYbei+2hTl60D37ery3
q/rJ5sMV+kS7OnVBWLj5wN8J2IQWNjxgCf9scuxDCzBUkVqf6YddxKcOEeGMQDPB6/0q9e15QIxS
qZKTHPT7FJlGMNgHJEgP2NlhKeiwj/vu3A7BM4/jC4oyrjP7L3sAmOMF+PLvKZmPlerjTDeDngo+
oQPlAVqkDqnDjfkM1x6vn/hioB0XsKy1+DRBslfq6EcDKE8HWJOxT/oMTrXif8nUcSNCrQV5Yb5m
mCB5IZMtgu9cV2Zqt6oDDKB+QippH4Bp7wx149p/oTEtgzzuIjqEGVmIcSyeNshHpWVFKckdnOR3
yCmuSedJXj+kxkR7Ub/g+3FCNjUChNR5lZR/SPLgu7hTKTt8C3t2UjNmz0iSfrPG9B5wzT4GHHA7
XL9wJd7+SuiZsLllhMwXz8wW1glybrbjSmgb70oFb9fJQZnJ0E+xql1G/i05ykUxu1+zpj7oxni0
sJBFsjXeb/yUtXeSoGm9PJQU9Nau30mqgT+0lpqOoMs8g7P7DJDwV5dMRzRHQdvR2gT0hzbzH7Q0
9ih2nXJd8m7/htW98eonLFZjpLWDLzo/wdDGR6tCDjUsyj/ixvp8e5y1zWFByNHgjVp0EazFJuwB
YUhqq2FJPaQ/Sll/oGjhkdadgOW+nJG89z3LouVPGKq08PtUP+mOdNCIQo5fn5EqPNS08Ys6umQd
xzbsNvTfFloSL29G7m9BuDSF8+aSZWMGU53Su3bcDpiiNPVeWBN4JMmLkwHVpf6g1L7XSc4XKUAC
P+N6u71GK/kfDQLBtjQgMUHAud4OEvV1rLJlx82UnyNSsbav/hnxDkrzrfRvJdVCa1BThJQIzzJt
OVKpU2KnEovbxznrNM+MsUfzbbdUJ7qTOhF5QzYCZuDbRxJDOgAnyfvhJy82WmrWlI+hjQNb5CHG
xdEZxt6mTy0eurUCbNyqJJqmPbyM4IiZ9oHqdoksXnISO2IiKQPUdJm0wZv0/pDN6gmd5BNS/fez
Y1yauT43bfB9jsZDWchgn9CDGHoPyhz1eu6csfcsXkEAwR5sM7vPIulrmUmfRtr54A2flCne97Zz
HyVcfqFxafHWgil+oeh4aTLJQ0H8YxYj39wbJ5gAPyeyKnpBX8F83Nf8aPH3KWkeQCV4bamdsOm7
IGJBQa/zBuBh0hh+F68xIBNe3nR3RhWCa2rPfS78ymNwge2TPvkenqwQe/SLgs+DTZotTknn8OdN
/SQTMZ1UP4nHEjVNQMTBd9wbXRzTqCzFlyBMfvcI/Wrkyjoy25Uzf+joZO2SuD+YJU/EqDkrvIPF
S8visgVHxO2W0liTvFCWnu0kOBpKcOS2u+jT+CfgoTs4j48ifk+1fvHVn1HlP+M06fHivYORwR1d
jjvxFPGxhNfi4JzSMg3zn0oXHPE5p+3mf4VT43Jh3FOG2E8UEsVr1J9BKZXsAif6GPD6rHj1WkXA
q8a5n2AYpXV4GbQWuoix69vqSc6CZ2ca94rqHMXfi2Yehtyo8mic+lF7kBz+GaRPQxX9Hlk/3A3u
Mvtz3U9kesZed7pDK0d7NNzOKoyT2U8+JgA9HNN5ni3HqwE0dWnqgkc9ioeMHjtfQfOrO+TXHxpp
dHE3+uKTj/hO+2Tl02Mf9Xd6woUf803Za4EjKD54Eprjo5HhRi9UZ3h0Nz9NSs7VkH0QNSNafEcw
G0el1C5IlpxLGigat1Crz24YJR9pi+yDYrjLSU4LI/mYk7DGTm27Us2y8ZfDPuaRXIafRC1E7BFz
BF1KmOoHwhN7UFyxmdOcJyu5n5r5iDEi+3XwHL09m0TXFt5Ka6P0Vs9H/Kn34tsgWeOZmbm3QukT
Kg5nVSLtjNKTgT64UvOSGz5zpL/cDnYv0ldX9zCEN5N6Ik6vaBZA4LuOdlA94o65Oyyt9EnkA6re
3SELehDbII/1U5QEnyxrPkb6dGx8noGas5GWvgm4/ASKlrQqECsiEC7KP4WMhL6sjY7bpIGHKOQ+
VekZG+lpytqNu55MdxkARTHGxEVG6DHahMHr+QK7xF5bCmxXN+KLNGPgEk5tvYua8NmSZyAGPOMb
PfkIpcOriMNxpXytwvFnVYXP5YSJNxXYi19K9z3IIRIZ+nHDL1OH9TcG5l4vSDmJDQqeE7CWeKlL
CGnESXTpZxqwrS2eOWJxSdLKkqZhZJyUiaQgKqh8DMfB7Pai2DWbvMLGeTya5XQcBhROwYuffL+7
g596QT3zAaOQi6FRP7KiZ/KP54ajk9UD+FB2FCL2u7CFIWJXPP4nHeoaKiBRaO6azJr3XRh8A1wM
UMucH3NlehxakYGmxChNbUch7vOkz9k9fYmHoQ2/o330UUqKD22d5SAufa82SCpK4mWXWcRY9mpO
4qj6z7Xif5ITOqyD5BGHX2bfTmTUufRJ4rLdq4CkOxU+4CSnJ11vf0l1+Nc0wgxKbO1k5uUH2+zO
PcdXohTRBNJzEiemK/X+pwLwo6LxBYJKus+S4FurkRGSOebA8MBs9x6R4BJE2XGI4otv5x9ag6TO
4LoKSdbUnBy46A9B1Y+I/QfQleQDEVkD6QW97V5SnU8JY1Iy+wjNEdBcel/J2gWhjwebfDrFPE2c
C3rBHuIep1GhV8VemEj2wfBBXdFPndHDHQwvZTwc0BB6FmHWKiFUDvnOart9X6OYqpeS+/IfB/wf
jSkgxy7aWy3ZLFTGVuVSnGHzI9oGhgGajN1+gu0iruB4T3n/nxboOheiCgBllJnbsNJOqIDZcPRA
K9q/u9Qqd03Jx4WVfEml5JQ046NmT67RgraQ8z+SxP4U1d2jlqYfTWILnvH3IvGOCcowcelytr/C
OrV3Er4KaLTM06Wc0o9ta30F4PXcqPZzRXD2HBCTHiIDH4LG/yJS7DBOE1QxIvx5uoNCRANEupfM
xCv9wDNTbsrC2HfD4NkluXUheXkpTDODECT3TwDqnnhvp4rgWBIzsVjy7wpFu1Dyv6SW+blpeJ1U
8/iYWCPsTsvK93EFn0Sz4x9O3ocHLc7cjhbJnbjp6zzYeDuvRA4bfgZtFt6EqNktavV0a6dsgvTt
2g6MwonF5OI1xRHU8/uE6sTtyPx2OLSaKFFzoCl8ImRzHaggr4aj1uYkSGl3J94nIVmzned/iJ1e
jsPGcCsXAbJtyG/gO4k8j42l91URfrL5/0x9sNyCoE+H3a0jC3/5WT5Ss9lHSvJTnsJPiLnfY1F8
ipoOPET88WXO/wc9wvX23+vu33/9ry7w/w+bhCIP+997hIcoF63B151B8Rf+bgxqyj9ovbEh/5bH
wB3tf/qCqvwP2GbCTZT9yucTHcN/KW9a8j8gubOJAcVi2fgicf6vtqDh/MNCcIOdoMsa16T2Lp+B
68SWaixpnAbnViQcZJ26uPtfFdQ1LY5CCGCwdMcImoqR2sMFqEf4xSm09vxqUVb6g9fplBjLomqP
9JZOE5I26CK3wRssTVpwYx4vAEg2XQbUJ4V7CH1BIXM3wInvZ3xZMGnK02RDDWl1cJStYJeif8CZ
vZ6orAdtnAd481Q6kuq5lJTHWgDg9N4vXO7NYt8CELuYQ7ylI7c4uf+aN24ONHNtmgfLwpLW9Ki8
FFCnS0gLcG+VyJvqSTrGRTk8jkPJMTZHPb9rgio8ThmV+gCy5VktEpMLfJiqjQR6kcH/6wdR2UGU
jOXgl12vhaTUcqIENldK7vf3qV6Elzk22hNbcj740OR/IzlOmdaWOxDUESgz1Uicj9SJlI0234tz
9L+fty8/xVI4BbTA2H6IrV//lNlX6mwu4BO0kxQ/xJCWnD2GyM7ZBL0KDVgKaUfDWade3vJfQQVf
Us8GQEDgkEgRkQ7LGNCZIZBWN3YSurO396wi3pvLH4haKzUZRE05cov36MhlA7Jyir0KzMmzDoWL
V8Y87c3aNrw6D5tj2kz1nZbWOTQYCTpUUDQb/de1D0YhFvkUgRIQ0eJ6lZBWNELft2NYJzU9j6jU
eQjX6WOEqunZSivLnYwANfYpqJP7JEw6MK5m3v8BoMt2by/I24BhCT0z7j4NoAO9uOufgm575+RN
kJCex+o/61RPDsBp22Mb1P7x9lDXecffe+PVUMZi1qUf+kFlRImnQjHoMbmQuksl+f5PJBymD12q
WIfbA67MTawusZraFh1REUNeBcO2drRWTdrYU1tF5NRpdwzMpjjYtZNvLOP16+FlbhwX0h8L5TQm
uRgqNzIVswOZbTWUvtsmEPjo2+HXlpLVO7bxhwUYeGNMZXV+QCZQXCUQKS+ipa/mF0uTFI2A7khj
0+zQZcn0IW4IidCN2p961YUHlPDzA6cAyl7VauqOaqO2GxLZ+pBkhXpU2phatdo5xpe5FzZY711/
wgBOoSSaND+pdVyvP9GK8icULa8pWvWYV6UNQT0ajlpFgnV7qLd7izwWIA51eP4lm4u4UxDuAJXp
MTpLRr+XSmxZfX7Y56BCA2K2rGCj0/526RnP0hG+dSieUrq8nlo2on4HmiX2Er0ND0gtGEe/k8ez
CRjXuz21taFQMsCBWeO6feOI3AF2n6QioPjUOxYVOR7zFPPTwzjAM7g91AIfI7YxKBRb12DroHVp
Lg0bEp30FmwnRzRxiNGZLk2Xoh94/zsp5NZ4KKduZ3eB9qgU9XRfIKN1KGDz0nIrJuscdbrzoYqm
4Tv+REjtSC10WziJ2oZBzdvTxmGDBSa8r9FsWsofW4NKJdv3E88vleIwgATcUXlLD8Q3UOQmiWab
q8PG4qx9B2omSD6gwMZnX0TKGV0JpcinBGGTgvSdcIkYWDlZ4SM2TdKv219iYzB7ESsrW52hc3fw
EpHRuYvs/mMapiZyz6O9cXJWRwJ/wcYCzgXQ7Xon2ygeKXAREy8YhTiBHtAW7vvpoFdVuTHUSsAS
QfLfYy2WcDDKqFaADXtYKaSXsJIqjBOD6KQEsuJh0iCoG1YBCdXupG+l4QPdjsaRXqqlU1FAbav6
KI3ANoqhK++NYbI+3F71tShCP4oLkVKVgXLh9Vr0VmRPfVgkNJNTCsrdGIDUsM1PXegU3wagcKfb
4608l1gQg3Yc8maaje3x9YCFXLZo4kNwno3K+tXCI/9r6q1S3fdja1Dubpzhe9uHObwWDHTslvr2
OVQoDe6glcwlBDFf/gOvXBN+W6QbzcYNs7YeDsFAnBtb5bFy/fOGAHS0HfaZhzjS8GmaBwmqYlFJ
XwmyyV1uTsVGSrFysHnEWgj6siCyvHzVd0OrWQMiG14cAArYZwr3RqRaybfW4n8BzhVGXn3u/J0H
k54CRl3JZMS+u34U2ooizN50TJH5Z7Evk1BRBoqfmZew6Xa2REeiGlUgOrVdgLmI7N2sor2COSjk
Qdw+NrbByhFkeDKJl5D2xq9craYqa7Ii81Qb2DQ93NrNyhJNOY3S/+0dtzaUqosGMEbAbLjFPYkS
tG1D0OdKxlzUbYq+uYvbBkJHOVARuz3W2scUbXEAqpSZQb1e7x6r882iM5NUNDJH8NEKrGc0TtyZ
vMFVIp9ufDcY758gVTmuZmTldG7gxaC91qBNVUYAHmrAG41vIcEwzNMdxsr14fb8xO5f7Bq6GKyl
Y2G5g63U9fwSBDyUQSVeCobSeURLZ+eniPBgSYzNbANnLcLW9zzTn3r/wIizv7x3kBg33m7XwSee
Sy5YlfF7SmHyex6q4VHj8bNruk71YrBZX9Kyibfyp5WIwAtBtugc8ADSl70DRHtqHWYpd4TuhE8A
R37PTWQeADrhUFvQcbw907XhGI2SBtGAd/xiiUmySVB8RcLVwQkfAlS8viXzXNIhyNNnxffVjZVd
HY8muKygQQxmZHntmlKlqTTU3HJsm/ucy4rmBK/KANalJ2ftRiL4dgeBCxD4bQYT31P8nNcPeLqR
fdj1oTf7RSpS3/bSJg2WcancHcF7fUhC+VMeGtXGsr6IwV9vXQFIMKDyqapORV27HjjKknzsHFmo
v/GMcc00654S9H0E6GN0PhbamOceOC3b2IENQ7wDSsaU3JWWMAjCDnfaN4Yc3qkyvj/oFMj1P1N8
rAt30OggWrHmPIVFVuX0ETOzgVCizPR9qlw2dmNiyB8m1FSFTwttCoS4NPmnCuGNkrvU1YdSaQIZ
sWAkyjfi0crzA+w9yFwCLTaDiPhcz7pGRQQxmgEHv1ZO92mJEIhiYeGLFGQMMErx9/3cCtVOOXVh
vmgCLJWBUtTRqEgrZS9hJonEr2J6kirVG4FrpSggdJ95CahcQMTNxa/DBT6OBieMPJoJ6r41ZvW5
UDrU4gDSnGSFZhI9vXjXpvST0SlCFafDqSlPTGejtPb2jkC8XxhXWqaGSPQyrcw0ZdLDiEa5qQwW
JipZjpDtHJyzvtzETK+NpYqKKFPGNWD54mqcNkWmR6EDPvVSs1Mmrb70Wmm5UYI4yc5R2/iL0YAO
2VVV0P8pSSHCfsM42C69NPtiwqXap3OGNiTgC5g/WRFt7Jq3txggshfXGdggJLOLo9LT9g/Lln4N
mD11j4Jv4qLmX9/TI7I9+KkhgnP11otgdVCxKjyWwQ4v0VpBY/eyPtDG6UZOKGWzMjwlMMwhh815
8n2wOZIzXMGNLy8ux0VYoJD772EXlyd+jcMo0bzz5HiIoeZqNVW5fDrcDuprk6PHwgsPGA4w/cX1
FaDIGpYNwScqNPNsoLgBpgPQCjABY1/HueGhG7eZe4jQvZwbbXcVojkJiL08/Cq8/lQpdICimVN8
VKegRD0DOrVpSPOz00dkj+KBn+Q6saAYCwRobGvjobdA4Yn82uFMUaIXau5Ioy/OOC7yyPAiYEJS
rFQ/dX0MTkWW1+c2S+avfNr+m1UPEBaINOcW0O+5SI3ifkhy6UIfXH2w0iz6fftrvH37Otw8FDN4
daOXuLxiFZNcs7aoGvEaLz2MUPM7ybGGQzQiBlfGZXvfxll2RHHA9joKs+7t4Veq6YyPOYUA4pMD
LXOMThmDXvIZvzGr5tCTYR8ylNfvHaRCsNRQR/g4wyjvAyWNfzW2qT3gfGPVYFlCnQpDqW3cyWsR
SedmFN55yLtbiyeH4rRVX9XgP9ogmk5K36FcE9hf7QBNottTX1159sNLbRIHpcVmIM3LtEkeOQdJ
YpxAGuk/bCUsD9xhMINbKfH3UDU0BNuU8NHvR/XH7fFXXh80itCRxlMC4PgSwK9oEYKBKa+PVKf0
N1X+X1qed5/RPetOVom4Ee5Z8X7AJ/mP2wOvhRlDhZdsA0ZVyHuu7+FsDkdrQArGQ4hsOKLKl95Z
PjXw26OI5VseeNpxdFcFsBE+3PUoZkHHylYAFHZlLnuRnA/7sDFq1yms4LNW59kGkHItrBniJFFK
R1ZzaQcqzY2CqinjzZE6XVBYRhUhxzk43pUwX7/4sZ0iWxSnWz6ZaxsWoyYTlXdA5vZyNZ0uLZAU
CWKA4q2B9cwkP5lD9Bsk23/wXDW5HOBDUiNkvEXgDiULE2Le+x6OvoNrz77JA3WyOhevCvObE5qI
3EqK/bHJ6s3DsjpL8VqmEKpBd1xcw5Fl54nlJJFnxzmwg6zQ3KKowxPIb30jAqxtHPPVUItbMM9T
9DhR2fAkO+t3tgkIrdfQ62vRzTo0QAg2NuraxhH0Rwf7OIvO8uI4UGGRIkdBwtxPYxvZcNt+KH1V
23cjYjVRIvu7bEqH4+3TsbaeDEVXhBcnW0cEh1epR5Vw0dVjHnlFU01ugKTCoSmsZtf1WFbfHmrt
uBNOiaWImSq2sVjPpIsTFAlRVG+prx0AI82HqWS/3h5l6c/0crdaGHMIgx46Ki9Q3FczStqkanWW
0LOyqL5Mau0faFrTOpOiqjylNnqoclz/UCy7fEbzSjk4Vdn+biv0zdWmqk68/QZX60vNSySFzhQm
ty76klCPVGPLl2ntk9MBpEkPDJ4C9mI3W3OGDV9axd5sA89EFxyCTo2ycC0jZ9GXUHB0NL0/bazQ
yhMIVIBqYnwBG01fZrcAd4s8QWLFy1Qnv1fV7pvWRvPXyZfmvTSxw5UOSFSthMnengHpmuqw0R9e
mTddavACugbagRbo9a6TgMwGLVrNnhrlnafLiLjpYx2dHE1ChBO9z6M8F+PGPbeWWVGhwS2Mpq+K
G6n4Va92RqMVRhDWJBmdUbbfZD8gl+qt8MWPtBWayclhVvTsQWnb/lFSINTs5iqKDxFNWm3j0l85
d/wWbC0oqRLLlglPp6vZmAVAi3IzkA+6UkxPVh9orqZNW04dK+8LgamnviwsVcAaXU+7S0HEShqw
UuracuVlfhv+wOwkU7yK5soxBzj9FyZ/8aVEYxuNJwP74v3tLbf2vSkA8uV42yFyJFbj1cqPehm0
YweYn4aTfpd3hXYGchmd00D5XUmGhjJ53x1uj7kSvqmJMW8e2sL/dvG1lZG0OA4T+jRKlBwBZ/dn
CSkctBnN9NSVSfj19ngrzyjcX+FBquJqtJe1FAvB2RKFG8YDuuAFkO3Rk1Okfeg2f3alPt6D6dpq
N6/sIi4LThBFMV7PS2KpY0hjjI8AfYMGCEqlD8Yx1eTogDZI8vH29N4sJ4kKXAkYQywlRnuL5azo
sM1k74kXS3onMrPmKBeES0g5YPB9udq4Dd+eVvYqNxNes1RvYc4u3m0wk9SsShMsbvWuOVODMDws
g8NkF8e98xQlGK21MuB1sJU5QnB1+C2MncyrsizdaPKuTJ32Nd5SGk0hWo2LaNUMRtXLLTWqQp7L
vS43uVelh4FWFSYKh9vL/OaSFLNWDTQlRDMI1tr1SYkrwhaaghKcfB8lW8XMEB2cyhJc838yEEAP
MZAGefB6ILTlawhYHZpUxJ2zr6Asl6fKtHHwl346IrkVYDa2pgMEgxLj9TCFrLTdRI/W1bu6PBpY
fbjGpKv3YR/4P6uGjq2UgDx28in4ClIMAHQ46j8yGTeQoEGVz8pR7QZSW3gaYoP2LsFF56++r7uN
7f3m9IrfyRuItjedH3UZoVBKSx2/jCTXx5jjgoZo+AtdZv+b7cvwT0qjrn8U6AV6dp290y7z7yVC
uwOGIn5bMKivl8jIqn7IbRoU6O1Yp3p0zC9jq+jnTkqaz+/+6GALeYSpDl0fSjzXQ42zgxofLgN0
Tid0FNN43FNVj76+fxS6Vy+9OxQYliCY2R8KPddwuoHChbjRXKGuVZZbffiVk0JTiYYL2qccGWeR
hcxlF8+ShYaH1FWY55L/ICpupOd3z0V/qU+RoMtc1ovLE48zm2+DRoYTtDZ0ZSk+2Og/bqQab+K4
AF1xToQUCU3npaeo1Ekd1SokK6Ihys5o7GiH3rBTty47ZePcvxmKwjdoRdHVMEAvLD19zdKyM2Eu
5wYo9HqjrkXfknCG1RxnwZ+31+7NmTIpJ3GeZOqlGi2yxdoNeilDLRkYqo7RgFOg99eJEfIGV8x9
Ezbh0+Qbn2Fwqxt3x8oc4TOS05DZc6j1xV1VIzXZxoAg3SGxo6cUkUZXLzvbi2fV3tgfK0OZvKmw
rRKoXZ7y1yeqDOTADhpYk4Y8Aoxp+4IARzJ8B20tmbx3Lyj9PBp94PRsg4B1PVhvmlVghIPj2lBF
6n2FLPxd7YPVQe+zsf7o8qb8ZgToiHcwsNONUL42UypEMrIqoGreAEQSHxPFTEl8t27tn5FPeTIL
sokzDijl/dM0DWrChCp4wctYPGuxPhCgQH5i3I4aZgsNmnpc+Kx3M4KOGTpEFz1z8m+BX8Y/bo+9
NkuScEAf1P3IT8Sfv3qpRkYvxU4PIzjNePNntWV5Wk89RVPCLdzemwAGIR3QmIPhoeC7Lo1cfVCm
Wp768K8GvIlGee4vmAA0GxMSIf2q/CWaSWBMMTQi1YBzdj0hG7m3AQtO23WwlLqYKVIU6NvmjyCz
1BOOjub7t4nFMx/MMFJGhrpE4BkgCFB1U203Q3gYt+km9uiOSyenKI2Ne2ZtaoIegQaWzENRW5y9
ZIhUeJsd/EDKype2iLNTTHM23RWw0PARGto+Ot3eHm8r9yynw/uAz8YVyv++Xk74+6RzxFXXaqkA
QfIqMnQup1QRxN3+OVPMwdjFgscxVQgO7PxMsi+Sg1J0oiW655gFfONGjr7c/l0r25af5QBVIg2g
rblYil6qtYb521zs0E9lrngsr4JeyIGN84d3j0XPX6w7ZWOEcxZPOgNFyGnMA4feHPTUBtMGN0NT
YBdqmXq4PZT42YvN+4LwgxkBehRXxuvVRvneD5CgtV3k/rJDGCsdxgyqUuxtGZGuUKv7r3Y3f2yw
4/7r9sgrC8rI3Frow7/E2uuRu0KN8bdkknPcKrsKW9BTCbh3ZyR9tbWn3tRjKLvJvMD5dKTIENOv
x0piG4pQYHJEM8CUld4o5xpdjGMy6MrZtKvsgA2Pf6x0QJeqhS5h4Oj5++8xm0RZYB6ISvYSyBrP
Skh7U8G7dALm1M8ozae5orhG3uvfby/t2kcFLkNpjszOBJl9Pd1gwPYDGx3bVXVLeuqjyYYZGWFh
p8eBK8exQTarogwSJ8m7kcistCE82yGrcEyWtBh6bgDLBKPYz8q/kJkZjoHGyPRU5o0K19r+4S1P
YRVgEDBREfxf3SMVKsxT0LXwXUsn3c0mLcU+KX6Zw+BsfLm3UZB+vyIKuIRbAIuLR8EAEG+kJ2Zj
gwBgsIis3DUGBH1t+gH37dRvvYjfzozxUC4UoYYHjyU+76uZdWaRTGUtWdgVNX/Vvp2e+i56Giv9
fcItNElFiY4GA2oQolv6Al55NVBR5ZaBK6TpKiBfEKghpuZgMtzK2rpI1qZE+KT5xWGHly2W+NVI
+eRo45AqJgAYRcXe10D2B88iFENr6Xh7868NxZ1Fkg9J1XGWbdZYKeNJSWsTa690OtNeSIAzIjga
tTh2vn8oHqTiQuA+pmxzPSsoWKIUWmJU4MehmzQ6ppmS1ABbUE3v3UNBHiAbg01OFrPMknA0otI8
p6ZrVHGNYXLnK6cS5u9TNxnDr9tjrex3UWajdy+mBQTtelodFiANhCDTLXvrO1DZ8akPlM6dpT6n
d42kyu3h3r7SQIOC7WNeoktpLPZGaqHWnSuD6TpWgzCb3DtebKXRe0tMBH4+1d9ILE7WYlJOpmsT
VWeT8gP9yazxBbqkbs6IFOPmbNi0L25PS6RA1zfr9YCLael63vAd2YdKgrKaoku2R5Gj2kntrD9G
g4YTjJOXG2spHkfLQQE7WFBxuFshQl5/OsT2cBRzWMsO75oHxxlhq+vImNhjGKHNXuIAOY/WGcqR
fsZma/h6e85rOwdaJnUPnhIyNrbXw5MGdlUc6dDaMeXcDwrmIIXeZojR43IJxlfZgNGIj/Zmusg7
0OKgGgLi/Xo8WO+cPG3iAMq18SP2W9TPpWowLnZmF1v1vNXBHKHeAw+CasJiB1UkqInWMLkxT2nj
DMF4Tq1iOgGbjN/b4WazciYs2mYm05MXb+Dc6oYMdwzTRY+6hWUEoYgHQ+PKqV0/c4HHH9Kq+A+u
OUGzERcP9w4F0uvFbAOpb+yYE1Ih9X2iPdS6zogWPFBwZd+3mGPe3ixr6wnQC6QgnUoK0Iu9qtvE
ZjVikmWblYfetCqwjrp0xsws3Mh335a6xYIKghQlX6ozyxiTa1U61BEbBa9fZ9zjXprq+7qf/YtO
R//RQhvoy1jzMJJBaKCAULdeHZn6cSLD2Jj2Wrhj8/BzgLnZPCqul5l8NfH7XmPa5RTTpDUGypKh
tvE6Wos+BmdCIBxJW5zFyZCqJgQY0RtuaiEJQkaV7DBOxDg5R+/R9LGQa6Lc2rh63747BZqRhjDN
GR6fS9iCXtk1sH6TXL4cs6MeqyDSh9E8zDFdmnZC2xyp3f7shMlWsF0LPCKTEAoo4A+Xbd4p426s
K81wDTvMnpI4r3Qyx4i6DY1lxMRNqozJRoBf+5CkqPR5ydVMNtj1h0QZEGkzFGZcwEXBYVILaY+p
srzBwFo7Ja9HWUQdHyR2VEczJb5c7jwcQPtd2zsz4lH9Fo5nbSjK88IIlWYMHb3rCQ0ats34oRku
djvAvmR/3ocBAP+8NCLv9tl/yw5mveAvk3US3/AUFfv31YNwHtM0sFvcZBGD7WR3xH/F3gWGb39P
NOQrz1Osp7/V1sifJ8r7GJJh5fzDFhTH2z9k7SPS+RICEVwivBCuf0eUax1mS1RQDQ2GRI8WyEOY
2fO326OsXcvihUi3FDw0L9PrUUJu6gQiven2A7RCnBBn4wFGHS7RQztI4V6vwu7XmFd4vMYzDtG9
pCdbmCIxxvKu5FkgGPzw6Z0lH5trMS3xNzJdHChyN2/H+WBa/VC7QKzKY6Mq0W/DzMFp3p762skE
GUQySioD8HixwFpsFG1gUw0fx1km5NbdXgmdisJVryGlpvrSlmzA2oiA0AAQy1yfgD6uFzsv1BGb
ys50cyy7PjSyhC9gQRgP9M732giG58YU1/aQwA9DGjOIPS97/dVeltDw6eqo5euOKkpyelA8Ds7o
b0jcrZ1OWwQaChkwxKxFuKnSQLcmjesS+KK2hz5o41ieZbCtE+fz+78ZBUsHdDoMIZ6x1yuoqUWm
9QNx3Ax9iLcGygFmiXODXQLVR2dvs4cpbqPl3nw9oPjzVytYqKEyQTYzXGxR+jsFYx9X6/Rsb3Z4
zFVV5SCwNiQHWWnsh6pMftpDbXqmg5eIiVfe8fbs3wJl6aQInygYqDrFSHNxWs1aqnPHJNeaq7z6
GYGHrVH+KaVhH0lG9lcxYNflYSWSwLBKFJSTSlw+7tGowH4dZ9xyPE1z27wbzyJ+lSG0Hl4EJJdi
nkWjdYo98rSfYDJ6Y0sptK3N+2ksrPfHxKuRFgeoinVYIjUjKZLyrayT/DjOkrmRqaxsZwbhhSK6
wbypF5eNMvmzrKWY/Pl0yU96PfHaTH08CINo68W1OhQwQ0QjIT6QLVzvrtnAh7nrZL5nHre7hCbL
pUyqz/i7lBuvrpXQQ4Cns2KJTJ0s4XqkIXYKCPIUBKxabw/poFoHGaDbybZz3dMMbG5ub9WVmC60
PImsdK2EDs31eBig2SUOYuQJFuyaCHt03NpyGcEqnJn2KTZXXyw5BGJ/e9jVaUIUs6mwwC1YAnEU
PLetMec1bRQzqoyaOX2gOkFumcz+o14b88aJXLk+6TbSuRcFHZsW2fU042qqcz2YybyUeKDEUsye
UXeo7nAi8r2N8wa6m5P9MER6sw8d1Cduz3d1mV+NLzbYq/AU911bzgREd9D1+aQmUuI1qWoj4gl8
XwM1vhe+YRuLvPKYpqsLfYLXCV2H5ZvBloMRj5vUcuOiKU8hFgT7pJCBE1ROeGr8Jj1rCkaZuLeo
G+d/bbq8iXjGE2q4AMSfv5ruFJfo1BJWXLjg4ZGbyN9pXaSh/VjUj3PSVacOypl7e43XDinPE+pl
tD+FauL1oBpG01zSHNLYpi5IroCvWprH9wTSd6uVEEmpkAhQDqUKsvnroTJkeLV+ouw5m1hxzz3S
oBNiPYeeJsLGUq6dlNdDLaLc1JtKb6Dx5hYzS2lX2Auniq/splLXdgYPocPtVXzLvBMoABZLF9cp
RdBFBLKCUGoo3ZFd+r70VzWYiJInteNZlU8xxsdTudzLdWN1+xgVx7tCkyB4JVMUYHw21J4U6fW3
JEA6VwP88UkbJOv77V8ozuriqmdbYdohxEMAsCzOsq1NVYrkguUGmY9Lceb/Ofw3Z+exGzfSruEr
IsActiS7W5JlWfbY/sfeEE7DnFlMV3+e8tmoKaIJezDjzQCurmKFL7whbtv724PsbCaeFZ7w30Uo
SvbXX9hU8fhyJuGE0QSRL7KU7DIjZOfj+X3ETX6tLECd9OVYm7JJugyzJyKUhOylc+rA61ZHCxW7
Wn7oidf/SlugRu+UVHPKE6j6/Is9YacaNHGbY9KV2IrrO3QXHBSEBb7wjWJ3f/zSSs0hekGUqXkA
txeJ4ymqiADFhHamDA+T0mGqiHnZKZla9yBZff1xyS54kSA3UdQh5r9ed0WsWKZnmCCMiqU/TZm9
3jfeOvzxzUiRmahBJvsyUNmEp4oNr2tVMvJUgrSzO+PvRjRGWScv5gV+Y1N97KfJCHUaDn8KIyJ9
IoMjeaUzSydxc7y6AUYKjTwrjJDUves1vUGCqJ3Py1Dkf3whMhS9Mq5/sjaSi+u1jNqoMLKitULH
q4q3OV7Pd/gSY5yGsvSfnhZGIqOQ5CRXDno9kkRgYyla89U8ZQAuLaSuUk9YO2tGcHuo108Lfz/x
ETEDEcsr6oBa1wDHi8gMHXxC7+I+/cJ9NpwdJKqJ+HP0VNv8iK/w+g6+GtPcfLN2UZDw6BlzsvA3
Vt04DQDct0E6N8k5zafyYI57h+DFHLfbc529YaKVw3iI151WR2/PMRWAg1O9OyteaVloJ+/cStGt
nbMaFV7toTZOOO95Le6czWj7dY7Xh2K78eX2l9sdj1INLDbiWrh015tkmgp7RH3JDBM1QxFg6d2z
qyNX1JYUMGOrP6obyCv6+p3gq9GVpCZDjAn8+no8MZRFSpmUnZK75Vm1MGeMkmV+B5k8CXRduLj/
2cVF74zs4PHYm6kkahJz0QB7lZnYXZ9NPcYtoZUP8V2HMU2A43UFblTt7rVF+XJ7YXdKYZBU6Zjz
ZHOjkAxdz7TtRr0FU26FeqJE96Bt6ofIGlZQ2BMCVFYhcL2JWyxrEuW7a1T/apSSDu6avSmDWZUU
GVuKnG3ubV7SpdMQnw2HxsnRSs/QBU9dxbrv0Zu4X5T8COXz+oFmzpr0IqChToKwmbNovCmhoW2F
aO9n4epC7h7sZjl1Uf3t9vLuTo3BqAZJtaFtitQWqS3ahloG+mHNSR1TXLYc9LyEPReo8Orxwe7Z
aTUwGnm6S2ET475t9Gzo3TzVqKZwb0tkVjyqZ3xJM0qpQvd1L23ucSSwAw2To3fomvWX0kvUAKFl
7+Cj7t21vFRSfhxnjFcACR1s6ECz0SKidiJS0Jg/BlULx1bie1ro23fwdZThYNj9/Sxru67s+INO
vt7PRS6KPNYF37bDjDlcu17/MFlGcT9QJvlhCEX5aS0IKhROaj7rTiQu86SMR0W53R0GuEGS4ZBW
2HJu7bQ35jVuqDt6ubgr6zz5EhUCXftVO9/eYbsjyfICSmku9IXNTQUXlWpARDhSDq7xIVqE9yhM
pb9fKXAcrO3eUAT18oRSbqRZfr20rYqHiIKdWagv5nKXohsQOCLrzktaHL3Uu0PJ2xeMKIH6lkAf
N4rZTym3UkYWFiRwqP9d8zwLI3tMf9xeQJNfvb3qJf6E2APcC7q+17MqisHtVpxEwtjzsOISKe+L
mRyRP3cuAlR0ALuCBpUQpc3adas2aIKWfJhNSXeyRed8cedufFRs/cMg4uVgUjvrh/qTBPJCQaNi
uxlOL6Z51BTTDIulgQKW28hrw+r9htcmFry3F3B3LPgf4HkZ8pX+k9n3k1lWKdsCCshJq3XnYbDM
74a35p9uj7TzKvMek76RoEtg4uZTDRXtQ8chlsJ12sC73TLi97YW5yA0xYpp8lS6KahFT3mAzTsd
7P69mwXPV5JbYO/8t41BeivXm34hJphUJztPmdm97dPBDBVXGT4WeYF4gpP1mR9zLz1U2dicoKDn
/7u9BHuLLQ8FuwiZJNqr17t1rrF+7GaiZfzGBzVo9bR5yFw4JoAQmv7gbtnbtFJX9f+re9RJrwej
L61PalSS6uQeYVZGb8GfrGk4d9CH89BaW2X5i830cki5BV5Uf+ZkGd1h6a3QM9HN77VyPg1a4r6L
tPRIBXN3N0HpQ8bVIdjbwjKNuVaTQnrmzXXVpAHpVnuZoSidrNx1FJ9Cd/4pmp3us2JP2kHYtTc2
mgXIwXPh8GBvpkmHY6pbLoywLlPt0fOQRYl1rQw8vL9P1DYn/PrKb2ncFAefdG//sHl4mmizUl3z
Nuu7DutIfdbEtdtBgj5NCn8sDPNSz8t6+vOtCp8cVthvEvJW+b4ykTdZbcrRdj38rJzcei7tor/A
e7EOJrW3T02N4jqhuoc+7CbHUqhtI3hX22HJ5RqO/Wg+j3MHbXFRpbSO8/32xPaCLAAy9PlhdtO6
3RZ4ZpDDWSEBMm4bJd8Krr37BC/BN3OkV989irUfF2h5OBfBN0uVyXpfLvGM2kzaH8DKdso/0G25
DmXJX05+cx2k3qgLuyO+dMkWfKVTlsemBr2+dtqXplkbSvN2+qY1u/i+isB0emqpsslwaVyaHEGw
GPsIDb+T4PYK7QR/XJGQEeAgga3b8tCi2rJENPF85wq6KmBEnFBVY8PvY2KGcYabhuLkkdz2zkN+
NejmtmoKVA4jarySqjMGtaP3lwjg+cEzsLfXJIjH0EC3AB+Sv+LFBVVGXpROU2qHaaN/Fk5qXdbB
KwJLzR61SK3e315IeRw3wYksMclKOANS3rkebVH0CYacZodqVGu+muLw0pX29JRqY3kXq818irMJ
e5mE2t8Ulenz7eH3bgvcqgFl0ECXmiDXw1teNjrAZwBlpShWRn2KcESnx4GVJtXlb4YCBgFinLhl
22VZkfTqTYnRbepkvkM4vcKzCJPWTDOPgvPdTwiphIqT95uWuZlVlDclEqP0sqeUhk4V6+9aMWkh
unxFaDf1EVRndxVfjLfZmKg1Nv2EGn3oNUpxXiGfBKRw68lTsAm+vYq7U6NzLgWW6Dhusx/XXdK5
p6CHJ+4UvaFOUcx+1jb4dRZVO761zPSPlUZRN6CYBhGPawjGjJz8i/OAs5aIkoGSP2RuJyhFqvtt
ZK++l0V/zJ3eDCUn/2KotvdSwZRAOqyT7aeaEGHfVuNBFXnvyFFgovtOFZmqyOaA9/2oddhMOaGh
eD06456LCXCkeQ+FHqsXKyEALBoPD510bb7p3oylzu1vuPsDJBZS1nkRHt28Zn0ULX2CzHqIdIg7
+VkO4MIYR+9XWWOQmVWcd9sYlbOixEWouRir3R5/b7vit0EzjKcUFZ7Nm1LjhusR4NkheYmCX5/S
C2RdE9f4Z17TLDp4KnZnK4lGrLaE6Gw+KszRorIiRtN7bfadaBLvVpQ0Q3y2xJ2dpiWajEr86DSa
/Xa15qNezV4gRqeAUjd9KwpCm+FpB2qVsLjONS8pM1+dqi9CzZR/NAuvKn3i4+ZjMwRd2fcHF95u
PiFV/al8kTwBP7/ezrPTC7WbQQp5mlh/jOY8nCnE13duPXp3LXppj45Sd74sdQQIWpk+1ZTmqJux
92hKLwO+NN/c3vKCDKWHF7/QXKaG9a4tIoQw4+jYu2TvXqLlicSrVLGAXXo91yJDHCRTgaNbav+f
WfTaOWmazJ8LczhRqTii3O/O6vdDAjqSXs12C1eFm0YD4MgeZ8tgnek84ZZ+VHrZ27oyAqDWBq+b
YPB6UkqMU9WM1VzY6vFsBMrQLW+7AkHL84LsWerjrBU3Jw468qqkyBr+Yk4x/wWYkecZuDtNGkR/
0PC4/hloAGNxolFpi7Q1/lflpfHHaaoelNopwjqeHUxFRHNW3drAjrmo74xGRAdQ+L3v+/I3bC9N
NWvTvAe8mS50mpU16R5xKtPvcqHlvgoe/u72HbX3gbmhHBht0JRekZVtMZu2E1MyNut6uqutQb/z
8CP45/YoezchpQake2HZMM7mhE4JVUsajlY4rU36Ixpas/TdshhT3xsjTAhvj7Z3FbmmrMVDskHH
aLOGmnCGpVqJXxUj6yCZWp7+0KRTkQRuYuC5NGjY5fqVPeDQPqAXfVSx3Z0tcQM6pFwGqBVe7yOz
m8ZC6TtKC9bknpuyX+5WMEuwGebpIG+RC7cNa9mWkk2ELAaIsuuh8mmxq5XeTbhaWJ/6Wj54gaMs
VTiA5TylSLCG+VIeUSh2R/3dGdbpr7zaNG2FSlEpO7e5XdT3tZ1/rCGdXVQ0Gd4oE0KBVcxJvf1R
9xaVIhyFYIn64P67nmltkoz+Lo4l9SzedrG6ftLGdLiDcHpoELV3KGRAS9nd0KjDbT+gDsstdtAY
K7qsPteNmr+dtDo+OHp721RmbGChQAe52xmNRWcKlIORIKx14z+r6qsp7NCavyxpZYbQCtOHAbU1
4ELFdEBM2V1MRN+JjnlIKEJfL6YpYj2x4L2Fs0jG+z4pdD9iNR7iLj5SH9kfCgYDERCqWlt1KU9r
we0hIBaiHleeFmf41s8RvpjRdOSdujMS+SQWUUj18xJvL5lumvGPysF7OiI1A6Rioodxcq3CN21h
XP54NyKzTvcbIjDFw+0V08faOBt1Rmi3xGk4mJqCHKu7vE1yssvbQ+28CAwFxoktQp9tS8W1TfhQ
RkaNJK6F8ivD3AETVD35KrrWAVRbHgFUdx5j2l3y/kTdlrBKbtsXyYGjTXmq2lwpWu1WyrupVNSP
TeQVWGhMfTM9ZGlTuOfZ7UxIi6tTSIPZ5d/bc945gL8dkKiEgw4hA7v+DW4RG01TUvkRpp19Gj2x
nnpYmr9uj7K3YSjsw+6ksEJLYfPedyvZK6qHBDdahCXeMKU/WqHUfkQYcpAL7Q0FTYi6A7kyd9hm
UYva63EanE28OZPuznBb+7mKiWxs9VDObXcoXgTs2sEc0iy9XrtFpbo8ww8LnbFZMZyOkvtcwOQW
TpweBCs7n0n2KTy04TkIoKeuh7LtTsAmxUJoNPBTT9LCuaQOVY3bn2lnQxKMcfXTwZKiP5s0zhQu
kBL52pAiD6epqd3TMi2kOHOO98g4lT88pf9uRrl1L6zoz1GGQFywN6DCAfWBcOJ6jp3rFFFNpRWd
k755h0sSAryemE66Nh3FLXvLiQCJ7GzhlKVtUUm8RYOlrfSa0k7X7tx2FKcWo7+D5dwfxYSn6xGi
kJ5eTyhq86Gho2sSGNTVHRGK/ujCo7u7/dF2diFZN+BTeXXBJds817k34LHW0l6J8VY7K+m4kuyP
6tvRyb79+UjwYLjzea0Rxd/Mp1K7ekCDhkJ8b5pParXod/OSpEFu0/C8PdTeTkTQD5UCFNGJQTZD
lVVFa6cnsKy0QvONuDF8LVKSOyVx/jWUIjF93FTUu07M6WW0esLb2+PvLSrqgojtcDXLTvX1pyPk
goZVEazDClYvEDo/1WZNJTMx1uXz7aH2dgljYL8Kb4hi4qZeqkZVXpYICIRm2/VSZH5BaKL19OJg
SntL+nIc/XpKeaNPLbQ4DvfSiy/OYKT36+K28B2z4tw663AZy8Y6JUod+fPUHxl77K6oTH0ALFOG
3t4tQ9bY04BrfLhOVfGo41/xDy7ri29F2sfbC7o3Eu6ZMqqEivJKvG5eV5ooqU4/TuT5HTa43oek
J2lHNdc+WNOd8Jz5IBpCaCmRgPLbvnjBZ2/GurGn9Yf+RPHTE6b6YA1q/i0G3/CA1ln5ZM3G+BcH
nh4F7VyPfoW17Yf1oCaKDDnNcMlyA3N3eiRjFQ13HsCD8PZSyit3k/TI50YWWhB+ZItu5mdoTbca
8CbbYSa3ySMxXNK6Lt4khhOdu8FqnpGKV/7z1PyoyrMTjNk8dvSJwFhBRN4M3el6MypJQqsz1/VL
iZB4UDkrFukRckUIbHYHcebeVIn6KG1IThpc4+upKqk9LDaxOhh+3bof0fnx9TnqwsqIe9lq1P16
qLpTmgzidHuR9y4AuI40RaRqGwK81yOP0BPalaMXMl4bePOclL7qVe3B7b03DKGtLN1Rf3ul7dWW
ZpaWjWzD56X5rcZY4dKgrnkQqOydCCIIqclKs4IZXU+mS+CVxBHqZKvZPtdlbl2avlQuTqNUgLet
JsgipT44ELsz4zlinyLd88pYa2iMXjdTZkaTsAgnHS76uHo/b3+lvYnxGKH+hsg75bntV6qVxKOx
hMaMrtKBqafBR7KzDwjXez8tysYXdSoO7pedmcnHT4J/oeG/EvBF+Vqt1UWBDWEJMfpOpjZvujmd
D0Da+8NIdDEZAADDzdzSJFZapaB872q98qtZrOKT1jhHzfXdUWgiAwPnOgHCcL01ktKgR5HD43ca
W7mzY2XJ/FYI82AH7rxzCHlLrz6KbKDLNpMxy7FWM0FXznIy86nSlO8RWr7o1hsPBQCtd0M3flVn
jB300T0q1+w8PSg80lqSuvUIE26mqDVgJMoollJssfem6lu0Zc3cnv1Om03nYHPsDoYcr6R58QZt
G60tatWdmcquT7l4z2o0OCfdKukeq6Kp59Pt7b87GKvJ14O4SwR4/fHGPo4XIJdOWLfNLy7H9h9c
R3E7WNOjNGBvm2hwBTBeQSUQvbPrkcxeqRBKiGhvlG13RqFkWv1lbZajFueObh6IWmpOkrfLxbHl
XhSTSimv5WOpHfqVzaInj2NT9ad0cca7oobOFxbTaoStneKwOI+x/jyi0H9OKdXHQTcVLdxIGxXv
8PZS725goMXUVfB4ocJwvQAakv/KKiD86DytX/MuEQ9kzI3w21lEZ9bD9RCqQZnObw01TwM7L5v2
IP7e+9xUHAHdyMIu7Pfr31BnLez3vAN9QSLwFqa/eMw6ez53k34Ya+/crMDyUVEBpkmZbBtra6kV
CYP6BkXcxL2vh1q5LJboApst9z+0A+dAj9P+L/YzKbvEpBHJv1LeUDO7d5QSjGHe28tnfcK81tMK
8bUkofmLc0p5moKci2cbyKnrtezAPBfoSHMp6Khz+5EeOf/lelFWF9F2qnm+vXv2jg9yvfBbpXMO
2ITr0UYzXrI4ZvckYLXz58Jt0K02W2f5C9YGCSfSDOCJ2CDbG0EgBqOQQUEZW5t3Tqe5P1rEfv67
PRv5azcBqIMUgqQ7/y5Hb2YTD7bXRRF3nEpp+A1S9tpzBDswSFJdVP40p0dZ0t7GNykzyvoDpZut
6hXOzbEHhhAtBK+zz0YJqi7LB3EWVZT/xRmjicxXR15H1geuv1QjqlHDSgNMh93o91W5VuEYx9G5
dpMjcNPelfJyqM1xNjrTqbvWQ+LNgK4w2LQt7Hn4MuClib7z7PnTqq2nxOwGv8yc5qB1srclwe6h
jAY8kAt3k0zXQ2bpFt2v0OxN630OAeVcTuVwEAXufTlyMUIlKpl8QnnNvMzFCnLoKQNqkS9xd7dE
C2brIBYfERefzrd35R6GDSgdZSpabDKl3Xy6LK6B0LexHfYqGquB3k7RO4/m7XxHb0j8pwy0yYOx
jbmj55iK8pO9xtin4K9Rt7692NoXQP7zRa/a6ec0mEp98AP3VhyaO/gAqE5kUZvv3cNrKjRDtgLM
svm01MA+wP3+BY4GFw/KaKCfZI5oXK94nDSRm2uQ6UWnRSfH7L/Vaqvcxdr6N1eoZEkSPAJKomJ+
PRJR+WxNOmhJFImxs7DLDs2DQtWwJs1t3TsQCdjdSZTrNA2pLTKzzYWtj9XcaLkUorPa5KtHqfAu
K1T9Yx4V9kG1eu/tkwooVA/QJEBs9XpiKlSLZCglcAZy6Ukn6w1xnunfz537PDnT/KDYifLp9u6V
f+f2TpW6TyhZclyAHFyPqS1VYkKt4Th2Q/I4W43jc7s2ld96vRo2/XiEk9sdkICE3Ok3aGSznhFu
C25Zz4jc4aaOJIjmfW8dqD5jb+CQURtHLaPdRf0thczGkONeTxDJHMVbVHpucTEMT4UxWJ80pRTn
cTUKVFDaVA0GVPCOAsrdQ/di2M2lYMF1HfBt4pKdVD3o0qKhNdYc0fz2F5PnCQAMbY5tJ6A0bEVP
pLRDRa5B0mlpC0U0RKcDyC7pGJAeIoh+e8fsHQgpn639Ttu4UK4XNO/yfgT3QxMzMe2nfimNUzyZ
ztvcddODR3FvEUGHQhQgVqJbuxkqVvEYmWlIhZZI88QvVZBdPuoJh6na3iahtIXxEiEs9KDNQAv9
p0orYbz3Y43lR20P6znSprY5zXpFt6Pw3JMn2uHf20u59xI7oGKJaoBQkaReL6UA5RPnpFdhArnl
krnD8G3tMtAZSWq8sQzFPtsgKQJE5juYsKZ3cN/sJj0OoZSUKqVksk3CEXWzK3JzEO76JCyyGq1+
tpJVWgFOg9aFtiHsj6CHlNU3xQQUcwIsP/mNcM0qsEcr7XzMUgTAbVUvD17wvU/Cs8rNJEM+XOeu
1wYVbb5zIWOvujAeAXvHZxLoPPQGtcr81Wm1EMmg+mBJdkcF2ME/XIYgUK9HhYI/TmIgxMwMVdYX
a+NXls/ZG8Qd16c6pRgH9/JIdnQPj8/1q0kZPFWyHjf7gL4UHlPo7YUJcLAzCm590Fdd8ow0jBMk
AIu/eAD4HiuePTwiVJuoIUr/5/Zoc93ekHsHTnKT2BTgscxtqKA7iT2qyICG1ZhEFzIH5OtU4yif
3B8FXj76whRXtzQoZS7A9QqSentas3tDn4pHO7OUg3tK3rDbl02q3bCH6KYD+Lj+lHOmGEYnswVv
KnpqMLZ9yeZ8vkyZvt4Pwqn9OkIW384a9XJ7FXcksGT/HIYVmQr4vW0S6wgNldomdxk1F8+6q6hB
VJTLZ7TiJ3FSoIKLS54beuOPljs9YnCaI/AmP3g5W89mq2VHmNy9fU3iRFJNBENVbxNa1FGL5kPv
OEQx0fLdmFU9BQnm4t6iN8jePtT26uAcret/cZ5ICKmRUs6m5785xVgFa0a8SguEqBTZk9L0RZjF
vfKU91n/A5EV4TyrSWz+zXxljqGr1HOke+T1xyfKSq1+Yr5TFHnW28IsncuY6Xb/wUSV7dmee3wk
rdY4SG523mPQ/1xYIHIle1fu/BdpB6hJp2niyg010dZvoirqQ20ty599p/wP7rJ+MNzO+4HTAckp
3hmaVA2+Hm7J67ylHMU+E4b9XCxdFM6wTr/aUWUswTJ65hvkbLSPXiWd4lflSHt6b7oUan6zENjm
Ww3PpehiRS9MVzZmo8ZXRjQN/Jxy6te1E56Mrtz158HZkgHp5liTiwMOkNpn1quz1ZULaizd4IRz
3ySf+3bUL86Ux89Qc+yfaS5Kf7GHpvZTS/luLMYQItuvH1yTO1cLvwGkDkK/QL+3ve/eznBemBfq
n061XsjYER6ArHYXrQ5G3Ta8PKjqTnnOuzI7uNV2oi8SOTr8UtgBVu9mY4vSskFRM/RSpsuHdmjc
z9Ba3Xtt9dz/DpZa7tZXSw2wmv6G7N5s0TOlQQEkQfkkHL0meyIi8H45egkDw0t0HGejTNNrAoO8
e3KmWGn8Ra1U/ZzG/D6/UrO+PuEjbqG22JcJV12nN0cfYv8XshMoJPBwbvvItiKSUuQpEr2RsxTY
4QzlI7Vk4yAW2RuG4pnEh/AvPgbX56y16lKtU/acFiVJHS5pDZSuLdbin9srvneeWG3gX2ANSDg3
0Ycl6mzwDETLwILlcaCJrP2o9nrkD+QtiL7EH26PtzsveC/IO+BuzX15PS/NyKvFdYmvU3ep/gV7
oP50bHGEfNmdlURFgURmTltl7L6pTHVxkHgq13V6MuuMDgjy3GGrOMN7tCyOjsjOW4dwgcm5pOAB
iGJzRGqXDmCWzU7YYB9YBGZB2fhsFXaWBMkqyvhSayDbT6aaJv+7vZ67I1O1JrV15B+b185uXGvx
etIIV8mzj4sZxR95K9iYemPz7pca9cNaWcLbo+7dRnR9pK4MXcFXpcN2rgsz5fqD+mW38yV25yU9
Uyng7ckMpT2nqZH8SrrUS4IqQu/g4DLcu5Eof1HjAkkO7m2z3PaqVeh/Uzw3e62l66RW8Revyr3F
N+f2iG2zt5eoZYEFAkGLt8LmhPSeJYjfiKyGIsnPGG/mfmQv7WMVR99X0vqDpd37oKh+UXEmaqIN
tXlgXWOadLq7LtxX43GNjO6uEuo7a6nai7cAZu9Ee4QD3R+SjBeZAFKBLaElKhS7pEqIpRCyYwCd
phaW/OAuqDeu3tfazso3GCdZB8jkvVGlWhDYCpaVY3p9E+iFixtcotJmMihSlEqinBQrHu7jNfO+
25icBNhFHYq97H3NF6Nu42QbqWFEzmhPKEuvPnsog507d3QRqGUHBEQ9k+4LoVPNsFP7SdGFeW7R
cwy1YVptBJtAP9qJanxiGft/4qxenvAWGJ5vH6+9SxLNLWmAhEsgz/310hjKEvc14PgwmeP1UntV
9AShrLncHmXvFCHnLc+xyyuzzYm6JVJzi2ZQiDECyOayMgM1t9WQ8G04//lQsDQoM9Jno0Auv8qL
IFVTMW/yBry4NG/EVlrJTD+jDnZBlCo9OD97awdWQUIeETp9ZahR2sRnVe4C9c2K/IxLlXIudGc8
2Lx7ayeJWb8RnEAJ5K94MaE5y7HGNmStrVx+gcyL7/Ru/UpB+AhbsjcQmSQBlS69hrfme42qiaZo
ga0pHR20KDemwKzQecpj8vQ//kh4F8FSoHdH2rRtqFVrnhWjxDzWkEXfIJSfn3Tw6AEUxr+4wAnv
iGxYQpKWrc6Bqecm3HZA9WuaRsjVi/xcU1//viIr/+dvBeU1F3AcnQh6BZsvFY+oCUwQfAlwnOZC
dT85OSlqB32mHdV994pbpH6SnyNBLAjkXO8KUqBEy7PGCYtMrS+a3ipBiuvkaRlj4VdUmoM5d9pT
746LHy0xNLtSay/JOld+oorlvq+s4gBas3Pf0fnC3FRKg9MF3jwni1sVnV4xfVWkbThQQQunWiM0
1u00sCZxJEW7Ox7aIHB3bEjT27iVJxvftBacRjIpSuVLnadTjoLG58WIjLso6fSDAHbngECrocyA
rTns7a1vhugN5BBHAiBlaqZfWVbH9xORwGkqvfYA2fO7zbPJTqgfmbI0rMkkeLOY+VREoPd4shSt
Hu2gHljaJ0XretS5aLK/z3LF/i/V+06ECtdp5K8E1ajAoGXVwiPM5tFfLHLFEBsVKMlT7zQfCIM1
55SsXan6veWtz80E2DFoVn38lMGOqPw1LmC+w+NJOr8gjE+C0lSqp6yQSiSqKgbdj2PcQ37W2qxa
flygb3FOiOdjiLjtSDmvbbv3xdqIX/rcFYo/NDbyZstSqW2gdkO9BEbS5u+ntRbNBYk9Qz1lTa8r
od2V3T9Zpls/1ra2PyRl7H3okqhbwx4ZsqPOgjwd16srG3kaaSrACP6UAcOLO9UUiJJY2ghOwdWb
f/t2wUgntYZLa1nVxXPQ62w8AtshizSeQ/Xj7dvv9caVo/M6EQJJAZbNEyVwQoqaXJ7dPorfzl4z
9D6ZqPXWtsbeDKZEd3/+xYhAjPAGQ9WYF/h6vvnCvtEcyMwuF/KTDRwkWGyjftacpDn1zeAe3ISv
Ay5KrOQoJqfzN6TverzasxJ9Gen1Ddi+oW2SDGdDd4egxjOA5Flbzhl8qoNlfX08GZQ+Ecrj0H7B
a1wP6uVZXBrceqHd28XnYU11ypCj9RQBIT54k+VNvt0/0mCbmiN1ZCCg10PFmVCmJSK1TDiMQZkq
0bs4U62D8uLePnk5ivwVL3ZpuhhzWtkUzhusth+KthKPSDoVAb7OKBcb6CL9zWejEwWuDwIOz+b1
gJGrFcrEDU/yOgynWl+LAIT5fCmyDuAn7Nf7DIPKP44F+GwSjSlRcLJTdD0orE7DgupDd2pI+g+2
mUa+iMbyeWoPWSp7OwSJMMgWSJVSiNgkc3Urhl6xOPbCrFAxMcc2QGPS9lGNOVI73jsBGChLwRQU
lniqr2dFZiEFMUB6xQNWytVoeQGxQ/QJ6fbmrb1Olm+75RHlfW/D/GabUzClMbANq9K1NbpVZylT
UITTZdbS7v1YuPoJDYF2CFqjQqfg9s2yO0+pLsKriFKXu7lJVXQ+ht4FWdi2qX6PMewYwmFsH8sF
9o+BMccFvYL68jeDkpJL4i5l0s3xMwc3RRsJ/EtfqDWk/uGr8Ii7E0UZAmXJpyCvtKOJbtcWNrRk
yBDawQDn2t7sHcRnYC7m+XqiCFuFfR7jah5VSdCUzRzqpbceVOW2T9Tv8Qha4QRQDyZ2vd5AUd57
6jKm62nKh+69bDddsnwSX/NoaR8AEbqXJovV915bR4GutWj/3F7jvfkyZV5HqcTz6jZ1GpFUuj0z
Xyf56mTd/D6Fbu7b5nRfGsn06/Zoe7OlvoNNJvc3qOLN6jakpmtCX+kUR7qJo3ObPGRNpVbnpl/a
f1SlGU6atnRfIjEXj8Ps6l9vj787WzrF8G7hyBHBX682joDK2PXjeqJA4SJJYeWhmQzFW1tomq8s
4oi6+UpeRH5ehALRKaOGR3Ne/qAXd/uE++IYmXAp86HS7tZpdX7KpOzSi0E7mUs5hUqj6CextOob
U8uTfxLAawdRwfY65DdwdhxgAcjfgkfdPJgzDY2ej7yezMJbwgkwRZBZWRFkkJVOt9d3dyh2EvkB
MC1K9tfTXae41Gv6JSc0U8STmRTqeajU5tM4V0eEx52hOC4cUvJLms1bWOM6pJbb99iAgG+0P9hG
CcdsyrM3Za4crN/27mP9qJigVMVbArpo6yY7xpkCiCNWT3phJ6GirugCzovyPSasf8qQoDT8yiz7
g6hgb342STqhKf/wbF4vpdFAEqqwITs5veoEEeo0fkQD9L7NDu0I93YpuCLOBRgKyInbGUYDU7Q0
ZT2NnqR9zM68UBjI7LuSnseXxciLH6u7OIj0WvpZWxtXRSQHpcaDu2hnoaVOqqTrgpR5RdrAEUS4
3aCopyGfPiuxqTxYFZ422VQt52Qd6c3APj1qsu6sM/GrLCIhkAgxRf7/Fyd0La1CV4tYO5GeaBct
jpVzYs3ph5nM9+A927n9SKZoIYAWoPa75daVFUV3zc61U6S17snlj4urIUadlvpyao1GPHou0okY
dFRhLeb8IHF/PVMpuAF9EKNzeQ9sDqeh1LOqWJV26vA8CecyTv6NvaILl3hd72/fA6/vWUl7JumS
bhPULTbXXlp2WYe3iHYqASUFTlmIB6Hq60PTeI1vdP3w6fZ4r1dWUzEu0ClwspF3FNc6aIUIqJ9m
CGF+p07jXe8MPwzR5M+WVjdvlN7THlS+tL82VRHeHn1nYaXsJdEmHH3K3ZtXTY+KKK7NcTqhGF+9
UdLkv9Jq42enz9Xz7ZF25kl0gkqVSUIlWwjXm3WxxeIuLlfR3OnzqcZS8AOi/Mt9bFUUvJehf1PH
GF4qelaHZjZ5B+WK30SNlwkRvS/uWkRb2KkAV7dwFNHSlO+rcTnZuZ4YF8OOctUn49MRM7fj5G1P
McILsO/Sf7iN1k9n2Q3MglQdsvcFqVP5rsOkM/MTPfaaYLBSfH4k7WR5MxCrN2+EXQ7UsBCxSu+L
Pos6v21dKl25I6JLUU5Vc/DpXl85NCdoDtPBYm50K64XlMZ4q8VDzemP3Ppidu580hpVLh51kyJu
Um7DqLZ/3f6M+6NyAnUps/jK6KjsCrSuVUZNS6FfoNtNl2ER85O3VMN/3UzaXo5V8u32oDu7FMCx
K7VAUdimMHE9VXtSKm/BZeFkFdHgY7Rh3DtWNZ/m3rUPtunuUA6tNBc5QpXK5fVQoPyMzh4c9fR/
nF3XjuW2sv0iAcrhVWGHDtOTg1+ESSYpipIokkpff5fm4AKz1UILbRiwH8Y2txiKxaoVmOr8cwcY
dIYYbGXQlxQHC7jtG647Etkz3iQYB9iczVAQYBZNS7ldiDDmmceq+RyWMUttKw6fkjKxipD196jf
98XrpxP5HLI7QOye00JHuKvNHSB/RQO90wyOTvXZoRHM3pyAHBy7nfsZpw0X9HpFoX+z9WboENGB
m6mQgYBdcwWy7tu8JP1JNOh1cHuSF93r/m7yAI1Pm76SGVCX+uB7d0I6Tjxe7wDG4120hVmyiITg
U/bYPjasrysjzB0bKvqzBxrsoZUQfTnIBnYGXNVVVoFfYIOAlL/dRF5MiOtJORfGn9qPpK1Q4Sak
uTI4xBUWnqAH4z0/lCvFEQ0lZC7olW49OHiIehya7nYRh4zcW01sgGTzSugy0FCd2noaPs4qcj++
vI2e718kO6uJXoS8B53LNeL/lX74RnsxbTGtBlijbC1swZjeaj7Tpm/uwS750bQr8CywDhqCz48o
YgG6TJhcLCeen7fjehxJ3dzjxnQDlbzjmqNBy1l9x3hND47ozsTeDLU5omQyfsVbRIMkrgSwbFCv
rEkQP9m9N56Wsusyx1v0QQay+31AGNmgba9CYxtUCEgsnqQdVtNp/eor8NfiVxTgPhmpSA5OxvOh
8J5EkFv14kBq3mbPYxeSQKu5LwzyvmxGoehxcel7v4usV8dVQCOwXYDvxjEEZvl20aCkwULVLz1u
q77OBBQ7T62K/TRilvX+5X35PNNYURiINTjzq77F5rboGKQSQWDDUJFrrt046NSKenFyJiBQOuzH
dG5gmgcFHbDg59cbsEKDyPahZYvKDxAwoOXdfupoxNJC9FQV9sLkVTdT+JkOkZeiWOS8aV3dZEiS
1KWpO/MOl+hy0mBU5gPgBnVGJnQ8DqLD3iID4e6see2K6N5EoxiCz30J5fRCdMsI5RZhf0JzBF0v
Jz4ya3t+XmIH9yaetAgKKJlutm44hKXwlrIpSOA1GQQuf41hl9xVg1ZFO3jLezrrI6W152FoHROZ
5Zq/rvnl7XTbdVTKGsldwa2SrPbQbhpaw/w489rkbHUIlPPsnhJFj5xmn4d5CGJAfh+rDY4bGri3
Iy+ANxLRuG3R1jRA5uo4166Kp7Nl4JG4IFF69/LG3ptdPC8R65EyrBDX2/Hqqilb7fhtEYgxLpgd
8QwSYayIF+Vfqp5/QTXzqOW+940oKoJlvkplIvDejsmRtCPls9uibCc3qyJJgTOiOEz2VGWkjcNX
Bz+cnL/G28SJMYhU0jKnLSa/Y6kru+ixnXVztuMuPMhNdj8NRS54N+DixNvg9tNai6uuVGNb+NIf
UoiBoojQdNYTh2pGmnTJ6yt4+DQ8fyDWi0QEpKHb8eZW1RRvFEzlxMkl5u3vgbdwJ+4hWdmbIDmY
yb1z8QdVAIsI5M3biKvcsPd4bJoCAmjBZ4KOf5ZEjOUtPMFyJZ3oMVA9z3jliYNbZf2Q26cWmnTQ
7sfHQPgNrYXbD/VBeK5rEHcKWlL1BJL6/BCKgR9UmZ4BDBBn/xoGiJDbYUjXebMzB02Btj6DyrMm
uef36iEuybsSlsV3NBK0oMBHZz0BO4tWmG1/NOMD/OU00vrJP+Aq7u0o9IeQ+oFLBMn9zQr3cYe3
to6gPL/MYyErLYtFweTclst4iqk+qlnujpcgRQBDei2VbnawMiEsTsHHKXo35r+EPURfO9cd7WyY
leApZe3w8+UQtD8iHi24wdfC4iYEhZXSeKZjaSep/LRHba8wrJQnx58JUOjxEa995+6C2lCwltWg
H4Jn7u0a69kH9Df0m8IRsZvDHDnO4iVprl0n9cF+2ouua5kUlwmaRVBCvh0qNu0ERZIYixfT5NEf
5zGXTRt9KJUYH6ADhpg3G4DfXp7QnVEhwIW2FBRXV1WnzYQOKEZG0+C1BdRz1bWdBusiBk2yFgl/
ZtrQySp0qw4GXQ/g5oCughbQL/zTodoqQFYA5lZLUstCO9GAioZfPvLG/xUMnslhrzLe0cAlfwxs
7tXo1AenZOeToeiEghNuE7zotyqXCrJEy+hB08wZS5M1EpSBMSEQSncH/jEKeydjvntkAPmM44Vb
GnJEeHJ7q7bts4luGlTWQq+Lc2CEu7BAJwUUfy2H4AdyY/9KtFfOhYCl3JOYABm+nytdfk1awrp8
Ci3r4O7ZzsH6a9boCJ0pQAAB/LndbLOPdqfgbrx6T87XShlTLL2sikD3Cv00qJuWrThiZG3jMgZF
7g2nVFRuAAnY6ohAJdYKKK/LPKK0+YzZbr7M/SE9fLu5/owCABIQuyihPgPpOWWCGtggSijhCO/B
tSz/m0gSlZceMVdYltUn5XVBqhlr75shPghQ24Cxjo6K5loj9lcBgnXi/3qUesYEsIz3k5yYbnmg
jXfnEXu460YUq18+uXsjISNC3QZAhJULczvS1LfeCHWKOO/w6hnToEFJKo1jKb/ZzdIcwDl2BwMW
Z6VQ/+E3bQaTSTAuiwtke7Bwlfll2GcjOqNV5rnL/PHlL9vbJysJ9/8H29zfKlnMbBkgynvddYA8
x/05Akzm/B9GWV+DaI4gLdq2FJpw9pxyWBG3INWcXKaCC4119P7lUXYnDoAQdKhxT2D/305cNHbw
XQVuPofeoXhXjuQT8HDmNMOp9+B7npW61q23qmQC24MH6LNWFCQvIrfqPHBXgVJFQdSr/5F+k2S4
RMx911MnkyXUtCFPq85eP8RvkSi9Fr3+5zf8wXMA24Sa6SYjGDspWKyAz4dwJLubXO6ktiPDKwSv
59wh1nJnaX88uDm3SQEGRfYFrgcA7AjpWxq1Diuf2qxCMAs7kwu7V2NWNYikZen2ZwtP2oNF3RsQ
KfTaXEThFFINt4sKRkvJOOSf0IEuQXWSYJViut08XkLrzqkOvUh3NhFGA4wKiqBItbYiDQOpu8r4
CcSEtdNeok4Md9Sfw1OErP1gLneHwg2F6g9CCxw5bz+tKYc6acY4zkt3bHLH6+xUohx9kj4Ifq8+
GqiHrkLeK8UMUM3bodQU4hVQD/iqSo5X2pEfHcgA7xyFh9DLI+1cCeA0Q10HslKwSNkmObqyBgee
MNAR6Ovw3Ty4/Rf0gxl4bEHzEc/Y8L4pF5LZZCxR8x7JwfA78QxO0ziVaJdAjW4LqnIHwljjAOkk
57L66PFZ3Y8xP8rk9kZBjx21D9yuqLduIg2FX1E0TYhniQCtWfpW8s3lSXdwEextfcDQcN5A512R
RbeL1oVNGPTQZMl1P4oPuhf0ykg1ZL4y8cVB2y57/dIBAbp2KECnhn7H7XgGpqPREqDpWqvBnEUc
dr9k0LlvoQLv0hSgZ34Kh7h5LEMjvzSRIkdWLM+eeWt0WUUyV5orDt+zMjMbkxBF3iQH894mpzHo
y6yUpv4BWLn9qaddc6ocMqpcd6E/weRG6QIGiMkHtHIF5LITFn1mCRkONtXeQY3wrIaZwPoWeqaP
UKK5p5slgfDr4p3AnZnT2CuDq0Q38OCg7iSLODrAxMI1Dn2+LWzUJ3ZcQZciyRcJyQFEuS55N1MT
O2lAAvOmq5RXGBlMP15e+t2ZB9QJGOe17Q80x+3aI8Z6sQLXOq9byj5V0qUXKFd1T6Cpk7te2XxO
vcld/dM7m6TEDppPTMPBHYj/YUFp1zbtDzsQ5RF+Zmc+cNBQ0AQ2CDfPtrJRE782ppRJHvdOm2rM
22VRGJDOKHJ2jm5Z2sPp9fTydOwsOOIyXEfW4uZawbmdjaCTnHB08nOQKRe8FDyIsgfBAHPhaclf
HmonXqJwAmRHCO8Y7P/1p/yVxI4BkOqOwP02MqsvYL0NzEOoOnCquc40ngjXsG4++VLUhVggaPny
6DuBDNsM7EnEMTxKt92rlihdhQlNcoAVvUsPX3e8E0d6EFj2phPGntD4WPVl8Ca4/UZ/CBev5LhT
wZj/3gQN+USwB+9hnXpEgtoJmQBbrRDBVQgXSdrtSJJJMjUCczgAtZa1Eho2LSRWs2hRq7+3rC4v
z9/eeODH4/LGMxMs1M29ajMpettTCXAqWoCizj8qReTZkm2TdXV91Eb+0937+zWPDQIL2LX7B61+
FJ0236cGwrFIfZKbBkRbRtkAXeZIZdJ1u7tZWcuFynhIe1hMpqv1b8qgnPtYe9i2yajCiwnCX1DZ
c7MpRAEdfnzjwYTsLTXCR4SzgxVAT+Z2AVwDXGqS1AkolczDdibhu174dQrQYlm8PPdHQ23mosat
qUSDocbaFtfKiQQadh57G7hgj7881M4xQZ6PdBeUQfR6t1GIEmqqEYIfufQ5OftLg3bvYrUHx2Rn
M+F9BPlIqA5Ar2srpEEA99UdTEMh9WphXZslJmlElFN0/gjOko7Df1/+rG3ZeA03wD78KbbZgEFs
Hn/oui5lGEK1qoT77icnRi0qKutHq2Pz1xmlvzfQWNBps7D64Et3lg4ZGkp8f9A5oBRtdkkbCjcZ
A3zpamMQQ+IgTdBIf+MTKQ4qULvfuCouYcDVNHCd9L/iK51nlE1dUuYDtHZ+g3wBvTVq2Y2ElLSs
vs4Bcd9EvVVee6n708vzu/uZMBleaXFAmGyJLqvhjRdBGgQJfuV+ljMwRnMclHWatMMRiWhvLMS9
FXgBAWTgeG+/s60ibw6nEJEhFm4Kd9T4ruL8Ll5AbXr9V6Hosr4C0U9GqnY7EtwZJrwzuxJCaExa
BUo9gCWaQbQmo3xg88EVtffWBuBhNQuB0M8q3HQ7nh0wmBPHtMzHoUWpMhGB/ha6lYELWGyn1sJB
5ynDz4uWNQxahJ81jeoONuxOAMBvWOEWoKevRfjb30BL4oME1uCb4aPzBfLP8pNU/VH3difZQWUf
rWEU7v7w+m5HwcVptWEboWg3CLsqYkFbsOqCVa3byX1oCgUny1HOa71SEQZQMMEeRTkDGedWdtF2
W86Zb5f54vTBt8Aew4/VSD6+etfcDLJZxaSizdI5GGTyVAm6CQ6b21JyEnIc/315qGeaUP/7oJVf
C/l2SB9uwgtXouSRZ9a4RsRPE+n6k+vy5btjhexutiZ+lqNXfSZuNWUA1nX0TsV9K1JtAwI/DHN7
tH3Wj9tc20gRUDNB+RdI8G1rwxqpZ/zFKXNDneqMwu10gmXeasNUyrSWRxoqe/tolRTD63Ttz2/f
K/HsDAEcBjCcS2jJ0x5EI5OiOLYMV/TJ4rfTgBrVGwAn1FGGshOGANtDyo6TgnrNsx5y408J+BlW
Hpc+4EhQvv/AZC1hocVn//W5xp/uOBTEV7TJtt5nWVE9jp6Gd3vttJni0kYRmMlidAS7vryl9hZw
bcT//1Cb8++AUh+3arRy2ggvr6fEnKBMOpwSy+iswfPsYLy9aYQH4IougSQGUIe3kcBJZDnKYLZy
xzZTLqHxAbLLMr8Rjgk/v/xpe0+/tdqFJsHqK/cMWj5ElGjHxZLNSTt/XzyIg6ae3X83EtLEkxu6
H9YXOzR9a5pCLyO6QurET6UNUKxCAQnlR1/mL/+mveleca4owXlgp269xL1SW3Vk2VauogTMLRAO
hycJs7a0gazDFWxd81qr9jVkRCuUBw9NPPW3+I657qRlz62FOjjXSKIj2G2ZoSvghvVmSQLxH6Ih
Ch3QHULtFoWkzfoyU6KP4FSY87gRl0oY+MnEoL2w1Q775bnc20oRyD04lAAPP+t1IhvnfKwQDMEV
Lz/VVfsVuJXk5ETkv2xaQC/BiUDzDanWJuw6SbUIFk5Wvkxu9HUe6Lve78ecMfeIs7z+n7bxFKAK
YOgBBgLkdP3mv5K6OaK8mxPsDz65Ku+4r9LSmo5mbm8XogIMRhImLn6mH4/X5YICDw6hH879OVbj
+AWowDK1as1PhIMn/fJK7X4VSsFgXgArHG0f45YdmXlcxRkNb+18iir5zswVcOgvD/N8Q+ANAxAB
kEzgcD0rqdgL9AkbqyJFQMP2S90DN5x1zdy+43Tp1EHitDMYEibwn3Ab4R/bPTFpd4ILZ0uKxRFL
5ukkOdtwsMuGyB0PMv0177zdFBAlg/sCMBmrtPsWI9JBZQDECx9navSiHyCtkXPTjbZKYSNprhTw
3YsjAxOkS+AnU1p683hwqp8vIH7BypkBdeUPme12W8LyxKWjTBC1p7G+n7Rw7qoGovkvr9/zbbmO
sjJrV0o7ml23o3iDnlXV1wSQGyIyx2LiG4RE66qgsrM+Wk7D3PzlEXcXESkptI9XKMi2RlXOHWyZ
uCaoQPXJtVpYCQkI6RcUrY1X3+n4uL+G2nycmcnYJn5Pir7lda6DRj90JV5MLgnL9y9/1e5qhZCs
x6ZxkUhs6gewGHDjihpSqCmGD7Wj1AebJEfauntzh4bSGuvXesiWzmSknzQhhbhry/rkTIPuJxFk
OLEI/tAvf8/uSIgcAN8jyXyGtehLb/G8qSSgaTJyDZ3Sft90TLSpzdrxP4wFgP/KxMWtiTvsdg86
MavsSVtWLkPb5BRYuoua1VSEAPS9uksGQZX1vYk1ggrAVgDSF15HZ0vTtQoiLgvxyKV3JOymgukI
K7O3I3AhA8v7pzaxNYCxw5E4rXFpASaqLrSanFW/Tp5eXqfdUVDRXkv8wElv2adtrFkc0Z4WZRJq
2MiN8pH38XIwynpQNtFwBY6isIzK8soNvV2hYUroiJ4+K9DgJw8ahjonzxqjQgpRn4FDCt+++qtA
/UD9Cm0/sC+20NyqHJqwpCHFFuDhxW0q84Ga5igSPX/ZrGwkuFmAPLdCtzblRd+yiPT6hBWtU3qZ
6b0hCwETBsW+st66FWEFQ+p8cLHsTOXNoJtAQbiQZKARK8K+bQEnaIa3jVLmqpgnSRp3kz6gQO7s
EKgpg2qBqwwd6K1vhxldhbYLIrpQysuwlMkVUo5Hdkc7hZVVaG+17YAQHbb8ZotU7ao0AcXtwoI4
E2TDOHTmo74sWkSSLKws9zo0DTlDrord94kPYovLx+LlbbMTtMD3xrsjgsrq6m16u02T/1njEQ4E
ZTtmUPsLT7G2yjN0m5Ovrx8KT2vEYdzNQDBslrFW6LqBElAVpS36azdZLF2cbslUH8cHV/RabNsc
vtWuCyVOEEvRMFz//K/8FDw+V7S0hmHGEM93Ea7NdzAg4WeNm/RJ2mvdYWhrhukWEEx4+TN3divG
Bh4If8H0aLuqkMqNHBIIXljECgtvmdoUevJO5klc4G43HkmA7q3g3+OtR/avb5WkFHPgYzxwhFUW
V2ObxcTv713j1Qev4p3Tj6LOijwBmhGpnHs7VDwKbddeUhXuQu3vk0Bff/Lr6p1kftSkNQqA/+Bl
J84vT+juB+JxiG4gos4z3qzBoQ8qqG0UMgBcEv9efQFGxLlLpKEHH7g3FOLnKlOERjOeULcfaKv1
ISITrN3IxrwkFfvsWr089xBbPhhqby6R94BojZo4oFlrDPpr2dpe1L1Ck7GAwwPkymLZnogNKxQ6
D/7TMvL2HIKfcJBy7e3Nvwddv/+vQSMdeBasQHAuIru7CzVxso7V7V1rDLuLB/1a3Ruc9BXCs76l
wJkHW/92PJ9CxYeXtC7AzXsUYsR9bugZqVd4LkFLztokPsoh9uYV9xO66OudgZfc7ZCDO9uhTEYG
A28G7wzAIV2YuAZlDup1QNMWIejM+vj1LVbIMoP2A/zE6tWzPfUht4mVuDMrdKNMMfSwcLCSSD9o
E/x6/XEA7nKlA64KzVuHaKtqAUUsbVaAKR9cKshWZ2zyTNa1lvoPJw+C9sB+ARHyHHbpmrIfIqlY
UfeMPAWkqa+Aj8+XefCOOv7Pr1y8HYEkRT62wpbCzbKZKkYrfImqAhi05i3Qru2Dr+WRre/z/Y9Z
81DSA37OX2EWt5sDkhJDaVbOlAe/W/D/zSmMDZjorf1DzszLX16pNQm/vYXQJ4ZuOp4fqDtDtft2
NOUsDYTwAb6OGirOcqnjU0esp8BwmUZ0GC8q0TVk83R59vzpqG/z/CAABIbaO4QBV17ltghPzSiM
M4EMxssygH7fMN/BeaL94CdGQ0hYKoAlk/7dy5/8PIBChtJFuQuQZIhdbfvjMa8iv4kTVeD5M2Sc
K3WGRbKVwUnutfbvaLOB/4EHEMYDpH+rqTWVCR2sZBAFeJCwiK0MgXg4UU3Spm4YVQcg8ucZBUb7
Q/9YRQAQrzdrmSCQhT2HpGbpybsRaLN8gZxD5kbACom4eS9Kz7sCn3J5eUL3xgXeefUAAO8Nvly3
4zY96JvaBfjEq0T0ONh19TSGMEEio/WBClefmwrC9O6MrfzywDsrCcDVSneBrhZ6OJuBmd0vAya2
Lkjfj1dn4MvVjYypALuu7SMvlt2vjFFUAXcS6uxb1TftTTI0aqoLBaoEWhXGUWmkhH3iZn7icpQf
m0TMGR/CI8jb3meiTfI/3xRcVJt19afBRend4kUX2MgHxeCdZblM16a3xcEW2h0KXAxwQRC/cERu
lxJmgIiiTK0zGntog4EuFlg9efJl1xwcw735BKYI3F+gIwEv2EYeWSV1ZbV1wWPQI8EcVOfOGloQ
gl3n8+B17nl2A5ODBXLk0Y7n5vPAg0t/5cCiSoZcaitRrIZREV5OMCqAk9DgpXh7OCQdO7jIpYo6
AvpspV3SrPSmGUEIu0HmhsjWz62pcnMCE6wp9fQyhamsLPnBQS+ihGyzJ9t0HEf/KgCYl9B3l3WX
RiDv/NtbuH+LZvbJjzkCrSiLkikRqWoTKcFShSNJ2vmRhgUp3CzHbGYzbhZXUIZxGJ3GC/gLTYf8
Unv/DDWX4joNZTzmrjaezkyHfxMDccjKUgFwcjr2Hb/YARcqEx1xvzI8nvpcazq/gYwEqc6GGOuf
YA6SSxMSrlJnYiw+E3x14RoGkpxuJ+NmqERRVfhrbMkTuG3mnVUp8CFV7wAphCm82qolIoW4CXQQ
xwQyKamCUNijYtT/t4LQap81kIP+HY1zxa9ctPqp9Mno574/ex8jUVX21QJ0BvCOAS+9dG5RrjyX
c1x/GIgDwcMpstn9EjPHP/mupX4CTsXX2p+u70ylI/++kzGj6eiGw5iVvjVceedJ5008h/YDD+3R
u6fTQj7jAeC+GxY2fm8Eq79BmLr/DtBMBxgNq3uYtDjBI2whAxe1/Nb91ipLPMCs2n/bNFT9ciyg
CDKb1c39XJe4OOwe7wvl2PMTrpm+Oxsj6dtKcouknhLJjw5gTDv3NQvrbHAHIfNBQpw6taGCQNNF
9NZPaaEEkg6l6uf7BBIGXWYZ232rPeCILstS1mOma+NFxeRFDUr+cNCEY4E/AeKnoBEUp1DM0Z8d
qso3zsw1y/vO118rak0rzpVHJIunoX6UeJz8diukfinrwAa4DIBy/rDNSHkm28nzHl1DKrhrkRoC
nUHMG5M7rBVfhj4p22xOlgHwTqK7HNoD7XXwmtCHxVgJQm63mOZTPRAIaClZTjortcRakFrClwwg
Cf+3j4wM+CBwhvs0NGT6EpaSl3cCg/0EX8YTGSwgACrCAxkpAFA2848RMk73vJHhL8ho4eriSbl0
hRBQEyw41JF44UWmfasSz4pSZSe9nZJQ05NCXTtKqzIw/7ooc/6idjLejUHJ67NtLe5HHQniZlbb
hApzUtpIR2GcdsLOhYpM5RM2Z1FXJwQa9xZTJ0KHqc9HIRx2mu2haSEt7HKRQcqsnd8trFrCoh5J
KCDr1YYPfT2aOEX1yf5ORrtBRx1Q2uvouRx3X8f5z0HCkDOdhbDuqTeQH1B0mT8E2kUhxa+m2clq
1PIflELTPwNTl/k/7Ygl0duZQ+WvQ9F9yP1IalD2/W6S2VIuXtXkE287epqBvqZYDbyzs4YMgLsY
E8IcGqCY5JvfWY7/rnQnD04fSgMRmOpoHOvr4DoddPosJalOwUoJvgujIfzSRWHd/gt4EGC8PQQt
7KJDQv9knMrYDQw8aOln+BFle0cg8MxTFmk6viHcWYYUCJjxIeq55UNKuQWccLT6vvoaWD4gFZPT
NGPWR1Z0hX5OP6TGsZXKIhwo9XGYfG8+tz0xPB2tJfgNc0/yCOW9kHoQcXbmt4Qj78nkqHDG4m6c
CHLUWvDvCchjfQrdaFM9aRhexH3ayog673mM93+2hBX71BnHStLIZwOHn58zAOsABSHoFnXWCDCk
mnSbU1J7XhrPdGbnxBvMlyAgZZhGnMTuZVospG246CN6EjObnNOyQEXjNEPX3n2Yodcjfg+LQ8oP
Xk8b9b4tW//DAig6DBwSX7dvAuCk2aOOoYn5q7ZKp7mHkEFC30T2VLtfIVznxo/x0HEnR1nNet91
tKsREIgfAsSpvDrzwsn1Mn/mFTsrIO1/J3VkHoKRj/oiHcSYU9RBK/aSRK1ELs8MlZCkku2SNWEV
YhGZpeBgEY767NFyrE4B76A0IcrI/KYOs73HMRTi34m1wQIqTahlxsvGuI+VWOpPnTXp8i4k4DTn
Xcji95GxHVGgeSb6E1wH239DEzUhwFZ0/gST3aHODDJA9kA1m8JTgt/j5YtJYDHnz05H7uywHOJ0
qqXFLrXlQ1bfxFDmgbSSUveezwLyfdZDW+V9EyxL7td116W2Vtx9ryRr6FtsQMmzUHu1JTNhY7u9
iZB+QVyeRaCU1HPtJuew46FMq973NPjJJIreA8hg2TILlRHwc9bMmvIBiq8QG1O8n9WpxsfIx04R
oF9tZrgWGfQqRi9lvQnvUSMdxCUZlig5MVvMCJvWZFA6K2Gi5xcxkUz/Yt5CvmkvqFRGGhlHRWsC
71Md2WP/UBE3ZoD3waPpA+DcYZU3fghLGMgVGw9chdilZpkgS5SoBSlJTHGFPg5RJyzQCmCynRCI
7tEp+dfxamo/1bVjD18coJhoUdULuNcT+ouBdwphWh2fehWO9QpEDfsCEqwQw1CaAE1xGoUzy682
gZCnlVKAj/jJUtYA6a7Gh7/8WVcV71If2PrqNzJFaJzicl7GHxKeefKM7vOoP4aW3c+Z6iRFVIQ0
qJOPUdMCEU8XjovOm02CI++03qmKTSQBy+v7Lm2BvRrTaIk6+5+ExVWbrrpUHlTEpy5BcRB08gzR
qxlTEntTl03wPVDZBEupKLNdjgigbdhurXUTPT+A8gIpnnko6ZMZQjEX1JQzfXSnrr3vrbquctbL
+sFJuCUuAhreduaMNfkxVFhDyLnFvAaOHhCorGLSRW2k1iZJAfYM5pwakUx32keQSxeXjEs21ZP6
OkO65Glo5gTo6D6aysw0zNhpCb7SdSJraqM40whug6u/mIEmBrYhIfHSatLzUzPowMKL03ZJNiOk
fk7GHhZM8M+pn6BujpArgIiiuYNQwNPA+C57y2yN94zjcyFSTjRLctAhTCARw7TrZ73vLuKk4XfN
c22NjXuayxovaA6tsDr3vHl+UlPTe5mDGhpLWxpOPkTNdT1kKDSHLjbjMpA3BLQY+kuJSk911g4l
Bz4dpbgmC+oYWbBTQUMzxYGIq1PdTsH80MWB8q/Kp557qZuJTZdAObo7E6vU+O3AkogZFhm9SMKP
sptDyZH3GFUmAKTLiKR+FTTJo/TbWj92FfUNflsHGmvqRsvsx+nsR5b8ihxVdl8i2bXlUykSghho
I3kfYXMacNPdD6O7oH7tTlpfnDIUbwiwGiSPJKf66pexIn2Ov1nsd0+JCFDubtSQD5CObIrQ4j3W
pYqRkiE4CD8lvYOOOcQ/FEvnBIbh6TSYuL2gGtNZOTT2vfE9DJP9Tw7+b8t5ARiDpJPl9n0hcA66
k2vP8Xf4N3Zl6mggNS9SEXgR4P3IVOElSB3vRz9RH6MFtc3Cj8YIjJmGwOGgCpTunzpdW3Y6hdEf
ZL6G50yEAEHTqg4UIpEFde7HiVEL0oO4Wobc6Uv2M5iieMZ5qYJ/3LEMZDZGCXmnkJO4OWAX/sUK
baiOzXVSexneNFTDXcQpXTiZ+eoB+6+00MOpOi9N0JV4Ul7STudG4c+amPo858BH/wsPFNhUdmiO
vmf+OH3To6jeyNpDbZhxcOQfeFf7yD9kSQIUMUcjL9RWBMSRFgxUt6TlkIcO92gB9TG/LpJucD4F
nEZ9qv1ZQvNgqJsnWHKAL2rVfp9kICu4b+UENkMKVlWiz3h3yV/LosV9YuK4u0yiHr9CDTB5rOYE
xjlmAF4d2YOD/yIcklldGI9OinvWU+M3BiGYevHVwHL0F4dpa/MuHo37hI3p9Xg6EOsDAA4RfLlE
ze+AcSg/+cISKuV4T7wveUmQ0LO+/YjP8ul9RBuCYVhsP03WnDhZYzn6MQkn20XCq5byPmwn/4uy
kcXiU8pZX6o5bL1ceQFEOfBkW77AGQMn3kvM7J/xDOjLq4xlHaWTwPrkcVv2T9Us+yjlpiJQR2gH
zLaNu+7eHl37Z+MTjnsWuos/4L3l/rJaAvHHWSfV46QlbrbYDDZL6wHhp8BR8L9WtdRNIUGCh+W9
DoI6Y0kLcff/4+y8tuNGsnT9KrPqHj3wZtZ0XyAzmaARKYmydYMlqVjwEfDu6c+Hmu4SCTKJo7zS
kijCBGJH7Nj7N1OSdkeCrp19LUq0S7fWl9LR4EYImxl5s/NGtdd3htl2ziEzeu1GJsxR5LWtsPDT
Jp+LHZXYUATeYJoCTQEUsg+WnipXnCeU6MKWtf0j7hSAPXNfFwmH6DnP2GFK9pDZEF5zSybWCT8S
jaVdNOwAcOnpPDy0kxwxE+wRPDpmVhZ+b+cu5azQpYZ1AJtv277UwSYZHG4jWD2xXvvepNjTvdG4
GvkmohrXpd5wbWBuao7GsRD2Lpun/Dh34TD6IimM9H3Xa+oPfBftbhdVTiYuCmsk/mvOzynxm9gN
+4Kt/cgcL4/20tJI8rPQFhqneAv4hKRYOe5aO9cxVTVdL/M1iHKDH4+iN3e5BFlMxainsmoPA2B0
RZhQbqrG/tbHXT0e2Lajho05rzRf89TKPMrU0rODGKu0P3SWg85JIltvp4g+nPjA1FaCOLVl6mt1
3bk724zi+nYM8/K2QAer9dHE8dw3IcfdoM8L4zMorLDz5dDIBucUz7hPY/DMlHiSeR/ny95gdDpW
papak9brKcWw3dg53XvbbKB3dnZspleioqvoQ/I2P2C82ExBU6be55n88SatI+13zB5EfjMnqIyx
p85VuRtEbrzTBe7ob1Nhl99SU8nFxUxW+zDObMa7nEf8U0KeYSWZZufNUNBm8skS2ySYdNnlnGzn
ot2VNcBrjmqWRQJh1fMbK3JmZmlikraI2f69FGMfXeWNwK7RHlyz30Gss2iTmVbhIOI0NsxVfL7Z
x+wm9247MUwOhRwKLXdotWadD7egeadHRThfDOooH4psnPqda40eKdUYWlSDNDP+vhxL2OFYtocL
zrz9H+wGWoK6oUjQk8s7RsV2x+TCqkZMxMdpmPdFJBXv2mxj/Q7Ms3YvSk+Nd2o/dZf0MmOOTo6T
vhOmNfV+qaNZ5tuIRJu+a+XNRy00k++6UZsP7dh6dKXDUh7HFsGxHec2zuMmR2CLOPSqq8yd+8Zv
hYt8ZiLLPGRR16YHNgBX7rK6G343pKrkfIAuot3bZu5dsQhJAqCKix/SHNrhaBZeU+0ZU+xP7MjW
34ez1DV/HGej8BWJyPvRyEkIfMa4/laqqej8tLe70QeRIT84rmxvLBgC0hdMh7tapvnnBN21hyS2
woB0VhmQoy1SEpDGvsyGufoy9DBD/LLyqBQIoyqolON4Ss/WaZWCrDHTrtokT5KjUegRVbWa4raP
ieOIZpYXsdalQz0klzYu5eWOjlAVH2SrchxQC6nftoUz4e4Td33Ni5tawGCICK8ewywPXKO/x7qO
5ltaGFW2j6ZBMvW9uB7JBdryO1UXRyUhicb3KRm8wEMIKSI/HWz1D4umduTHZZq7UJTy5nsBBcz2
y7rm4DrWo3tb17VEOLZItXtDUbXfvTwetN3Y1vqPNvfku5RZP++sSu+v3CkqnZ3SkoZc2h3yw1Ql
LXmFIZ3n7pS0NS/iicMt5q6qM/iZ5o72wSnDQSFLG4qJFapMviDXk3+uPC370qQq9YdGnSLrog3L
4XvTx/K9l0oql41nN/reKi37axiPOYNGxWmmpWyo3xMzM24GwG/DTo0VPLFmp4/+cAdJUthxgGIx
0C31q23EJcWsqI/In4aqubHRalM4rWfzjQ4vNt713gwaS/ek/UFrUvNSz/rsi7BQ4DrEjWU/kHNN
RKNS2feNgwzhPlan7DPF2/S7lltTB/1L9t80aK06tYWZRMjGdz6Gh9GB7cKxXH6fNHDZftt64ydg
mywTCLHYzFJMg/RDVEqNFCosOMCVzdgfixDPXCT6LDOonCRS/TyTE4URt1PifRbWy7KNZ+5dlWtj
RMHMcn+McdU89FDBGl+4LiYvRkuZfOcgS/Qe1qqT76amqn6oDUvvgWllPUyszZ8Ah8tPidXolCAS
izQiVCSraJ5XZb1zkkwZDrOhYRUlnZSnzupGdalE0KdDPNDrlf3o2dWyH7rlZdkPLAVDZyR3nhIh
XGk77bDPemQid72ZsBMNnIoetJZMChqnsC6LrsDfl7OO+alNgezcWhmnwx27dusQHm2BXHob5yNK
rchRXqpJMupvhekwh+Yed8ldPAzWHQ1PhKeMLk7coKbOyxFP2mZ8ZVBpzA9tnOZXpTH2/UWhKq3n
a4VqjbvO7ktt52KCQc9iNO3e1xvb+QbsoqYWMvYaeSfPhGQ8xeWjl2qDsYvoaKCak8XZdY4bmvLG
SDnq73vDU0rfbQ2KN15kmeAcMkMjNe9dSTW8Sav7oVezZN9Jc2z9tvC6+I6qffR7qyPNDXEma9+2
haW1cCOEfVeIMo8uc7b691LGPRyFmBPAAS677PwG2loDfX0kZxWaNOsdXgHasW26ND9UU1/c163D
ebUbHTL6kNSjBqNje28kcteIh7btcAuDj2KRB8F49vXOZnOzcgvoVKYYc+YXzVCVvkbJ8V4XgxIH
XpOmX0mKOAwqYemgHu5RmYHSWTT3thImZlDHlvyUlqm8jIQhvyauGX7spnGwl0oyevAtvQl3N6Qc
cHZz01hXjsjKfldEFY0xD6Fs6Y/ka8VxLCx3vJQU7r5ij2S+ixQnS3YVm7/nR6wC+V4dNK3DQTrs
3kTG6CB6RS1G85EaoeAmXEv5OnLauItnq/1Q9VP2VmYluZZwpfuBAONzlW6YXcsh5LDPTu3q71VP
UZLLTI8M8LltKZZjht3zf5T+uonouUxajkpD05ocEU3OFGlPUjdZHDL3odsD28MXuEx39Iqsoxn1
Ot5OIjMlm6Ut37GOiLdS5GPK/gCDal+HlnYwrEoYlLV67Q3ZXE9Qwaiy3Ju6pGR6U3OEQwoQJa/A
Gsb+nTVo0++d6NrkymsbFsSoa/SgKezY2Q2L48lOhpb7oFSWdhex6BDMZdRmh9wZvY/o62iUZRPh
fJ3CCqTh4LUuUy3snPusqUWK+YQNOU8Uden4iYdMje9ipBYfk0HvtAvVpTzAPldFoC5FXoSU96wo
843a6Zolq3WPuaSatx/TSvvQmWb+0Yo68xYX2glDrRrF7J2MxukINsGkF2WItEQEVPEQ1PLi+Evd
dmETgIeNMMPx8h9TAinCr2awpVTwHbW4cOswVw+28Kw70XaESTymNHLsyBypc5J6qvvejst3Dq2x
P0296lOEh0mJWOMpu/puVABOyOfI+p6bbfod/zrwjjP6OEGEdWN2I0XHwVNnM+AkYzvjFZU4BLbr
yGmSd8JYGG6WqOUG0vQ5iAIw8AKioLcIwHXt3B2qVV2h5E1LujNJwrxYvSjVRsNTMrY+pFEzfny9
E/0CTpIbmvg2uIu6JpJjTxunTd6iN4D7Bv6ZYro1wmbcZQ2LaNRgphVqGdU1zhiXRd4M+1jpvYuu
SLc0lf8is63AHLgqwSAEsL7ora0AKkz2Fmp/XIDuDutr2pOGvRSTjNsmTod+j546SWUcoY7t93PM
VtS0bAR7jl36HWoqVGxfH5XngBm6rKCq8C+jQgg39+mgtLomi7jC4xNutbjhSC8/VEaRbEBvX+hZ
w91GgXIhkaAnvR76yWzok8zFQY2QkKN1ObAC2NZ1JOb4+KsvBPwHhr8JQoeEeD2tYjqkVR554uDl
ved3cTlc0/VQN5rwz5vT+Mt6LtoEIHKwXFwm9yMEnCz4cO5Y8EJNzSJQOPmDnKv6gxXacFFn/Oxq
pRrvX3+1l0aRhoelgfRdPAiWnz+6KfXpAfCUWxzmuBp20h2NwPRkeNHEUmzACl8MFjB3Cwkd+MYz
FoKCEdoMhF4czDj6VHayPxp93+zo7IkbDDjCQEco8QKxy+aTNOZ6l+e63FISfT43mZSPnmE1NyNd
iYyh9XjfEeEgMqtc3MRKrv86ymHxYEelGbQBAiprtKaDFfJEbeTAvWyfA0EX+VZIjbyde/M73RlS
gzTr468ga7a0k19aBBnhRboPx2cUaJ9+UmiRMytSKg4iN7ubxKlAUk5xDbYAGb9WoaP8+hR68X5o
8Nigp9FW0RfEx6MplJQQ85W8Rn5WzacDpXvA2kpmX/QW3blu0eN9/X4vsFL5hhbgC+AqDovv8o0f
3RCOZqROVi4OYZGX8WU2caed1K3wZhrs9LYejfZ909CvE5jaYNg80EY2MmW2fd3s3UMkC+uq6DL9
8+vP9eLUQtYMPU9UyO2/wCePHqsTlpGECEwecFbOflc6WOUKGs/+63d5cbRx1wbDDXyG8/nTl4+7
seU0qIMtm6kHJJ4i7zJtoFXNie8Ntu1b6NEXViUsXlhpUXiiYryGxsd2VVk9x4MDbqjepd517QV9
TosyGsgvNWytd7NTy/5X33IxPEDWD7EeBJT1tUbpXGWaSd4qDo0owwfHSrNP0KKm21Ib58vJhJK7
sWc9X5z+uiO0amyQgAeueaNxMXp1MsXy4FhtigKvZX4wc49amjs7uwSk907kTO9paqnjaQ6YigJU
zOvf9hk2ankGpFJtMLSgI9fA67buzTSdFCa26tjoWM3uVWYuXLeeArzII/3CVUt3l1Z596t6ctwZ
Zg5DjsgDD7CaVfTVjDZMG0TJsdsOuraKDiBTGr+cBkyhenNLG/zZLF7uB2ULP3rWqWd5E1voFE1z
ITG90dNvbmyX+d7hSPV9Rmi12ulzvWWn8Wwec8eFfLx4o4DqWussjIVHVxCsN9SqHiM6x27u+hi0
SoL/zjVYB+cWQIWzsSQ8212XmwKGdxBlAm27NuJOul64KMHJQ1e6wve8GXYkrUzQgvlWjvLS+y37
N3dZAAzP1dYV3aRtIg6Jo+aVbylFVQRohmmub8xqe+TokP0uGNzj63P2r8B4kn3yjmgJA6QnUNEM
Wk0d2YMsAR9UHhSYY+9bjrTUxzyswPN0MFBIQ6j2E3W/9FCVkfsZVLKgDNCH0U0MPIseRcQZKAbg
cR/HWuj6uU4H9IzVBMLUkiTSl3hG/yX5NPrYDuXBLaUIFAprB9DH5dH1qAPF89TfvT4mL81uaqsg
7snnlm346RodeVVbmJz4D+VQTTCX8vhiVGLzGsG6DOGrdIsZ+1zVhG/Abrjw3qA18MfTG5Z2QWu0
aMtDOJiUoNVwfktyEY3XIc5Vd85kz+2hnmLja6vozm2qiuKtrfd16Bf1bL4rG6Dvvz7kSGyyfLNT
wT5Yb4Z9W1Z9I8LygP1tcfAaWQbUYOIDqlzahQP8YWP9fiHSNBQ4PAQxMKE31qoJ1CsMEakDQ54a
SdDV7XdrsqODi1zOxesf99k2Tz4HM56DFqpuEAJWqd1shrEZ6bRPUrLlxrfVxHhAJm9L3fD5XrDM
HyS4+KTmcix4+kmjAcMWTL+qQyZK9QLID6rShqFcuXM++IYFYKMKHeOSI8OWNNXz8+RCFgGiy0oC
SQzNz6e3xvrck85gVAeD1iQH6AyQhuPE+xYxq/5QdqZ92cqhO+gxeY7ZeuVdXHXNF45IW267z78q
rogGsHbN0oiktbh2NnCOVAFoIBHghoEyDuOfHrydt0NrVd3GjH3xXuSVHOMp/iPv+PStOQ27oKC5
l1uprZ+PBmq7Wjr74zRlh9en0Eu3glrJcQ8d2kWU8OmtRGeVcnat6qBOjblniuWXelh8zLQq3Vid
n0/WJQrRPUBEGLXK9UpE28QA+urxKcdsbnwqxGBE4yYqo43Re0YoYc4gJq8xfNiAsR88fSU4Y9Vg
dikWUvX0qWntDwociP3cp83BsjGeng0KUM4CRqiUKtsIyZfGk1ek+LHI8LDhPr15I1VjimfeclBy
76KmW3MJOikJsnouN271fJv9yw4Qy3Lin1xi9Z5wD7QSuEx9cFKrvchL1X47kTkdVCcsAdpwRrJo
u3n1RrHjxZh06KH9574rMoBuV7Ga4a0KpIw1Yaj66LIoXO1CF2VzIbCh3KNyWF8Wqeexw7T1/WzW
7jeBWfXWyv7ClOKgR6+VnJBqyJpHM5sRasOZqPH+6OwduHT1qkhLZ2OcX7wLmaGDVrPNV12Nc4Eh
QszZvD5M9Fb3VJraa0lt+/dfDsRFemFhjnIjai5PJw7aoxpbY1Uf8OkSx7Kf4gNudbo/Cm3c2KBs
LvU0TYJdzGGGgxsUMlbXp7eSKOZFbqUTIFVeH9wcX86oMcTDSDz57og8zkZEvnhDbJ9V3kGHcbzM
5EfH0dgdNbAhTk2zCRnHATr1Ps+sP0AWQD+wsnzjg70Qg8u6iaYY2jFAnFfbIg7MMb4vskEgITJ2
ibBUCh65upsY1I1geGluWFi3QjVkY0D79+mbAZ12xtzDIaNmtN9pA65fe89GZmDjk710HxJqjgxI
ttjumi2CJ1wZZ1mE9G7rugcvbG9hgmx5pb00bn85YxJRDgzD5SEefaaOs6wShUN9GGIPmVg6BReR
0817SxDir8/2F9Yu7LsWnwqyCl5stYY0mtX29VjiAGcai9UvEnth0oB36ZPxDXrz9q5L+l+WhGTa
QyyitrhUX521Wxn2WnHZp0Nz0AoO7V491MFCriinRtvY614YSdYB1V3sk0md1noBGrRCMXiiObgp
Vh9Dhq1dCm94N7j03l4fyRdmBsOILJCziBPAKHz60ZqF803q1BxyDFze0oJyfLO1+o15/kIEs6Np
5CRUTD1r7edpCxS/xtlknufZdEhjGQeCxhv+CvT8KCOfkQHBCKUUjJosi+GagqqHjaHlU9ceZAzl
u1NHx68EGWBaxOP/1Rv++8f4P9GDfPt/C1/zr//l7z9kOdEWj9vVX/91Vz6I+7Z+eGjffCv/d/nV
v//r01/815vkRy0b+We7/l9Pfonr//v++2/ttyd/OYg2aad33UM9vX9oqDn+dQOedPmf/78//K+H
v67yYSof/vnbD9mJdrkazQXx279/dPnHP39bTjr//fjy//7Z7beCX3szwTL6Vq9/4eFb0/7zNw4W
/0CUkeo/MjOkhi5nguFh+Ymn84NFslJnq6KvslT9hKzbmPu5/2CJWqyM0D6gerOsho3slh95/7AX
sUViQrUX6QAslv7zYE++0M8v9l+iK97KRLTNP397OuexLYTTj3Sbulo18Ecaa6PqyqCGHXID8tiD
/kxVYyOknp53fl5+FUo0LmlMqVkZOHojL8N0hFNhZgF1J4QbJVVc8Dho0gimotiIr6fr4X9uSaA8
jd5Yl05fNk4ZWHpF0yNv3PbLGGeV7ee2RHGzq6zZegtDIMp+aUf5ecfl5R8t8voIu9muZhnEigeJ
ZoCAcw3wTmwpxq/SxJ83WF710Q2qNq1jM59kYDZd313qpR5px6F2o89UDe3huq4T87sl9bsm76sb
4NnuW1iXyo82xkpgQ6Lm6Tr88xmW5ezRM9DnU5ihoH9tLPXwJVJxLDikQ959NIT5a+nGz5ssN390
k7hvMQ9pHYDZkdHfY5Gi/Qm01TV3dqTIX5PA/3mT1Z48lsAV0SsqA/gmFvAbo5Mf8AuC2fko9v8d
YtshRev26Uu0beeOViwZKYLrFkzW8M6ahb5R0z31HVgQHg+RTMq2b2tFBi4f/WM2FXNxTAWSDT7I
LE3f2HVfXhbIXp/eBTm0GEGSUAZaD3sXBLS8sLXc3phLp66+WhXSVBGwedIykCw97/q+Lod9UVTW
lgf6qnr59ydeH8E1AUBpUqhK2Rmgmju8MSf1Mm3RXNhbdm9BNyu7Ut1FquzfZzqt80vyzLy8cqgb
VjeguszkMIStBMOe0P4Ca2MjkwB6WNMOr0+SUzG97AaPv+OENJvEd6QMwtlV4PpKtYkPGdSc4iJW
oc9+TdpsftDKPtMOvdLHV4uIs9wLOEPtsamE05/3Mdb4AsuMqY1kURU0CtB/vzMr570iOu/76y96
4luvjQC7fC6zdEirIJKReG+o0O78qTald160uaslA+u+OdMQVwlyKy/Bb2mi+LhIHX867/FXi0U7
gH410rgKwF6nH5W4Tn8MU/VrVcef83S1VHRaVOdYI1WBAqvB9EGz1O0ujR3nvDBeV47zuXY8EUOp
cOEagRjWouozivRzuzH4JxYjd7VMsMHOEEDYFKYaBgt1xGE2d+o8uI2PT7Py5+vfYNlifh6yf47S
arnQ0d2ccscqg2ioxttOTZqHQaH1cd0wdfPbsenCreP1ieRhrQfReVPrhJitBlB4xnFHbytr70Gw
js4bLwlbbd/xvuDmWr2KtxTRTkTIOjHvY7XSjDIsAy+3U+/CacfKgwYXxVv6ryfGz1mlD0Y9Du1o
4BodZaWIRn/SDalQTXOKco+NFaIE8EfbaaP6cup1lqd4tIf3rlLq4VhVQdfQFjuEZWOGaBHG4uPr
s+HU9VcBP5YLRkzqZKwZOkz7tGzkHyZ8G3cjZT11/eXfHz2/ko6lIqqkDBKPFjyKS9WevSE/vP70
q47035N53WDAf1bHOSaVgVc68xG0ipv/WFgG40HlMK1/VRT8VS5iJwYLKpZS3JvcCgdQ7uXSxXz9
IU6E7boFIPSoR1KKT6SUvfcFN3f9j0GdxwjukKu8e/0ep4ZxtTTgpurYVT2RhtdyiHbpPJhXQEid
jTXhaWX65zCu1gQBAgdYQ1EFbjItXpldY3p0oxQsBiKZIFhuwBUo/TB0gaN22ZR9dULb+PH6u50I
KHt9xBiTbILgWAZqqOnFvoSmkV5OetwqdwvzHMJZ3Er5/vWbnRjItb9HqYCzc0TOEapxrcsks4Fz
qvVIs/m8669WB7vSlQQ+SxW0OYrXRgEIuoT7Erx+9RML6jPogVfG3bRszzEGz8q+9bregWHTi6uu
Km2kMIzE+bMfrfTXYIp/T4x1o2eyiso2657wVSF7dk71se60LZzZqQ+/WhuMHBRFVS15JZYk3QU6
zOO9gRRUfJyVebxWMGPZvz5uJ+b3GmKmV7MlE/TugwEVbfFRm131XrcAumIPpCZf0N11P8KgCZ0L
1KrCAly+SyPv9XufmnGrI0bhJro0NNJzwXH20k46N4XRZCA68/r1Tyw/a9CRV0ITaFSOMMBEYKSR
4ToDzXtdhUncjKb19vXbnHqN1RKB7EOpt6FWBkYv3Z3X2ALKA8S1s66+NsORsB5KbwlLOOzhPcwt
7V7p5uryvKuvTgeh3SaZ6nJGLaN6uLLa4V5pkvbivIuvIn4RRK8UcPtBOYI3r6lbX9RVpJ159SV2
Hu2ffSX1oo9qhr0xjGsHVcudIfMzM+Z1wTlW9MorFOZmksXVtzSKJ7R2NLs5c9xXAY4YJsS2ZCxx
ZpgkjD5lOlSevpmJnZiSlvF0bOwZ0hWsfp5+Gv400kzbZUqdbqQWpy6+CttJZDkiIQhy53Uhj3lq
RzugQVsOyKeuvtrPUf0OqZt4MoBJcCV6VCy00v543oRcRWprNm045iwIsWN2h8hD3KS1rS1B9hNP
vpYs71BLQn2skyAMrOiiNaAm4oKTfz/r2ddKoy2clzxRGRehxA0k9Ra2q0QX6ryrr0LV8foEBSlS
dw84yLtZ1a4jsqoNaPqpgVlFKuoVfT9SJgkA61XxrulqSqIC45ktVOupGywbwKOlQMGMqNEmiyqS
WwPU7cTOJn0/bwE2l5s+unhllIipN7oM2rp6a9YgdnAEOW/UV2Eai9bsPXvgRGbPfe6DyVXHG1HY
9ZZp4qmBWYUq4JAU8Fgtg6y1jXlfhgpKXRZChJ/Pe4FVsFrjZGm1kDJo2nJiIZbN+25Sf61T+3eK
te6Pac4IBzJnUsoKVcFFXyg093ajlVsJwonhMVb5Nba38EtjVQZYmwOxa/NqGmCwAU85b6k0Vtur
VTvRrC1LQmEII5BJq8FrdofjWaNvrIIWnagkzqFWBxijmkiWyPRghVF15rOvora1yqxOLUoUTM70
Hg78jQaqdwPjeGrkVxFblhCiB6Vh5ONpOM5pm/+wSzeL/ddHZhnfFyo5ayVKaaqxlw8jI6OHOoFb
QyGY5BcB99RqvXdzhZpGhmjyRhgsT/3S7VZxXCACGfdw6oMYtqGzm0YNhJIY3eGjUrXhlmjxqTFb
BfOsQHGHfcbOqIzuTi0j8xK0gbNxgDp19VUot2iSqEXGZCKgEXErZXfpteEWxurU1Vc7r1qHcHEF
i2jp2vVx7GR95cBSOi8VXOP8dUVanaGxUExmot3YSOm8RVty2AJTnnj4NTVFd9pUMyYvD5oGEbxI
U3Etc0Sz9fCnLr8K4xIoWmNkjQi0aSjcPX+tviim3aKyXakVKnUlIkJXowwdeZsWUf1OaM17bAay
qzLMoxuhRbG1k2YyZ/vJhBDmz62SiF0j5VLNabz0IZuxymr1OkzR9EPRbN+5An3SWWTgyeMus9iU
azQifq9AsCQB3Ycx+4isQv4xRWENncfGcMu9a850McBvB2lcWsqF08tEfQMkqkdDIcrr/mgjURX7
Smpm1g8PJQDjsnFa+88e5Qz33TijzOibNqJXkIgM91Mc6xnKV69H/ArE/PdmsXbUFkh0zUOj5kE1
YScPytWxcetsEFfx59nJq2MkYMfu1BbNmBu9M+sQ2mtYI8UyK8MY6AOeholP/1rUG4nDiaP1momH
XoCR6UUhOFvN7YdW6MkthapvoHRmLG8NuLAp2kKoPqJacRvWpZ1vjMWpCbVaXCcsb0WSRDKw00I9
hu1w0BFV2dh0luX/hbVujTSyBNqPQ5ZIXNLbytk5kT7tSdgL2x9kftnV8695Xv38oKtFtalVF92h
TAS5qxcfNcQmr2dPcbcq8KcGabWajg0wiNksi6C1ENJRhGPu1dwzzjvf6av1LtcyS+l1Mw9isx+V
3dwi1YvWilt+fX26n3h6bZW5tHJOejOa8gD3n+yI7SBW7nG7tX2euvoqbZnCfhicSc+CNK+R94hU
D3PE2tnwXTp19dV6h8hu0kL3z4NSxUQg7bG+Q8nN3lpOX56fa7hThyKhXYFZDLLIEYhSNZX+Rx9P
hrJx/RN7/ZrhpYTVmBv63ARIkqrpDg4ZOpQmEmYevdUi/3Te913G7tGhQ7OSAZ2CmLeAZnidq+V0
D9hz3ri6fWKMVqEVw2ACGRm3ATLDtkFdAzUclEwMfREKc8ROlmndbayCp772Ks4EcD5E1XPlqLpd
dpM2yh/QrbMNDM6pi6+SlhltNCjGY3gUU462AyphlxjJbdEIT33qVRBnVkMvTuh1oKqL9JNXuJF1
cFERNHdFESJu/Pq3PtWiX7vptmXp5Pgo1EETJhMC1FE36Uc117OvA3p35bVlNg36Ej0GhEdUSTOx
N42ks65GkPTitovHet54lBfHE3+Y1c5RIvvZ0ZuRgYVqzbgHgCw/s4Mr5sbmcer6y78/mtaWmQDT
9hQRuGP+ue95H2kPW4CsFy+OBOZq1VLI0lSEueIgqirzg1bJfYpi4UbInLr4etGSiKyC0uTiwh2R
fzKSg6a30znjzqMvgfp4XBo+p1MjdZTNBOfOYC3/iky7s+U0dOrpV9/VxaRF54TrHd1aVQ9ZolY7
pJO2nGlOXX3590dPr6EcVVSt6R3DxDa/DKOGcKurzJ9fD48Ti5VqPL36iOSSYyoZ6Zq0lZtozKrR
lynCY4gJyaq/MLRSKfev3+vUm6wWK69CXcZVVPdYiQSvMkDnAUJ3W1Ywy1x5IXVaYyA1gyZ4Ww5R
MKqhlTw4iPmVV5osxXBUVFG2B+p7g8AAStE2Zu2psVutYE0RZWnl9eERiSwUJht4fL5RJjhrpoPm
ohSDLnh0OGPsWDtWKUmPx2UeW6lyHMJ0RjUHZdp8VxgIp5yT1nKDVXyjphaqY6Yox1qoruGbDjKx
+2Ksii1b3he/PjdYxTh4Fb0uU7zhejtMvgyFmN6pteqdOT6rGK8sXSLUXiiAqiSns35CqtvVt/r9
p559FSVzP6IJZE7wUtWpu7OmwbvAR8A5c+hXcYE/YWZnIUdUqFvhJeSl+E3bbmLUTj37ahf3oryw
1LDQkd4W1siBJYGxYxqVeQ6Uke+6igKjAgy9qJMEwzygbVQ64fCdjAftxxEY11lrhwt9+uk65QLi
b7w6yoNwSpMAtzDzUg2T8Lx3WMP4BOZbCrCGLChMjD9M9NJu8kHVP0TR3Px5VgCvAXoluk5Gz6IU
LL4WV61jw+mo2+jbeVdfTf9QHxY/MzsNIA/23QWyW/jTkqJH+nlzdA3QK2okrcuRG6iN033SCyHf
o6hviTMvv0zeR5scWqQ6wRsibGzK6VYfp7FBzMLJ0ovzxmcVwFIPJxRSmzSYgbDkO3cS87VrFWji
v379Zat/tvkwPVch3I9zadt5mCzTU0DLMNUc7abJmnZS2vbGRz51k1UkOwhzGcjI8w0Qr6UXbqKS
v9PzCmUVAz32LdDCiQVjzWoGOdqoujqmgdGV5kEOlb7TG+2sDiQEsVUgZ7aZR3Ks00C4E0LZKBSX
93la2V9e/xAnHn4Nw9N7b8wG1LSCsda/VTEFjagyz+m08eirHQzqdIuiTEGQNXH51li+xFQlWxF2
4us6qxAeYBHNTU2BMIorZ95pYurGHZ4C3QdUGKuzqle8w3L3x4EWmaj+ltg62GqMe1zmulGEOLbh
ntV14warSIb/7cQo+sVB2nbNAc75w9CP+jmZPBdfhTHifC4WIHYcaNGEU0YV1v7oTGcVurn6KojL
rB8AAS3SBL0NCBmLKutaxClF4vPm5jp+VUvPa8WKIV8oHybETm40jKMvz7v4ahseAQSP2oByoo5J
U6AJjju0D40Pr1/9ZcCji4TD03mDIKWGAUgUB85ceXiQlW4sd07GCbavELLeJXFnfm+yqEg+jEqq
fJsKTa1Sf3KpUQevP8OJ0F5D6FoofGWPx3cwZ131zRra7FZEqfPxvKuvglsz6h6NM2Q/88HUL52m
avbmBKXpvKuvgtu2xTxaVDiCOo28a/TcrKM3ZZuA51NDs4pqmSuG6uR8csVMvWsrohuNfIs8p53I
t1+F9Bgifo7FQxRoXvin1SAwSc0kPpw3MuuQpquB7jZH/6qjlK6GHP3HId4KuWUAXtiX1052RTfh
1q6q4TEUNNJ92yvC27hSTCgGssNx57x3WAV2jdwJWJSGmTn8P87OrElOHNjCv4gIkASCV6gqqtu9
2O21/UK0PR4kQCxCbPr199TEjRvTGrcrLq+OME0JLanMk+dr1jKvEoC/s2lrxisH/1uf11nb6DqM
KlpaL+dlCNZYHGRMXwVBv/FwVwKHZhnkjYAByK0A3KFRrDpUW7FvVYXOrXKYsZUCMOPlaByEBWzX
w152Y+G+ueO2z+umX+ag8pJcyEHe0dX6N+C27dIvwHLMWbMKVTfbAdKVT0ZFJw6vGtjJa3XYNWdc
CZxUETBxpi3P1HR/x10D7HYU7Mw0ul3xpJrRigJmUE7aRNx1agHMqWtl/udXf2NRufo3OuignQqL
fFfP0VDFiC7NoZsbMECKrVt2DpBzGqPIZhe0HuBGH4FhM89LeezGZdoXy4XOkp0qNJHCaj3JeVUB
KW+SMl8Uaa8UYd4aIWfBwvndWFMU2Hb0kADSM4Pbk0FEOZNUtMGyK/sPuyP3ULaEzKBEFHk0tzxr
VpGvKHbv29RcSRyHnTL6yeTlyAIwKDBgVfEi3iXwxqs7x61sq3nwetQWdBQs3zRHc7EV1Lz/8wx9
Y09jztLlFv0YsqJFvvQLS9FJ/HXcTLAvCGWXj/6vELrrQwCb4C2fwy+MpEwVX1jl/dj34pcf9K9n
FzBcRYDQlGfwAusbSktx53VQSOz8ps5hC8NxQLJbUuTMb3/623DT9Kjm73t18vrVTazriEqZ5MlS
1Xcw2Abv1JcBtMn7nu+s2IGWMCoaNi8f6jX8Avv15KWpwXLY93RnxbaMLckqoiS3kOvfNciUncVE
qn17mSuFU/G2bOuKY3AZGAyAagYQyUrGK7vNZVb/JshxdXCkJWwJZA8M+KroYYMyBJtyMIanvlbL
AfSya+61bywrVxJHatFCcqEvxwqabUEqvV+slKddX8D1KJQrhpsU2O+bHk7ypuZParp6K31riJw1
S/q48ioItzF5fPMcmy2A5+y8Ac8LNl7Y3YEFA8zcvh/irOGq6em8TLLIAQsqM8aS+QDAbrDvnuc6
qEQAsTM0QeCXcE1WoGTK9ucA57V9sT51VnEIjmoCP3jUfCvq38AfX/5EUqLcd4WjzhreWuxvzCjs
P2H0VGm/y4oZXJF94+4sYfh2+3WiUMoCxHE4ygnMnyactn3T01XBUdlGTcWEl89mowfAfPiBNobu
KbXDFtqJk4FlAKEAyjLkP+nwWERzkequK/elt12jR8Wt7uMBxaMLAxWUA0CfQpAGAgBf0SjLq31T
05VkgYvBBC8wd4KZFBkVF+YirNqvzMxLZPCbXc71GQTFvUss2nZzaSRMu1eEa+adKetyPMD8hokL
zcjzwYer6+rKuL2x37lqLJN4oWnl4uWCzOZ9kszLGVqv5enP8/WtH+QcxtQARcrQ2p17IG3+3dkt
/NSPUfABPGPuZ3PQ9F/8plm//fmv/SPR+d34OSt7iAtssBZnf+cPkXgqBO2KA0RCbfG+9wf1PogU
klE6AeENbutozEnNYklyiuHz/rWBN68EcNw2yXGrW39+KuHmbw4AAEv/AB1FtOw7iF2loR43pPhK
5uXKlOy7NjUUkj433Zc/D8Nbn9TZJJKgK0E9XRGl+KB+bkA8nXkS7GqXhWWdE5CzvkFAzoYCLz//
nbDq1zKA1LrrzQNni6BxNSu4RuCy66/qDFxteQOU1M4EVeDE44PyweGEDDf35vkxarwPhWx35pxd
0dgI3yOg3OYkb5bgZ9lEn8Ni+HvfoDjn+iJNrGhcIyIpJmgk52a7WeFhfNz3dOckR3uoBHsaLx4H
409Jqk9VpK/EbG/Mw3/88/8V6G+1Ri0QLfb5YDp5S2t/OYDCdw1X8dbTnbXezTyOCr/FOSs79pVy
L3mPBEyU7xsW5xQvzGaAYAuTvIWJZQrKm06Ftrv6GrGGnBW6bkYDJDkmeR/pX6Yfv29zue/S70rB
sOEBP9hDgBLgkvW1DdroTMpp5/HnKqRiIQpE972XByaWn6Uoxq+DLPi+CMEFtlTFiGIWSRBVxpG5
R76uy23U0H0z3ZVIJbwE/X0p4twH0fujNbp7hAHINZ/BN6aj76xSmMG2S+thsmvTTSKD7Wxzb3q/
3VkW8p11qjwy1WrGLlBG0ZbDPnF9iEC0uTI2/8iKf3NyuhopOaMiupQNdFerUT85tAjNvZ06+l14
GxzKq3J7f/Gahg5CvRRzMp+ixgIxQUSxeQAVwlIgR5fPTwlfIH2M2FTD0Agn7Ak6/VZlCv8C5K/V
4Sc5jjG78tZvjbmzBVTNGk79quJ8oyHyuuBb6jaNwJreF8q7cqt19SZVS46jTrLphFp0CNTqUu9c
qc4m0IC6VS12jvNykYg7kvKhmMS+3BMkK68zFXV8ufNtQZHzDWW+rofESYVXXYh/P/DQAjhPnwNb
xBUyCWZjE/pZiuLoS2Cf9+y9KFK+fvoMyF0QqLDIkU/oH6JewJOf2u1p39Mv1+d/nUooNLfwSAYa
3gQbSWUJ8Og4evtEGMiov346j0sq1YrtFyyG+MWXpTmRXhQf9727swmA4LB4UYxwGt5UXwoyLOjU
2ZrDvoc7sXo/s9oHTi7JK99XKUyVPy4F26eMw+3v9biMkdd5McDQuYe2gBPocv39aqfw875Xd05r
UBUIgac3Il54NuYK3UVp3xfXdHeXb/ffvRFUi9fvvtrZC1k/QQNZzOYrhafdC7GT924AB2tXwwSY
cc569WRno3FJ4nxtdHPTh+1414XhLgsIPN1dr6rYWnBB41xO0XcWNM9c7WryxJOdxbqwIOwX0yPw
tRF/VzamuSn62t913QZj7fXQx2gsGKIaQV6vFu9kV1Ii4Qr8064eHry9s1yXKqQGnFaEeeh4O3i+
f4d2iWty0zcEBeAWvX77qYHGCMR5xNa+BgxziYEYteEKqHALouySN9RjE2hqop5ueNeAJBXCP3uB
xWiPu/6upeH6YcNyBXdivcT54iX+EUWbNtU4lHc+3VnW3hTpoPBsnCP7ol8Ws9mzD3zrrgsEGD2v
x0+twSp5jGkLYPdNlPT0METLvtInzMJfP3ybPaJYjVx+J+iIxnbyaWqmaziQNw5IVwHmiWhOiEZ+
lCngACaORuI16osrrlhvPd1ZzraLLECoI2L8oVxRXAVnWERyV/YAxo6vxwX9D2iTJ4bn86LGOttA
b6+gJFCj3jdnXBFYucybmtkU553p4EE7CvUkwLD6tGu+u+KvHgS42ZIhzsNYizMkLiKfNnqNg/DW
yF/+/V/BAzJxa1lz1MsX0clTJefmuIzrNdOmt57unMC20OOURPiuodZ1Ho09mnjQDnklufjW0521
Orbw/oUTL8adx+/Bk++zNvJ3WbrgFHCXKsQyBDJNng/FWH2FvJt+WKa+3xWIA9r4etg1hTVBX0UR
9N1WfgDdvXhOaGd23fVjV/dF/AnAHl/gdIwBCIKJxjo/R0oibt41JV1Rlz9SXK4YjfJ4WafyKHEH
LTMYi5ZP+57vrFhaCAAgS2Tk2ngKnxsW6E/9assP+57uHMGmNAMzROKaglPpI+FN/F7Mvf207+nO
AdxxlkiQOuO8IN0Anv04puXc78uzwMPi9byJCsvCYBU87+BDfUzU5t2pvtDv9727s1yHIqF1JRjP
L4r6w1B69GC9Otg3511Z19xi+x0v51MfgiYdwdmJhP62c0o6y5XRbW2qFTfbRRkgQTWco26UHjtv
5/OdBTuXoE76/eVwrfovWz88J4r++POovxGNu1quulhVA8PhIjdadl/hMmyrPKn9JsgTLXZGta6m
a7Rts3gVckVLjXjM9KpMWQWfyz//hDd2YlfThcychlAy4nnpU1BQIJ/xx1TM/19yyP92viOqddYs
94pNqg63iWENgEIXKh+TvVc5V9XFVtou08bj3LC4qg/w3o4obKpjtsulHm/vrNqp1nFjdIywj8/w
2+99nolkUjsH31m1NbjUuKVjx+nhYppNcf2NANd02vdlyesNZ6RT1Q8rou1tCTTs76HYg4XqroRR
7Oq5htrAFcAgYWSsp1LVetGhtACC/vnV/ymy/OaaGzprFtatEQjwS5LLGkiW81g1ytyOJFofvbiv
i9s4AHcB7v7Dl3Kb7ZRV21i1aeEp/1vSo9oUTNSYz3DkDL6VC1zLzwWL+xsgmdafa9ElIQTtzfrz
zy/7xibgqjTUUnlWNhrHxtLMn8PZC+q0kUOi08Cu3rc//5E3lqkrPRvURGdl1zhvO7QIHlDK2ERW
6qKgV4b8rT/gxPFhj5clC2LVtZ3Hz2QL2xdm5n1q79iVn8UaqdGyJFhGg3gYwnVEB4192Tc0zgYz
bpsX9WMb52QK7Snkkn8dYdCz797nqs/iAKe1Dy1LLtDCB1PGdqt5Cr4fVCb7Xt/ZYZAFIU0P05Tc
wgfjOWRR+C1u6fx539OdHaapYC4OLzlc+wEW/TFXqr4Zi6t47bcmjbPFFPBLgQBeINdV1CW4wBUk
wSnAAGG8b4N08Uwb4XpNOpxOnkLbvqSawN5ZXttm3np9Z5cpB57UxQQ9Z1ebrEZ9uocTxq5xdxVo
CQwPJu63YV4MvQLcc7gFuyHaN2VcARoV7VrOhRfmaFFeUHAIhk9jaIcrU+aS5vvN3usKw5rRcirE
wnPSt+HNAvTML2L06Gc07E4t+jQ6u3wUU1DAI0ftzFXTy+b6r8ss+uLh6W2HMI+9xd4misVruqzL
sq9kFbsealvNIqtpFSIXXiP6iAFLf56aQPnHfd/bWWdwbocyI8ag+civZJQOJqNev696HbsqsYEN
bCUXqRX1O0Cwl+6nDtZrZlNvrAJXJNZsBKdnh4czBhf3dJ3qlaVq4OzLvqFxVpmdNEAZK7oGKh73
jzAMtGnYk+X7rqe7OrEYZVQ2I1mbjx29h1++PQRiFPtCKFcmpixug0vFo7zbtiCHv2KTG3iL7Xy6
c1eONtn0GoD5HF7YIB8y+ldRJ9f8ut74qq44TBo6dNQELJ9UMxxVU0LrRuf3+wbdWa392rHNwAwn
D7fpoaB+n469uKZI+kcD85sNyJWBtQMibqGLKJ971nRnFD3NrYkA5EiJ7Ycn+DkZk4aC9X0qSe0V
aRxJPR0uFRAGo+++HtKkqrs+5Xy19wA1tF5qe694VHHrL2k9x5XYl8cizrJvkDFQ3mCRoIwgW6sq
GMLiPrivQRKs39ebYgj9P7RfIsqHRZ9w7H2p2bjzxZ1Ld1VCJmtDZFYXW5A8EcOUqza8llb95/f/
7hM6az7y22FjFjHZTIEPOsZbrcpnmLiNZRbDOHRIJ+kF76VfDyU6qsNS3M6yxe12vMDGUhOWk3+M
gmmNDh701Oth5sPykRDjm2O9DOGSxkByLEdtt/WHD0LswSPR+3VC2JcGradeeKt8vUuVyN3ydeBx
pOe5H+VLIsSQqQBmhWlLNfv158V0iVP/O1bcLWB789CKfkFC0cI80UsFETHPmLXJXxHv2KcNNY1d
OzFYy6/nE1jE8GQUOsznuq1OkZj098QEel8BiyeXH/ivMxxmihzRDkFu0YummxA2+8jT7WxkBwDy
9dPbuB835ROc4AsmalaboHuIJx+3zz9/hjc2TFdLqCW0flCGIqjqeJnKdRVpR8KdeVdXTSg7TKCk
YmHe6elngEWdIiW1ry8pdsWE9SWnW9oozKOyKFNly49JEP/cNyzOR204YMaJRoYFKPDxXQtjfSxJ
P872Pd35qMgVEyCadQQ/NWEeifHCv1dQZJ73Pf3yqf81IUM5VtyCv5o3MyM/lhrvfSghFLvWIvPW
NueqCtGGOinkHyIUnHlzR+tlfq4boutjKwqRpAHktJ8gAY8f1Nps7B2SGK35qsIWxqsret8/Npa0
D1UU9/qA3MXyXulS+Ae71atNRbnFXoaa44hCrT8tD0BOhjabi7mrLvDnrj0YDdugK9P/jQIxT5zB
grpYRqBehdjmKg4xclTav0VHGEuh1dn4TWnLprgXMAv7gsqQvYMMpkOfmgzUPk0sbtavPxe6u0rJ
CrRqE98L/5nGBnvhzpnmHHhrWViIxAjPa6o9mwaNmoIsEHIf/wP1YefI6+icQNGLyspoGMs7WMQc
q1j//xjg/5dFdaWUST2XYHz4YW5jWPgp2A/fAmJZ7azMu1rKDTaACLouWQ6/Kn8uvUaKE/UPf59L
ReyqKXk5aTMva4gQifEUJziyNUoMp13r3FVT9tCWyy0yUV4A0kvBpizbZ9EX9b4Styun3PiE4vNo
MPagrd9QEZqMR6bdFV7ErpiyB3bHX82IzbvZUFREyey2G3Y2T8aulhKEsgahUMxwczSQd8BPNAXh
pTz8eeAv2/R/Q5fYBbjHI7glpsW0YaOvWbaKFo7JBJ3P5W0dTtHff/4rb5zM/5E+bsYO44J67kSG
+eM6C0HhEB2Ia/XiNxIevrNy4RIZ2qbGMaE1f9Hd2sA51O/8LbPoHMy2QoS/uN91P+oQGUy0jSM8
2/PDuMs8beKKIpbcwryvxh9Vkbxotc+EETI8ZzOdvKCJ434Jc6hgi0eYNrdojh79XSsOHRuvt+qE
MYWYFeGMnQJxF7MyOE8irI/7xsX5IGJU69y2Ac3jKZkfFlHpj0lcVF/+/PTfT1oIJF6/O2VRtbWl
pBCV9M2WCSG79YC+EfM8wMh73ZUA5K7MDWZUk0i6Er8BgWVaDPIjs324b+K4QreGlaGtypnmRdUV
x7KS2zno2b6zBq0LrweoaIo1mIKW5UVUBSc1+x0aKv19mzUkU6+f3sOhuvOahuVmHtWQrtbT5zmo
d5aTuSt0i5AtNl6J5/eJp++30IcaHKS5K2HS7/ci7krY4CY0BqKsWO7pOYIgif0aLwzSP8/Mtx7u
rFm8OZxlNA6aRdrqXVBLmVLdRVdKdpdb3n83a+4q2OZuXYN2RkraHztlM93VY5TBx2iDNxiJe3Ya
yaS/iZmYH3/+OW8kcrgraysKUNBsEFNI9gNkAeQ2hmO6oQPk70tq6n7qYlVf7iummU7BWkR9BR9M
JAgPtPDpmFrkmILjGLZkTm3b1d3TFA/qXV1UfpMiWuTLLbrpUA7/8+u+sS+4OjlRCXuhHdJ8aQOz
phFkN599SBJ+9EO5yy0cejanyjY23CbKX7ArgE5+GIKRZV7brleO4zfmjyuXIxXzOhtamtuFzGdN
J/UhRHvmvj3f1co1S8zhHOSTHF4nwwE+8+a2HbTcFQZxVyu39LTUQ8fw9LmxKW2IvKfeTqE9d13S
6ATlUMRbmsNLhd7QOiEfYptc67e5bIy/WVmuTdpcoV6i4a2dt32ikLtp6/5ra3VTp2iNmboD86Nx
F9sKM8jZI0Y4p4yTokE+2A5THyhw9SOe6bZzCjkHe1SaoloLTvJYwFfsyEQIEl1vmvGaDflbc9Q5
22vVYd+/zKIlSaozoALFQUBase/1XfmcmvyBlyP1US+M40ywiB/wMfYpabkrnvOkbpHPBC5+Edwc
t8IPD40a9lXgeeRk55pxLccIRfg8xPGeoQQGS07FdpWxuUsUbbyGjxbI2px2dftcAdeX8oJ2n/+8
db7xUf+DD41FzVTnB3mkq/kzsvbVfb2qa2So38fn3FXOzW2MfEg3BnnZD9Crr8PYfuYlK77DHWPw
UjN6xZR6Y+l/8sUwz3kJZ9NdXYDcBYpKSsKtmpcAcskF1Q44gGYoGpubfcPmrOUlZIotlQlyZroq
H5rwhLa3nXGWywvdTBnHzdoHea2n5ROTVXiaSWiO+17dWca64yThCq/elFz+5XfBptDdDZOGXY93
hXU2ZO0KAghOA6T8v5hqnNCeSsjLvqc7p7CY4rlHBOLnoCE3J4WcAYqG9S4D+Zi7ijqK4z3A3uHn
o4QYMwXGdwRX0oY7d1BXUNdsMRytgsnPlyYoDnwVC1xWkn2eM9xV1PFQlyPUS0EOGYD80YsoRN1m
b6KJu3o6YKzCbu6KANZ663C7gJmUj0Hl78rUcNcpjYcVbqHtgg/r9fyz1rT5aWs5iyuz8o1zPnTW
K/easpcK25xUMK1MfS9p1nT2oGxKdTVWz8jQRuu+BeYK7AQbvRKOUTjJNrrdwA9jeyiH+Zpm6jLT
fxOxuPo6K6sA/CjPzxGfr8sdJRV/jCzbYKtPw7nMiom3w9FHEwo5DP/EqrtWnitjq2dVz33b+rkE
Ku/Bp7a8M5PQ+yJU10LNcj7HfgnrdXiplY/dCPJAs23LvsnlatgmqUq4hUkYu/NJH4dQ/AB4z16Z
Wm+coK6DWjgM8Hy2WBcFm+ef42bVp9A011gNbz39cuX5VyFkaGM6ElWSXCvmpwAGdlkStddkVMCH
Xbb938wnFyvqobCu4N5KcgEep4YaYO62MIXvU9VMKVRWy3BcS/BYbvyNwb02XOt5vWhMvOawWRLZ
jxP8mCGtheHYX3FjqUkl25B8CBdktrJNt2o+FkMbFSlItBIqv9BG8s4m3SRTaOp5eEjMUPjZyNHp
lCFbNyVZNMR8AjhukFUWm5psWblW/pKPVdWZrOrGbstDOtPpnJQkCY/TEk5xGgKQN8GGeGq700YV
xCrbZn19i5bUWb/TzdhPWV2hmvNelwBxn0OJjMBRTBbss5pEYZRKryLk3WQF3GxFOVuBiuVQT+8l
wCJffUR55ns/AUyNB4ezyMi0eGumKuvXP+nM7JqNapZzquAvKJ8SOfoy9bcgYnmN6++SLhC7PEPN
Ch+nyAwNTQu/Ntst3ywmKHB1aE/5WLQBnMhqY+VwDrnnF+9o71mSKRRx7H0Inlp12Hy7FS9t219U
E9jiV5KuNUAAoCbVun6BJ3z9Cx8uLo4JJTr4EZDCFA80biKcaWG11ungGS9Ile8z3M+LcWhuJ4NM
YLbCyNk/w36fDjcBLEM7vKKv4yzgRrUIc6LgBTBGtmUeKIc8q0oveCKhx5L3CuipGwAhdXjeYIpe
Ah9I1+KLJcyf7zUhFYqyyAbK8JZ641Rksit9dgBuqP1L9kvVHkuvrxJ4jMnAPIw15L+ZvyVzfTSI
JR7LpQb7KzCWbmdrbTyn9VIU5gi3Mm1PphzIt6AW0XBbLgxWa2Qc1MPaF+IL3lBCz1XCNvS5Z+v2
RQrzEiIofak9+B8dhn7Diuo3oj+13bQ9KdOwL8s2mupINgaxykQr1aV9U3mwcg7gEpc2KiKHiUfe
B3iGR+fG4DaBJEcy6GwwZHsi0JKQcyENMiZjGC3huRFtSw6BDpEVgiOZHFMpNok68tZF/TkKtLgH
DLppPzHYNSfHZBDmK7SSSh62LarMt4r2hTzRhbfbaYiDmDxVhZrJae2rojrVqGNi0o7+0j7FpAyD
Gwqy1Qp6YqPHw4qWRejqQ2+VB4beaS9V4zpWxySmejt32qzNDY1CTEnM3VLCh9oERZLF2N9RSvfq
rU8bwZGlHKoRpKnVJNWQSdYHDEKQZiEHDzf/B2GnMX5a2qG6HdCVXP+16ZnwU8eVX71jAsARhINi
ROFLR39XSCT+IEMUPgY9VeuRW3zdczyp6b5kW4TvaddqOOqN9fOH2TIyPYchhiarNSS8QCPqabtr
N+I9T7y2MISAs3z0CKKzVGkHS6suVUvf+Xh7OFs8CANi5iFcsM5PSTy1y32jTeIf8DGL+BiMgv9V
dG0zPW8EmeoDlG4xPwWJ7u94MiEXCWWE94IGiCDKRLk2yGpJ2ScH0gdJffQ9Md+B9oTSr6fg//9O
dbpOHi88X6VT3dMLPLMc0D2xMT1+DDGE4sBiv/GysYTK9N022a3J5mhdYTMVePTHpLHE0aMzXHaT
LojE8eLmOJwWgZH/UFi5sDMFEnd8F7H+i6i9o5Lz9uKXA75LC2PQ5RCXIAdUaRR2F9fNbuEkPrLJ
Y8AvtmukbmHAXNb4ZDE6gibYa6x38RQEqP4UZLb3A3jYP+I1nsw7CVn5/LWaSDvdV0pW603jBeEy
Xk4HLoOUda1GGjgWEJT6tmhUtnIzqywyRfQ1DpG0PHq+0n/5Rb0cJg+ZD3z/izTGHNumSA6rNCbn
pAe33cCfPrLd94uEIK0mOmRC138LHwrBFJgFqP7j8FsBj70TXdHz2aIf6yDnGVfIuE8yX00y2+pZ
p7iNhR+QpvAO7QJZ85pE04/NhC38TpavGvgyknIs5ocliIcMDlTtoURVNmvEgnAw9sIjpowoMRRM
4JqtePmuEt68ZJOOvEdQSiGPHmOLYV06dH2no88EnIMgIUghYZ/OOliyEkBcHAG6PHI90QO4bZ9x
gonbVXck8+GqWKZlmdzbtTVlCuRFcAhRrZ3hMud9XCbxQlhQvIAmRD5ETQTC+uz1aefjuBELwY7u
C5kxNW5Pw2jGZ0Cbpnd9RfxvTS/GZ8r7ItNS2sxnvHvSWuEHNl5ypsH6rV350wTqaKq4VhmLRHSA
EwxJMSnJbQNtFGT4K4eJcFV9hnkDfwzm7runJFK2mwLBoVqWp1WhASBKvPEgCnixDH2B4pRJzvWM
VGjYQHJAafGhq5oPtKnXLC6Zyb3OfBmk/R5qnxxXdAHmLfwlU682421UeZjhvZK/PFOEad2WH6qI
vWgTPQJE9S5JInPSa/to7ZqY1M6+/AkzHGKP4VQnn6uElcgSwUfGzvMxVEN8bkaAlqse9Ro6DE1m
F6t+YWVHQWZr/bPrLDzS/FjdIjjRx0boO3+LcVgBU/HMAIz9Xkz9DSXrY6P0mgWNzx6ipckHZj/U
lNMbHBT+HY+EPc0h0ak/xcvTtG7zs67rLa08E2dYY9N9QTFOAtFH2sq6OHURbjK+mHiGYEN8LdS2
PbUoc99yD9NXwiP6MBRdk/olHL/nWW+56cl3W0YYtEWkYdKMaUfVaevgBERhrpjTnm4PgZdQtDYV
Y5lCjmeykgTkOyyVph9ioj/gmUUziFXG3O/5V2gdq/MYeDBaAZj+LEBPTSln9hxtfV+nnME1GgsN
w2PIs5AJgCNALmDSjfKRF9XGUxi4lM91iQPNRKNJRd/q5Ig5cozLTh+EEuTB+KJ6YcM43NvII4dZ
+SfGy+GBEQSTxjS3IQK1LIjq/uhHlQ8sl0KIRGb2dUSR+6xbsabNoG5wMw7vimV5kML7VAvCzlg8
x6AM+XFbjExVEdh0DX2S1YO41ab4VJT1nFFg2rM6WMe0AaMQVYpK3i6g3GUYjm+snV4oLGyyHrLD
Jl2CdTiiZmBe0MupDl3syTKdFjmeeY2d1tti/wFmY/yRBoLhoLDLVwul+2EW3Qg2Dk1SI0vdZ3ab
lirbCBl/Segu5MGfxk5mS8PFAaCJNjWwAsTe0obfS7bGZb6iYtZAmVNSloeTZ4ZMB15zJjqes00U
a0qDMExXhAUZsfN33CUNg8YoiKO0QzN6A+kLiTWoLeu7sBpZe1D11NosmXmVEY0tMViD8nYCj2l9
QLuwTCFKjA4+IKGH6aLfhCUZQbMgvZVFIPKlK3QmWvkdnkt1Cs+TEjaGPDisfKKfBniXZXIDYgh/
hHB77mlBJtjqM3ZKdD28C9X0MG/JZ2mbh0Gp2wm0o3OUSFN9Qa9pcod4kHUfWvhj4JCLF/MNCOZl
y/yVqgmrpYcwdF4+9GW9VYegGHA4hLRPYMkbV8FRIaUm72Y7JqfW6OC+qdpQpGATRXFGl5V1KfPa
BDeNhCK+UNhrUmlgc6wxFHcFiFrfSr0G2YDI/ylM4iqli+/dtTY+CsnfIQAa7j2qRpGyeVyOwo+/
TeV42zUGUIsGQVqN2O8RnvPsOHhb3o9KPcLq4dlQ6JaTXiXpOFs+pIDex9ns17i8tJJlyCqNmBrh
iCjJ92+Tkg/B2TLl8XRY/e4WtxOiIKUNt78lzGbytVDtcKj1Vh6ByRlSj7QbPc01lQheL5bocVzW
J8lYn001exhQQku9UjQpJ0N90nzgXwiKgsBZgTk6wFQrbQqG/4WbbtpsLcZO9ca/EVKOhwIn6JT5
YW3PmmCewpSShujAU+2vhkpNMhmU3VNhK2RIQtzB0n5OVHIoVhgJ3OiQ1+9tvU7HZFr/h7Mva44b
x7L+Kx31jh4sBJeJqX7gkqnUmlos2X5h2JJMEiABcF9+/Zysrvm6rHKXvnZ0dUdUy1YmSRC499yz
5Glt4GPXrpX9ZL1mvHRzOCIsShdIc9hcatjU77paoQiCimDHANp9MNz1Z9g1TBb1zmQa53VGyqW6
0yxitww1BUrFlZiEBEF0qBbbfEDWOIhqyM5F6mntqsPoDd0RPdp05TGGczHcQjMgBNWIxNMTbvFU
hd791A3t6zzAs7XVlp9xLWoa58YFhwqF+CUMZEVSLS2965tZ74VmEMiMWPgMXEzYlLu2jftFspjB
i7GLK+PsC2VoaaNtepBLJFPVKQdMx9Tn4G4qqFZN8VjnsPaEus+WNBsDRvzYV1o998Vs7zGGbC67
eUJ1HPT9OQ+MxRIryiGOQkYO0SbKdFYLORf5oA6G2SADQhvqYze3o8q0wcgBO3awgAcE+7R89Yoy
hTdt/jhLZcMYr+XwKVpLBMJ6IbNXoKZUH+Z8oB+lKHDvyq42j0L0DI006QiKf59hSsrrJ9+YLp2i
U3XdN7W/xYEZ/AMtev+inQr3WRYY9KPPQd2ErjLM8gj+XH0DD3oCd71Ltxo5nOX9aGJuVDNcLQIO
qTHspUgyhMOkk3IgG04n1eTod3wWYAaQo38SS4T+Ze6n82U14TXQAPblFIkTI/iyxWIu9IxYoa44
nxZmZdwZv3vEoRO6xPd7UCzhk1kEsYE98L6ZB7tfoAw9YIsL71UZ6CdW8xlhDuQq70HCjztvQxr9
wrAD5m4OUt1H2DG9djE7HMWzS1Q1XhPwJlMU4dErVLetzbAqe3WtOwHd1EnPlMwtAAOQ1AMcuTy6
xjr5CknnjCj56OjWEet2VUsm/TGysVoddrgy2NQDwgQvtgYBnsVgn0YBECFeJkoN/MKUExnzNL9l
gXDTp6mWZtkh/9iDnE0zxAPZLZnnih6XusFO7PO2GlM9Uwmd0jzwzy7q1o8zKSYdr9ZGBBtbjqzF
uSrQmeSkeChltQIGEQQ8/MkVZBcKP9rifpP9dcn7ckzn0EM3CDxE0jgoYEwcTwCAdt5KkAsPCpp7
zNutTwOVIxRGgnJwsfIaZQwX8sWiEElcnZusxM5yrSeu8Xx6gZS1nBXBWejl63kOgeHjhOlSVgpv
upBd+QgGUnjhSgBGGntCDPmY3mAuByAHXjdtamHUffCCWeMWVbw4a6wu9jhH1NW0NUPq89WkvVd4
O0UbH1ot6hVxPpMxG5rOXLcYMiUokvVj53O36/DvCeAXlc6I4z0dhh1QBsqbz4BJp88gHHZ7v22K
VPRzk63YMBPhhuIAjA3t3QocFdALCMFuPXnIye5WwQkiDUpf31e5a3UM6nzpkpK6xwlJCrGYps3G
sG71d4jp23atxo48sd6lI/NF1sCr9zCNI48H7Cg3MhzLGMxhrPC+nlUMN0ShU4ZNNu15zg6518lv
4I7KMxRK0UE7NI74hbeexleCj32XogKUGRurR/StfNfpMbj1g/AmMK54Ipv5OHoK85dap7Lxe5hH
1fkD0sbUAT5R9RDXC0JSYwX7YpR9XpVAhoFmx6MsvCgHoRIVIPnM8hm74AzvUiB35gruL03MAzUl
wwiy46KrFSryUX+dJLNJj2yAC8IHvtPEy3e+guKjHXL3qegVCuoF6S0VKWS6sXLMYO7Y35qml0eH
M/gDYgZh+9WK+azlACq2OT8LurK6Vl3ZQKMO46alnh42j9HYA9MMe7hXn1cItn9ybZUZFJ+nakzH
W9X7GTPo2AfMErD76xRtk0SzVd3WLugSRCeX2VKyF98v/P1gsEQq3p6phUcxFyjB2FZPGexVv20w
n/0Soqk49z2kp3la17GT1GSYJnQ3rAv2Sssl6YLm09qS6cS9bneScZHUVlYxGdc5q5WY0nzAZVEl
1j2QeXbQ0XpcUXLtu77EpivsReB5z2szj3tbhTc0mHEFhTuOlbwOPDSKs5wAG/nkUxFJuvciBVQV
FoHXU+s3AEYAcce6K/Y54RDhhCP0ONCwPsxGXDNxKqCkYgncm5sMLKWPPqlQUob6s5jCIWFD8LVS
dko5wsSvPapnvCV9H6t+Gz/WsBLLghUKrErzZF6tTGYokParMTopLFxtyyWEk6jY6ivUJ3imOBwQ
RL/RJgMMgKrLSvQSsATEwxkIDP5pscvXJUyaDrozB9fqEy7KYtt0/EkR2p7TOaxS5AeaGPXDCs6K
+tS1BZCmRcusN96NmzTKUmUe2OKeIhtYVAytSqaC1+AEFmY3dXWXGZ1/rqkGqdj3sglOk9cFR1Qj
mdhth9iZ29zzx6ycJlRwpVaxqRHTJrpwR4olShFIH55Vbc3ikqlPKndyF/jzIhIZ5eTJx0MAVD2V
DzAPPox43HFEQAHGkvd3zMuxHzjbJD2v2h3cye9CjL17VTTxVk6rwRleh+cjMtOONNJRUhuKLUlO
UEAtpW0PPfLjL9qolVkpC7RHtoPR2txjbJgz3idSt+OlInp0sQ/3n4+odj6jZtXnvVDrtRMjSXyy
rhdQO5VH1rY9zr9hw8UBKbZdTGYprgGy6quxEE/dHNY3gyiC5YQVm+VjCz5AMnOT44trcQ3Ptzme
wISJwfSYPi+qgv4lUC1u1QApzzwDrO4bNYvzJo9wLk8gKxNAXmVwlAUyBvYL/Cagoh5GpYCC59Ot
KLfe7hale/5SVFuXEAvV7LmR88gTlQPbi3OOWif2KxbZ62au5vLSIz2P0f01KZ5sh1cQZ67+fEoh
KQ+DCBAyDKNyw+4nGqmva26m4MmLTuVFPNcyvLaGrYdVBcWEMgUH4OehqSd+Dhx9ChJIkk4vMEif
O4I01Q3i5THwUMta6lKPTWhHT3Dco2/HoEtxfnlg4EkiL0tGO3WfB0Ft7gSMIpfdUhQuPyJC2O1H
otAji16j1RybqRVX1Sa78zwE6RovgjxSOtIxjjAqKm8XSBENkLq5uWo9rxv3K2dDl/ZtZ4tzWm2D
uzd0xDlb63Xs9r3wqIr1wpf8U597rMsAgWK+Ug/tBxBdODqaU5UVL4ohaa1FJWBvac8lFI7Q5d3A
5AkWnTFmOvMuCAC2vvQDct8vlor0W1qsyD2OS7KN0zemNxzCeEf8eRdWVfehj6LibMxre6eF3exF
GPTqpsCphBfDl2V7GEhXPYy2QPPvRav3EDaNf9/x2W77YjpVF0UVwNoXbyMw0dZvZ+TiwlreQ0e3
RN6x8Qd2o07W87vOzy3g92GxK/z6wLM/BKWn9BXO7lafcQcX40PDK3aG9YXTy0xgIqmqmW5q4AXP
lg3qErJEh4lWzSBcQEJ7GCKiddUIPkC/VMajb7hCwkOtVNpYmZszgd0CICm44mf4WHk/o5MRhxG+
rmJPfN8euexhJWPHfIXQ/eRcjB0qb1/gBDs8KMjD7rql4UtaODwhzPi77mWQIyUp2m5OjohdD84a
zQJgRNaT951XGPVtNhb+JygdkaOTiyjq4xy3vk7yYBYIrl0wg2hVU8yo1Fz+sRqtKa80MoC9NOqq
Fq9JSTpzYYhW51Hb6ssaPpA0Q4qKG2OkgOX+MfD7Kanp4MS1I143pGtpIpc4Ur4IDD10IliuXIZU
9vIO2W4CaulWr2doZDmLR8kB+IxdBA/9GodbjFmN/lYwjqlIGbk5Ba69zWk+6+XbuHbBPUSQfN0p
DOPOJStr8q1hwI+zMuo7iKQrVe0DCLHPNbrc9kRkCh+pwazxcq2GdU6cWNjwbNfK50UcKjV312Tc
LDn4m0/FrZabLLPZwC1v1zSOn2OvDqZzV8CDLo7Y3JlkhVelTBZfBEc8DKkxa6EtCpE6hBIXJhph
lzZK3iF3ptPY6EoGhIFtHuA1Ptiz0W8nk2jUYiAmtXNeqYvBy336QoEp+zu7jkV48t2EyeqzxNBD
X2B40opbQoAApeXA6/po6g0jwgVnz943/rCerqPcyc0EsPnzKPZO1WlhEh9p5o+glK5P8IlvrsJp
Dndjs00fQEgAgN3j8L5YA9nbBDK+ao6JyQ2ifryJfzUoGe8cZmUPbhqb6FBXbkJ7z2hA7zrZ9Vdk
la5J8c6Wr3gG28dZhTI4kz4hcHo0i0k40d7NuKj1tl4wZy8bdJcxaRRaCd4IUR2IzoE1AdsvG1So
AGzShqngMWL9eIPiXxwxFsp1XFZqVPACnaL2SbilCpMu2kye+IBwT8VGMfWvjC0T2QlWIeY0Gnh0
W6px2wfoDBC8XUKv1NSzvvYjiQEC29odneUqsGsuIaD9kjGXUCVrchhYwCqMbduea0AsTpMn408c
z87CDhXZvGOYX2Ka3IzHtWMBUPtt9OlzJW31GfHK/HLIp4AkEcwvvAtn+AJ2P3BrlSyAkDBSVCF/
RB/Xd9laK/kwEL8/rOiA133gq+hR2BltLbyT3GEttqZ5VbDlhO2z6U7DXkwFzuhCN/RY66ZRCIey
eKha0cU5I7TMNv9kg+wmTObjac77e9hrbV8i/G8eb4UcRSyg635ZdUnNfhiwarMJZeqdAwqBXk1X
XbwSDZ33KpeWnRfYw7AFrCEgMYd9WmWwuq5pUqu1FTFIg7Y6M5Nc7+e5iL42SqN8N3we7lGHlvcs
r3Ej8nExECRiEPvcgDVSxRrHQY95PA2jDC6A6O6kh5FLXeT2kM/Q9MdevdojOvrtopNbcDHXAl51
iD/Rkqd1K/Itsa5mr9BCyWLHZ1dqJDasNYL9QCR/KRszPHPreHsar5vxsAFNfW1NrvKMNYCkdz1D
BwukucHZa3tNcdR6C7urTQvgmgWucynm6VYnJvKxXTSC4GjaMLHPgVRX0RQXJI+eAMwVxUWhsX8A
jrKkOAOfrgXvs5oZGvu2qL+Nvmq/arvhCMA0cHmZWowsE0ndfMurdQ4vcXhimsGGBtNAUTGBOnaY
D4Q08qqbbTmedx1TXlKSBhE7/bBidsSUrz44TOg4VjSYj3soWNiWWVr3LxLI5zNpAtFcRPB/ztO1
L4Ebk8pgDwfAWpR7KmBMnEQ1htoJ3lnmpYXBOAxl5FZ9aGqv+TKYydHzrcl1uMvr0L5gUj8F8TZG
dSJ0yF9O7UeUgILfTImz+XxDhyHXSS+hDE0wSMdeT/Ph0W/Av9i1dTg2+3wkOJY9mTt4Im8+QGCC
YTeqrQBa0rSgc6OzDkZwIlsMALAM1XnzacGYOcbu4mGq3TduF0o9Y6dVi7nGJkwu6Eww0Q2n5Stw
48gmzBs3AJM0d/eIHcWKaXtKcEvnyaf7jvXQU8+SBAXAuLoPHypYD8gDNlkhY+aTAWxsVqkPwTzS
x46QsX4OWjA5IEjYth6whc5Nui09xN9j48KrrS+mOWVtPlzLMpq+bsAOtmStzMp2tpvRIZqlHjAg
niX8zzeE+STQkDFyuYx0QfsLHGk3mHG9mDv81RtgV4DtIVtT4ZlRtTWXGl9/xa6o8EaUgXOYZtQO
ZI/WYGWgL18WRE7MBOmVE+pMgz4bNkWvKiRowtreW5qYLBGTOxNG5mXMJeAACo8bL/W2ZnrA8HgW
O1rqadqdvHWKlGzBCIaMMO4RVsbFts8hWX0uJmrGWPtRx7NpQPGWwKjS1Lc1q3rMJXQF5I8ogBJY
1toAk6lbkHvxKK56zapL5zWguVPt52vcM8jMDv3m+gHjkRZ1+zbNos3C0tSPeD8ofZjClVvcp7AL
0wXtN08k5xaEErQZT6HZWHQ2zBQmUlWIiibOIcvr7pZ18wZUo3p235hr1miHj+g+YnNDMnapasys
2qb1QMsIijnI4EpvmxguAVUABo9U3o5hAj0mwC/scy9mvmQ9VsIUA8tFOgadMcnKvGLwbVoSH7d1
CLYaRXuwrc8FK4S8qls0bWg/3bCdoCl/Ga8DwO4XkcEULFkE10NWFxh47Omau5sZ2uwPYV6evECG
wfuk0Z72ux6skCltaydtOqILoU9wqhv6W2bXObgo29mDLBkgrSd3ZChW9N6m9ZoPGI8b/D/OD5sX
EpSWXmMKEM67lUCHalGRQj8VAxfAwSR8YcKnSqOMAOMExqjn9YrTJUVIm4dGPwTfI/ELHDTXDQbh
BPOQigyJBA2wuFoVwcYpatLee7XxPlm+jJ9BBJ3PIm3LAJe3WXAJOG+mw8war07WtQlOg7k15M+l
aiaBE35ARbeh2sMd2otKs26LB7qFTWY2zcMU5+RpHlG3R+Ritg+VKTHyJoK31x2p8KV9W5UlMOFp
fGxJAb/CdukeV5+LKkWcSbcdwqJxH5ci8GxS0KXcEjxwbKUIYvcXlOgNnxNYmYBURqexQLk3e553
G7CAuptKmnA6W7GDRxkZKssSnADuKjQqDGMf0s4XYDFzngQoyQEAqK7tT1lBXp/ycXHD5WhUdaO2
QJJ47jia3xnbbYotymwXOPexniWaxSFWPgBj0PmiuxnsdJ2MLqBVUtVQOsR22QBfWYFa9TwyigKY
XqemPef9iHYQrSe23XBzSx0DQ4JdoXVY2g0jHvSJdV9fedNar/sCfqnm46AwyztgeohDJQAfaY2B
xDKThWE+0VPSxlSnm1czdj3hXsCeO+cqimnYDtOHcYTngImrCF5VODaUXx4RJVKAi1cMwwOcptit
C4U+6rCcv+BWoSyWkA2Mh3BcS41KwflfQCIUoCn4clihi+6dn2EWGiFGbBX5a935K03mpSxlAtAg
+MyiYsV4VJsFr50m22XvTe3lKhXGJ/44VZnlmn/ueL3e06BR5pF1GNud9VGOXwmMMejOZooI8W/h
qGoIjXM8tqyno/EvCmrYchNWtPs2ym59DrWdcjCcTn06wV5Q7EbL+QK6HdV1OgSCpzltCpMRmM18
C5mHubffe47EOGjpJ1AHN3zHRvmILx/zsUgQouidrSpHPpcf6H0o5DezzEiSmXxCHeKYCQ490cOP
JBaweRCpBtfDHfOhD9UVx+vtZ3XEiydk0tj2IRxzIOgGoYwy1dQTF6jAWnoHqgyq3DhfZfltzp29
LgIeeenWFTjnzFY/0ckTNinXpSGZ6cr1PgB3YMJFFOhOisKqJvMQhVmkXGwySJxfbdgRWlFaxPVJ
08Wz8QF5MpxTZcwwH5WApH2bH4aB6E8UQ8slHvtWM8BX8wiLmEG1S9aVFEOdGW/jRUVptGRqCMWV
X7b1U+c4inraY0zPaZBvIPytmArNm+A0kWhZ7nPVr+KgSF/mmO60eX4GosuGqi1gHGPoAjPJZ+gr
LHDkCMs58bpNinNtT1eBNr++axbi37aRBuYoBZ4PzVVqFa8wYe+n8OAUSGNwfRpa3AagqxkC1fsZ
Z7gIOqBci9Bnmoz6CiXXMO8mOHWH+JIRexa5rB5cZ3PgFwvpAOzRnuxw7lRmV0deDcKCg4Aow5w6
fCqnosOYPghalGLw+WwxEJX1Z+Lo+Fi7E6QE2ndjzky5mRJhKA7QpOrDqttFbOq6XTmSoEoFZgkF
eCuixsE3+N0D9Afglpaq7073HW3+Qx2W7f06Isz+NpcCr3XoIzwrVh5Ud3EJOolJ/aitXlG3Dche
Ey1u/yBLlOuhX6LVBmLI1wx7BFD9MtQKiHBPvM+oXD2MsfJKwvYurNljjrKrAnzIBgGE1fF6tw3B
cm0QuK6SfuL9lxl8yKd8FKwBviGG1EPQpJe0U4uECMtzPaS6MqhR1sWOGH6hhcRONDPxISADQONC
u/HqFJGt9uiVih5x35g37zCZ2+x5abpxSTHj8TB8rJ1HzxhqR5XKlZxc4Le6/VaOZXA3+WhGQUUI
4YLemA2/logON3/jdRklMlfegSAdoL2I9OonUQHNVDa0FijcDMF1k/ZhwV+Jrpf7rS978Jk6Zrd0
BPv0tfamxiatL5F6KGQJAG3clhwBtREZe5Bgtx5QCqurmxJE4tOt9+tnTXT/OXcBXiQ6SZCvYIly
AZKbqbM+9JdvVd/1EyovB0OWfs3tlc5rwRMytoSlEcKUpp3ggW2zYiIWhRqKFn8HgGvpd9UU1QZN
/ha4/UyXdsF4VXQR5PrWBNd52OfVZVkN2JW4aeSCsaHnCsyodaMRWjpvdxY2SNX1GBrHMUjy+LKj
WkUDTuhTqd3IsfCSAQYf9rEBe3R5Ry777zjl4ntOeT5KhiuKTmIIt6DCBmf9qxea/vXnlAJvtBYr
2ZZloZhSDGxrTnZM02WzWPGO8uo3h54fEdbf6ByhmEeg5lrRvZ+jYD2QAm/pfohABYgRbVa2aSM8
1KVogdevaKbdM2trr0urBqGkuxItVpPhfDfBYZHE/zmx2W/k+j+w9DFFrGwA1i02EdCiq7JeU6be
y+n4N9qVt4akKP65DiUQk9Z4zUfVzO3XBZD5FntD6+CHw1rATT/16N7akxZlG2gTiW3P5qW4WEmN
987r+P3P/fY3MklGxQyLv27b8xUiTCkmeqDUVj+nw3hrfhqZihYcydX7VTma0YGZHQLA2M+Jet66
nNZdZGlY47tbFjWwfPS9gCOFR5XvSPz/zTv51uWUnCIWu2Be9xjYf6X1FI+tuf252/7mdUefISzy
ULc9XsVPKooyJEnbn1wwb951144jqLGnAaD2a+RycpbhMuzPOXG89TddwKqQjqptj/Q/dWGLttu1
m/dzETWBeCOE1JurKxQY677tu+rFd1190wlb/h6O8F/Py38Xr/b4zy2p/8f/4N+frVu7CrydN//6
jwfb4J//Of2d//dnvv8b/9i/2usvzWv/9g9993fwe3//3PTL8OW7f8F8Gwj57fjarXev/VgPv/1+
fMPTn/z//eHfXn/7LQ+re/31l2eUAMPpt2HzMr/8/qPDy6+/nO7Uf/3x1//+s9P3//WXe1vbxpq/
YU75xbz0b//i65d++PUXNG5/ZxGnzPcpk/4ponp+/e0HUv79NB/3QE2kQuJnv/zNQIZQ/voLkX+n
CG0B2sAk6F3iZJLQ2/G3HzH+d0F9gR/5giO+3BO//N8X/O4J/euJ/c2MzdFWZujxbU6vxL/OFkgi
Ag/yTxYGHHwpxt+a5HSmXvI1aKpjM3r8vHe02SGiak2VAkcILP7pnPX5mKoBpSuMIWSmh2rZQXog
4sYfR+DFfvSOuwL73vzjn98J4o5TVrKEs8vb5Ro0xTLA+lMdAUAHH3PPQoKBoqJ+ELbOX+e1RgEN
l/Ar6S0ElGEZFLc+uKsUPFnkQ8ZmgCuPKwR7UMBjO4xQq7Y4tZCYDBtEdT//4Zn/fkv/eAvfGOv9
8+tGkYd+AF2+xODq+yJDYErtg/deHTF5gtzCorF66CYLck4F7PkYriVoAu3qooPB1A5IkbQFhDr+
Vwke0TVdGP8wuXAB4Q5dUYyn171iQp/vyeLnt2B06288n6pnib7kw9prd6/5ckfLiTz+9YV8vyH/
33VAycNlFIg/mVeycujQ+3TV0eezAozhKVA8JXtH93iS8b1ZcFi0nAsKPgX+OX2LPxQQVNCwaocF
C64jOp086AgcnKkvOgWd0F9f0PdlxG8XFFHYaPss8gSk3qef/+GjJoTBuNDHBZFq/FZPYKkMOb+C
4nIAc/a9KMUfXRekMRTTJRqE/O0qgF2cx8fSq46lC8QlrQdIPwAAXDGokP6j2uuf18VhO+l7EedI
aHyznfOToe+2deqoTFntZg+j3G1t5/+ouvj9U7AzcA/KDDytN4fp2khaLQi8OtYFHNTxJ7psCQFl
//Uz+vOik8C28DFU8DDy+ZtKiTN/zpeNqSPIPgVCNNtxBxCQv3Mt7HvN5+liJP7LIozWKBX+W0eS
YfEqIHkaSwHTVShVwFIk2NNQs5/IgA1uYMshmFnDJdswh4e3i13eqXe+lzH/8ytAlQDGuMfBYvXe
FBBKGph0T1od55J/G53q9gKK6T1oPBgtb5gLQA0BNhAQ2nfeuB/cYuA9Abj0uMUQI55+/ofXIKzr
fKp5qI6dGYsUkbmA0m37XgT9n182iYQVBtsaJkEzeOsvEw6whua8UkeA6uBITPIL2ItPpDYIelre
UTf/6FbiwOSMMn5CGU4//8MVTSosYWjl1HHoIFPrpkFmm6EkbkNXngi37eXmQU4F/eJ7fgk/OJsk
4sexowTYJjme5JuPhi+DwUyzPobLZ92Dnb2KDCxUTL7pYWzIA1xLEl7kyWLyNApo1mz35aq+dIAp
FigMRw1O7vjyn75DfsAgSUYxgZTc6O2b6k9tyaXdymNUk+oxIiq6UzLv9n/9KezUbn6/c/ugo8sg
kN7pUb81gczFwENEdavTiabTSgDzguHIcDZHgGr6sgzOAtjxfPK70Waez6MzhczFnfOAyf/1N/nz
4wexU5yWNIorrOs3B+7MvA4AslLHsmT6zEF7iKqELlndgBeJiHtvJxF7d4dcjvKdT/7zIscnS2wm
6OAgM37rrAZLIwIgAQtvKaM1A3nDSyvfTkhKi+SNqRR9556fruTNLUe8Hk4v/3Tbw7efxzEYbGSB
K60w9nrYxCyquF+IGyD8FED5PS5AstIrmFukrnalyYvtnUv+0WNHLcpRIeKw93AafL/iHQai0Ac3
6hhACHohhj7KfNQssRsxGZvg0n0Y8264RzpaFdvS95NwqtZEitK9Uxf+1gR9fzdCGjEc5QJUY4/L
N3jI6Ng6IAtzOFbVgMOitCcgC1irHbNxYlC5KdKAxTzD0vCCEMSqr1MI7hWG2A5enM3aYwRHpqOX
1ybPAKzqPjajomBVFCBQn4X94k/x2kNUHOshDy+7wfBPYCFhOLwWURg3EDJ+DCZvuWvUCBFIz7v1
lSKz5lsLJfDDPParH4eF6765cR3fCz/789pDTUxxcuA/eNnfGshW0VCATq77oyUTT/oapWaPIPGk
lBg4r7CFvP/rt+zPBQ2OfvAfwH1CECDnb+62gE8FmANLfxRd685kiQl1u2IWpiyVu7/+qD+fUPgo
bFwhBW8H7Evx/RJjo4NLBWX9scJRfE60gGWMov7PfIpPT4dUBO/pt+dgu44VaCYEF0QF1goYtQRS
mnc+5Id3LQj8CP0e5GtvUwhznFeDP9nhCBFPlM5DCebDCQoPZD2/82b+4K4JrAQh4WkHs4K3Nc1K
WselGoajBzow5Ik5QEDx3rH+ow8JOcwQAk8IgY3/+0eDCHJgAHCBPyIrqM+Q9Pk6gZj5ThF4OjTf
vNgCxR9aUVTPaEDeFLQDjvhoAC/1qCKEeRdy7c4Qvlwf0INCK7aJJtkwPP2J23fqsEMvxIOKTo35
H4sIP2ilCFaBD6UDxv1yGrMmhJr8r5f2D9YDCn/5G4XwBDa/WdqNYZ2MoCo7wuJnTaJWkZTgBqBV
le/5yf2glw+lpB7sRFGwC6zB768ICr9wEtsC3Zhd4cpO6yAb1cJ2bgzyq5wP0SX3yiUhCsomCxlA
BqGIuK9bqzJ/CpYPIE39Z4lkp6I39FEtoTmGwjbCtvX9V/LlBI+10gxHg6wI+CkFrzkJRfbX95j9
4CajiQhxKOOU4oKdts4/1IOD84qadnI4aquKR7J2GmTYwoMsTnfzvrRmQVmwmRmDJwo2rpzntUny
AtRNhKfOhUr9qR/63Rqap2okHBtdZBvzzrf80ZeUKMSBt+ABhW/NdqumBTBg3HgcIn855VMhGw/T
HOjY+veMEX+0ElAu/Ouz3qyEIHC8AYYwHuG4Ee7AMSxuPLBnd7YsxYGC1LKzE5OXTkbkBhNL+JsC
o0hquJb+L2fnsdy20rXrK0IV0MhTgkmSZYHbQbYnKEfkHBtXfx7o/AMTZJHlb7BH3nYTQPfqFd5w
TLRw8uwZOMXtj/RmBLM65EguE+Q5Dcu+WNU/RQflVyKq4FelUr1L8hY6QgO6ZTtilvPT0mKTqetc
tATMWnGsvWsUjU8bqAIPNHSAgxeAYruVToSMQgQvSSBTIRsECty+s73Oykp3V1t9u49MRYwbs8D9
0aNNUvlWqQbxnfChLyd3/TwkgpbhUM4tl9f5pgMIBAi+dNHMqfV2l0ZNsh+wOfOK0XIQVDAZCVrJ
72SZxgUt9D8MguBgMnsUmySzQF4WWQigz263TeUAoJeC3lGWCdqrYvjF7N7ZMlwz0RviSWPT/BN1
veE7xhDuyzgR74pgKh7GBP9JJ3ac7Ri17YMi8Kyf7ETCdGzGf77aCJcGlYagdUOlvgpllWr31NDq
6KtKq0B3dJtXy2pKdMj15J8a+EvYcFWNd+raBnUWWcH5u62nfsALzR59pZH6IWqz37DL/s0o+P8W
sWkQvf1nrw+kgv9ZQ2iafBpt4xYJEdujwSfuXABL7DnfJrS76IISmkxT0M49fxTZAb0kWZj8IYE3
3zmPiT3u1a4GG9vdleW8jDEsRsZGheY6Bk3i88UC1M4RLw0mX0i4I/U8yH2eqrRAlTq7c57fgur6
wbhtaHsuq+nuai03Bm4izVSiMWVWDLed+KGGObUXdYYeQqHUj65M2+8aAHewb+lgPTmjg0oAMO/W
pX7Jmf7GSaO7dD9C9NA6Ox3/JLqj/pu72Nt31lTT1hFx1vnr6wJmhB/Gn7uTry8EWLV3IzDb4T0P
+it1Eo0BCmTdQDmRfbtkUn9dQsiYKHau8T7mOalAIraAcjdaajQFvKwGpkljq80xQZ+tRxup1b7j
+RyG+ykI2w9AeKS2vR1wr2w8mnJgg+g3cfmuu4RmGOqNHlezP86x9n0Gysz2thO/sBFLyqaivrPR
r/TY3LMFVzsdsKECxJEFIS8HL3J2M7isIvYy2BSPMqZVP/YQOwq4ph+6LIP6P03ZnYe+cgBIsmh0
GYLoQTfq/CNEIRSQJJ9mv0Y04DBnKH4Wo9JtCx3NhNvv9+pSbCialgbbZ33W+jmI0xjtNT+wkFoZ
3RpmT8/g3Rjb9s5Sb64yq7NGRueq1jIWWZoB54+VxUzBrdGc6To5eAIIR99CCw6f0rRxjigzGXQg
CglFQfa72YUsO+hIzCWmUn0MAG/fufouuxJ8aIeMi+awRiW6ugiwjHSQp+pnXxIdQNQO5qcy7xMP
PGz7mKZOi6pQJ3c80c8GmY476sDX3ruhYTGLlA2X0DrZ0/rU7JJInX0xZ1+6EPXkKS8/Qwls7uyl
t9x8/db/Xmn11mVS1hAJFA2ylsyeAxW6FjDdtkq2rtZ1LzPCQhCZg6yHK4TkgA8IS9CKqHJs0jpn
cjc6XbiP4UL6AtgHEm7jDpCS6N6DSVcK0fx04kHtj3aGFNU7TiiIM011oHOh9up6dRWF9Z1nuoza
2KTz4gUFI3WJvhbVNG0U/zRT0X0ML+t9EFfKwYVh7EeI4ikoLVTS3boqs19wgqI8oV+hvsoUVaZN
VTtBujfwIQFi5tp/grRRVG6yUfkAmFD7fPt0Gezov9+9WCxKmHCqrmVyu6z9bOLYseSM/qEPpwTh
Dg2kxuj+I/qDZjidLWYPLnMUxzLZ0OfnaoTCq3dd0/uG1cXHRpfFnhH/8PX2s6wjMatQYRq6g1EY
18N6xgoFbajGthn9aezku5B6dlMhY/gJSoT9AE0v+XB7vbdRwt8vT9dskiamp6TaTDuc1WPBS+l0
kibVh2Ju/+xSEvtNrdmhshA0UU7FcZn+f0maDRGENjeuyBkgdGgNWvirRQvI8JoW4+7NMETxq133
rbY1ksIdwcC3WgYaBEU8agYQop7dRdaLlgM6ZIdY8TeoLOjVFLrSoapQ9O0PQG3hcwvE+CkaFQWW
dGSCZrNQuOJCKkCgb2OoFTEsjsY0oGIjJ7ipRNoisN+YA3Ppqpm20WhIdC/plcYeeELg6RH6Oc+x
4jTpJqGX8/P2K3wzWDl/hY5hMsxzGOwyGV/HuL7XYBIUbe+7MQZcG8rl+eiOKCUZ9U8l0pVPSMvI
r7ORWA9OEdcofvRZuWVmkZRejt/0o1rO1S+wLvzldAY9CBcv1rNNk5bKqxxsDZOJ0VYfo0a21TtU
MeaHRaUIfcXO6H5EkVPV2ACjN7YQRBLSJTfy1cZqPkaZw4ghRJME0leTgr3suwpXWWx6JjD2efeY
9x1aWTroZrqRcqFTYRoY1rteH4zPfY+E1QaJAlDQAMpRVAHYhzxUIsZncK8LfLeU7edqTjQYToju
LPRv/Ii9tujhYaN9Y56YAlYu8h9a9CjNzqgJ98G8m9GhmcFry7nzDMDQ85MyJpl4RPOq+yTQO0MY
qW8RxcJDIYmeHCsPnpVwHk5l6cz2JgvVb+wwOHKoh2lQuDIEOT1p1wgAUe2NjpfqadkfYGlSr6Iz
Uz7guVF+jNO0jhH/mpzUy90qnXbgpuHsTEaFW2guo2MfMwhAWCVoPguDEmbTA31ZvNv0L4GlQYMm
NjfO4fYGWscvsk3DAqe7YBlVS107QbYyj0Vfid5Xe6tDooGOY8Vkcv/Pq9AwYziLS4fFXGb5FX/l
nFWWmzhZFeTghpNudB2RxCw17xV+F5kdD8MyFg9k0z9116Z30JPzPkDhwc/atjqqVjfvUrqPXqLP
WHvb03ez1OA2SF3dQRlmGOSm9zzK1zOf5SdwDJfxJYMXWp7nTxqJKpDKGPRMTzVtW4DiaLBo2NAl
LrwsNHNUO+297crft1/wxbzvbV2DO4LWHbD7deaFEYStK07N1KDFn8PDcKJ9zXkN3WZUXPdP0VXD
H6x7OCDYOFrvK0vL9ym9Lt9SFOQF8uyzVowFEqLkhjupyaaDiB1C7Olg0N4ZkCzvYBWzmBG5DKiW
rj0gi/N31BaDOie9MfjTMDDWLoT6kIgk2xndpB6nCllBs7WrO8nglY1OkGSyzH3NTHBtSaoi5OP0
mTX4/ahl3qgmVHU0b++ssk45+Qx0EVVGHy4tPhLh80dDKKqza1UZ/RH1uqOKVmrkOfE8AAwinfra
FQjtbApZR38g+Me1F9QQ+e78hiuvlzPG1BFEkkHM089/QzL0WZNJhUp+dOYjRJIYmouIT2YxPLhZ
E3zMO1t8vLP/ln909U0tEl1a/AwshLOedaooYwJP1yQ+xO7RQMiG/O09hePHRWdQ1qrH3fd9yIwt
gHu/IqpnmvAyPdne+R1XPjO/g2E7xOq3QfP5w3d10xFzQ6qdqZsenEgYT67qGo95kyE5oEv0F0UU
bAS8mx1lAcozJkKKtYS8NfZBu8sBTKK1a9zt/S65zOoFUeOy8ZbYRL27anVmoMU1ZJMojYZ+2thl
9MeBIOfXSVweW0FUrM2u3ckhTL9nMIr2cwlpvitIXW+/oSu7g1NgMsjiQxHJVwHKLYO6VJZyG7od
2Pmp6F9wAVS3KiRmL9Sxb6sUWT3cXvQN6bB6+iWjJFWm878ckfPPYplZUumVpBgCEoQXGqwiC8lc
HLOV4AGMWLHRjPBDrWX9zlDgYzdJxstgTrA1os45UV/hWIiNHfP7tH5nJKbcoA7ZPYEuUvZNP9sP
Q2p1P6Ubj5hKBvBI0H7aikEzHgfV+CzRc9sRkKkZ+PIb7mPlSXTB6A3zOO7QoENoqmigcKg2w5Uu
3TFPzLYaigjPRjwUd3BR6zybIME0bBkj8UbMi9qmNVDvHDJt9lvZtDtnQKTKrZocwU538hKEJI63
3/66El3WQyHK0CzNdBjBrYJS3TGbR+mFrSf60U8tRFOQ5Oh2SdSUh9tLXTl+JKJ0m1WVqRTjnfPv
rOAkgzpEqvopGLTjOEfGYXCVe9XhtVXoZzNbFqDLLGN54L/SCSCkWlKag+q3JsmsQFzmiA7tPYzz
RTdjeW8WQ7cFEcus9a2T9tcyxayTsUME9JFX6QagMku+p5NPnwarSL+G8CheTXzMu8eAJ/2vDCcN
S5vMtOs9Wg5qjeJUA6H0398wrWBmM8xNGM+sTlIViBgMqav6ruuAIkGmEnYD7crbq1zJJ5aZIykM
fTmXKLEKE6WJn2bM1ewj8JHsygHOIdTzPDY3mZulKC8k0SvNW9lvgzCs/QTpf6qzNLbJvRHb+Mbw
0EAZAvnRH5YTte9h86HCaVujhrKSoYTOnbB2uSX4vS5Dq6WINZhdnW+JZHBpp0mT5gZGHx7id85W
k0N352q9PLn0+4HlaQbFvkF+d74KJb4zW1AgUXAheMALjqiz9O7d3GYRaszzeM9A/eqC9ISXmxwg
yfo8cdWFs2xn4VuBA8crDlpEVWJth2RU5U1x5m7vfPfLBIYn/GvB1faiO6AVda8Lv9AligN4GyA8
j6Sb/Y5mcbzHZMA5DihD7xJ3DPZ5GxsHWjXptu/L+j86IahbF6N8LNv6+5Q6ya5mUvGwqEvvp3uG
nZdhjZ/q0OED8+Hq8BzPP0ZhmAnwFn5qq/Txluu12yAhgghd0KX/y3f/a6lVWHPJeOaJAYHvGugd
Miqgt4S58MYaJRpVObrJtz/Dtd3M6bY0Djizi3WGHOLXQV2WC1+PjfAhjFWeSpb3gBnLmTi/lN9O
Nl/ABtJiWavdHFSynMZUsLnM2vKqoLb9wkoTD4UR9MAo/nfAyNzX2492WSC5qsnpUbHvBm3grBYt
VA0FWyfVfawjLG/ssj9qZTofmXFb71pUATxGqfP3IFbuObBeO0q2LZDTXLCHYBrPt4tuCckJS3R/
Mqv4SNSWW0bPMxIAGerBUvR3ItK19RwCEmd3aUOvO4N9hbK2CCfdV7qMxqupxM+2izx1HhlyW9IL
vlNVXTkObBdqDrFgGeh4nz8f3e5YTqgV+RQ5JHGJxHew138naDnfWenK7gTQCETZsFTWW/cJg3iY
xthsZj/R8VRCeOAZAOw9FN2VxwEF7PClWIRB1epzFfpkOIpDktT3WX0kJ4u2s2A2E5RNeOd5rnwp
pjCArSkbmErqq0DiurnWKJUy86Uc8YLQmP6cpla+z3qpYcKjZndO99X1wIVS/JLA2BePFgWlpJur
+kkyG3t0O/vXOuu/KbqdvkfOOboziLjSFnFJYtiCtqmy79e3lsTurzJjS/WtSp0P7eg2aP7lqgeL
XN1zWqN96NQalirOsDe7pnhsx1S5UwFc+Zz8Btg7+pK3wCc63524wPYy5wr3HXr50HTLnmljoh90
Gqx3Xu+V7UnmplJs6IvKwNriMEbowbKA3PpDLIInOYUJrbxGvRPHLiYUOpcO4ztqQRcYAOnY+ROV
NY67w5JxSNupfupKz4WsK2JnFgEEJTWLntQuHJGWng1PN7rYs8YOza3KEofSKvMH9L1/K5WuHUdZ
FfsiHe85q721NFbxnX7HQsJasAkXabLTJA7OP7nqS7dPjqGNbKM5JsMxbuOvEzyuA0Cw+DHL8lcR
FsU7dC5wT59oARdVYr6iWKnvusYBQjEAEEcYMN0pRdNsuyKlq3Qn4by2P/hqhrAY+jA5XJXHToHA
HS1+1bc7pzkoVZ//N9jGUp4H9/hDV26gZUZJm27hv1zwoMSMfFxmhpoP94X5N2OH5wk57vedlaDl
Sa90IW3huRSJ7tftu+/aQ3IjWMtkdAFLr9KIMUZWJEHcDnZHFzAFnb+1Jlp+WaINu9srXUz5l93J
NbuMBgT4c3V13pygm1O+vvBnp3pfMgQ4aGHe/eBqKD5kemZt6BG1G5MRzDdtKsUns83kUbfjO7Hn
SopBnKPUVYW2BNfVE+O6FZdzMwgfn5lxQ7h7X4yOte3plGznxAFyFGofbj/6W/hcbXum6lwZ+AKZ
XIXLb/qrbKvsQUknVB/8SoubhWwRZe+MCX4VegfoFm2Ibo95bEF2c8p0EKhmNSbOSOPi42paMvWL
2vzDZLGJtoJ5ys6VqvtquYr1A6GrWNlHdlim/K0KIBR+R8UfRM0Qqcqdtkq9ACN2pAQUW092jq04
6ETUrvii9bl8j07ceMCIW7GeDbONHu2aJsWGbY4eNrKcT5jyWAxj56TGss01q3Ybl0jUoQs5Dk/w
khb977ldNBnVKMu3UkOBeYNKVi09pJOtFx0PquFZsyXWQSOFEqLnpeIwvTL7dvIyGUzKsWOrHEzb
Kp5UzLJ/agywLfxmYuWlFRYgNbWuUMqiZ4ioQ+eUr7oyqmJbBDOSXH1UDa8V1mgbC4OHX4HZlNVD
h/7S0u1rXGxswoppTOdiwGoHQXgPWX5tUwMWgiK+dE7glK5C7swMyhVJq/sgc17sudLetbE9f5qL
qf9jSHV87GAvbhHMz78WaqDgijdV7XttLrPj7T125YqhEAJhxvWtQe9ZnS4szRRFBKNOi7UIHxgh
QkG0kST751WWIywMc6HRCrH8ir82cmGjOJ4oAcKOdYy8nLDSnWFa3/9xEUGnRgMMpGLdY9G7PV9k
skQ5oUln+XGHsWCNjO92juN7d/JF5GMVW3dB5dmmgJKySk57HFsmNdBsH4EkjDKSULxfipxjbaOm
dfuBLsI7cyxO/kJMJu0mgzx/oHFMDb1DuMsv7QTNyqz6L1Ulgm9poTx2mei2qhtNW8dADvqfF14A
gRQYhF64qauM1UzmWStHXfGxFopPdlONHs45/S6e81/OonaepHijxWN/bzf+/zbAWcgD+U4RTK2o
igWKsAp5NcDTWUEk7ORg2ugvXZ1o35YzAuCtEs9b5l8Ks2GtGZ4ZAyZHszWrXRXP4I5zmKbGoim4
QWvLfTE61/2Zl4n9OZ77+gUTFcSn3aAty480VmLkMlOJErUWjla7J/0pd3WB+iHFY1S3uwb1Ns9u
26l8rHEYRk0W0e1+S3i1X1DZ7VBX7q2y9pSstXOvSaPh2MwV/lehmCffNd0wxgAri0+W4g6nLOcA
erIcCl+rc/d9ExbZ96TUMgJ366I0leXg/VPFSl+TSGooTebj+NtqEJ/EJ6EVvzUb4XhTjqjudaP7
FJWG0T4TRRMMebVavnZYVqDoC84h3LetiRINGcD0a+pN/VfehOofFNARJEH7VVSbBUzq7ro0hvAc
mZFAhzROzS1U0/Z3ikq+QmQi/IcBVB69YzMclTQd30kcsT505ow1Shhn1rEeZyvEM0fa8653kTGy
c/AJmzYyZbRtOr3/NUQTOt7xOITo2wh9QIDGLdD9sYb4iC0RRo5z2dNMcbDXY3hGJx23sGKvhsq3
HmH919wQec63wX3i7amSR7p7hk+jMHk1nLqNPCWIzMTrh6j90hltXe9c8i3f6edkb7hV+IBKVPo1
a3od7GfV6+8jE9rLJqKMDVD0KdrwzsG5SBKW3UsXgqkR35i+wOrEtrRMSQ3ik9ri9Da5qrJDMBFl
P6Pqdm0lzS2Kffekdi67u0xAkJhdsiSD2LdmSKpKbRRW76QnJWEQZ4519RnaoPRqRamOQo7JwcFP
5pAu5qtRMgtUesefMy4gTzaOkf9agkKGpmShEcMEFxr4Ej//CvWJxed10yA/8TuinTACfZtMo7Fp
0ZtbBMDdO1fLZU1ILm0yp2QIwZpwH84X7DO0uVB8L09akvYb3VZmfBMgm6dl3r7MSEs+oUOp8vbz
RZQok/9pMhVfbwfMi1tU0K8wKO35Dlzp7urqUR0lctAMFCcbOdsnR2bDkyXy/1P7OBP7+Fv3YIn3
57HRWmQtyBYW9jbTifMnFb3TxFYXGf6spwfk/3BQjYS2zUrYoEhjv3fmeto4WFTtRhnfw/Re3nss
znVHSxXOi1gzgAlowgarZvim0YTPthFom6wIFQycYv/2y7y89izakCQLwKjePur5Y5rRNMxqk/KY
LTyRiGmIRMX7UCDMscM21qYT2+vEacv9R774ou5B2kFHiKEi5O3VtVdIXD4xacPDV7gNRgd2+x07
cuzIRlc+ptY4bgs0vPAUnZV7m3jZIOtPu4hZ0IQigAh7dWpaIU0nr3PTD3L5Waad9dFGRRhQqRk9
4j576MpaPhBzoi36lO577IYeXCs7dEr0499fPs0NCjvCl30x0bMqy8rc3jR9hEj6F3OmnkZYuhFH
fEW/8vJhoUIqyckA0vnT7aWvbW/amgsnkfYOEJvVd3fRvM1j3QQaOM+eg+3Iu9iewodcZuNL2ThP
SZVBOcZGbhNSpdxe/EoYoZ0KU4ZZHFN3wIPnq+tRYbvJRPY4xCUaIUVcHYdQti/FaDvf7DJFjRfB
uwRn2rw+AdjJdsj4Ny+3f8VFP40d+PePWG0DN7D7Ab1AiyHJoHq4FoT7cKTANlHW3sG1j3e313u7
Gs73nY1HIURDaOYkY2ssyQSTYOxRRvEbNVeAnCVZ+kW3kvy7yUXxn1kBWfU6xKlCr6s6/Qv5hIYW
fJc2YE4wHkXRNwrG0Attpcj26C/mBfKY5vyFhAK4XJxJC4sBEKwYr8ZteiR9NQFRUBHBlUBn9kub
NEKBOZb2R0RJx9ZLQbf+nBpynttPeuWSJItmagzbkaUBap5/37qcSMUax/Ilwoy4Fyh4o7WN+x4F
5n4PXhhWk8RHGsCCuQgXP2FM1mMhgwt9qwkctW7/nMsPza8hs1/6tCqM+tVuawXy1GNZWz5AueZU
FO5vDvh4tKPceRoFasO3l7u8n1iOnU0Hn6uZ+uX84WMwgnVsTpavabH+ziyxmo7iIXq4vYp2Gbmh
rQOrRnODqS7M9fNlzAWfTfCyfaNWzB+A4ansZXTSYuG+iDLj3OIN/kWXSvtxyOT0rE9YICSu8gu6
GCk1XvTmLhSYB21V/IJ8ZF7R0s107A/x/JN3sAvLWVpvfQGCY6HAEnTWWZOdqXHVO9LyR1SvAUOG
YtcCVtyApBP72y/mynshsCwl6RuoaH3KUqsarbjCNSJ9MytxkUccbek+hVOgb7Qghbxfju62GRz1
zgG/TEhtk3R0yckgSF80zItM72a01sOTJrHtloMSPvRZ2GI8EiHTqyIPy+C7+PdYShOZ/I/ZMsEc
kMz5PmitII3syYpOYxudhJqbO1xq6kfKvmobI1S5mfDO3aQkgyd9SL7qaDvcee7Lj7v8AlM4XON0
7JDsOstCUQM0BP7wEVbBrXhgoITC/wxQEE8u/Xj7414eZZYi9waZQmhhGHK+FHY3dihRaT0lPeLQ
NpqtRySjNIw+lOgTIuL3JveXn3QB20Cswj8TKP16BhKBG85kQ12u2gkqC7mC+knyUOFRtJEZYsEZ
6rF3wsclhoKKhr4nRJ8FqAIb8fwZe5DNjKa1+CSCafqAQHPZbhCazYznEMXx3kMFufoIfxJobyo6
mwsBt1yxicAEQgcKwwTXLjFg96Qb8XTqZkv/jSVDqG4t2eYviY4o2p2ffOVm4yeTyAAeJCgxQDn/
yY4mmYXpVXKKpI1jd4wHZ5jm4sucRcpBLZRwW3WOdqyQlPZCJ6geUr22AeHrygdKatwo00Q/Wk6K
VZfWYw3cI3yiBVV/stsifux0KXcwuH3sLFPs8hK9fbRbpz1aOKs9ihyX2zdH2YI6+J8LLNJ/5oiI
QIJOstZB1nKRKS4R8j3lNAq6hibUEMcGJbiBwyXOzrd395WDxOwEGLAuUCPhzjp/jY0ZzSY2AcnJ
zFzcZkSfbAWe4h5mPvLwvywF8hcVuqV2Xm2yjPZ6rs1OfALA5mz6pEzelWqUe2Hatnfe4eV9yDvk
7bkLwcvkFjh/KnxAlbCZ2uSkz3V4gNGhbDvD+Fc1tKUP8PcqS8L7VymsaHmDiierRHpje72agRd0
3f8ctdb2UGvm7e33dyUQURcCF1/gZIwLV+8Pe4nBdgY1OdnSND7UfTV7g5S2Z0eK+9iP0b1m3ZVA
RHvdsnVHJ49hOHf+eFGjOkY2wEQWoP/2EEu7bVlZ2D4L8kJzkviQxLX1PzzkMmgGGc9D0mI4X9SW
edhDfkhOC3PmmNUKPjIg63ZRFP8sdTxZbr/Ty5oEEDyfkYYOMjhshPPlotBUIgMLGqw5cVGz9eKp
m5QPeW38EYN+cqfknZGb76e6+FcVEPYO8x5qfAEDHHTCqhaNaJeYWkaUD3qurTi09R0eF8Odt3kl
Y+N2XuQuqbRJE8Rqi3ZF0AaRSsMKXRNIHbCqutcCMo26wSIVJfA5U8wHlexsyyiaNmgPtRNH1AGp
oVjoOip1o6H+7ifobPM8lh6K7625c8Zk3neDO/cbNCDSew2vKxsdogenFk78ouS5iklTGphzoNAj
tsd8GfZ39SG20viAU5HlSVibd+6SKzGQLHFh4TPq1IGGn28CKIOZdIKE/lozfI1pjD8k7fAbbsw9
5acrYQnYOdz0BVDEksuD/xUw6ilA/3ew81MY4s2j4oHrdcKe7nz0K+cW00tmilDk6OOYq4TFyqVm
lL2Rn9D+Yd6mKtZ2hL/mlfge7gqknLYN0qW72wfpEmSwYGAATgjOLkj+9UvMJ3y8lD4sTqPWOB7o
ynzv5mb95IAyODRROZ7yyQBwX6LXlmSu+b0Sc7GlFWBCqaLJO8TKuO/roHjf9E793pjvdhKvfGaH
LHkZhdG+hTt4/vbH3snD0JLFKcn69MlRZxrt6jjBHHS6O5/gyofmK9MpZGJFx3IN7OjwI89sqPkn
gd6T1yyuRWrW5vvb7/yCTksQgWcJDIEL4S1nOH8i1R4xI43S8gShyQA1rpuPQWPmX+Z6eDvQzFMY
vL6bk3A4kP6U+yoV9TOapPQ+TLPeV1gA7G2l+t1UZbwHQVVg15RN+wEDoAdryL6KxITpLar5ZwjN
DmcpOGi3n+HamwKowIgUAToSkVUpoYyLLiQmDWTXqkYAbi10MKJ7RJM3SNl5MUj67joUrwuPB0jY
+ZsKoQCC9HOrU9EZKdsxGeJDlVcIvil9rmfbXq/iH5gf4vVci07/PMuwwgzbMILvzCe004Bh5qdA
hJhpzpb1Iyhk2+5du0lOpSmCn1DqBKZ8pNCY1iedVm1SJ8jvHLFrr2pphS896DexxPNnmN1ar+My
rU5o1GeLlxy26HObu19vf5ELqZtlVzEeXFSUYUlSjJyvE7oWJlSdG590vDuScPxcjsxUcPZ1+5Y2
f7szem2X1A7B32y9fhof2lF9Lmf7TuF15W6mH810lFELTVN1eR9/RUsdqQE+aJGcrLKC+FVW00Ni
6oOnJ257wOfqjyzsfR90zSd9KrI7cJArb4EclareAaBoIUS8ygy0tFYTKHnFqdEXm7ROmz5jP4v+
BMyRQ6Jr2AhWupp4JmYRzyNapLvKGpwDpNXEs6LG3BU4t9xR6bxynRO+Ft4gpClwQe7qZoQvF6I3
RIPSxgv+e9OmOLTrQLm+SmtQcOyqRelsVOmE6NcZ8VNSN/rR0GHTbfpQU4NdzP/1I7M1iqMpTuCY
dPX0B7l+CKxJEWDPS6KCO9ntDfWWs50fPhDotEaYcjNiQLrl/ENiQDVlsEspDFuj+Q8HE+sTPQpa
iSHjCMSjkJsst5QeLj5M8Kgf+CLVAU3qWMHVo3JGrzaDPt3XRW/8KANVe+54uD2Oww3nbFIGUDpW
j6m1xKxW8Vpi4dLn6wX4fSlSf1AMKDo2pi1ftTjnz+AJOiOKrUOwS40peXFkLJ1tpddjtdPgRafb
zk3ks9mTHm7p1k4QfEIH/kDrFoU3BBVunnoNRnc3Om0cen2j4xw2q7VN2w3I0uIrEamPyhy1Bxol
Isc7xilOltYYgIabufnlwBmu+HVol1EAel1iv0fVaParEaTGbM4WJrTCqjeBoTQf+05gtCpUXJnU
xjZSDwgovmRVmxY/g2Aov3bZbI07kuni2DmosXhpG5gCBm+oZ56hDAF4omlS1Md4TK2ebmxZNZ5G
fEeyN7ABn9R5YZ661KwFnd5Q/kohIdW4oeLes0mQUbI2aYYO5aZvW+ePNComs7e3iHsR25ajtoDc
6Nxa9LFWG1tXDBMbcXM+WXW6mGJpAsnIuqzUbKPFTgYDebbJ/XACLDD1zkb1UwLadY9B3hxvgYto
6RODwanatGWj/xbTFHw0cUrsmbAkodfMpcXpQBGx90j2xLcKT2+cUpRufIJ3r0J45RP8F/fUczt8
U8TX2Onw2ZFzA1Pc0Btrm0htehJTN8PKjZqapTOcuyXove9xIebPGDVycDDLwWkeL83M11DYYrTU
yTTbweDNAq9EUb7apVOV/zBQWxXbUjid2NLJss0NjscjPI3Moaqzh0r/qnapfDDqKWw3aV87wwFn
Y33cNIZBtwILQtF4YLLCvd1KwFwlpn7m3unxCN0o0CZwJ+0kXBs7KtRdUeLCBW91cXqstWJTh2b0
K6jCMgY1GeLUmmeaFT1C8FPI/RM9+qPOXfiKvmfyQYv6yXmqGwsBwWqhKxi6IlW8i2npjfkMSG3E
WBqOm57PTymk6QK3Usv4iqptQLDsw/B7UIeQ8EcBg7YZ7Qh2OD7iiqcodfAcYWeD61WXivExCUx1
ODgS8Nl+bsryw+09tmTxZ1GI8d+COiF6LBAfdZVpRHGQZHHftSf8bDPPrCr70RDNqVXDZjOY6JSi
J/mjnXT3Th96iW6rdenR2gyvGb8sctHn0U8m5GDJLJtTlWa6V/YIKpehQIUxMOpDN9ylnF15zoW6
TveIS5xiZvWcbYIxmmMErJcFT32Gx2sf6A6I3/ypb4oDe6vctUL/54KWtIFnJNOkIQc+a7WssELN
mcXQnqKFFr3IxO/wor8HwLjI4Zlw2AseFdASHZB1HtfOOcdTzYeTVtunqY++Z6h3vRvv+8xcWYjU
Z5FLATfNvln+/K/kI+hQxQlF359KZLGxsGMwOjHd2Kd1cy+Nv7IUaHfElwmAFg2BVewbNaAL5I/T
qUB22CMmzDv4lc4TRLb0zhm4nILSv/57rVWpm+gloKV+mk4jbvC7rmYmGM6oiempQPeCi/CAo4X9
2cRkclthh7hhBlDubh/Ey1iPNwfCkmxSOiAoHp2/WjvFZS9w7OkkENzbWq3lPhZyvifWdQnB5FGp
Y5dUma1CQ+F8GatJ0tpslOk04cZ3UHJreGoUyUDEGOUTSAjHq8Mx+Q83svAhWySJAab1W6U2nTv5
z7Xv+6asTYuJ6mP9QyaZoI5bdyP1uNFsprE2d6A8ym3qRncf+tpaC5xQ5Swuj796tyjAgNzJmunU
mvohzcJvo+PEX+u63jhBcND7aJvq4UFO9QNQhydA1R87dt+msnXl2W6kCpPYupPGX/lJfACAjoxC
aXusy4m41/G37t3phEhndkA3cnxJRhCOjaCVdCePuLYWB4hy2AWoRef3/Ju7dTZIg67HqTE7kGm4
cn9I8GXd5DqyUbd38eUAglaRxRQUNwxIaYBZzteywEApUWhopxEEL2WfahcYo5JyFZvBdeH5xWNS
4Rg+5WS6+SJo+ElVMAqO2wl13IRXhgmUbZZ+zX05bmQfGE8haXSy6KhCbeiCXN+BALR+zJBEX7KY
O9drpvHPNJfpTy4bTIbzUZkf4P7+P+rOazdyLFvTr9Lo62EdegNMzwXJiJBXSkp/Q6RR0nOTm55P
Px+V2WcUlEYxNcC5OGigugqZEt02a//rN+zIzgQv7XqJxupvw2M8KHe3Hgqf3EbXl/5sKYSHNBjx
bM93liEMpCLkhiUAWfe0E5oTp67Xvh+d5d80K3DLzZxVhn5Q5lyZ77x5mMMqH8hkLUvU/nNy0tF1
RViP92UeCzHV2joFLXM23w8HOKEvNteyutQJRNfUCPptzM4rvMwNJblGHaOEOar6M77H1UgW9YmF
Yb3C5g6c1UsKvwHOl7CSjl9s4SnWRM0937UFlH8cv1RKsxibU2XhX7GJ/1KooiJ6fSlP7aMvixIY
IajFLSz9VufuzZ5Dx26xkr5Y7iyOM75ZlvhT2WPDocjkwpP29+cl/WLUzojT4f1uHeYau5CD48zq
nYeyx0n15oNRGt35NCJDf3tavrLs061ddU4UXZw6jU0d0pdtSzhXYd0tkEE+RB6shMxzmTpNg6zL
H/DvPRcKTAq/sgsMSr3Fm/QwrnMoSU3rfHz7dl7udSsjHtCX7wscuJU6VnjYSlLfoAhP3hf4dCZW
um5zYoV9+TFRCEEsA+FaAZvtSK50L20avbHupJnk+3GQPLJuZuda5za7fOi0EzDEKw/lAolYaxWG
a+CW7gAAj/tGLM07FSsfEmaBviRZrvu3X90rT8VuCVPNYxdfu+/Hs6OvWwlC3tp3lbSqixwdzFkf
G8mB08PKdFDVv8vNYjlYgWv48OuH2hprE1VbLLM523e0UjTyl11oz+oIMB0XxJM38yml9svZj+4H
chbdGSwv+f/j5yurGDsILXHuNA9eUoQgHSlMp5zHDTCbtsg2WCrXOSxK8vPtF/v0fY7XHXbjJzIi
RrMma+Dxle2kw0FE8mZJxxp/mSaldKwUcmf1ygdecXtf0/QP09aFcK8W6HHqzA7p65pkurfzjZZY
ReBlxveW4tDHhLq6c3Ex3kedY/qpY1UnhvcTWWp7v9CesbhgxaIzvlkn25x4r6k3nLumUKqdjVIo
cPo2+xIJzNrUEctILxrTkEPWfCXaquZMHKc7rauVsHXs2k8Q4Af5CM3o7Rf5ch5ACIGgseIVtHS2
zJBo4HVY8RTfk1EgA1K09SDDpfLULvFyo0J9zoKE/wrXIOfl+HNBMBuJszeTewU88s5rGoXz99TD
B9Hqbvwmpsi8cxpAg2Chm+LusxhHoSBNtTWaWsox9zm+iNuC3Q4RVpK634mh6vULl6CksyqLvUOS
ZZDh3Ahdtj/VaTyCd7XNEs6W193NjUWimF1xvPZVK5Mm+XBW+RFz8eXStitZ4saXeAgh4KBDWFbN
ZeckWX5GWuRQfoEGteBy0TdN7heOXeyAasQnr0fGP8gkv2d3Ln86cWp2Z5hRVR8aaXrZrqpT/T5a
HGfPYab8pjYiIcp6iaYytHmYRwgG6uKzCi1fdCMnsqvtZmwmjFHKi6nuZbQbtUY7h8GS/UxrLVPZ
2Io8DtzSlA3GdXZ92fYy+9VQkuJrrsfLp0bo9m3W9GWOk3xu3JQ6doMHxyH3BifwaYj9HrM9mjlR
nRSHYqyGoEgKm3HVAK9C/Jq6nV7U1pUSw9qGjm6O5Jlkdq6dGA8vYHGwBOp7RgOsL2Az43g4dDPu
qE7RpfdZhwm9Z496aJRO97k1FdxcjKG7kI5i7ERDk2vBRe5EifZy2eLyT2gdfS06mZvKIV1IpTEj
woCq3PhcTgm6lSS3A2dMbaBXp39Hu2TxxwFT07dn2/qLj1YB3FWpkWCOc4TBfnnz3HZKTg251Oo9
zRx5PQlnCGViaxcZYNieZOiYxG+pnJjiL8sJi8qc3ZupByeB0+rx21YK5iXzSb/v+lJcRRZY6lgq
E0HBjnPeULddWiKP9jUxZDQJlmrn5nl1hV63ObE9PRUum+eHF4HTLERPXBO20EcndW3kXsz7JbFh
1029aym7TLfG28mdtRstS0B7I6HWhm+bcQ9zabC+GC1hCKhHmwEbfSnaSxLWZ1LRq8q8kd6In1NV
LuoY1hRKWE3W5GoEgxdV+zGLW5jBGPb42O318Q52qZmFpjC985yTDWXpgud+qGlVjUkZmHgVZBKK
PQTqBsPC2OnYwd4eAS8qAj4CSyH/ICkM55zN6cDuMjlK6px7D5wWCppXBqgml30tx2pHEEgavn29
F0N9RdCecDTaq/A11vt5dvCJMd8mJzIz7ltb5tdEHBnokCO3+NCo4n0uVf1LI0brC1mI7Qmlwoud
Zb0yloNrn5odett8kobStroyG/ejnEy/MJQigHRzav96ZXDT3QIiWUvTFXnfvNDSK6dRrxvjnlxs
cZF6BZGZVpmdlXnhsJUtMQaAenaj8XG/WnP+2e3M9Byr6lNOby+OfTwuPAUEHnBwDBq0xy+aPPg+
S+PeuEdAMb9Xx0qceTVNvqRT4o9vf9PX3uzzS22qLmq70jRZOe9LF3ByqpUyoEIad29f5cUaDakI
yg1aVXIdQCrXu3g2clJHU7Fc6u37ZDa0fa6m5TkUeIOEzrk66+tau4h1g6QttV+u51zTTiyVL2E+
CE1g3fAPIP/zPjclQ2qObPt2ZN7X5uTuMrc8pElW+GbXXMLM/TJU6k27DOfClLeDk566+voOj1cq
mDuU7hyqLZu2+uYdD6OjqF2VWPfLMi3Xfa4Zd9jqJtdD3i2hTCGLoruVj7mhll9lUXyoRLo62crs
VOG4bgmbG6HOXVVjfAZA/82W0Xq9sziyVO5VyUHC15yRTjYuLd2t5M/e2SUhsX5TTbURuHjd/Rrj
/qxjkUVXOrZzsHR1qoXN4mXf3x4eLyaeuSKTSL3YVnR4Z9vv0+YxbHKoYXd6P8eHSbWu3Hg2zhxT
GIIAnXK+wMu3fWflcGearFTAI/LqWxsbJ/Ort1MPPRTiOkAA0DmqzC1BTHNkmtigzXdVrTdJ2M5K
ne/0hCLey5u8ClDN0KuwMERZrrxagVVelw1ObrHpdZ9dfjYKJ/zZZ9hrvWaEi+EWawNsNNOdXLBo
8lWztVk24TvjL1ot1VXkFKPjS5ErZ7IwrR+kcttXdBZGiTI0bb+47KW9jyCmHn1My4fvZr+Ynzy1
Tq8aodJbMDg4eYGo0P8FpVyxsyzOp4+uMXcQlbPykvxAC5etrNJ9qrdaDyVHGQUvk3qZgm4pqgyc
hXavr01leiqe6gURaj1QUTKg2YTi+tIOSI27ShvrJn+IzVzq59MC58bvkhirx3RwW91nvc8fh1wv
3keK3oLcLXn3oHe9cUb9XXxPtcyEZg1YDGyYeXES4MgLiqERv/PrxDhc14HnE4R7JWkEJgGKd/hK
26NFsViiLTPuFZkuzpa5W3TBMDTaoTTU/mDqiThPNFEe9EzmD/PqYAn5Ygi1Mc8D8M9T1iovSBeE
udB1gXqySkzY/zbVFla76SwbRX9QSBPBNf0McHqn2V8TF0ijtferqYuwv5VadmMtvDkxnJlT/jcL
bG4CTQWJq9jlIB55cu14tnjjt2L1VqSrD4Xo7cAmhzNQl9k+DFTeF2WrNn5dJ+PXEZNorDxP1Bwv
mEoUuOCf3iqUY1dmBT3eOrq+syLHLp2HRX+XFtetdivoyrpGH2JYGa7BaiYevVl2b3ceSW6fZ5Rr
hlkHsXVdUpFKd2dWmu/pn7IqO6ilPLGzvdhanu4PsuSf+9tGok3uOCm5VjgPUGMP5c49H3auP+0S
/+7tsbndQtfrYFdBI4PRCZ63eQ/mWE8ECPEecl8P8EYJBn8MmUIn3veLpXh7nU2RlxpRPYw2z6MG
mt8GSYgtZLjLfLghv8fVfxzpe9un6PgfosZ2JSbI7/g//9d1+oMqW/zq/uf6Y//51zZ/67Z+rB46
+fjYXX+rt3/z6Af5/X+uH37rvh39x67q0m6+6x/lfP/Ysqn9O9R+/Zv/r3/4j8en3/J+rh//9c8f
AjXL+tviVFT//PNH5z//9c/1VPQfz3/9nz+7+VbyY/43+f3bT9Fuf+LxW9v965+K5f0F85bNjs4Y
0jWskP/5j/Hx33/E7rRaH0Gzp6IxORNWQnYJlzT+4uQFb5DVdnXqWP16MIL680erbgbPS+Q6ELhw
2Pz3vb37vfj9/irxo/jz389F2ZuUNcoXDpwrzx/9Pf1KkIXjCVnBNoMBaSqEv2hXKLDiLsxM8KUl
h5W0sz0ghZ1Cq2DBmo/tJmhbRceJyrQwJi9tXV7g39f+spah1wM9L8bHQcFIDIKDGe8SHFg19jpt
/KlFCBNlW9sfBLnW1+g+FuN3YfZfMQCHR9n18vEfjL/2H/u++vmt45v/NxiKLBhvjcWHx/lH8lgU
j0ej8emHfg9Hy/6LscSiA87GuR/7nn+PRpM/wboIqBYeB4q7daD8GYyK8RcVPYU+GipgUEi5rCJ/
RqOiqfwcdjKYEJL2CZCn/Z3huKnXEN0h0oHUsRI82Ce2nZSKqFA98vQIuxhT2c8CY6oYe58Qto8X
PHszr4z89ZDyrDj4fSnQ1rWe4YmeYNln+2BljrSFdDcCGMTxw1GwTaqhNZ/YbV9eBcoI5Qc+4zAb
QbaOp1eDLnZIAXZhHxige7I1d4i3/mZ4BM+yhj0D1LIo4FLkbCZxr/IMUYEUjPe0nJURqYJt16b7
t9/Ylp+5XmZVzLBlrWJBrJiPH8bEGXekvqTSdeafTX/VEFU4rVkFWY9dtunDYruoy9gXc3Fl9VHY
l2poxSIUqsTPavAX8U6v1WvCIh/evjMWys23RGoC/2BNl4N3sS30OoDq0lX1OMhKLQrw2X4QqxkW
xsxjyEia4Tam6Ykvu8XteRuwVVmgaXBqT5DN8dsYkgptexbFgVdl7jnbuTjvVL0N5slpD/gh1OFo
NxAX82w8HzwE8VKzb1a+5cE2quQ8ISzZj0lUOVHC6C/nEJnrIEm/LVV4Kcf3JUd99jpUfkFRYR0Y
Cm/em1Kj2etkvYDlqA3jKhPWlPsKlXKfNJxijMz+5GbKHABijFduRhj8gu7Wh8gSP2LwHjthYeCh
4fe1iL/2i6VcYiG43A86PnahEg0o5BVkfBG7A4ZCBp65J173y4m0JsnDL+Mj0/bcKopG2+nGdiKv
HcOeKTCMtDg0sTmGbw+ktRw6XhS4Cgw6iMCAv2yzx+8OZHy2rZSznGKpy64QBK+SNWiHtTDgLuWZ
c2IReu1bMTDX6buKtJ5252eLkGmmTe1MFjMqAZMam0Hx1XK2w5nkwf+PF+jSoKaVQ+ENyH38aCRR
5GrdaEng2Evlw2YemLf6qdDapxP15g2CyawEfpQyK6Pi+DJaj+kAjKAkWEyvuklHdbp13E7u8tQ1
D13tkACGiH/fY9hH0J/r3EaZpu9h+GKVdw1lGY/L8bzOH7AuoLU1d0izVjf+tFWss0bPvtIdT2EY
Kv3e1AgRQhXWXhIpouKsYQz+EJMyA/+ZkCUvKk6sf+vxbPto8JVZzhG9rLq240dTh1zAyZuSoEPU
jwbIbQN9yYvQ8Qo96A3sFBWzx7GWbKq3R+UrY99G7IkxNH0y1ODrqH02SnRp2G3cOEkA3paceVhX
oevIxImx/8oiyraLYRr8e9q229bHOMGsqvQogXgL9xe23HRYJpLVq8GzA3c12I5Y0E5c9LV3uprD
qiqzDXfi9aaePVptderA9pisbsykdk9ZfqV4bv5QDHoDYKCln3pjLvauU6Xnf/ulsi+v+mqHlgPW
GsdXzpkjC0ZDKbTruQ+UCqJ46zT9idX4lQkOkXMlMLBJUETpx1cBUi6wTFdZjFG+BHh8T2dOo87Y
QivxieG5hWbg/SJQW52FVybKmoZ3fC0MTShAutr0c6l9rdMihNwcEiuUHegr4Gwi2gf6Fu1ewYnl
3Syr9zQQR9/BG+pQwUI/AJX355NegD7hBvU3X/fvm4P9tBq3rtDR8c150IGh0HFzS2/hrLAs5XXU
zqf82p/k48/n6PYym68qIHrZS6eafpV4JEqie8c1t7YCZZmX77kaJeetFbVXqhjm902BAZzorTJM
+6S/S4ktCDsZ/ZhoW4DNmca59LR+D6vyC1uGu3MIYroj32D0obGVO4OW+77MSiCc3nt8e3CuFfXR
WkNNTR2MPhQZJeECW8UAC/NcSLBDv3PdnQsD5ueEs9FHJm6qhqnTf++iCm1Gpueq8DFYtIKx1eDJ
9TN1FgqG4ktNd0EDTUE94Mdk+e3yvHTg8AtDeyiqli77LCytCXqvM6eAphcNXc0cUmxOhpR8IN1s
ce7pY+L/mgWk8+0H3GJhq+AJr29ogOwUrNlbAKRZwNecFku3ptd04vLE+IXHwpYoTbwLqg4Rco4Z
AtA9ueOAM96nVooZa2XvICYGZWuZJ1aiV944zTAgYthqq4Rysz+2ehN7uTk71Dxi+lhYxi/IsgqR
SUu8s81iPnG5LTKzvgDswbDiBAOCarld1MsuN9uKyeyP4xRMg3aV29Dz+ilXgr4vJX53ikAAF9mB
dJt8J/ISJMybTkzLp+bT8YRhSrDo03JcLX2283J2QXE5UdC00Mt6N6okRdGH7gLK7f6qT6olnLTF
utaLVlzilkxil9fIoCuFu6untvTjOtMQu5YsH3WZX6RQgf1CMb33Qz40YWeZj7iGndAcbBfVNYyU
ziEIGpiuSjfleC3RLGHUKFwU35Yzue+V8qOINSRPlchPfKVXr4RTNAdbpIlgycdX6pqmlkMzoqNU
ql/5nA2HrJYIeBJVOXGl7e7LM+FFgOUH2wUD46mqf7YRzrU5a5b04iBtNOvs6/mEzdcep6MxnFJE
LW/PvhdjnaBjOMsMv7WSfuGroy1J33ijoJIh0uRgJkMSeIV5EPUOiPzUQenlk61ceCzJONeDwj/J
fJ89mVc3RC2OLFbkHmMY5A5C7jTSr9AMW/IOUH651BLSLt5+xC2Siw3dWn9Sz9CpWFODNoNkMhe1
65QqD6aqDdGNvR/K6Vqs4LL0LrN0vMgd85Al4xV13YlJ9WLUMJ3QLdP8QpVGR39zAitmq589kogC
IxmMHRBsFGQtcZOk7pz6ki9eLpeCNwZ4yCWBTjbNyCyqu8bRqWKKuCJFXXo5FtC1A8Wohd2bEfFJ
s+YUd3HrRrZa/BF2Sv8ABJuFw9tUGoMuS9BB5FJ4FbeHBlFomGlVfNGMY3wQuQ63z0PsaNS3ZACY
V42Mulst7r1zGecfTnznTTv2972gYcVpYu1JbycO9gbNMvENgwlvi1B32olonqZXcXIjvb2InPpQ
Y0d3W9v7sqLQVKvJRyl3gtLwcj/DRIkmE2sSVFiMbdYx8WyUq4ip1bYo6wCtn/2OpaS+tvVa7CXH
rRCN6s/cktEhkTD59GzSbu2obg/dqM0hyIH1Yyr/C+HQ+r8ZHu8wC/7vgPyNkOO3+QiOX3/gNwBq
aH+xeUAw43zD6KVS/k8A9C+MBAHjKeXYCqlJKNX/AKAOP7RGP4HHP5Fo1x/6g39azl/U24AGMFzp
hrJR/h3483hdhqLCuGCBXOsijO4YRseDyDUr4S11vYRmojVwDrX6nS0sR/qKXk+xr2faeP/s1bz7
vdE/x/+582d15npFtn9kKyu0Yq6o3vEVFwPauk4rOzQhn36oaUkcEr1qTyyITw59/6fK+H0ZwElO
ztSy+gtUwKt6+JOr3niOyv6TBpnvwZoVeQs1oi98L7X090aHk13QqJ1LamrZmQ9FV7eNPzRtOZAB
rXbpoUS9ZISYKHiLTwCWwOi61+Mf6tPLsUE4urBA268HbSqRbpZVGuHfpZbaNZ1nLL/jWYplV7ZC
nfbOOCSwnJoZBWzRJXWg6YMWB0LFF8W3ph4hMud6UqtRh2jRzZS1/U81TUum7yj6lga80L5lSObf
e32CyFm0WR5fjm01PiQyGXBwT1L1Y+emovM7jXY+By3Remh1SHpCv22VA2l1Tv5gFNmoYaM3Zpnf
lapXvhOzUZSHxUVcfbbQRbSpN3LtQrYOHuDNTCIihnS5sQRaWsTnc1OnYqfVo7xR5jhpd1lhYaBQ
IqY3g/+BsxnshgiJr1o05rsqJzzLL5tRXObLBGk16xLeVKpmBIypRpqecmt5OaIhY3OMwRIV8ALq
+fH4wquc80aqGCFJ0QZKYYWsLks2IZ7P7B5q6pwYaU8uwpuRxtyhm6avw42oxeMLJq6Icifv9bBY
6gp3j0wUzpUjidbcWfip3baxrje7bjGVe2/oFCDYIU9xqO0jOwHEMdPEb9IpNpHnzNlnoqOS78YS
O2Ck7CdYXAJjUAi6Xbon7qHYSw7Tg6/Wg34/tK5cP1Xs+FXetrgPTaM8h+4io2DUIkxIlSgTht8W
SuPto6xOzgsn9TTfBdEsqO2bmhRuTSgfcaGoISaW6KzCpukk8oAmqwLLQUXlY0SZfl0qAUfx7aXg
uJR4mqNg2SAVNv/EvWlzAPJmjSAdlH5hOQ7Lzk4W3C9UaZ+Bnb/HBbE7S2tPO7FtbvgAvy8KEQGe
r8dpiCPh8efScqe3CjXWwjgynO+lULI1qF0EWNC3qd+OfXZfxFm+w083fi9MgxP7UJTNzk29+mNs
5FXosLF+qJUs6vHnTPigMMdGKMxa0Xw2IFlT2pZC3Y8YFO+gi1Qn6vYN4rA+wRpxQGOMEgzWgLF5
bXFF3kRFYRuWlcBfpeW+L8uKMB+/n7AS99tujt4VaTnYOytVgV6jBeXDLs1L5mpptuWECcNEtyCL
tNzirN1BShUCITBnKywI/appkUxY9dBf2rGJtcNQU3v5niH12zIFEgcjaHHBxG6hsHdvj4l1+T+e
TRQztK1XXHCVcG3KS7uFbWHKwsLTaJp3xVR9FsvSXMK7P8UM2dTr63uEBQVdAYXP2sja+qHk3IXs
p4USTlFRqib5tET+ArUfE5K2bZIgZfl+ZyEMeGwIxiAP3hw9Pzeq/JSc6+VE4ETODowzCrsi2pXj
MTkrczGLJE5289gvOyPTPi2Qdlg1Xboa8ZThBq95yf7tN702+zevGgUi6ia4VRwaXrRtuirOG4ju
yc4cZllwwjZnsc+6ur4xIgUsXM2gJYX0udxAODnY81AwYvx5kCPnGLddNH+hiTD70hPDCjXG1q3R
0ZryqzWG2+85C0VXwHNYK+A7J+pQ7xX3fmgqFrdE1bNLI40LzmdRXnIJ2kS3mPIPzb5o2awupDDS
T1ay2uDWAsX/zlFnW6XeTnvWUE8BT5qI6PoI2FqJc8hqqzFlEtniOpt7AhPKyJx2YxHX53GsATKV
WVbeYlHUgc01M2loXmX21OwejOCk7pf6xEh+sREBLiPiAcy013a1ufmoXbLEkSeTYqeXg/dY9k53
YY6OdTZlSUSyg3lKBv769cC0OQAC4W21uhO7AW2mstilbY2NhXTxsrEbTwkGq8PMai6s5sSJ98Vc
XflEq13tGr26qsI3w3bSY+w7RbEzzKk8W/JEO8xtMl8qZj6+f3uwbsArJut6LewD6FnB57O2ZWOp
AQfllB87bZzGq6lLjUNvZrPAzKPvPtV0O/swRf95he9O/QClH5p+l4yJAkmw13+duJsXRSx3g0KQ
zZ52rI3LyvGTd9A0a13WxY4JqnXnhafPN2MN+19aQ35Vx4oIBJkvPwmeRzlkyfYDTRB3t3R2Ghqk
N10JmTaHKmpOBQxuOua/3xMEHu4NcQOr22b9VDQrGpucwDZjSqP80OaYbbkaphl+ipc4NKx8rqFr
AodXdP/SiIwprSi/LopMI1+pvcUO6OxrQKCWgnS6GYb0nZrgGnSGtDoufVonRXdZ4BErD2+/1FdG
E58X+fAaBLeemI7faTQ1S2aMqReiV7bPaidtLpnD6j1xHacaTy+XfvwS0OoRjM0KQZW4uZY1soq3
HWkMYq6074gRuzM4SOW3OU61G9fs4q+JvdjncHCX/dDq7ncraZYTheMr83U9ETKI+FyUjpvZszgm
Iigbvm/GJpvuJ9UU73u7zA6LucjEt8oW3ODtV7xRKj6NDh4a5vbKeXlpFUGbtMmVuozCIk2I/Ova
Us1CLD8a5CduWn6ojLK7jaOi6MPCUvrAa+sGwB5B/UoQLidM373BscO4B9XHBXFu9nOvF1VQG6nz
ISN/h/NCrWYfhqq06/2Ju18Lm6PagG2Doy/VNgG58Lk3hY+AnreuOE5oqbkFANVMHqBLJPvRHyMb
SkgOyjn5BvUd6fFdGgmfLuCgcS4r7R+tGSvl3lFHQ/q1h33OidtzjnGhp5dLPcbyxC9F3LTFhcw6
JkWkHpywV/IlukA7N4OI1fgzjMgpdR+vEpc0kMqqw0Edlcucj0RD10htIpIzN8P/eVTgT8+J115N
2dBmvjU0pQyt1s2KUNESZQT/kvVNMbdpG+A4Kh+VScNgtFYMMYWdvlhlAEmeUEHVa4vCb7266j8Y
sZymsO+T5L2tJnUS5Fxh+DLG6ZRcp4vN2SC1svyGcMTxfd92+g+zdItfHmFzKOgp33vSDHTskiGm
G/q+UFdtU1sreYoNvOXezpq3PEQQMx4rgxu7tmJ8HMLBUTrGy5Cp7L0xzrZ+LY2K9cZI5TsTt70v
OK0P922Gf1lQLdZw1mY2p9YlissvKZ5gP3Njah+haUfqTlWT1oHZ3RffkraohT+3FVubExP45Uey
LBjMHeb0vqFkhnLoXVF34dSO8YnjwyuT1mbLI/l2xXPg+h8vUjDcPKM2EMLiCVJfC6m3YSViOgFJ
W53HE/XJiTG/rkSbMc/GSk0MuYbNdmuo29VDVqHUU8KB0L0HOc5mWDp1tE/7IrlwI8HxNp4dY8+h
s/1hdU6/B8g5ZQPy2lOzVlJWrIsGBc3xU1skf+lVB75bZuZ8hi/8cg5GW4VW13+f5jQ5ARG9drl1
U2XTZyODq3p8OVQNpZdDlAvlWKZBprkijCpt+VF21d1CMsApgjoz4JW3DHJOP4T/8S/68RUtqSge
q4MSJrHXDYFuDg72nH3VkBcnl4LTEKem3vXtsRiHMy0rsT8rVVO+Jy+0dHx3gmJ+mCuVSY01QuF3
glIsLMmuMnfqkprvMX3PMxxxJvU7jkHoZ2FKte0ZvrwsXospmesGLBYMScrcm3xTSewziPKpHkSW
l97nTYZuAcexSgka4iZN3yvUkjNauTQVDps5rq9NorXv6VSpuV8Vk3s7xkr7QTSu+djlXXnXFTJ7
1xJipmITmHm63yH01A61FNFdIYY6OWD4tvy0WCVx82KHvDF70nL6wpiznUY2sRH2KCkI7+2KSQRj
lOk1okmS5rQRQ+S9m+ZNH6zW0HpoLgqJlY63LN7FMMLtl46lKL5RmurXaHQzGsp63oHJYGP7XW0i
UiSmWbr380yeo4/P+MIrtOv+fmnxjcRqi4R5kaed5+tNm36tyfTROH3WNDd6wyZdexpddoIsNxqC
51LrVrR9g22kqi4yjPErwlWhqHqwsLmfHF8XipJC2kM67TcDnoCBTX7alSukZA+xHOVzGqXJz8Zy
yjywTdW+YQLUn61hxJE/UUX3qA4TzdHenuozGanWLy13kyrwTLN8R8iL/aHuhfdOmn3z0CrO+HFG
dI0rSLdGv2RJzr7eeqPp+qOuYIhQ1kr8acYAs/KzQfFIlbHopPv43wnQyFTIT4kiCd1LO8gYZGwu
ShsYaUVyemUj1liyWrk2rb7B2g8KlE50qFAxY828/MImiEA9y0SZ3eaONQrfTCrt3HSFEL6Vr1Bk
TAOl//b2ovVy/mpruBeVxnq+NrbVsZsCXGle5YTzkCU7dkAbNx4x31iJCXLljafUgS9nLyRMlgti
OVHp0QY7nr0l8X6wtUo23rImWH4co/eNVMqPraadSvV6+WjoSCk+QF6o2ED9NpcaCswT0pylKZfu
Rzgs+Y07KloQy6GBvAQ+8ParfPloNA5AF5Gv0SmgoD++njYYvSOs1sMpfuVElUR0Ew9RUNFQNLx9
qdeKYjY1akM6XCszcLMI6mms5MLCxbSLJNjWhKn0dUXK4fmIWePOSTvzw2IS33CoxnS8pHrF+i/v
m/jEI68A7WbHo7PFy10ZkZwtN1WeIUxrMbPBC119mr2zVmrjshvzpIQ5Cp7lD6XS5HseAWopjp+L
ceL6L2ARejVohFcnAKiL3MfxK3dloZWGJ6MwLQr9zutpqPaD44T1EEV7L1bn60SZ8hOHn9ceGuEw
xAjs+MiA2RxIFNmOlpgKxtWkG+MhoU+QYmOKZ4G/uEKlFpP2bTngRap5XXqC3fDKoGZM86hcn3t4
2h2fdRJ1YWvIB4USxoQG/khlhyhR6/rAFZmNh2bd1l9ODLUnafnmI9N3Qg0OnYI4hG0dpatzmeZL
E0GsxIl+r8lF/Yaitx19PEPlfDZ48+SGtkWTOfQmN9L2WgKf4W6QRtKFninGn1QlwglmvRffFo5X
SI1sVfH2rrou4pWSsg9i54vurRipsYM4XpJ3TiSz71U/cCaQIKDXhcFWFWJOGn8mcwlIZjRj3H4E
1ES5F15jf4Y/gUWp7k7sdqOatQb1iGdfl1TkE/RzkX/CqWfsabhSGQZK0mUzDXAT07s5K+PLwQF9
gc3jgqJ6adRdaI0xx37bxwWr85ipZ7OiiclfyhEgLgXa+VG1c5TtSLBfJXG2S4ssQkU48vgdD5Sw
5+HtIr45zjC1+2iYUiMguUfDKsbo2eKmOM8jv6ndNUbTUOwbrbWI41q6AeNBL8WXPzCNJV+xa115
X3h5HWPoMmVNUDYdbIm2T5RvbCOd8OtkLhO/nfj1vpyJsPVr4HnCYfKkeySQy7qXhpb9onRNhY9t
Rxw/pJnaZfh7RPUvzA8jJyjaop+JXDTGB3vN5t1NU40rI9wxs/HLJO+Jau7wYPbXLDs0Qe0o46t6
VNW7MvJq/AOjvj0bAQTBJcAFnVAQHlsclsFpH71Ua1JfJcX4U0VbBIDSnDtU4JQYF1EDCwiKkVHn
Pua0On25xqibTzgnjz9YfsBUnbxoe2igU31u1BQunKJmSZ+PckP6+iTMnyw9/XqqrKbxoApRFrfG
DLlvR5/Qjol1q/ktZRpJ84oez6KdazGiyqAjClbfr34nIza0Im92aheDp9JidK1A6PhF+lbcDF/H
siirQ+ukOcTjqXc+T6lCPE2RKh4bfwyB0Wd7LaxAUyvzbjAkkVT2qEzf01ji9Oj+b87Oa0lSJOvW
T4QZWtwiIiJlZemqvsG6FFo54OA8/fmo/6YjIi3D5nTPxYzVWBGA47732ktoxvpTJzP2ZxbwOYVo
qoI/VGiOd+9XVtcdC3/2ilOtdGe4L8B0oC91fvfHQkY+gjo05SMUj1xGDm60WizaVNa4UNjquzTH
9aFn2RRPeWGZc9Tldvl18lv7p7GlfRCVg8ZWVOD2UkF96MR8MovBmQ7KV/aGtGVWRmj1DkS2lRSD
BN9IZaG3FDr3RVM2RYw0SYMYXENzIvxAljEWdY7KOKja9hO/pO5is8hrbNlxIbbuDB2nhAeBh4Z5
6IFn8htt1vWejw3nLnujf0eqdJkRpcoA3bxPsEMhWrCQRqZ72bkMFKaWrso7LJ5z+HHjrTN3P0su
t0HU6rRUOGRhwXKx7We152A2Ag5VU0YxkctxLvakvR67CTcFDbZk4uGp8x6HVnxn7Q4o/u2d+JX6
AlYj1Lodz6TMuPgB3qSXkzZWe+ATpmAOXjNPWQoJtAjyG8FIrzxiQmfJvtkrGQZ++5//55CZ+mnM
vNX246DJ9+5DtgNZv0v2S3M2cXR6xzpIlf1vXot7B0kpulOhmfBAh77UHqvRn3RdcXo3xCWdOBvU
kbhF6zOjmI9vP8nrE5wr7eUTDktwMy6ncmq1ah1XGC82N717qtxsjc22EsASVvXOa3igFN/uTIJj
feM0vX6H0JsJj3OdgCEq8TTnT7YsRGaUQufJuovxrHcjPUFu+182nueN7+SCdPT3edIgWxBGmM3t
nJHzazmtzPTZnoJYm8hO+46noh7PcspUVDPnj5k229t90UJBgn8uRg5vV58Qm2y9JiKrJ+YsUrlt
j3dV3oobbccrzwFoc6e+70oxVvX5b/O6jh3E99J4QQD1FFSOldjKEUc7GG4l9r12KQK+cNYkM4CD
5GIx58R4lHKz0xi7B8CfxsjHsJ1MmfC/SQF6e2VdbxJYWgAUQy+k8WBQfn5fykK6qiC4xhbTrOxI
iEN7KglzMOiiSTUmjQ0hGPNbImlqaefvKtNLb6kKX7thmh4mSLDNgqsSkVFAY6y9nsZ6OTR/ylXL
/+mmtRFhwxjw/dv3+8pOwWTb2inRdHV8uef3KwD1bLfq/Djv1DAe8jUYVJizO5OeZK81d53rX5wp
HW6Uwa9cF/CYzWlH8fgv+9DnPztUnznYwyvTj0VQUgm6RglkWenDl7HJOhwululYTMX2v7d4HDw6
nes+74Yme9G9rm6quUOKv8eAOZ5/9BSrleKqJTiZKuwGfvnKLsUd7k5jvMTdcvL8Hlvd08ae7yNB
cDcnOA/5EEpsz0/I7q1/KTXZd5azeHboBkK7lZ77yiIiewTVKHsxD/lyzO1VEvML28qTjESNj60c
5zuwe/1Jq8dbeZavvEuacw42G1+r3Xj8/D7R2pDebkHBMTbVGY8YOmhJWvvIvRpg4jZp9MpL7HJM
/+fz1OT2sF8CsmUMcGlBO+ApgtMcQ1hjtLw/HkZ7X3Xfxzo0lc7p7c9kX47ntcP5pS5u0VqGqVxM
JqJFRkcf1U0Jfd+BUXXjs9j/nsvrwHzfwQ6Ab+qE80cJODmbeqmqpGzz9hERExnPzLMetXaDsQZz
7PD2ff1VYF1e0IWxh8+rTYN7SQGZ6a1KUxDzEMhBwkwpm6Dow0GUdk+WuN0/p4VYPg5BHqwHHwuD
9xVY4VdGZ+KYMtbJQgdb6PLQghTlsMDIlQybJcV/XdXlnWMQanLjpV9oZ/ZTEQYFJyK9O/ZUYF4X
j6hY6iEQAfwNUwEPSFG0cEaz+nO+9Pn0bgBiY/6azrKIUjzNp2Shnvwze83kxZpo8M+RQd1Wx8zM
vW86JIspnrpyAfEdOg9Lp56RhkUIyUfZWPk/DYEdL+UGef8e0o/83GxYwMRoy/0iRFnRmIho4FXd
OPqvP14QIaib3Cp2KtDdzu/R8BqLricvknEtvmer0bxAsv83TW3z0433/8rCBhHYZVvInZFdWOdX
KmflNZ5WZYkFPHxYmhHHL0v6L5NfWs8g19tLpw/Lh5ne6NnuAhEyDEyxLsp7FXmV0SZ52aIJnyBi
39JMXG+fAJuwC9mnMbCAvHX+07Ze1kFfFDnZYEQ/FJv/PXdleT80IHQZVcDBmNLtrnBg4t94KK98
hbgR7+SHgGIPduP5lSGdq3LtAybWzeQ28VjrxqkgIXOIvREB6cGkIrizbLzBDuSHmN4nJ8vGX6aO
7OIpleNaR9gTgpekarHrEGqa9w3FbtEcm9nFsfTGr933hItPGGYazg0U+7vX3wWUCOEqy+YORGP0
wDLsSTV1KIa1zuJSkl+d9Olox5WbNw+OVUocEWeLGKw2KJ9pCW9J215ZT/wYMEUY1vzn0neBg55U
WgN2Fa+lORAeJ387lr99ffueX3lBqGkgnKIsw0/z0id7oNWwpy0F786d6TcLeDqYm6WFnjejGxoy
evy3L3hhB8CuszPXfAwIOEEge1ya4jWqN7tBFE6iz4oQQrMgfcDZvOEJ7nN60LrceMkhAB0d1Ys7
Mqsq0icyUn7CsfLExyXP9MdpK6pjYTDCevu3XZWs2HkAYkJ8ZGiJ88fFJzwQPifJuHESex39gjlA
3TVEWyqRJfpIZs6xWwc/j0YUaJ+mVjoNJCkXjsrbv+KqCOBXwAImzY/iipDwi0ISA2GtaTrpJ93a
LvDbGFvClIaQM2kpPb6q7jOWY/L2Rf966p+tfdpATgO+UXRiGDtdnJeTmS1aV5RpMo/2CHxm29tw
oHptt9C0UHQnSApL65DVqfXBrNL8NyTK8SffwvJjGVHXhL3lD3+w1cAmAePKIA0L3wfn2lSd/mvi
R6rDX9sIs1qnevnjLbDf2fZr4R+yMpXvF2mL95SyBSzwUi153DaQliPXbPyjX6wl4Vmrtf5w3LLT
EzgwxkstdawAcC3Ntjtpl54Z2ZlyQqNynTay+J35C/WydO5rL7VupVm88o52YR2TZTBQCtPLd0Sc
1tBbQiQF6dxxqxrxbnKt7IC45aHWpvxAJx3cWhhXOwLlDJgzbTP4wH7WnG+malwdRRjWmOBOMJ46
0OIl7FePuLG318L1SGWvm0w3oFHkX0608wvNi9v3vbFxd0iRn2ZO2Ehbnexol8JOBr8dYtyQ1CnI
yQLOnHmNgPOML2//iNeeMGUwuD5fAJvgxc1CA7MGDPVFIgy9AOcpVMKGsESrGq2kcu3hBFOYcK63
r3p1UvLlYUIFr5Xni3fvxVUNuEAQM9cxQQxn3bVbt8WNrpGCmad1kqNMOCox/ivaUb/hp3x9uzt3
DGYGE0gcDC4PSvjYZotF5ogXlBV8x7ZfRhUaZbLFgrLZ8GUxy0gYpWbfOKGv9n9ueF9Q7Mj8E1xC
AmIrG89JBxjWhqieUXQHR4nj3p2cGuNhacr5x9sP+JoRuV+QaoTHi4079cj52hK2lk7NVoxJEVTo
+0VJyZc2ZTrsZAn/Dx7gZeyWovGiybCGMaq9ST0Py8pkvjCFPt944deKm/334FMBnomZA9rS89/T
aV6+cqiMCR4wXVvEIhVYmEAxnrPYKjXsUvMNp/BwQiBC1llOXnnktDgiRV0zpEOEi+H4oItO1vf+
YFlVgvyEeZBnw+3CpMPF0oid0+iPol6YZGMQlv/eajhD95C4y3cLdeM/mj2KvcY2tSQgI4OAtAxB
TDysOlVx1RX29jjOW/ldm2FhhEvhSRn76Th+Ji8NIXZpk5AQ1XPhviPMI/3EsrG+WdZaTaGzDPkX
XSNtLqyxejWYChidE62ZPtyNXW2Oxz4b8m+IKZznbWmwwTEYW52CTbcqaLhwMhPUFphbOAMBrb9S
ATYIxoCK2WQk0RbhsBlrGZKxFBSfRDAWR69GmBu1xZJ3p7SwFDmOARujQd5Nc0fCY/m5Je6j2PU9
m3VCLAALSFrTYB4rOXsnhrm6D3ukUX9UIMSQ2EMBRe7tRbivsfOzDjkX/QAbOJggXJ3zd95nDJGI
lOwSkqDkCXaSh59PuZ0cQPob5+r/YbUXFwPeA5+nCWUQdhk4N/SdXTqZ2SQVneP0jRjK9nvtt4bB
TGHnw2mL5v2gUU0Z2K7F+p3yyDI/YjxQqwO1kf6zdMYVgf9Yd3rUbVL8McwJD0hfx6vhYU6z6XMF
kOphwgD/8L7W9NV8JL2mgTAuyr5D4OPJT8FEAEksXOXacalvOgflVLUfy3q3oOkHDTxwXWlOYwnr
7nMwugutCNR6/0X00NqTFVPuJk4h+4h40C0UOLOHMEfOYz9HUkdbFQVdXo+hNtYQn+xldpxHR5CR
eKLtDd6tbTX8qosWT6KKHEuiC6A0vjeU0r0YW5gsi5bJhmLoBLP2sWMn0BMvy7tH5psZDL4hGId7
b9gaMspqQKZoZd1h/u003T+VNqFWnie3QyLUYLccOYvrnYJuzOShWplAs+c4JO3B9JZRC5OQlBvm
rEusavqmGJfNxjqkeAnYOGkOnsKoamlPReNmZoSex/hVePnQfLMzaTnxOulgwsDI+p0rXWwz1OqU
fQgdESJMhbDmF+VMbyaOyrInWU/+12UCr+LvNAr7GcvTzopsGDhziABWpe8VTjwG7KTKMyL4DdN3
OPa2ZHRjFb9Hsxr8jwShT+sxVwzpoPEsKb4Bs7CRTTH+orpp5JqGcAKKf0QewB7SAshbUmmJZ0xe
fRL5mFbkvk5L/YnlPlbvhCSErM48oyYqFVlDPJVEuEfsEfZhRPAt46DMy+Kl6+f1w4qbFX5Ec9s7
WKS4KvYW0doRdeG4RHpqS4HdE7hdaNSuXRwDRytJdtTVWB7HtEEvn/aKgOKRf5yjCJhKHQNCdpDS
Gc1cxU1hiz+MH0v/gOoSw4Sudpx/i2oN1id0n0w709zanrPU2z6Mg65/E5A6Rtw6shIHfhJvvjla
V2axs47jp8pY0REZ1cyPGlPGThESN/UM3SX74aKayIguJoQ27EaZ/co8WjqmVtCxwg7VVBDarjF1
78esFvV7a3Y3AIlS+j+grlYWup5FfZuL2fn09lb0yvm7q1nQskCToe42z7ciaxCcDuY4J2CPy4cl
wHhFpe0vH33de1CGW5yjV+qbHeTb54XU+xzA55fLnAG/lNyaE1KtKnzdPZcGb4WZAkJRzQkkm+GA
vLO+a2Gw3YgueKXEAccJYEji4sVwa/9t/wGqlTmtOuumSba2zYHA8i3aOQKndjBhIk2r+Q1rqu3G
+f7K86V3Bp/mp1PimBcXdQZ6EzmsXaL5xD6ZXe8kFYzKg2+v5pd8WJzj2+/zlZvketTmSCw4Yi5D
debZXuc242hp22w79q5FH+SSsWiV43TnpdIF9mtu0XBeK6pQ1eNqxAKijLsk5WM+KXRrAkPSJm3y
EqwHieXW00zBNa4WYueHLjPuu2xii4RaPtWffSJhhxNEMPfbWOET///x2GkffDosCLi0+ufvetQb
t1VuIRL8IvMvwzZC/8gVHK1i3BLRrbc+o1dO9B1hQhLOJJMh2sW6rkbZaqVnzwlWAuWHYYAcARMn
eIR+c9PX/pVXjBEM2AxuEnto2r7k/rOOiz73Fmsul4Se1jrBUKjvev6/cUptnwAKTEk9FNphmkqD
UUVWx1ZtwKgcnSWiTa2ssGtddRhcc7HCwfP72FWEierm5Pjx24vxlUbO2XnPUIww1WQ9XjZyBIg4
zmzLJB/H+guquexdX7fqk90XmxdqS7aQXZHrSa5Zzkc4Y9OpIkn9xidxLd9guMlz+suJZjx2uRjS
farTeoWEplRX1dGe3Kz51GRQFHAO7PQxHkg8/Zgb4+zGsigNHZV21Xyerc34mnGW7qLopn9e4Gz/
LPtCv99KJGlQ/Ot6gPTUya9QpNOPdmpsN3bnV141BHbaA4jswEKX6FhXZEXrjtuUdMHqPcxQW5NJ
FvJB74lwLiHz329b1dwoGfce86JgBD2mRaL5dpg3XXw7uJ42AifAOfH8coxNpxVfuj6zbgJx+zdx
dR3wf7p8iwShSwdCOBSly74Jz6vDO+5Qrn77XYxm9uyPiw3x1lPi1Az9dKhze+gPe9X+mBpp+//x
jPfED8Tv3DOTtvPPKWjoex2/nxNmEepoL7rxILZcxMCW5WM7br8Mju4bDcD1qUDHx8AdvAtIBczv
/JoQNoIgq7lm0Zb1XT3n6keBNNmPaAHzpM5T6+HGl3gFLSOnZKtwkAiDLer+xaZR1q6Ly+s246pg
2E0s69XcqU+1SEOeaf5i5D78N0ICIOx1k1OAk+Ft8TyARP+jVbPx+8bvuX756DNoxHfOKIjs5c4A
ttCkWO5iu5rlOQIy9ghrmZqTtviwtUZ8AdpWl09lpe9a2gBLMUi039/+Edeidh4KxQiu7j6jt+CS
5kIymCBpwlmS2bBGI+k3KP+R2bTBgwrcaok2ofFDfFTNANK2EO8Hst0abHN9+72XOaYKzSmTaagL
Ib6n7jrUSUlKzRqvoBnflZaigndlJYgqmuvlJEVVEFhg5+Yt344LS8Ed1HaRf2Pu/HdwgJbqfEFJ
4IkiwwArQWrUwADYxlPjM7ijwrJ4dsrAGp9u7K4Cy0w6rTAsiIyw80OUUiCgOv4ZPdbbdx5JB/dF
rveU8FZ/evt5X8PbOC0xVUamyL7y17n6vwdXP60YeDTzmjhU70c0viji2w6eGyTaD2gH1hfZzvpd
AxkyMWUpbnzor14ewBDvNFA94zLpEPSsJPI2U1gmyGkNSVQSa6i82UsfG29P8xsFY28Yr7WzhK29
OmIno6bajTL07yD2fN/DfQimNiMeXAiMyykP2XhMoUxYLxxDvf80tluZPxbGPBvv4KaiQsqYoL2g
r4AopOW59uyYi+woXZrgPmintjq5uWXhv9Atswor28cFojY2HFcGNaxFKA163TDQ2kBEK+NX885K
ISegO8yt4c7WCu3f1ioBult9oCbFGLqBfJt2wN3GopWnoal80p5kzltYZzi/Sjj5Q7bUs0MeCPry
uMyG7GRu3pge2gWPDRxYsvJOkGgCZJvraRB2FbYU93Jyx3/9ae2/iFTaHzI3r6rPS2pXdwMNwhC6
isLYN2u7PypMnB896eJHtXu63mDRXZdncG92V2+aDwgUlyWTVBO4lrT50F1VPLY2zVvdjSxys2sP
by/yvx3TxeulFmZ8shN+OFX24/U/5dlCkqsuiZdOgLgHOw91g2Y07mFxzWFa2qZIcjCP5tnQsoG2
PMNYB7njunk/jVEM+p1tTJP5VW81/fPbv+yVQ4eRIkotykbw7EtsGariPJDnNSXzVmjfnTxtY2QK
w49Fjl8xhtnity93TUigRuVr3/luINkYrpw/CDmk+jy1O/CUWYiRQ9hfRFDnbq7TZmeyng8ewcLW
fTpNfRMHHAcilk1XG4d1GWWTQEXrZNRICSu2W1w06f1moR2rxChfZLqmLxL69y17yeulgg0dcgI+
TJgObFbnv9oLisVFqFkxe0gZIpXTLA+zWJaHfsQl4cYzeuViXIo9afd1hON5sVZGjpZMmRu2QMbg
3Vdr58aeztwrY9Z241LXux9HHDXwvv0BBV7mhLd16gA6tluy6e2CHXPf/Yt3tnGwazfrw8lrutNC
lXngyMwiLHmwjHx7PVzXsoD3UKj2YTxNkr//+X++C4+4AIbmwZY4FNY/oZZ4n9agw69D5PjgaZB0
JRxwp/NunDp/P+6zD5LoYxBQA24cEm6UE+cXzjE2kumAE4ZYUZndz5muP4txq6onp1n1/pCLsS+P
JoI0kp4WSqCwlW35yTEqRDt6vfi/mfnmL31FHXdwKmbFnO/QM8Ny7oc1JHxxnEPpYQUe2um+iXOf
E+D1Sn0wVWrqQ7VhwxfNnQ1N3U1n56etTf63TqhsjnsYeXA/G339INZCXyPfJZktHPhtv12wfBmu
qZxlCFyZVXfj6OU3toWr98Lj4ckwEEd9TRDTxYKHEJnbZlZsyY7FEdLaNf2dmEajS6plNrxwWnBA
9qV2U6S79xGX7wV+NoEmJB3tJ+L5e1Et6UaA03qymkve3q+pKThJkK6QLwTq+r1L0QOGSHDAhmfb
1769vR6vvj3uG8YZREkGqQ6u7ueXrzI04Hk10uzVNWec76woA0vjsPnAT29f6urbY7gDJRNL8h0z
pOo/vxTiUChKreARj21zUOW8fMkFg+kwc9clwWvQfVQ23YAKUJIEeZod377+hdk75SGvFvogcVZ7
N+lfDhyKQqeRynojwZ0IhScCjQ6kPKiHxy41Wj9emeUSD+CnzqkuUIpF9tKCmuI4U+YnNngHBLfR
9fVOphkaNl1t5BXktVkm+WqnEn/X2v6o8fP9WGG1NmE3U6aHxjM6PZ70zlSJ3y0mycBT17/bVg4+
5Krokkrm1XjJZX4GEUM0442l/XeYd7HEsNiGWL4zYk1Av4sHvxi9NaeOkQT+vPT3umYYv1bLy8Xz
nGdMGFYxG3M0mEgyItkGm/k0ZRY4CUFQa5+IQXnHZhQ2ib0d45mVkjCNRFuDJr39gl75BncmKy7L
9CMkBl30g3NftKmydtR+JF8zROq/7YY0vr8+gYi6yzFDw5aHvrmlN5On9sV3+YxcBzsaHhAB8Zch
gGi2WrbHycQiptW2SKnC/yzlpP7waNiOMJxW33wbxByujvcsnNrokbDk2XcbFVKE5vaW4fs1asRq
hTcJSowLIav1YmPwrawrfZ3VajHV+9C1Ut1tbNFm7JGCdKJX6+4nTulYNJP2oYPR/mEodffG9vDa
2kFIz2dD28wedcn5Net0UaKSmCh4hoBwKEn/jr1gqpkJYwzRx8y105+9h+9HZDvVdpIkxFenfIIV
GurI/7pQS/PphX0NDwZrQMUdoSAXL28vnauqzqKlwtiS5EKCLq8QdXN2C7/pPDsx8NB87pDFEJZY
Gh/mYWs/13Vf//ifr4eVoUcpQXVEYXfxSaGEn+FYou70BzttCWAc04dS06rvXiZzFXotO9GNr+P6
oMB8BaBofxmYtl5un0vnFHm2VnbC15pG4xhgZaA3lRChpVBMlKViMlim28FHXbDdgGpeWY2cTlio
gCWjRnQvB/QolFfU5L6dyBxAV2SBufsw9sJ4GMu8SBOrIUxV99FMG4vd35fFrOcPNhTWGwvylRdN
08wj2GfStI77U/pP/TRUc+/4hWMn/YxwckIW/+9ID11TXWDcEq0FvLkb59b1EYk0HlCBmQlOXNcV
/BYslj1kTrIy9rpHoDS3cVcL7UG4hV3daJxeuT8wTme3gtzJEJexylVnMq5fGy7mzwDTY6fhIFhn
T6pofkET6W9Q+i8vRzYmZceuzGBB4SJ18TgDDzLuXAzZoXQsLCYxfrxHLaLG2FhSh7A0DceHt7+c
y03+7xUxqkOvsNcbl6mSGJ6wlTu6lnB+uI/o5Se8CYbuvY7XC0J1s4tGf77JKf27T/13f98v6zL2
ZzSDbyNk9PN1I8029daS+CLsMs1nKtmgP9TrsH4zZqhxYR9M1i9bTzVcq/oOcAY/P+M+YDg8hWOa
EumS0Ve/4ACCGZx0R4vsgqmr7lqzzN9jvrvSxreW00dqVNmHIbfajy6sAXw49Wr+tWB4uBzSLtv1
pG0+ku+mz18bLKCzUHc216Pidmcc6LRRryNFlOCxIPfefEa+Pfzemtprw2zOvcMC80S/H8t1vjfb
wcO2Qhb5P3kBzYDxaS9VqI+d10eBWgDpO40IdtsfszL0tX6T0EQc1Bm+Nsp/M8j+Yh+jZzLeyx7+
Kijxv1klcxo1GwV2VHQM5FWHBI0Avan7XeUCLkvJbj6EIlVrCVu15MaF0FI7hr2kvQSMfvMkVV75
qByZbdFStNNdoPOuk7KyyQh3Nav8SZOAe0bLQktDnOPF55QStEvSwcSd1HCUMYcMuMHtltmqnjSd
iKMEEXCOorc2UeYWYwPHcDREZuLlo43bM74/5RbN5iDpFGxLI4gNqPJR8Gfv0ybDOjYwpUbGdNvS
S+RNMSjarMHCEgbKwkF2vfztjj5VIYaJ47eOiezvSZJUgaR88WG5TVn3zdwTo0NrUcMDEsu0jmGw
LPi6lEb+h53TaONydXvCdeaVFKvKSrGRU4299XiVpPggldALvnqzbmSnstXLU2p6C0aYBty2kJKH
6PZG6LvpnI2Za+R03dRGlByrIugcwx5GIxlx8iUzwxCjF835wslsQQGRDGcQ/q4t3sRZsIExmPOU
3Vmz4WZ4bmnCg/wkVy/CXFf92vQUlfqCup3YkYZU0xkuN+Zh8/anTFPnlw91pI6QVwC5Ia9fY3ZG
mT+C4lb/lE7Fl2s0i6uiucoLNySGwf3ZKbwV0C9Ij1TgoPzBg0OE7GiYINzYPV7Zr7z/G8rscyxm
muef8WYDiSjHxfFM27q4yAIUhGOHYz42mI9jpeSNicEOPVxsGwxf6AtxmqU6vNytHNV15L3rhAlB
wS0ZFTjyse/a9IZM5pVNkSEIBp6ofnZ84KKc8EGmN7eesoPFzNRItKxK3zFf9YbI9eR0lGVVfiKP
7dbE+pWniXiYyolyG8bxZcGNfYYGUFzkh0lmbaJnm3HC5MZ6pgUdn8lWcm69viueH9swxt0ekeRc
1bYvxS6eNag2s60Uhh3e9z/mbZ2+0+73AncBrQwe/CHLT43VYvslkJt/m2SKIlU38AqIpiFN6y/e
6MKpakCKn6sWjdvJwWqBQNoUYXZsZqPWR+NkGJ+NoDGnaGR48bNgvNsd2n6FZaEYeOKdUyAZDtMC
k9FQtZX1oKWNLkOccdU7wChbhEFqWu3BV47+mFe93B0ZansKNcQjGtSrpt0J+qyIpkllB40Kwgzf
um64kVXW1udZI2srzOtp/upWCmpQN2ieFjO46JlO6HKamDlklYlJbWYPUan6/uPsqG0+rjgVbQcU
vwZ2Hao3fvSdh6PfWptsyaUqPVhOqVWMMcZ7xkLZ13rsOxl2EaKCOhNWY+62mJ6a7XNqZKuM9ZZJ
1m7At5UJOOuijnydwS8RAMOGmwPkGm1kyfxUet0+1X2gz6e3T3zzenVTOiJQZwukDaVAP/9ovcFZ
U4PMg8Nm5aYTqXbBhtx3ycXJHAwRaodAMoHZ9mHOO+Nu3GYtCuYqXaK683GddMWibzzAYvrdtpZC
5NgvWF3TcTVToT5aqe09EGGvaMD1rohXtflhIDIrwuymjYRrr884zbUqxtr6z6p18+Ht+7saO2Ep
yiSHuBAP/RYV+gV+Oe9T1XIJmgN2IiuUPuViBr0RU9LeF9LsAyZjKQgHqFz/R1+zNadOV81PBGoE
Fdrj0rwUA/nFseo7/9T3O4k+J+4L4yPZmtqNHfSVl+FCBYEQsssarqgxTjU2e8xyf4CVYETdgJqg
gLz+71wXX2Vuf+Mm9U9vP6C/KtTzXZTSEgs6PFsAwkGAzhdA52OoMveiP+guEFZodWl3WqtB75K+
HAEPRW64bWSChTWJrbUSxqzWrCpuzWl0olGZgwgxKq8/wYAjR95dJjd95w7SPS7pSsnG513CXPZq
/3OBmoHk0tUYekAYF1qDD2n2pUDMMj1ZKtiYra6diEcsmrYPc5dbxTsztxSKRNuD154XSAIbbZ3R
NKQVJk129jubM+erA4mwQD4crOq+Muv+340ZOcbP2cTUkMxAhk26zGsj9suMJEFtnX40m8xY1KhW
MRopjekTClm7PrY84g9uzTs6BEbVjHfgYd5XGpBF3jtQMXHNgRPyfV4ksL5XLsVTYMO/pkRo2j8i
z3WGWxySWHBnqo3Hge+b0W2qHbG40zWYrFtexp1Xzx0ul1AOIyoL+a1fjXWJc6uaxZ0h3DlHulNj
OpMNQf15IgG5Oi7QXYdwMtgL4xsr4OoYRcuF+Z9r4b/L7OXi2M4xqnc36dcH25XecZksrE+mNu73
yKreE83D5OW3Yl/+0kKuVh2DBdg1jL2uwuxEs1n+RADawSrNPI+rzLToMnR7DFN3gEIp18HDO0fW
J0fxCePd4jqfO8ix7dHM3dXCd3ow/5lqkh0epSXM5nndXwHULUp9ujLZOU9oRisMqvWGesdSCo9T
s2qa5cA2Kimp9bTt3gUym57IRFBLXDMECvBCJ+Yu1jPN+z2JWntpAuH+stwGZ8q3H/v1+Y6nKHY7
1C4AOCR3nn93K4pPr7VVdXDWrr1XG4ZvZQak3RKffARpzG50yvt3fPHEQasgkKBlQD5xCTTKpRZS
9rvBVpPnBj5HRjs+BXW9Hd++r8uOnA2XagXMnIuBSV26VTtGtmwtR8NB4qf0VHqiw1dUjO+UMG8F
n71yKSbU1k4bYV6EqPT8EUJwBS901vowQuU8YrkIF350/RdAIe2G+OSvNvXi8fGJ7KgSQwiG4hdV
YGpmiFf9ojhMjXCag0Y7LkMNmuYpgwcQPC9y9X+nxpjezUQ2/VpnDux5niDm++Xs0tjVOJ9Gpe4o
Paw2tzwFvTvUz2npb1msO5P1ElT1TK00Q48jMQ+D8ftpGgSmBZqR3fFtOn+kGcxI/YwZjyAwpvnL
4Ni7HrbZGPgoZtRTpDuj+Ky60XJRgwHMPqajezMZ43rpunxHfwe1UDgZCp4/90HrIOH2E09B19Y2
kkswBx9TT9MetFrQlGu+XG6plK/8rwEO9xnkX0cblKeXJKiiqQ19XJb2UGpVEITj5JjHsRydh2bW
9HtE1M6pKbo2xHds/m1rmVKR8AsRBVbrnAIyHEIH688n0W7mjP3ubiMeNDV0aUOf29AcrexGaXV9
mLOjYhQAyRMOBUX8+VNi36KYgpa308L0A96q0JZG+I/OZFaRwFnzWK+2uPGVX38SAWYSe3qEsf97
Sa5Ne79qOGLEAcWGKENMDZ3PrVdDE+vBAN/+0vfS8PyTQHqJPAl6mM8mfmlhaKMuxFdo7A7b1gfJ
iDIr6OoDIn8nkaoJnjss9SJEG/r3t697dY9Mh7kznHwcgxbo0gJCuexiPR5OB6H8z2AOJWMHu7IP
SlrDh7cvdbXSuRRzYILX8C5n47346rX/x9l57caNRGn4iQgwh1uygyTLlm15nG4IhzFzzvX0+5V2
gXWziSY0GAx8MRhXV7HCCX9wZwhls1afRLxk/xpFZ54pMBU/AQRQsXEisZPSXpVygXohPEcTTJeG
jgRml5vG5Ip2266qTz0aoc9xiDsltiRQB+uumc6FpUG9iOOe/84D8kBPtDyhrubu3HZbP8Mi/sRD
A/AZAfSq21PkY42IQdyeYDkov1JtdAOAGPZxsaCCUTebzDdmlSoGXEM39wcViNTilvVOZHK9+rQi
CUjAA7rkKGvI2EI3ShWWGE5qri1vh9YTBxbPvdfyaFL5FVhZ7TzKV1ua7UzuLpUeeCHZ3JfLr2EA
V4RJgvwe3k13uU6xE1pNei6iWby1vAKDlQGla/qH+U6V4XpTI25Epxf4DzE4kOTLkcfBMFuBlNYp
sYdMg0unDw8VnqkWAVEa7kzz6mpimlItnrPDhqPUezkYZ1bBjBTlWbczjB8AD7S7rlMrrJT06eDB
3byfIVHvDLo5Q9Cd0gJTKuLItf+rO9COBj18DLJOLgnUQdXh7Te1p9/ldda/9hZkfjxPHo0cSo6A
dy+HKjPUISPd606GGmNTP4w/0OYbv5idE72yt+XQ7EHlR0paOwRzaw0VyCkY9U06QWWsOA/LNPcf
oMj/jNPY7UHukXjcvpCuNyiAJfkKcuPST7NXFxJMYgW2Z09PR5nyX06YYcIuQtf2XYvmtK9j/tfC
YWtRlV8s9/n24NfnEcovFDmVIEgK263irTjtvB4UIiGrlrvnmGPPtYQlq6MW4SPkyf8wHKdeg3Qr
0WBrVAz1Cry2tCI/iU6Yb03RLf7c0FizIif7NiFDcLw9vetTQdWOzwgw7iWEXe0aGeGNcW0zvQ72
jT3Y84NaDuGhGYba1zpNeVPOxh6+amtQtGElugWUAoSjy61aEH7MQBF5NwcMaJfSc89I3cxHj47E
qTOr/NGux2hnptdH0cCNCMkMB2g7hOrVUaydxXNrs8vBCunZk1K7yIewrQ4e7ZSdO3xrfsibkOrZ
FNBA2V3OL2odfSJbzk/TrI2PZUYWFuYFOqtx4f5EU2kCUrkrrnyFcATLB0aBbJYWMG36NZILbJAj
FGHlJzuaqg+R1NM+i4J+CNAo/R6dQDwV0DKllYHu2NskTwe/Ljzrp4vVUSDQMf9xe2tdH1twbZRY
pLIcdAJpCPn33Qe8KyoHVEFPXqFW78sFcupgkAkAdEeyyu3io9MZysGrWvfVn5qFRwJTg77AxvZW
mzomRXEX7EBOap1ln8eOOoqlV8N9krh7rkFXHCvHg8QDL4MMiQIy++pyllaPPR9ppYPXlOPdkQY5
7+giifdSxPsuHy2j9dNqcE9TasAXsUIYT5mWf85LdQ9Wc3VT8UvYA57UUAHKt37HEQty6sIaHXDj
wIMqff5E4z35sHQRHlaFae083lefF6dvTL64rKTHF9Cby4nnaWlMkWHPWMPNzUeAI4+VB95A6Zr6
DaoF4XuzGtqfg6Mrd7f31fU8QRpL023SMPq11uogs9h4JaVCPTVDZdHtJ/8xkXl+crLoR1bqe4DZ
reE0QBUEKi6Fm3UDPEEFVq/SWjv1aM35FazkMxYdNKgmSqvjUCu/bk9vY0eRZrK24PFp8tjrHAqT
dnWxFaGdVMow701vSp+GyE7OVUwU7C/52PihZ5Mep1nxNbVKlTA1cY4Ck/Uvt3/Ki7LNRbZD1wNf
c9r/L6nH+qKuCn4mLVQB16dQl6cobbvOH2deCZofYxTdVeBX+/cqJuZfoY2AlfMmK54OZF+9iWxz
6Z7wbFrqRxqFPTFzbojPusNVcGxCQxO+0qiTFeAn0wDIXmDk+F3Z4J5eouRboBIdYkJVRnC5XhtR
yG4OwAjIgbIQvBbXRDOmz61u0k4VyPMFcJXj/IMnZfU+MR0ZZuTpMUGW65Db8x5wRd4Hfy8pliOw
1Im06d0Bn1lTEnuwBAMOViLIJkMPosq1H9J6rHZgFOsXSI4iJef4eqCl4FBdHs4ZJQOzjVURlJou
fqVO8r2c7fxdn3jKWzpDtHHjdk8r6OoB+t9B6TlAk4LHu9a6n1wTcsJoiiAimm9oGo4GaFG3Ocxm
pH/SWuTW8hpyZAB2LXmues/1hbeU77Dtbc9tMjY7F8XmIhBCEX/zBiMrdbkI5myjXuUlKgiKknvX
ebHGZb0WEBQuMhTFaJwb4C07m+uK2Mg6UCtHDp6YlYzWXi2+VYQtHdleBAr2kn5oFN5ZaTPvU2lW
0e+0AcyR1oghdKM6n2EBl5Thm+g+18kyESla3gFKa05eCK7YdMriDrVFwGNFn3+dI8w2otyNd97L
KyFc+YtfzN+4pnmu1w5iadXNqMEDK2zN3nm0DdrkEXJ+yKwpEfQTu3VgZuSeioxDPJ1aM7MPOLs6
R0dPlU+APAlw+nSv/HjFVJC/SkIfQfpxBXEhXn4/TUEdrox0iWbsp+963o34tSyj93kSlftQJaGi
HhBs1aJDrAxUFE2UYBS/qNXhfqYaSv+TdB0LJlVRnxQUCT/XdmK8p0KYjH5pAQQ53b4u1xGm/L0c
bXI9kmgi+NV3H+Hblv2YLSD9ku49wuDJw4CTymGw7b1g9qpY8TIWXC1UAiRP4eWL/pVYTrlN1JYD
GkmyxPnMy698UBRgWVE+Dj+bSDV9QFsp27tOjovidCcx2HXw+vmSbkoAkww51pQaO+q4uHo0eytD
/I7LGHhLqHmftL4zd73eZBFidW3KAIval3yKoAtc7oWW1BkiNNemIQb6a90SBwp1hTvwCRh34WaE
v0KVOfecNv1cAAn2s3leGr82wunD7WnLz7j+KXxpyZQDgXcVEIwe4pRV1IigoBMTtGkvDlFqlg+q
2i0IYApjJ5t4YZ5dDUj7gkwbmgR4hcu5K+iNhYwnsNAIm3t9AvH9zqrmjoYb7NDBd7sQ6GGudMT6
QzmkdhABrv8xWHALfVPaAx4zI23RJAmV5eeYKkinlEOMGqljCOU8c9NgMtaa7XdssM0PUT4X7Jeo
7u8tu7emnVt5a/kAE7JvqWRyLa+y+WjpPAvRIGp6XZHTeM6UpygqFC6cTjJdQ/Pd7c+18QpQkgbJ
AsGRYGodLqLqn0ZpVS2BHTZzoOVxdlRmByONpikQNVe+DVGa7szx6iagAENkaoMuIBBHSuryizUi
AiyGog/Wgqb7ZhQFtEA3ixCf0feMWa+mJ4eSVWGLNg2p3yoabiIxiVBxGUrvlEesPaZzUpYLbDbL
Ro+tso+i6vqdNd2cH3kVYHAeOshDl/MLsY82jQzPNDrJzQ8gJPGha1X0dKUk+u3PdxUvMT809SQE
FRQ+n/FyqDZl+88IaR2cyq6+phBOAjsBKbf3aG+OAysBIWnONo3hy3FqDIBQ24XQWYSheKAaQuHF
Y2EPmUjCT0aYlQHiKPV3eyzGp1hbgLPhohaUdoFsStg71i8iYvOUIdiyswJXBwYrdqhS4KwpJfBK
r8KYVm8mPcTRhvKh4T2T/81HyDgL/M/FO4+IIu3U4zc+Luhi18YyyKTRuGYejXg02QlWooemcpwT
UAiAINj0BJHw9j7u1tTYtC/T44iub/UsSRdQC5wTHLmByqcAObsoroO+6vJzvWjKzlJuTY1UXUqC
wG8Hen/5kSGTZbkFs+Iw0Jh8jgvM7Uqnbt4MjrtX+ZXX2MWlzVdDe4U5wQCgKbyqqrt07FVTgAlE
9GZJDlPaFMiUz8ZPDovx2OHT8g7Bq1E5NYqVHtWs7w+3D448+OsfwDS58uAWgq5ZXQxVr4ZOWGKM
bjvN/Bb8lfJUtkVzJz0834llTh4mFOBiGoJzcbo99HXkxuSpwGiyIsVxWusJkdZWvWbDZJ3SvqqO
tjmk4xlGCd7ZBN3hXaOSdj1QlKC1GyP/5JxDs5hwXQaTa/7JRNmcHA2Z/reNyM1/moXarN8JZPoj
1BmRPIUUtHNjb1yjF7949bmiolSiljT/gO1M9+zYy3gP+y2FC2uC2EGU+nk0icpvr9PWoHSaOGhk
C2xKeTz+CuJsJ51TEuDqMHph8mdpWyS5tAwVnqKbnsDdDacICMPx9qDXaRofh21JY5lLFSLP6j5B
4oGqoFJUh7jRvPhb4qHdSmgQheVZCA1yZZgCujzU7Wje53GXfe+E1SdHmO/z/F60IWpYLnS159s/
a2u7sgaENzJ5gm5wuRZVnoI4jYlpxqlwTpj6zUd3RI5Qzwz9Q4YpOtD1xixObp3vWfFu3ULAIwgP
cPnjtV5d/VqaqNRO8hrHMKNH31BFcIbVtz671L/xg21+vHqq0kSdj+4isnKFFmkw+MpjYNGHLmv0
Q+eaKZrCVRhgzakeizn+XalG+hW1xj0fgY2J0sdA8Ieyg5QcWV1/yO0kqUUx9lBE+O9pZl/cD3k2
HHRFMc+Rthu1b7ypNs+3jBGgCPHP5TedHLMJqzBiYSc700+Da5XxPdIruzIq8gut7jqkI4i4ZM8U
2MFqoBqlmNCd6MWGhsSXiSW1z+MQdo9T201I2MzKuVHqLAhj2qj+VA79W3seUAEoo8L2qUzE/qTp
6Yfb33njeIOGkCkhf7CnVzlLunjI6w0asofQAN4Nep8FCsCJu7INu4+g64zHNq3+uT3m1pITAkAq
k80V3rjVkoss10s1ITWY8KvJo9x+6yhxs9Mrv9pIAIJwo6DLSH2SQVajJCk1OYVmCytdJgH4SNxg
wwrC6jyoDwO4oZ23bGs8bgUp16/Z0kvhclZOrXe6OjpuUOGfLkuP3pkGpf1WdcsmaJJpFyEsP83F
hmKCkr/HngKUCvLockBBz8DRZ50BdQWujZLHzi8QH3N07PB+TQ41Yg1PoJGwKbVEjeqyHqHgFcOT
0JHmTjrow4BAzmmlt8ZRwUw2sHPumJOVDHF5mj03WfzGQILaX2o1Bs03qeMZH9PO85XIqffUL652
ItMhF0GsA46CZq5r9Qbq+WVZF27gWgqkNB3YKjI6UBGP5VLrZw0RypNhvVr1Dvkog/iD+gANIK6r
1X2j0ulakL10A15wFI2a2cZ3rC8NcQAe5h3mbvGoeNV73uVXZ0AOi+ydRTAAyH597RSLivC3xbCm
NBq7c1MH8wn856M9ReytgVDsoNCHAxiP6uolrRUy6UYpPEjKgMPN3p4+VpVVfL59pLc2Px0WaejM
/caCXu7Fya4MNV8W0Pe603/UJmzTqiGvUINI1Pu+QZ7q9nhXQTJdM8nBZ+PTS6KLeTleGw8j/LAC
1lWZUfcbyq567JEs1vxKr9qftwfb2JlcIqzdy+701lIbExydJM14/CxwhG81Y/kjjCn1zTob7r0y
Lx5zNu9OrLexoFLBXJPqcxQY19X/BQ0zMg3LCyp3hNI2NzboxJnLGWfNn2LUd/H4G7cJ77zsy9J2
kLzNyxWdrawWFXCKQKDxBES8KHCuIFNuhoLUJ0O6PsqV+Ni3FObn1mkg8QrvbE/teIda4Z7ix+b0
ibLkz+H2XmNSkBgKq0GPQwmiGM7FSGQ1yQJrETtfCayT0+0vfBXYsZ1kbOVCt9AhdMrt9leQ62Da
kYuYq1QpQ0t/IOh13mXeND6msHp/ClOod01nuPiMaIOxM/bW7oICaWIGK8OQdVBpcsv0owNxJQ2x
NbbQTX5sEnhyZdF2z0ORTh8x/51N//aMX7orq9eDGw9iAXEWqDZ1de91VPLxNcvDoGwja3mDakw2
fANIjzD2UClzVwWwWxdkBVwv/+Di6jcG06j1vxTRYZTbmYozQ/uDRHl2HWmdqM+h+zEM9akNElIR
vFpi2s6+10d9E2Cj4hUH1hYWXhPOsf5TFGr8KR2xoqDMZyMSbY42krgmwj3H2q5Q60Xw1ivfZMrc
5hA0o1i5j1qlNd4gSzbelYlaTX7bFcU/dmih2r0YbpjvNKiusxDZm5cNEiAZ+Lm+gOX/2haLGiZd
lc7oSrWLjbwGgop/7LAqHhqQtYdOF8V3dGhQ3Rq8+l4TaeentTc95wotEj+PlnrP5WPjWNDLh1FN
jIEAyRXyZnBRAOlmPUjCcvgimsmWj2M6vkkRH5YyyFG0U2i5KhFQavo/TDEhItzjy5PRlHVTTV5K
xDB3ZjAIuqrAubXzUgB89Eelp+Sb1g0sSiKRlmJbAvP19lbdmDSpANEpUTNOzWtzc9AECoW8Vg+m
ZXIg3/Rlh2ttrnpHpKSHdwoaIMVra4fYSjJd1N5klxDIwuWsK3xTaO/WRlCllXiczKbw8a3IYXUO
4v61swO2Tt2XQXBqu3Ix0GN9IOOg4ZinE/mOWi4nZ0h/pm6aHHUtfa1GFRcqBHnuOjw6TQLV1TVv
K5NqJPwbAOJEiGEe43Pt5tXnRaP6fHtm12806RQB6v9CVXEWvFzEZdTbqKptHdMZx8v8uUqGn8NQ
2s6JdhGUntujXW9URkMHhUYczwWd5dVozpJoUxEbhI+Z+8bNMBz24SktiZ8hy3oWSex1hz5ToPFq
WV391PNJ2Xu1rmMtCStH6hwSKH6d68TGa01niMwJ9G3dqm9ELoxnds2wM9Pr8wDiGSk6UMDwK5Bv
vJzpZGE/WudQ9dK5Qj7KXkLjkBlQjEtqQP8Ij1v39tJeoT3kppGaB4ZsGEJRWY2otg2yVkkBuaf2
3Oqkzfpw7IfOfbBQaH8PjgAGVW5nRdAUY/MlpO2AFEIZfovyRn9/+7dsbSoIg6iq0DkjqVvt327p
x2ae4GD1doyTYlXEd0lvq2fplbCzzhtDaWg8kanbELAINy/XeV4MQ3GgiARhquVPZuo+kyKHj100
f7o9p+vWNjwErnSqLegh0CldXbKYsuGKlLZm4Mxt+ZHCV/0pJACqsRh069a3yiqZ77Im6mZ/TloH
J/EOQpGvC9fNaN80le1bNjzYQGugz7/+GEs3VIJDitI6Db7LZXB1Re3yEUh57lKbCYZ6CO8QhSgm
JB306rCzFDIrvwxL5CYjSwAOgYvPVT3CQqyk7wYjKDAQMRBoqLVB4Mekifijm0HdCLI0ar/NuUcd
HqWf6d/CpSkoTP6/QDWnKtrb/PIzr38Rn18KQcMx5Otczl8+PWrRpip2d3F+RNnA+D3giXHCyUj5
1cNT7mA5FLg4AEZIsKYo1dMi+m5nYTauN1D13NjkPSAO1oqIcSmkOGSEDlAdzsfOW/TDgmLD75k0
8l6Uddr4kackMWHHmH+jRbr3JF6JGnEJyEgINB3ATfjeq02aoL2phE6hBmGZTw+q2adv8lRt/7Hw
In6gOokHVjFXQdwIQsBcifTvo6pWd/mcjOey7fJnEDfV96lS8werstJ/b2+cjasX7Xq2KTUP0sI1
sNA1kSgtqkwN7BrzJwOlcFRCWjveUWC9xjRIXU7QIuS60COhBFzuhsUNq2aJcASrG91Ga28CsdD2
cCz8aK4b2KTm/Kkmc9OlAoT6lAoId4i0Rjuh6cYbQHcI9y6pFirrtJc/Y7LN0XGSViUYK+JPepY0
X0w9ST5DXbbfzOBId06BDHhWhwDqhdSI4tXhmV29rhr6Nl7tYhlioTDwVLpOdBymvHjQvam+740W
/BRNx/vb33Rzy0Eo4/SBoUTbR/6qv+LvidnUgowpsHnxfsim1EM95cun1kyKuzlJyxzibhj+se2l
/VpIFSsg9tJ0hfxcfWdGs42MYqQWgcjc/sNUVBgj3f6Jm+tC8Y1ahC0BA3Jb/vULK0Hvh6dDC0TZ
xvd6hx6nUYfxA6w1NPrgXDcfHFO0O5t96+uzA+lFAd/mplyXNjNvmLKy0IJRryIsYZsl+UDAg9fH
XNhJE+jjiFTM7ZluHTDggJK9YZN8vLTT/pqp0jlqbTaLFqiLKZ7xifuM9+X07fYgG08ucfD/D7K6
YzLMH+qZTlSwtLCaDnDMBAJ8XlQWiFj2839ZRtCr+LTR+6T4ePnxQtHy8pc4S6EQaxRHMsFhOnII
lsCcGhpeXbynjy9///oYSSkyxyIGIkCU8/97EYWpKWWdEBInenFfDxgizllnnQaMdO5xJvpN3aN+
KAFf371+YaFQwCiiygFKYTWw16ciczq0C4DrQso0TAt90XZ8B6et29kom3PkMPBISSfItTZnCmxB
sbn+g86L5vabVmjh9DineELT6i0N5KpQezpFBm5Sga7N0WsNoeU7xaHgwuBUgvtY7aG0SvIpdslY
dUSpTtGCJEKrivJ9gyDK8faqbgVuzBDgA/ASXoS1ol1NI6vCX0kPhG3P8xucaaf5CWG1KQoQRmCR
sRkHU1yqWau8HZPJ7N8U+aIr7/MeaQ+/r7XWOTl9PHyOVS61nctp65pAtZf+Kd1tUvfVNRHaIsH2
OMScKYLdVWsJfh4i7h5xFfoN+0zsJM1bd6FkWiHKg1svAtaXm7sfAIBYMzUsdKmhHRbG5xH7tbtw
yPOzOzXOITTjfmdfb6UmFAlpfvARSDS91RxLx0qMUeNaKkU7lF/cbI4fzNZr5iPeTjkN4aJq6FwK
ZfCHpFSMh6nLptJXYvCCPqlyXO3tiY2LkkwUtCMpPenvmowFDECr2HlqECtzpZzVyNL6EzjjJvtK
piGqcxST2xz62hDTOY4S+GiE9inLM+bm11Qr9JHkHKCyr84Y8YA816K9jbv1G+WOlR4q8HDWNNJe
VwrS5U6ljtdo1GxC/ZTn7nK6fTzkpbK67fjbkSRFdABz9hfk/l+3Hf3OYcSFHQdO0or7uRLW52IY
Pqhpo5xfOxKXKjtA9uXxaVo/w54Xtm0f1TY8/qk4J5GLIgeV8h9pM5bPt4e63uUMRXuKzyhHXL+D
cZlERmd0dlA4KuLGiaKe2Ey4JSgwABZFm06ztcw7K7k5KDg92e0DzrYWOWiE6cBZxB6OJ6mngGFT
iacG4J48hKYfk8Kc771G1Xdu8uv7Q7Y9dK4Camzgm+Wv+uv75VjIGHrjYEqXQAfl/UUbZVatM8I7
xdmpsLK7vbQbwTW8UFrwEq6nydbO5YAoSU1DRoEnaJdF/BMXNd1voFf5M/Tf7giUN3yrIb53TFvd
eBvOzvKpq5a9p/LK2kMi+SiIS9scWQVcJzoxpo8TcnE20VWtORm6V1JFKkrnEfEViNaNr+m98RAN
zvy9r2L9KRdSacsKIfj4emo3f9TKdr9bZVr36IRPzReUDNC8jK15qfxuVObfTeM23snLTfchMa3W
eIDrofxzezXlYl2ePqZByZTlBMJ61Y/W4sXsDXSwAkdrJvVsF1riYtynVxTlY0zxgFzP82ngCsuO
2WAkVVBRozB3Yvjrm4bCAc1HShsoKaOpcvlJW93u1NCAvKenLYxGK00+dMhv7OzU65tGZsZQzCWU
jULFahSBN2StCNcM1HnSqo/NWOfKwZSuy7Ugod55dDZHowpG2iVFW6zVNsV2dMgi2zMDox5q46Gw
NbN8K3RkiQLH7pAMvP0ht4ajCIX2AIqqUgTucgmFOku2FeYeok/c77ablschjJOvlY5f9e2hNr4W
oAlpnwxzmnt0VfLqsXuTnhMOWXQb/9KQ1ftcR8lOnLBxrTAIK4duO8mLsbpWgAK7YBwZRKi1YuCQ
UGUninoxTJu5FfZ9gbjDjonH1s1yMeYqKPR04CDuWDqYZkBmmlWsktAOmk893PePVDajZ7Foboot
5DSf0zlW34zdPH25vbobH/LiR6z2jRW2whwXTuSCbuTRkXjvKYnbDy4AjtdvUTqaEGVA5LNl1tgQ
kHxdQU3RDSCS0DkZWfQHRTRcUMos9ooDG0EYSB7qQjLkkQnianVr2oa1l9duoCljbpzrODfem1Yn
jLOnFU128BIdlVe7z8R057RT+zlaMk/gCBNN9+Bdw2KnabW10NSG2cVMlM7RaofhHmi29KjZxlln
/4aMWfwggZ9HPzX0aS8x3hqMs0IWDpiWGslqsJEWfgnHgcFypGPaqHE/ET+0d7q7DDt01q2h8MJj
GBJTHqfVOptRkqSjljqBtjiKdkBqwJ38Jm6j5RCXuvf19nZ9qWWtXhA+Jk8Ich5QWNfLWFTUO1yP
g+pGuolz6TQNfdD0yZD4ep7rz4lIFqrQNpe6D8OlPI+tQQWmBCCZ92P8wYtN/Xz7N22tAN6MRJOQ
CaBdybvlr5BEoGAYxQjyQqwxh3+KqB2Dmp46rGlL2xlq6y5EWYqlZkub3pq95CLpn+SUQoMkndrv
KVX2hxqZs3jndpfbY7XIFP9ll5U8EqzravuEzoLDZAlAJrYsLLNxPFZ/I72LElGvGIbfKoX6PcWu
e+em34gOkBYEvUCiJktrq0fFrIylIBhwg6k23RIlh7g5xUSX5gnfOhH5y2IX4qirdfSpb+ccD+6p
d7SdH7EVanFneBDooEpLnvTl5/Rct6hDo/GC0PV692EZFU0cWgcorw96TfkYK0WRBLPtRLguA1CJ
/MrVElrvkza+Uych/l3yvPoGBJYFHGwNK2dzcJzIxzzX6AJX7VBjdZa0vleaeAK9YtQ457r91Kev
P5oWYavUxZGmlesuSdlHra4N4Llqb8GyyZuwiMhV8bsj3P382jOA4wgjgdyg00lUdblo3WTM1Rj2
8YFOQf/oJEjDoGeYH3GHK3c25/VTzVAulxpcdhRV1hmA1jtZvURtfLDGoTlntlRVdo3ynC0YDQPY
2MPCXB9vaLky5KZoCvZ7jcNRyKw8gLFKUIfw2Psy7w+1VVuP7pDuAZ6uh5LWmNJwlowRSQR5/P+6
SRqRlHnXw95QDL2kbJzx+FOpemfUvffqvcFQFATgystsag1W8+bRxbRspkdagW5p62HwU4H1Q+ca
1em1e4Oh5ECsIbiNNW4+HI0GDRG8c+3QDk85xY8AHTv1qNeIjt0e6npvIDb3kgJDR6InYlwuYDrA
d0zjTAl0PUfsLvWs5Zgo4QJ6yXkqVPPP7eGu70mGk5uCXqkLyVK/HC6i0LYAlA5J8asQKQdE/LCb
y5efc1U8LVFX7DSarwRqyXhVDM+IU6ntwzFa3U0qysfomAExFBl3mE9LB83SFOnf4k1Wqr3sSsaQ
f+Gvtd7g972lfnMRY038Qk31f1OnSt96XWs1cKBw7XlHM2PSz+ihYdnji6rBF+f2Am3EuLzHZHwg
AmS7ct0VCIlgB1oxSjCHlf1sYzTynNE49psBs0J+3niIPKe6s1PjQUc7+W2UIFx6+zdcvyqSNIAW
EU8m+fMayxYv1mRS1kKkeLIxrawkZj1u9FPaFhX1t1q/d+owPaLKnaJLBKfq9vAbDSMZkvCKSlNy
kqXVY+rEXjkBQEXAP+Od8D1IOkGKZP5v3VCwg0C7tfMLmJbf4kVrP8amSE7Uksff+A204N6N4WzF
mneq8nEMj6mHyd7tH7i1iUH7Uvvn+pbUistN/FILTFWH+63x3KOZhRkJiRZjYxQPZ4QmloPWFe3O
oPIvvYww6NppKIjzWTiw615hnnQtVuJIJZPeWV/Cuqp4EtvxoNdOf1goSd4PSbIEqTLGOxD8rTtW
qlcgX0uL7MqptYETDFI0R0ZW09A2SHXn4BWh+2BY5V7VZmNlZW+c2Bj9Lbn7LldWifWkXExWFq4z
4aEzZQKomGKYgabN4QGf3OxA/2+vLb916BiW8BBapsOfqx2HkXPCv7xYke4s7rekrvoDrdLhoA6L
mh5zPY/+oKjjhafJRK0Kirjl+fFc7sk5bSw1vwPxMQ4dlYI1BVUgcANtFOLpgl9iFFjuCG4fncfh
nGnjHtZq4+oHCYAiFw0e2oHrB63qHC0chiI6ePngoPugV/HHKFKrxRf5HD6YnWXt5CJb05P3Ggdb
wmTXTZ2x0tWmarn9G28CkKPk1ddCBRmMZkX/5fYZ3RxKGp/wtskYa3VGKSQPkQf8JlBMMufcdIq7
tEvw6piRDP0PQ9GAlFJYEui8etPCbqoRwDLCIJpTD4VUE3WNoojK2FdSe++93poXbSBs7RFCYhXl
f/8r4IHp3hfYx4aBaUbjcCi9SW3PiC9jo1i4RT/u3MVbw/F6or1ED0Bnr1wOlxkNX2xSwkDH6+1t
bE9ZUOUokROaG9HOOm691Zg08q3I9YHFrt+dREeeZ+gSggNzrNs3oZV0z2aSpV+MWiv/iDBrOrR7
GvNdoiaOeiKjSd/PZmnhUTaJ+deA2UHIfRjNyKoTyGAnYxvZ04Ac/e/bX1yT015dxrSFEL5HiIs3
wFxV2KCYLDGKJPLoFDXiBrkLQVsJ6/6YNo75kehx0PxIxPVT3ajxcljQZjwqA5rGSdgN76wEvUsw
JUBFlaExpp2PtvF+y4xfJmRgQwn4Lz9a1KF9Vi4W4WPkKKCMMucR9oXnt+pkHKm9mgejmvF/bsbO
8vMOysrt5dm4WKDiIsfGOWd91iSEKCkmz0xBE+IhOpzaQRnB3fM0hvP8DtLKXpVsczip1QEDEMbh
Or1prYWisceliYXxg27lZYBpOGFSl09nbVaPtye3USajGCcHwsoDDO76IS6EqneTikVi2vfJqaV4
d4RxEd97M+YFjZHVJTYI1vBJjHn9JXK88j7uRvu+HYWzk5Fs7EIQnQgEU5sHbniF6u70cUCMWgmM
URcP0hAXtVqzu7s94Y3dRG2B65rgmeO5lisg/lG8KNTjw4C/410m4ui9kk7eA0l9HRTgFU89R8df
enTEEm14rWkDATySnEQ98pWiN7/azKWhDK6xAPnBHVE7Ffh1YDmtoTPXxubBaizVd1Ef2TlBG9ce
HDKa7S8gOaZ9eYJ6bZbaPmTMjRY6R6Cp2QEjPecYTvu33jUykZcD/r4k73Na1hWqlqvb4yTGB020
IgkAndifzWaaH1pTjY+6l82P5pwIH8liqhFTBqmij5I96YeNGVNoQL8ebD4Q/XXxN+m8Bh0/Ozok
YtLOfUVQSb0m/zkQrO3d8zKnXN2ephTYADsD0EBdK1snWEQ5wAliZCby6r6mif2ptZX+XCZZfjcW
XfM1z3pPvqcl1uXQeu/Ntoanklvhj6GBKD33kF12kp6NWwQmjQRZyJ9EDe/yk7cgLEwjBb2heMkf
owPWYkSxe7SLMT1XXjfv3JFb602OQ25KJRhOyqr8IxoT/GWt49kyl/SdJ2xJuJ9l0BfTl/0Pc6PS
CuSLcjOdodVglHI7lOQHBqs6lex19h69PHXvq9LS8J8xerEz4NYDST0GeLtFg427aRV+OZOeJwJx
j4OoVf089oZzdiDWHkIrPONL9AQUF+a7p7V+p5nLucaV9KlrR+3QIc72kBooWI5RHR5vX2Vbi04e
A12KZipR6OrZTnFYXdzMSA6VWqGTWSgfBxPOeDeE0c7nlfNbb3F0i4nPcJwBOS+PwF9hGoVMVTgW
Fwhl8Cc77oufPQ7AvuFU/aNXavYHy4H/7zlKvlPw2Jgi7RKKbhCM+OLrcxwqthmGYRkdlBJhvHkW
BKRdAg/fGP9DbAjEBXQMpRzJzV6tJngnb+jrJjpUYynOFs7tb+wYylTWlXtyAhsvHdUwg2P50m9c
NwyWEFX+Qs7KjbTwrRFHxtuqEvH51dsD3W4pmkj5BUjuakKwteK8sZboUCZjhFdVO3jNMZ3wpu8S
da8xsXHfcCT5/KwgjYl1sGuMPfCghKiFYrn16BUjr9lSzomfNN7YHkLF7L/dnt7WiMQL4O051dw8
q+ll5VzopcEVvzRVeHZ75N1d4Qo/to3oDYilPcLJ1ngkeihtSAsafI0vz0AbqWJsHCs6dE2D+K5j
jYGBaGoQi9j9J+vc5D98Ppk4IIQAEwu6xeV4AlGfsKvM6GBPhLhZSAnGXjC0xwpsj06wdcrYKFJv
wkGudb1TygaDw9GUNl5NLQ5JWLWBUyTWh5CX6fWhCJvkxXCXOws28eWsHNHD9iqNHEVjXfhROCh3
aoQRRIynz+sLPdSXGEzay4DyWA3VJInnlIi7Hpap6Z4MvbAfsLydHlOh7PHZNxaQVoRNHgsTgYdp
9T4UjVsA60+ygx7XSBZkPVJMZtOWzf9wdl47chvbGn4iAszhluw0o5lRjjeEbcnMsZiffn+lAxyo
2UQTY8DANrZgVVexwgp/8LNhmHaWUP7u1WUsWR/SO5eCxw2+0xh6d3Foxh0yS22+gKdp3ohoV/Jk
q4iEUBl8QwjmxDfr/Q6eqpd9+uwgIJeeiSA/xVaoXsbFxRkLQrvvtJpU6px7qNdpfYlb57WuhgTL
kA8lhU4eAG1tptjwTWsvHVlW26mxCHJ/9mFSfEIItHuopjTc2TBbzzwtVYrFDEfKt8ZeT/Q/ckNr
aJVpSH+gmVE2b3KwCY+9HY6HKfSK547K4kXpSufYm0nzFhhj+VGAAXyKStNMgqpojL9Ma0z+uX/Z
bXxzqnk4P4HVoKC3fgc1GumtUVTpYUkGFVikAsUlzvboNBvPPPuJ1joofiQv1v3CcCaU6jEx4ZPP
Lvw9RcUvUyc1wVZ3yezzNDr2G6UfUQVPktreibI2DhFFNG4FEiTqwusgA1bKDEgjyw95Pqe/SkeJ
nqKxsR8Tt9yppm3Nk349wC/KCXRtVk+H3jtDyccGA1K29iPZSfZAVKAeqd4bxxEF/yfEmdMz4YB5
uf8dNx4RXmL6NxqlFtkUu77+ehGrtZUyR5qoyb+dZYnjOBsDTsRWIy59Me6B0LamSu2Z0g4zgNAv
//yPyK2LFxvuEyDrrFeHE03nwRdpYvrQxuJTljbu+3BYal83o+r9f5gqhDmN+BRE1RpyT8qToNLD
IpsIVfiIWY+fhTv/mNVpOrul5zzcH25r91A8oAVNhi2pDKuJzqCOzHRComCwym9Ta0WBNqFwq8ad
/u/9obY+ovT0JuiQsc5aVrQu0Q8sFzU/6GNpw3Mrtb/KLi/eDRqdW8POvR2g2O3hp8JGkQZyFwV9
XrLrqSXt0oohUzBDTJYswGunehHDsif3ebuA16Os4g287rKyylFEaPVc+zyUJRU2rezeTSMtg9cu
IFcMQDteFj4USfP1hDSlnUWcLxK5GjsfkW79gQewffEAzr/Jy2EPMizzwesHU0IFaMGQw4FTXhcQ
zdHSmkyNyoMrrTMqUlXhZxDlXtRpaVGfwd3Yt0YyOGfCIJJ3LUvanbvtdsvwEzwqBIAIwHb+fmz/
OIZ1iAmQijzRAZCdK1BPNetP1iT6xxAhgXOOSs6rFRsxzZHCHbL3AuNk/XwPpRmHuOWWB5W+2jGr
E+28uLFHK8rck2PY2jkMhqsyDXfwH3Lyf0xOmHVLlacpDwjgdHSdaVY8w/5rex+Re2+H7Lh1GFBc
kGkNEvqkUNeDAUPr3MgbUUg0Yd/SDyp9jFiTvVBAPgHrPSO9rICbQhu5kZrL0FZEPwglsKQRJhUq
e/Bze7BpVC/6ITUm7zTPen6s9W4+u3EIyiDUw1/3j8nt3c0rQB8P4ATlylsVKCeL3crVi8NQDZ5v
jORUJTiUB6zr0yA0p/mBTT8f1LkYdkqxW9tVqmMTYJF9gB+6XmTc5RcnrLkLusydX6x0/je39KEA
HIlGMqYo4/H+TGXutF5ttBhoNxFtkhqvHuQ0ByYdqYynOsvPUVvM3q/KsXya4s4JUGau/T7u4h26
6tbySuzLb/s7ONSrQSsEUpq8S8qDZ9IREiHhFKoMiL4UVgaQQ8vOWeIlXzSlj15fBXbQLZDCwyhT
yaLs9fqWSd3RHkIpVqn7ODCUUrzMMW5BHWpVh7y0qsC203knYd4o9fMY03OnJ8KWoip6PapSurU9
eKhmUqJFtan0lNwMktw2fnBFRN0x6vBGf1CQEu381gmnAtTI0AKJHqT6qhj11yOr+EGAIsAhEZ/Q
fbj+QSVBYJ+q6PwtVqv5TeYsj0jso5+ld+G/93fY5uQ9fMoROKOKd4Mit+pIWCaeJzi32uOhTous
9mO0E2rfaVoeVCsZnqoxXr4CeicKI3Mc3s9W1J8bM/WCnR+zcbvIDg8vn0cPAlfS64kX7QTlzZDi
1qJ2zpDV8yDy6q+D/CWTFiYXF5tpIm+3eLBQQjmEXSROr/8NuB7xM377ryJxd/0buMcKJczIxCPC
MvW5ia3x2XRnz+KsOf2vLgnVdxYBYvuk2En8pTa5E85Er1W88zZuPM+0f6XnBgsCTWK1GFOqzDiv
R9lh0UT92I+6e8m0YnwsKyBjihEaj1U35AFyEP3nCQrzzjUg77Lru0daAUiFaAT3aBeshp8TU2vq
AamrZS5EoGPeF0yGEvtDr7SH+2t+e8395pvQF8HVCVU6+ed/PpR5X08J3rQByD4Pgq9WfxnqbD6g
r148KDirfDUnW81fv9souCCTAT+adJp/vR62q1ptwljBw9Ok0y8C2s8hM0X5DK9rPGCDypWz2PpH
qBeXeXSrN9okip3fcPONWVhbNr140QBp/Bb++mPmSi5E3hm43M9aAvArS0CKohVQ5VCpBsXxNXex
PsTVnHT4ZLdTeaRAmj+8cvX5DTSRaSySHpBorj70qIB50KcK/cbQih6zuavOjtmkxzhVnPdjn2Pn
PO/ant68pL8HpWuKMIKUIFylJUITXTTUNSKHSlUjiBL3l7A2+6OYi69KFA7n+3O8Jf/K8aQID4xD
kA7r0Bri9mCgwTyivFl4X6rcrh9bLxaP9bLMBwOlqEvn2eMjD7nzru3T8D2Opdal77z+qZpU40cT
dbO18/FvHlpZ8AP6RgNdxhNr0GI2dhlKjO0I1FRxT2VV63jAl11gtvnkW142BpmDYJk+YJh6fzlu
zrYcGWmI33UTgujVzrfw5/R6+vdBl3vRsWmb9gCrPg1mp91DGW5OUlZQpW+OHPP6kBX0b00M8YbA
sVvlBWlG1a+SVLukcSLOFeJ5x1ZvWl+lF7sTq26OzJAyzyb6XqvTePZSKl7NJF1rgNHXTo32XILm
+nvWIfZWmtu+x24SGVHk7YydaHxrgeW3BUFAt5WX5HrWYYlzvZQDDIYFAatzlRjGPxF11+wkRi/f
ebJurk9yRd4HzL1g84AeXB1gBBemUkywKwDoF+dliEFKJjjgfhxHMZ4ro0DXYu5xs7y/iTaHJWQg
xaGHfqO0ida74bVTNkCuLZZzaIz2RS8nXFfTJTl6vw1ViqTd2bkbHxXNR3SCgQqAjFpfmMCxye9s
9A1F1qb4Irf9Aft3w28gbB2IVcKfhjNGD92S7onAbnxSqCWI3v4WcYExfv1J6V9rA6wCxG5LtXyY
tS576xpj/kurNX1n525cjpRZeQ5htMgWzurMZHNjdAShQ0BkhmzNQOCBHUYtnvLeMJ/LKmo/v/5T
oqlLPZawUyJPr+em6xFSOaIZMLCMzWOUzvlDbniobKhle0zaEDHBKSlfS/xi2/6GIlCZ4oJYX8lc
x64Gqn8I0iqeTiEKdI9jLaI3cMHjnROy9e1olcLcQX6W5sqqsKKynLY1cEJaFFLPSdqqz+7YFkHi
9uH3+0v5e62u4iY5LdhlNgVUepnrYnEnLEwYnGgIlFTr3/ZKlk6HkSfFCqC7erGP5mLSnmZT622/
UbzwuxcN2Yfc9MLRx1imf9HGJsMpOjT0+YD+Zv7OUHTFCspRjZ3HLheOd1Dy0PzmLU7xjKxO9KNB
m38KREcDwJ+pzr4a6UWZlBiUEwcTlHdqdZtpmUBTevC4SfvUfOqNTpy7Jo7el7guSNz2Xlv9xqae
7pRUW5abQp70NfzR1uZoMRoizhaog4uFR+fEv6hl5Zaf5uEYPS7dmH13WMnlMpRFUbxPmzkfD9Q0
0dvsnTB55w5h4fmWXiL4QWW0m79O+TShcGGhcuwv/TJ8zAdt3AmaN04uIA9JruT8chOvVoo2aW7H
oTIF5FGw0TGLi362vdV0byE/9rEfD2lh7eQJN5UfFot9TemcFI6QXf6mP2JIDUuwdhQarmb1XL+P
PO/vTq/0nW29NQjuqxTKpbYAJZDrQQqxJFondCKGOO/9uDRtuDFldrx/eDaeFIqRgM+AGoA4WqPA
lrp2E7VTCEW1YbnwSYcHc+mkrkA0X5ai8oIs9rydJ2XjcjDoq1Clkwa7ZAPXU0vNufOKhTAsa9vy
32Fe4uUUKo5BGwCVuJ2Yb2uGINxQvGGfEPyuiivqsAgjjQj46zrJG4B1Zv2+Q5zua4soJHSZtD25
bWS/v7+uG68mZV6g5jR8ERNdQ7FSKHhjBd8jmCq164KotJP36Yww5ICfLupnuZU9qWaWPOfdqOx8
063lBWIHtpAtTuFttT2B0iVa6XF5yGbdsW9nNTrTihCLJAkq486jsrVP2aCSfw+8/oY/UareBKAo
ngKnLO3vfHNd99XU3isEbk1KmsVCXQF7C2/7es8snte0Fv3yAMO6GX/kWrwZJuQFkOFA8fH+x9sa
SyrCO7RfKTmum+gTrzPUAJDHPaWngxVPhDtCU9unNGvFfzgLUnieh4tYx1mLepTISgI6xKCg1RAW
D9kewUwD9nFWtXTnJGx8KbIxLm2aqhIYuTp2/biMKJRyEgwVbXJRmyFUrbbe2Q8bFzJ1PUw8oNdJ
TJz8FX9cjoZZdkYx05nVmpgGw1hrDk09qyt8a4ir5nHObXsn9r8tqeGoB1iXCBVxQ0rUq0eAyknD
k+QOqK/ViXLkdKu/4DSZzyg8zf/iuQf+QUtFDQrCmwr1ALW+OKuNInS/ERUSVK/ePzL5hf8hb1YC
y+sliIsIJFRJLoLcoe2n0+zQsu+r84hSys7UN7Yq0CpePnIu6tVronI6TnpKmWOQLBP7bInO/tw3
qQGXLct3htq40ixKdCYNRw47aIjrWdlpO/ZtbwI2Qk7kog8aKkKaNb4ojj69tZZMvbgNngbI7xrv
Xr2edI6llgjef1Lp43rkpGMdQ4NJWtYcv0R5bRBPJGON8nlhzDv6G1srSkIj1eZ5NVAtvB6sd5LE
6GdnxAJUZJ+zFEa0qhjWEyDa9OH+vDaOipS7I2qlLAOCbDWU2Vh2rQ56D4dSGV9moeknS2I7BVv8
YLTjHnBs4ylkPEc2klCPBa95PbXM04VXaxZCuGU/nCIqZL4yNJ9tLTYuTu5ND6W6a5Alj94qOOde
49sRL0FOXUNDbUVF3DQZ+mC2zKzwI3p3wjdnz36JkPuo/coYiq85/63tR3VTfdLdrNozWNz4pFTb
gHRwVKBdOnJn/3El9V6oQa5jnSMrK/6JTSX7MKve/GxjGL0XuW+tMUUveo/0PG+VaO3WcpPIjEns
MB1/6I3JOi5GNDyneGYfICCRlIAq2bnZtxb5z0FXG6nTUm2JbDKg2i6HIFuc+SFfIljHcebgNJ4m
bxS7/FmQ/UohuP/whNGgpA9KRxnNmptcNlMtEcvR0f0xD9Wo1Sc4+AqWruVer2DrS8LJABNF2iwZ
fddfsjWjiFoSqzvFw3zRShKvHI7IoUtt7XT/cP6mt6x3rhTaopcMgv8m4sAPqGy7yewDZ7DFcWnr
9M2i6OmbVouzH5VjiMH30qb50PR6YKX9pa8Lu/ELs01gGOTWWUbvhNCL/ROXhCUl6e6tv+IevdX7
P3TrFoEfJ/lAkmdprx4/d1p0G6A1snhzqfx0pnjS/TJTmw+ihp6NIIn28f6AGx8BLgNXFh+CpVnH
EaC6yy5LOU6wxfCUdHPxXFBTPjlttHz9D0PBPJKQIVoya3MDY6Te1w5qj6x1q3wwygx8UjYX3FvN
YOxkkhvvG48LuHpWkQhpnXPTLmiK0gJE2LiIVCsGjUDBOf/Ul6mCUGZZX2rQjn474aR3f5YbgRkj
E5ZJVR7ql6vATJ8FBW9r6oPcsJULPqV24BmxtrNPbnGUgBUoKkgYhifZuPLq+uMabGpSjcVkQyuF
XjzabfbOcZrxOLqRcjQjJfwwDl7qTypspKg2UYF0Sm/nxdvcOtLJSgpvyhLq9U/wZsMULASvgcqp
NSPXPCguOS54vvlwf1E3h5I1fnQ2oFivDbNEpFqNlbrsUm92LxgNZMh7ZtqJW+XVoAG5sLTP4fhI
ce01wsVVozxeaAoGXu2Ex2SgXtTFeoSUZdcHHQk0suPVHtHlltX5e1SQy+geSivI1a5ZYlst4tLo
gwHB9dNSONkRRcLlxUWo7gJLwplPdWU2p8xNDSwRq7wCLRsOT6GajydDT8fzoIyI9jlRHx9z8BWH
kq7/nt7sxnsoI3PZceJ/OFjXX7xp3SiNco1TJaLhbZ/MKc9E5T3C2ks/otHoHWw6jZf7337jPaTL
R0ZFBMd5WqM4TJQMgDixzdp+Gh5ghLTfs3SZn9VlSc9DX2SWr4d9+JS2EP2VuNf3DL+3Zs0pk7By
g0Ln+p2a0o66TkzUYyiTe86FO71pI5K8yESep1Hw4Vh0Jd/BymxdI3IfSI1IkNJreZik04VeUZ8P
BqtynyO8TPw+GvfY7VvnCswo5SJ5k1CgvP6gk6nXiIpzWZlNI45aXZb/NIX4FaZNt5NJ3ipsSXQV
6QYtD6nYssbN9yF7BtpcH9QidH10J5W3ddl9s+2ufNGVqKR3aeoHNVJmZGBLQPVqJbBvb8ynMivi
7/f31Oa8JXZPVspowKxCj2oY4yHT5fNghd3J6JS/EaQdPtEBqXaaERubhyfIQquDUivg4NWRiag+
t1mlYEyPl8kXUfbKQ6mnwvQTZOHeJm1lvDdDo3s1dYAQGYQ7RUD8bxDHWU1wSb1+qJYGED31uR9a
2Lj+ZHX226mYdhnpW1NEbx4kKQVnlARWMUuM5H/IPUzm06vmqa7j6TNyI1Qm9NHuJQXVOThNiZv8
2IkOUyxEEU9Z4jQP4MLLs2dW8+S7ZZqa4Al7JI1DmyAsUirlOFrN9B+2PLA3iG0S807qLmfzx8NZ
51pbJ6OHa3FMFTb34uSQp2H6ZA/tq9lLMk/hvqDM9btJv3ogJ2WueqWpe5zKu0vu4Z/cTQBw4r5O
3thO5exstY0rQ+a5MipgY9/ocrVJohQRQ9I6YdU8YRdHLez0T/ePzkaECtxBChADNAdat0pPmnnE
ObPH9blT9Rkt4LHwnnIg7d/rqXNfUiVr/70/4MZZhUhOBY9yARWLG5wtXpXjXBldkCEYdzHN7pOm
KFjhJGJPo21zapQJId3gxUyl5XprmHFeN83ISKG1ECBCMQuSKERVKFenhz4t452XbavUJSNEGQtT
NcD54XrAOTYj3WlYS9osIQApNf46IXD5aJgDzg4t8JpjW5nLjzyZ0jdZHyovCi/wZciaXn19mYv4
n4BVcoBIyVafVTRjO+D5iOjh2DZv87AwDg2287Fv9+n0X8YCN018Dl8Crf7raQNoN0hrWee6iOIi
QB3AehQVioq+oWTTh/vbZ+t2ok5A4R7gClh043qwSWlzZaGDFVTINX1Psj771gBMeV9BrOoOo73M
pa8Lzdt5YbYOo6chEC9LB/AkV5/WdAR/s2V2QTGF+Mx2WXhS+ko93Z/cRmwkTduAvzA9WgSr99tI
esdOWkZJvW48hGOq+nDuLL+eCwspSy17Crs8eRorXKVDa9irxWwPT3eCDJ5e4zoDUKJJCRHg4i4o
4C6Xk1XDTJuNo7F03cPidMtjZxnd2Zs8hWatGe6cn9tPC+CSU0OwDtDuRmCkHacm7UwwBZm2LN+n
IXePITJ+6aGaPMrDReiMij9UjrpzBd7eSGQ8/ENNmMgMrO31lipdu6rKOB4DTHgo08yF+k7Y7dvW
ytVv97/vLXeM5ApdeSg2CERSg1+FD7OST0YqqJFgadtaxxGdiXdagh2rj0Rc9l1tbf0c6o7yY1rS
8i29TP3RS9L4jSyEf6u1QXmC3+Z+LNVwT35va/HpP6BLSkoma2TXiwCQpDQyJ+wpl4QwcYSKIVOL
J3SFVZWIMZB0LT/Bqn4n8b3dchxmyqsSbscNsjao7XDAdkx8wQLPy4rGrxZ3BkAubPEd3KFmBwgh
pGdjqIcf8YKI5ikzFlyr7n+V23eC34AUFEUybsubLtlSAK+dHPAecTU0Z6Hmw0sSdfUXne71J5o1
rxbakIVO/juoc2DvIMpfL/XixJXuJpR6x4LSEwZI2SFusUAD3mLvHKmNrc2MAHmA/GK3rWE6PWLK
Tpvzd+c8x0ETDxGgFtdGQqncI69sDoWEGex48juq9NezUtKutBuTcpDqxS+VKx2XCk8r39h6v+tW
uDkW1xSgIDSKCV2ux9IHJ4/KmvSaaonWvpmssfYuVYYZveqV85dXbw/os5LxCQyapu3qZMSxl6iD
x2B1g0VCGJsvqbGEySEeneKgzWO2F+zfvjVo3lHSItDEx5PH4Hp2vAKJgVkxxU1QHC8wENODVnMT
3J/WxoGXGx5sPVGmB0LjehSzzRSrm0gpZtSCp0PsOuno13GTXebJ8T4ldqsf0zqs9nr+m7OzATYQ
nxC33xT8I92eMbrmogkVdwy8pErOADnUPajl1h7hiqVsx6UG5lH+jj8SA7WHKkP1mCKP0YKkFQB5
i9GIg4Ty2+H+Um4OJf82dDdl/LcaKqvzMB3pTAVGrSJgh3jWYzEM/5h96e7UQTfqhIjI0Skh6eak
EbBfz0pBxUEWErksXNEErSmqn1W5uIe8MbOHalHsJ7MzP0TDqP2dJsnyFdOkPaLc1gckSOFMoE3B
/byaLXLZVuehohfEMJyCyF6Wk3CHdGdNNx4G2nx0ERw00WhOrY44jmlF1eYFMM45Rg8xHMOHwZqL
o1G5/XPXeAIzv45aLHLe58bw9gyItj4p8FH6w+DQKXGv4j2jbo3YGmjY9EuSniYlaw6Q94egsafu
+PrdA3oT4LyMPXiCrj+piCfFLcoKk+oytQLRIMI8WNgBTmbzaroffzvRB70gKOLcZ6tPF3W0nxsV
5B9y7OJvdRD1Zy9Oi4cYfNjOTt1YQHYHhDQT1xeoRKvrpZg7s1SWml4bWcjBLOLmqEwOIoGj8F7/
fqODZhOcoxHKnbbaKqMaDoiYUFFUF16ARO8GhLelSq1LzS0K6gyPmfufbKP6JSk5aIogiQa6cQ1q
aAsrH1T5rpYpjmd+kS+V9a5XxlE7VmJq/rE7M+kAkPelBSUvdd43haNBfRSh83bKcBU5Rnap9X/t
/KytRdckO86TnHUaFtdbKZ2sSLFdboe8nJqTMtpZc+q7EcM2Lo36l22BKQkgB8b6FxGP9rPaxQmo
HayynxQN3pNvprggPE1W7NAmzAv1Y2dMWb0TlGwcbVlBQTOebgdRyepsIWozWWqSUmACF32wKRUF
yMabR6/J3iYNXow8VtplmJueUjgyqPcXaWuNdN3E14kasAHa9nqNKsciL7cp/9Zxkvgw3ZQ3SaT9
rfa2tlPz3RrJkKAXkFeQC7zVaUu9PELRFHPXOsNUvqoogALAiQNrmfbUDzcec5kysqySXQs04npS
BjFXjCgTIWXczG9qbBUIZlsXEEZiROdGn/Hnbqin319K+bded2EpSlINlWA2OmRrAwCH8qqAfgbq
JGIbjfqUf7etqtzBtmxsF0ZxJDyQ6xGqxvXc8DDS0sEE26Lhp3solk5/E4vM+MtLU+ekdGZ8QmDK
PiRepPuVKswP9yf5Gw64nqXmcb+Ay5DVuNWGSQbPzKG9D0E3YJN90UOoOeBswnD2Q6HFYRA2UGSO
Tl8r5jGMq27yMaUQv1K4tzBie/VHU8bNucKo6DSEYfwwIsz6WShZYh+jbDTFyRhjXfGTPBZUiUYu
02NSCbs+zdTEYPlZ+Zg/OpZSHnMj8qqd+d3mpAQSEu4uiw4UVdZFhwxLsM4mPsLrzPuS1MPZC23Z
ypVJqad49KgKnKTmGWJSAShLkxcecvrfisR+j3nAA/ix9/eXXF4AVysudxTqZ7+Z+IRUq7djQvRU
c3rqEHPepV8yUpdP9PSnByE8/eR0bnFQEhF+dop8T6ZPfsvbkemHEdZQaV+reNYOfmU5L0gQzZ5H
ku6JkymAvS7h7AAPzcTOQ3JzRfw+OyBLGAvMxPrcFtSvaqTHu0B1Q3GeJr25DPQPgs7Vp514f2so
uGtS5cMl+F4jQchyU+FhvoDgRdYGYT6WZ9PEo7Tg7O08yFvfD1wATT4yQQkJvT6xfalbIikGuFtu
G1bwtjrzryLTwq8wNMUBP00EENN0eunnxdwJOzaHpr4s8S7gEtZ9dMMaq1Q1Rz7gYscI0+qm79bp
cHanMXqatCRCvarNfTHV0fn+pt1aX1jwdPgo/zLv1TWVKQIbFAGeOIVF53c5ol8OUvLHMG/3xJe3
dqkOThSyJjI/EMSv1zczWiu1vLnDHVPkPhXF+TB5qGUWlpUflsHWd5p9m+NR27UZjWh83V6jJMlH
ph8QqKqiHosUpHtjmljluFhy0vHb49xvjkdqyFrCGOFKup4foVc6jUsiTeGz8UPXN94BimT10NoR
aJN23vMKuW3XcwwNR+pzQ4AFgLdaUF2pGuriRY+8LRIYJ1XBtuYUKzCcAqN3rLdFahfuwfCcnqfH
U6K3lWp24zs17hfWP43H0S+FUbq+m/UujgUlvE3+UP8ISd56dWoifyza9L+Nf0mMV6tDEjppiEnQ
QOHFP3qTm76ECekzGW7+7f6evk03GQsUEZm6dIkGw3r9JaIxKYulpt0ZKqryjTNbf8vMxbw4/az9
3bUldFitaGl/cQl8MBV3+aWpbe++NmSTv4KgD1NAPpG7pvSFM6yEFGHzQM3D5dDrbvrXXHZIS9au
mn+5P+WtvYd7Czhl6TCEzNX1jFFZzKG1tdTAe6N/y1PU9X64DAJPnDDNDl1S7+ERbqIoZsdlBW3Q
oOxKvfN6xCbKas1pG25LUSmfvGzR3sdxuBNEbQ4iy2V0kQnV1qV9jFyWZXTqLsgxcfxsZYr9nE2D
frm/eFt3ILbF/z/KartoGnhS1a26YECB7RAnuhfEiK4ehEjt4/2htr4TNwQVLPqWdC5XMYLbF4NT
0IAOFLedn6hHqu8rgvBvNVFc5Sszt+7Oq7Y1OSoBUhmCOxC4zPV3wlJzKpWaTrNWYykWYkp9TnqX
umOLJvr9yd3S5tgTCB8S6gEXIbFdzQ4um2VNBi9oPExGfLQ6YbzXKeXYJxrc7UdlrLsUK7VmSvAJ
7ubkSDwTOb7Vlt1nnOxmx7fNSsuDGPqn9cBlAVm+1PUh9qu8tg0/UXPtXRoLMFBWrmcP6dgrpj8g
NvFzNHEW9gdkJfWdT7a5gMxGYpyhTqwrcoJvYleW2wWes+jIdwzOqTMy9ezRZd5ZwK3dQamWCo6K
AiJFiOtv5bhl7ZQWEWQ5ZfOxHQrrb+piWTDalnIYDX0vpd2amiT10NDm5iDlux4vVhcj0cKF8XRq
mqXSE8I5RUqEFf6XbYgWCrg5ROngN6+G0qLcpNZIZ9fJwwTh5LF5SucZEowok50EdiOYopZA8gih
GTzpuoE+WIo9mHPcBz2W579CZOYrvzbnIbBVpXkEdlkcx1qtDqPVN9HrTxtJOlh4gyYJx251K7bC
zZKqLikS6EXt243VXTIQkr6jjdnp/mnb+HiU3QAIAgmnB7U2YHG0uTWaktAiSaJ/h64yTnrdD3Sh
xnRnJPltVukFDGYsZWh4oVa5rirWWQwVW+U5jUqlOqZFWp9Mq95T69+aj8W9QfWU9+smqeDq9WBl
M5/OQlfUj5t2/NZ0+jiQXNb5369fPB4u2rUAzsBFrb7T7AnVUhJiNWTnEpwdRvGY4wX9guq29vn+
UPKvulk9yUzkDoGKsKZIT1go2mlOPUXzEjwv9Mo7G8vQn7JstLCN8TQq0uOri4tSN5jKItEHJQgS
p+uTjbxuu9Q9gwJpCZ/60FMRpR310xzCMR3AnO2kaVuTJEEjc2Hvyyzmejw9ht/ioPwUkP82x9Hs
xw94hJsXtpNTwqFqq4cEbdydtGnjvpTS2dwpvG2yJ3k96jKZwqLyxqVCJHbKcbk4eWjOYPyMyB0Y
1OF4/1NubVEaJvSeeLmpA652TZYmUYXmswiqfimPmdOrl0oZ/wHDvddH2FhP2Nr0WTEWoui3JrvL
5kInHEXwzgFojsNa/5qZOarslarCEnDUVsECtNPNH/dnuHF3SklaSR1idDps1yvKZRo2rYzqptaY
Dm6qWL425dVzVZiLVPU3/LSyYvo2RbOTrW1lM4TryL/+BpLcWA20eNV4bY/hqd121YeeE/Os9gt+
JJkWXUJb6x+oso5vu4EyNGYlRuCkanFK+6466EvbvRfeiCY9Ss//1LPaHiMlrfYERzf2GxcUPxJ1
APm4rFanNiajtyqSZTAw41GxGv0hMozQL71ufrAjSz3f/xq30CxEWVGM4+LlHEvm7/XnMFo3puRM
XUBTqNUHQqkIlzK9SNyLMvTLB20uhXnqUy96pDxbaYdRyYY0MOu5/XdwByKJ+z9o4wDwezjjyMvK
gEH++R/dSa1JcKZV+T3x1As/r0uLHpdmBkB295Sgt9aao02jXHrPgjy4HsoA102hJaVagH5FfF4a
Ukt/dowOcKdVxC+pZ+R7APitU8dbSqYB0gV/jfVy43paQHrEeVfAs8ZxUByNLJsOVV0tH4S0I+wN
Sz/cX9PNQXlXZU+Gp3xNgnSLvEGhDvPULBLp1zwccBqq3ebRrYsYAGqUnCxl2tOL2vqQUpCQwjSK
ITfIXLeLmz7vLIHuixn65ijUwKDkc9Y75dVS/exhbnkP5xTJZli/f8ri5LHVaAK2kkFLNG2S52n2
fpreGH24v5JbW4a4GZV3Xj8q3vLP/9iderjkY4ubOsoDdnyxBCKLOFZ/U2yB+1NHknB/uK015IaU
RHWAmuA6roebOwzKYhKOYB5EFqhWWWF9aLQHXeP/+w9D0YqRo6FvuNazKxy7z2ctJlDX2B4TGqFH
UuOfVW/XD/9hJMkYos/EBtHlbv1zDd1wcOaCLmBPlgZ0yku+iwwjAg+V3o/3h9oq0wC8sYGHA/uX
dNXrsbzEEmnuctzgt5TcJpQGk6rzjkqr4UaSjf1p7lzlgJAZjkZ6Ic5R65g7ycLWnpEELQTcaC+D
4Lv+DZ3bwp3QedI1t8yCZsG5XK+d1p/oTB2aBg3r+5Pe2jTYVXDoWF58yVbX2qhmoa2WfMk4hAJo
ppF3tDF88bXRe7U2DwdPotMw7zOoP61L5wk5h+Z2GaD/xSiPFMV+1m7UfKgBfews4lbUILui+H9K
d8I1zJTiYjsaBnGYjVR0kHii+B6ObfVEBaSgDJUsb7wMgRliimhnD22kJiSvBLi0gNhL66asPWXo
AHeUbuKh0L6WVVID7YAac/+jyY+yCuEZRbJ+yEuQ31jFmd0A6MmuqdpAMFAuQAGS74lR1ufaHaej
MQpUAmwLhlQxqPQp+mQnKNvcMxJ693/DryXd23pM7MJjkoVR2zTCJ+sdgg5tYJgiudyf6eZxsGm4
EMIjXvVb1OeP41/0Wqs1Ecc/KSbnEM+pFvulMphBFNEP0KZJ2VnazQGZGmG1NP5dZ7FKmvQL08Y6
XIlSYGqzejBj1QpiQrxgbiDk35/g5laVo4EqlLf26olPrUYytBivKuL8xYuL8DwPkgTKOzxlx1CY
yod06bsPi+ZWOw/GbyDDeh8RyQHbpFoPGEp+6D9W1+66rNDdiEIjfZb5YWyMQUO5bsm+gH9Q9QcS
UgftNV2J341pH9u8znl2zIc4RFUC/x476NJG9aA7AIn0w8wTlT9Nkzr6onF05TibQv3qpsPY+grO
1ObO2m3tQ5tqpEQvIvO9pvOMueUumGbw87XKPOrRMqEkqpj4gXhRo+5xwLe+1J+jrW7KuUq1MtW5
KVuUuE52M2f+kKbFtzYpkkdEDiMWytECVSnT/3F2XUt24uz2iVRFRtwCO3V0t9vxRmWPPYiogBBI
T38Wvvo7lLvmzNzaZiMUPq1vhXf8Gt6ak4AG4EiBGyMyoV6cgSuocPNaAImIjPIVbmjjOYBtakUH
J47FLPmHv8/Jt7YXfF6IZXC+40B8MS0aP3ajI2jfgjNNrmNYRwZlkjkXQOTprKwU3PHWegkX/rnD
N/hncwmkrn//DW9tpFDe7aA0WPQQ3z+fmn3LOcl6DQ6O8/EnFpniU4OQ0sPfn/KalYAzCVe8ndML
jRak8M8fE+FTdmwGmCoE9/2pRVTpr0avMK0nWAZxiRD1p3FCvhGskoexbsOB/84ZVS3aRkinBHrY
oKGybtt4S6aYmRq2utaVK4n9UlI9+u9ykWasaDzKvOxmwuA2lqWYqBEJR3nXzlEIgfmgpqFeqVH/
maaDuYFuKnAQwEqwNd8n9f+s8FzJXo+7YHJbxuzeUoa1IYP+aEzwzpn7xmLE0b7Lx9C+hQpq/6D/
8yTlFXJyJBCXXqVJCZ+L9Iwyi5VRB6L037/aW/vWjq+gQgMujZvfi8kBk1FUNBSoQMG6bqpyKSHq
9XBN+d52EXlAm7XLy6aDK+slT7cuvhidLE+CxuLOSJFhNqfNOpZtmuEK5XGo3FJAZbrsArm0N3rW
68PsMKhH2SDK+Z3a+Y371V4fgAG9t+IgYng+UB6UYTd3gIOHPmkPkjh3Hkz2A07UxaeO8abFuh7f
Zfe9dXWHcwIgv72tv5NCnj9W5kOmWo4buI6H5I7Ma1qjCcLHUgA7gYwYptFQ/q+2r2gPybx1pCgz
TcUBaz369+8f8I25gttlBDwH6Nye6fz8t4D7bnzuC1XBNiL+2XIbHUJFwYWdrevfO2HfGG+ox0Hm
w4kOYeNL4hElQCJCanHCMjXd0N7ElZ1tc8T1Dz6YQzR+Rxr58s5HfuMN8VAA4dhYUA6+7LUingne
L9qjwbWqoRbLEl2SJQiqAq7Qh/88mHvqMfABHOJA+PfT438XHuzfopnquZoTOx6oRGfVDlt0gHnq
e3DLW0O5L2/QlcFJeUV89ZRu6TigbWcjGEaACjNUMwRNp0yCPizbgl/nCX9PI/3WUO5DiKsD7tKQ
Oz5/P7/SrImQKgajSBVWSdeZY2Jy0APa2bxTbb75KJR9+A/Hwiut6LAGbWrbaa74GPFTU0zxyRRy
radleo/099ZlE11XaFcglYFI4SUFvW0DATIAYIipxUrrISOu0CTihy1yCJ8ZYDyZLgKh0K3c6qJA
4zxY+/mdYveP5+WLAhAICEh5f9zMwCJ9PrZJLgNp4dL6x49dHQU+6xNAi+aT1zKHMX9PsU3KngzN
mc4WusctkFKWozEDrTKfN9d5uKEhCAQwu6yTTotawwzs099n+Bv1D1LEUZ7+afGnL0nQlisB25BI
VxROy2j6cH+Il/jTrMPhihVp8w6K/8YsgIIOQSQA1lEcvCScisCBx5IBiwJhZ0AKNxNQYLLmRkof
vHeS7QP84gPskjkYhewycaT5Pv8AqPosizdADlJtLDvELl/qSCcxjMCsms7bhAj1MmQMcdSxI6cO
acZjmZGUHP/zEENStxcLUEQgLOPFRJDIGc3bDfeswDrECSOWvuZR6w5psehrManm89+f9+YYg0K3
y3MC9C5ebFoywLVh87ihx8WSgWWGmh3Ah7mywAf+c2GCG04RY9+CowP2jxfVs9hcGJksRvhQMxRn
hIEgnyvkwXFU5j3e4+u32h+Fh+wGhEBvXlSTMwLdEbyc6WoJpu2YQjlcBpYtx4G9qxN7vSaAwIMk
gtYkTlKw155PHF6gswsLX10FIwT7QWL5BTVzf0xkPFSRY9M7d60/sOjzmYoB3F1GUT3tnaD93f/n
mIE7ay7QRsO7AeOPq8nSVBwt0UlaWqyReyedCuDBAo1vKVOTXIs+KZAtkNBmhgX9ijtEvDaDLVk+
jf0BTlLxVTcy+6ujY3RkrDV9rbctvMHYIYVQwrD5QwOHD374+8x7Y+MFYonDC2xr9P9x637+IkwQ
lwU9Rq5PkvU3YP3xIuCDd5lG6NHKnBhz6DdSnBSCeC8FZcGXVKb6PW7KW1MFcrE/OmhMlZfKci6E
mcehRQhGxNsPmCXtXZfGQ5mv8r0EsDdKPzhQAOQDxRE6INRbz9+40DyOyb6hIQA8vZ22FfBCbDpy
lgMv6dAdeZasN2k2C9jrFPZoMGXD9F1npNfVA34GPPki8M/RRXwpq0gckk8Xg9M1bpIVeTD5ctoG
butVz6jekQ507pPuPbT/jXWCQhPcbACBaKS8dIyRuBxtw5zqqtAUYqBcuBsWt/PdWvT9AkW4hfPw
3yfYa5wAPo5gW0JZi9Xyql5Z82ASbA87UwMBV0AFrhrWCJbnCp2wlpAU0XJrUOc2Uk9/f/JeNr9Y
orttDfJO0ELZqf7PvzNgwU2uEkCc49veAxPdLfXv+zO8+RhIrfA/bhTwi3n+GLXMvWdbga0nUXCb
YJkTFzo7t2PGKBFCN7joQOB6eGgc4NeuJd3TOrZhHRQ9fzDUDuKoGedHz2N6+fsQvLGscIaBOgy7
9P0zvDhPyQwLy6jtUdB0InqCE9d8yBsQYOqQAe+r//6wtyb07vsEoQh8mJCE+GIggJwDMcPDSGCm
w8iTpOKG5vem6OFKR3Bop0DK3nnoWxP6fx/64kafKuHHLODoxC99hv5Ep+qCoF5IMhbdW7SA3qmG
Xk9nLNldKQmiFG6tL+/1QbB2a9PbP4HI7gLemS4V0+QgdO/LJd/WAwDM5ITE5veSu1+9KfoRkOIA
BAIuior8xZvKNncZev/QxZA2n89JopsRMltNuypn3snz5LfmvVCXVxMIt1GUQbi6QTcJZtgLaJ15
3g2ugWp4gd56PEVLPN+kmoXXUxay/+wVtz8Mcpjd7wM47EtLejf3RkZC7A5qZL7uhyitLenzulBT
/vT3ufrqM+JR0MjD22dH0l/1edoAkibUciDgrJY/tBKNAigpJSDt3Jehh5hx3eAfNwv3nlL5z133
2baER2MfBIqH22kKn7rny2T3mBSCACZzmoY/lkjw3yho4fKfOJAFUIXFe1h03P5C7Lb/DDukpiib
TRZ3rNOpO8gB+ZYghjP9+PchebV899+FEwEAI2hN+ADPf1dOx3AjBnZXSOWJYuCqPj7mq23rxqJc
07NMgYKESFD4+2NfbZ9o7e0WtVhSYISjPfXisTsXutiJ59nI+i/TRHkIvBB12zsbxSsUd38OAjih
rkQ3P3pJtEVJoTQmA56zBd1pSDjty5BubVzxKDKfWpCyfbmNroBl2zTVGl6157+/6Rtzbm8RR9Dl
IPIMasPnb9rDlRDyFfwC3/Cd2q/NkbYiKcd8LmrVqeagdQYkVY/v0c9fjzGcfXF3A1Sxl+Evu8Zq
A1mqzYGxNV2+3IaMuI+qNe91wV9vUKggUe6De4PS4lVJvPDO4cVxhZ/RNq262SZnRNv98N7YM9+A
+v59OF/PV/DKMG1A94IbNlj8z4cT8Z7FEifo5SNYXcBGhJnlqo9Mc+7ilD2ydI2uNOnkO/v/6w0R
TwUk8ifHDzP2xYk6SovraQrml5/76NiIEfSTMW6rtt/kOyvjzUdhb9r5TLgMvyRBeqX6aC1AsUmm
kf3gYmO/tm4I7y3J4p//j7Hc9RB/cEhUTc/HkoR8xVCjhUkyJCWcs0k2YT1GTcNhrQ7Y87I2s1sQ
9YH05Hc+45tviVp0b63ApP5lx29NtZNIwTYVnbP2ZCPwxkH/CU6+a99Lo3u9AHE9BDUQyx9kRNT+
z9+y3WRKSAR4B7p/epKJ7dtTob09xbGiv8EuErR0Ls1vk4ln7zSJX9+zQIOEem2fqQE6Ai8JU1G8
es7oDEqPjyJZgsYhP099uma1bqT/0ibZOh4bb/VTSif/b7EULqqIym36X0Ub+w+BAQig79189tW3
ZrxfN4YWaz/OI8JzoDmtwmGi8Tsf9o1NZzccgSxwv2+As/V8tJsQnFMwuE2VJqO+biKiji5q3/OH
fmvT+d+n7L/if+7hgPE7K2GsU+Xb0kPMi3haOjMQx4WR5ggjcPv770vltUp/58iDy/AHXUaP58V7
CaCABDohsNBUH88loD6VlWyI8rvJUP/NYhO+AmwTwliXrvElypy5GYq4fRzZNF7lPIa67u8/6c0x
gB8CAh5wy8GW+HwMBKwe2n7nd4h+mD9nRAxXrs/Db4qOeU0R+Pwe8P3WmkU5tANWYDzBm+T5A9PF
jNp4wGOsJ+15Rae7ZtL1h9146fL3d3vzUTv0CN4KtqdX7SGT+zWjII0pCMaOPp+GC0gIpu7CNf3P
5zO6gtBYQtqBDQJF0PO3ykaydKahM+CqfMjrlHaIIuVsMfCeTnZTWWQdB7oNjtBldKf//Jp/JJ5Y
mrivgd77/Nl+F1tMcAGpLDwtbxdgRw/NmkNSCo3N8e+PggPvG0sT6BVqAdShuK69hDeTGdEZSoNe
nyPZSV+TraeIOVZo4SIwJhaPmhO8ZpPxyJ90uCxPHqFPwLKpJqZMeN63xxA824+kz8gP5zb2UWjG
shK+BWNYu4CptZ6pCosSmZvOnVyYNrZuh7wNTnJJ5S+l40QetV7MPxm4qVupvc54Odt2fnABlGtV
m8nkF1Vb/ys0WyfOiAxKhlLNcvuA9JlFlMDT9nq9i4d/UN6HnyeK6gmdAkm/rnNu55Pzovu6p+AK
UJGTOYOklfWPbRKjhNUR4qsQEj/zrszhDnc7d7aQZwCvNturTzA0usDrX9bqbLgbspwcXcZwUUcB
iwAwxIIxVm9Dq7MT0jvhrxIjzfbIC0/bMytYgWs+nXJbw/1y4pUTbh4O6KZMviYibLcjLESGcyGH
FeCaJDQux9Gp5kHbRnwFlbb5Melp+YrEzlQcIjHKGXpQ+PPVifXpLQJrEbIJGbC9A0wUkpqwZdkq
UkRbeM26USYlNonunyk1nNzSnIePoJgpZHS1OfsYahkW9QITJnhW8gE89TmY8u7RIiumO1ALhl85
pJP7AsUAb0vUxovDH1HdZ795G+NyBP/WFM4kAM0sn28nT5AB4sMJv2lJQ7btQqz2dzHlDRLWoOtv
qmTrt/leGmgF4REGj61jA2stII6kje4IImLaK3jATXdtnjO8KS/6qyYlY3ocKaZ/hRMq+Spsx3+s
UMh+BSexQAY5/P8DdAU6dxq1juJDG6boEAxbB585ljRpAbuSDt2CCamFt0mQuPXQiFzBPrINQehr
uEYSK2i2bjwZGSPUa2rYFzv6MAXzAPY5tV7DLjnmiygGaHgm2d/CsiAEB2K0/EqFAbhseIvw2JiU
J1ck2QB0gzyU9CXilbksqYVRyzm1eUBqs8wR0lcBC10RVAG/YaKEMCzJARxhQE2xXsCn75Cd0wT5
j2QtVHrMGJRC5YBwJVpGIQy0H5dt6t2pLYaNXiaXhl0NP0uRnmLG8I8RsrmrNWlTAjOJTjzQSIl7
NnTSlEOg5xv00uPHdW0DuLAv4/o9y9Dvr6IV3OATQruGHhw9k6VXIWUsBm0Jt00Ey4Pxf/Qz9SGy
fNIZxLaW4jWH3ILyzPmWqoNJGvjjpKQhMJMMGiOOg9MKHiiLYv8sWe76c6KY+UewaPqCm6XnYMGv
iSsNAonF0TUu/Jd3WXfjgq3FLpRxZctkyzU09nmT5OWkdPFxbghmqnCqn/fh7c8bpiEUmSDePrBG
wvN6w3XgaoOlcH5CpDDuk5OIpn/nDg2O0mXWuGpEIm1fkkXNlzwf4rTUKLqn4wBkCtANH8blvA45
qwvQ9mEzzCmLLuAmiH5fD/YfgMXxUq5A7R4LZG/Q2upxvTQpXT9pS0RQuqRn37INs6SeEPWqL7bZ
+G9cut23NFGZqu0YrzgkXbrB8x8fOaglLchYDXQpHk1m1wmsLd43F8L9usEvk8DkKJokboYxXYOw
jtMl8CX4GElwRu1B9cHonqlSCEilq9XBm/ugw4kgq9MHHvHCTDa0ngMxBaWeeKeOMMxeujvOF5jB
z+3ibO36abTnlnUbuy4mseqrNoADQMlzJCdWjdmsvQhKBuRHmRngntvgYnEmbpOqzHlAtu+8bbbh
Cbfb5FdIV44UEsm1uAWFIQKg3nuh/cOMn7MeaOyAjcGYfhtvQhXn28l4RCddY/DhYJ850NBJVaih
M/eObnF7zTyx7KDgIid+ZbHNxq8NHyZsh84p0oDellH4QJyyVBf5z6xtZvqzCZ2J2tIwqx2sPuGd
m3+J+hS+m+Wa+oV8VEnaFb8dSkVZ095NmpwCzraQlKlj6ICWWxjN0GKB5d9LV07gP7mgEkGf9Sd4
7M/8B/yTg6E0saf+FwmtVSmSTzKpzqxJoya/ZrTAdlWFbWGCJ7Mt4fYZbEUGX7FQhOsdTBVb86tf
Ih59IUk3D9cEB0pcwaixYf/qGFHwy1HSnctz0ol23QN4tNF6u23cJQqSowK063IeQyK6WgN8FL/b
wkfTBMN0I5aPsEJvxXW/rSpHb496BHzr0TRfYemWBhLTJ1iau25VMkH8X7OJmwa4fYbs9TGd4yeK
LtoAOD5ZLJQzayy7RzJkc98cRNTHHY4qZRiV8GqIOPmIcQviGsSkaL6naGA2pPQzrC/hYuOTJnEV
rpapsF+GGPKoQxdM1MlqAywN9rpr6MrOJusNvzNjYeXvsfW7heQaY+rfJWp16THE2gATJ4A5Loxw
AuA23W80TuZG1zZGZveF4/bc1BHLxjsbbcacNQL4BHr1iZXXVMB+timLETY+cZUpKdCZi6AXyasw
9y6h5STXAg4/HU+WFjJUMZjbBGBqccuHPG9KNy4zA/MndvCRKpFnWmRP49zio4ClRta+L81WLPK0
9UW3nftxSaKzoOmcXHqxpZCQB6LojjIDUa5Mhr2OFSQepsqPyxI0SCIoGv6L5t42dxJsx6j06Qh7
ukZZl5TBssBMaiYcDcYodu5+3q05as8G1KRyiAXSo6JVIuYC9rXjcdlEnFRqhRGWQsypaYsagYMj
GuR9GwbQYU8IAJkQ/bQfkJ7xGuFkQVOm4TLcgw8OB2e/hN1nbsADr4Q1KTnF4DbeF1PWxGUkSLHU
1kbmS+BDY8sBikGEeQTNemFRBK/pSecbOlctomnqts/iezds81e081dfLQkJdYlrENuuJllkroa+
ZQHRo1VRe4APBhyPstwM4J+xCH8+WIfm55jCdqWShW2ms0v9cIMw0rGr402Ka0PCgN8yyALcwVvG
7y32PQwcmLaf0p1kx0sf9RnFWYUuYGUmNaAxkePvVmO3oC7IuzyaKsuBrFadhltfJRvkVJRTMM/B
d9nPI5pyptCyRJVIVVmwXMZHZO3Z4kRhipGW6zxJWudGYGfWUsGkWoXLjGSCYHHmSY5mVae2Hf36
E1VjlJTo8w3db07WDpQRZCmsJzZDJrbdNSuP+6Nv/OpJCaHBqr7SaTBBfvTI145gBMdSfVBztg4H
FTYF+RlaHXyTGir/CK74yl2CVa+0zEDLxrpquzY/BIiyJ6WDtmdE94dG5nqa0+4csLSdriyS3WgZ
wjRteQiDNQhQeqdO1k3AJn/IcJnT185sboN7kIoMatp8GTHVO5PUSNJDxG44FoBos3HzpsxCu8JJ
GfTjCwKguK8LMaXhwbYaJVmJm7Ru7rAZh/1dtGa8f2jNFE73TiD689DFQovKELp9hJsfG86g6uWQ
Eg5cVpK10p+SFgDbTYHveEoGn2JuJCh4D3Aa3foHkbk4PnCp6NXcEf87lyA8bmovSaehne76dNRf
BmR3zWWuApQoakPvAZTddcxKGregpQLnHn5i1ZifKRQZQRkpL7Mb6Y1cDiIYs38zujRQmmWrGq/i
XuT/WpvMvG6wed4IDee3usl6sLlH1LZjFaZiaOtNFePHFdvEYzIrA+EjQDSc02M7sTsEGsS6nJce
7i8wCI54DceT6HGTbSdKVMbigx9xul1mHuGklVPn2RXOYQ2bQz6hgDW62U3JcocfQVOuttsCCWS3
vdyNpbQmti+xpSpRcaImpGO04/wdarX+AXs59Wh1T+Pnre+H9oSVwD8ymeIfXTJINasN3F5UZpY4
fVi7Fs5htkEQ4SEzDo+fYad8JlG45iUazCuCZvpih8pngpsYLNuKalbpAMH0xoIH3nZph7IqRKid
obO4bjYbjF+AzM0/GFMCtEMbSn2FNZmfyALu0beMDw1H13vsuhLhIuyztZ1VJVh2fq6LZtBBiQKv
/W4yZY5EFZMsIwsi/JPP6Ohv5kSStgICbMzVsC3yp40Ljx8MLSHorzFg4rNJsAuMnSiWo8q1Ha6y
NveXXuNrPQpG+U1osTMenI58eIWlyaYLgA4xlolC6MjNung1n2iCRsKxVxOyIEgB+AeFg7HxweSF
HL/O0dpPX8M1yKYSDm1T93kdSVZUxIukK/tuUvAwmeKCgeOkzI+GDCB44NLTtUk1rovMq61AfQfs
OkKBC8uJyB9tN6z0imuoHatR8kB/heOmo2WTt+xrhL0VzhxDYz8lneHfgt6vX6hP1Gfl8unOjdL/
QJOrGy4UW8dWthYzuY7G1I4nJvj0KYdKDuhni8Gb4AFkfpAlj9cy1iB7r5minxXPCntuzFz8pMz4
+ZQ2zCaPhe6S9KBclPzDSLhlddFNKb1gG8eWmraoVLXvh/AmzYW44RmKqhIHBQXNVcng0Y64q59h
ixPGd3zVZj6vCEjHJpMzMd0Os1/685rILvw0+kXqD32IevdG2nY7dePWSdAGLLnCl9z+Sbyy8pQQ
sU4fRhSm8U2yJMu/HNxMXesBUuEyoSB0oRgSs6gW0SEkz6RgvtzydtD5IYSLYnjPIkp6GM+l9FcQ
bMUT+vbeXIBjtFG5dsMU3C5IlrqsbU9ZnZKE2pOdY4ZSzKTDaYyntTm3Img/EDuu23U2RWY9zzRk
Rw40xtxMa5deMogz0qpZIx9cjxgdBJLvJnzwxQ+nC/qwWXdppjh+ihs1oLiITb93hGj8JQw8EteM
AGhbEgMQET69sM44RHMc9Xg6mKgltNu4VAhEnn5dVqY6JNdgjnYyYNFBRaF8BHE0niqcmeRaaaW7
es1jJCokCg8uYfqhf0cjYajamGkTEKKHdkFpa5Jv6bb14yXSEh5GLNPxFZQfXV5BXrLFH7Z5oUcd
5ZSdUj9GQ6m178zBIoVxLe2IyVRjB8Xmhvpv+ydMeDvVQlkSlLSh7W/RadcclizbrtoV3m5bOYRN
DNwYoa7bzSCY0GWyIBUFV/c2xYEiukkcA4cwuhMueQaGlJR4vooynBBJhHweKu6iFCkRZwSrAEQL
4AWPzQQiLb2nLw/Xke/Sa9eNeVAGwKnDh07Myh+Bd0Xp0aLL/iXeishVqoOb5zEASNBcRd1kfA3y
LexKWNR2vycGv/zSKEHCE5Z1FJ4sapTxvCWwib0kjXftdee2PdKGdiwpBwMnZdwBCacVxTdSZxXz
/LS4GHJK7DohRBZwVEqPDVu4qsDnD/0tPDetOUyFiJbPhqBOPHj8nANqVujaG9ApRGVl3HNAb7jo
YI0WTQqDswCwyYxHq7Ilef6xCdmUly1vRl42YgHIQnmjoELqJ0aqCB759y1Byn3ZQ7Go7xPu8nMf
DJ2uAVmFH7CJD18zV/CkjLZk+slJMl7RJQILl4xt0F/kijoRHo57N6PrffLYQUr1Hb92j5row2I+
dYAnvsEoJH4asfrsaYiUGg5wz0m/TIVrVRnHq741CQ6nf1cTJJ/gfg2yCqj43d3SWOpxI8kA+wA9
c98h+UkQKWq3iFdrFwXtDdEYLCS/i/UiRQziFuNR+LB0fUDOXCOj7SZFJ2CpYf+cXU/QofS1mNpC
HkFoix/pSHQB4nHU6TLLCNO49P35tn4tyC8AdFJ+9DSU832eIPryoJakWQ9JMtOhXnQ4f0yxSfz2
FpVqBaOxMb3Ew2w/BRoW6AcJ6ntxoDhuQuz+1N5sUCpi5mOdnPqtGMgnMfXLTx/lq6jNwGN1DJN1
gGRySPy9UXIeLha6R1Pi/Iw/j2Hqm5qOC2fn2CXswUdiw3KCzursVhKoWlgOqyWYh0Kvw2cOWUFs
tmYrF29UjM/a4LMtzOf3oDQDNsT0MVE5KHBaagd+5Xm1sLQpIwm+/GGbgkDXSQ/5CqqxZYKrQy/c
DwvGraw62D32ZZuLFojhaPgjXOtZD5cuFNBn2BMDx+nTuX8wElq3I4Ba/aTTHgQzsBGNrqBoQm+z
5Zr+wt1mu+QE98cSWII8jW0E7KEwg1h+miJS81HMQSyvp7TR5IdHqOC/hW4Nq+aBJzdMD/IXBSbc
Hzq3Jp+WhbUXH7FmOKBkSNsyXTmCaNElDv6Ne+BmB75oOGNrNa+qQkWGTnyJr98vj1pEmz8aSJls
7bFTXBIU08MBgsPkqWBiQ2g3J/PnIp62xy3D0TM44ESVanT4JBy3ydW4yeFhcysLHjMUBcuRBKuC
iBFiAX1yJJ7vB8gThhJb63RPPC6Ph0Tp6ULRAIyqzaOGvE230Z9WGAPinuDDYTxEvDNfIpCf5wtc
W4c7OcxgtOZNauwpJPNwppuI2qtxp5HgkpOOAmDXIFA64YyAWJqt4y8HHN0BbdZjVFkTo5xf2Qrh
1Zh5w2oX0e0LRZrrUPY0jz+QrOW4D240uFXIqTQH+BxuP1CbDl0VGFzd6hw1/lDB+Gj7KguWfoDb
YTeemj5PPmmaAKyzWdZ5BEO4AgiwgLveYtv9U0c+Peya6m97x4NX0k9dAhHh4h+mZMQVDt4WcOT1
AeO2nH2jPoQEMlDURvmChSDH/EjXhK13NlNFAxqFNwffLdl8t1CCiqmhqr9FWeOQqty2ka23PFvD
sgBq/iQapJ197lU/Ypj8EMwfA1zAvjUOV5dKxohnvpOuXW4S2MakWA3Qm3fY8mQSlz3CNP4dBDps
J+e0vIN2LPNoBCBz4z5uM0w44Myy7KJuL6abVYlTM83zAaUcTKijeEQybgRb748G5LLpOm1adp5x
onwUfopuRLTnm0V0EaAIjwXzD6TgETQ5yHwqN+CZsCcKiIxum4WkPwEOpvKCe3x665XImvPqVQA3
ACQRfAdPvv/JsGMBwIba7caFQytKFFzz5yFuB4L2DVlvs1UQLH2kdsCA2KkkrpKRtnNNWRN0kFaM
WJ9YqvAxyAneBcDrlt842uTJIYQT+X03IVj5PkxT4BOuWAZV4QPQoATilJAy4tQ/SZ2islDOgfXM
SIxWzExWBud72MNWTShlUwL1wOLBTQsYKGpOeAHnMbJaUD6gh3FJOycDYKg+6s7Ap+1HnNEkrHsH
0uoh4962N1k449zZULepOyCUrruxosD1B3bEkbyMYcPjOu0id886P37vVA6tjE2RsxpTZCXewZsc
wwYHu5ZUvTSDv93GePxiU1Rgn4cxMz8G26bp4xDHM1IHTbqENxSRsVduS1p7WBEjgxXF4jYBljpl
v4a+aMIS/TLBb7kM1lszz2ihzLpYvkZNm3dAIGG5h5x4n5d6nNW1zADX1uPItzvBOrt81Na09JDC
1G4qk7iRaNogq+aq2Xo+fCpcES37Z81g5r+u4lucq5FfLG7C5BDD3v9JbZvFjEX2T/Ez1gDjEL4U
NJ/XdaBfIEvFj27HBsHbRcY2Vi9iW0SdbTGTZwVB+XY90H56cJig7iqWkn2iCMJLniYx5qri6D5v
3zLZ6SukHYP84oN4JNWoow34nNUFwiex5xvUS3gV7CgDfPohHSHFmQEmJudpJjG5HUDLX293KPFH
1sXZBteIDGWJlfP/cXRm220iWxh+ItZiHm4BIcmyLc+xc8NqxwlQQFHMBU9/Pp3b7nTakqFq73+0
93ST5rCm6+It28EwhPPbmafRiC0jkmOc66Wvsn6FSEt31xk+gHQi4zTV2/BtSZiMR+W0w48/meI6
NYuDdQ+Vq51M9obFs7b0qpKgivpnOHisWkFRRueNfDH7rfYqeCTLIXgrJewiiH5pCLT6BKKsl/uw
8sfXpoUw+x7deRaJsqaOg95vt7RhC9jY/1jA42XXvnexI96nU7HQCX5f7cpTwI44C88bwd3N21iW
QxUzxPQl3M4OnDqy4EVJXS5OxbcYbIDZfv24eqsrn6N16v5RL+5SmYW4i9O0LYzhNEERqhN1pnwg
7v2Rr6a0du+E8iTYko4SydNm5G6XRmRg3dijPL/A9njsA5WMHkjWoXK+rSJBMELU9/8cl40jdeRI
Lay/z/5+s6F0zzhx9LUXzaATRSxizg2qqMTwYadAvzlU57QIO/t0U31h31TBXD3BtpJqBl+e/zHZ
2MntaAMDYnfyhz0JfWt4rOjyHOLSqvb/YH5hB2kW9fKYlFImFaSlzKy3mMpL5y+dcxpVLX75YcTJ
0Yq9+DO2Xd4e2Ln5wysaX8JxMeftsZpBzzPRhvnP7rfDX7fqGbbX2qqY06X37JIJ2T/2VQ60PirH
ODBOGmXWV72cnr1lVSeL+W4HfWy8Li5LNqYM7N1TRz5LYAN9tdursyCafunZv/vjolfjI2qmzYq3
pY+sI/nevTrXRMePcW2W+imEdRGHyd67OmNP31biS3ZWFtCkyaT9zOIc3MfR2j6dTffwiJHULKdh
gyVA0z2ukz3Q5stc6uC/uS8tkez/fz4kLpAm1Wisob/31arTBVnepznspQWTMTZ/pJUTEd0ZHd7O
sjX94xKOokr5K8Vr0Ru99RpJWkji1R6bMYuG3hlJFgo2EJ7ZgUaoKWnzM+gyVwDzm9gjVly6e+x1
uZJ30E9kJ1I0pocsVJVrpnXRFdtDTjjndXc2ZDgcTuY/OQbNfYPuez42pqBarva1fxAcKTcosu0b
5Cq85mWE2ypRw2oLEswcICw1T+F97YXKODvK6sSBviCpHlg9izlm32eRd1q/TmHztLqL6hDm2WY1
haYO7aU7LFwCAMiFATBH+tx/g+PUEL6hnNShlHbPpjLbqo3lovQXYQwj9552mqNhzMXO8dq61Smq
CjHSMiodvgfr9sA2ShepXzB6nT00uFXiBCv42NjlxBeBo5BHQNaYdElgs/2OqIwy0nHdlRFla1xQ
iEicnZfekFh/Dk0/q8e+ruAjkZWUYcxior6Yn8UWs6g3fmwFjGSp3LruRRJLH17EGrAFGaNHzQOx
3E6GC6cd0l0Gq7j3vF61h6jIQwAUTxeXKDLq7d6gIfK+G9cd/e5kQ+G5usTLPxb93J24psz3zm7N
v5690VxR3tSpIDldS1V4Y9U8b0aua8L7Wk8dxsIZs3yppfzSsmGIX2rPfBynokUKryV+W9ceLPBV
YxuHOOxKfh0kAxlnAkRgFtzVa1ziudzyta7cxsqmOYfLYryZL7DYa3kcLRfabrcK/nQxIsE5a6S8
RuJv7qTinVToAYZzW14KyKgxadpi5h/kCzS8sxOYuLWBqDJm5tUHw6cIL2bPWs/RVntBAs1W97co
j/1lqdH3pwW+oPDUlPgwzpUuvI8efvJu3aetSzpo+oKRaV6bbFPSMOKGZeLWdWGp9xZc5UPu2+4l
xnpTJyyh30xpXo2kEmEjF/2dAUH92jM2ue9sg6N6ch3dB3/B3UsUAkEFedMCCOm0WUsLjAcZIlNv
sXbf9TyMCqPtaDO6O2Z+zltBoty4YY0/O5am2AQNJ2c1rHm+/fONnT+4sAS9ItJomNedcXdidD8m
q1EfRVkVll7Aedpu9qlpVP0qir76XczwyES4dAVaBStadqydUvyF07AgGHa4uIrjXIdjtu1qslOw
AjQQzOMT7TfB7pP+GU3RRW4DrXkB3SCIo1oPOdHSKfXNpsAosIdB86eDN1tiXYFCHazWWvbLVtfO
YaMAfsHuYveph/Rdndk15vHQFJgMUooK/TvbvQkPlpKzPEF5sXHDeaWGKVeeNJOGutPh2m3ERICN
UUIXd4qjrW/QHJyWueO8DgdfPiHk6d1n0+b39NtXe7OfZs7yMB7NpfRfRajs4ECsDRS2JsSlfIT3
4KyDWQaEs0fXjvD6kroWF8BcvK1+I4FZWmsFeWucD5gjrv52EsXw4a8c+78at2pYQW93Pve7syVz
NI1vCP7z+qBXQs9Svmb1q1/nYH6opGmLMygLrH/7/4+ym2Hj8gtm1nkuKgexgVa7+IWTsOzjutWY
7iJVCJJ5q0o4uLB3ddaakecms67DxO5z4oBG8lg+XaAMnix0IW2iaQORmdW6XFUB//K/fvW8FVQ9
NN/8Tlc/5laKIkZvYn53Y+CXl3zoKaGDvPOnzNqUeluHrf0bqmbYD2Q8ifVeze0cUXoW9qSJOiXh
vftMfvCdZY3Fv9YYwzIhfI2AR9yM5gs7ENpzAnKQZaIk8iBqQ0RYwrMm7u+RI53y41ytB/Lhij8z
qqi3CRX9ygcQlp+Gbg8MObiuYadDJIv1twrG7pUu+wh90j4WTUaBtY2uoKz8tO2IrCdPpO/JKjKt
Af3A3kcTzXruXlb3YxPYOhY1yVupU4yA9z3Q5P2OEABR0aa9f0huCQMmkr1/p+RtIKZkCLfX1leW
FXP3ODDXNTGL97viSEyDffJpMAUezh/6YQTiH3ttBAdF0uX6e16k6SaLGGbzAfrd6g+uVHt1sI28
uYajtDVIVcMtlo9kaT77q+GjBx62tb8T2mBkGOrBffBzZ94OBF9NZbprEZkHjjdlxmXoUVHTQ9cc
ulANezqVqNtu+Ox2L8PR8rNlW4h/rLpebQdpCN+H59uaD2NBGQhEMPOd1yviv+e8CiIO7Fn5l5w5
4TV3XLReToRidQGnwXaS9/6aRdEQXBlDui8IL2d4DMdanCbT1uup6/mrScdo6kfL7RYSzXqlroas
g3/+3jAlQLiGMoOHd68Do+8XZAGyfVwyCGyIC7f7pFc6CGOvRABxzl0QJqMg+Ppv7ZT7FgvUIbCj
q9J1ypSJ9GXcoUBUOxIb0vdyMcmVJdvLMwsRQniYrEwxuhtmUFOh+j7Qgst9TcHOxCTaQNYcpNcW
iL+g8196fEdeMq3O+JNvHGMXQROAneZWYy2pum2SrLJiZrDOi+o6j7od3qoaqd+9QT3f201Puseh
u+0nH1R5/GKdHb+halvncWpy3aaoZnLvYDC53u8dPGpircZ+X41auzF6iMiLS/D9+Z68qOG19DyK
xniSOYK2yeP4o69XPXa7T48p+outiZd1a3/77ezVd9xn3veaz9XjRpTOWzT2Ppnkm4fQHblE/U7u
/5InrgniipLJDJ/A+N3pofS5eGI1lJEfz7O//OyVCyRPVk+xnxq7rB82U1SopODyATaGETlE2Dfh
HUO6U6alBQOSbn7Rvq0LbdkZIRGDeRXlwsnDLjn8yE2LazvkBo+k5LRPprypM2uipQUCEST21yYJ
2yejiqJnEpXy7bFb93X443W7vs62s4RHhvvcOkz5tETIF43o965qj4WQQgBQJVRF1p/AQSZ4qBen
O976M7CqtU7J6LdGUZlwFK3jRTiFnmAPCL1LFr9yrsrw5v+4dteNHhmn0wd7srpfhdhr9EdjBKQi
I1MXd6qeRxjPvo0eLTX7brLlIdQy+WCNfSqiSb6ze7dQ0roqrhwCPaFsyHu/1RaIL2cpAONv4Ngv
t+3LN5F3TpAUYEZ8ZlJ8eBjrOszysC6rQ7CbxXtjlp118ickR6iHmpwMLdVxoBZ67F+gPqI4X2kV
RkQ6OoBPI4JWxoew/GzmqhkPdRiptxwjjJ+iGPCe0MUi5LL4fM/tSP00R0Uh2ngeend8mFuj+AJg
pZHXrKqOlNFIccz6RT3eOe6ut0R3FRmPxOfpv6B6eDhHIlebZBYQ3AeS0lafmBo/Gm67SGC+1HPT
2cjVtFUSr260j3tUO58z1gr7bgmt9Y6lzeZO41ZZjra7O/tzDfj1nwg3bSRqDtgqWDMLP6vmJfjY
yZUWj7ra7YINtpFf3mYE80H7fCWcsdXOVlKNnXkItmAC+CkbMZ/EjOUWJYVTnMGihcyk5YuL7yA6
hhNvuFKbbQPl3/fG/s/QbmQci6Yp+DhRbz8IQGaDp3QdVLqXxCMxedn25zY6jX9E0r+ebJaA27o/
9E/hatjlYfQ8nswQEdYX4XHAomvhSFTjTflSDUFRJP08e39aP0Bx1NLb92610nqtamMxUMn5pPus
Eb2zSR8wemRGO3lfwTI1f6rKWj4IyfD9xO/4epnTjB0ES0RLPHvB/m9BajIfbb832Nrk7Nw3aAY/
K1R8fbZC4wSoO260M6TcjKORYm2FtpuprZKu2hLEWQVjsVTNZcqDVSbDaIt3SqKsLVmJkzGOe3uj
/OkDWp5btFFwJ3nQfKDgcTvUCBZflF35HpQxe8RT5U0FPa9VtP63mILTxkAOcJ+bKCyzdVvDNQar
Lb7yejYR0BqeRdqU07RbbAiYd4ZHYqVUUeH1ByNtP1uEjEizJquhg8jtiJwZb8E6JwDSkVPeGm1Q
Q1E85zzW6MorA6BiHGSIpMX1JUnYs2Ofytky5am3PH31oTREMiH2CWLCU7SISZoZhlueSLDEhbdB
utBu0kZPQZ0bL8ilEGUU4yTelwWOTsYLW+sdUQm1RF+1VuidJ5N5t2RUhDgylHsk4trd0mkIop6/
sEBOh/6h2+MO/fAUl0OuMsD/AcIw2kqXXWIplt8RIVR/hJsHf9EDBRdn8ACSrZW5Hp1O5UdpGM3l
dCgcbdvHgO/gLYgq2z0ggpvPM3E50yPtW/WftTdK8xExhrfcjZ1u5mtpqfAZvrOTiVoG+0mspJHd
LZ3V/pbovZFcuSaVcq2xzo/0GvprXM9OdY/IZOpph2+NDxjCEskxGvXEVj43hb22zXOnjOB77aop
+oPY0JkygeDchc9cxQNaecBHNbvRT7eEwEoOyrLDgLGUghC77kjyWibXONXbInb0q9su7zxSevWx
Ha22TQfUhe49ZEj+NIfw/5kepAKGd4rczPQoIPcNPHGUGzgVcBBb66uJ/rXJWCz8bNhKU2e3xhLM
IbsKFxRrM8RiDekmDzpECvKy9LP+KsZuuc5+WKhszucegsAf+jypaP3pDrXnuiABi+EMRAna3qVY
kf7F5hh1VAI0nD4fq3Tr4Zvwd+65re2Fke7I2uoHJ9xk/+K11apjUzEsoNlfaiueaz2nfs+SG9OQ
U1mxP8FokwqO7iJTuRXAxCiveSzCW/Unojgzo1PFxgIxT9ulkAtHPbkQSMOGri1+KjzSPkM38MyF
58I5yFVyFkLAKhvdcc8VTkR8sxHG7fXfqx1iN8q7dXATH+86oE+4zCW3Rl/379ZkA+uwqMIurjeb
ASryfmqP1Nh19SmnDvuloJi3vh/capbM1GK9oHFRHxvh6petKRwLwKriWDN77JBQUtuqrdR11tA6
0GoTuA/hvJryOFnzKk+qq8wtlROTMEgTQHBs0ZbEhY1x7tR7yLixGTs1wqzOqr9Zilx8RYO1jger
QvuCCr+khBWlZXnxGgNOqAxKwZMQOvqhlQS5HRCiyYNZ+V3HuhsqfpRGD18u3sWsV0vbnSNbwSrz
RMCHr/w2xudRFQgxh8ZVD5HitogLYyv9GOHokF/DxSKTpM03N3oqI8pwDvVMe8FDsLALJVR8RITp
NUUrGTf8ZklL7bON1oiX7qGbu+7IBjs/e7OLPq1wsV0TXhTaw5lja5xY1brubxgAbKG3nyYO8j0K
ZeKhZsozj8YjdCeN2VnnGXSCboiQk2ShHextqJr6JwjgyQ4UqPHyBv04fxrA7A6nIQtfjAqz2LIO
qRktdUqMaLWspXm3q3Its7Z2TIvERS7Xg1EqD2K6X1ZuGllQHe8LFX7sKCcYyCO/BP0QGmn/im6A
faJDmFshzwUyy2f4/zI063Rb8tZLVm9brgQ+KH3Ao14Nyb7PGwTBMsnmQUIeqbiKbNGl9U5nbLzz
vWve63rTKeQrWozJ8I3jwqm2ZCN1OmVW7u5NY6DX/NHViwKdNlSZx725Lr+EJ4fntRsm1kb6T6tE
Ib33oCzxyMReW1c6ceq53c8rTzNgbrvlnx7/yyfHCabXdiRi5iD5ImAMgwWh8dAEg7pzQEoeQLJm
0kXdW9iCzdVxHda9FllYqoB4/63SuG9QPw5JoU1TpDc3P7Qpp+Z3gGnAOfhqWmtinW3BOj5rWnXC
ji7auHI7xLORy6GAyLDPWbEXRFE9GpyZ0JlWvBpLFQznOffMe2nPIdCahYtxRPcIduB1jn8xA/xX
eBtW8UKh+wjDFsjxousl4KUGpfquc7PzMwBo/l1ec6kmgBPT68TckcfOFFW3aCIvPFTac+pr4Kn5
dZWOqX8Jpyzs80QdZfQtF1+fm9EZDMj6vDR/Npiy4VEOZGKlqN9dlUxW3UzH3Nb10UasL/5aYb/6
/0xl6i5GGEBUqrBHizrxsDefqEoAqFP76L3ug9O2Hz5r8gAcWw23R32/PTJqa4HejSE88lM62wkn
xHzXOG3hn3ynsRHZBnt7sEDE9AGDbtvAPRHQeC5wOGk+zwDbngPafRaF5GwxUNb/k4Vr/hA6iPiI
2F7/mmNfAmrfbhnKAqgpOs4rsHYyk0QzQdM2MzJyU7i/QM+s4aAC1Wlo2MX7iSaFnQTZJOppC0H0
16SU+Tsfhsh/GJpln3+tXHSfXCN7lLo+uXUJao5CQeq0/jfOGGDaAbdz9biwsRYHYfXNltAHboT8
Wur15CroIhRRZe2nsu/BPeSozNehhOM88sOghGRhUb8aJMFjCpprjwebziZxYBFo/o44FcU/w8/l
Ty1RcBzFGDhT2tEj/OJVsG1i2Nn/HWATb4JqLrcPk8eaHuGKfuckivb9KpD5bne83b36qHSAiCte
l275DUzST0cXglyzoLoT9YQYe6b3Zi5s8TIpz5uZSn209e4etf/lrWvdO8MKRESfGQa1NiQnPi9W
0GRrM63tggSx2ROxN/PLFEiMHtyd6510FznHm9EikYQx5F0dIpcT2Zkbzp5hnvyn0m80UnajCB9G
p5vC2wMzwfSY/i7qpHCGqPxsxVaImBGS4mfYG4uUoYrfBolQxaVCUjicpyXo0bKPPgtBHkrmUCq1
BsZk1W5rarg4VOJwtoaNicVhtuCHsJ807NJ0XCpTv/FyDctJiEmYx4KL7wRThpBq6if7gZhTa/te
oA/yA18yQlGX0Gq0TvOs7qOajJPUCtiHzhqXoYvih7bbWHfaRi0mrH3/b3IpJrzaFGHlxwWWzr1X
ug2zRiy2ldlEpf6sGNUfgJoQY2sQoIMnbkwPX68JaRys/z+KxVKCNXfzv8kM9/d6QMoaW8Ncvbqk
Xq2p2YzD1djcrTtKvwH+k8baksvrFWB0zs6Lns0TeoGUovpOJ7XlevJbBmMPBmn1+T9Alhpzid0v
ddaPOEaSuuIhY8Kpi8+yMSHRmFnXKGnlDt4iAnDnpOgQrNytGzjR3I6gtNoSJjSDApdnLxRtcxJw
Wc7TYKz7FZOFdOJ18rdLw47OlUyxOLf2aJZTvGOwZlpzW3yUFWii/6gXTB4Y7TgQwt42XxBG6Ca1
uJ2Dh0UNsj9vtFpiLSORzTqwX+krM6moY3IGFh6DFSMi2C+Jx2i4ImdO0d+abupNQMZpPRXLWygY
me+sumRRclYjvyjuS8IK/PmXGnM4OcdHaJOxYiNAm0JOiiw3bPPXOjCixa3o51cPQ94TLnjwE7nk
zZcxLfmbCYQMDrdNdZf0/VD8gO2xTdWTMSMiYyb4Yzqgq0B3TPJQrs321O/bwkNfY445hqY0/bTm
bnoGdvGAt2ecu8cwzL33zRHSeI+EkzMOt0H4q+vU/tkxN6Ky2CumrsXTBHaYkqhlYzGRFg5WOz42
PKgNUVG4H9nLVr+6LwiAgDPiZwKUoMT0DpTEMzN3Ds35vfHaoDibzVTcfj9tiWWk1A4DLJMdpMgt
yM3vg+oVMDKvTtKsyy/sMaYGh5MD/KGHZSnjjJDyKlvTe6RTp0I/SlbhW1tL45NfjdwSZHLte3fj
dJPOKYK/C9XJ/7rBZLyfHeV46bSHQ/Mzy0l4txPUXjtIY2W+DzZVfXdom3f5Cv/uFZw8Uwh2I0iq
+iELGUsvvQ89468oLQa12rQTQskWBFmbQZH8Etb1JQ8WR78gvXXu5oG4RuLjUBacpFRGf7JHgHim
13B2M1CECsX4imIIKlVEMNKD+z2ZTsM9Q3AWwW7lOj2RhYTBU+BIfxsr0/zjjMV2NxZWDajZwJ0j
Edz1E65f9YxcreiANciWeXZLt3+vOtv4mNtmcJKZueNqjaaRn9RoGA9oPPPp3Zb47lKSSpdTNG6A
2Ea7iBemRKfn11csdoy327yEfRcgy414gmIb9Im0AE+bp6Cdg+7oVMXWH92tX/ShEDPy0FBNnniK
iMqpvpwuGqIrwIBeHoaB4TJV2j9Gxq1lYrZ/u7uwX6F1zJGZe9y8Y5mbdnUaMTZ0N7LL/jdVVQ6G
qsT0DDxWlydEjdW13valfAJ8CMu42v31L7H/HE8lRnVtxIT1VXPmVlbQgdPJak/GPOCGlhJ3WKLc
yg2OmwZoOnmtF6hDsznusZ3oUM/KgnaNL5vsyDLpJzHAOQu0Y+BbQAHpvIUYvFE4sCKm29qV9blR
c/+Xo7t4253JWA5WI6CqlDPikxE0Nv8zmMIvyOa39dIFbL2JW61BeZit3TmstvLqtG9DEWa7VVe4
KTSIfVPzvdKfwg3seVu7QPO2FkZXK7ecMyb16hcakrDGZBnCFTIA5f2bsRnyG88G9A89R5pMgG1W
DkaRAZ9n1XXdpSl6y8qCidrD4zpi0/4grXudoMLAsOHuu8pniPdcBuVmQx7UuhGPOnrQPwXouWZl
lzX6cvzKwOO2gTgRjwGS3N6y+VEGHVYZfQXKQ3m9RAVYmYlPi3F0/oRYbH47XAIWDxgLNSJkUWRe
Ty7uTSEQvEFDlI8aUw49FU3vdsfQU4hvF393oL5D5d5bTOb/bBlsVraH8AtxT0bMn5H1vjxDztV/
7cpDlVgsy/LNIaI0GnvG0AybXPdfZVVBiM+FQyfG42YP8bZjiE0b9kKcPJ7MIZbdKPiNTbYlE6Rq
Qwsmqe2+gwC79ADeGiSCge+SF1NIcdrgDn8YBdCQdavrRQRcyE6eHZQSL5Luel7KRmsPnLLu/i2z
GX65M5YHQpEgde1C895HhsvNqMZRhcdhM5G0Fr7U39Daoj8hnvMfsZ5X23WfkJ6cWOYhGImf32dc
lJP5g+8McAyfQnHXmnhJEEJaTZPo0tHWAQMrpsxg8sOLBfrWZM0eYTUkfACNn2uF9l+1W8GveVDz
IzwtELkM5fI+8R63vOV+e8EMg9hNzrikROvAWZhbXV3XkcSdbBsLl6OkGFDal4i77wyPGyelRWy4
EhGuvsPKcv+R1lNf9g0/AHSZ28HoYXr8R+Gb8+awl8KWhu5oZFUwmS97vYAy2o7c23SZCQBHr1gg
vuEHZLdFMrE/8VYPf1A8UgQwSpioU20p/8QAQIaC7AzcSMYo0SGSGSnSsnds7ytijZpTUXjSJhop
KreTM+32cl6bWt5Jz6xuvVwycE9w312bFKQOkhzRmfv46RmbbZ2Rk8O7E2zQIl5CMDciBeHBj9dA
6nu2vCq6s1iRxocFCfJzp92Wzq+trbjPQ2bbQ2iSzhcLsWwPznqDYCyxRkG6jq7LX2IEsv5d7fhY
jgDjPOZhbRnDC3FEbpe4uYgupWHcALfcF1eP1sW/JiISk/+8Ci5mGRa/2QSinejTvPHPBLbJ5qIa
0OwXq+qN6iz3odrTHEU/AlcpLSAibC6BEKp+GupVWDEwTfe7jSJoJ6LMYBFXi57Cw1RYS5nWuM0f
MYFiV2StdDFr+6u+x2MJ9x4weNixstsZSeocEE851q2rU9vStcelSaVposZ5ubfzsfqxw8ntvoJS
W/9peCEpUrPtc3nAe1Q+hsBbzXHttghVH1UIUTJxUF8RYzj2H96nNr+0ZWc/ck6WHM6dt073HQcC
hsaGz2fdN0Brzl3tF5U4e3CC17Wclv8C1Eg/Jrvky0TMonvQuxg/w7EqlkPpTnJ9kQi+0xLbLa79
nm5GGc5BdEelZnEyu3aF9SyG8lDZeVekAYrqInNyN2zPYK6yp4074vTl5x8049Zav8/RaE7Xpq7E
JeDZ2eCterCGfKEA4zgDApMV1dRNYqGox5NHIvyHtd6EjyjRo3cZ4uON/TXofxdL6d44aFFNcefT
jpdEsMhV7Hp18V8noWRQT4B90qwBXZFyqejXTvi8X5XAjhkbnGvDORf58ukxrz4VVtMxPbj2+uNZ
w/qmBTUcDJmzk0VYtH6LoRrbFPGYcTLlWP8XDhMLee3IKYbNsglRR7rspCUk9pLlblV2KRXP5ieK
p+4/wxPjhSei50YsRfDSqsrMLzbNBxcSTbRzLkLiuDOUs1giSQiaX4hDVnuKcQ9DiiJKJL+wPSG5
CVoI/3iDeBjjwfZnhz2o874g5aLyZPHYcwXWQfsBjDQu9wXyvCbzqSNdMuIR5D8Gd8+hqSCyTW4p
m9h53A6hexrYgLDRjX2HJcTWhZ0IcVOrdZWw2nuS55Y1q6PJgcGVTffcwkICDVkiRNavc29/kIIR
mnlm9p2z7O2oY2qx6zzbPICKwxpYdlaCXLMXw0EgjsvbPqmx+9LtWU8bLs/NNs7ryoByWCfoqdgE
H0FRsHUlQRPL2rFtEZI0XKblJgi3bW4boqTHADlVjg0Mfaa4Uj0Ll+UIPZBCsy6Up7X0eGYEc+/c
tQ2RLzFxc8PvdR2bt3yUW3vXbHK7jnU+PzIHQ1Y6rr0hmxzd/j5HN4rF2shHhnDHmK82Tn8bX5W3
XEbZRfsH7v/9MTAnVbL62yinGWYHALc9xEjOK/GiAzKQMsPfSQTmWwkD0l04he5EyG1/9Ka2WTMD
qpHLFiGdOJBj0F5pBual5epzX9iVXXnKFYEm5G/18nNo8uCyWxz3MYNt+9E7on1YDN/r0qLJp4wt
LMTIBshzZtBFwVR3HVH6dJmFmccY7rPgdj60dRD0+4/qXFQTavf6dKry/JEsk6m4Byr0SpEMrRnx
sfrlw6gL705h8uZbhUI76mZzl8OIiHCOO+BSgPkqsNsfe6Vh4DILDG9LbFSu7n41pKv8aXsH9Zgx
WdrG007m/bq4no5l53RBxkjH8CMIEahjcgl76LJ6Q5cIQW8Vh3bJzUtn+TerEEY/gaDecJAh3FSP
Sa2RneOBs11Q2omUwXhQevPS4AbDAMy4Of45fOp73KNEmh6NDa3IVdWB/60m5aDRZ0AYDrurI/MX
N5wK7zQ1fDvUOYdvXOpuwB6mfQM9hCf2O7+Gj5GxsS6TkameiTCdzJ4TXKLpTEy8/UUSIV/EPszd
mOgqXB7ByyNerJ65LhtqfKpJJC3tXJBTUUEOONAjOazE8JP781S8oxwtR8JfJmQnU9cTLBTCbmHu
r+cB5y0GwvJpzm31goxowQ/LLhgmZHVEf9x1Dutz0JXLT6u38mEOF588H9V6V8P5H2fn1Rs30rbp
v/LhO36JLaYia7G7B5271VawLMv2CTFOzKmY+ev34iywGLUaEjyDAQawByoVKz3hDq5r/ZUigQQ6
OgKpsqrobnSbJWgnKYhSiIe6n+SAYsCwsMimUD5IgRcAj7pRUQi1uqZ5yFPY8wxWQBvz5Rg3Wz+u
nY/BQoUl4hZOviWHdWAnN0AzYDBFpXgAXAE0rhdhebvwjo5jDtSD0kpOhSPXEfSmWsV1Q+pdePGe
sAlegy2nR1mhkvptCmGA9b3y8/updKLiGAWRLn4NBlX/FRQKmvslfermAD7X+wCevaUzVltwGxRl
NcpAgeLk50AHH+j+E9hoq0PyR6LF86w92CMre3KnT9TCnQfd6fF7TBf062gYZvHZVnV/7HH/hYxF
GkyFpipyQgEv+22G4fRL0MgJVu3cNY8pv9VSGqEFvEkjKIokZLH40pReYNkrjFp8zmfClHv6ZlWu
6Ja2pQtyn2CJHi7yxzhpVgNtCcoZWzPEQSgCudvuoA+JUzhLMy73XBw6OnGfLG5xIJnl1gJMyNMp
7Pk7wKJ+3uDV7PunNKUOuXYcPd7UOY/YNrXSsEacyirtR5nVkT75RdD9VdL+gBCFqsrnhdYao6cQ
j7dciwRdXswLvdNRTu1ZN6TsSG4AttgCuYryb5FRcfF2ItHqmDSD+RBN2GceTA5PuAqntL81OjV1
a4X+ApmGi5cmCAPd9WuSe/ijNAYG+JsmOsQA/svilxmhObjKVeq2W7vAugpV7xByGDMJqIFZMjy3
IL++enQ16AzEESLkTutFahMimBKvkzQZ70t8A56NfJqbT63NNmGrcuyBhlZ590QWn3TPngSfDg92
bp8MtHqeqfcsBP46Ku+DMGU29Eq7M/IcNVY6OJdVK1W07iO2eQgRDHEy8zSQ4QOKhH3gr1Ui/Dtl
thoW+Ajkt6d5EJfN2fFsH7iGGbb3duBJvTMRqnjGn1L+xee23YMTzIKsvYG8uhM6HeUBnG1yMoMo
KNd245pUzqgQIAzVAvldzzjS0wUn9/U/qGwkJ+5Lnx87STn5N3U5DecyDOvmNMSBRxvNRytmTSXJ
pz5C+QEeLH9CnYhGfbmDDABVqMeAKl7DA+mgcqViHjaEseh3RJPFkZv6MHA2aROB0u10CA6Aeipx
a4WCMoAB9NLM7QgpaA/kopZbAz4fkQGlPrGBZWnlq7lwYJTbpSUe6iaAjs09WW4hwEbGuusAKqzj
Zp4tyER+og/DILlkkqwMkx85CVaL8A4mtKt+Gqqv0TSr8gDAz5Er0dbhp1j24VMPE54GpqtaF1OB
Qv9FvYrv5Udp87XJhKBFBLPEW0Em0md687QGWj0hxGXZY+TvIRjWP9IOxWoUPfwpWHVxAfkjgC46
7bqyHx5mh49J5zck04soXD5LaeMODoPMDDnLhf85kKzFCQNja8i44QQgSQMJugyEkuGefHjC1SnO
PMQICuL6Zk/+njxODRf9OgTN1qJsT1F560HqH3ZZgfzKyo9RhNvYkQoeu1wk5p1Z5vIILqCL8Ry0
wh2KzGl2mDBUjW+A3/G0NWBaxUn11KxX9NBamBoKEUHgSXJPX1Lrs4nKmrn2dV9+agZHfTKhUzs7
zelZ6O+lse+quA737NHlvu8MzX3dVemO/m4Hjmi0vOdG5gAOm9EAytQ7HEzVWc5+qDuQG1ls5f6+
L5tObgbIpbulcQvjBSLqUqt0KIpCdRTVbmwH/6OhS+AfsVO02UaB2v86oeHlbTJQwx/BpNN3CuAe
A0rH21Gvuspyc6RRItDMo9awewx6Jgq4KQQtArGYlG10wRJCNBoRZ1tghVFt1smqRZPtZ8/r+jSW
M6oDQJGs+m5grFtzhkmxRUbDCBk3aw4T5CnjhmKtjdcwfPQBkG7qHgOoqt0mKyJKp1wfg1rBY/v7
Iq79+D5PLEqgNX2qlUnXMbgZpq4Quw6RdbUo5djOr8Zz/Fu/bvVAYx4dHdBzSVOZK3jMnljHgeoe
WLw+o61RlN8V/sBfKqA93smzg0QcTCUmRQBtWcXZHrtZcuRc6xtEL+8zb31qbjuwn+S9sam+m9ow
H5EJIA9uyoGKRw7GV0Nh/KnqZrbWOcIy3WkOQjPcU85WvypZVdHRtEWIEDrleGM92F01b2u8iMYz
8hN2vCG0IiLOy14/zzpwopU2/BIqsxGZQFl8l+g9BY3RH02Zt5whleXjzi6hE2yqkDr/VrroeyC6
hyEvOIDA8B7RbICGIUNwuLuZIiPlPXd0jibF4IqWjIMEm4ug4qnzQzJklMdQPBjHZsToTzg+9wjQ
xYekHhOHznRHxTsCMHxj+1DcEYW1kIpL6B2h3mcZ419orQRPtjSK+ACvzPpO2wh1TgK1AS3OzrK2
E1U4cy39pinpeLnQiNM+RXkugjHDgy56vKfcflGiBkJM6OeB/C5WCAEXvx2IXuXJc4nS1knO+7/F
+MtbpPwiGJucK0X6jxJJ90TYxSqVmDjOG2fyzOSrqGUzAl+rkEYJozm/txU2kfuReJgdToUg/4hQ
Z0nVcnaoKqRcC1+MDPT5AaBsg6hk7lFaxI2kAJFdWDKAdewJFn0w+dR3maZJcSQ6yawjedWYnoDv
4FcaUoZDf9TNIh+Gr4+EAvRsGoFzXvOcc1nM842XdQWskXzO/FtItG1xSylafvVqmnOfDPRg/O1E
BY8BDQBeSFzMFSQpO0vmvYSrStWsi8P6uwIAecqhcU1nAG9i3tsDDOJ972vd39FZDe66UqbfRdE2
8Ufg4CAY2YMTxUo4x+QTtY2tieh61/tmU/xPTnDn4mTT5CFhRcoCllA9LUBhdVO2ximyAvE5nbD0
PKTdmHwSZYvYQV+WA4SCNIQx5PtxdsOH6e9VU5bxljeozL8nDYHPtjHiud53bjx9AFmOAPlkavkl
SgEa4jrecWxD3USAYb1wvCsWnCW1KP+jQKgK4q9lJ7uauv9A84VWwscilMAwYBSk3TlV9ujthJEX
+1mQC8HWFTXiFKzGjWlWfb1GGU3JbZ84vb/rEVQFue+i3g8BI+mK42D7+isSoBXNCpu36FCMaLFv
h4YU55AgD7GdEtWWd8ptiy9uPKfPPuKBZENmMH2a5iQpz9YIsG5LbONb29ACybwJxzkMNq0/gceM
kGbibISgtqgxm/SMSAnp9I++BaAwx8Q6QkhovhmREur2pQpTZ833S3tYvuHIZi118TEzksF4AmiM
Pa9KsG07e/hkBltwyATPUI9Il8xhKLID2VyqPzRG3dyL0a76bd8OfQxeIYncrYkG5pcUjFa88xrV
dnvaLNEJBTtSr7GywHvQLsl5CGcj6bedqquzbZeVg6KMN2f7JhgtTrELnpcMxMi7v1o1gsOqXNQA
IaMrfz8DbIxWZBYWmeVs5jYykGlbPo+8SQA/TKPNV1CFCvpoVOdH+FZOkiOA4XXVCnCrPd4TFFrV
GnVISrp+WronKwHqfex1OcTHirWgYAAItjqDCR2G7Qye6UPq96F7N7SpSj8MYzzSlk6bcQ+QNP45
GIYn8O9KWDTTmq0jdTRknyxZLAe8MdzfRdTX4y1dYE/vmsW48zQacAJpIwzQwWmyteHWRPgTSazG
EZ+N0u2oicyy5fn3Jso+KOgkEEhl7MNbcPOFrWZgVeS3hUA5cKYvSQ3OCs27plLhgGKZ9Nxthdo3
V0JL6LUzK6pHaBch0TfbxvAT3Ib7Oy01TGw/TyAg22U5fYABF/0kCqnyhQDfbtQwggRc7vIN+c9I
fzYaw4+lTqj0AuOgNii0sBPabYX+hXJZ/D2ZC1pJAUHf3qMaEJ3hjWHkUIJD63DpaLPuMR5KMrw2
soOHtDbLn/B00K+p4ciP29RssION8pnyhumbuDF41D0Vqg4Wgls+lwYPEUSHz1Fel/4pCMvu81zM
8yNyGigxEJL/gjZVcvl4qqmQY2jUwW7AcSHbM0+fRFq7C6xhAhso2V0PjR0lh9iQ4T25E60o2UKh
P2VuQ7K06I+Va4TCEFRwtGkkK7/tTe9Ytan+2dUDZElLQ7BHlLaGxeRTh5gOAl5C9bnKUKLdLV5h
f7np2HangrO7h7cctDdjW6S/qS02ApgZFmgugI0WIVLYKL9VD2+Kmh6YX85vSPTd+7ldb5GnK9VK
20G+V4kKsY3KKYmcxiTJTNp/s0UF14WzAH6mSm9RLQuzW+RquIrLPkWAQdoUfzd1Rt64ZLJ9cPIF
LcatsGav3AqtEK51Cxh1KwdhWZCa8Nzb25KT9s3Rqv1Ze2VwRgJIgG8eWpAhTVWbi5o86Q0Bvkzn
7exH5gNi0ICgtMqqB3ASNLsblvnQIApGK59E8ZsACZ9uAPSi7oyGLBrsc1CZ6dZIbfmbxdLmukCI
Ozo68WhRt6kQRFwHbpa6Nzx1XbhHmciJ9vApWQL+z/7gJ0XGy+TaXnMOAEcvXk5TwBZsCv85IkbR
h1CgZW0WhfHLFfiZHOaii63dmHRzufBq8gewr1Rl+Ub5r0I7VCbdtJ1/5zmCex8QctH2LupF+wM1
++gXSc14GwNyfHCGEgJgkZnV59Q37ScuPXUbd3n7RcGY7LahoXzI8rkDb2uwnkMCyc/uPA/DKkQR
oSVXmxPszxHDPqbgm8DGxcLhORdT22xS8gz47b4P/r+tOrSZAydw7zIA9wZXaNL9IGmmj5kNsflX
DFrzW9/Z3ldR9ZhGmAmyR2TcofuYWR0QqRI7X56pVA43KGVJe51RnSjFV5pjeXAsy9AftjkFMGed
QGPWO+pdxuMcxPM3S2itN5hWu18pmLPNcSoiU0KCVt9PKBogZoB0C01wgEl3TkhJfEUQYxEqFWZ8
a9QgM1eqDcthqwyZUUOjK7RpdOx3tNbpRQBctYZfzpRk9/j8BuCdecLQrAqcBghdgPfy2vWGMTmj
yime2p64wOizAE/ZfqSIKXw6boPrFcY6ULaSt/6sTPQ3G1d8lTAeHsDxRNE6BZiKF2mBzTyqWEF3
oDcCob+oDf8ZU1XP3BjEgDvKmqgSdVmP7AjOT2O0K3jxQBCAylvDk9LJFnYYFU03R5TtI8B7AWsO
XRF4aFVHD3tcmhIF7V5IFxlMo2G2zHYfATBYtAGajJwrphu8aly6hChStHl7Agg1PGE+4bTfWntC
2hGgjmHtM3PEbymgFGmDE69k/rmTiGiBbmbsBy2bRUQ35zeaat3+DGOkdGjhDWZ1IpYqz8nQmkht
jEP1a5KGOFsUaijq0yr/YKdW1e38SYGxTjmw9pmC4ZxsXLtS3Lo2L/atOQGe2M55bOS7Kuv8Z3ID
bNqERnhxRYuJtzSeZsT86kS3yMYQAQ673J8JuwPbL/XSZQ7jjTvAbdg4ibU0fA03eJrklP1uC6L0
365JvLdDk9TsbvIaqZsVcn8I5fc1/cSVk8yl3BY4SA50G6ifrKLYcZ+GqCrpPPgWVf6kjiGT0xmq
fk5yzkd0GtNm2MTQXvsVumS1ize9JX/loP1u9NSI3wvEKFyZPTkBtw8liFWHzuDCPgK8jzjspB7N
POzT+8Hwu+gmbioJpQ86P8dRQ3+tyzKBIKXDdp/jAIu0qKMy8k9jnr/H1HWQwSu1uStD2TrUdXwH
pGCLpPKHoEZRZ4Wje5MdBs+lrAUzTehV0BruY4xw8M9Woo6MmIsa7lKlg3Dt2g03bBBzfnduBGhh
l2l3cleTXZW36O7SyTdQakFJdhTPsrGb7y1a5GBrLMLQvS978SvB0yi75bUtb6E14eLdBMLstoYO
BJDpDKoiEwgTiqDodZ/8oU0+IYRCZwrxPP1UOXWLSv+U9D/Q6qrLVY9h4y/tlCLYIEBBSwPtM/++
zWREdMBti6pd7SS/FUcQHWCrT+g/OYM8DwTAsJWizvuRI2bbozyFis4qIxX0VugxcQkUmRgGuPca
Zp2iAXuaa8INUq9RpCtUeuRP2QD2bhKtg7WVBbwepa29D+DQobqASVLPoMujg6VjdHl0PkBKTlyk
uXGgMwGHIF3eAt0ZfXxHtRWBuzDtOi3uRF5ZP0rQAdVRIR2Zo1beiJ/Yexj2egoLG/JoIdtkL8Ct
3zr+mLd7ZQVzv840Xc7thJ2O2IO/m26lP3YQWMbQHDd56lZ/ZWEYfw2AND45Uo1Ivo2aw/QTd0OR
71GB6pqVzEUogN103UOMaURwSHSaxkdQD8TUwO3ao++UJnJSAMmfxyL2n3309Ylf+n4EAJP36E2b
c/9XnNtE63PbgOPLHFJOoJHup9l3PCqaCHRBSHTxW6Eb06bRHXVx98lQGaxgI3Wyxd2TQneHloEE
NZFrCbKYktMSBmD1XD667cylWFVw7uh7Nn2zk33hfu3CSkI0t2b7k5yBFmKbEIptQscazAYqGxZd
aIfslDMUuSiPQrnYAEz2oF9WMAUpbajaoNMqwLA5PeK3qzDnat1E1MC2A0pNHbcNPft17wH/vgUR
0qJcRjsIjWsBHcKK14yl6q3ohjT7FKI5EiB4PdKGBEWp+i3KuzAQApmONOYCf8oPPMhxuKEc4mQH
2wZXt62s3v7u0l4vzuj5E1zn2lhkrdoSyfXEwQ+CfWbYX0wdyk8Baa2/tXNzzsApwXHb2B6Ajg3Q
HSJUaIzlecQu5XMOKOJ7V2qjoP/nO095M/VIZUDApjIRVuYXBOizj36vJwr8QL0+KPQoUAEsMPeb
TrWQuOgoivC/C67VCdhbGfkoKvYVNXd0sPHV8PzxKe+78Us9g3g3/CQFh9zM/Y2OR2rMtiNiBHEB
eT9lgPGsmxEjAshhhFeLtgBcqz2eTPre7C32xgCu7tNU2SX2hSUfCOAQHGaUGgdAVQiMw8OQwDmN
HSgjxKVaTBEf0aALrW+ubKiZD3h/3UZc4D8cM7SmnUxQqP5gQDGhVjwpP+FmReadOmBu+/dOFsFB
6GBx1NsZV9tulUSTPW1CcJhHHpMuQ5W0BD7dGI77scvdjkcs412qIJJ2q9iqjZRQUuqT7GOlNkkR
ecQnyMTYW29s+2+zN9mfzWgqrE1Da9Zbi7722dEh3nbI5cYT1eMCZo0N9ii/mVxhC+orKmi/RgMc
7jOhynSCxGy1O21T0w+5DeDZ08NHFBxOb3kPAJTslP5t9NQPHjeZ6kI72dAO8inMB5Q7NmRT6RcD
0Y96jW7l5O1wDku/FFEjRxRojPH0n5qchESILpOXuTwwokSto9c1Sub/qSM1DHWR4UTj27k4a3xE
vttmlFAAzgW9kz6AoIA+d23/CFuYp3DRwLAhVjCEHyuXjg6uLgmVPhzS0AcR5O6gXTrEAb9RGu/8
+1pHRfeBfrZF+F7qMPhkdqOYN1Y8O0cIR3EO3aaOitV/1GDbU0FYtwFgk9zQV1CIh7PV091/zIpi
RUVtcBN5gfxJw659KuwkXmInsFgCevLzf+YZRqPobSjAsrECIloBYtEA4koZpMrl7j8wKFslvCDb
ltKK7LXg3TyJFBOeQwKQeXrHFuqK3Zm1+KrxUzyBWsVirfQPa6wGrGMqqnox4LKc58wF6LIbh3a0
D2MXZucZnN23KUinY+u0yc1//9f/+D//68f4P8Nf5f3/s7P8r6LL78uYmtf//u8rllSWQ/+bMN5x
hDIvvA4HohmPW46xCyTmp0B62xjpf+rcC8o6bf3t2+NdsYliPOUAcQRvovwLM8AwmTTeQWRQhkWr
FU3G30bX6ltyjfH09kivfCS5MMCgO8Im/3H5si+/6pBEYYnCFl6z2ohvhrmz9jyow9oxcIlwc/sv
LQfkzrHbuGnc7sfbg7/yPKQTx5Cm5+ABK+lRvxy8jvowhZWPk0Shk2MlYjwsEe7YNWELX9DpIxR5
0uxPv+3fgzJrIYDXWepiLeepGtrIBQM3N131WdjIZBdVbdwhjh//qbsiE1OuY/s2aj8YmV0sI12z
scXtALpZVTW7wlPFBuJquxkD7JXe/pSvdoznmNRVTJf/uq4UF25fTmD1FYr4SE968lGrJPsw2vVv
J+/z2z8fiHzSwZTepJMqLtzZMlO6wJzQDkA1t1mNVAXuLK7XHc1wuJpvj/Xq2DEZx5fKVTju+RB3
X+4P+LbYr+TKWXtoj6IsPVmr1C5pWoAZXmGP0W/eHu+VkdgynlqWiwvGgjn3crykakNkzxhPg83f
owBpbJ1uzh/eHuXKrHD4tBSNCkF5w7lYqrwOZ551n6ATX7J1UCZqB30UndxWIIViD/Lx7fGubA3L
82D6KsujK3R5xE0DVmwuQORlosOR3pV0dWvEipzBnz+/PdSVqcG1tFz2u8c3dC4WrF/KA3mM+cRc
ZPIpqTqaDl7l/G6RK9yDXo3euZevTA03dJB9lAg4YNby9/94EwzcAXgpwdQZSPMe5rAkKgdQteYZ
f8+Z8dpQWFUznCd5YC4PGIoH7UJjQH4GVdAD9i6cgI4WAky2bv32V7w+FLq0y7+Knf9yVlYATwVG
0XKWnXplWLE4BsAJtZE471xQ19aLO4O7EOAtt//FelUWkMMxYioaQAN8XZLsIRyTfeQO6K/NdbL7
FzOjc+pI6So+5cXdi/PHkPWKrVjgjLwfBzvcOJiH7dsm+f0vRrKUjfCILzye7pffEMo/TjoeNPFU
05qfuzDY6hLT+mQM9b+ZlA25UvAJpWtfDBUS2ztmPHJLDRaqeegGHN0AEgYyEN479pGvX2s8nxH5
pLcGXBF325ezAlgO+iZAYBhlnAJo84CGzi4kMKcpj3Ho70FrwHutZdAJmUEpnyZlk/T+i0/rC185
pu/b/qVze0kCX+gR1QcrMGockeCeU7DUB+EPyTsX8t8/64W7uAebWWBpIQUdYMu8CE9EmLclTTF7
XcxF9MXQdHFW7YjRUQXm7E5EWXofa+3c0CBrzrjiiTue3HlLu90/gsnxfk1p1f8CpF345PiAtOjw
p4ckNinwGpBh3nmwXsWoF7/uxfoYBqDVVPr2OqVnERYRXdhgxAgB24st4u1inU9tjPIwsiFvr8nf
EehbH8p6uTPQSYHwMjByg5QjoAd05nL/TlI8W9em7G/UAgugUPA70LY+iziPDnUXvPNbXLu4uPxZ
L7lcXP7FdQyVyElsYD7w/lCaDGIUxxvA/0ckw+t3hloO1av5IqfACQcULOXFoaPsknQQ+Zx10H5z
QWzuacwUtHZRla2QFHr7614bzF4cRkF7QIawLmIeVaWts6jh0nosQnNdmk51NrxE791hzKjHO3DQ
3pmfeW1Mn5IBEYklPevS11jBuCaKwIwTOZcGpV+cCcBjB9XRI1w/Tnh/AUix5A7xwOEedFF7N9kD
udCcYrtHNVKuDDdU2wkgeL2BUiN2NVXz/dsfZnkfLlYBnrGJoopP0Y935OWuK5Y1KFHVAiMH19Kv
geA79OC2b49yZVvxNimiWl4pS4iLvR3MI21YlBDWzSRQ2XXQTPFcawUdf9q9PdKV+5U73OR1t/js
trzYwNlg92DvCABpE+njHBXBsaLNs6aosvQiZLHvGzNCHlIZZ8xE9J/frETVXHjYanNLvHJjHyGD
xkPkrpVRGg+tFNAtxFSVZ1jY2Ze3p3plf7kYHjukC+wu8zKdBi8JLbhmLAug8KEDpbzSFOwovyZo
fhAWvGfUe2UVJc8jS4hft0tb7+VewVcHfU+X2j7oteaERzpygFXrn7Xlq3eWcflRF9uSoZRpEduQ
Pl8aOmPc0+AVFPAiZx69oKyJO1RL4whdcHzWtoMjrA+YZRnvXBNXToMEyORLF/CN65rL3/8jGs2K
scbsFuE918OMCDmueBNElTz/8cLRnUCd3KIY4yE++nIUaaAsD9mUIHcOxKNTVwm9AwDIBziWqQKL
19fWO5fR1aVTkqySN9/0/IuJuXZrcgeyV0QYtvXWQGLsAzonbrKJIZr/ebrCB2T1pC8tmwj45fxa
EidgBQXyheQQoI2IczyMu7e6AuL59qe8Ni8uLV9ZDr6wnn0xrxRR7RIgsruGfuZiN4QWsZFhVtsB
QNy8PdS1B3rZ/CQPlHRgfl5MC+a+kF3HtLB88sJ15Ze9C1TAKw9I0Qh0ljMIUdmgioE8bRp+aQ0A
HmcffZo7k+D87V/n2swlbxkNdO5T17140ZoMjyhvQDUT913v0MGH2o2qeeoGKLL/YiSlUMcC48ND
sdxD/zgUZG/YlfIbEC1a2AtAFkP4yAL7ij/eO9/42rH3lvwMjzV6v/7FO9GMGphWA6SiAvJ7RJ2R
ThteVhtNH+eEjLRxhKjoH96e35V7lCiEyJTXmGfDsl/OL/RQfZyQ0QZVnIXwboFi5JE0v05Ofqhm
FbyT8V6dIy0kzyHEQt3yYuFKyA6+NaHiFMRl9+DFTrLGkWc+oK+RnuEMYkCBcuE7aeJyDi7vU9+1
F3gVlvK+vJjjjCAdGDuE3DPwqmgfK6TNoFhF8de3v+W1yfmez45kX0ruuJffEjU0JxjR8ljLyW2e
xllZJ10CZE1wJf08RH527gZj+vn2oNeOAmVlVEUVSZzjLpP/5wbVhVc7A2oJ0GHGTTkZ01pmBvwA
+sT7Px6KaieVGGqBS+nn4jtisr2wzWgdQAE2NxE1yjNl5XSX1UH/zhN4ZVZUyaE6CY9MkaDm5aw6
KEwQsxrUYpUQuxRMJa2QTCKB7f9+e1JXNgdUP7YiARM1GHGxaKMIgiatzGZtAyi51RhXj/A9C3w6
3x7nSmy2xEaWhC4nmNLFBep7dZEmyNuCdNHqkBm+sbPzVqwJzGl4wk+/t3vQChWPIEYIXvr97eGv
nHPPExJICX0ySYXw5Qf1ddG5oWdzzoU7PHqBmD+C50a21O+LXT0Vxjt11itnwcPvlLo4lS3bv7w3
0y6AcpzSUUyxsdrHlvJ+NwbEzpjGPiImWFTmydDc/fEkuamRgLFtWwjSh5eTRP4Y4X5Q2uteIVBX
ohRxJ+lL79CERNeEPPKdNf37q13cLDyF7E/fdjmD3sWVrbJhokvaIK7Wpel3N8q9H8vF/l140Dqh
Tmk02s1ojGAwzdA9wHGFn3LqjnLz9sRff23Xk4o4wia2wl384rhA40DCKaY8KqRhPWCcmP2mEYEL
KtSDG+QSXG81wa9x3nmGX28ql01FtsILzMDecor/cfdINIZjH2MlPAxxHQObN20wo0xPMFl+sQnj
d2Z5dTjTXzpLylQ8lS+HQ7bQhLkEvGnRAfwEgsc56sw6o3sFogiHzsr78/ktXxSvL4jwJnN8OaAv
F2Xicmhg/xh0JRMO7OPcOfKYuMGAiWbZvjPDK+uIqRtjerwjBKsXz6Nd93GO0xL0T5U3h9iuULDH
3mFjBEF6iCIjOM6GYb1zapab5+UmppLPfU5OQ9pGPvVylpRlS5pHHFV8PcA16RGjwZQ4xzOr6qeM
6vpn0jZ4CEAveuf8vL7ll5El8QAJuAR49XJkB3WhSdcuDyYapls6z95R2751RuunfKdReGXvULc1
bWpxFHC5BF8OZQRWUkWOA8KhQrdRj9O8hV8NzHmuHssAN++3D+TVmbGCVJPA1TnuxauS5l5kzDGg
E2jOxa4kbgTgHxg75HOydz7iteUzKesoqWg2Ce9ikybWCLsjXzRkZvh/vTbCrYP2Dirf9mcav9Ye
UaPFKmE03onllkvl5b4hGWZIXxE88kUvNms6TLgT5bqF/EFVycCpaBdT6XjnSLxeOLIOisbsS66a
V2ewN9ElgfzdrpsmQVYHOsAGIZpqh1onqkO4w7zzOc1lJ1xOy1tSMvpNFjHxxXHQokIoubVbsM7u
IgJqJPspj5wthfIekjhEmr2oGmgCUuSHus6RK41Vu2370EbaY6g/CITVnt7eTq/XWKLhZ1HAo9/M
C3KxncBch5DvljV2RIGeZN4Yn8K0HfdoBcnntoWIeUhGG6VsENxchm+PfmUJFNklUR//wNi4uOaV
J0douUAXjGb+FiKBTLsFo+kJMhNX4O7twV7HSdxCJs1Zzo1rExe8PKj47VSIIuJQIQB1HzDlQmjH
m4dDkGObSyXNO5ZhjqBk17bJ1gWA8OdVYI9DxPj8FhJR9ovzJFyNt1dRdOsSLYsdjHfzo6gze4P2
UPNOkPT6BDEUERkUUh5vJvxyrt3CPUhd8DbWWMA4rqN2H9PlfGdHXxmFEIy8cokNaEVcLB+mQtDZ
ER5fWz5M3QkHoBOagv327XVbfsrLY+MtRcdlNjBb2C8v51IiXIuc9IhG66LpNUV2f5Rm8sUe5nn/
L0aShHg2CR11sotQtke5DOLK0K+HUE7o0yQKrZrg6Pl9/85IV/YiFXOSEBOlavrpl+sT+VjTyEU/
BuZuAz+ic3fOaA0fTIsq/Sq3m/RTPsHYa7y+fm4G+eelYxToQAxZwBIk/c2Lc49IL1WdHBTVglc8
0wSft+WANmUqRudfrN/fUAX19+pdtgHRgek7r7OQlQgT81x7Kf25vEvuUTx8rx+xfLbLreIxowW+
IhCVvtiQfoBRlTnBs6zt2X5E8656rgxpPVsGyN5V3/pqk5dF+cfPFb68ANdIKE0qZpeLiWTPOGah
069HkJQ3mCtVG3NQ7juH7doxwOSO6t+CIqB9+/IYDBPm0MJBph2uIdqgs41eqz3rNX5+f16aYirk
k1wftFOpA74cyrTgKgOvBuzkYVviIdS6xQ3PXYU2kix/fuSWCsoCHaDv7V4cOUs3GAP1dr+ug2ba
zwp17Ij28C7rx+9vj3TtsqL9xjOzgKpoSb+clGztXM0Zjhu1rrpjqxu5Lnww/m+Pcm2VeFBtF1Yt
ypjuxWVV2QEFvwTWZe1jHYIyP3LQ2q0Pc1v27zyer4ZiEkTVZMIYfYEruYiSZrSWGtnh7yrc3ttj
kTId6qGjxgD/aPv2rF6dq2UovpykNEqk61y8XAZm3jCKkDxKizw8AHwOkSFqo3t82ZqvkOSRJFDm
wir742ElUS4WQ7QNeGUub0ka2OyDCj9MXgCi6vYL1onmPstT6xeyq36JEJRbv3POXu0TEoZ/Dnqx
+V3kcPIwGhcks2MRfE7tboqH/vD21K4sHl07xeRsMDPiEnvUaeXOJUIJSwfNPuJwNGGRhJ2brpEd
eHuoVyHeMiGwkvRn+YwgJF5u/AA0SWyP6eLLmY04s6Hs6tjo74BXMPZVb8lvhGDp4+g175y4V4/c
xcAXuwY1F7D0TjSv29YcdqSAiBfFLvxMc06qE2Lr0QYhL2j3eA+f6STn75zFK7tWLnU3zjwtE0rR
LyeOxt7caoXTiYjwoFrFAlXLTRhlxTlAFyCBl1GjCTKha3H8F1+cBjyyU3TMCDZfDkzIVZuYtCP7
HaA/YMXK/2LhQrSH/+JtauHN+1Irf4uPXPVOQfralOmMUw3k+QP+dfHJh8pQZhGUy5TB8K/RoI+H
M3Liwvgx94Vx30dNYlDBLfWPt6d85dSQRJEA87GVDaju5ZRlOTv1hADOukMDY94mHbJe66Qt4uyd
O+HaQASdNuGmAkN62XLjvbBqX0OdltShFludSQc3UQRl5Z1FvDoQ5belcSJwYbyYUdzOnpMFqViE
kXFwLTFhmJv+vY7slXvA4wb//6NcHM4oRagdzQ+xRgmk3f9fzs5sSWokW9ev0lb36iO5ZrPd+0Kh
GHIkMyGh4EYGVKJ5nvX05xPVex9CIQsd+q6pbPB0l/vy5Wv9g2l4SLkH9qxCZP52TQS8F8k6rRF4
mfRlFvcFYlJl2gUCrI2Ri8+BNCrPojVpcgEjcq/vhpVtaJLVYl1vzN3mJXwOtxzLzhJP3iH7huQe
wpVIg/fjTWTWw03VDCD7UZnaePOsxDkSFvRu5vwIbMgilZDNwJRw2lLQmUur75ReviKLOD32RIY7
2PeZq0+zwZxtoix/fbprH9GYS1yUEyj4L7cKjnd+k8bskjY1xiOMdNwYIwh+Apmd37+dTNJ20G6U
RowLjKxNs6fy4ffAU6rzY15k5gGzyS3w+9qEqBaC3DMhLlrLhmHQV1Y7Vli5oSRVHuzJLG+aMtdO
+AOrv1vPYlfO1ZAZzmnyMl4EaXvAMg6bL7Gr9Czd50E7HnD+Go+wGbdqoKuzMokdMqm6zkvyPEbR
qSn8UWJWgdQWN3nQ+ycE0BHyScpp4+pZHYrrj5oiZUHaFOdDxSH4/NRMxK7GE/MG2oJ2U+Cecmuw
TbKN3bd22PhSBERBhkZb63wsXBOipjFYQVWt3mIIiqewgScX447rNphFYFw95cfrO36+R84eWnw1
njo/y+XUUpYAgQJ4u58NhPvRnjtNShlH7lj2aQZrHg9GBKizDXTHZUfk55CAf3SFmAJD9nyaOv71
WR8AFYxRSkaejooD0cw6hIGO5hyEQuUwhDjKw8rqcE4pQgVhhcFWNr7sWpRh2rzcgXfRm1lE0dhU
sIgKQsBukSWeJLxYZAAZRn+kitZ/z/JGh7CEIn1XV+pWPnw5NqeesIqHH1V8SkjnS1BIvjF0o4dT
Vx6VbqtpQ4w6niPsA4yk2i21oN83VPD21z/25U3IsLrCNtZm7NXyfQtDn3JWC8kNW3Vtb46R9xCj
eHe6PsrlkZkHANrNA5r7QV5OLramEQ+5AeCsp9+oqo+PFvouh6EoP/32SKZGAJif0uRnyxQCS3Rq
c4Mp4CSqYm/HU3DsLbs8KlNvbEzq8mzSP59RupYB8uICTOYboS5ldQgO30ZRXc1yhMNlCR2qzPIO
oF8lx0T9eyMgXB5O2s1gL3jm8gal+3G+TVoT9narA9aDsRmetBJb2wqHudPQQLWtQ0DDv7uecxWJ
VzzPQ1pMy/XMujiusZ5CFyuYWsi9Q0VgyHl03KeAaTY24+UZOB9s3ka/dAaL1gv6foYLmVWDBrVV
Iw7ht6orT3qPSy9EfTNX8f7C0HujzLM2Mr0zdqmBWy1XyPnIuaw3uk/Hc+cjxvTRCk3opQU6pyiR
4hc7oFlaVlgc66noNmLf5Qc1uCHhTM0EEo79vMt+mTM8Wz/zazzViPA4d4CAvRmUBMY4ysovcVpO
Gxvo8igyHk1nmCoMSLnlfLwEuUaUfuwR6xxhP1BdHnA/C1TX19qtysLlopoyoUUowuAhDNfifChE
Y4YJSYze1Yuqw0ygq5vX0EakXWmbuIUePOhfcFqp7nzs1ze20uWyMjbfEvCyRhllyaJKRgXt1CFH
vaOIihdPjbzThF3rba+K+hjISruRFV8u65wj0vUl37GAKS6ehVjkDJIRmr1bqSUh244GB9UMnE3l
6s/rJ/Jnf/P8fjZn+Kot5j7a3OA6X9YkqOCi2/7o4hWLGmOfAh5yKg1vVNB8avuxQxrryUBQ5x2Y
2xFx/4hOiDMrQmNKgKOu0yepsdEovbxGTEHYlUmQ5wtsCfRDI6qVAQmz3J6MyyCqPcFO7bPxx/W5
zxfwYupQtfQ5O+HRfxH94IRjs6VoHaB+DwXrFFStC8KnDI8KRqPAz1TQDJChLBdpzkZ10hF5vOu/
wsqHpswyj05lDs2HedP/cl4120MnNrbY1Loc35MYNCe50uVbMPHqxit1dSiaZ7BsiPTges+HqiOV
3KNWeldMUoP5WRYo2i6oaySeTbVvNwLDShJGZZjHlQrYbX7bLWYWdHwJGWUSBI96Kdu1QoEbjXTO
rQorddc1Chx1dQyPUIKtx3qq/Cd/UrYonWtfGHos3SALkDakn+WckQoUSj5gKKQo96NQMYYJ8cLO
0glZQuxfEbQUkpskcPnJXdoP17/u6vCcK4IHjGp4pefDa0ntBTGBw83SjF4GeSktvA4OtBXpA7KI
oN8TaGlUtDl5uWRuoanXPjlvMpDwFOd5CS6+QWOA42iHanD9Li2+FVgUHhOKIocyEv9BhOTiYS9D
+6QCsuSt+EprNWLqB9RQYhQzsEw+9YOhHlC0CRG3Ec3x+tKuTQ2UEW1aupYKKdP50ka4YMaayfYq
O3v4YDCAC4mxuYuKcAu2sRaN5kLInCQB7Fru5KaVcYoMATbGaiHymyCzUFXC+QyngetzmkPtIh5R
j+DehtYKiXbJajWTsSv8nBsuL1XrDjdUfe/lqA3lbTO9b3QErlHVsvfXB11ZSC7uufYywyjETyjC
LxEIOVOz92N08wy/6HENwxzILdTZFaiq0fjaCAs/4W/LOdJQB1sER2RmF5x/txFscZrJIx7NAIx7
BYHzzMbhb8pk8zCVnTLtey9scjSW0/EbAgw6YvKoqqLrW86qMz010d5p5AjVzxgbi0cg2M14pAGq
+Ie+RTt+QlfjSyubOMqi0MY3wifGmJ4lxZc8R6/8ztojzT40t5EI8wcm7ieoMIvfpoWyV1TyHdIj
Gx6DWJSYsiCvElNv0d5D/PK9nPe3fo+qIqZZ5m2i4Z3w218RxhtvTBCxOhWS+Sv/8hXjlkMZQK11
q1RM33XU+G5zNAg+I/K9hWRe2TCQ5C1IoQAHIIcshqKklJRS1mquaLPiGUmY9K6R9exER9P/en1W
Kwdi7lpRhjFITi6y2bYOQKa2DEXXe7gjp7ZcpZmC2yihGwe1UtwL3I42kveVXI/kkqYmK0m/TFt8
OXUSlemhPOammZE9h2ZIQSsjCat6wO9NswUoXJvjr8MtDkSWzA9p6vPuhMGVfWosH101ecId0bFr
rqqOdijWM1oh768v7tp3RAkTWQDenJRDFzlmiEIqqoIUdPtxkD/HlGj+LGW/fE3idHq6PtR8zywO
PT0VXggaGCogPIs51goKJz79OLccJ3lfhyXu3a36A1cdXLsGSexyHF9+lDXdiOsDrywuA5vgNPmY
Cryb82OhwwixOq9W3Lgx0dzphfQBiNQP2CLd49AAojRGJdtY15X9Y1PuobpLk50Yt5hsbxUoJJuM
2XmVxUWBBslDCuIvcmqBLVMGFvlwfZYrXxImuDyjQ2gPUow9n2WN+pfdTuiU9ugefVbkpn4ctQjP
Xpp3G+/LtQWdedp8TYI4xa3zoaQE8leKqgPqoo2MCGhT9VbzbDaZSc+jEWInKst66gsIQb8/R4iL
qoreEpmUPq/6LwEuLCn4qCSRGO2h8rzHsGv8VCYSCu2JnVYb74+1BWWzUrics2UiwflglSmaOLRk
BQ2/afhIy7mu4fRZ2sGwwnEjR1xbUX2+DoHjgwxZwmti/ProcuiKa9peVWP8pnR3rT1VgGxQDtnT
2hJ7KP/tRgtkJTW1wfWQZVAMZtxFakhUnaKy0jAw0AupuxnNxD+ZHmLyu3L0QYM1idBeUk81PqSd
3v7IaupR17/oWlCgMjmD5WlA8oucLzIWoKbe16VK5blCI92YFLs9anmif03iSr7R8RffBwD83Hr0
6y3y1tr0KdAAapqZohcwBVUM7ZAbvYokWJAl+9FU/RI1S1G+j20Qs1ruxXc4AhguD9VuD889ubk+
+7UtxsMWeYVZMohr9Hz2MR125NZkFeCmmrkd8u9OWNjaSUJ74z8IDzB/Z5A8mcFFah4ocRSYCJK7
aR8g2BhY7TGlm3GTFviZXJ/V2mZmCLBNPN3JKRcHR/h4S6RmpLoIJeYtle24cuE9aN+yHvixg41L
f9dhz7w17mXMRUyB40NhEQwy6jPnq+nreYEsWDURlvruqYUVucenE58a/uvwtaBg4/7uRC00rNCP
mJWQZhGf8wGREUeFtKsnN1FE9GdZCgz5PElxYhn7phR/RAex5WEj+P68Os7vUYuaIp2bWc6Bysji
yAxCxvM57kZ0Pn05d4duUO56Tfe+9lDG3yfeGNw3fo3u9VhkxqmB3fIQ43B8HDtb/uv6AlzuX5JA
sgb69xDaLlqoHVqmyEBIFP6Q/P8gwxH+loENfCiyMvt0fajLs0oSOAOXuFF5FC2zB6H6nRpV0eS2
aGrvh1TY+wB/2n2R1vqH0Ao9rH0R0EjCSLorCqzbrw+/srfmkp88YyBJlZYQcx8atEE1DN2Lpgoz
dBli1PAiEAzxTh1072jbSb7R6bw8Rmgmc5WT2gEXJEM7311WpBkdBoWjq8wUjC4xqr3aSvYeM5bp
G3ZH5TEW5vP1aV6GY8akNG9xyZJoLivHmJIpQ1uiRljVYfiapOKp9qz8hXAonZQ+QFmUt79rkQtv
rO/aTiICAgsGcc0TdDFZP8Wk0w5iGatVFI6aQfh3UgKOP25if+Nev8TVWxaJCygKrH3YScu6at20
VdLr2FioAEABz/YROvIxxoFW5eWPdTr0ToKlrBuJfrgxFX98CUm7PiCqivdpk8QPojT90/WFX9tf
NCop1oO7IgFYHGrcxCIsCwgl4QSxwAlQmcSEIiOdhi+lZzeZrSPqdn3MtY9NEkWdBlocOOlFXSzK
seyKhn6inl309/akiI8YsyY3Vq2mf2X4NN6B3DFdJdb6jRi2OltuI1CcvIwpbp9vbSVH/MorEUam
0t88DrWS7+jHSp8QvWpuq8D3NoLH2u4ifHCcdCC3dLrOx0vB4/ZmiBMlLNH2MAxceSR9OEEMVr5x
J8wfahGdCVOsJg12QtWylpuneO7OZpho4A7NM60Jjc/Y9K+//emo1MyvKSpSZMKL41Ki8DdadTQi
H5sO5Q5rQvOmzFDD0fQiOskKdjJuHTYYiULmkDb2zUpgIlOD5Et2zKNqCfelkFt2NXUqd/KnAo+s
srzRi148thiQ3VEob51BGfL99RmvbBnSCa71GZLErbf4hDodfj0Ms1kntca+VdPw1MAC+iB3+qsV
h+J4fbi1IEEPm5rDrGmgc+Geb5memmMxdfAI7VE2d6ADzD2VRvAKvW48F2qbf1GQdnZHTFH2g4wB
4r6qZAN+qRd/CNsCYXoMu4ONKPmzrLLcXYQJmiJ0TrFgmo/0Lw8gsjhalnUzukZuiqfYlqYbs2vL
92Dbsm8+tm97eUQvNe6r4M+Cp+L3CDsfGTFILT/gaxnuJ7wB7hsi0EmOo35jY6yU+6mY0Kyan74a
Jf9FFIPyXUym2g1ur+c1ajlF3yduiHLO51pWJfNgSrih3hqoX3zvU1wjdzQq5Xt0l1EY2Ph+a/uF
mrBMt44GLFCh85VKIyrCQU7RX+/wonRSss5Di3rz3dxU5+kYZurtiJ/aycAJGTFzO/teAf3P9+qA
tn5pStkD8FftGJpFeh9XPS57bSzpG7t6JashAJI+oTU5dwjmn//yPcOuNKNslAc38vKhOKqTFt6J
MU/vuCHtL8i2o5+bo+TOUmbIpMrN6H28vlArh3mmBwgUbMA5EYzPfwMdET4sIekV+yGh49bHFPsW
z4Lu1UgsOjZdg6j2Hjs+6/evADhVDDkTE8GoLK6AqClFR3MeMz7AVZiKVphBvwWVKkGSFiAdsHM3
U3Hz25OlKa5oEKqAqanL967uKRhfhb3s4iZUFV98aQxOEa3O8mjhAxA6fhik8q2SimZjtvNuW5xb
BibZ4KkAM2l5MEAZalgeZZSDqrgo3THCMxRXaXwhHSzp1XwrTszRcDkee5+HED158pzF1Q63U8CH
jpGlzw2E7BSvj7EPbIs7uxu/qSCNDpHcPgmcPm80D1VuGr7t++trfTllihKw57jdwZagcHe+sTQ1
mvqAyqwLnEx8ojikQ5XTkWOqM3S6r4+1EnhAr8jkrTPYgmbu4rQHNg8ceeKcTKKv87uU2JS5ahKY
n7W2qquHdBpHC9vBatQwfofBuKs99LWxoknzLTTEZQYA5sP8ydYioUXq8nzifaiiVgLTAu/1dgRA
UyrBccIJZ+PgXga482Hmn/8SOpq+gDhiqa0LqM3y6Vtb7V1dYFiAVUf91Y467XB9kdcG5KxSLwIn
QANssaeayGj1IY07LObgQ1o5RkDYlMKQwtjQ8QDVbKTEa+sIJn7+nJQREKg7nyAGmgoAhLpz1a7y
H/Kpzj4Ifdi86OdAc35UqFCghaEix0Ry+FM/7pd1pCrT0uFqcQ7TqvRHVMCks3GWeepSG2EhfJ3H
uylokcQ3I++5jCX1IS/81G3a3nq6vsCX+Ti1KBUIBjGCfGbJP0A/uhUTDBYXNyVgpnERSZ+iVJi3
vqKATKA9jgFHJrw38vV4qxa2klowOgUbJH/oH12U50sJmX9fNJ0bhHhK7DDi8O7Mvo7vMrkxSrSG
EIn96WT4Z4BZ8c7TivZjU7bf06BRP9ThlOzjIhjQ9OvMe3o2zcv1xbm8Kedfb8bwz9xOqN7nuyEP
Bg0nn7SjtdwWVJjR9XmRjDw4jlKhqhg3WybcmK5HNShS5fcIqusbKeHafuSKRpiUIMPjZfEbeFam
eZXNb9DrGJ86gZeCmo2sLSru2jGDYAnsHrInZPZF+IhxtOsE5m6uJMnda5nLMQaPeJ+OR3uaykNH
G3fjVlydGJUsyC/wIy676GGtoeKfdS4+3Pl3tU3zR8sef792T4ZOb5J7d9bmWx5nuNRZngfEqyxp
5H0jeaYbph2eXLn0+3gaqgjAxClhIO/Ge/p8r3jc4rYVmKhVdFZ0zPvedo1ADvaebxe/fbHPBQu+
01xCZtDFpmiB1CWharcuuE7EVdu22YtA4CweBFslkrWNYRJ3Z0lDQUVoEQ+LpqmsQif+apyud6GR
aKdG4EouZAyxoRBuUINW7m8FwjEKctBj6fEs9iHdhqxocQFyPQg8qGun1bEaSt9Fp9nbuFlWAp+Q
SX+BPPB0ID07/17gkdSI+lbnNqaFyKs32Ts/kyKwHF19Er5N+i5pw57ysbdxpn+iwBfRX9DApqJI
K5u5LrZKIIAb0ZVpXU0K6tcsHs3QxQrTdJQQnNypLGzlM8LOmE/LOJeNu6CnvFmPZKiztzlWUGzm
Fo8w7peTX0AEdK+HvZWvQOuSU8kVBe5k2R/JR6uo6W31LkBD4ziVyecCUx4Uuo2N+LoSBM4GWnzu
2uNd3QeAGyfa+IOLggduIWqj1xvVt8v3Bo9DyIXc6kDDaBOcf+sW7+u+ldjFYprko911FW9SRdpX
mlQ5lpzJj1KFXc71VVy73CAzGlTqeelAd1vsMEGZvlVr7EHbyAjy3SSN2O+qE/7oVp+Jb1KRymhI
yI3qRmMR9risqNpzphbFC1JCaEATONqYJMfz7yIehEdOzPDp+u+4tjBA2edWGAFFW4rfxJgAGlqB
akmkSMaHBCvUvRq20t6Pbeod0WC6WFgbzvVB17bXDMujyUlR5UIDEx17XE9Nr3MtNvMpCvIvnRdS
IBj8euNJsnbGqW2Cgplr+NQHzr+7F9UTHBeJ9ML2s89G3v0ZI0R5DIsmu5eazruhwgI7odS2eAIr
/RLSVQ4gAMTZdWTJZy2s3msUY75QQfLXblpX+WM4mr7tjPmoH8O8SXYpTzHoIErRn6oEvE5fZ6BN
6WJvcYpWgvj8KKJjAuZ0BkWeLwN+konfJQpfOa2Tmy6qKUgE8qfGrMZbYyjr4/XvO18/y/CGEAZG
K3NKBwbpfDiMkbQugknkCiXoXrDVgTLcpIW+1/sS/3OcQsM7H0G2R/yK83eS1fT/QfyyqILSXqZv
Q25y/gsIjh2eRnbjSqbymGBy+XH0+4K+XD9sTHVtK6O0y+0x3yXwbc5HitMioHfMSKSiwz5JsRaW
jCo/xLrZ/n6iDsyRjj/YNTLSZRkhyqYxTvEsdUNT9OG+tnTs3ihJYpVV1ycgbc0bmspYhQKTFp+u
f9F5gyy+KM1iRAJnAQTl0gpF+Hmc+ozdZpJxaKVmNvrCpffB4r+WOy2LmtvBKLeMdFY2EuAZuo5E
i/lFv/iOgV4mnOoKtqkfGtkpluXeiTSJN33oScPLYKp9eeyEpL4fwZIjYlBrWy+UlQgCGoNSrDF3
xRDJPv/ABp551iR5tcs2jQ/2mLw3iw4X6Um0B7mwixv07QO35rb+/Z0FOmGGmBLWEeRZlJ690Kzs
vknYw1FofcECVjsmoyjoEmXtxi0sVicJJZU7H9FeyEbnk8zkyfImGWubfjD1bxU+wbe0hsSx6pLu
ZmrawA18I9iZSph9bHEeNFwrAiwxyRo2Q7HldT4Moaq/6YZBdSGBJFiYjZkJ7ChS6z/LQg2wJcqM
d703hSpy5lP3JYU53bOeU3/bJmG5I0rolkORCHO7yChPwRhu2VeszhIa51yHgzG6xEVaVoBzbN03
bqVL+Qdp6G8TJNBGOJ2icmhujxL2kMP0QPmz3HjsrARg0EM8dQhKQIeXG1lgIhhUZt24DY5Qnwmc
70s192vAp8AD9EC8Xj+uK2kVFamZWzGH+wt9j7aMrIDEsXGNuuDVDEuwxfkv2xIrWQl+JIi8DH4a
CvGSO982Zll7XRZIjSuXLR4WWZyGmLUV9XhbWJhoXp/TWiwA0jpfYshp0iY+Hwxz1UhPuomXnKSN
r5WlVdnz1HjQt9u+Vh9oneBZ1lFKwEKS1/S+j7HDu/4rrBBWAD6gWkD/EA1vioznv4OEmkLXqQqs
RkUvB2TzkWlFoaGovXtjylR/V/lq9VGouZY+mMEoZuftzt+VolG+d41u3udRuqXlshKaSWrpzJCp
gzVcBqigthPkuTALBurY36cRLtEM1RxSPxv3YVWLwEG6ZkslbGVUSLwzhsgmraI1dL4SgYhtLB6l
0u2K2vgEP7lUHfzNxg9KWCFqTP/CvouDNv9+/QusDauhiAsNi3Y1W/x82MqqOnCjSE93kSUjrgpb
5z7O6aXsbMxG9sg3g5Xgpto4vqvDor0H7JhqHVfS+bCqHCqB4U3Ygme6/UkvxcDLQfMiYPmVXxzk
JmsPxuAPG8NeukgQLIiDs+An7Ufu/vNx5UypYktIoOJjztaDqtRYv3eqnXwbqWm/RHalxk4Ct/rU
jlpmOEocl4nr9VEpQJoH+Lla6NC6CsLaSCBCG6jw2MT9y5lyyX+7/mlWgsHPx+LcgubTLDMhRY+D
vrB7VKWqTGD0qyV2OD4ZKioYKRaJbbUVENYGJIzT8ZsRHBSSzhcHHFlBkRsZK9kswNqTRSd3VVKE
t2mD+MDGQ2JlB3C4KEzMW4Atv9gB7WDVVsB173pepH+qK+M1L6b0wcK41x3KrjiEpb+VAaxcGmjK
ken9rEaz4c8nONIz1OLCpHGTSziwREltYtstJ76DAFz/qbT7rbL0SoyFCAx5e34nzG//8xExIdam
pkkrCldBH8NfiKbmFFgD/dQ4tBEnmxQpeDB9rU9v+6nUpMjJKiG+/vZOgluNGjUt5zmnXqx1SDfA
S6uydJUUgO9oVqoj+SZxLMAz7nB9rLU1RgCHfjRaI6R4i01kJ1QAOM6lG0RV9+Iryfgayx1qCzRz
jtlUBBuVu5V9BHURKwY0jkgDlpKvpkZtAyQID8JEKZ/R1sOVc5CjYEBLsonelYVHhoeS3xb5ZSUj
mNVhIPqRSCP6tbg91USJdFHTqgrBwOwDhBhcxeJdfH01V44kMo6Uq+klqGiHLsJzKNuhacdF7SZx
m0Ps1sbbqDajXWDH5e8vJJ0omgbkVPOYiwlN+dikndo2rp3pZen4MciqOPetF1bgDU6PeYBh4O+v
z29lt9i4J0KTot+HxNhyflHe5SmsQVc1wuyhG3GUnTTsmNNxFIfe28SnrewWhDlmgaq/7/fFeFYc
I6BfMp7RNsGPTE5B6jagBQpZHR/LSI6fs1xs0XLXJkmfgYfenE9QMz8PAm2SVRVK041bDprZ7Lli
o+nEatt3ctj7H5tUQDy+vq4/w+fZ+5K2AzQwKMDwlmheLiaqxHqYdGNHxUAkyA30JiILh54KeBo5
YafkkVvWsvqqhOYU3ygd9dyDP5bN0e9kUk6tlD0VoaxcF99SBFqSp7jkGNzYQa0oe7+vovR54lDO
Wg2q9+TXmf9X0BQNtmtost933WR9SnIrTXdjrQ7mgQZy4m/kjhefkuPANQ6oB8g3Nef55780/Hi/
Da0eVswQHMpzxD3lDmolO0mhTadI776zBK/XV/VySFjx1CZmUTUIIUstkmACh4hqq+6WUW11d1Pd
15Gjd7xXHQoF1XSQYnKd2xZozVZ6eBFu6GjScOH9yjVC92wRwmsUefpx9HW3jpB32Puzq3zo8e03
DuT875zvm1lpgLoEMXyWHliE79oCRiBK7F4QFelHZ0S8e4e5c36D+vqm38zFwWBS8E5AB86UWnsp
bIJGRma2SKID0czU5xgtifuqUp9aKfD2edpyGV7/fivjzfnmbGaKqwYV2vMtI0xc0UU4L6LsCUy4
p0AfH6d66idA9Ozh97aaoT5wfdCVTUOfjGSTDACQ3fI5UZWFbI9+pbvTMBWf/BHqdEH3gR5siU4Q
gv53hcJD/fqgK5+RHIc+MOUHivPLVC7Hxbetw8hw66CUXjsf0NgpyiRcZ/xi0/BxJdjQFiPa8Hoh
paPtfL6utWgTGfN11QUWnBRO3QTafYkbeO+QdkTPslX6QAuEL3iflwJRaT2IpHdKrlsvGLakP0SZ
oj3ANk1VF6rKpDmGXHfDUYRCoOul+tJJ68IGnQgvGG7bCNaSIxoZ1KLpNXnkyBKydzs+XfTFyOPx
8/W1vKw80+KQcbLi2c8rmfrR+fS0QCdjw4LMLfxQvgesL3rHHvR0RvZWUeX0g9Xqe952xV2rVyhT
mqNeRY40hGaDC4hqpqfrv9FleWn+jWYuOuUs3qrLLrpca0FFfTJ3bZBm/Z6PGteHUPUnaY/woaDF
MU08SrIaKIKDGXvypvHgQZHRx51uN0WyUe8qjNErRwaFnjkGEtg5G1TW5EMIESDehXUUPWWlnIRO
pRrjZ+rdOv7eaMPH+xxLkQ+jMNGeSmINLwpMkJubcOrtEFF/XYFjA1P++/U5X+5olDMQLIdAiiYK
RejzjzAmJcSnMStc6HfGbsxFcqrSBoDD1G/1ti7DBEQgGji8hejdX5BGywpmhp8VuSusqv0cdJoB
j8pQsMFBSM+ReQ1unNbVHUZfi0fCnCGgiHI+OSzfcFMHjOqKJur3XOzxTkuqeG/lDaTKLoN4U1oy
GLNJ308gNk7Z6Hm7wMzDvxFY/+fM2b3+6fT+PS/GKkRdffHH/35XvGXvm+rtrXn4WvzX/Ff/9//6
3+d/5G/++192vzZfz/6wz5qwGZ/bt2p8ecOuufkfd/n5//n/+8N/vP38Vz6Mxdu//viet1kz/2t+
mGd//PtHN3/964+5ZvG/5vXzP//vnz1+Tflrzhvua226/AtvX+sGX/t/wsr6W7CDotsc1/q3+b+L
f2JKhN4Y0Le5zQWo6I9/ZHnVBP/6Q1f+CdQeZhKo3Z9yGOKPf9SQ9vmRZv+TIhYEVQq+6IjzbP/j
f2b99Pcd+/dS+2/5v//8j6xNn3LY8fW//ji/N1DlR0WR4hhPY+4MXqyLPSFr0ZCUqaE7sY5YjNdn
aFi3n9pEu/O6qjmIaTNnnHPC/3f3/3tEZJ8BOHLQaYuc70J4SHkPMVJ32lK8akr8NQxGErroQ+21
74XdPlsFAgZer36yW/27rFYvUVh8G9MSjRlJPVSt/hboOpKu2c4o6z9zdUz2dWdgH1FbG4xH0BKL
XxbXUepW88thftKSGp3/su3oewZWS8Kp/H7aqWkCr9oo48cgtAlrfNPsYGhBBAe7ER+QwJme4zA+
VkHVH6Npeh1zqjuJn1VUf7xwp3XQNVWCvIPuSP2YqMFnPcwKHFq8cVerpfrFau3nCoK1aky5o7aB
oBT0zg8tbEZi9VD3KGZXjanuu9bvXrNsZiOa6ejmXnhCtisCfOuP34aZJtFppiOlExV+SalcVckk
iLaR49c0YLgctV1bqSWa2OSWlRj8+x4HBldujQr/6/xLCjDf7SZ6j04dKImbGbXlBnqkPJdNJz37
nm8cbMrjBzsr1FM7gSkskTTdJa28t6XmEVSrdfDSkg51Fo3qmxdL8Vuda9Gh9aWBcvqEPBH9atnC
zNgyw/e1VSWHIM0+BY1m30B+/ZMI9F6vKyf3FVw0hiS+jbUwOkatHB/NcpruSdztm6j3PiqD3zny
YA8ObUrNkW2/wpNWSMe2Cqny5WW99zvp1u7KVx/A+8vUFf0+RbJ2r0id9BD3ifhma22EuKZ65PvZ
pzLP23e+XAa7hNLhQ5hqN2kQ/dWHUvqU2F54r2dyq7iZTYckDLG6jtMgPiIkcuzgHMduU8r6jW57
1qy/4Wl31piYTphMwftSZGKfY1RN5yTaN5GkAR/wgl3TWQ4nUHsN4/QYjbF9Y0/ia2ZXqavk2OuO
mU3hWqBiiTbXkz6F1R6Jj8ydL18nDOhS61LhO12cl/u8KCb+l964QdIWD2iEDKiRez9AM/h/+YP+
tR7pYlOsSKn4GkFzKow0f568NHJTX0Ejz2CHRpaSuyVFnJ2vaJFbdYF/oMr2Hdp2+FVYEs5wifpO
rcP4fgqU+igKSb0LFP8rnIPkz9Ko5fcxef0uAFATOz7e3GiE+NpD1arSHsToFDt6hAp8ZhbZbeUV
j3Sbiy/l4JmnSDEDJ+OycuvUjG+ksMjwNlPivVaFs32p8S6A0v2hCc2IxdHTmxQ3uV1R5tGj5zXF
IU5s/Zs5gwylEmSajJ7NQRuCp1xH5cvUM8INmeCJ2Oe/lvLwkstTxAH1AZY34ynJvVMY9LZTGBVq
WkpTu16Fo5HvB6cKcTYMd3vvJdFE/Ki3hX4UmZY/SrI9fSZZ6T+3k6c9o/5V7aFVpCH6mIFHignx
3bRBM9ftXWWMlZPqdGE1e9RaB29B8lHTOzatLFRHldpvyaC/MyjI7oqk2stNkJPXjg9hb75qo/qX
ptbaPZaVJjqmVrvXY3kiU42a5rmDfr1TpeKg0mg5yvguOn1vUmdBvrtGRUEL3bgdyr8oX4GaqjTj
MzZyH2d77NMYZCGw/gJDLL0IjZ3fe/lHLWu/TiItHpXY0k5mZXyKVBG9lr5RP9dq6z3mqE4/EILC
Xd7Vyj72rWxf0/t9lzW4plX5KJ6sabC+jFIWHUP26nNRFsV9EWbJk4jibmfmQbnzDH3cizBGuiLM
FDwri69Rn9bHPMqbH15QKs4MwXino2jhaKHZ7nrR5PQngy9jOrCWbfPSjLJyDGpdu0sRrHdaSX7X
+P0HSWifBl3+qMeo59ImLPyHOCmDU6xVwtiJqFNealXGpzIRCvzxiBIYAfJNGTLzjle6dyoUr+0d
s1Aq08Hc286cLvKVm9Qs2YldG96ZTeCNrqlUyUk1C851nXZaCJAb0oyajccykhThlFjI606OgfS7
otTlgFugLBDtKdrPZlMp4SHxWm1yyiBoeWJ4jfwhH/OBla2yH2Ri6QmlBHVPDdCMMC9Ujo3puZYX
Jn+JZhRuWFr5nYYv/WlAlBsVSNMzv+mKnx9UCa5rRwlYOEOihPu0UatbX6+UHTavjevlvv5/mfuy
JjtxLetfRAWjgJeOaDhwhhyck9PDC+F02oCQkBgEgl/f67hu38+pqqwTl4cvOqKiHsoupVJoS1t7
r+Em8qi8L3rWfPAZKC6l9q1jWQDXmpTK/b7WdaezIFLF0xAqJ62hmOPsxCLn26LT1WkE1Pq+pNDu
w7Y+woOVNujvSA8QuH7JLVuAhFtp1H2IN4mMg2KI3BoviBFODHeiL7rzijE8t+ZdK+MANp4BSbxY
RDkEWOlNI+PiJ9SBp7se3vNx7sCYdkXU5Lay1gm7fp4T11+aMhGNqmTiriy+hozjz9ka4mfRD3Fm
4Y7/Nk6huHKVP8uks1Z15VZ4PNxKReR+ZpSDBe5wBkGViX+QtPBfrAXeYQVsYA7anx7dri1OELRT
VyVobpms6ZrJWP2AmD+7BR1TZCScnXxg8wnt4iajXjPeDah+5kPAP/W9aBJNkCnjNhDVYalbOy0Z
WiCtjugNs+1yt0A3FMfEAgHfgMX2vbCgtwW1c10mzRlY5Mnu/A0t/SUQZcICe00Vi/OYdx+qYa1v
m3kej1NTXEe4gW6QGdBE4vHYJmzCJakobUCWZfOjDLnMrbGem100rcNtETcPI/chLda7BbBVsffJ
Q96RSngJfQiizj8sKjjwqQHCiY7zUgGMa1cHMYcRHt+ec2x8p/ipQtBgQaQVV9ZQ9Qc4tfcH4dKf
9RB5xzog4qpzWPwMnIeccWSjhw/shVq6/mRT1NJBme3huQ4dm/GE/mGEsqVWZVp4aIKzdvDzda3o
bh2IvvE7q0tc8tNFB8BJKrFCZofruyU4t9iYM4S70S5voBEqE3hkxLsBtOjc4nRJoJ2GW00GULAD
ivV2xhN6x5QlP6+1Lg7dKsQBQCPIveuivy4nTT+VVr3mgwRQpsH1d9VPGr6IXax0HnU9PbXaki8+
9Cyv5oYMPyxdFBzcmFJkLgfAdi4XsveCqn/wyXw/Qmlq16L4A/xqe5zcaE5XkID2qAVNqSg4GvAz
yNJe446HCMdPpuD5DFKIoFfCsbwP0RzBi230/GtI8wynNl7G/RqEdzUAt7ATFilF0fBH4HdFHliN
fQgr4G4ir86VskBVGlmcgqSLAHQWsVPevKTz1LWHidbOraPZp2YKajjZFg9r24dPM4e7HY6X9uRP
7msrZnEa/DEhAfee5TSN9+W0HliFHyvs/rUvgfRZewcCm0DUN3aD9L2i96E1+VktJ3WvIjXgYluj
6BY3KX2eFC7PAabdOB277moE4oTac3ndxpT8KLxB3sBV2H2u6zL+FAErgExhidO1nFGOlLQld5Xb
zneztzR1MpW62q1ghFSJmNWUtDWVV0FMhwT2D5/DvkDy6KIR5kWQR3I91t86EAfJSotRnN3irnD4
kz9YQ+o6rZ3ojgZ7TwUnmPrUj40kNx0bWAqkSTaGFrv2vOUzHSoCG7WYHamjplz0BI5u9pQHMnzE
SVenPKzjLAhxk00V/Sl7te7wynttFPnGi/FpEfJ+xVvshjXRd0m8b8tMqicRg+TllO4NuOVPEkn2
CXZhn5mvR5JiZrsaz/WdPUc1bOoZskmOzTcPQ5k33TQfYZLSpYEjZcpYoA51MQY5uht8Jyi8pcNO
yw8rXx970UY5HutAIg+awFjcwXr5d/iSDPoE/Y1Ehe1Bui6csDhuUHDAZAJhk1coi9aJhJpqOiHd
XKASD3PbasgCu6RphwssoePCdqVXgI3eDvIJ/qXVdUMKax+QJi8dkgQlnLXtYeA3LGD8WEoxJKs6
97cH7iMZhd61XTM4cvuVn8/jxFIXTcwS4IicyjnKWcmDh1nLVxSu3aRYRujreGEKXbcp0UE8pjPx
ThMA1reo5M8J5Bq9LCzDr6G0hoPua/3B5/WJzmzMSxqtUNf1FU9a4IevFxbsWojYYSp9kDbM2kHB
wblnAmekIP4u9C3/WvYev6tgJJw441nNgbLxNOhQRSjHM/FpHCAe3tbrNeyaotd4FJ9W1r7YHYTE
vQ4PHLTxuU5mdNhfyuac+4Yee3THUokE+orYqDroD62ENP5xgWcCDBhdtVsAQ1mSEaKiSQsayUF1
8SFW1gEFKuEBuqVaBQLLLLH18MRci/Fn2dgBKjvwVE9qQVCEG1FPcyeIbvSD/aUbfs6l1scJXVKW
yFp/mecp/qDROPluNeu6G3uYCwlkSBASY2ACO6WG96Pg+zrwHwZOxtSX3j0Kcy9tbz+ysSpPvkA0
1CuekeMSPtYVHQ+ggjufdUvqfYcnuebk4xhHIpmD+itn3XJrn0+6MAbaDHRGDTWMUGWc+xH0NWO8
ZhOk+uI65s4xgsV3St2w3cWueB3Uyh+bEnXHoQ3svV82HxiCb4ebBVKYfdAcZ66KpK8xs07FJ8zp
C1me2VIueeuID3isuw99qPczYZD643p5CEAbzSNIb30RLnRnvKgke1U01d4eFyfx0anb48PgV4uB
i+pXvJcwvym35/MyRQhYKXu6c2ugZFOGXyDrS3qSvOE5NhDqk7TZxxopsK2vZ5fRfMA7PA2Lh3hp
mpu5BTqAQUcX1QDgEkJ28MsRH70g63W94uW62vD8jHAurpPlP3qisp6Rc6vrCaXSI2958T3UeK+T
iKkTWgO7FfXZT32jTmHTo/wvYKkUxgLKOnif76xglidKKOhQviftj0M9yX3BbOtmRX3jOE7OkIe9
CBKIuVU/Vm+R31evp3lPu+XPQuR/VP57Ehz/vC30vS0Y/tdN/b0Xg/g5/uPf2v8Q5xLcYP6lNxXF
/yslRJT+3q8hPtZt+U2K/sfbKiL+nz/LiCDn/vELifjvUuL/FhIhOPAH9D/BSAHY8l9Gm/8qJDp/
+GgJoBKCihv6hii5/buQ6PyBfvgZFXz+N3HBfvpPComeUV6G9SjoCOcfHgPnBXyPiZHgeOF0dW+1
exV738VwNzddlHTAPyegc2UibBieptS6VjVlmb/gKcWH8qNr87RYu+q17MmBCPaztfT5Hsa7vZqx
VzXJaUhlOhEGv0T/AAoO8u/ZTkrRoqrRDzuQFVLw0NIh+JVCtjuEEhKxFYxTi2VzAAUIXcc1jDmC
AypMdwDT3i4WLlKE+xUOzCltAg6nu3JNwz7EGGBzUBbmLog+559KKIo+hZWtwXgz+W0KBHfaBTyL
+3hnOeSuR8KSg+X62MICLilK0IMaLymUvKvQlLYU1OQH9hVSQQe4dhxBrmiTsphuyPIydjzzqLiz
8FgvvYcRkExkL3egbhxtwlNRBXh9PABwiodOVTzZjdfuu95hCTIrduw1OaJd3ibSau/aGl4c0JyJ
94Et/BzkjHg/qBdhvzT4VSyHXdug0VTegx3zlOAtjJ9nN/zGgVYPrrdDgGmUzL7t1n4PZkly/tvj
yPZw2FnXco8izslxlseViSTC0Z2CtPx5FkEJ0631sbF4GnTjTdWKxKIdTNKxoKtdZBF1k9GKhsS3
Ptn4GJhRMDvPAPaktf3A1EMrHmC4kVXR/Nw594Vdns4/OK6DPemDKzeQD2wUUN5/RSXxK6s4skgU
Y70+QHKLn2mTHEZ1n/uWp/PSP1pumzoTy3TIsvOuAJPjdhltlpDRyniDd0yFy6ql002n2q9wM2EJ
bEZPVLhH+FOmQCbsYpgwBQtJm67MxYxvEOrnLmoyNdCXcImfqtF+/rVvQKjjKInBBrICNcQ6dXVw
3wYA2Tswbdc1U4exCfZBj1nit6Wt/Tz28RMTet8UIutcb89qggvSyhZ3umnD+SoSn1An2kPT7zTp
bEIETFF4RBa4t7riauhWO+nbDsXBYN8IlkY9hG9jVIai9hE1iSTgJUpO8qYiLItU/eq3IK0I38pm
h75Kl+SNevAWtVtFddXSAZ44fXSkfpcXS+1f1SQUeNWTOV3mGE/2psN2ouFXWAgvD37AmiOJ+TVX
XfgIDZfwusWfxX1JkmYR4RUnVQsuWB3sGPxL8gHw4ryvziYYqIDvJvTB8NzD06Qj1Re0N4OddBhJ
fv0hiuYBlH2buwop496O+yrvUEcZk9XWFT7FApiOVJ9LHf8ARhgwytC/axE4yeDoIaMagksj7Yfs
PKHFJsVRkPMu4ID3zFP7k0BHO+Hg6F5ZMWLXi3iLYs3cpjQI2rTyCbuKxrHd+zyGaitvxYGAzJZX
HsrHdWsdGjXCmBhvux0o5jD2pXVwV/oOMp2o7TLAendo2uay8yGGv+7tcwLe17ndiK8kHq6416Rr
W3yWrMxCARlfHWchZyi9TVeWe0lL4O9PYDRyQGtBfxxH+ttuhVXDlwMgP7EvIJ9iRQ8TMuWKvISC
pxGq49xuHhjsj21rfYaV28X24rlz81tn59cFACkXQAChDH0WT3r74z1OppCpRuyRge/RQD3JAna3
SkZ5da5gigIJH4qAHszhw1wPAOysTn3o1xEG0eeEdtEd8hgk9XpUblrazc8GzXZkivbThDKn1T2F
pJkSvoa3tfL351Eo2LM2f7KgQxKU8z3R9Wdpu1DkslCoK1i2ojk09SKxW5cltmwfQxuSIeVyOh/L
I4uOYz2hQcN2oIIdof2aWRMeaWy4Dic3AcU/PQfOOoZHqBReyalEV2zJ7Lja1TU5gCKYRqr6jrJs
NKUl3OhgSHZsAGKl+gF7LJlIWyW9eik9H/4vLVS5+R2hJGXQe1iDNoFmSVI7SDRJsFeDfkYF7zGO
mp8B9W9BirstNbn1yvA6LqZT3K+Q913PHGhUZy1uobRrZ2vsHSAwnMBO/SOOrePUReDTrKhJ/pQk
Omoc11YNgHWAs7hqYbyARpp8PP9CAS7W0D/1OkJLi/PrcWi/hKI9BHEm1uDWHfoTUv3f8pm/aTa+
bXn/mSGARQFdPOjGIUUwuusD4wF6eotAEwcJ6oRTO4bjWCpIjC6N8/LPP+xXvmFuRwhOxWesMTgV
JtbdRoaryjUSe8gf3ap6wKkH/7Zqru4HGwrepVT7riM5JDUzGE6lnZ/r4tJv/OtX+uskQGOHKRCw
eaZUXTyUPoxgidjPeG12bX3wUPy3OxAP6B5/gGMIXRZ80PN11unnibE0pF7GLOisjGR+kTPJZYDL
wnJ3RTjjIgWyLuyTHv/NK8h+lkNGfFQOFpxXxDrCw+q2iNa7agA5EQlCN+L5Es7im+t9nnQB00Yv
JVa0c6cWT0TvqXBPFh69DiprowCn89X3X+LavrODeQ+LsR21LiHqPKOn+uuYQL8ZPENQ+89b4e0x
0UK5sZpsIfYK6pfCsY8eXK4g2o2bDfUFNDxWKM6U7GqoPgHuhs4NRyngLoTO4KxxW9ZXmhRIxtpE
U/QkOn4N3w8bW7vdA18Ciu7raM0P3t3qVFe+tm8hzPWwQKnin3eXoUr/515Gdx65M6CBEKQ14Dpz
jPPJVzhrlW4T2olrvfh71+dfrIpkA5sOrTe9ODNE+YOnGQAwm1jw6UAOO6Kthw4UcgLN9qJyD3II
H0GWQ8sWOaczHSEYeHPOPdtZAVhVXlK/OU/M3JFQRoOmNk5qSBEYLW1PWnULQUP4+ynvBY51V4EV
pqiIJK4zo4o+zSxZcHKOi38AAxRm0+OHrpMZhKdg9YKaVsnWX4ebHFQSIcm4cI384kP+dX7AsQdQ
l7CBP3q7PTzWeaQv4T+oa4Hkcdw5Pg7zmMqvlUZDLGyu8YjGGRzegkR5RHdlX+ICcZB6qxrn+erd
xrP3Ef3HXKo7Cuq9Mzyohme+q5CGdffWWiRFXz073N83NstwmR1B+E0W0u+rEP1qqE7Avfbed4bE
ocUOqibfJ686BNXrP2+hvz2gAOOAaDT0YCHTYNyXUKwsGkAKxD6gKKogG0N16IAq/MTsHJ46EH4i
h6mGICtuFCCVwePvHy9M4e9OZCBAgHAAygRsa2MXB1ICDONgChLlQGkDe0uCtNcv5yzbqasrZ2AZ
niKvA+CTHrx9XS0+BzTIlc9/nrNsUrLswpQMfAiOB3AHoMcBaZGz2pdJSIEmUzsVK/ZnYF/DG/Kh
oP4dOo+5L8UdoEivncKnbgAxYGHW+BdkVP/mm5zZwFBQAEoduky+kULNnVtYSw+zBY3EM7S+iOFj
0CKDDIFVoP493qmR2x9WzIV0UB2dyQXIyS8dzbfb/+0EjNOxc0vNOwcXRgP79ZVDWDoK9hJvF3wV
37V+ZTMtcRNUJvOGDsdmGrLe/YLa3E21LgeoLgGs8WFFPCNk9n3//Xzqlx5KndjXwBUnnRz2kH8H
Zjq8LXq4YiJfiiieunOQIgmO01/f8/9bsef/YB3nnHe/X8b57748A8rab7+Xcc7/y59VHCvw/oCA
FGS1/wXfOh+Af+LBrBBlHIjqoL4DiWjgAgl237/qOJbr/IHSynlvYF/aqPLgf/sXIswKgj9ArgGQ
Czh81GDOELP/ABL2No3HD/KhYYLYM3ae3ymBHL0C0oGpT2u8vBTq+beF+Jv8772RjaBiARp7vsLI
AGontNbJ2l+CIr839Pk0+Q2fX6/L6Hfaa7IlDu8gG3nHHO+ShOl7YxtkSalCty2aosns2VtvwFLQ
abEwstu0KCbUtIBM0MBqlBYcFJQFjP8A6dk2snGoC2pTvUTAy6y6nU7wyVEg9izxhbvjnVVxjfzB
Lfp1bkOBKtzchymQ1Ss81v1P26Z+vq9++5zhUoWzTzTqLbwhh7Idv812c0me4L2ZG5nFGgEA04W4
8iHugjodquz9JWXm94Y+//ff5g0RHA09/pFlLN7HwzdWb4scU30an01KkFOabCgH93YIWvUdJQhb
/3lIv8Hj/o4CfW/aRmDC6SSMaK1YphbviEzgCfoXG4c2AhP4mO7cZ2EZjWDEIwAQuSki68Jt+d68
jcgMxhBKjQuWpXK/d7JMSRkkmzagYzxRCxi/65C6+JAUgHWJNhlMAf4zVt+/T1hTaqyGucHgoxCO
rnj3oXCn8gCvATvfNHNTgxjSzR2t6pGiyOoPAFf6r14xbVwVI+aBbhZycACC65eFfV97MLUH6sbH
TTM3RRV95jca8DGWBZ9XmXpy46SNcC+iwIUYBYadB9kmvdPR1F8vWYy+swNNklYLvHcXttiBpaZ7
gIOh0zDprTM3buKpcUaJVgpKVyHEJpiui3SO1CVxi/embgQ9zEuKM5QCuP+Y4bBCEQL0qUv6K+8N
boT9yvk6lwOgl2FZ8x3YCG2yhOO4cacYcU9cpfgqMLqk14N6EvKC9Nc7szaF+aCe01LIfLGsRi2e
FwyY6FZeeFq8N7ZxGxNvrQAO9WmGR9gRcjz8WyUC7+um0LGNwOyABRr07NGMEtJ87UFoatC679uN
Z4pxHa/crrvaJzQrhjpfZwE0mGNd0mJ6b2GM+GRiUQ6Y6zRzGRO7Imibw0TGjffPue/5+41MHR/y
DpQXu75HN8uHrfn0um3Njfhpx5VasMSpswidHq5Rl3AuiqO/tyZG+MCcHNB2iGBl0JICMrwfDhyA
vd22iRvRAwjkuKDMUGcNvCm4h8Igo839lrHBVn+73BOqy9wNMHGKYQF8/Yia8t22oY0AajXIMGi2
0KwPUbcevfBk92isbhvcCKCGLZXfDxgc+P4kCHa9v3HWRujowR96jjsnW9icVi4OWBLSSz2Xv98m
YO+8Xe0zOxe9LhAInM7y06Gy/YzEy8dtS3L+ob/lsmh1S5AcOc0IZT7bA2C4BGgNzEJuyt5QhXz7
A0IYwclqZDSrVvjaWp8g5L7xaxqhuYSWQg0fIwtrOY2ldAAxWJ+2LYsRmhJsUjWFa5VBC+jFstQ1
jKK6TckypJneroiwQ6V15VXZ5GnyQG390Ycb/AXphXc2i0njLNquPovO1lnpVDctrLSua/sim/G9
wY3gjF3Agf2aV3gN/ujLY9QeNq22ybsfAP3tphLjFrOd2rG106rZtv3Mlkw7MjwpHfhCzW02U5bE
0bbkB4W5t5/RRWOYLh2rMrsGUtVr0VFbqmpTOgsJ2reDFxLA2mgMqqwemzaLAG9PILO7KUmBx8/b
wVvwV7zaweCy/hJXMqsqe1PKBtrV25EtW1KK/meF3aejpJcO5JUtR2zc20ZQ2tQG/zvC6EUprxFA
9yCGuBsX3AhK+FSWloLJVabLb7iUQXdWzcaPGRrXJYtqBw3B805h0AWJyvF5KONoW+yYTPJ5qqH1
UWLwcAwS4Jldse0dCAHatx9TBS7y+wXbZKZjCiX+OVEEekObQt60KYIjkz9W6LRkPOpsULQEMACx
NW/bh6bFC6XaoovlVpm7QCcIaHOaSl1P+21zN4IT8nJqgjtuhWr6fMua+Ue3Wpfkd985YkMjNmnR
F5Nb4SjsgRODXIqfNetwybLuvcGN8PTLCDyAilQZ6Vy6g0XOCOxMd0k+6b3RjfB0+1KV8BiqcFzJ
dJV3RH7ett5GbPY8Wkf4kVRQPUZDnM7xdD/NUbRtdFO835pdSRsYF2TFskK5u0jKaFuabCqIg/oM
XfIOI9OO7pb+wNZLIKB3lpoYodkvRTx3YBdl3AIirfJetEIFa9NqmzKY8BtcmHW+15q5d3bVAuSU
0vyC0s57EzcuTdlFHhNiQOgoYJSmdQJfLdp4hptWOtXACK+sDoOP1zVM36dNBQO0C98ehKELrj5E
LcGGEsu1ZOxmnbJta20EpN2f+ZLxiBkz0EGSYdsFT4xIbP0ZNhtDj+wh0kfijFdecUl9/r0PaMRi
3I0tDAwmxOJKTny+8QDR2LQWgXlLLp4NxjuuG3Cl6UPlQXNftc221CGI3n5CzfuyCTU+oWD+Yx/d
yK7YdnyYogHa98Dp9HGR+ctTqbK22rbpTI0fh0H1vh8QhrAQ/744a7ICob8txE3t7zEmJRQEse20
LNS+aJYu9YBx2Tj6eev89qQES7IZbH3e1PDvyFZXAE6prG15g6kL5HFAg0TXYnDIqXwLI+lcQ0XX
GjbO3QhIFpN+ojGGV90aJVMFw9HS8jbO3QhLWY6QLYKyF0jcffcJPgqK5F6IJv7GCDJis7TtxqKl
RO7A6H0DUSgaLYdNwWmC+cQUVmwaED+cO4cKuNK05mD+bRvcCE7RAUragzIJga596C8fFi23XTem
VuZCvaCGlCZOqzY6NO3a7W1PX5KsfucoNL1JGg5EBvFwyi6jK5c8LNdlSODspTduRt+4LHubL3il
4QfACXy9aph6hWas/7Bt0Y0oVXKVnjvD+sZ3noIQ6Ce9rdft+8Z1qQoGabDziehWcVp5xZACTW5v
3CtGgIadgFGCxuAMBPiqvlmteltWb+pGgpg3opSJY6uJhjs4HDo5AQl8t221jdAMl9Vxi1aF2RSP
07Wy7fa6Q79nWxphqkESW5ZwHVhJXtO+hHqH3x6XubvkSPnOPjc9DZrWobiKRpKXk+T7uB/XYzGW
y7ZlP8si/X5bhKEctTPWOAnP+HEPJqRQPqV648oYhdnGilZQHAAoa+JBHfpydXKNZ/62A92UnLYL
bsVgaZA8UpLfxkEJv/eFjhvnbkRoG8BvpThr71TNZCeBN7C9VTmXtvt5Bf4fBO1/29OABL5d9xYX
XRtYlOSwl6bfQygJ3tHBA7ey62juQBRk2xFsWkmTptKjhBdrHha9c4XbG0oLdVlsiyvTK1QskBue
F6DjeEza+87vvCMEYS7ZYb+3842otZEzdlBYBO9IaXUPToIGDz7Ud5vOBBMTVMOyBPavLclnBbo/
ncboM/eV2rbupl1Ez9dKN4qRvF1cerCayrubOqjGbJu7GbWcx6ML38dcNK5I2jO5bHYDa1siY3oy
Wa3ldXaIleFUgUssSQfDhzGwNk7euFftofAtaNQgbF1H5J0VOTseldtAaugmvw2s0Flg7lNj08xd
dd9Zml/LKZq3vez+AhHyUDmkJb5qU4Pg7g2BPhRQXtx2uZqUIsBzoXlT4jyDh1X3FICW/rMSdbhx
dCP9racS4jIlFgaMH74r7FAcFLK+jXvGiNXYHrxQnE9L2HKOuZ4FSXqykm23lIkU4lCf4NVcBHmp
VLXXEfOzKbKbbeVKEyrkA69Hex837EgbF4Q6D4rOPt+4IU0OQD2jIK/Ah81L+GFAMWXmV4oE20Br
vonnIU3XwcuIY88EE1DrVh1BuWxptvX4frm3/faW1Cu0xSIF5udcD+pDFZTlbvWcSw7y75zvJq6H
+14EMBJIN/3cPnRW4J9U65NtTyaT+aKappXuPJHcHsUrRJLiozdSsXFwIw0uecQqGAIBm8/ASiy9
Ru0ry9qGhYVA9NsjzFNdvTYEnLGltauvnc+8Pbzt6m0tOdM0qfFp7zHukdwZI2vPCz88WYunNnZb
THgPvG5iSf0BV1OnlrSAwmvCQs23heoZmP17uloQSJ84bRzkLuV2yluwh6OVXjKffGdDmgifqZAS
mmsIVQh7WY8FgKY7R0Yx33YCm0rcUah8PXnYkj1a21e0rTX4lHralg2blhAui0euG0RTV7sksSER
AFpq5V/Y8efL+W/yVRPiA3J5LXgAgqaqhiHRQzdcNYGejtBAjHabkhoTVKnDiq+FxFEGuYPls3Ts
/j7m8VJfWP33fgMjZmtIzqMzj9+gj0V72xesTVHEwuYHBVpf+BnvbSAjcivwQLFpSJB74Pgc48oq
P+Man79vWyDjjm3Pgn34J8gJOOdQy6shSjg620rLMCV8G1o8pLULrYMAAmDw5tW9z/N4IpccZf9+
ZeAz+nZ0t8TEce0FeVTWICSrItwDF8A21Ze92MiHGSQH8cDE1ql8i0Cc1q0zgLndTZHlmdLrQWVb
3eivQb6Qas7as5WSB/eEjaMb6TAE3ysCVTmQY4eSH0TdF8kayHVTsu2ZNrXVmccS1mBvL2elBSAK
owP4ltsaYX+xjnbGYq5LiqzPhirPq4bP1dUMT62nLfvdi42IHYOmmByJrG+EjHjmWnN86CFEuilj
BQft7Y6c7A4Hn4Vsm0L4ie3gttr/kKVwtyEAQRV6O74OIWkaLBh/AJ/QT6I1DPfF5FvbzhrPhBpB
EK9pW2g754BjjJ9g9VVfQzFkunDenyPnr+c9CItvZw+k61ST864cvAb2bBDHWtM4FvEH7sGesGiG
NVFoVZbbgsCEIE3oUEB7qglzD+3gHSwq5a2Alsampz7g4sYvU8Zr1BYo0JUM+qwuZM9SGP362aZt
aiKRiJ6JtiWS5AWAhI+41aGSylf/cdvo5wP1txQ8wIZZfI18arDn6QpdxTFf+3EbPNAzsUhRDPc0
XUJKhQAhA6FSiER1Kc4gr9jUR/NMSJKDpjt8BhZkJdxdn1VU+D/7ONpWw/FMFYym9eZpCkK8T2Cr
+Ti1vvPBH0p2IQbeubMiI4K5C6Gy0Iqw9K4z3kHYzYEkGROb3lbA1b79sJEdWJXVQpkjHmdRHAso
ej6O2KjWtm1pIpMssLsgz8EhsdOrOClAgMstGI5u+64mOol2vorAEoboKvxLbznj9nU8NOHnTZve
hCdBpiZqqyqK82gAoc5SYfyx7OW8qTaHKt/blR9sUCId5cXQ5OjoUS4VT0qpp22HTWgEbFuIVUWQ
9c6LFfLAduDx71XpiR/bVsZ7O/cFvIAYkp5Yd2ItzwCEjRy+rCV/2Da8ceWSsGrgT7bEEFp0odAU
rIw00J+Kl00FNPipv51+YLewAY5EkS9oydyIBv5Stt17G7e8EbCBp+bRbdsiZ4Gj9509FzsR0EtO
4e8cByZSSdRBLCAAF+cQHLYSxW3rIKH1um3lTbQSpHqgyBkh30Y5ml3NY+WdAE4Zt4WriVjiDLSy
sumLvJLIjWFW693CkNPfhjnwTNBSXRUxj6oJolPCtjML0nPfoJk4vmzalKZPPDTfFqhjt1Zez4AT
kom6eTCh/7htdCNeQx0LyB4MVl5BBvMj8QTbybkaXreNbsQrZCI9G8mxBYOGRWcqcor9PFrOxs9q
hCuHpCqFuW2Rn/2kU6tfGmi3NN73bXM3gnXRotHnJlvOPObeVA5EofBEZ+m20Y1gXe2Kj0QtVj51
k/4MW4zmVIT2uqlQ5JlwJh8yhm6jZJG36wrfQUlv64KLTeVoz4QzFXx2ukHMRR7CCCJzFl0keq2q
baeYCWkqoGQlrWaycn8K5FkCnO5nt98GPvqLF7JbQFokWAMrH1tWrseOye4R4kZy4xlsgptKqN4P
rPSs3AkbmJ7Y8yzhMqBqe1tAmZY2NEQW2PmYP7dHskMJufjk+XW9LaBMfFMTqFYPFY4atfTdVbUs
9OiX+tKj6p0bJDDCFfe0Gy5RgFN4Uezogjz83JAZWsX/HFF/31OGVtLby1VKvNQWMVs5rOICSLor
be/BclOQra6g3k0ECddtwWvqfQHCFjEo2Vs5lE1m2MZ4LghGYtg2ugl3gpoyXMpgfQZpQO2dbOjs
JT3e6NvSP1NNqgaWKrZ4We6HOZj909kv/CN036N+W2Jvop6qGL6rOrK7/agcKMR7wXygcth4Opiw
pxEuG4KHAoYdDaT01DJBZmYV9frzn/fQO1vUBD35KqhqBwT0fRjrfgfjCNjwVg3ddrT555/622OW
VgvUzV1u7X2F7LISbIYqPez1ts3dezt6UcVWYXlBsQ/g8AADT2qRH7CBuqTq9d7SGNFrg3RQDc1Y
HhrXstudbNEWJ1B/3rrrjfCdBjghFZB7P4TSt5PJndT1/1B3rstx41i2fpV5AXQQJMDLX+Y9U7eU
ZUn2H4ZlySQB3kDiyqc/S90nZqo93VNn6t+JqHBURdlyJi8A9tprr09Psv6LT+Xv2y1E0xYQhPm4
GM3IFimZE8JEkNH7137+7yYoaYaklyZXRyf5vJly3NUBeSV/7cH53QSleA40GLK5jpNA6gf8A9NV
Jtr9Nfn4dxMUaCYOz6Unx1ZNL8Hx4aPL3PLtLz2VvyNR59yCr9P208kmrPvOqZjeJw0Q2f/80/8B
Hv8XSt3vLigJkFFA3tp0aoJO6guHWlTRQ6aThA83IW4MKTDgA9zsZcoR6gwElyP5IaZJqD5cjAxQ
NOgGMbfgIC7jZETZkJXoW8KywQ4bIkOS7bOUNOJNDS4ArRRHPgA3Hvo0PjejkRMCndeqiPaitYl8
Iz6ZMBcG6LOj37LPP+JxgGzV+pj6MHfnoSra/jZrMjEgRzSf6m+I1lcGzIMRJIovkVKmmzYyaM1E
iS9R1W8kdrSuQLuIR/FOHNHgw3mwQeqvVWicsiVjpMFDN4a5uh+B0PI3vfYr8toXgJA/U+16WT1O
FsrgLQBU+Uq2Ap5R8ZgpI4Fdc76OfLYNEyifz908dw0C+3CPTkVucg6ih+3tuLVR1/X4/o1Z1Wmd
WYGhAXBK1Ws8dclwl4+0UO3GzSzVN2NhgUDdOIBE8/eeTVTdZQ1X0WuvOxtHW0v7FtXXiCibbN4M
cVPX+LI6l8GcLH4myO6Lyhl9W7uIN6p0uQKZbxMSX0V9Cc9ynI1lEeOoOEPaqey0qytApO5EGDS/
zjVf8BNyTkiMkHkgUMF8qnNsRfdiGaS4K+LVdscCtcknK6tiY9jrhaLuXPO87a7C95OLt9jgx/UA
oi5fbheDsMCubJGPZb+siJwE1Uwj7a5WJfdrPR0bUBfJtz7RYRnKFq5CcMWs7wePQFjuOdBBOp/c
gqhFKpLZbTCSF5LkEkRnIatFNOi1rICC4uKAVKmuXjZqRRIemiHAqYGuAAg3m37YZHHuq2njvPmq
Kq7sjGQA5N2A95fGHoEGJKmT5pSakaff2wUcgF86ysgq9jCSA+mGmFiCP7ZJGyv8UXh8K3oIfbV0
4NUgwYACxDBk+Ht3QwGbHN4JN5r8V7TUTYIwUKEqzCaq3AzklazacLGZmzVZfwLDFcg70ge7fosp
Cq02jZgKJI5PTvnhMgT5+YJlyIIDMg5smMJvEeBtC39h7ZggeVNEWaqHHSkanUQbbpKmQnhy3vbu
I4beYB7zvg7tstWjrpBgaupvqZ/HbCcWnasymiM85rPKWv2TLrhG7+BZx2DUrQMgNOchGvrsBkPs
S/yYK/Q7aYm6sbv2adqeHZXRQwGcN3sfnR0lolHxhQCjFNuEhQyxP7Ren5hEYuV7jYhOxKcDAJOt
ZZ34RlW3yL3V8sZpGZgzG89AOapfTYOHSt6ytSni9ozEGaR0b5xE4vTLgtWBjbtZ+KxttjFIU+MZ
dNZg1RZWyFqoLeuQjf2SkmhZPzyZ7YSEyYIAXKMbiMhRaRKm12tDK2zH2w47A0APncukWJH2CsuX
KscIbcZpb9HHn+NjFlkkXB0w6pguVdkjdUj9wnDYFFxZIzVFT7CQIzwlB/0j5LEtMyCc1Ld20HAv
7D0OcwD6IEFI2hE0jMIg6nsl4KnjsgdEXL1yLKXF4wxMTvotCUTXcVnYHlnb285Zx351ek7Ga9ss
uXr1Yw/4Vck8QGN3VYQo4R+utkhXBhImAtKwq7gFJXZRE5KiysiAakf3rk4z2ASA+AOy6EZaGlla
dmxQid3OeZXAR9DFZAEHxDiARTMmU/bLEBRh3WkZ62Ls9pmE0L+nEaKG75QVBuHxsvV23XM0QoDS
QTJD9IbbalxV5j7nbV9ia3DFAwiucQa31QhPCv5MNnj3JpJxBv45Ez6ic0nqwcfmINWkwZdk8GvW
92mTELWNNV+jU9Qyjf0iSy3AlQQ8v/cgO9tcZdY5cz9WiseAyeU1+9nlrKeYMMx5Xn/FRm8EQMS5
7BEY2iz94E5AZK3Kw8+eu6gu0R9CD3yjmR1it8lMZ+qvYFqPGtmv8eJeQQhjIHEq3jbS7TrtlXab
yfnIXhGtzsXtIpruMzwnaumGAi8ut8hbLXLEnY8jvWYN02DBdKGNwfdiDuAmUhmwQq8424sOlBck
1oJ/FLJpzRD8vkz+gk4f4VEZx2APHmDXpiyAcF30XY5A8DH0b7zzDHC6oQCLvdo2amaTKE2D1B6J
dIa6uReZmbFkV5VnPxA+1g39drVCU1di9maekKgf42e8LAADLPe9lGIcDk0kGpkfBmrnPNrRmpL2
Eo9DtIR7l1uJiPZiCXG93ibrintVKqoRnA7xMkRVtB1jILt6BFni5g4bhXh1Tkq9gmx4nXS+4LXD
ZGaI1W51EPmGUs+8HvL7Trn6W0VGjiOBn4GR/qD47sh7zUAttO/MuQKmNA8Clys74gd9BPzVgXBJ
gFtW4Mpplz9GhsK6WheIjy7AYgso6X+11WqD2k/oHBVfsQJGMcBTrC3IPopTY9LDnE5WinIYmji8
BbVO86WKZYjOQmWrexq6dbG3LAqjjjZagZSR4GyxYhGQ5YT3cW2+erfgAdnEiwZLcJPwRLfjJvi4
989Y1QX5brKQfYKH4h4+hVoAPfohim6Yn8AMSsb6wMakyelGdakqbnikwLLZGDMiH3TT0mkE4XHw
bVSAcECHyYKCh9Xp0ZHMYklmTLHhIUldak5VAeTUdY0AxqiRWdLyVWxiresBMG9ck7wktE7g8sCR
1LiNbOoRY0UZBVrrSzGM2MrLkTdcfwfkzdYfnzC9ZYIduHcmlBbdePGtkBOSYkoC8F7yQm0hkqZU
84gCBjADs5Kx9A1ynuhuWQcAxUvcgyTw0nYsiAtP7Zw+ojmbFF/alatO407EVEGETVU7QP7KU/y8
dK3ldM5ZxcVztxo+/MwAV4iBgRsSTz+5OzNNf7a8xjZQxm3atS81YL9zjVlfgrNP6SdeqVO/AFHU
liyBq/x56VQbybK1UUNwAVOtP6OEQ5vVB97iHBsDahHlAuug5YRirgMZMAYnKOD/6rLtu6k6ge+4
4ArK4OkNzhwsf046rI37aaWfUV/Dioi41zAmUu69it0sS7b0SfWtX4txueKj8E/Gven65eKicYkf
UnCTSFnAmUcRJz+YcUMKqSmwScjeqx7Hivn5BMBbF+9XhvuDA7cdi686azxwX2qpw7dqzQANKkND
kl6XyNIe2S1Z8U5coyBgPisnBVrrWLZ1ygFqz0C+KvD1w1gLjl0DMe5ACjjWMrlLkHeefSwSCWZT
OUW8wO/vBRqsR6AIC6SKhirLzl7kI3+tKdaTn+uIC3aVs+b2vhn7xN55GFuaM6xQGcbtUD67/KxB
udW/KJiEdvdJtOamtIY247GyiTCvckLsxpcEpsTm0ToCwjlQcDMNz7JdpDqiH9s4WuYREBfPc4Se
6fva53SguwRIvxT8SDQJ3ZMskL1bgSfnJn4KSrg2O/a16DB42jYE6e20msCepkYKjv1V1v2zwyKC
6wNFrkUceeRJhbuA9xlMO7/23foDPAhxDSi1+E1myGfmPRivDx5AJrpP2rktvrbAB1swQgKb+S2R
hZTfYqRLiXsAOHgM+hLewx/1oj4xcJJXBcdUFvLIMUNJ2YetRlJcAxICPIonRyJ+HCIE9ZzQhM71
09jFunkLxZzj62Opl+E+c0PX423rgh5uaxKEKeO6ccMreKQV7vSESO6TmOpJ3cxR45MDEKdSPnE+
Nb0EUzjE/bGb2KiwCizJs4Eba7o3lbXysAhNwGa00ZCTp2ZSdfwhO+3MATuf8iVi34HUwrYI/NVI
RbxsI21FdDMzUxXPwzSA/ebnnE9b2pp8+uoHBj0SV3nFS7CsmcZQgUlxJLuSxWlIz0ZWg9hZrojc
2tzq7JHUi4/Ps61ZdhSr6zqMIviiu0u6VQKE3a9YfZ58ETwHXm02I3abugKFLhWg8kaRa9JHZO2B
dbmphqzT9S6nuWGPkOH4shfeSqyEjiFtbc9W4AYO09Ln2S6aFlsvW4woM7dDUEMzIONdZvac5eDe
7frF1PVeJHhDz/06ILqes1Wg2M1aqm4qK6PPMFIztvICzLQDeg13UupTFLRBTD/q3e7Owny1nEyz
oseaNt0IWqTBJ0yP2VC36Z3n4A/cIDE86bY8JWLCh8X4V1Ymdb5Gl2pO5fizTvt8eTUZVfQeCGkW
UMBhRCm9r6dFzrt50bO9SV2cTidWKY01H3DD6NSymfobTJAigaJMBeDc3+XYTkBgtgBoP0m8xYh1
ECtVhzlBUXOfWkA+cbQCVa2xUIziAsQ/OcTrnU1xoYduYwB4isWJh5qRFYSlqh3aDVK3gRXadXFK
kj+RIf6NNpb8JuxxxGiTUbD65LEjIr2lHxVcMOgbf/+fZY5/9/N/k/aQFI73ys7NqfORuqC9Ht3J
YfxrAwDJ70NSca9NhnPSeuJjs5Ruoeop5FN1/Wuf/TddL+PrrIZkdCeVtvQcN514+Twx/0mjC7nT
/9Kp9XcExB81VZ7IsSaNPI1NxdN6x9IVmYqUzdWJw4uE0TUELtZbncYEj33o4WOMkKn90RYStZYA
lfiuxYOkIZji6LWCTjsVM+i5bA4JNqIc44db4Btz/IZlYjUA22osplLIKc5A7QWW8g7O5taea9vS
Bo/1gp6YMG34syCc9F9/wd8HtWCWDroW3p2KDOXD3s6F9selou7XGGmAOiVCVP6sF/xvnrPfx7a8
kgmxS1hOFrl35Ny1Y/GZxt/SaNwW4woZpuTVyvgWagLJDaBGBfQzWOQo4ZDE1iiU2DHcsqNck3nv
O9Dnj0WfxPwmtRWRm2nAxJzZMS1JYSAIzGDu3rVxl+JApvVkco205GWZ5nsYBp25Q0RAg+JhaXJ1
/vSXjWSbAZpYxLtWECP5DjxakW3juQkOKybWnfgg0zr2B1vP1D31oP5RAkiP7RtfVh0ohBLVLOp3
4LLRQoIQo9Z6aTZRFdS4jR1Sh3Z9Tfxizwy4JXvX52mNPDDpFgdq+d9fif9VYP3/G3rw3n7M2swf
/3H7Y1r+Y2+G9x84lA//H5AIP8PD/n2C/X7+Mfz8+GN8/efv/0d8ffE3YHtADkkZBzgQqWD5f6bX
87/RBKzBAlUpB0OPfs6P/t/0ek7/9hlZj0QoTiE9IIv4P8PrGf0bmtWfCApQCBMGdOD/Jrv+n99H
zjLG8gw0L6RjRviv3y2iUnGkJU0A+aaN8vLoqVif4dwqzsPcLzfASUXRnzR2/tvfyFkCYZrHcQaL
ClilWCH+sNRF4PDqZQShD6UY+GINhwi6OkejzegRPbrncftnvum/DyH9l6yO78UZ6FqM41Z8/vN7
ItQI+WCsIpzZfbr2M7xWUAvLxVc4i67xCn5WPWUgkqeV2HVtB+WLjYSV2G9/+WTu3twU2xFMiMS/
FDoBW/cPD8vDPz7HH8PE/9me+/npCkpBgow5Q9LJfzNAJqNJMQyOZBI5hnXBkW9Jw7YCvRsE1hEw
6rVz+XbgiH/9x5v7b1PM/z4/9U/XJY0ZniHKYjxpEHrx1P7xXrQGEZvNjPoxoAD7ZFPnyaHuknX+
hKEaHGbGyCxlm8bzvaknzB6r1hQK5NaF0M2MKUdZBqj+3SOO97BT/c+X5e+Dab99OvDXwBZBCF6B
twPvwB8/HfS1sXfpiOHVaoTiQQDlfJjZ4sGulaItZ9Wj4iAI+RpwipsDcPBZM/4aobhHG8z+LN8N
1+21RwIOuW2WtibbkGKw6U8/5t+nKv7rg6JXkiZxFEPczSj09yj9rS3Xg1dVeHCbkR1X8RMk53mH
byMuUnYAiwP4PXZoolFWzM9N7Rh6MKKeS9Zl+n7Oh+4miJp/S3XDWgjXdrkSnyUbEToZlyafFaBU
tuavSO5SzXZqGxq2i+X0h5kBNd8IB/RzIQNggKouumbrc0RWPrhQdP7KihbthwpQ5uMUV4iVKCcz
gx24ihggIgLYbXIVRb/GKO100oLbgvIyxiECOExV6nr2dt9RuoqHJnWth2o8DNCSasmgYmNxq6Ey
6DTTX7KZQ5CeKp+/IVMULJ65VQRH8I7ovQ0oZg/aIiNsU2mS8bKg2eQ2XOCZg1YzzqfZTEt8H+xQ
hRPY5FmF8ksjkaabuReI27ZIwRm08z8QYZb2UMQLvAxpQ1l7EyC4QFhbpdxhwcFPXCdIUCirLKic
GEWKrzOsZ9tOf0JLRba0ELQR3307tMsIlS/y+JX4Lq7RJktrt6lHCQklmlEcQ6hfK3VQEHjQ5kEK
D47DthX+EEgUvaG6h9KBLgx+Y817A5I40OXA0tcKIL+asr1eh6Z7wrFsueSLS0jpZCPCvYFbAYe7
UXXPNGNLvi0QZfjeBZwVSj4nzaanSDcFW2bN3qKAAKMymwSC9WvW+YeUaazTaxXxC7Ha99DlGvSH
onzBkjaNefQznxuoIaIoqltMZLN9ipYYirkarcsd4UO+XcZi3aywWdqdhynvxFZS4xmMTbRx2gM/
WwnTXNc8yd/bEY3GMrQYBF6XIQX4jtIrR4jpfK6EdFA/BC/8k2F2BO8ZxOVi33+KanUxqAdee3S2
VKyHF4KVxR6rpEm/THwa/YkTC41W9GAQ5pK1ULrgHaMlnYEy3Q2zHU8KrKUDgTRzTrr8R98TWGxS
MsofK1rfMTjw1Qw7vRTvQXCO8jqVWKrmBELRDgYgtWsh7lzCimGWSa/vtDNRqYxeDgkiy3/yMRa3
EcSCp0xH/brB3AoYY3b1+qjdDF9lxYFcT83yAuN1sk10VZddS4GH95g7aBY97rm2+P4QHANufF7v
cP6CpibJaPeFbHpom5gAR4L+pJGX0Wu0oZZcYB1HZfJzrfO5LXVbxS90wIm/pHKArDpaMR9nzo1B
PzDJIfVnHymOzU9EsOKXIoqHjcafLzYL0IBIc48SWiZ51p4pDrqbIPNsC7lu2vF1mb4IdNi7EmFj
4kWO0MVbdLFBPFUopEG/E3FcTkHW0S6qIZL0y4L1a3VhPWfB8C8ouflbC6bT/eyBcUmVQqgfauiT
avV4M45pSj71KshjPMaqgvyhxG5Qxgu9T8XA531n2LQPqCg/xryYb1Xm1x1Qr5PfDGDmnB0LTQIm
k5G/RgxObVb05MQGkho0ZOmIfPBznRcHn418u7Tz+hjJCf1DkbOLrBex8WIhzW3QxBSXDorGJ8YW
TWCjgeVa4mjeTZh2LjZDhJ0ritZ7id4TdjWt3euEIfe6rNI6uY2XJtsDtFo/5JjKOwiJyNiSVHqB
TKLjq6xXvcWVSY7ZkrMNQ0PyWRWQhjdtACC5bEay7os5RienjeNxb5TIgQSsM7kx0PfOwahwiFTH
0UuuO3ZKhigcQBqOoe+iQtk03WC+YOfv3pB2kNwKOtt93/uqumq6umaLCbwZwuEaq0cQWYv5SFZj
riFJG0T8tlV64Uj+kxerEbZlA9JHyOARyh25doV6hxjtusEkCJ7i9XtSLwyNkJGBzllkn7tPPbL8
Ks3Yk2uPJ306teDYFkdsyKQ6WbwKPUhuIMrCMLDg3Zbsbsli+Mhd+qnaRG4r0oZsYgkSFln4cvYd
f0BIwwluvidYYD57XCHs0ec/xDI+qIz+hMD3OEXFB8AYj3QsdqmM30Jd34OPA4GofWiJZieOcPF7
lsy0KTuMrZdwOmJNbeiXbkpvNY3aPTR1tKs7dwb3C/8GItwGZImkZJWjO4q3+WvlCr9XMSZihqkQ
RxsWukVEYnLCTpdtSd2Kj2qiiG0itTrgGQQXLXX6zQKMdEFjDmkNoC2mOyS/ryWif9XzKGY0WTTM
4k1Y/bKP5jztECejh/Y884AZ6bkrposRFP2JOYL1YR5j9P6YND+EWvfUD1F7m8Jb47aUNNE+a93c
IekqllX9g3BvzCYH7eXL1EL7wvrc1KdWpAmOWuDd8SMibKL8FggKnu8K3ixPKJqHlxitM1xhoPrc
qkz1iF7iumU1QoBKPIQTUqBphdz6YYlx1tX8xqpq3We69csBRw23KWbPm03SOo/CUBSuzAvj5huQ
7P0Omj3QIqAiCtCllVXLDhA4e6T5zO9UqnB8Dwmbss04AmWMtkuGTJpIr+ujqHDNsQzyhG5Y0/Nv
ymRNsYtBkt6sKlppKbo6tvsM56iveGfVDZqmGMYcSJ55OASHdCtCPz2sWICgAmLaZWcxDfSOyN/k
8xpluzDTON8m8HmwElFW4gmZFVFRatcvDOYKOFoOuSPsmhFgQDpRyF8TrclXZdCO3cmuHU6ARNb1
bmVy3sgsWzZFLeOvPk3yV+TO9+b8qY0AeKxbNoJ3m1TYOWxwaNGN6sggMG69rYvt0Kr5fuz7oTli
N+nuc1L4bybup0cm+HwOfZRfLf73LSr0F5uL5ZxJFt+OSVc/x9C40TKMNf3OUQZegM0sjnXV0V8I
EMq+1gaA5nmszE9cWf5N0yq64MbhicHXq+YtGuJEb9qOzy+pGqksU78mu0AMGIjD/Obj0YNlRcVG
JmY6LrGEFgSLj9/i3ccpALmIiTuauqPfJwkYbj7L4kzVmE0ljE7LWTpEce8lsxrvPajxIGB73G/v
z2m/2INRTm7dNFpkjU/tC2INaImOcX6O+lrBBzJ53Ekw7cOeEW5wuKLS3dg0uWDM1J57yKsl5vjw
S+SytxAZscknvG6mQi8tEWjMIXCK77B2ubuRJhcXuvERGQ3wC4U6sSfnfb1TZMofHNf0STZ8uPQa
5hw0ccNDmHoGFnY3FHvpxmFXAQ34icY+Ebgsv6M0bTZL4fy1wK5xyKOcVABMs/W+QW4ZgMfClYon
qIhQM6r3IWbVTU8tvcwzWb4mqNWPIjB1RnRPcxu7sX5QkbzUYrnP1mq4mQKMXFsUAOc6IycYsuQr
6NjuB4de/dXgsHPouvQayfaAQ1woowYWUEZgQsgz293Mhi9gSvZL2dA03kN4Nshm6zNM8MQCG1rn
9iOIwPsO4tlORAQFo+qnp8ShRh8RCnsIQ5g2cNU0ZdtKenBhusm6ie6KWpu7Aq3hjUv75hJn3Yym
ap6XNPHLPXpn1QmNzAZrrQuXsEz6jJ4MecKRi6JBPpCLdc3alAVuN+67mgXE+wZWq5nFz6FW3SFP
pvXihsFtB8PfGvQ+cA4xaodms90hxMCC4Z58KDZj1szItd+1FasuCpaesmmQyz40Ib4nfRifaLMM
t/0QpR47VJvtEPKP03TAwO1qpNvnWaMvYcrSjSchHDHZBzQ6MeHSs2F5alb5q3D58t67Aj4Ai6mQ
somRSpS1MeC98EUcJjSoDl2kCY77zYBo9WG86Zv+PYDkt8fZe7hAeh2xMGtZ6kQl32VSBaCPpxrr
zrLcZR6N9bEb0QWJYGiCoQicCjTt8USjUrepwC1u0dthcr1CB4yfMtaIo1d22HcIM8IRZFDFrREY
vR3MvG4WofAcJLPYo2U7/SxwMvzI5g6DuZZin6mqGC3VitxiqkgewsLyrwWrUDtp3bkL6Saza2z3
nK/ws0jOe4iD6A0AYz6/wEOxJboSZz0WOexxSYrSikJQLDsV9ShcXH0DXw7/PBVHO8QKrTfVlMKo
ousvuCcekcifQ8JNtexN4Z5z8GYAVfXdyYfoYWF03SUEmzQdh7Dv+uzQhHZAujRmyOE/wCNi0zFs
o5hieemD3Q+uxXIkUcZQ7C1PaOMlR0DMWxAQHC7mMCQ/oZ/2+96ARawnHrAXFM1L1IJQWLfrnsT5
Rxpx0JdNoEADNf2paNtDMZmwm5W+C513F6wFKN0c6b/gvLYeJYPBrYlj7KW+vYlB0g7lgP5vv6mK
zOwKdPUO9hMcHRXY3mu83kdIX5hrE+CDZq45FABPvvQiK25VsDhZjU1a8mE1e6i6WEdk8bYU+ZfY
YjpiqgTMixM1mErGeGkahyOY46CIOpbceJmL96Hr3AvEXVwCX3t/yt1cJmEdHjoBS+IG7oLsS4XE
gz1ac70p0z7CoYY31ZGv62vLm3W/sARt55bDGIANrN8pO3WbFYZIc8p96lnZG6Nh8NEWt1CtYMiz
DFUTUygRyrzG4QNelLdKjy8dPIvvKmhxwR/s7zPEkqanShl+y+oJMdjNPLPX2ozsnNrR3pGOhx+S
0PnB0ckvZeWCOkac/2BTlOpNms/TLbpV7EfHogndrUicFSPsFn6q5AENebaJRpQXjrbRFQUlP1cA
qx6mwUznhDLYF9H7oKdh7syZDLm71e3sr2PTwefUFvjP3qGXiczBL0hHIZA2mPs+M0vfeqf7bUSg
OR84csKzUi4ywBI5yKRcoHideJot+AWVwJIot4M5O/06ZWv0XiEOdFeYPLzDpLccHM89El0wrl4u
De0ufQX3BidmOvgORdCuqBBCXkJMpXqLtnjRYFfzrSpnmA2+ZnGCbkA1chw6V128gLcFS1PWR/zD
Eji1N6ZS6rpMnXhOVvxNWzFZc60yIFf8nEEIlXL+WSlfHCWlyeuIhvS5Hvg7abvhzEKxbEiaZE84
tn+BUaK9UQIVbQlO1tXlSfTSpDjKNpM3xyiKmjfJcvkxTRPWN+SkZNB1DmMXLWcLS8SNngeckbSc
nnKr8muUzQPaPEYfCxFFWyfgu/CTsJvB6Pgwhpo8gi589WFqgCYzVzPG9Ge3AP6e9CM4y9Z9A7i1
S7BhRTqCE5ZMb0XEbHTAigROPZpanxMChMOD2frq2BsyvfqZq60bJbnUqZD684JPpYnq254u2Tbt
yKBg0hTpOYFPLSl9D+ttiVMs21c5BuRW7U29KWAFOYLOFGAJ7oIECSspNMFUvfcHuFbSj8yl605R
J26RB/EFlhA//my0Z7ZDj5UP9Fr3mQ1QdZbh3sqOVzvHlaMbNNvomZpZ4XRu1jhHELB3DDAO6Ztn
BfXJlTSdojdaTGnYV7C/fS9w8JJoaaniUGlD8BRma3xJIUhfrZwhL+Whh3YWYHAuYkwpxyytyywI
2R6TOaubPRQ8nI57oFLzC1e2gqtpliE/FrBZ69OwQnC5meIaUtpIgDYoKex2YjtTCgu0zlFlUdfV
B+x8yNkZXWEesJwO8gesci1kbpm2IEzhoeWvrkEpdIcszC79BQVOTjM+h9XwGbRCY/EsSQd3wT7p
ceQuZQr4yD1LO/gcemMXgZANL98tTfqnGAVBAbeKeSywVVeXDI34Z93P3TOqJ1iMYXBm32FEAKS+
HXK+3kV2jNtDC1vEjnPH7gzeMpTnIubNVvmm7XcBVettPQa/nHpoiQHKRbU8zHFVDecsNlqVyNJr
t4QN/4e6c1mO28i69as4PD5wAEgACUQc96CAqmKRFElRJGVpgqBkCvf7HU9/PtD6/2aBDFarZ6cn
HbasSiCRl73XXmvt7DJPS2WiD024hJtFOuZ7HNUjQs0++Biavkw3HAnQy5owGks3z8v0h9OBuXqa
ZlrmvebIllbyET7VrFy6qW0DvQQ51G2trbaQkyFQtoohiitNHXOaZ9NOGxgeYDI5E5VFBaHWdf57
ZIl81wbDP3UzQzm56eee7W0FltFDgtFb/XpsGv5z6HRh7iZAeXfYU+l8sF6lUwJU6qGmOUWrte4c
hEbvYvAJjBf2NcFEPinzplc0S92hzQIdiXVl/AAlAAFYoMnuMwWP4axPwtS8teC1QDjEXhMmnG/V
3Btsq08mtJYPROXhhyCgAOGKbsxCr4goPbkNC0J1I6JPutkHyZDAvkTrsdHsJFQ36RCDovdOlkPe
1pKZjrhjC3m9JQKjiBoN8uMsIuQFG9uPrIPoIwGoUYrhJjADhZnJqxaW7pzkLiQIFbcpgjYQpzgf
7+LQkETJswV53uonLhCogaN1mPPBbz2fSr4XjkX5N43GtMztSLi/DLUf3jRC5H+3Mu0eLH1wwMDL
BqcIlbbzeiEhTpkzGs44z8Zh3wnfhENl+VpzCFNrtA/Fogjwwtoohk0/mM1lU6XaJiSsutF12HJu
B3HkQRC/f570cb5yCulkblmVjuBCLcx7U53U1K2dUXI3w/Z8nKsBiT1IObf0mNvWxi5ln32O2twn
oM8aGf3oHXqFeFoou+SsGfAo3IA/59kOGKZxLgPu271j1mFJhd6fxh1PLh773jHbjVB8ytTFZEbb
DheaiPK0PpzX4xz9pc9FfWcHor2CDhzswRlYMqptSdvDeiIIzloou8nFPCXq4BZlENleIYIs9SIj
YyvHM5XsfTaqBFaKouk3ZiUzcTFBf6s3rWXq6UHRo7xzlb6SXNx+MPoeHciUyQ3xtrwY8wao3p4U
DrY2aVIXapR53kWtyM5ViyhxS67G4h5i4n3PMjv1a2QuYWcEpfETHWty4YZFx67AvdJnz3WZcpia
nqN+SCUhxeQzlUUUOqwWTI23DdZKhKv+WGdndFJNrhq7dfRrQQFVB5DQCK3KycqQTkuDV6jZlb1r
lQppoP683uGRh09jEuu4SpHmXem8pPDKniqn3WhF4I5dXXxtzEE0G3rwasXGb9r0E3iu/RhVbfIV
4iwu9nEp0gedoJPOLEEiHmYVLABe0agCrkvYXugl+muUoVZMSiDHz9qUNIPXOIArEKiHnMS6UXhC
memJtUU4t3QbCvx4oWkH6pVR5+Y3vwd4ztqKDdoFLZ8u1EY13MvBLBFu9ITdjOhkiicMH0KeOYly
l9gF0WtcKdklNcyp9BzDMK4Mp+LVulRVEavXCvVNH1stVaKt8JBIKSErXvPhTenQaOEdF2Lcq3hF
cGPAQ6C9fd4b6bYY0qlxs74cii09CVCAcHClcttlenWdOw5nHpdw54FzjDgHhHWWX3bxMFw2Bg5k
XiVbOf9lGVnxfaIXe+NxjevThUl+NH5EoxsQnmaDXrlTg8k0RPiiuh9aWRZulRXUOSYltvvb5yrW
lGlZdlDnyBCbnCLYt6IZnKs+tutpB40NUrPKHUnV1imDT0kMkepsOTy3FptNbpSwcx4SpBAR+ajd
3joRuMnBxrSy2EZO8NQgcXBhBRPTFZHhHMIeuGgzt3b7YEIWGb26qxdn5yQzwbkrrrpNXhnDpV/p
TrkrkRTsTcUG5G9B+fOzHveycR9aaVBsgjy/9DU6o18ktpNZf3eyCaeb2Gmr4Kq2WjavmY1ze6mO
PXyrFqBEv4BgGc9nRd9SSiR/FunBdFp/9qpaKRs+UFb/gP8btJTPlOShxOp3uhjGRPe/6LM1V85G
H/30IBqtbh9VOLjzA+QrogNbG6RN74TekTTRgorzyfDjifY3ND8vtdbpXKvAb9ADAYpgkzfgPr1f
cWdQRInCg8MskV4OZZe0bia5Kb5BxY7oyTMOddbdgMrHzccM88L7uZtRtjSVI0a6tTeB6dqV2ZnX
naKkRHNB5Nm9eoExun7bBXmyq4EGP8s0mb8Hkep/MOdCI/01zYsaEfFnwywiIuymuaVFADxEBNgb
M7Co5rQWXQkIl64rPao9HcfB0sMmSl4SzDGSXuI9Q1VWfjKE1X5PMhmwfLBH2athWN1Qx06ftLLu
fzRzMEbsqsn35rSvbiOYvM4FAif7wiorq/YUNHeRq+iO4w6BP32W6hidNTHift1pIy8JZ/l1NBz/
S6PidKMQ+nqyZSnIJIShpQTmEwLCpR+VkPqHHovzg+xz9To0hCnPQrgL+vngT1q6SYuy9qIibmHr
muYZaRUNWYFKim8l3oQc4N2gjDso3vTb7qrwUdAr90xJRxAAe3AuEPeM5ybsDdfSFOccYxwqh2Mi
r0Kn1LcWkjzbHTFpTDxjNA2FQghKQzqrzZ/CCEoedaxcNTZBDcBlzwZu3SCEj3oLu0iTTnLNDiqh
L4UpQaUMm+77IJwU3JBSFEXvPr5sDd3S3QQYpaIsHeUOBPGh3vUOnMJtIbPwegZvhd9dNpRWzWDK
N4ZWQp3XKz/7NJtp+INaNoed1pOxhZmqxi6QcincOgt1l7457bCZjIQOnhHqw6EtBWTSBGVWlXYF
n1VLMAKP/MPkDCk6FLv7Ys0aKuuqqy/1eQ4OWpFSHNP8z6YNuHWYTF+JXakVhbmd46FGPKr9sCMj
viq7/l6a2sRVWCTbCUTrkvrpdD2WYTK6kOui26IdTE+iKICDLyn31X5jnrcjJAlLKN1dOBn2Iw1N
i0sNisUNYCoLfx6qfKeateqNJgq/2AkifVP78F5cHs0JiK90/5BKDF5cv1cGlJulBXUtU6vwWyYa
5ZzCm2v3dVm7ShzV+3AemhZ+hNJ5hj3E1gb9IlKj0fykjnZ2CZOk2FCxtuWG89Q405kzqtUk+jdG
NyGgKs2h+IBtp3MgQU4fqDhkXpt0OiBbHlKn9+1IuMbgOPiddsVXusBxiw1TWNwPpS2vojmevjhl
pW8dmyJTDED/OdeUAUQXH4lNVNQAFiJRo3DXDQBZmzpLL0yFm3zKdSvYBSiavUEpfyhS78/MHEMe
b6EIuf8HGvrEp/ZjxFoOuGhntPqWaZeTa0Y1MVvgF+dxBCjV6DEGdzYdKt8noRxzc6B22EK3yAdg
JOimsF4Jfzkv1byEUNrEFSe1jZb1Yva7/vtg6tTb1Exex4NOZPn+sMckqedhTfgkUL9Ujcht3bko
76LRhDFJQTtXJNTBdDJ8LwXz5kjNbJIDdL2nLFu1Z//XIx6LA6ff1qWkrqNKY+3VWDcW9rMp1ecW
i0PQzLhQqUOpHF4bGERtvQuhPd6NfksRl+aUB8gQdnxG0Z+Mr0+sud2Gk6V+m9IGvUOrRCrJq2zG
8jNKU1M5WEiAAdsaJy7Mb5SbiaFL04h/ZDQVjil+27BUMJciPphirf0unYISUGdajsbN7OTZmZkW
+ccYWANBWDqLq14ru3ubLHdwad2RiY9FbWnQgNSubM9QxPTdto2HaaINmy8rT0MzAUeHxKj65kzG
wiBZ/Bfx1EgBimkyq905UUcFtYKZf4BLmaChGoaqdNG9wSsWuXU7CrSubkKu8G1AgfQRQqYNBkto
tRMKwaVbBYYwvBhqKWGhgigVDM5SLa8O0dYeUEL1oYe6djpYqUrONpom6Ackn/JcSyxo/wRl4jPU
3gpzArNQnrLcjog1xhHnSSpW0RcrRT22RwRht1vD1yYUd8iU8A0au2qT9GOjbuN+hBhQhbPltSVI
NIlmgYRXAR1TXDUWXXVIM2wJyGYSgGNH1vUFihWuGXumwSsMohrCSyBRQHglRGLyMSXK9wECdLEp
LCEy2qe3XQ/YABF6F2uJw/ENbcbcTGlXnxtaqjq7apzmQ+lM6s/+579EOL0r4Ddka+YozLfvRTkR
EoTtv/4zTur+qbh6zJ6a9U8tT/O/v9X86/mPg6fCe2wfj/4B2lHUTh+7p3q6fWq6tP3X//2Hf7f8
l//pH/729Pwrd1P59Ofv34sub5dfC+DGviSVQv1/cYosv//z7y0v8Ofvd0AazW+P+d+/uY/R96L5
7dCk/FPz6if+IaYqUvuDpujwPoVG8RvJF78+PDXtn79zzv4B586C1AbxBW6qBvXuJzNV1/5wYA3q
wHjohFV7MWVqENKHf/7OH+m26ugwGW3LXpKoX2Gmwot9YVpqmiayJAPFJkxXy6KPx4pxP9Fewg/b
OdjpqDsepgywQBuKAoDQQN/SklzXcfmAkf3ji0l7g415TMH/OS7AvkqcYjjG2iFunrA7KBU12DFz
utc3or6Nm7FCqpaz4t8fa+FX/vvA/WcsU1MhOFLQg/+5zMELLixT2fV9PwU7CERoR7OI4r+lzycu
E77Iq1FwCHYMmIl80LUFZtNQBbA0RrFsmW3bJiOi8DUQidgkfgrH7FIp/K1u7OtmOOXxfnx/Pr+h
RQEbWSgrCZfi1Vc0hy6Y7ZSxOejEFjnuZa3M+Dd00U6vI21bo406QTB+4wNyoEodWq2uQ8hcsTHB
v+K2UNNgN/hYOfi5KpjeeHbNygxPOCC+MbNLcGCzHWAza2vHW4fOz/WgKMpWacroRvdH1XPmPDqQ
byQXSjN9NRP1wl5sGtLWOuU1vWY1LztkuaiXtzR0qa+bhFkKx7mimMq27AvbDalr7BGzA9b2oX2G
vVntCcjNGzufOrpazWKjt73iafYzW/Iv7B/4S2pknpiTt6ZfaMhXVda1Ds37eE3PtFtDei2UrWGk
qK8qvObgP5ebIOqqE8Tpt2aAXqqWLmBOc4it/Ra1RXSYGsSV8DGKi6L3KT4Xdvo17yvzvoIC6jkW
cnE1zg9dcqlUtBsQHSRvqp3Vbu4xIEg0H0jl/V393Ftnta0dB063aROiL/HJ8RSYGc3E2sbg6BoF
nih1KpFXq5NdeFGJth3vidS+S4NJuxL9LAKu5wn43/cnUEcxnA/6oHzurJG/RT4Yeg25lAuKgMZQ
73QaSgjpe20WeE1tG5fwmr9lyQioRk0+py4VpWexNZif/LF1tBOv9tzo5PjV4EQsASJmEkKw7o9f
LZGUQDUIEts6lMnOpKXrhXRwpkFur46q6xeh+mP0aRwDQEjnBUwe/NF1JooW3ZiXclOP4fSBIp7Z
umVfOp+zbCG7V0GA8x4WDKe6kjw7Fq2eV4OZTSzLLYYWc3XCItI0p2KkujMXfuG1ddxhjUxxZJOR
Il/AxdNuaRCqkU5BF/0wx4Z9AxF26MliUPpQafHxVjFEK3h+naBoSJqWVCjlX5D3A7eP+O1T4TGC
TyXSopuoUsOPtR/ADFaKUV5gW2DeRIgqb2HruEGa74A3sPnwMXDaV2Gjn5OEmreR5dujqzUjFSlt
cjbDnM/3iZDGfawK53uLi8GOotSvdQ5fTmcEJhTNhSQzW07p468perM3A5DELf4T/X1aTiqFlMo8
cf+8vuWWUUhjBNIL21nfcuWMJFxxVB8eit14gz49FbCFTpz6r8MFBpG8i0YG6fBqx6+iLN4WlTn4
W22w8LyNZ/lXrQsqy0EO8k2fwE1XDrU71bl+eH+7vzEyZVmCAUQc3AH2ksu9uMTjpqW/hd44cEYF
ZhfhlLjhQNANXyQniL4fgjp8QKQgT7zxSiz4/PU4Y1jeRBCmkOsWM3VoRTg6CWcrChWVnxht/0H0
dfOoN3EC0FSbipfhbkSjqyFLXOoXQIq4ApE345xEScaW5WWYqNPfceODl2UNTi6cGpuEUsCdj/Xa
RR9KcQc9nBK9hVfDrZLk2XdKtMa1gFl5M6Ip3r8/m6+v1H8OTvh/JL8szuPZHMEy4UCoDhVtp98Z
g+3AGK9u8WzjgKf98M52jCuSdsgZypj8V1PKhrMoHiBfWOfdyUyN1lBrZ1skZbdva8jevpJj7qSU
Enpw1V+nSoYgZcL4Q4kLbljNTHb4O4mbTPenbZXbD4n0F0MG0FpDn3F6UGV+VgJCb51mqNysxpSp
VMunQJiUvbP6MY1K/6rVkQe8P5PP3//47HPYDZzVqMRsFRbC8VTCMdH6sJdyi7Rc3s4cJxsfKP0i
hC0Hc32odVeXmnOIWt/wUrNyDvR4Lm78ugke/otHQdikSwJrPtBagEURVYgogfOLMQ40GbWrH/sO
ibkluuZgz5pyLUMS5soIsk3VQHpOJnmpwV24PfEgy4m2nhNCYMR4pmWja10tL4evmQ4NhFSw9su8
0w/zbKoHFHjRJRFaiyOPpUK6RQ/RKMaZKBtnr8WLm3CkmycW2xsrXbDCWWyWRby0lt6FQvczhcBu
WzWFuA9wf8GJMBoucFupvNQI5F4G2qND9nmhyKb6pY4Zz4eH4ItwWpLDLVLC48VRVH4rY7QA29Hx
/Q8+PCbK/sZPg9pfStX/szz8/19tKALMd7Sh2+/d499F/TIJX/7C/+TgaEAXcaiGCtBG6mmxXn/m
4I7+B7G9xpVGYxRKkssf/czBtT8gj9DcZxHHIRlcJJQ/U3DF/INjE40jkSfZnPkrCfhzy7wXe4V0
hrOJBN8Quu3wY6u9ooxFFyKoV7aYmew6mdxh1ggI/wNhyxnlhgOuRR0IRP6QyksIrFsN3kE7otxR
uj1mLPtQr7fYDJ64bpfr9PipHFWIBbMwUK/qa3V3WoxUxh3F2XaqXbr9CMMA9NuhTCy6bWQ5p47R
5314NCBsCAIkZ5kJi0+x2ikoxeMeDMXaRnPaKNjY5GZ21dIXEe+TMMG6gQgKe40BpJaaC3TmcBMk
ufKpQUureprf9DmEvyq96uYJKC8LfBW9FlzfeDOojfJRq8L2c5WMlPqw9bOTjcAMrdxUo6H/VY5z
DBLXh/PnMG7Nr3RRGIM9lgxUeXsbrP9T3jgY/2Q6BgWbuIgqf7e8ibVt0q7R4NUZZri3BrVG+efU
kX0uquVrpnGeoJ2Y9fbWbzSpucWUzruSCwNocbaDvWIhqwJx7lJjl+I/uQuzQLU2RSks6PFpPuyj
ioR6M3bIiwIzE2SXBrRlL49zSCRpP3RfKsMCOY6bKtzBjqTCU8C1aTwSVaoZUWLUsCPN0aFa7vht
Cws/gDMCx2BWKeAUebszQsMyXQPrqu82/LiFgUxB8TwJ0JDRPB3IYxOLpki8PBim60bYXbmFeMn0
GiIuQ4oGKZlID+rRboPagdVDZzskD9QgTbqrqal5jw1kPbljYVsP+OhAjoNlrbVnAUzwK03R+1O5
4erQJzxU6ceCdA4luGqBUhwfu0oXR+mIaeLWiERzwCLZubLg45abQtEMxfXTsTzEc9idh0pd+Z7a
c/xvXpw/N/+s3N/yLrspcLdr/vx9Fa/yCBqsCODs5YAgmVvhI40elHaqWRoehrJCvBa1kDjm3tbj
81nmCQtFGTITH0cVOHqUttPs3n+AtezYBKsA8eLzmKrOGbZGaOZmUupuTtQtyL2465KquYlh+3sT
4dBl13f5wUmDfOdrkYMwLLIvFbB2LC4zpAhpGHghDNkTl/E6R6GMx2HCEzkoojWkQcffRSpWGU1q
rMG38NMPjlF310QQ9f37b/7mKOABUE+JrKy1dXIwBnqMq4bm6QJDSQjTGLj4KDfeH0VbvuCLE8uU
VKo0VhkgDIk6lI7jl6litYXOzsuURWLfOL1t3nZ1azxpRuB1s21cOZPzFyez4eEF0iz+auGJQ3q1
xl49wTIRL3Ii2uCoczwmmjeM2g9p5KVXNG3vxgiqCgvC2VJB30B9z0+AT6vt9Wrc1ZXlT3GBjzyy
hR4XxHNEKQqGcsbXKqy6YNPC5tqVuFT+PeVWBOKCxdPN+1O/upyexyeSU8kEMWdgnx+/N12X8YJC
0eGxqIOdD+EKWMbsbuTYpAgrhfXt/fFexfjLp15gGNA6outXCGRUUGKC8qF6uoPlJL0ipdfAg7mH
9KYS3Y/YBqWJ87Evlf4KaG58giklP5lpQJr3/qO8XttgQupSJiUm4fVXO6hQOZsnw9Q8CCX+hj2m
3xrVlHx8f5Q1nsz7skPxupVMrybX6PyAQa8oyl7zYkON78i850OejPIOeryzmbAN5rYMU/+XXOZN
PqtBPAXGCtSLmfK6rWKnONhdlixns2y5ZsMu2c59dKrp57I4j7ftgsGY7FydtN5Ze9oXuPhMfE7V
M2AIoRkeq32BBykCpDj98v40vl6nFAMWCI97COBiDcvPdkiIZTuqN4f98CF3huIBe8cOkZhibOEM
xidMud96Nara4MHLBfhcyHp5HgAFmjkVa4wqo6Lam72SElQOsbfw804M9dwt+cU0ciw/o5OqoT7H
1cbqfgslvGU1Caxti0xxhrmdWyhIKaZ+wy27gr1loYeD5lr1PYx3YzjT1abIPYRM5XSZyVJtt20A
mXcIWh/BYNmqxocRygHU7UHRyxMXz2pmeFoCayhd6EglVjBrkwtIfoasixgroNQHL22nwkvaGM6U
wKDh/Y+ur+6Ff8ayQVYgFZAhrHtka3CyMMOY9G1nwcoc5jEuNzTkbu7rvHPw2Z5yG89vyDdiH42j
CNwE/4BzTVJDd8nq1Zq6W5KMnhXNzmMWc7nsIGfYUMFGYdyhScf/yCoa3fCwe/Mxp9Ro9HviZnlj
voiayMIljteSVOD4hE0SZ9TMPBJbbRL2pZ4K+3zW6+kC76/u9v35Wp01y3RxmhHaY/wMLWLdSTgH
nk3of06s1obaftaM+SPeqA1xZYw8U8tV/w5bzu7ECfdcIDlev1JiV7pc3BQ1CMSO3xCrapWlmIlt
hkXFbYzyfqGO1zRjqWlLtm1rUB1XSmM8tMmI91Ob4ebpxhRLx00icGk4a+daw8wOkeV5hNVcse86
pFIA3phU9I0T5ecanBXzYgxSme9tE19yz257hEkJCvvBe38aVxfD8zRacMP4ZLoUsLyP3yeHoNEM
sPu2eh20H5yudDzMAE4xZlY3/z+j6BStYYmQNT/HRC8iDow+hqwcbQ2PYBxVrL6z/i6sGCu1qLXD
c+Fn1S5BQgrmYzh3HRfTiSvijfEpWC9eTYYpbGPdQJKSj97AV+H0DPLLuhYXyDzOQ1mhlo6esg5e
VG7LB0OU39+f3dVJvrw3vlIgasA42Dc5q/1Q5QtZe1DNbVaKHi1B3RzUEum/1VfRFrMVeeJrvn5P
wNXn0jhHiEaV6/hrZkZlOYFS6NsE1vQl9ar0k5GF+SEhi8YTOwrF1lF0moM4iLrpVmGd6km+Dnl4
YzJ/9oZB9mDbr2BNP4qMSJcVbxwO/icpMxtYf5haiwy3XRQwmlzsQyxEMfB1LREjPsO2CKyxz++r
yDKHE0f46wUOdENpewEBmJx114w6JERTanTVC+IIzTX/Iah5nxjkGa3997FAkKcxgI4lNP8PfLfu
aiRNpW3gQeLXkcT+jAupZX4v4TKNno37poFwcu5uls7SWMK02I55DUowfT+oefjDGsv0C1Av7CvZ
jTN00gzfaxzWZXMROnPU7EQc5ToIDsbmyPbn9HOToNM9CxAuUsDEHCDfz007Pb2/eFcF3OeXsgCq
IHkggnc0Y7WaHPh7ZR4Z+rZPs10T0FRBp3a50WgD/X0e5xFdjZYqXyNk8JiU9xWYfBHDdNUQ3uB2
THdoI8rNj1j6JvfvP9rxPcOTLSixA9SyPBxUl1UU4UAdtzH8lx7aycrrW1tgewyA8xGTUvPhF8cy
NIh3QPWgbLA61whT1w1VI/FL8yQXMyT4IPO6FvrsCMf4RAzw6rWWXAEaCDk4DjL86PH2dfBDxwgc
o1TQJHGZjIOE+BH2e1Om8kQutErzmcJlLPBLaIwO9akF9nwZ9IGi2+qMG6IHg/Jq5qk4j7re7TJN
fncEcJctQJAKasg7tXPoQ4IccONUiYoQHU/WKgmME+nh67cneudO52JdkqY15I5tUS4QGfL2ioFq
AEIgcN5goQM4aXR5aqjlHH1xH0mjVvU8ZSgEQvV2AtRwZZNyTkJpOnE0HMcpyzwDT2ocC2T6lHHX
fXV0O84cv7Mtb87V/gbTy+mhkEg353HCgaIJNC9Jc3Hivnu9dZdRuXBZuapmcPscv2CN2UDo9NhW
TsEgPyWwRDfOaMQHZ270syD1bbekw9VGhBT1ragJLznSC2zEohoJYY1lFTqn/nZOK/3XPzJZDcS2
BSQ2NHV1puB5HSMAbqU3YH25K6t29sa6G3Z15KvbX924lFAEE08dB3LTOt3H/6EwhsySXjYX6hke
O9YHmELJlYoe7f79oY4vmeePzFAL2r9cM2BHx9M9ayWuJM4yVGNJ10xVJLXBdOp4OMZtfo4CdrTE
uzrjrEaxFBNClvAlAjwJs1OPNfOLaIL8YsxiEzWi7nTXVpHPF3bvn2qZtbrY/xlcf55MgwKsuXho
vtwyTUD5NQw66c2UBc/B0btdkFTGtZX5pYcLt7MPKN0+gGqkuwyV6YHAP8IRbqiqE6fkcZDz80l0
ygwkZSAO68qHmgeQ4eljA0pNx7oGscT3BnLuVTbazdni4rSTmDjdy0Ht7sqmy0/U5t7Y0LgRsac4
859v/OOJSKJZRY6rWJ5jKuNFpqjiYVx0uXHX3hH4dzsz6cK/3l9fb74yZAJrIZNRFlztGiu3JsUe
MRsZi3R2E0cHsiP3PZShrXzjep0uZkPDwb2ZUMJl1nj3/vBvHJc2yBHVYbKtZfkdvzIdnJLYGSvp
0UK72oW2QExEv6cPra53f78/1EJefYGz/Py6L8ZaHc1qidm9neIEhdYOW/QA+WKB7c4+ULrqYrLC
Gs0OBox+OvcfTTn4Vyr6mS+4P1sfumQ61QPw7Tdf9jaVAUlV4PjN4aEHHeJA6cHdG7y24hxVg+IH
wdD4X5xWADD/O9LqE0PjgPikMFKeOhMWGLqxxfVs6b6gVt6JOV5+6yhaxebr5VirOCNVNb9PU/T8
WmkN17OVBXgNZjpyJ/p4WFW8tfGCcdNK+qnbRKL/UA/DDnOcU2nhm7O7JAxAk8D6zxyaF9dwB05p
cB1IT6BT9GakfK4+tHQE0tBWvv/Obw0loOEQyC0I8LoXPDYSsPUaji8RjsY+pUPDDh9/4aWgO2fv
D3Wc9P2zglkvEEANGEeULY7XDIIr3NPxjvAG3Kg2RmjlXx217i7gM2e7OZK/1nH6f8YjtCAsJuFc
X6nB1JEfdAVfs9IkutGodQsdW8D33+qtIwiqCocA0J1JQHz8VtgwISrVGGWetea8GmblSoRAdYpa
C4QwCa4PuHF9yAw0vGLANeb94d86dV8Ov1qyo2ikxH+MQ98Etk9x696liZXtwwGdPMaGpgtOFO/f
H9R4Y59AQ4G7xl0jxBrPRhitFgrbgC9pxLA+8vQwEb2cGOXNpWkiPIEbAAy7TjAwEslKtPrSi1PV
3tv5aO7VAOdyifXk++/z5uHKngKEASwH21x9xAThoZWQ53iJk7JClAoYxIraRUdI2zg/mrYjZsr0
VjlDYVb+VZlyfqSUrk7bEjj3xIp6c59A/lxemrde7/7SqGVbN8xuTMubrTrU1QcjEw5No0TlYYB6
yr//za/5YrxVxqOGtAyi1M/LI7Z0qxY5ss54J+b4rVFABlFh0BZN5cI/3id+hmeRUDlbaXiX3Wo1
jQGUIVQP73/JU6Msa+rFydnmQ6ZFc8met+Zw3wWF3DXlHG3fH+WtPU+gLpZaNHKPVzHfCHiZK+z5
KK3wzJNBpOBqFg9f+onq2aag5yTgHTnzRtaVpu1THVHX+4/wxuag1mJAaubLcXSvQo+Udkp+j8zK
G4egu+joDLnz6bXs5hTRH94f6o0jxiHGQlhCQYli3equp/1pTdObgqH0IP+CihJbMyCjpilKDI10
dZdiZbh7f8w3viNjQo3FSn5JDpdnevEdoRSjuJ4YE2377IVxrCEf1U/Vrt4cRWc5UiBDqry+kWRv
zTONQW2va/Lcs/XiB+Zp6YmF/+b0wRjgf9AnuGOPXyVtRDdZGl8qoo+az71g00GJE+/LLDv9Gng5
+Yhtya+1Q3m+/IAvlqouR7ROonc8KpE4hqs9o1ZgEx+AW7GgDU8WcpfbZRUwwVpGMwE2s/CxV0dH
o88RRhgaRwc6/n3SyfpzO0YFbcCz+bJU2vYOBce8r3C0dRV1oEFEqU/IXlNEd0pVnYKk3pxqpAtw
z3CNeqXb6VHwFSbmDTSOxmt7M0T5uBMYNewhieORnGTDh8kQ0HveX6xvHAfMwr+HXWbpxWKlcZRU
CJqwPJzov6GXvf80Q73dJq1TebhLxjioiBp+vL1YIY92dGL8NzCrhaS+UECW+ig79fgBIryt2rQI
bK/Ox+SBC67LXK02ofuntNF7tHtz+HturBkHtha9aKHnxqOSUkXdtNmcFdtyNgOsOzJJMeb9qVnk
eK9XCMgGEI9GiLS+zFoM4sWIxsEjfoU30ll4FdPBVbkiW7avolRZekca+xjvEqyCfNyvTHTXdWdN
d/NgGE9N7X+RMvUXzbhxqJwAz0H0u9eRFQ14Gdt+fwIieutMoEJHWYKja2EoHM/lZKaKndGYwYPs
IlwL63ZEtTQ+fX9e3lqp6BexnmDl4Pay+mJViO0tHgF8sbSnIVeEOQKKVn/YaSIY905O00Q83ZX5
FH339bVhsDMWgBjYlthtefsXSzXPgxhjQLIIWysDN4Tbs62xRcAkqwy8919xuYGOzwaGEtSV4CWR
Yay//BBjcelAd/PUIc9umoGGi5t46NHXhFBQsm2CTe8lLo4y+ypRAJ8ijD1zgdfjwyVitfOiC4n7
+FWx+5iyzA58L8Gj1XCTqEqeEqUjhoJraFzFqY7+N+pU69LE32neWu3wCWk8lVLa2GKjYuRIkbeO
ipmGZ9R4LGxoV4lHbGOh5XV9s8X0Va164zGax7J3x9n32x03pH5lTwE2XjiW18M2kGp9S2iuf1yA
yccm6BUME+a0KHa4w9XGpsiq8Tpv4+aUiuj1QkbdsbClEYWaNkD18ftjcGfrmLlyNpvRsG0KGd/W
oJy/jFsyykLLYK9waa3jkLIzaVaISysmVR1FnXx2dubcPyV0tDxBkXhrPeFlxvlG8ZAFvCztF0vX
hmToNB0jwVgtDzIW+r3azWInytqcUZB11Q99arcYNYpTNYE3p5ImGTSVNFnRz6jyi6GxVTWyzAQ1
JqlDCTeMZbPlXo32Qp3kXz69E/a4XaAWtGWz6yOuwppS9QWHmraNMzhjSuJ/NP8fe+e1XDeSrtlX
mRdADZDwtwC2oRWtSOoGIQubQMKbp58FVfU54paajI6JuZiIc9EVFdVVwoZLZP75/WupeLp9+xX7
w7plW96yStiCW/zNySyw72y+ceVIAWrpbLQwRifuHcKgD+wDWRjjFJ0Ja2GUX2EQa2PQYmxewtXj
JQznGY54KB0wtG//qN+HNn4TLDSWwhRT2Fp+fZ8gvKf0UyxA/W2vvi7zPoaCOSIzsOiDnpt1Be8P
3O2dp+NPAxstCT8TkfT4nQasW5HyElo2U/JVgpAHlrhnHfXNmI33erZOojpMrYBcuPSgAwPnW2tZ
JyfYgmfzfSqdUaN75blHWjlQ5pzcMdwMl5mX5SD90kl8Kmla3g+5PRzqyqNXRTb5nVil+opMOP2m
ZqHfONoMobPsrH/0Vv9WkvPbZ3f7jTwYpKF4V+hJen0T4gQ2Ka2K/EYb/cZgt9pXlEnxZ7iKK/BK
UFSIDZ10/jHw054XsXaHt5+C316Zkx9wMusFUeWl6N+0aBggbSap/7iOdEu+fZDfhoTtICzAmFjT
ikJc4/VZ5j0u5Z7vTJR72iVbeedFCcxi1szL1h4vesu+s7v2nfnBdndffVa2YxKCZc1FXek3+9DU
WCp1tEyLPKjUVTAltLR61YZamhqwkYn2/PY5nuRi/3ncPDrC6ZczWD2f3Eob/KbuajTPuvoQR8mQ
2FEO6bgMltxqf8yjbL5UtQ8FaJTw7RtihI58b/H+29u1nTQThi2uQc/46Rpm5jlLE8AeEVI+6NQM
eOyA6vb1oAZ1//b5/vHB+eVQJ/Mv9jgT8jI8OFU1W+foJe9WaZTHtw/yp5uIv8zhfz/zfScHWVwL
c4uGXlBAwYl31aqw0HqNpx9i2elPMzn3H28f8bdRkdUsV8ln8CAtSTPD60eVtvqFEFYDgD+OuwsD
usCV27nlbTknGci2IS/3IFNl9H931JOhqsDQNZZL60ej7yN/IV/0Q9C2vG9g3USuY6tLbenidz6X
v99Bvi5kArf2IJuMxMnFbQqYo3Mq4sjKM/fC0ivn0jCS8uztU/v93ecoRFOY4vhMLt2TU5sYXrxV
jACGfLCrfjoSu08tdmyzaXUCMrYyOchiA0XVeZm98/z8vuKyt6PTsgv4jEZWd/t1v8wICo0pY1nb
cbT4Ir/utmVWOFZ98+CY3aVopBFWZaMgRKbuvdsU/meWaPreYS//vDX8FJZg896K/08XhKkeLVY0
A2xZydc/SWXApaqt/SJvfY+gX40YzzWdj3Fr9HFoidq+aipnwrcuINi/fTMIRvxhWKRHxGaUIMn6
WyJ0MuRChwaqntTsvYtkC7WFyVyvww7TAlzIzb1+i6vB/pAnxgwiyu6B3AKYLOlDbwT0SYzcLXIA
u3HsA4ztDGacqZdPxF3SJzZgb+rYxFup2PyxdnBiWztIC4wPoR/XDdvKtbYA28tq6zkdBj89zGbt
EsyouxbbQWxayGuM6dayR/3DYLZFFuS6bIdNucaI5oO4LKKm80Znw84Rlx6kSSZJ6dz9QLaj+Y1m
i/kH3uXlEugQfdPgdfMnBCXIoip2eamzz6t1b6oF+zQRGM5HLc1Hu3D1q3h05wrQmw9WrjFt/grr
j82sBbtvGQLdzL+u/YyN3HZ6DYpqrpyMPpcaJB7ueHwWABVhLRj1pGaK4Rnga1k2duiuwFeC1FED
UHxbLKTY9RZKlOMlSQTDQj8jqjI8zWSk8x3EOcj4jvLq9FabBHhMLy+8h8Jc2mLcNVOD15BakjeO
oe1pRx0tGxkMcP/GGin8g654NNgrYmHkcn6yiVChlw2cNanixwzN4JXMPH1zIST08hwGYMXw2Jqp
rYPKTJuUjig5lTsjLXwTPqtbOJHtDEYbJGXKTonW6O7nfk6LT+3I5leY6/C5QrO05pUeGs9m1o1K
ATqvPbPuX42s6ED7ZfP30Tb1W8WG9Hf6111sGCDowbtqCbZmjwaG9WPn4bDYO1UTQ49xLPQ766r3
KqDTuKHbxNBQIrSDx7Stgeh6b3QVpRzUW24bqQ5HIJCoxhVBSWPvugPk263nzJ3RpVLkLtNAeYsQ
kZ+aibbLEoM0UL/O2o+l4RmY7dGgvGIl7Q2VFthvIDKBa21CC22fl3HPo26OzjWw6dUKsX3R3ZzW
dhm0ij2cunTQqKkUlTnbAW4eLaab3DUmYw8C99i9GUkzdkFfz/TexotJ7kqzJWb5KmF6MLai/MD0
0rvtl0bdE0pQOEWaWlHuFJWBc6RBA9GJucUeYtrTeNnAqnT2k6sZ/PmECcagA4KJnD5GlwM5e9Zf
BC/bI5WecdqBRzNpwUqc9ixrdR34hF3DzmV+NH9hw3n8jCaeP4jdQDoM4eaBcqEHYr230QLds/Ep
PtnUBVO8lhgkg2VY24eq7Ox5RxF1tAgFx44TiSHTNwjCgsmDckn2vcdscZ4DKAanVGbpTWyJuYfH
L+V5AWW0OnR89b2gttO5jfRUm4gNTk3ONnlCBrxhlzC59DprvkPB6H5aR0AXduf26dHJIRozeyrs
SCKCAonAKuXK0nK64bHUu1+nwYfCKblQ+pmmATwKyAbmMvIWepVCyX7mSl08tYD+62Y34LQxre+A
eNfyZtTMJMNrlWvT0dEXwwsA3Ar02WLGJZG2RfXSCFW9YD4yP3ZauiSB3rRg39zO9j95eYJJYBGx
onShknIOpZxiandZUYHg1lTCN663mZOhAjlMuTk9OFBVj52dajRx+hBg1Xo+IBH6Mi+EyfC2lflz
ausI7FJVtAzAtt1+kWOiHhKS8kbYe07/bPSlYxwd213cbWAYMNMPRfqoJ47zKPKh6PaWl89dBAJd
zi9Uzcw5GmfLhjmZpeJ2zuJxPvBSxPzqzNSHr1nblAJgPIHqQOZZB2ckWbT+LLYMB9pRS2UqACbC
ZrffoXsIxIJtIFT43p3dkpRFtqc/qi5DvZ/1c4dZahk4lM816s6F/mlDxg3HBfsm/nkEjqBaDVY5
Qe6M+hK5nbWAiBtUbQQOLr0xqnS72OjXvfsJ/Fzy0bKTzY/SpXEM5GWgw2yBNt1FRQ7zDsO1lSSh
gh+EbQPLxsHLndwL6QYphqNROuZHiCoDppbaaeVZ5wLiDXTiTn5ACivmr1OSuPtBj2V2IZxZO2CQ
0X+IdusntGYkr5fgK1FreDkz6nDorCl+RE7aVTemYB/k0JdrP/K8JA7/Lx2meaBGNu6i0ismdO82
IGGo2/iVDbPpjCPUHW4VvIlBfkNvN02RgreHKNPp1IWBGeWQOJnzqDf++mwxAzV3jKDWGqCNyp4c
s6WfN5/ojLguejqXdoWFQPNLrPHVCQxBMzWJBJ+NUX0oqdWaBhqtYlWDH7puqn0etc7H7qVRmojK
Im8ROIk0+0Teb75eZT4VdzzaUx1h+0JMZGTa19ayhuEMyFH9WWevBBGd3a1YqZ04YezwAYSb5xmA
bgRHldYbDLz+ZO0nAj72jhAmaQJaDfoCsLSzPGWyNz5qZhyrMMkKxgmNechnD17ypZUVrQgqcMgy
0K3eekjASz83nTWyZDdn1gNaN6IExF6Y4yhti/TJrFwjwQnRVY+SGJGImno0fmjN2H+fzHV5oVt6
4sVrrPwCDD7wI1Ut7hj4q+Xydmm6ulhbKsn7KkZMcSjdDCiyDT0omKvKuqGQUn5CACuuMRaJOVqW
uu4fEetkV321mu1m/m6uO/4t+Pq+UqCwRVp8SU0D9QIgWWljtxmZzjlePn4XxsTHOtFj5zIH1vFp
gGGqwXBCc7sb4Z2r0IMqdNFXftefZZBn+oOlCs0LDeiM5ExgtrehBYfL4/ev6BDpu7FurbSa72MI
su3BVZmnrsfVmrzImSiDMo0bfJddBZ7rgA6QuuFLSqodnZ9dgYykYywOHW3Ew9KDgmJqg+E2HLku
V5pbE4l2azrGaTQv6zFs8vk8Fi1ecFN+N8d0ziDZW9pVaaZ5EREECuwJpCXWh4k2cCycJIDTvi4u
Sk813l73p/yl5n2EzD9oJSToVg1rWPaW9gwxnZfQ7tPuc4sOyA5HVvD2DpKmd17VZo0yTIP0yhyu
cj9Xs3fQzbKng53fG0gpxAFqit59kbOLejKTJdhthDwx+xYzTM5IsUCwQ9l0AJT61V3PzXyCbp6v
2nTRakN6TXasKiK9d607REsBZca1Dh3b4qxlgcQktBrBp2QSqqQhcKz5fNfxigupKLVpoasZARPA
nGS+wMapx4dcIziwc6fEAHuKsbSIwHrB5JBAvkMnzZpvlpyHHx6ahD6oEkde+XTa2ACSR1L4gEsd
na4oT5Mhy6YWSLFY25gJEf3XQRxTqIMhZSdDSKdmgZPFYeAMfDbv6W637arbLTmXZltkifeq1j+3
BV7XV+iDYQOGv25FxNN0qmxJc5YoNSNaUlI6hFjHYMRta3WxUEUC/LyY5zzM61FryvHouf10Y69e
E81lFt9nKCXONFwTR39I3DvkMTaF6Sy+QM4Ke3sczUMNDfOQ55YIJ/SGTCIGwuvr5AV50eHQUs3j
20ujP9RvaC+lp5n2Gh00xWnzfLOOK4YIPY46nx0wx3flFUB83EvKsq8cDB9hacT5NRPs1ApRfZvX
3eCk52//it8LOPTOs6BnfbZd3NNCsTv7UzvOpQ/dp+zDSc+HO8YapuPV0vznC/NXhzpZh2pa3zR1
TqWjq7T0mBZGd68h7aO8IdtDudAosarmwWJ6/PT2Of6h7gBCZGN4gm2kt+ikGugAgpnY9/ZZV7QC
7n/R7IAtvcdW/uOVJM7MCptMIqqi18vsVa/QgeW5H9EgJp8kPKYOwDITT6pu7zbp/PlgLKeJaYMM
PN0m9PmiA46mfmPlcx21NZukzDzv/IV109sX7/f1Ow8IxYx/Henk4tUS/3LvctfYEJuPKTSoo4ec
lfChS3I3Qd4GViV9ePugv5fhKIpt6YFN4OgSdXp9LW3cdqkqBz9a1taIFuHi+9WvU3VpxEgJ3j7W
9tidjCt8dNhspWzv0EN8coJtldR950o/Qn5gfZ/8zp4i0+6t+3ru9agcs+oByUf5LIbVOMy1LT6+
ffw/PJ2UTiFLAn2EXHT63EwA6wu+GzgwxOR+bEq6Gl34dX9vx/0PuugfaPDZt43YS+nrf/9KLH5F
FL7/DEHkf12ynvj8K7/o53/1D8DI0f/akltAvWjfYEze+nH/ARg5xl+YDsipsTMPvtfZIuX/AhhZ
f9GuwqYKiFDAgDR+/RfByDD/gtJIEBqGq8NMmV/4r9938/dDCIz5327e/Ox9+e9nlR/GtjVPCZ1u
2GBAtJ68F+1i97GKOxCAi7mHaZMBCpo1hZIiPfeb2f4qHbu5n1K/vyyNdgJgbXbloVjqi8x2q+9l
xswiIAez3FZr41moOqz1c49Q5hIyeHUJeQFe9lo3DbKZOB0+UAO4NKVv3RSYIj6Td8xukiVe77Qs
o4rn2Wlz1aFkCBqvR+rTmU7NHrZc9L1kalftevRfH1evus0KfQDZV8byiHw++nkX/+fR/uXR/tm7
8u8f7Q/y8yu29s9//e9n2vb/8kxAT6SAHFIl8HL+9UhvCZZ/YbCdv8hD8GD/3CwGk8XD/Q+Dy3D+
cmydiJpAzcX2Fp2aJ0/sW0/wz86H/36C+YoQh6KvdytDU1IhXfd6ZM96N8tl7tmIoz1YsT6bqcUe
h7VuRv68GDdjtrLyH0dvbK7wf/us4AaY9MAwaq+KNNWa1G1mU/1QWjxhx9SgDeYCVi57xwMpOrrc
WyaggwH9rlKx/dXreibKZjIqPYrxi6sLu5BFE9BtZd9r1Th+pFMhtcNM1TlxLByPVmT5akKLpTf6
bd9r6TMOJnsIvNTbJGywFtHIrFRxA6tWojgaJKrY00crLIK5a+cXKX1oxbw7FJcLHypRkDVNa+xt
W3PKXd8b9bAXdFef26mXxwfZgDINp0Gt63lrtgZdoHjtip1PddUKUIhkxb4rMIw++HUxXsyo7Vx0
smbO38+554ZUSwi1QXmwjcDrhvVIdMuwqM4tjXaOlUoUxPBS8340OEnYWMUK0cRt35lJnmQOuLUw
0vUNMc4UiKHqdOujjEnZDbljRVOMcPrIWstucGtSkzo6MaLgvKz5yGLKiHqRutd6p/dO6JQZ7mQD
j8+RP7h6Z8fp9TyC/kE2Y9hSA7zOnhOh0ZOnzSjJOaST70VyKEwIWM4c1c20We2pDWJo8fa/fFD+
GbB/hVH94Xjs5LkWBwUyR/Dx9dM9xfpYCkbWSM7duh/6NnuJPVZrsq+7r4bI28Pbx3s9DdzOj5eI
7wvblbzbpBteH29QXUGWzPKiMuHUCi2ZzjHC5WGcxeU7p/Z6mvLPobYOLnA45H1Pk/BY3DuHj6AX
aUvu7Spwel+zSa3WO7Ox3w7DZ9Qn20+ZkwZEqF6vzyib6IheUSVHCYpcrNkr7VMJ2O+3rxvLLP6c
X8ahDeVNKIkvOY2znM1pgxixVAtD42SFPduuo79zZprTIiOZzOV8NBFWPA6i1O0X5OKGdqhckf1I
8DuqXZxTOY/Din0miwIw+0aMQgh05g/zBHqZdf5kxS+5lWTEfkRdsMGTO0rE1GkpzlI905MKLy8u
DD93GtbfWwDnSBu782RNWr/s1n7gASoYJNskqCxbdEGFmNVAFWoPZjh50ypfUsNqtCmk232Re6+Y
E4Y7UdmIl00NhsGEvcMNevCkFftCQvmHrOti67aiPgUpaqJGiuNZpqZkHo/N7sKJB3OKQxyxWimC
Dow/dYtYwi2qQ12m9nJexBrlkaRw3PKoVTYM/MqQdR3CoxnltbHKyoh6Z6D0FAzbZsbFAJyXJ1FK
KpmJbvT5fkS2VMJUGacFD/mIcXrHBGEtr+NJV84jjZHsMXlE3uwvuCGgiTWiU80h9bquutDrKn6W
AnE5UHoICM8z7bxf11wvb+2iyNgN6hoj65GFsgf7Ufpp3t6aSzOMDywyVH70ALZmVxgcFbsXZYUY
JsQ87dANn7OVbOytLl4GWCNqbC7XYs6Lj0m2WPldI/qGRKTZptk1vBlNXIACG5YvdolUN/IJTvkf
2D6PwX6Dbkj3HNFDWjxTEYuwu9lfYC2VV5OWsOGcjsombKXlnfoWU7jOqVb1iTccbW1BzLg6RufY
yBZbTXuEVei7jwVvXB1m2eCV+xpOjbWzWlP2jx0Fb+t+XI10/ljmWVLtusSb58Mky5EpmIce/kPZ
rKRONuNZGT9bI1u+wG+stg/gGBrVJ+5FmpTHtJ8oZLIBYo/is0gGV+sPyphl8zXxSnciMpV02DQr
z8dLMyXmiGPLzAwRuXQ83/eVo2mBp01FEhWZNVYXpbmpHv126H4Kzf3yvPUb99Clk+kc0COAZVLz
AAe+5+Z6h24EEINdRzPdXc/vxjlVrWm1b9p1EEflF/XLIngmKUIWExs+vV/NBEdZ8JKOSuJ4lxWD
zSuGHb4PXcSa/bnXW2w3l8pe/Z2la9kUgCNfHr0lTi71yiq93WzaoNtKTtXf9ZQA0WBPVnu2siNt
URaaOz/S4spqQSsaIo2kMEnuzRhMsyDzFW3KVZoi33aUqSeXptXMyV73jHE5pkLZF2geBQrXovE/
ZXSuqz36aZemFiE2DECTuc6ZI6FkBu5K6vmcuIRJLsHVyOF5rlddiWL0kw9jP7T2Q5pCZD/W5qCP
oVHo1XU32q5iPIKFFyFXTR4szDlWmDQaHxeP7wxobGPITbmSaG9VqUXd6pt4CavV4ebyy0uq0Fgq
mwBN7Vpdz1ou10DObSb8I3szJSOQhe7YOiTD6IikOW9M0Qg5RAPK783tkTUdUctVSetAp2dMFfzt
wfmkFx/+PAU+mEEsyTdjCeSK198AhpC+Got4om07H5gBYjWNreu2NZtiNyjXVx9nqU3rGbVTlR10
LRGfel4T/7KqKb9fNoWtG7QWEE4Kjd5Z/OuUqtP4+PavPPn0bswYJrF8gYlekWs8bX6pqjhJszZH
wkqv2wd/1mXkDPEmozC0dz69J63kkBw5FkFpvld86JmEn2TmmE0qBgZUtTodfXuzXCWKVfZutuzG
x8X2sztlqph/JpLr2NP0HRX0OGSXQr1TwjuZ32w/xMCgySKCXi3xW3rQb/TO7N0qiwTuSefIpyZB
mZjPcwCNwPUvvTa23kvEn8wIeBqYBlAOYnuWgAJt7CdPA2JQKObWRLfmtER9xehazgjs3r6dvx+F
SeIGH2RKtbVsnMykUExl5CKNJaqnET82zLjD6Ovv8VL/cBQCB1w55hzMSU8jsA2NbnopsyWq0l6/
bTtLnE1Upb++fS7bLPPXuQ1EI1iClJMA+ZALPH00zU5Mc1OW8Oga3Ka231ghvlVj79c+XwgvIWiv
Wdnfb+3/i1W4+l7d9+337/3VZ/X/haiKC/zv194P6edsM1O9qikJ/pO/19/gjf6iLXt7sogGk5Dk
nfq7pOS7fxEUZQDRoQUBxGaE+ddyXP8LPiPL9W2hbDqgjP5rOc4fRqKVOjodDAAyARz8J8vxk0Fs
W/IDzUUtRH6TxNopJ9buyiYn7tMdR6n1V7kwpGDDljlIbqYyfWdcPxk8toNtRXhjI9UQrzxFPmWV
ljG0mM1RpmnPB1Y0Ry2bk2iFIXOcLA23zC/34f3V2M8DkktlHmiTO+ObcjJyGENtelTJj6hNtiyX
lWnXIHw7VvZldTM703+WtKNBmAoKvS2Qarmvmy7n9QFro06rfC45w6EGdL0yWb7QU6+66cZkCes4
TfaDGNS3BGXtOxf3ZGTxyPlvIEro63wfuJEnuw9+yoTF0BsuaQ4iDFKc2Jda+t5RfnteOAonxtWk
+kjL4skVlchZ5xXL57GZx/48c2nUkyzU9m2Tyfea57Y/65dR7OcZUUwFfLk5qeiWfn0xY1Xb1dpP
zXFC1jyURAP7sbtHhY7lvojvmHn8Rx0r3D1OjsQo3hOLZ5Qw0esDmhMurzWRzdH1tSGIERAd9XnS
DotrvzNAU3zY7sers4PDZdMGQesbRWUO+fpgbLL3iePX4wHL7ciUr9RehtytYJWk/XrbSLyMzNxd
c0fYz8tDBSe6p9YjAj+3tG+a72ufqmVsv7XUnZCjYBpOkCb6rrbPDD9rQ5muQIIIfSGRh7hCnGrs
lvE+FV2mhTMepnVnkXK7T5puvhar0EknNdnyPI2o2wMdEF4frLVp3IKzJgDXZ5p5r/esZwIWgGYX
wBcVLqkLQ6pAZiU5MxeI90ifvFXFl0VqdMmxzImlBWPfUSXIp1XcEgEUVItbmKY1/PSi7PldbH1Y
MROIUUI2XCuhZS6xy2WsQpkb3jNVmno6amxY07Lp0nHzJFJRLIr1tOsqas50K6LDbcu6r8K8W9v0
Q+NCuJVhWtlqehomp7FtAlhMKC9GKuas1/uYPtRotByZI0L2fUzJTdW8wEbL+t1qiJFFrNk0fhqV
UzGUL1VeJoBM7FE1HcIqGppCduVd93LSrU77oOeLPl7Wpp9CnotTNzsfhNAeWHZZJosEUHbBCMbP
2leY4m8E1zKLJtT2/c7zwDnu7Fyp9NxWefupgaY/QNw317quuCZUk/ZZX1osNvyukheaWPDd0SC3
ZuAIVd7sF1sZ3QW1ULpbDHKOrC/nMrcinXi12sF4aJwwNqXuo/xLWv1ex7eVM1VcvDWw/YSwWT4S
M3oWMEQeKfK4w8ekWoXau6k5Nz/DqoRydVmNFwTfbO+KAKxvHdBAMw2sWq0HlCXZMSdClCbt3k0S
fflipQUbWcFSEaE85w+2SLoxXY6kLgVTLJmN9TY9nddb36tj+3FJWkXyKs1KoI8iKeSFYa8LUu+h
NMop6PzJ9T8Z9M6Qgm1ac/Qv00nH6c3OhYrD1bZA6Y2Nm/rnZKpYYqfMf5PrTpJOC1Rs2kPLP8Jt
GgBTbimJwBksuyAVlcDGbKqMXQ9sTqIlXSdVFhLZWrnicL782wIF23DZJuOkf6xsg9yM3gj/eujJ
ItD4xwblXQlYsrsxCWFiik7s6rFVGbE+2Uh09kM2TeauL9XwZBZg4yKjEtRgrKpo0yfk5MWVmruG
2FYZY9axGvbG7/A76WC+eD1kSEBuss7gPJhXKYFYtTMlDIh9xiyzJMcKbv+Bp91/THrNoWG00PvH
OqPestPSVZD/I505zUFcEZbDXgCwyD2Uvp5+a7yqGEK9YEC87lo6aS9iy83r0GLMZT1IjLi6dVjh
TgH41o7azmzERNcWgSI9MExKBEdzpJLEebqFZgbLXCBcGqVV7oE7jbgmE2u57rsiV1EuyMOF7QZh
COzC0PJjbEyFIAdjo3DNpZS0WtjSHUJTdtNwbZYL0m47n+T3pU/nAw0spIOM1su/VOSP1xCdTEu1
igUw0m1XG25Um6h6n3VZ/7UynfgL/DZIfbOHCCLUhUyIVLJsySNoeT0DWz4b1MRFN9wqijFEtGND
+27X8aQOg4mdQqW5HM4dW1uHgPyuqKLEWLLzpZha3AYMSG2AJnrt9nR7ebeepKshjBmUihDmyXDT
aT02iKJIdHdn6us0BpRalBcsnO8EiyU2z3zPzOKAOh3Cj1nDcRgSsSvmgFm9MK9caL192FdpTCtj
P9+rNo3FAR1dW+6HMa206yortBrPgd9+YLePqIGT+X4R2AOBjlBVbvZkDnXiALbJjK/OkGAoWtuJ
OkW9uO0+7qzmfmDKZAUjITOmKkshK8QTjq+ukq5PwZrAqwo2CTB03nHpLPb4LHWWgWobMHR3fhF1
y0pczQVvdkYfNudRU7NoAo8w02c64NKCx6ESaWh2+pQHucrUQMIDC1xYQe26agW4n3AUJRTb1alc
/Bba/JhRjviOHb78wt5Kvq+sfn7xAX4e+PbJZ7vu1me67MrNuzznceCWBM+4ZxMfLXy+9nwG16qk
qmsOk8vraXC3jW5FqZjH5nhs+kn7Meud94G5N0nOzJ2zF7uW3gsh7vahN0ZvCYqa/HNYayxpgy4u
TPMgsqX/OkkMrmEinUSFnczy20wr45xLWZtNAOonJ2ZX0dOovGTgytWd+pjFiU2INvXs+7Wb1KdF
T3Zm1tfRoHqPvqw4WQIjN9svZWYWl55h7wvIiGFB3HoKAAB7j8S7igettKsLOc1bHO9FdfOePvks
onwrKB8K80Vmjfakt77z1K/2pSPVcKWpvGOTCL/fJb2gEmtIPpPuLrp2q69Rg5ublE1fTU07cmjy
rim09YLN4Csh6gEon6ivCCv4NoU8saIBdHp01TRouqjvQvQn7h6Ym/kkpLGbzPROecq9kQSevZ1Z
zvaPZhH5hz425LleG5SNpU8e3nPXHmGDLyPSJnUo9eKRh8LYtFnSezBLaBH6Yt9KfxpwLo+WFXZa
dZHXzgWnkJybbbaNuKv7oq3KvqotyZ/Zy8o614hpK3QxKWG0FmPz92b2xFdNK6zvYhBGvHeX0eN7
Nj9lk/sjr8fx3CI5ekOJWT9Kd6wiNgia7/aS6lM0dfnih+CoEolxAHppoIaWDowNu+71i+EHI0nT
JxUr/TqnhBrZdKyca96KkoEOIy/ZDb2hHSnedjtoKDT/Zra+PJj9CHcm5U38npVDXRy8wnduXa7L
NZES506f068y120GFivpLyTtX1dKuMl606rWv7TqlR7y0iNznjW9qIKyXMzrpmU2zvcoyc59GPF0
uRhxdWSHwMSXPcjV2y+GqGNSqAIvLby9HKiWXtdDMFiN0g89emymH8qmbbr0UkR/6SB2m63xVo0Z
L2qJas/YQGZIPtZ+odekHRaHhLkhkjYs6r4wqAZje4ro9P5gt1khsWL49jOpYfKKU1WPl1Y1D8+q
yDvvhUlQ++TV9VTdswdrfMHaXbfHDm7rtO/hK6nr1EiQVxZjO94mTkMCVdIWnH9wG7ddN2G4n51p
hHLHF6Olivgt1URnni3KnJ/bwpX1c734w/ncGEYXVrPGboxb6CndDT6tF6S3k9wJYmbYeDNEf7+R
lnAK5WiMRlMU7qEge0rnpi6zZzAI4xwWwu7MEEGoP0dxz0mFYs7kS6zMdqXvpDQiOVJyDJtaND8k
PXVXeWqa58x11J05pK1xp1F+YbpFUPfHnFBbIxKGV33nM0i6YVXn8kbv0JcInONJZKpKPcUx4I2u
cVIzHApreGxt1uKhsBoWPp3uSw1fO2RDbOU9GiQn9qEVeDxcVWiVrcOrHufZV5Agw23TVePRL7aP
y1L3GRwgKS9iICsBDe0cPY4LXn9JRqOw8uVrN3mUhuvSLS91bYg/wCMGXttZPrfa8FQMu9GLmRIa
QxbnnymhqR64WOvQTLUY+Qcvz7UHp12SmTaBlDFxXoqm+kDmo+gP2mgmz7yxzHZb2dN61GtelJai
+NzE2mazBOdBI5fBuKLTCZK6NfPYbDAvKdwaHX3yjX9X07XjB2wtqcfFGxojoEpc7SkNDxe905Jw
t3rVhVYxTUfUGSidINedycqXt+yb6LzSTnIue5vtA61CuISk9MIp8id4OCygRL58bLIRoZXCrTtk
TDRrjc6rNtlWYlMqxSNtofTWOswuXJfNfq4DE+w5pRNnFJPzsZX+reRztvcn0e2U2zY/5qp1uA6s
f46D8X/YO4/luJG0Xd/L2WMC3myBqkIVjUhKoihqg5CF98iEufrzoOf/Y1QggxWcsz0R3bNRj7Iy
keYzryHkraam9YWGQVaZNMDwlyKsvKo9LV39jMTgtdGb1Z1b6qcsSg8WZCruccxdFeA8Dcnhzrbz
6zjSzD9FjstfahPPulUYRSR9qDv6ipuFVqzdVUvBtePxpDpV/IT9JTj1Qdewwxi6Q4Ikkze3vpXU
zgdEuA/RhDi5b87ZLrbjYJkcEdp6+YVI3dxJRQtj1UgOsTv3AH6ig5qp93RmKt+KgRLRQc2+tx5U
KM0pAVaYnzXhJI+JXHofHZHeV0ytCGOP6J+gqz2luns/q9zXPjoXrr+48FA0s/K+CDlb4JGJrqOl
uYP4cs070fstCjZHSIA4jxLe31YU0fa0OWdfjMYQFCxOEMtp/AgbAVh+mxy7yLFOSmeNoSLyTy1h
l19WyRWNOb6LyDAMGEf9aPZA8xuj/WJU+sHN+P9Gxcq+crrqMDTF5M+58anHl4k7kygPaIm2PAPk
+EDXldStGOOf/PXzHoHEejcnKEPRavmtqdn11Efiful7b4CElt90jncojUELWr3G3rPovavcY0wq
3qCq6+SHvUj95FgIR6fqnB5wc4x0Pmq6xzzY2qlN/6BW4ydkxLrD5Di3s6sNt0MBlmMopgn2lAes
2aS7vBddrn4uqGoYNHwtaCAluqDmHlmTkypiYe/mTqHllJOOcMZVswmTdBjhRCxwJOmwJk9lNxfc
MEUc+5FnfMjHofgMyQFXEcKilL9v+eFq+W/VLOn4KH0fn1ZJMd8j7IesA2Mmig69NEkWe7f9Jjwr
v51Iq2mCyv4gjHyf4V58KAYvz4JcmQHZfMmX8St3lEBof6JXl9JeB5tGEoece1B27d1SlYpPk8y9
dRCHu4nQXdh1VBj2NL+V3zS5uIXhG3xYnPIPR+2mLuePGaj9gJjuVqsIY7X2NNjOieLgJ7Lvz62K
u59Xl4+5oPkqjEYe8iH1/FhYGikIVcFGeRr6ZF9kQnwphVpn+yhPmxNwe9LoxnjKRJQH3GZ/cD8G
TeJ6B3KM1Q/a9e4ipa0/aSh8XOWlV/vlzDmJV5mDhH7WwY463PDy7qPd6nwDbaVqaeVY/0JxyL53
hCSSi5UnaSbRdSGhDDs0sg4ijo9p3nMxQvwqgig2qwe8m00UiFzdt5z4U97Xn6C9GV8UL3n0bPrO
ldSMK6edri3BY40TkAurpHcfMKyvnqkYVT8rPLLiqGs+FBDRfEVj16HVdg0Z7qMo4m/1khe7Qqtz
PxoinlxHaN+0qPS+1nrmaCslpvjGGKdVxnIne6H+XPtTh5Ggd/Q7rZmP7Ng+RPp3IkXS8gMvskkJ
Cq7vY56W8lRpovqRq1Zp3NqDmDr8HurIoz4QobVYwEgIDHvR8LgocwiWeqvtQRDSfSV/utOGvH8w
I2/M4Vd0TRC5bvnNyvirJtHCwoq7/EHIrETpOHGDYSg+icGAZJho9fBDS1X7A+Awm0XNqs9AkuCv
jU1XhFG8FolnAv67ZuwrmB/UxhOyCp05TQ52uNTktUPsjf1xsI3ppzPOkqAar3a/cuwrmDLdMWmM
OkwLdZFBnw391YwaLWSsPhufsGjVYT2qEAtba6imQIikvM+X+RNOgVw+WFndiJxAIkDUOF4OIxJY
QBWUMg1nEdNnnCsvDTieaQm3B73Kvdph2dtCMj4YSwpUrZ4ortlxVj5SZ7OeS20QH2L8B1ssI5L5
jzaPC93gWXyixDJagQ3zlZfds8SBl62t9rxOLuBjcG/iGA+6Kq9N9Ma/t2QDz6U6zFUg0Vl5MMwJ
qlUN5CMPhpz97dd6BEVq8SDZO3UssMRV8kH4EqrrR7l4OSxzqrnLlbWWXQNhx2q6V7Oy+NRXsTn6
wkGslMdt8upAWewGQfCF1hgXtmtK+FiaRwGN4BXkXxUXGFfmlQmdJtKdg9VQ1fcT0ffgP2oj03wa
AdnNElUg7dDfHoCQwzDyrlELKdYzUZansYfXBRjPQdHJbFKkMgYv44SkY2+HlSVJK/p41MlhJ80D
Vl9rd81UgWWbazlWAV6h/Ve975JvLaResGvZXBXAZcuJ4izJV0wWo5cf0xrTRzLgMR+JLmMIr4NL
ocrPBAhkv1Vp2PuAF01MNivK7TtL7b3nusygrxf0756UyBbF0RzS5aFv2FY8uF5R+70lB8cXuqV0
J1lZmQeXLEvsA9wDi+7CSNR/MFIBiRp6Y1EGS1cQpfQiqe8Ns1x+ao2NJtWMDnZxAr9lqgfVSnL4
Z9NsYKGdZ7dzHkUablOJ9c1KslEJ4s5ZihNl3HHw06TTW79qe1X47CcI1ZabYZbqqtIw+FOn+YHg
UHNr9lNXBzEr7QRLk3DH0KDOV0WbZviRIwVEzIr81OMyNzYkBlsQ3UyqrNbVsEyunYUqjl9E3BX+
1Ggg3MayXnQSD0CNAUQS+WAh4jUSebfUaPgR2QL8o3Duamja5b5q456oknorMQhKf8ojpcTuYTSE
prAjqFizddMG5fMlS8OIInpDDZgChG9rhnhqZQeebvHUaVjDj3o51EM3xbh0tpWE/ab06dGlN/Bo
zxVkRi/PcQmt+3L5WrfsFZ8s3hhPKhf4z8WdEvTtukG/a6gH/ObQmQrmHw2UyaXWk6tcdB081Nhk
BgjMDS4Ekm74rESmeVXrUsPEq3d5uRUjKSCoN+5TC57kuupN6OBeX48nKOH1N4/6H4im/mmc075F
dRTWYTBSF8EmW2/mZ3u0mmOM6h41F9tMtB32S4Xtz3y5ZkfATb0pk6n4sJj6oHxArXKBCD+uJalK
xDZ0SsWhRGsVdWr6qkxtfQf2cvkBJjG5pR4W/Wr6RreJ4epJ+GiJeChxawOZyzzNlPd15Eae4efI
H4Zox3QHoc7lGe+Xlo+64qToO06pinepdPHdTbIl57lQXFxpeVrVg8R6UUNUt3B+EiHa0PkHp3yw
CbKagPopDPYc37ePtlpbo4+tj7S5am15kAb2OceZrh+bcmyyInBjLyM6jU3VvrfXOyuM8gy5hQSA
2IofLrMoMNASyHzpTSVFCA2jV9+a7Nzd96qSPYku08srmxrh14Ky7sfWNptsZ7aWfge53AVYFzeS
Y6N6QACbYumIVCMv8Q5pIiCW5QKuJ8nR0GMbMsEgjrJ13IL19R1XcAyj2ZmRiWuUtD7i+lRpMN8l
vMA+wtebJ50oUog2N0mweV98JS+X3z3ylvDVdPxlULSz6+Y4ykw7rcJff5xmMCtf10Yhfjsisq1T
l0wWnEovdY5KPnrLjl0PeDgC2fanK/pWHGTVTEkwzfjaIXCgtvdd16pfqQSLH5zsCELynFu/hiyi
VYYggsjIjOY0viOtSm+zyW2Rt+YB4trKteqziyju14R7RPPxs5zQdmjU8hfl7GgOrBwrQoK8Pr/O
Qb5VQSxyAiVqLyWaG5XDBpGirO/qwjWKna40FDci4czAIlUUBWxnsqpdmaIg4A902iH3wqL7CIub
5o5eTFXtt4vhtNR41Tbl0srbP7mRDV+SKO4ec9eEoNqqiUX9UE/sz3Ua8SimHPMnyLagH2swgilI
TrzNgwEKrOU7TRM/F7rDO2coGSWEdmpMPRz02Lqzspid13RZz00GxlD1tW5xn2FYmT+V1qiyHSDn
ZQzqinKUv2rEOH63zIlArUYi2u/MaHQfLBPBR2824+9FNkO3rRZVu4HY3kWhkzXuiQkBGWssQ/42
xqJFwmFkw430t38T00msMuciRW54dt3v1Pa9G5tSTAUDufbQIkVSUfVBTavVkUAkpqgPSrpAbMVr
QXeNWuiMgDD9UVMMnQC1hgzS1qrytEw8eFj5FBZ15rX/E+K6RjZRabVNJ0GKWeOJdPN0Z1PRN3bK
ALTvkFZN3/vOXNCRM1wlRbTEqKviEext91WasfWT3VWheaIN3VNFLvOxilpemjGtUb7o3Wa8ntQU
zYbEoae4L1FrsK8sMGnaAfhbeYd0HRdObg3aQk3SpeCE5ik7zBuR+7hP3Wmtq8gh/tkMSftVjsMa
mE/6uBxsDQqm3yV1o1DimYYnM4MQRH2DpO8+phs8fs+bNv5CWZCFsAWQv/0ENONnjJps9qk3ezfj
Za0pGY+dro57iYktzaVe6/RDDc60D+PMMZMDTjmGcWgBYqbBojnE2p0peVjryoiNgwsM6Jn0cELZ
Kp+lfZu0qVbBFE+ntN93tDebQ5k7ShNUWjETadhUKAm6MybZIbRSXM8r69bXJNnRnddq/Q+pJYV1
8Jyq/ko7oa0P3SDmCNNoQ7aUnnjLTjwSyDekCC/YV+TFFXTYgmFJFnhD6HYYSwl9Z4gxm9WbZTeU
xpqz9DEtSlC5hE9pq4+3TmIt8Y6QONb8JaHYSrhs6fX9bAtmkI5ahFV1ORWfx1ZzvpaDMyIjAsxX
rP1guhOsZlsdhekOT14J9f8m10cBulyvNcKtpq7KXWyBefMpaUprt6CM4p3IRNGQWlARxDd17jQ2
Bd449V3kjtWvwZBy/FjaCnqTvSP79FDbqfJs64k7HUwdRXqa5dDGfQo3s3Kw2Vo/kqI2n/C0Atra
150df6QBwDnvs9rxPuNx4RLlTzpxQqomy12pzpJiths5CReHoQu/HCKrDqRFSXpn4rJJBK925gmR
7vQKfjgqVEjwDFcRaO0fsY46yo7miPXYYVTYHKoG4QtfZB2lIZJDtCtWjGvmt9ZYoB9ICM1zFFvJ
ddckfXbH8lpaYAwUhsearqg/upr2DTipmwdLNVGPqOGdfCf4VGmPlsO61Bjc9YE6yey+HS0qhFEM
ix+v8xl0MBjMuQnAiEdcKPRZT8QAPUIbGgHizsp7fC+N2Eaeg4hIv0ZwH5Q8M2puqkJpXTZjln+K
eUMcePcjhZkZlQnXbymUa4fO06KQ1ABvtmRO7Y8GIiXuvoyK7lEqmRntWmRHf8YJxRey/aW6AJt8
gTcCVkEahHwqPkM63jfnEAtLwxYdXQ+yNTFaz7Yq5qe8HaanziWfKFM1uwRcPWeSAiCBrW+w/CTU
0K3ogp8PWNKw6oDxDkcz0sT3RB2GhN61HSsNTV8aih90SgUcbMRhChQBDao0lSjKS3DRFyAdfgaO
ggDI/pFeNTfzNmpRDTTbxVFtNPmZXa7sGuG2e+p41QXNwxeoI5iQKvbIOnkfwEZt/Sl/qZ2VnWHP
RBfDEVNsu1/lHrIHan+XVPlezgjXUmjI1MdJy6C8nA9jtzV4X00djlLnjXJVBUEGuy9DmabJh7cx
Y68OhcozOD1iXPBq50Nxw8KymFDSUtGl2NF11R/7FCkvu43ML28PtYX1sl8MmrnsFw/3EyS6N9NC
0cxxUqRpj7mXW2G6zGo4Tn1/aMFyMeLoRXuKZ9W1MyMPDthz2ema7K86vXE+vf1TXh4VfgmsJc3g
9xD4br5j0YASoAEsjmWZnVSr/p3U43NUpPGhUf+LLWPYiA1AqgBt5W6AtrRMl9iJ3eGox1F2nKLG
OmLfqF1QfX1tYwKbBK5sWyAwt97AuA/E1pB1A3UokFMcMnHtVNr7JD/XA28wjxV0ZznQibZkxiTL
iHlEMhznKTKisMs9pb9fcguskNYQ5lwr1kij9+1vtd2hADbxtDLX2YGRR8T5fIfajUr62UxqSDoz
/HEs205ACkxJvm9mJXp+e7CNnqFDLWKF3wFRhdYGIn/rFe6KOO9ct59CGn6QUPs+5V1HxQ7ehKqe
PHUkJjJU/VHveww8Y6yV59I2jlGVZ/vKmJobndDx44UftR6Mv8Fz//woIlTuWVjV0LXPl8BVgTpS
ipnCeHbtoC+67pMhcyr8+jIj3AdIpklMeWdiPrxzCtrqAxpvBzGnl47wK9/C4P4DOctlS8Nxc9Ui
zpY5VtovoYVSVKilUf2nzLLxAWajfYHKuN3RzBkNKfTSuTJMjamfz3manWoE3raELt2NoO6Ffiog
iV8gcb42IT70aqoJ3dfZasqOA90ZcwEmntoqlUgpU6i6S+khUTSTGlzSXnhtuHUwbnZYDiChzyeV
6wtQRIgz4RKlYPTwXkSnarl1Y6cN394zryyfjdgO9xswT0DP6w3410s1eUoFZ0UdQn3VkGsNlRKA
Vk6Ht0d5ZT62Dere45nCs3HLxyw1wn4yUeSThmL806EEdvRidfqF+swl95DXJuQhGsOWWN/ErRGK
MY40yExaq6qpLgHFsa8GdLz92/N5ZRDkC1Dbge8JQnyLwR3qlUGGunrYLs1vPHW9/WwO4v2fBkkf
/nI2HKoo6hpW/fVprEGfgQI6fbgoFDgr00yusHTrju+fiq5ha8nZASCtbzaAS3UocoQpQ3Bx2W5x
c2zDqYu8fwOszF8HixWM02ijn8+l4P1ulC6Zw36u9YdUK7s06HVbucnADch34tu5EiAg4VKjIy2B
us1m4YxqUIWRdlNIIL8S4MEf4jiMRcR0FYtZfsqR7hzf+XyvY65vz/oqmIhXbWIWdnfeATvBNTGz
5w9aUo5hNptueWFqr2w8F7ULDUoxvART30xtSVHrw5V8DCWA9/ahoflkH2SvVuo7Qd/rfPhXRwaL
5w1+xvkHq0uPwoUXjaFjT/IbzuPDL43M8GcqneWC/v3LywFa/EpnopiG4c/WHI3iNkVAiqFhiRRN
aBizuioDN2HdUJ1672YnCcHqmTgBcwI8S85n1XrRhARo64XeaGeFDzXrW+El9e+3R3k5IX21YUIz
AqoD0fLmSKUeAJPWmbUwEmoWlnU1XeutjRykWfZP/81QXBJceS7ZzSZqHCax5Kg5aKGpNALZyJL+
MGJvO8fILzmhrEf0PLhgVtgFuFBy8J/Z8s0oXIhENTMtrD3qvkJq2Fd4TqF/7xIw6HtZD5+rBdxC
RJ/iwu3xcteTBHCaET1aEwPDOP9sYOftLNIjLeyMrPjkLZCKDaleslt8ZRSuJh1nIFI26mSbs0XH
U7UmLXbCkiLQsVqc6EbXu0tsn9dG4UJfKTH/pIabUcwJcjs0A0axIrnTc6QGVUgE746KeP6Ivk0C
QSJUdXN8gZbyuSbVYcWgrgbqaGszMoLZ/F7mC765q1oAXezVMdLd6hKA5y16OrJqmPRetutmM9+Z
k+FARcmrd79UPBzULHS0T9ZncXvFjrV0KnO21rZvvOuwhD+oQr1kg/Py+2BSwOW5XhDI0G1PFJ33
xoJYaoXm2pWM5wFQR2Lo776IYELh4+yhwMBO21IRNbUEaeehZiy0bNyTt/yKkkzdvfdy+MdHGo9s
JOxWL4LzY6PkNMVjr7JCAKvDXWxU7o3h1YJMpJDNux8m2L6g54j2Dbaesfk41ZQ2NGMcM1RXBGhg
E7mku84w5Ls3tomPJtuA3Iu7wN3erTIaAWeOZqiXMM0XxwLDBcb0wudZ/5bzu47ADngJRRyHTp29
eSeMuBRUXhpmM7vWdW8qOADIRA3o5VXHWp3UC+O9suksLlV9tYCxqFRuLgWj60w4KqoZKrySEHTc
BYq/GV34Ri9nZVGGg59GZYqYZ5vEcK3x/nkZeM6uQkZ5rCOoQYBvItTmSznLPajTIb+QOa0//Xwp
V1cDcwVFc0cQU5xvwlJH94HmuxXqE+LlH9GMFJT6hHDKI5a9GSXsuOvrsIgM6Gwu9XTzHpt1+T7b
1zVft1b3Rx0hMhT0YHOc/wxR2C5oncYKS7vrr4BqaXeWUkeHGYWSB1OT010Ljf7d7xaFCAgnHHKE
06honQ/a5i4t1bywwgwGYmABRUcWZLzkbLnVbGFuLvp4nIt/O8ya6+76K1FYql7J2lTtQ/yzwGx2
jtVMKCOhdQ7Ayo0+uH2du4GSmpG5S1P6RyH4hvzn3LmKdkoc4II+VWdl3luJJbtdrdbtvGsGZzJP
czkNX4Yhxf9oyU073lvGypfx4rHSg87J4GpIa7HlSaP2Ki7s1/WbnG8dyIA8XvxDKZVM+Hxe+dC3
FpauA1zAvttBK7iOSyLqyZnVE6m3G4h4Ti8Eoy/PCGNaBiVydeWqmpuAak6n1m4gcYZemS0fieWV
ACN477tWuvKX2wnjQt7wyngEiRRWqZNQkXsxXr1kiT4rfSjI+XcCZthB1pGyn1XLunKBT356+014
edPwEDBDJrd6gDjr7/lrr2CZVwpu6j7sSY2faF53p8ZpyvDtUV7OCnIxmp9E9Y4GAXez8YnmIYcq
BTuy7YY/RRWrCK5XiDCQ6+7S2DbfHRpQcSSg4o3TbJNSxvmshCNp/eLlEKa1al/BdLFD24rjS2WZ
l4vnYQ2KjBcPt7oqx50PU1DBX9J07EK8OIqnCSpNkLtxduHGfDGKrZM5aBpRCK82O38zSpMgRg9c
O1T7Or4mWqFY0mn26e1P9CJJYRSiXSoM/8jXbSnL8HDWlm8vUZgtiiPUuOToudjP4I5mX9gNr02I
JgVXAHmrDethMyFUU2wt0WU4RZb+iBo8fgAoL+/entBro9iImaHDhTstS3g+iugBx8LtlGGkguxy
hTS/TG3ZDRcupdeGoalDXRNdDAoMm8gaHItwGsUVCMJb5h4peNggU1S9s05PfmA4ZN0UqVZpAG2z
B2Sdi6mShQztuKZMG7Vy5w5gG96/ZA75gck4umluLwO7rlRn6BURalRM7nK7b48ukc97gxvmwjZG
E4srfG3AnX+Y2ZzBSIIapw6ctEC1OjwV43S6JMT2yoZeH3drDW5QLtPXD/fXzRYtCgHdlMpwbtGv
vwJPo8OP7mYwC6lTNod3Lx0CEVwEZKRUmLZN1HqIFg1QoggXw41vFbA7h2xypgvR7oucmyo+vHuq
c6BLuQ42UYuhwhFyy1qEChF3doiNRMv2SVk11e0U1/p9EavSuR17NMMCPce98P0nd832qTPBBLGw
ez9f00pCRBphkIeia+oPeARKKuzTpWrqP+Xss4d+bVYgBIsb0ipssFUYgD49TfbMNOvCyK702Ey/
5LgPicOSdMlDoqPuHltu8rVGOGLfdZG3t/LUu7DW61pufgS1e4y4qJ8ZRPebgy1lTn0Gk9wQr4b6
Q4Jb9wHMXHTSJzhI4Bra8d6B7zJeOB2vbNu1JEVMSv2Gl3JzOph3xPH0ZFhVMr7J4VftVEsqtwOs
pf9iKNaZ9JaPCgxkk2VYpefCJ1IxAbDoXwFyGfufMxTWm75EdO3CAXltOalSenxPdg5uxputM+cN
LSZNhq3nZkf8kuObCiuBxtcHrTk0acuH7tXi17uPJduIUthaJtJ4RM9HdYF00p2UkrJlqT1kkRj3
mDdM77+d16QaQWOieypTm4V08hiltC4ewyFHekk2an+dwI++8LnWL7/dkBwH3hkixPXuPJ8LZ0Fg
v9HxBkztfCRccDMoWp1e+ya+PfGuUqr0z/uXD+AOyn/0+FHI3ExsQhgQGtEiQxXvp0c6lvoOkoH9
9b8ZhSibAcitt/ozA+0GpA54qWdoxiecP9pdjITa/v9tlE31Iy27yoATJsMminBSItYJxKh7u7dH
eXl8DXW1nFyvLpoO260Au3waGitFZiGaMdUFRIbXgzPscIG51NZ4ZSiwHtRgSeJhAm+bTgVPhN61
hgw7Lz6A23VxTELJII/xe3h7UuvOOt959Gxp3qqUp2h6bmEPTV4OrZpPfKABO5iiEMMJjW/rQtD+
8nEzsDPh/eQhVTmwmxuiQLW7d6IcqRdEPk0gntiP7CDEtrCVU1F9dSP1PiplBEGjqMf/Yor0G9aP
RoLCy3N+uNyyNLUoIVpwEOqG7IpSg5jH5sIefAFlQQ2ImPc/w2xu92zW6RBasQxdqNR0I5FSTpCl
DkSJPUEcZ9a+zL0OnORQ+smyJDBoABYvqGc8v/+Trvgnbi2gScRJ5/NNu5gdnEYizKMGEpxXmA+e
UtuPb4/y8tInDYN2RoZEWEkH5HwUt5m8Ts1nEVLUGXNwXQoKB3Prjs88MdN1NivS3ePc47QXHu9X
diwQANvU17Rz3VPnA/cd2oiuIYZQYrV6Zw8RtgFG7lzYsesibc7FP6pjzA5gEpfy+SjIJCP3iXFS
2DVxA6UZXk5bmn0I+v9SqvnaULQ1wOhRPqOLtBkK+ypzlDmXPwpW8BWUoaRKDPa/k5r73pIHxSOa
lkCOWELweZtzGHmdFBTeZDgk8W2aA7RXJu13TbyJ9Ji+f3uHvPKhqOADOCDeMYE6rX/+V5Q+Apmk
fqOLcMrr5lBEDXyoViT9l7eHeeVuoWlJOLVmHNSKN+cOMlcWFyZZ2rzoKAFkSb8HQWvvTKmYT9jF
kSA2jrxSRJVeaJy+MkEUGTFaBVoJKm8rmEi53a48KAUhYh3NXpbV/GxkGbJOb0/wlf1Bdgh4k2Wk
37ZNqopiAQyXaSKE4z+nJ10BUb3XYV63uxpez7e3R1uXa7PxafgBTuPq+Odsn381q+w8WUCRCfvY
KIO+W7o2cBBwz/3xH6T8JNPokhb1yzGphK/NOO4smsJbQFyl95ni0dUMZQdclLJPF0aK+6ueesS8
p1y7EG29/G4ExaAg0HED8gd+5HyKSdG4XdtSbEyshrrV4tRXNVWs3dsL+UqqY9k8rdQGCPfpd2+G
STNl6lSHVAfJ/RC1s+/q1GUBIge/49jeo739w/QkdETyvpWK/u58bh2dcuq6cwDibEa3FJTQgYVx
P8OB/NN5en+DCtP89PYkX1tKOtI6Wo2sprGF4CDmBOVCcgQyuraBPWTTvjdBvL9/FHttZBAPUfne
9qOrHu34Dqmi0MUs8hpRCe9YjNqFu3FdkPONz2EmDkJmj1omvZPzXTF2XpoNFT5MwAYSDNdq61ef
FdMhyszs4e35vLLfGYrUhSCSz7MtLKWDWlhOJrqwWrq0D5p8Kj87bqMaR0uXzsey7Zrvb4/46uQ8
7kniVoPy82Y3pL061fSFuzBunOyTl6LWAblAzM0OEkQ/XNj6r4zG9UFzC61aOsXbiEuDwruUat+H
nWl1+0mdu52dYWQa9Ub27nea1i1RHT1c/iHgOf9qDYIVLuJzXZgNAjFmW8seAYZOpyGK2wuzehnx
gGjjhV4t2DhX20auaLsIzX/q99KRXhN0ZTV091qODesBxlGb3VWTrv4a1ahYLiCyX7lKKBDSCcUO
atXsNzefr221rI1Ngi3Nabp7VW3FzZjtLOVLKvM4gARl79BqaoK2lzt4yPG7k2CGd1lghl4Dy/UJ
/usl1xNN74oF1SvkRJM9ruhqmCbZhYfn5aZZB0HhmII4raAt7HygQZ/0tkB6I6FVOECo2YvMg1Pd
XmqOvry0GIniCMqv/C9asufT0dwRirq9IOKFXNYh7qm6t6th43uPHOUJKiKkb+BoMAM5HwVapVHm
DeHPrGsrkXKlKWa9F3iZzC5cXa9MCBgwXREKyC5Z9vrnf32fzlB6vXV4P0FX5d/SVFgnORbl/p8J
/X954/8DlOGvb7v7Pnw/c806fk+H9G9t43/++//xy3K0f2EtxAtI5YaKIrv6f9yyHPNf7OKVe0O2
Tsy9goz+I25MTAxmng7TGtKtueT/eg25/1LpBwDoXotO/DfWe8SN1yLOf960Fay+gta5sVCs5Uds
L+LFZWuMbuLsMfkZRz+tU6QZaFWfaoDgEZROr751pFR+T30+3K2KX9mFS/P8VP/vLwCtjfklJaBt
gKBnbV7TeXT2MWaViOQaRoBpqrbX80vateeH4N8jrfEWpjNrML6FPFhtp0Ql6Kd9qWktujELfL4K
n/W/vvz9v9fub3ublyvKmkKro4PLi0N36PyoQQlTa12YyMrIXL3r6lntIeDX6Pxk6qCaB70s4Msj
YfkBY1DrSU6oDx7e/gnn79A6US4T6vRrCswdtsUAwGlsnSzTzf3ctags2b19W8woh6DnWYaTbVUI
ZkbKhXcWF8AXe2mF2ZJ/uGs6/OI+83SUJgu1gwZfNSg71wkO0iiRFagQwXtsvL03aV18GjptXHBl
adFeQsl1Tn2vyes7tDnNxwZD4NmHpmDdVI1dkK1Ju/2epwNV96JG1sPPOs+4bjXCIr+B/44VMHK4
SPAZy5SjrRAtNsIfVYxpNIeK5Bz10M+qW5eg9a0JNd4Vp2D+IgdU2sBtlGo8ILMZPSZGmn3lY2Uf
Ue41f7h5m8vDDMB3OKKwaxaB3Xr2x3j20m8LZGr7YbCSonw08wnlGs+aW8xThGI/xxYlfLQ5vUQ8
5rhmhyZWPfKAjiiWVRr+pD2k/FI+0T1Iq7024aL1IRKF/im2HYQd5tTJHhdeHi30zALJKRufOrRD
OtNeYHxG4rvdZtpPuI7qTrXL0biuJXgMPG49WwaLCaciaFWpNQEwFufWFUsPksNh2X0nSyITDuVg
IXHqQsoPSjaFcagypal3DVbG7U6CIS13+jDoCBbXY4sBSd2gYQQ9u91DWEY1G1xPeUhdB8tJU8wL
xPdIWB/cJJ0+YwgwepChl8Xzp2Jxb5yxRGW501L3J1p9Vh7QbemQaUs1E90ILQvVNI/gQ9vLPAU2
B0WEY9H8Rg5O+7TkkEl9OWWjF+h9Wf5pvRR1nHieJsySq1ze40r7o85SZLqKrAZv0mG1F/umO7U/
EeRB1UPByxuCsnT2ERIhD8XgJDcYNHlfEapNfo9diniWoai4AjnuYnwtDNmGTY/BrWMq7nWZY0V9
TdppPreNUtzrrVGjU9jr5lUlPGfxncnQb6fJQ35hWTTvQcKtIIxNJxsD4Alt8RgznXJX64gcRsOM
xDAKwOYSSNccP0xaAgUWn2EcgYDhwZ63dCX50uQyeWgKlK73qdl4SMxEro2gDYpTezdzJ0x7JIuG
YlLq5PYV6jgdIl1La1ZXk5lFy42HK0+5a/TS+5g6XiuCRAG8QqMuX0LkRhQJ7d212p2IsOvcLQI1
712f1HZ9NMfVp0LOgIYqr0BHBpIzxKFBDlBBvDr72Tg1yoXGsKjlvrHkUAc6FGLjLjPGIQrmCkbl
Podc+yEzq2FCBgQPxFnM9bM7LDBYhxr2ygRt72GuM/cuyTMHXRjalI+tQOIRsrPW/3YwsLv3UoKm
IEYQ6GFOtSHeZ5Fa4BWXlll/cC3F+mIqavkNpaDqj1chkud7uBl/6xc3+qHBJGm5XLRE862xQlkO
/kepHhvTtqI7SZ1Z9XVPTY1AdWIhIPXWE3o4lla4gYqSeex3NWp5SLVl3r0tLUT4EWjVnqIyMv4v
defVXDd2/dmv4pp3qJDDVM2/ahBuIi9zaOoFRVIScj7AAfDpZ4EdLMlte/rBD3ZsW1SLvPcC2Gfv
314LaQyYDz6DFeSsgI1H/UoVuVHgDxfaGBbjAsIFIKOKO0IfeWO2lre+y9QGY44uyZBswuj1pVNs
Bc5TKepXCxII1AlE3GBcq3EGyGEourFrJhgOXKxur4cZNMQ0jMcedADxLk9BjrSWybXRDvkQGKAL
8YmDAKj20LHa1FekWtOR0XkQ7dd2hn8ouHZWf9Hw/rFYW6fcBtRM5+YyufMryTDFCYvGadVInVt+
MuEYyupTNyRJBOXVkOE8STU9mXFGkLyVuVGHsnDrVzcxq5uVT2/qx6zAG77RN+s1MalaC0p3it+9
sc3NHZfb+FImivrQKRihuCLQcfgzbKEcaLYO9XjIW/RK5PV64JE1jOiQziouYhBT1gONcuEcEI3n
fVjb7tSc5Cj4ZM5Fbz+OrBnBhVZrtwpi8Bjav3mq/XgQZ9lBJW/BrJ0FVJNjzc8HG1AJ6HXq0oqU
brRuy+G20WLrlAMPvDMdXqt//eD+sz+Nw7dG7IyCjKrwx9phbeTaQC6woqxslBupV2sopeICaCnN
c5qLr//6j/toI3xf/XGcQnzHhNs2tjj/z22GHsxtzy3EjFA1jrcg9Wo4d9bozAHxxA0ZlNcGDWd2
OGWUK4taP+p4z+NQTHzwI8FuQxl2pt2inOkG86yO9WD5TWIkcaBM9SLPhpc0dgi3ZVgCc0ky8bXm
yffvuoM/nX63d4nAAGMjhgxUxe7PDXLWlMdMKOzNlyMSscAckNTCV59AYc4rDNkLaqVZP8IqU4dw
1tShBzOtK9au4249/loA/idOQdNXoBL917/heBn+BhLpy6vImvq/QPdCaf3PZS//t0y+9j/6g/n6
30wv2ieuJmYMHIdIATFS/OM45H6iSU/OjZYXKRravPzSb8chw/nERhXHIap3cj0ffqO/H4c41G57
7/RqWTkglvIX1KtkkH8oYmES0An1KF5ZHuV6pz/14yVI9C3uqyI7NVLpkuKhVwfTPE8q1cukASSC
OgYyoo012OWqEdddDrkTFR7cT35cxfNbj/mMcaV7i/pSLbjgmGlUdjsOIaANsuS/NJBXPCcCybao
HdMI/r/+NU9HTb11QNqzPlqxhEvX3pq9bqpfwJl7DF5nRd8Y9WtqpeYjcCQJAlDLxvkee7pVQf4a
rSmcV2nBGVs9Z/Zbt+4uRKqj28q1ckp3S6Ou90sxFEaIhSG5sgsBxl/j8QjX0KDADKZmSr8khlt2
+ybP1fRo5qmCT9yGBxhMiLSABHN3UkJtXpXsgIcN3C5k00mcyaoqUJVMEwZc/gKQfCMjJWm/2geH
SUT+ZALtU4eonByp3Sv44dDaFaaRnGEwS6CcLFAeTEUU3k2XSU+NUta1K55WnFp3Uox2fajof4Jt
mkSx0+uZ7wWTpAVGq27XBJhGxUkOlw17Gma6tIe5RYLnuyX6Np8oe6ftNVbwkrB1jHramySX7UCB
sAtJyMUQME47gU+x13zATqUYo4q7ZbKeOiWbQPrnojXVU2ll89G1eYj5QKT6t6JAt8DUzxmqCLkL
5CqPb6eGFb/rpmUT+CyKphExT+DtkeAx4VLO90tL6XEDSVTRdvAUEWQ6VG01+KxVQxfhTnVXXcHF
Ykwk2l6XeKI95nCFmSgoN4CNwCRifz7tfQW+oAgqXYH9ymPCbQ+VZnQU2LZKfL2wZ2eNqNymIoB2
5k3hugydPCWrPVx1ljsoe3WczWI/1VM1H6TAxXKrVd66RGXJwnEYw5PtgmFitBVIclla4OlL/Wjb
i32bWE3+0hZQ9YOU0dujvaqzHuSF096woeoCe8cYf6nEfX+G/eq6PvNmNoG8AYauP1otd92VRiLH
hbKon4Q7peZRTdvkm5MC89ovmoOIogfkqV7GmBGGoESg1oQ0AEv7YLvLUsKdqDwvHBpbubaVBjqs
zCXGbaXPvRpRSJn+Muet1CNB+kONtibcGPRmk1EY1nKA0ot/9r0gjIQ1dFIaKLlppdxoLdzJIEHy
mPtlrXrDbs4RHAYElezPmlfByuvsxFMDBhvgohLFWIoA0E038bS0eM+cJINo5VYpyAEER0DbeOAp
vb+CYXgd+DN/gUytfCvcHB4sMMYkC1VHR+BBnEyWQSIg22142G3NBJvqHSDWkeLSzRrjEgBS+lL2
HXhRr8NBAbAmy8Dlt6P3qsC+7cKiTo1up/QbdRYHA+lktY6byJnG8slqCgdwfj3UWcDVul6AI+le
c7fTE4hJDMI4Sknuv8MYwfAxAcAXpZFFibAK3rRlNe1uZ+vUQ/t19FDmqF4r3NfUnSrvxDy6mjio
grLnv0yuNRlJKGn2wzg1uXqNRnQob93FssS04amBFnneJKB49245xq9yktMcB0ksgAaDAk/S9AtJ
p9nlwlo72gUs21hJ6NmKt1rXHDeL2QS01zMRScZEL56HEszzwVP0jroWVt1yl62TVu2wD6ZQ+5t2
EHPUzq3o7ovUcMqwn/Jyu9maU1clR65M7tvcKdx1wX3p6U0VzoO2LPJU8bcvm9Dph4yxjzNw544Q
XyrOqfXsuH2K84nECkeA1LuCDiWQ5ujbSwaE3oqzN2lXnn3txrDLfA2wrxx9JXbRRMy6Jpxn4CZC
P2w3XfweI+wvOif55LjJl0rhoiIOsi5QMJdqUmxfIf5ooMok8xllrlk4QY4QpwgNWZm2r8quaY8g
WdxXkWf6ywTSUbmf2MkAqaqNJjxYe5Q3y1xpr+mqFDBw53xp9wAGU1iydCjSX7SK6mi3yHjEtq3L
cgWdqY6AVUdQS1c0TBa5H21jNB/ID/ZuZDYgSX1pyuTe1kftoVQ1LBNCz0aHoyciUWwr9DQCx+1A
cRW6gc0hFWxTljH4QE7uSpWEptZWPEhaHVCaipCo41IEOMZaX1fctiY6pD0sefk4Ndz1dt4MYPrI
W5x6/grTDTCU22UxA+90HkITM6hTBNAfnSrUrLgzjjEAW87daa+itRVxq71YmTPXoWUhJeXFVixl
n4CZ6UD5l13PWnoCYQqFeIw/daxjHEC2uVGU2ypudiN2B/DTNZ4BP02b8g4mWG6Flpn1O9WUc0IP
g0dH0NU9VGIOW113dIpGe9jiT2aodYphn7XBHDlkTq27LTmX67fKHTsMq3GvfeZznA04yjOdWF+V
pMk1+7XoZggux/nJk117liB4HpXN8LiDA+wUV7gbVCuKHdeDX61mmKWiNDV5xVU1K73TWvXuLum6
BhxdlvcLd8AybaF7OgMhWhWDrEE2EpB/weuRqv11bYuNBl+ZKe+ROk33uZ0LwVPA1L6Nbo62iA0c
aYR0vGkw1WM7A23tE+emzLFo+G0F2XrHqzs9LBUxgdCEAHo/5b39Oe20njV8y05B4OcIcYg61bxh
DgRT6GsmvIityLHTqOBWdNfWfQEIXa8qbnNuP7+BNavdna7Exq02t6NxGltslxHMH8OOJn1whgvK
q7m/9qqV53mocxcwT2D75uy15MAyFJFwtZimDcv5lXykwdTn+0Jr4ve1UUCUqdmQPAgNXP9F4qxZ
fSWmthvfm9mR32BW8c5OqW6XQVkWCu6r0bZgZJudABFIPeMFuQVfOeuF1bJW0ws7bDkv90GasOl7
G5tLoWC2zjJnx0mWAnCtbbu51ohSTLsBNILj2yyM7yyhYJAF7apj8+Q1CAxQLqo/ZnQIac2Vbekj
s6KF1Lh28qrRFWog4/XQlZO+UZyj8MzipQX1Iq4RvDvtHSuSor9XUmXo9+QR+29eCVc0MmkqIkWV
46KeCulm5a6t9Jprd1sfi5KssYHVeEOZnzIX58drVs9e5Qtj0Zqbld6HHmUKKPlfaqMY6JExaR3v
4TumMR0tWfVTsSiRUrVUBIg9XILjM+M7OgbLwIWsEGrVuCTVNAdaHXAINYbLuE/zb4liscyb5KqT
7uHCQSRdJyQrPuxwcdX2KqTqrkwgYRB1cWJfc2emc6yw8CWwHldxSo1eByHX5ll56AfbPPOgTdeA
AqjE9bba6fNaFsUtRVZM+y8xRniZ9NrUo8Eny/a7gXRyMJGcfnEL1+2D2YLfHBSq3VKKg3MvgmFs
3dc2Tg3hY69HHYKVQwGasVQ4innOAf6bpv6aI7EJLD7WpleKl2UGcAp3MFgXs/vsMFN8cLq1UAOA
eMltUUodXLod16tv00cdwj5v1hduj+AlJy+l8ZbjdNrFqAKosAxeVzjGqfNLJjEOcX8yoaV5g1Qs
qO1q/s2Yzandt1M1wLnMzf5pno1CBHMGBJvhPq25TmvVN/4Ku5FqKLTiswoa7m7sDJ5W5HBc90BU
EFzzCjbjjUyEbPEib3jhPqmX+6Zq6EWCgTe+sPzvcCRKpNoGjt2C9KBf39HtdjKe+AnqOWRzqb0e
kgqXOgRjcyr3hYp+hGdL0f8CCqSu0VDR//CVvq7LYEw7k/PyrH7N45jZaJM5Yx/lZU7hairTODIR
sCc6Zhw9fkvc/SfO8P9lotYt5vPPj+6bVq7O3l/rv919bUeUSu/fTzW33/vbUNN2P20UP5PVSCaY
4FwYUP4+1tQ/EUYD44FrEyIAX/DHOV7zPhEoJ7/ONqVGm2tz+/5+jncYhur6tuZmbns0TDz/wjme
w/oP53haQkztNxgBfBR3Q2D9HPtAh54vRikjS9AEuCBLoy4Aqu153RVFmT/ohUNTyzUHmQBWGnLu
vo6gZztyh7gYNGZ4Id6xpDkNVrnwhR6rEqM20/WmCsxe11HnsbaWjfGFqqCtQiw0GKfb1hwf69y2
9cCRMaR1XeDO8Zsu6+ujOS80w0qndx8zeLCQGBa2IIJJGIJisaae8wcn5/xWOyyB+qxgucWZASWQ
7n6S3simtBPnQZbTSdsPTe4oQbUUWCgoN580HtAtVnMXVC/MJuh//To4bRQ3zvTVGyHwtpZSzzQ0
qCMO3NOMOaQpbk5X0JzHJIyngboLO4L6lnpe/CVHgo5zIhWb4USX4n4glm+fa21oPe6DzXiW3oRH
KKe5D9Gy3fDbVT9XFW2uFej8wGo+1XUygLTVAOX3O8z1WXXFI0XIcPDG5L4CnG4dNLXcUivz5PlG
PfY3lKsJhimx5q/wr7m9ODa/m5Mb4M6IlE8D2dOOFcpTNaslJE8xpp/pFqjX0OBVJjSrS7q/Arcz
XcllNOV+YEvzeaisaaAOroU2RUrmdh6RjrZ40L25+OjLV5fcSidGadlcnWNnUl+l42JVKiznrQDB
PwAzWbhTz81IH0ZLcpPJ1bjk16Xpiae281irNloXeHXNYMjmeKoYb8wKKXiHOV8fE89iwC6dmMe4
ZvdkgroubTS0PfRScA8N+hT0LRxZNrs6y7nNHbwl/jCtkwX0qemME9CnVKfzjhMjaNjmrSijtOFO
yUunA+tmxedtLKOHZts7X92yXcsrAjv6nZgI4F7m5qTbByomvYALy0Av4AxXVPBP581YH1MvXzSu
bstjrfREOiedZleocG2IkLNTmwSlYMWaZlInaBtNnWfu1G5JlXCsrBLNRGGU8R7eqXnenKGCkyyi
0aBX6D/v6bnq1a7IloY6HC7b3aClzkgzw5Hv6D1mHjaK7YLYUNN0uqzpLL8gn1o6ng1zPAce7jLA
3zojvkAppvU4msOgB6MtVSfsbWNCvajVcRawKNl5odsXzX0s1xj4bK0kXkAzQkOGWjq6+zJaHL8i
zV7IEAF03EwmiG/8wZqVp56kogyzyrGeUMerz94EiBcHKxUR73hFb0mr4j7SMsfxId52717T1cwc
c5XHb/0xi6TmeXO28aQyb5PKZVoMLEjbALOvmskLlo+5ZkIP8l4K1I10SMg/f0xA149p6MSKFNuR
HBW4iTItLT8mp0WaDO+03V2K8G202ib4LHmod1w2zjZ85SFqXZlGvEiMol7HdHYb1DofM9s1WZwu
GrZRLoSWPg0x/jHhHT+mvc3H5Lf6mALrFtP1nYI8hOkwN+oENxEqGazQJRNk72Oa3Mylc2ZxjBmz
4liDzcdomz3XH3Po9WMmDVdSDbtKVd+rbWRdf0yvrY9Jtvsx1Wbiy4R73obdZp4z92bRSLtnNuS0
V0y8mYyriTU+qx/z8kR4uhf0+gJpoyR2QSIR6DxeSDPNUYVx9Nx8cLmqheyVJW9JnDKJEIUlfXXU
DaZlU+FVQTLTFKNSU5pkZ06c73cuvp18/93T8k/CH//41AF5Qmpngw+S+t7CPt/nrGwjEetqCRnB
39ciMEU0uHqmOP/6T/nHeQcPT+IyG2YHtiZV6I9/jN6r2DzmXtKo4BPh8xnCa0C6xAnHcc2ZFKlU
WHoef5ZFal1oa+2OoSnWf7f3uv00P4yP+ClhBcKJY1lRd38eV6WD0cnONogGQCI7udiCXhD0Do9d
VpsUFn+UIX/ywv6cqmEeti0/k93ZEriW9dNkrK5jTxvKrI1KDg8VzejZGqJCk7zLnmhd7bLvEDuF
KMhQNY2ggEaGik2mRh/fxn+iLvyvne0YfJr+eGv+IeqGJ0a81t9XhdvX/1oVevonuoR0bdmyoMAj
Q/97Uei6nwCTsFGrsdr1Wwru96jbVklysagQxRjWkrb8oybU7U+cMbZ/MuFhy4a/31+oCVm2+uHz
qrC7zF4kOIWfLpckrmN0PJZ+sGxFnhpiW2FmeIUeZKAHDow9+xPDCedLX6etG/C8cguftVnErZlR
aeIxK93iSVGt59TkbOtn9D09vxRE4nb4cTCPIzhIb4mG457yKodkJY8z7ZaTo96GqVp6L7PWpp+l
3tt3rkJsC+voVlkHaFTQL5pN696vcuCzLDREf5dVn1unYZqTO8LYPLhUgMuaXytYmApCZC7Gh8xE
UkAD5GRNevLUuXq8HAzWTRBN2OR8sAl3/U4z2+XO7olY3Sh6nemBYnQlY4Pe8dpIWXkCBoMNyxn2
71AgdDDd+qGotPzWaov1xqwbeTJoExxig+GFarKvbyChPaeIoT9PdrKcQP14lyQbsgNZNqS9LcD+
tB6w2iDea97icah3S9tNQUf7jiZL2pyHtJpBt6DUFJq+B2xk3iaOlZ47pzJ6GqR4iH3DIHpLc04/
SHqEY120oUfqg8cIgx6XNnHRSvfAGXupfLSb9kuZKQ1Oq8S8ZO2+u0AqPdwKx7rvOtke4jgZA3NU
171nLxQkLpU0bXlEefip4okcRKkvy5VZDNPJKQXTj0IxH1rXqa9Xq6PxRltk2ht0nkO4L92zKFXr
1JX0XX1NCue4NApPoLZ16mNVmPNDU03atVsn+iObdw7ynJGeTlOstysLLgREinKITIVRUrio+XDX
opD0J20Ct98NLKaGypyue84eDTO/0uTzo3YXXU4OTUnAj3WtemxzV4TNVJgXaaKaz4w2jHAy1WcF
AsDFohXmWXLIfkYhUIfqKrzWL6bOoLrsFqoy1FETq/QHaOTYjAr0X2llP3Oz5CgtU/Pg2COzDxMN
BsGf2YHjr1AVoYurFAcNmiUN+hmdG1N71/ww/rg25heR1jodn2Rpj4pssmjJXCJsPb4ev7XN5Ryz
7ndh4OqE+TCOPaebpa+GkLVz0H0Jnj5GKdDfb6StxHTurbrdrRYeIyYCpWaSH+yM63GZkz5K0JM3
R0yoCNssK0dw3nJAu6jTSjsnjlyfgM047lVTVlN7GJNEuyx7S33IGB2sAOVdGdmi3aZtbNppd71n
dQ79GvK7YqeQrRNo+wjf8Du75GQXBebOKrXInLTzvKsTl3Y1z2blVk8IewF7cvYsU2yXnezU86JY
4hl1TnvOdCY4/JANLTpLk+6eXQ+xN2K7rQ4tbq5Ik2Z+VkbJREGVNS47kA9ho1Qr80veIiJuZpfu
qjVxfVkvqYgQTiuPqmbU53IaIZlIod5xGtK5KXVoddPaHCUnKOwEdCSto0Gf+5uzePFtAhe0D5dW
6A/CGARnkFLoWphqi0syzlLmTegW99eMBPEM4xdNLN9O8ZrugWTN76PilEcsRrxzgyAHRwxlOY0l
qUY/z6SaoO4cKOV1w2quV11TbhtWq3ZKvXYYUKha96ocm02/ZNOV4sTHIZkDCxMyL5+ptbF+fRZu
jo6w82R9YuCynmgfbKmlbOZKzaVr3vDhWi4JsBP0B7eLSKiwe6XzVUZ9YcfThR5UNqWHYcrSC6Mx
9BuBE+Yc251On5bk0CbDmfTLhUSuFggEXlHduq7ce0PlHGNFEvgaZFFeWbHmXKpTx5m1rKDsDPhl
wopZJ9HVlNykzrD6dkoGIRAnCeWoKVPv+XntZhcuiOvLylX6Z/QJEyAAc0LJkcXLHSc7BvZOdm97
1fxCpq57c9lMbThPKvphYg7y9a8XKdxl+NfPSZL3+X+/NzQVSTGI/9l/ba5eq6/Dz1+0FUN/fNXw
Px+/nHxttkrgh/8R1SITy+34tV/uvg4MxX9/Nm9f+f/7i7/F6B+W9uv/+V/vm3Vh+7vRBPihxPiA
hv/zmuRynL9Wb83YJ9/XJR+/6dfCxP5EOQ7b6GM3BvaaQSX7a7fK+gRHFEwM/yBUz/YMv/JbYWKp
n7QtdEIihGgUZwyiIr81q0zvExA7ll089n22DpP7lwqTD+jR3wtp+Aom3wM0ZNZEt22onwmdS8uF
YoyJ6evbR8sY5yUSVYIirSn7d9oUXjCT7zukORwLLuk2sJgiRTl6QC5j4p1TgYlmiMlEZ72r71kE
cZ88vXyzhlXsV40zrdEm5JQT8QoV9rV14icixS/rTE+2MxhFWNk3ehYPNKQk136JcDZtha/3BkOi
+lKklndyluTOYefSNDMO7mbbHee1o6uUpmgJSVAEul4qF7VHI75L47du9uSL0OhvzWua3TPsW4I2
ybHbJ6pzRlFn+BRYdQgODB0zZEA+UczgZ6iKHGCHdecmmhqmTWVeq7HqHWJbzpdeLzHsspRDR6Le
O8bySATlMx1lcSr04jalUKGRzXcZeBZh3pyGzWlUyI4zgwSGi6ATCOetnuYzoYfuHb1UefK4V2Dk
aaIZubCbMjOLmcbu6qZ6szJp7Mme48nuk24HpJNT52CvO+YPIuDN6RhaTkOw4nMMmspS+ZHcV4IU
PNBlJsLcTsVpnqvkYhDu53bok2B2ev2tUfO5CmPYfAdTr/oLRG4DYzY27hLpPNYqze5aqRZC+0IJ
Wl2lwKRrE2j0ZWhirEduM5cyG5COd313JZuF9oeLqSXj7hl6en3H6A81DwtGYVvTJtIz/VxaQ843
SsClz1IGHPNQBVbbPxkLofi4W1z+g6gSvOJHI8egZCbLEqij9WSPzYM6xVtdPK9oR6enthViV2jL
2ZKDFvBgRNoSZ53fCzB8vNItyRyyqpmC4TTGlGvG1HSpNj0L2bgMaLv7QeNOvgwTYJsRh3RdN5Ha
07jMkA22tbGztu+AkPpr3HLHj7VLqyOFnGtVFtA0u1qnuAyHWH9TF/Zkxy7n1WubHRGdF2bTK2Nm
3BJVWoXcCS5KUax+AruVWLP21k8ZmwT1eq0k9ePq4oRs7NTXZ2b/g/VcEk8GsGXPu8Ui8S6YJwYN
EVq6D7UeVcbYP8hWPRDIZZEgNr8k0ioxVMlnm5RYkGNxOKYDcfzSzYfI68eX3kgeQLjF95bSTYcs
yY2IMO/eNTxkw6YO9YYBi+HWRAJa+9h0DvZTfkptR5cUAXpp9v7QzsMRmYPnc055GRyER5IEpL/0
TnzArZEEvZhOKoTfA53ko5ozsyEvtG+tOt8T2qqeVdG/CVstEOw0Y9hsb0KSGnJnK92yYzvyM/Lj
dyrbx8kgCoYBfAnJDnM24HuCDrF621YfJFLyXn45lVctD0N2DXihm8G5KIjgHif6lpdzmrSnodbX
sMZmEJKGoaU7p5vGN0ORFadB6vK+pixBhppdPPc85XeZWWihM8h7w8pf4OlFtCnW0NUnY68YfRnG
KRO3CerHkXujvjeHxgkay8W+hM9pwslnuztXEVdWv0aLq5uBWF0ITXXLqmy2NVlbhtUJC+28aoV5
tziD9eAQkQiLRJbhuBJ08lfu/qGmLRdoqI9DTrdZU+yMUVO6+mSP6micsluWsi70WnJXUUgZ1a+m
XOe7LimPsdFysqKtH8aUa763qo4vdXHlJctbH0vKKLHabmDF8Zc0yRhctvw7cx49D9V20kk+ftsQ
MhvXx7F23qa4uiyngku0Seytw2fs4rh7LqVXhLVMDzUEqqjq1De6egZOUpuIVpkzFMy5Onsxo2Qf
lwuGA1YoJd1BEfP9aGJODnHmfC16wklqWdAKM6bzrM9fmgWhJ2NS35BDczRYLIicWLr+f6QmOWfv
fTM038TPRcn3Ncl/U+WyseD+eeHi92P9Nfu+aNm+/vekrPVpQ1wbHzBQeil/1CxYnj6R1qb4gBBG
dUL18UfN8kmlkoCQSl3CAIws9N9rFqZywJw8IpO07LYGzV+pWX523mBBYj0WSMjW7YR19POO2doq
ampqsjquRKjRnz0qPbJ3Wi3YYb3lSW66Ay+/LKZjq1bF0eESOqxre7V4/24t+MeuDknu7TuhSYRX
jNAuP/ePzdBxSIsqJilxbAt55MRIakc3sxfLa7VfP8R8tqhv/6QJ+ac/NK+hjmxhY6P8w5b1kBsq
07LqKNSYc1cd6bN+Oce4fIw+1XbApWYQTASlFI0ZN4KGJbL7Mt+tOi0SbRy86LtPy598Q+YHieK7
ynH74U3eBtpqOnCMj47b9w3nTBsskVmechCdElJjdXd5fMBhRdqmKqaoIPtWjAIYO723ghINOjM+
dlW9IL7Y7TUzqy6WuZMcAYfkzkutVwZ2QdUdp3LYaWi2UBlFsZe/LhwZiffZ6fAlZt3IZmw0FJj3
LoFkwD4Rh7HTeaTbVch2yzOjUDtaKxFaY3XKWC9hGw7aHBZQ9uOv4hKRXdDoZzM/eouSfdN06dyQ
xh7ftqOcUPMrQlb9zhwUPRyT9VKd1Zeuizfz88M4X5CzS1SDLEROs8HN71dE7dxDM0oYFuubaTza
jojfmrVk/FJO9xpj2wuzUbobt/L4+y+afZN2PRZnOy0CdeJ5ka6wUtS0X94AL5XPRA0iCyuga8GD
Ws1muaRReO7s9VwnDutnPHiWpfpFWrEeTpLAk2ogsXPss516+2b1opJG9BUd84joynjDWONRGqkZ
WUu/lAEGTRnkS1akZHfT2HfAC5L0GghVyLQHvDy7AStm8YXT1x3yQU9h19ErNoENS2TuVGL6LdfP
eZxYgz91cU2bTGEwJiVybX1gPU1dbhuhPTd6YwUMvk+92SpnpV+/IA5Orpy4bWijeF+cnuGkggMW
WXWbBzwNbD9ftHlf1awBe3JxT3aZmmEXN3Xg9krCWZgpZ7qZJVqv049NMx2qxuivByDyWNab/VyL
95ydRiqJy3m1HpdVO7H1djT0rIiWqvrMIeypT8UvKHMwl65w293FpsCxZXaoWWhECdxRpCijdrGW
5USrj/c1HWr1sKgVwbW5or6jsR+g3OrOhSiglo/DQ4J3wi8tJb2M9TW/awzab6LUvDeZJsqNV1US
v6pYmcWy7nxyzD59p4AcrpH5OmcVKhcuOW7En4ck9y6SLi9P/IVNlwKD5TFV+Njnq5I8a50Z3xn1
QC0jG2t5q5dBvzKIyl97LL6GMQfQO8z2BU0jMsl14BS6d+9NmITpF9NV80ZNO1ObWG9etaR11M56
fSzRoN4YqzIf2VKp98Iq25PQBvcoHGIAMlHknTDJ15KT9LrDOmTFa50v67euSOKDbOuwWYz6nfSl
/QzbtX+1xrK+mcByH8c1te+IJMozGqT1nKl9eVMVynQeq4RSRbL5ebGtE18OLPeBRwKbFRA5d1no
XHpxaBd1eQSgYdwwY5/OVOXqPbe392LAW+GT95FfS90422Od3jPvYqO2c2pSEdqBOF6Eu9ebezze
htWK985Sv4xibF9rVbxac3utqFvXpI3SSYn3eUcB3lVTJujUmkdr+FwzulqDwYhaVmn9tZqfisqM
D702zs/OrJ2ozZ2btX6GNG4e23WqghGMJVjwtswr7kzDo0Fo8jQu7mEu56hSzLOmWL8Qoi+Yymbk
IdCuY1CeZBe65ucFjvhemN0XXhKDVN8SKbSNo9KkH9jSa5YoTDNJBVaIfqezmVCK09RBVq9I8Inr
eFoPQFlDIA50yvlMNqvwR+UhVtsLvdpbXk6y6kJr/Ml8K2MxEif3WMrcFN87QuXo4nL95DrVaS20
59agLVZj30yeHXIcsZyOo5xC9qouMuIrrWVeECkP12Yn2+duurA5qa3uwsSPMKWjs7GYOTfW+D5K
xtYT9qu1Ux46biXoRqV+KNhdNUq+vWk8645ynQPfNIoQDW/Yp33QWUS6/x93Z7YcN3O06Rsa/IF9
OZxu9MJmc5VIUTxBUBKFfd9x9fOAn8fqhuDGSD6bCNvhMP0xWYWqrKrMdxE3ae3tXTHx9rKe6fsy
l3jVK+ugq+K1miQy7xwXNkpNTyDHMl2p94PyierOukhG0MJPAXDkptcxmga6JpBhG7G+dkHgt3Cp
Hd+5r5Fw0orU2nlAenFWt5tBWOdYRayqmL8k8fW1m2RrynqbgPZtZECqVbJVLhgg/NWVLz64KEFZ
Cm1WfTxpMH2L+s8GCa0O7oJMvaZKz2vlc+T53xTzHXMxfRXlagQczs94VQS3RXcjOP0nocuNjW4J
0dqQhHtPLm0eIOZNVworSLxgdxxqaHGZrDOIQ3BKldsika5JIAvcP0mm0XXSTuUSJaO/M+pBgX9C
2mHqfZTlHY/+RHavsoo7k90aefdIcgaVHkgm/2OdHXiaJrvBTPorQJDNfSQ5yZXmg1LdpGNSccb0
Eo+JxvnIOeaYfpKPTIQrLVlJGBMU2uiaTcPcu0vH9NWNiUz9yGlZHgqPAj2tLxKvzh+mEPhXrtRR
rXV5qx3KorSuYeGqr6XBUoHfqsIxl7zqLlF173sIneoAfZUs7VMagLVeCPdaEDrf3KGSn+pKCB6z
OPOPoBeNVS3Vn8ERJWT4uLgx9Ri88ZjcoRfj5eGp5dYBgMZ7qpM4ZLuMSnPVD8JDZLX19ypMm0+J
Yn1RYb+sUtpyq0x9cSniYTTs3oeVdOw0mPkImL8NOjgstcyC6w7b37XROHeDS56Jg00/AM5AKxki
TEmnruC88UH2gF/3cqy5E7sqjS8d3GOxUZqXEI0MxEPdxAqu3MatXzxKGOm6ABCxGbo0d1fAsaxD
yZlnrBCqasKNKYAk5xEOpcKTNejBvZVb5UMMeORTOeZUkGHKPRoR/ROSl9U+/Ui+3UciLsacPIpm
HFtvSK8pCJKy6U01NyC0o/tozOj0CNubaszy9Zjv1THzD+MZII2nAUza5HvDAZGNJ0U8nhn9eHqg
25gv8GQ1cWyiTm6iSOyBJ4I1hwqqMXbwTyRmkIvzGg2KyZWP1XiT+lz83dtWpVKTsx6zQnumiV+s
tVTYuOEB70mYOar5IqMGvkOdgffOtmx0RCKkFI2IdhdVfr+J4yS89dJuWAFUtjMUm+gJpXYrCukj
4ATpvk7AmJaC+k0LvDusyj1ezNKLg6qPXYmwcWRpD6LoKURXdlvq5VMgmP66oViyib2igSBgkkR8
56uoqs2DTuMWWQtzHUhDbneyeUvbSt60ipM+F5Wa0YuEkCeXwi2SgukBZA8V07qgXNV8ERoV6Hhw
CH1fo1wkf5JGXJxlut5N2lk3kBaAg8f1yvF6UHG0eqUuPEi1sDXpDu0DEsIq67hXFS5PmJL7Mjev
sdsRt5s0dqRPZLpr1U3CuzbUNoVSmdt+HLox5Cu1AD8VacmW5/5jm48MJanr6SZGnGgNpGwO0lrw
vlaRcPRBrXlWYUNvS6AzWreF0m1MP3sS2/jFq1udRk4ODGuXlt91uRVWgNMoMwGouqrTLLNdsYRb
V1r7MpX3PLNeGhDmfii/h0HfrgtNT3cmbbqVk/Zr2AL1iqY+Ha263mcJF7mgVZ5IKLtCLL8JjsdR
kYMIq6NXM01pa2OW3Vb5bqB0ace1POIHec3hNh4ftdp9Eall7JpSgx9VhXDHqXus4Gx/KoqxPe7n
t6VrRiuYEOKGY8/diKVzL2sDRVOV/0OqPxsSC8Tq6xibrdh8hlaIFGQfvMqpiCs7zblVmPQ7uuM8
2Sjx2sw8W7Yx8ENPZfnQmRryGm3yomUNjF5DfUqL+FsnSvm2BwNnBwqV4qYGLErrJzM6zkRl42c0
nkR51wrYqudit0nyq8DIv6sCGsRh/xBJ4gb/XU5uj8TjeYotUDWGFiOtuHpdexIAM8MR7cFsH4E9
PpQiJdMgFQ5hnN6KFI7UtGINRAJJCvCfJcWbofIfh0Ba953f2mIX7a1IfpYH/7GDesLjFnI2160u
+GImBVjXT7KVXLndD9eTjyhyrrMu2kUYANWaHYGsrpJvyFbYuMFcmU5xQ07YZC6UQrmiVeBdGekn
yFObtFU3iQ5VBvC5GUDvN14U2s8t1Eg5dw5xLa7LuoRSckyrjdlB8pCuYLA8hLn1bIrrOmMfuuk9
Pl5KgoOd9m4U2haMqizcmGR3vd4panhLfjtmobnRvVurpvVc7Pqm5fE9bMTBps4JIe6VlmMNGyMP
62Od34VZs00Lrir5q2b2b6r3ltU/hH7Ufx7WQHON4EcliJtIunelp6Ii7dOIF+X7ZGSKZ0APhWyv
e3brgoilDuz97AYD9Y1tVv3wW4Qe4DHGwnUlo/GSHbr4MVGgbVjSBipTQ+Wy93tb1avbOCb/SJWN
wONKAHky3nqAVm0Ei133GnWY9PEGl4tD5ZQ2s4tO+WOnskW5aPvtbZaGPG6ZYcAfBdBkeD636LWk
sngN4WnlhA6EQPXgi5Yt8HpAkoM6BKu2ibdVCWSZZ1asPyj5dy2mTAoRsy53wsDvcdUtVMU7uWnW
tDE3vcq7HNGPogY37dgRJVJKimu5YivG4ipXFVpUNC2SNfI9qzDY8s571OBeFu4njqtNY6JFkWU7
uvp2p3hAXJtths8c+iWrxHmJpWFTD5vBCjYj2y5qHbvu2j0Ek5Xky3ZY8K6U+2tdfoMjsA18YVVb
4rEZzIObsul3uVg861jY0Ry/kYPwTgTL22naShOPPbqMQl9c90PItkrtshD2Q6NuhmCjqfojcIaV
qhVHUA6HxuxtXb/WPW3MHjeJ5q909S6QXyXJX8exZNOXelBqknbx1iZ3Lj2xwf2upeY2bG98OGZw
YGxN9Hn6O2vDua0AMMsx103wrvU6ZvLWRQ2jItcia0cFEKFeUIM8rLLbENvlMFTEHRTzh6QwH7wq
/Ow7qK30mlJu3ZpXsIj4J79F6leK12/DprlpY4C0NZlh6LnCd3H6HBfuzzyublpILQfI4J861bWu
HanifhKF8SFrAJ5AvnJM+nrN/SjWY+k7QXVN2xeKaxoV8NvMnZggMOFy022E6N3BxxYSV3Zb+XK+
xpZXfZYAwwMRiHf/q9S5ZhqhEV7loA1vh8xMb1CDt17yfJB2bhCMlYRYiK98NYoInbvbuPKtqzIK
lXtuO/5rCOnqOsTEaSdFerWgb0dZc3r5MCgBUuAEJgbMbPz5yeXDQL66t0SRYnzaWhtXs15agPCb
IlOvPB2qPDwVtIxE/ely/Y0S7MWwkzuPoIeK1Of0JmBeFutE42SSwlLBh958uBxppsh5OkBjgn+s
pd6LwkKKrjyv/Sa4/g7WKbyzwfgR+Uujks6vcuNDBPAMvfBxLilzTnXsf31rLw/q62j8Zrw0zGu0
lfzXavyiQANo+uituw3G7w0TLL4aqaswAdxS2oXjyhBbGR7TxzT8Ef7y/wHa8P9dG2EERf7nNsL/
rsuqeIvOJTfGf+RfnQTN+h98Kf7Rnv8XwvIf9APaNv8DfAHWzWjKQ7JjJfwL/SDwz6jc59EdH63A
UTP9BX8QVOV/DBVA0tiEkBBdQSDz/4I/7v95E4Ab+Y9l9fPNC+JBRKwdwglrDXgmKqLnm9eNU6Oy
vFY+Gncw6pGg8bt1+5JmFFsW6uXnKOLfI437+SRNDK4DZxrE5GitQgkBfiMFzhW1aOm2yK8FuPon
n+FfIz3VAjzftb/HG39+Eq+TADsgKyYfK+MO5CJVddvpgr8IgoUbrY8Ro4Kny3mQDNIf3eVeOgIz
sYPoVY6/F2ireamyEOg82/0zGmQTZSqCfHT9A8VyMprYKPyub1z5mFCbzP0M2QOP17t9ec5mogBY
xIDKgMJiIE15PhyAcCDJ4lQ9ul3Tfq560C4RnCUb2KSy8Gid5Llx4RFq7CDpmjj2085DwRIOEjcq
1GPeyubaMKLB7lTP+SNXv49po6CD1LGkoIs4CtScLYImlTNplIo80jz28SrWPtdu6204QrObvinV
ha80aQn9Ew/anUFPSEUvXZ6Migo/JBx6g0fSOyx+ITbiJ5r+SMx2PhZlzCZiAytfAwqxMtsG3m/o
Fm91EXchahpWqW2ANaAaI6hDEa0bIzPewO1l7lbSKp4DA2pQn2FdDWt/5JjSSGl920/k5iutY7m+
b/rW2gdZyDM17PjhwvBG5dOTM/ef4aHKRd3DNEbZn8meqstWVN2hVqFriSOIOAe567u2J5jqXhyM
decId7Fav2ZONRyikgp6XpjKgt7xhIHx8VfQeMVlAtA6Kr4fH+FkL+iZk+sVSn5HGCaSLcPpggV2
E5gQpMoeswQx31D1BnIiXiGCs7Tl5ybBwrfUGJ2jR3HZycVDTQ1efsqgHdUwS9eKm/UPifRIfW7Y
qFUVHeEI2jhz5AhmBFehUCh3mtHpC96EM38FnUIar5wE8owBfWXKAZe8WjvKUpi/0AZw9qJhfm3A
Mu99WW43PUXHm7oHzS1AkN9Iji/tyy4Sri6njN/2sUalEds13KxQHwWsd77DMgUl5RZqz7Ue9vqu
h/7/acCtayEx/f7NCaOJyELx1dnMU5F5RZVKpZRr4bpwbcMZDp2R/bDCUSpPF9de4GWrVqIXmBf+
jfvpz0eoSUgCj8qy6GdNvneXSmFbuINwbUoHboGrVl/Q1v7tpBrH9ivA1KGrx5ZRDKn3XMvyQ9wf
Gt4b1pWoLaTCMfX8qhGyazQQV9DWNEwZceayJq36NDKk2iot6xpKogRHQPuk0uf1CzmwsQcI95Rv
vIUjf2ZgZyEna6M0C3DmoWFdG3dR/lWSn8zwqVSeLn+e386sybiU8wVIq8ptmlSncyi+tqg6Sldt
9EcPgI+pww9PhiQD65pDa3LKiwrihoLqe0dBGNaBC8JRrted+0Bhent5MDO76SzS5CO1ZZBI8uB5
x1pycL0zd7XffbkcYmYdEELTOedxFuO9dj5fudnQQssD79hmtbdrhvzKDN1yk7j6NZZEPSQRX1w4
N+ZGxWE/MomQRlaNyaiaqK+rPKsI6VJH6NuvhW7cXx7VUojJUmvopudpToiiL7yVQncdzvXSlfK3
K6ymIN8O7Q+BegiA5iSINCAEmjm1d2SjItB1MIVdz3FesQwS69rMP9HDXUh8M1uIpAp1Cp8jGLLT
vhRoAnD0CiFd+UZ05XHVCe0DMil/84l+xZkucSmzAqOBJnrUw2KntgDzPCynF4L89tgY5497JabO
yI5hVHa+9MQIlLTWEES606laIoXaR3dN0O/AKwloR11eErNf6yTaZKHHIc1WUEDeMXbjnQwYRirE
HzEtgNRS8GEAjFsC5m6NhaQnL8Wd3AGlXm+E0CFu4T2KebWDb2+7+QG3L0+WXyA4AH/U6AfDnEUE
Nw6vvegd09+4dODEvbbFTex/bxuVuld141LKxI490MNtbIW7UtF2XVrZCU1dSUBupv+LTHf6hSa1
HFisuRlHonfMWm8Lq3vPFNodnmxa/Hb568ylodNIk1O11Sq91nrWglc/FGJ2mw/IHxZfXN+TVwLF
6svRpv3d8fQzDAorSFzg0mGOD+rT1yBqCUJr0HE8NlQcB5MWyk+rfJXoT2BR9VVpzM8InB+6/AUZ
mVij3vsQ4MYOKMlOB5i9ySGgRRX0awXFG9PYusgQXv4LZ46xsz9wMvNOUNNZpLR8rNPI2opcMG/r
TvTW6tAvHctzuZJGDNIbPL14U042hi92upTVkneMoDjYNSXaVa2q8dXlAc1lrtMokxnvG7iQldax
Dfy3si5uWuG16tVDLMcLMzc7HKpmI1OEB8H0Ph5EJSa0HfstFD97yKk3CBFdHsrctxnrcv9E4Ol6
vnh8MRjaomEocLBWo02gWTz8zT3G4FvIIqhOFUDz5KvUKR32wh8AUUkPoIv3CFTBGc0Wnt2zQ9HG
qzqPYi5nk6GkPhD/rHJIwSx9AT7B8NpmC2+T2Ri6MtJ66DDCKz6fLllPRd2Hf3EMkhtnUNZhCRtk
ye/n9wcQOxpS+r+jTOYLniojzD3/CIxLBHmgynapu97V4GAqB6TnRleyl8xv16WrfdVKfPtcpegW
jue5LHb6R0wWeae5ioMpj3ccRsxKjhyJTeNPWfk9qDNkJDdi2i4VaWZjQlUyxsoFJouT25QzateG
NZ/wKu5pdKUorQ7qWpXv+sfLy352B58Eks+/o4Yya9EYY0oCjikobxp1IQ6pAaLLfxdocoUPxldL
05neMbU+VU226sAqacrBzJZsQGdX5oge/nir8jQ8HxFnm4VgPkDFRHgCc7UpUPIDbvoXo8HxGPui
UYJJmqyJGrOCtgC9cwzkn4YLYjK4tcwIDYhF1NJs5oNbx8uYKgC15PPhdHUijMqY/rEZZdP6CmDw
Lm9vkm+hR/kj2SMlHqxo54vJtrT8lbDw2WZmE76cqknY6IxMvUn4sI0CtBzHgVpPlfLk8f5aSiVz
7/6zGJOlgdpGlXQaMXRV2HELNg5672+ybdVH+z6nkRr9EMw/88b8eO+hoUUuhg1oUnWYpJbakDGo
0Fz/CNH6Icg1WxIhKl1eJbOTxzWYMNgIUco6/3aOASSrTGL/iIXHlqexoISbwskX7j0zK4Saxa8o
k1xR60JQdUriHz2wHLWRw5Ax/iIEVSiJlhX/5uw6H0iag3bDx8M/Atyrk2LrNvpChJk8xEOV6joi
yDQap95/QHgjt0pK/1iIz7Dp2i599OQbRYwWCotzn4TUICvWhxfxNLH6ilN6NNxYz/q7Gj8KLSjm
pWvezOOAZsuvGJM9gxeICSxd9Y+qN9QHN1TydZ2q6MD62SHOjC+BVYYPopk/tEG49PxaGt9kL1WD
mAt1Q+zSvLea50D7Wlk/L6/qCUvjn61zOr7JahhMX+q6UgdnCLhF32l7hDyGBlpnsFLeY0SODQAm
kOV5ehnx0uTOLZTT4OMEnBSGK1lpa69V/GMIPqVPNrn2xQc5YYXfL49yNg7XZwgvCkM2Jnd1NavN
UPQ0LlEveod88kbNP4vi418EodGDWN+ovWNMZjLtVD1Qx0NRMfYIhSP7ZVxHS0tidiQnQSYzpieS
4CmDwYHYW8j1lT6SJUDnyiJU1n6nmn+xkxUdXSSqQXhATSWajFAV4hy2yNEYVb/czNarQ5Qnti8v
LYWZSxIdAiQIIZ+PRadJeu1UhBlGu6ljgc40N2o5aNe6jxITHOO4XkBATJv24+vyLNokzUpoOAC0
JNpQ2MaXGFnkInqQBmDu0Ceu60ABX/jUpqRfrNbQ+e3B+lxeLbN5hS4adCz+BYrgfOknXYabk0GO
BJSabqDbY23ewyQEqazahQR5OsqVwS76sN2lTlYuLNbZ1HISfpJa4KNIFbY9bHsLEDgyuY7wtFiG
/bjPTErY1MHg3I2bHD7W5KMOsQemty7GBA2wXbjLG59VehPELz7Hm1V8MZ4ksJKJYNNPW3jUjHv6
t9iIZyINhJ0uKljnE1xDkgHAWPvHZ+QCV56PBUKDyHx4jRXVVjH+4p0Gg/BXuHHjnqQyLCDQ6UGo
EP4VuFjjISreh+D58pqZ+2inMSYXVVdFtl7uiJE1hzR98+uHXluYtblteBpikilNwfOAoY0h4J7f
wOPOhb3Zv0NdvzyU2XuiCs7ZosIzGpxM5mvU+FVMANZH4LvYQ/lAxRFwEu2gFn7UXnYEbeWAD72q
wvDP7F//OfKoavPUhf/IDWgSOmsjBUFRjtUYnYcrCBGY6rV1Z/tShvTMKCjgOiibU9+TjkpRtjvM
3NyFeZ49d3nX0AlEeRUE0WSiAyHyc1ESGb+MCEyfbsM6t4dG+YEL3A1Sz0dspa7GsqGC1VQk7Jr2
yk/EhRbT7II6+SMmNT0woIXrq51/zCXwewiglw+LzbLZfYgAiGFid0sfa5IDTK0Mce9KuUAVUrhG
mk6/0nQXmng0aFdhhrJ70ffXopYtqeDNLmWVdx3ijSY39sl5rLcqGpIRgassEg9So+4Ajg/AIfXG
NlwNcF/e9Qs1tPnPipobjxCyuvhR1jxJAzX4TUiMOWldE27q/Cls9rKySdGAkATboh5Zm89OqG58
KcLVBuj118v7ahzUb1kPiRaTphfX+6kZb1uZTq034yslcG6MSrVpTy1s3dlFcxJismjMwNf1ouWJ
IqbPMEHXg3ij6Pnq8jhmV82vINOyV+F5omx4BEEP/YXbaRB+6gzMgUr/ofG/R9H3y+HGLf/btCGb
qGE8hGHy9PYxOI5a9BZsGxFWGfjfCKmT8tWLF07d2SWJbxPIS/BF9PTOD4lGQknW0VmSndmvgHGt
De0VLoIt+cv7bnZII+kd6Z2xbji5YEhorvWYHjB1MGR99Oyq9Cd44Y3WLqWy2QWBvCZ0KCAm4EzO
R2VhQ1llJak8jcpVh3BDv5VrZHLgpDrrK8vM1jTb/CpZqfra4YalJ8227X9c/oJLf8T485ONl1QG
h4nExguCNw9B9co/DP63yzFmFyVVovF5DgBv6v+Lp5InAuHwj2g+rzS4ktAGvPze9bZGtnWGhWjz
I/oVbbJYXAe7nbzgna6hzFvAQikhOXgPl4c0my9OhjS9UmA6EvoR364aYczIA2V/tZNPIkwOOkMB
3oSIsX9MIHLqjy7OLZ43bKMGusBzMbgL2enjI/y2lU/iTdJT3RlB0TkNNbbAWcvdXYh8R1Depf7V
2Aqq/UOGEwgg+McAqLam1MgmVSuXFYlF6H81t9OkEupSG/gxI/ciRImMBwd+zOUIs0vEpEGPdCTd
+mkpZxiQIDeinizp1z/L2hiuBh17iU5JF+5Ms8nkJNBkd6Fcq3WRzqR2If4ZITpxXKnjGOZkuTCk
pUiTVS85hQpGjkjJoO1zOT3QugHmYCfp2+W5m135J0OarHwzwYhFqVoSBhLqK19/D30U7S/HWPo+
k7Xfq3GbFtAUjoPxFHvKJim/SeG/jOT/IyJ4KchkwY8PXcUTWWYmHyV0foI4WLzEzX8VrIRF/M95
z02+vxioZYwiP1dmKdq1INWF+GcvdsfKX1ho84P5FWjy+RU38bBSZcaMXEdh6N3EYAqDroXvMnsO
m9y9R59SmI/K+WGRVa2R9jKX787VDFBccHxAfqeIZkEXjHzpGj21YCExzY/sV8zJKYn+GfBRiDA0
Z97wfdqw4nDYWggye0KBcgTijAKDNE0I8H49XvYDr4r0J35kK73Zq/57I64Lfdsl4tWfL29UZD6g
7/C5p6siqYI6QNCcWr+XiLs8FVQ7cwI8BMI0Wgj10YSZpnUaiKoGDpni8hQNV2J7UqtgIoEkDfvS
klZ4Ph3DaIMf8y7NdlaF+gqaqiFC1whKGsODZtSfqlo9lGK1DgUxXA1Vv7s8/rldoamgyUFlASXX
JttbNpvBwgDZP/ro03KVk5KfOCyvunpzOc5cqkKECFgRzVPwjJNN0eI7VnVmFBwj97F3f9IEu/z7
51bN6e+fpEK8zqk8CXFwxPLKjBEokkIYcV+yHm4WB2QS2pfjzT7+wXYDz5QkkU7BJKAXaiq+Q+OA
cOjaFnmobocQgd2gS429i5rqqowsXMH0EKKv28UvCCGpC3/E3H4c8W1Awyg76uY0bRphlWp4Lxwl
91l2xTWtMEF/vjzQuQ+nI+6NgpumkGbGn59cSsNkqHH8SIMjxiRPJa/9FfCw7C+SGSkZPUzqCCLY
4vMguZ/3fdonwTEvE3Vdi16zFkED2U2WfS8z/CwjlFL+Is/QksVlguYsZcTJiqQujDd42geQdW/c
8qlB2S9Mv6KdCyXwprfShSGO32K6+fG7AZ/AawbFrkkNAVc2ehReHRzNwHhGEU6ucbzYd8ne75x7
Kbvn/bmwOmYj6qhFqQoQUp5q55OaKljBCZEeHNFm4c6D0zrvlr5ap6pLyRRSa9695LDwL6+XUXFs
MlBVVGA+wDigl6lMO1qlhuSD17k0Kr4bWxU1AHRQMHf65rxToenwFO2Oeb9T2zVMhCY8YE6KfXux
chfL8b+vXP4Q3nTI9oDBAkt9Pv4WMGGEgoB3tPpjjQJhsrCAZkrDBIAeoyN0z7Nbnaza3hPRUpXB
SYYtT47Kt4e9UDj3ep+DpH5qu/ceQZO2yNd4jKEgoC+sqNmJpjOJVADtQ/TAzseXZ4bee0PpHTlr
Vm6IcyQd+UYq1hVCC1/pKy7E+/3GAQWMewT5W6IcrU2GGxl48yV17B1zo0Sn5RWhynXTfo/0rRcv
+WrMxdKgHBljNxxW2mS3RJkQe6kLDERpso0cfxo+C8YAFBr7zj+uHyKaBz+TewvTCEL5fBatGh5+
mHIBENSfYcAlKjpIob+wVH7fikg1kT0BTMikmml+w1NA8AdEtrhs0h6Jn/IuWFtvvf4mJO/yF6td
eBHPrAzCIQ43Yq3HvvL5mIpY7rQSVehjisCFIwi24nxRna0cXpnQovXmx8KWl/l957ltHN6veOPP
T84IAUSKn5Q88yUdP0FHWjeZdhV5xs6UmmcF3LDb/RyqV+Eq8tG9/LYQfVx3l6JP1mXhmV1r9pRN
MDvcGyaCmAPqmAbSpP4BMZobq9Y2JZpOTlttZWwTs0Zb8wZY2B0zFwImYWwQwVUSVb7y+SRA0DHT
UYH0qFvdlVzJa1V87YPnPvJ3ZVSuFeVrj2x7oyydnb9fAtiUlgVam3op98pJXCcWJRdpYtIc0vUo
Uaxo4dDnXlrCM0UJGg6AHUdCAvXF6RqmXOtrfQTafeh/iDtPtDOvX4cqIq9IjGDM8KRd6buh2aMH
lZYLzc6ZdECapfhugOFmQU9S+Zgg8t71qVoZ36UO9d/gc1G8W8F9EHxfWE1jZpmsprNQkzuVadSq
KbSEytu3oH9PtVs/Tlc6WtjDTtUPjrlN0y8LMWf2z2nMaZVFHTD9oJnCfg0Rt7n18BNNrwNn132r
ikcPFyr+hXU2DZ2FwHODpYVE1YWiJ4/syby6TsF0d2wdLzqqzbuYv4XvpYgmX1ivzeqzasLqF5Ye
+2NGnc6wDvWXTwlDksfA+UZxUqnA2YH3cYe7I4Vdx0Qaja6GnCykwZkWOTjIk0iTu6sZlgNSuxRi
4qFew2IUyi9JIW94cikWnNl1ighYL157mXcvo9rmWY9O3/0xwIe/YcQpwURhn36kjZPc2JXOEIjj
aBtBkNaF0GYrxwAgoitBul74nHOpgDeJCHqaZAzd5nxmewdj51jqfai06VpVqn2U3bkxrdx9rmI2
qJrPkgq71nBsQ0UShy6hHIVH1Mg3hew8Xf5jZo48xv3rb5nMvS43gVKn9OUSSoZZYq0c6y00RtVF
Axm5GNthH8HUhbNgaQLGn59MtgUta3zOk4Ol8MnKTBtFvK35L7+F/1itmh0abmjwsoDR8Wo5j1Jm
ugaJxGK7onxYmDukQ+wK419TLd4DE7M9dPNqcX95PmduszyNaO/A/OKqOe34pugM6aInUXuJoEk0
mYoZpKLUC6fY3N48jTI5TGSsbUwscPyjLCAm5cnIvD4oLYWHJRzAbCCJxA0zme756Bl6+qXiTmtq
pxZYHhTSNsD5sl2qGRgu40YrIeu0cMubnT2qDnhCwAGi3nMerhrQ/cpTFRZVD0JmeMCnxb78fWYH
NDIPuR5rMD4mSy+sS5CUAjk8zq21ot3gKLoR3MNidXHunjHarP470GTm6h6rlW4MJHna0Yi9Te7J
6DQ2V3QJbKlsdBwxu61oBd8pO3z97wY5WR6dgm5qNZ7D+PoGwzaP7rM0wCmxX1iGs5+LdxUlKfrA
mFaefy4zgyvoaDBnuE+tIesoqBhdHsnMFRluBUzE8fH0u3odBlctupzA6Rw5wUXu0eGmrEsviNBt
M9rNRrdw1M5lJrgcEt+N/zCmj3ElykP+Z5gDQYVMJpDYPeKAl4e0FGKyMHpBaQJonP6xrx6DprMx
cF0hdrYQZXadnwxk8mkULRFlIYUJ0P5MGYJhPEDnGLK3y2MZf8v0jnA6XZOLScZlF8UBxtLJxSqM
8k3eXYfdbYeCfhYsLIWlEU1ufEhE0xAGVn6ss/IG0/ND6r13+Rc5KB4vD2o2EDoqVFnBDIlT6HyN
lKNUieyeXEQkLH+WeuWmFG1MrhYuArMr4STQ5IACxlVo7vjcLCU00XtpfAFa2quT4FR/eUiz3wl+
KjAoa2SKjhv55MAt4kyyUOMm6+ER2yuHkC7h5yqgraam3s/LsWa37EmscdQnsSSAo90QgAsxEEe+
axO0AePevKsM6b0oDX+XxP03XRzShZ07+9VQvUHrjwsrlINJ2FKOVa8GhGCIVboxXLgiaeJ8SkYN
0hxnmYX9NZv6LMoRBvL2pL7JKMtBxCleIxyeWf4KfU0OeziGC2t+boVQuTZ5q6Ilz385H9RQOJmR
ZdE/UD/2cKU8LGfxpSCTjeWHWDKbI8omRL4ZqazUutHTJX2QufkaiRNU+ijhcDE6H4mT5WDzLWod
paHkn6QmR0FdCNKFB+hM70YF1PsrzOSzBG6tVn3ScepaVrpPcOkAaxe9RkUQb6PICkAVS73tFkON
R2utYwUbinbjCJ6d6Lq+aYYwxocN4wDJ83EQ8wb3gHTMInVlvMdM8+bpnzlZrAgY6/+AgAoZy+gW
1EC16VyEKhRtb6qH2rnGB3PNa69arHHNf21AWwpeE1DEJjOEww+GrD4dLVy7k43Zb5Ony/t/LtdQ
qft3gMnYFA0hGx+pyyMXnmsghuamQIcSeSessDLvTh38hZ0/e9Ua76emRNIeK73na6vtadm5Pbdh
DUsu9DGF1I5bMV0JiJVvQrnAwbF2kzUeg9kqq9Lsa6Ghb3x51LPTSibgxqd+ZIXzvyEKWr32HJnT
SXqFO2kFxcoLv12OMZdZqdZDzwRkjFHIZA8lLkogshPSBDRsUT7kSFoKvPyTVxALbrnQHv+oPv62
Rk+iTWZVslJdTBRyjy+LW8NZiz3i627/QBNo01TZViheY6XnUoawqlxeXR7qbLrQ0HKhGou2wdQa
1pL8zEtUclLS7ApzjXfTf/f7J4Nzmp69IfD7Oye2JTldDf7S5XhMm7/N38kQJvtA6AahN/DcPKp5
uw1lfytL12Vf7wPxc6o8a91q8fI6u/NOIo4/Pzl5K60NBGVgUIH6PeoEc2V5o/878lG99x5I28tT
OLviT6JNzqZYFGSzHViNAeDlIS/uxkOjdou/KMxwpqs4r1OVYWudD8qRzEYMPtgL4VsefEMV/28Y
IZwaFIVHi2RE86YqOxwMYV30pKzBs2nBfcaGKi8/d0uqE7NbipcSgPCxDMzF4XwsNTCKyBMpdEXo
N1Zpug7iz4MOYLdCBN9Q8X5qkVPwKFH49a6PkcT+809GIY/urULiV8XJJ5P0XPXTlte8Jv+MQDrR
RKkJfTnITJbit/OpuLXQV5tmY0WJfTFJCVI0tNSUcpXVuyhQbIoWduql2KYu5IqZjUZA3mqgUTgB
ppckYCO94Uh0pYHArQMnuFNFTlQZGcHeetY0/1CLh8pYatuO23eyvUG6wsoHUC8jVTdJxji7F3mt
58GxsKjd6brwGQn3m0rIHTsRjejPvxzJEEg7gFB0S7RJYSRVwy5Su/ADlxHRosykm3ZJy3QmfZzF
kM9XpxZgv+Y6QXCsaFD2qnMIjR5XuJu2fi580/6LVTL2KVBLoxky7VI6LXc4xW2Cozp89PFjfEY0
1dvKjhhtU7F9E3I35X2vv1+OO5O1wNP+ijv5bEjbR4MpZMFRwGrAvRHNt3JJUGQuBMPClmaUUPrt
JZLyxhKtqA2OVmveYCGHPd1D0/0x4lPlRYDmGQwASo0fsv8nub7Um1rEWiA4GjIonffUWGKQz61v
yAUQXq0RPz7Nux0OVhAkjeA43hKRaPC3OgjMxHm8/D3mFt1pmMkpWSqJw8MN9IMfIV8TbWXzSt77
BaY6wcvlSHN56TTS5HSk7JYrRc+AjP7/kHZly3HjyvKLGMF9eSV7UbdasmVbHtsvDNmWSYIEdxIk
vv4mdM6xuyHcRlgTEzMviuliAQWgUMjK3EEfGJqJpvll8SAPMYOlPtxWzt+3NGKOzoZQ2m5rF68I
YPIlJyd68oI7SBfOXR6j0ebfOSb2x7NQiIJ1HJAtklNmHVwG5iSjOYliT/m57HoocPaa/VYZ33/c
kp9KyOx4Y5A6iG+OV9ogHZJBcDxO9Nd1v1THJcYPD4loXEI5Tgbi8dKLytpIgYypgdAK6FeorR1M
1t9DlvoHGMxn87l/9nKUBHlj6ohdlOECZAMwqKBDA+jgclT7dO7TwTGAVAMteTBArcO3arThkwoS
AmhW4+Bw+nHdYZ1J59IkiLZSzihMMst6V03IRWqQMxIweQzDwa2gyZQ1D9dNKpffmZfSdgi+Tohc
2WV5Kn2StLmf7XoKxvuGWUbc59UNZXOpMakMH2Rz4qIOLhv5XbHlIIztBYjYrrYTntkJypODr3lI
UBpBD7ZojkKPr8yNthhDi0YVPMO40xMwm9Dt0D5bKmcL107R/wTCJJnbvGpzAlJc3PgKZifliuYy
8zsU3IBXhljHjZ1qMgD1ajizJy3z0mjyuu5gry3IQ9aB/L49hvzOKnazPWzNFEoZzqGsvra6+7Vy
LP8YltvqIqMzQeTgoGBtHWoXPYp+uMXj//vrkai2AmihODKx3qTNMhxpOkCyEtgb1MOD5thXPain
9teNiHCWkzZQNZqiUwlHp9w4D/q+oBgpjBDPOpV9dTu76dN1Eyo/BKAOxVbQnoBB+3IR+3bOUHWB
iRIY+RV6tNEjWPneYAMESugpwBe/eqyuPdpMXlEg44UiCTr96NrHBNX361ZUGQDwxr+tWJeehNkM
rho/wz7fP9QO3y4jmOXoEUoimgPlpVXw1bScWZL2Wn+pUrCNjzgo86yH/IhH4wVAshvI2y3bvmj7
TeaMwYNpgFGxc6n/ntjVw8DY14AFeWxkfNk3VgY1RjdsNvkKzWuTTzxechO0yn34T+hnaLNv0Fk/
OFl06Aik0mlR5ftgGafTCOg+qDtxEZoziD1eH0RlOCC/FTB5vPfLmJG0dUBFg/rziROSBNW4ReZe
QOntupUX9NCrEUR7Le6vaHEG9u9yrpyU4z6WAebsgfV/REuhsyahS0UfiL9dbfJoVx9tSHUv0F7K
+ofcJ58t0iWz/96pv08k33DWHAZ2D15kGj4AVL8z7cfMsBOv3o7QTQXPWYyg3l3/bFW51hFJLBix
8VSOnOLysykBw4SZIxv321vC6EMxA93Lm4OXk4258tNK8ruRAiNed3kUzzlolJtp3w0QMQuKjR04
x7Wwt5BJN98ybWcfJq3i0vFJO0Dk7eRPS7JAB6Q4DpA5vO6+MjbOjIi/nyduC4mcygFme6iKxPjc
Lc91qKmeKDc8dCYDrS3oiuSGya5bO8RLj9xw+UAikpimZrtTbhJnBiQf8qEbVqOAAUjSgPpUSHvZ
EKP8fH2kVGkKBMx+uyG+4mykGjI39UBw2V7CQz0f2XIEp0N1T0ZNQKrO9HM70h2ht8IIwYSNyPbu
A2OzAH0NQtDeiPBu8BMReN0rVeEaeGAQAwB2hAUgz87EQ8gedIgypEKOzRMGjbNioQA8fRiGDemt
W1zyZ0N3YRCbwavN4sysNGdNalgNZyiY9Pk2BI2li4Q2bvmSWDnkN50o8RcrnqxOh61XzuKZXWkW
C1aEVSmKGE76zgTyCY5ZaIjzom2PjPr62CptocNaNPEIckbp8IJ6XbquHmZyDo7VCB2m0kJXfjXf
DCnUPW0d/a8YsldDemZOOsFI4BWz2yNAo+wJ70ogGnhsqObUV2aAaIQAtSGwndB6kDb5qKeu1yzo
TbDTxU+sNj/yMLH4U4qOawoWl2zct9T4DNLcuiePbxnP37blc6zmUIFdGGyz6n26DjdQvk2ABIrb
8Dkq3lLtOnPUliYP0rN90wbo+TBwC8K1pGr2E2CzD3XJ6RtwudDoAJeS6HjCS6t0BLlW3vQNQyHq
tvW6xG7BOGwumrcUZTCe2ZBOEz6BXZAyCxu9OcXjGCYrffJ7shES1Xjuuz5TylA8Myb+frZXYjms
DYi0yYkG7T+WUUAoKvgJafrNdTPqzQvdz+BUAcuAGUqr2Z+6bMx7tKS1DpT8vOpdm3q3LT3OTXMw
Sn7f1sc2Suh3jVkx969WWigI3wSFKOAMl+4tk1kHlMNsB0W2hgQJbR/BsTXOn5a2ip25iaFNPO15
p8PcKY9SvBKgwIx7JdrJLg0bSGAIh8oGVBVokATFshxYag776/7prEjupRb6nHtbWAFfbWIE7bpJ
S2xf160oYwRIEEGTCu0C+SURqM+pWnocPAE4a6dtJMimueYtXsz/q4k6syHFoduhu4EuuKQ4BAKG
qM17Ca9MHHJrnizoSfqXLknhOKLO5vsDXHLSY8ierE1Z6lpe1R6BSAsvzaju+mKZn62sclq83Flh
woScifPLA1HZ+InU9A0hIArxwNPhTTsIpUBbfTcoGMNZUo0cUIXDCoX6v5/+cwtSkNkZcUrbHnBb
CH40kMpm6buu02Y3qlAGYhQoKmBkwL0sHVdGsRiVwXDc98MRnchLtglJCSHMYuPiNrYmS3Vn0RvD
7Hd19oHW95Ch1cSEat9Fixseh0BDCqIc8YVnE7aWEJ7tOSbMRYCDwR78Y5O7nXxP6FhvuFc+vmFc
z+zJIV9FYzRS2DNoeEDveuJM7R0k8DT3BgX1j4vWPcdFlzI4h/DmdelXl1VFRRdcHKa53fTBXcRW
iJIeUVQDE+AMIsU8jCnub069MRbQk3+adNoDwhN5cZ9/gRSjBTHbuV7xBWH9eYIiKKdREhIdJ68y
gs78lOK0KYtyCUZY8b1dEUBBVnMu67yQzn6n5T1gBmIc+3t0/+OMhBqsJgbVPgCTBtoMD+UUKQZn
eza8csQVN0yd73nmh0neWnzzlsD7Y0QKPAJWhjoVjbkoCBUdJOu9H2Naa8JOPVp/jEg7bOkNtcO4
yHGL9iaFZGW7WDdaxLnSygtKDPSM4EMQV7SzNRvOHWlCE7lf40NjNZ1AoTfMILfkhkF310dNuT2g
qV4IdwC+HkrLqLWads0ITOWWvw2+GGsZL82Nx7Kt+6axA+AKwSzk+WRK3ypvPJS1uHijNpM6+yZg
5wPVFL1V55NAdf3PiLQoHXeESraJzC+yCz+2OIPaHFuDnePSGtxgjg6Rqxw/T8gUonwjOgQup6oI
wh5yYCZC2zcsFCBHkqCDJt8ZVtlv6sjFk0nBqKYyo2pcdtAp/duqdKy4OW352OP5iQ/90R544lvm
frVAbdXUWz5Hh2CdN/aTO0e7pYh+ojvkPvCyk0/e85IcHeNBoJUEo8z1YFLGLXpg8d4A/Kkl168B
BehsHoVIu1F9K4N972ZJiBfTf2dFct6rhmH1uggnmom7Hl5Ko0d/1VXJlXEEnMGLNiXaYCUjLKtN
iky3PDV2uAH7Y2qCei1aEz5rAlY9Zv8zBNGyywBKG3QmrYZBXmrl5ewezWCMITL4lt3xtz+ApVya
wSXSJMMMf9oIwtVZdOO75abSUgyLcH91Jp6ZkU4rdyCGAL6AHSG1d3iQfY+2+YgUyTTeiYZB9Hy8
4fgCrST4HsBWgFZW6fiCCDoxjRLrPTfvlw8WhU9vCLdzC9Lh1TKWd9zEtpWzjzl/Xue7qdDVrlVB
gO4RIZiHdhw8917Ojt1AOBxk10hGa3KTN+4N+qyJl2tiQDU5wGai+xmJuyB3uLRiGMGQTSUpT8Ww
xuCh3pZAAOA1wzLqxOh4TIhmclSboydULEUvbuC5wu2zc8xBt6/D07FE/89UxPW0pj8zXgRJ2M1h
0kaQFrBT6y07MnBd0CMR7TjgKr80mi5VFM6MlifX/dLWOxyme+OzlydF3+6vb0TK8TyzJEWGx+p+
qbO+PKUz24ke1Dzd9eEM+grseVHHshvT0UWj2iauX+hEQ4O+TIIzd8xuHM5K6McDM42H2Wbfjk51
4FEJTapyMbe4vG+LkviaKrqy1gHamt+WpR1xbdKlrUEvelr7FS2+FkTEp/VumixICyZAh+WxDSWn
nnwHsltz3qmWB5ITUcMEMRQa1y+ntK7QGms3XgmVg/KfpV7Xg7uWX4rVzzSbsdJJ9N1FIFrxIb3q
yk52edhUBTJVh7XbJkXKnSdz2ey874Pj387tZ8qizRD+vB5IqnVyZlWmkLChhT5TF6lrY93l423d
GkAaf1yyI4CamqFUnWvnpqRzgDIbZJjiFYECMjIA0tb1d0OR4VHw8bpPL2Kn8lFwbkk6Cgz4ZJYC
ndU3cV1U264AwGihzwC4lSkqVMG8K80qdle8Q6bsy0T3ZDk27Ik38z3TLVWxFF99DHA0oD0Avwpg
D5cRNAUZDfIGpVu/bzfQt1pou7vurypGoTTy24I0sAWexkAmAwvgHN1MZbDFwGovBur4RB8gngmR
a75qYjLTADllsSCHzr19hY70xkQzEXLONN0wPseNs9jxOE23RqVr2VYG6ZlpaRGGvVU0KcdNoa92
FvbvbIkj2oM8fkyYr6XmERPyesL+OCqdVWFAPaTyyKvz6BH41cTPit04lNAutM394O7ZAkLLyHw3
EkNz3itDBc2WeDl1QFz/CiCcksDOPAHtyp7C9FeWaRaGcgWe/b60xbQFVGnKHog46N+0ff8uqPde
3mzBDq1xRG1ISFkC7YmXd+kgJGsZLdWKirtrN9ul4hCss/a83hnA41+PfWVoIAMDY5Rgi5PxHp5L
kFkK9N1IzUQ85EJ9e1sM4bZzvE2vawFRrrQza1Ig5s5Q4oESA2hEd2kI5Ae49P1v1z0Sk3Aefigp
QatFYKegUu1F8jFL02oxSSaoJpp7PEpGEGB8Isa2ocn6yQ00EyU7JBuTImI1ewhuW1l1aon5wUER
Mhy7O5sNm3/lk6zuRPuwCdHqWJ1SD7wzMTfjlUHJL4H2SN8kTPfCqvHKlzbEbjbA92LCKx9qI9Vw
11oPfqA5OOUQFyPnAYEe+sjQ3VdKIxNgaSzntDqZ5MZ8Gr5FoK1p1ufr46YzIk3PODB3rhwYoc4c
+wyXjDJBIpKs0RsmCIVtwTMC7Q+gZS4PKUDpgxYU6tWJ0SH2y8MSxt78zCzvGBjeDlfdpKJUY1Pl
HN79gG0G4wf+I/5+lqJbvR8sfG6rU0DMuEoPLXhUipls/hqNKKbq3JDYQ84MOT5D4xYdqlM4AN9i
Hpvip+n/bUn2xQhoVIJANN+hdnZpJPI4riHCiJ3nGKzn0d5HOi0BRVzjMgPMQoj/4oSQ4npwwomY
g0nR20t2dXdcozKmXPeYrpgXNLu6aMIXUD1Usy49ASlvtYJxgJ5qZjz4S7MJhzAJvK9E1+0vfkja
6WAIb6WggQI9q3yBTudQyKRF9DROi3CnC3S5l3w6YFIsqK8B5Q3mJ3FIXLoSpmNPWGvRkzU8gH4u
CdFEXhV3XZTtBk+zb6sm57ctMXSXtpbVL2diYnLqKtoysh1dkKQyzS1BbQSDBUQ0GpLlFqasyq0Z
oDZ6GvxgPNUOkGJGP5snd5iz3fW9R2kKpxAaXqB0BPbcS39IbdaGPVf1qTD340g3UD4voBzx90aQ
6AjJGFCjod3/0kiBW6Yz1qQ+ZcXDCLi8NY7QoXI0Nw+VK7g/CpJHYEJDR9rd3Iz6OQ62+rQxhhsQ
Mx/e4ITnQmQEgioAO0tOzBHrp7ZpagHosbw7ZFVu85eoAhHI2JZ/m5BW/hgQXDsJPGDA4PEvdXUM
p19v8MK3ICOAYrIFHZ/LqShRPjNbByaKlieCRhd9IYlW6161uYh2QkDPwWqF14xLKxBRR4Izwwo0
yDascGLDfvC8rxAoesuco/oDtC8wzSAwuTTkV32LmpNVn9YG+htiUub66fqIqXYXAYP4rwkZlBPM
QwdSfbtGuv7Bcx8HSEBzVP5Nc4UEku4xTjVwYtRAeoAwA7v0pT8Vqv1W0Ef1aSnqA3FJgvWIkvsm
53+rdC9i7dyStPAny2h5Nvn1yYq/Ms1613kh/n52FBc+5W7eBvXJK7aGC0V78QwDhrO/nhjbElJU
gY+5R8Xx0gqxasg1gyvuxKtv6zIdrPqGm8UNrTwQf/8lzgKjdWFLWjbm6kNKyYAtdnTXYjPiFnKq
LF00K8ZNnC3ASeFcRvu55FFvD0ZjzDU9QXQT1S8DaOux+8EhPLoJTAgtXB+/l8iVTuYLc5JTuGrn
ZeA3MPdtyEG2N3wYaL9zszQeoUHfffKWn2CqcNaYkl2Yndy9b2wGdoqcLME2AuzwjaEbAcUefvFJ
0sZBs4ZQEmEE8vl2qk+cvcv9m+tuK/IRmADPMTTwkDPI2CZe9U7Ew5aC/oqCFvuD1T9eN6D24Y8B
6RxqqhkoCGEgCIaYOIe6f8+i3b+zIe0TXdA762D09DSFH+fskYVprH3pfEUZKIL+fKSEo2fL2Jrc
mWQcaQjo9abEtorxYzhE4cb3lixZmm5857QZlK58K9/yqmxi2zCtXeGO5WFcogrMHraXTPVcfrju
vG4GpWWS0SwMSjHAYfixXn8a8/d/9/vSuijMEY25GQbXr/g28iAgiGet6yaUMYKWXADGoS0JbpvL
oeXGUPp4MMM+P+7nj4Z1fLj++8ohClEuBPIsEK1Tl78/L2WQGSV+38rN2M6Py6BbqToL0iTMTlEH
6VrUp2bqE3Sjo414f90H5Rghmwe4+KVQJvng4HjKfIPTk0GeiuVo1t8GHWJAfOSrHfDMhOTE6ix+
vQK8BLorEtM2meyd+XENdQ/KqrECFMzBS5WJpjxHylJcc5hJN+GCUkxP5vhtcHRMG6qhOjMgY5XW
dGJgo8dlLoKUrcGmO+qbdyQrf/39jJybkfLTwS8zULDAjDsH8RjcWbmRBJvrNjRj5dqXkbsy1wGr
hw1Xsim2wk+27i1ENedAVaHfCJzQKElIqxvckR7YIV4uvvYNytHPvnHfCp3wkeuU4pW+2LjBoy6B
lwq5IGbVbpBD+Az3uPbzAjJCvDBpMi35tU5s0ShI/7YgzYjRetES5HAm5d2vOijLmLFDA16NwP2y
lHdQltVZ1PkkzU9PZw59buFTVcZm9VhNmsvvKwT+f3wSyrFCMA6QrssImCixOocF9DRn1Qzt1PwZ
zTUbXg5O7PhJyWKU1DeEe18acz2AaXp3PQDF/Mt7AsDqYOR9YbiS+0XqteUrlHcp0soW5cs8P3YA
TQT1Z87cfW8uOlIj9YD+sSdtcxlvcX/yccrO3iNpn+dZcxQo4/3MH2k4B3vijW/g93f2L/fLV82v
K3ceDDgazAC5Ain15WR50+g6qFjR02LsvLCIQSFcNbqYU06JqE6YDsqxCIxLIw7e9P0myOoTXcn3
rkJpOVu2/nBT2e5GV/F9BX16CT/PDYGnhUWoVFwas8opY2OBigiDwOw+dVdwF6wQqeHhOieWZ4Ck
qfT8j+EIzrscjWU7MnQPLSFf5xB0F33L3WTOsmxjRSS6KdOxCpOuLYokmhbdHU45+NDgRNXLF/cG
afCp3/ZTN5a4Z81ePDwTND7w7O/LHiAF9SxwYqF0AzLXy+FYqsYNelojk8hS9MGAnhq2lr+lwH0Z
9DMr0qBH4+RQ24WVNtuMbF+497x/DH9cX9nq4fqPKz5Kd1IFh4D8YK1wmz4F43GMdgX7OOoo05WL
7b9+CBPSfmz6hJVgm6wBttou7bF279o20ZYkdI7I6wF1UCNDo/qpm76v7ePc3086OnSdCekS44Hk
KmBMOIJ+Qx5H1pHraGeVJiCWC2IV0AehL+gysty6aUiY9/UpDdN7Z/WKODDMPEb9a3N93pWTAtoi
EFuhRoyc+9JQljodN2pcJ5nb76wFQKHcAplQum10BOciTOWzQ1zdRQsXyl5ybmGSEUClEXtHMALx
lIFuexOmP431B5qQbnL6BA4ljW+q0+PcorQ8q3BlvB1ofQpNA20mn1NtQ6HOJ2lphnPLehDf1yeD
LTf9/L5rzXj0j11ox0N/csdtSb5eny/Vdv+y26BdzMIVRtrWqoyYdRlhnS4m7i/x2iRVuKm/uemn
63ZUcYEiOyrsPvpCXwWgwxoetB0CEHiNlryrbie+K0uNEdUEoSptQ3QHpGT45zL4VnQq0Im72NmC
Z4f08ayDo6mWEQpgIMjCIQ/UnRQBw2T5JGhxOC55Tb8GVdcnPqiwT2RGd/71AXuFDhHbtA8qpABP
RiB8DyRnAmdMR4NjV/B4lMfNw1Cbu4wUW9M+tab1wKsx7r3nv+dUE3bhnA08ipBR8sUYnFUigFYP
2iFnWFfgRWxJnkTFM+F/X30XHPZ4eQN7RQidgksjQU7YYudLeQq8yv/YgzF85yzOcmzHOdXluIq8
HQkuGKVE3drFE8+lrbboJ5aFK9C/Rbrr8uKdky+gGBk3vNsvwTFt0CfsgWFtdB5ttKEG0fwAMqq4
vgsjqCuVFgUWrsBTdDq9uz7FijVx8WEinM9G2mfzaJbRDESlFX3NoaBSQM7JL8gNCTQlkFcNNpjU
C1PSpIJCNsi9aQItzgSCVBMEwseCP05hFDvOO8u5SdsTSCsAb4diF8HxU2ze4iqQeMBgYwHJYjGN
N5tVikrJf0hEsl9gqcUN7WBXX67bUSxQ+PnHjrRA8V64RoMPcCFla/puZJQevGL9NMz1qFmfSktA
+ELwGis0kJFFoccNj7W8PEF3c+N53/IcRMOLv7vuzyvg3cvEnZmRdoG589OqtW2gJdF8FURFgmpD
zOt0x635OxDm2AO6bTn2d3Pm3psN2wXRuHftpY2pybdhNiUmCw7XP0rpOpYutvEIR4aMq+x9n3cB
w4Iq5jG2D0Kbl2iefhXHErY8sNqIvlgQOkhrlldoMsNLN9asGRY3fd1vKm95BEPhAzWnz0u4mJoA
VRpE5yiSI/FSJxOKLynrctzcylNm/IPelg3ot5qvU8k25fLr+ugpt6MzS9JSdDzkxn4HS+v6ybY+
GaSMLYPEfohiP4jc2Kfr5lSVZcg0mfgXRREoYEq7DCkjknfEKE+MoFnVBDvD1hMah5VjZskIppp4
6cpxY+XpEpdTNYOPIutu3La2YrRMgAFqXDZ534ZvWT8RFHbxHi2Q3dJnhcCuzh7Q/qehPuKdOe54
D23Cj9edV0bqmRF5rNdpyi2ewkiMbNAFD1ly3YBiCwdFM5a/IH0EkFM6x+qwmltiBeWJrH20cdeH
SVTSsvYhx5vl9rotMSJSwgtb6I5EM5lIsKVUrU5hfmmxt3m1863vx5t8Gt5fN/GKvwbbDWwItVRk
UTg0pXsCaebZDKCccxp5d6hDoVKNSzd0I4YyqW1gfbrPTfmZQ5mq86uvNiNAjkK/FQ8QzGqSesWz
1aj7JsUkXnyTdAPrbA8PdWFYnqLS+cILflMBNOFCaKxzYrZ8pOC+qK15M4/3fT8gmM0nYjffXOyV
pVtokgnFNnHxLdK+NKbEXs0MODjACd2DP1dBbJZrewymFnwVHB19C+Vsf31WlBMPpXJUY7DhQgPt
Mk+oi7xlI8OkdB4ZwB4x4PZhmfzvd3W0P/yxIg2zmS1tOGURUrJ8H5F3/nCo08/XHVHltBc2pOFj
xRBVYYvho+yxQE5lI/cy+19h9is1w6RfIckZODegnH3LMgU9X+Qh5TShZ3Q5guVkQ0ESKCzRZebT
Yz4/jY+mjiZVtdPCuz9WpHlqG/QWcZdXkJT3bMAwlnFbVUV507ejVW2K2eK3gR/1/xBG+kM7LcY9
qlvl1gAzbGKBFhINx8MUNyRNNemfOoD+fJg0tdUApj3WkAoU+fN7Q3OeKZfnmdfSnPrTsKbYBAHb
NOt4ALHqujwXwcP1yFHus2dGpNOCuaUz9OADO01Zts2yIJ7WX0PuxVGYa84lnSXpyDDrMcprA8Ba
iBll9h2/mflN7/z99eciUsRHnGX+wL6DeSZDPC7TscvajZ8ewCSkCXrlXoULnANmbDxNyirNJUha
kBFgzEaSJt60w3ZJhu+gyAa7/vXZUcbXH0syXMumI8fk4yy3Anbk0wdS+G/ZnM4sSEvLR5t5uNrY
nMBFfW/N7xv/8boLIo9+dbieGZCWSEZnQkaCwbKYh931SEFsS4P34LYXiUnmghFGd4NQz48HzhcP
MHtofFwGgd9YKclX4Fv5TIc9H9LsYaDpPovSmGKzQhY/6UiPlGsVTftCzzJCwiINY4NtEAGB20Tn
fi2j28EnEC3RIRBfkvNXY3lmRXKM++G60MXHScLyk7skDYiB6ipeXDNu7aWOuTvEBh8+TkhAWdjn
Qno+LmvcWWbUcSM6bMHwEjMvS9x+2TiAZI0guJhS1Fqmj4FV62i8FBk5njrE873Q4UVv2uVEzMss
0ED4Xmg0xP6wblj+w3GOlfllvPNBy3c90pRzAJVEdP2gFoFujktrxUjgyiTy8bC/M3Es7cfJTjqX
RRoclc6Q+PvZJjMHiznSBnkToAOJFzwE4KXVi+0o1/6ZO9JWloMFf658uFOaN4DST5rcR/VCKbDm
SHzQIGnB0KUXxgDkGenhRVcfra5OrPpQ1hP4wfAE80mwnmTj9mNQ6+6DarfAAwBxkghgZ7F4zwav
qSjoEhu4BQ5AN8jugjnSHMrKqEOR7X8WpFJFFQQLehFwBkzQfF+cILYL81uR3RptV8VhflpcXSIt
4vjVujyzKPbAM5/WOi3aVbSmVBAsbv2cxvO8DSYIydhZPORoI2cHYpkbnlf/DJ2uAnx9RF8xRhDX
rswygL+9X0OnmN40neZUVR7dv/0DOeSlfz0ZkPot8K9jTjzx7H1YuO9G149dqDVcX8Q6Z6Qtbsqn
JSrFUKJ7PLrTXVt1vy6lVJMxmrxaMFTdcdnfXP9y9YJCOwWYifF4gjeSy1GaC6OBygk+vemmpCfz
fm58cMzyQ82tL0XjsAQPqR/7aPqY9/kpn3SofqVzkP5FTRWEwmD7vbQfMiMwLNEYM6zVENtoV/lQ
d/3y/bqbKsAl6tdAR9iQjYeX0r4R2Tl1KlJXJ1Q+E47X8oVaYEjCrREdzU17CwjdCJFC9+iyT8XI
t+Vs7tIqhzyiEwPQtVut7tBDY0aoFLPcf7r+eapBOP86addsR/R5Fgu+zhyqOBvCuC0/X7egSmhw
mzeFxDLY5uWHHWcKnLLt0AtEq0PWD1tSdLsZtErmDbID3OchmO2SzXWbqozm3Ka0pZV+CLqIQIx5
9kRm90XOmbafUgxnOfy6bksZx1ClEE2d6FR8VdafXWigBRbSp8D5TAEghP7poYHyaAmZdV77d+68
tfpsu+Tet6JsdMnbC9pd3kzPzYsZPttMw4bkNMzW6oQ+MlDYlHs83aNdrdvPnXk3jh8ySLAtPoC7
/W2HF6Ka5XPco3iwAQ1+PvU7gDh3EXIvnvLErQ3N4aI6+9H0iqwfGmJAbEvRb+Ujy6mHwbHWXVPc
00+lThpdeZeHjrYNriEo4+CQvByAsvSdvolw2226KqlStNYPHyyvSWhmfhhCSE6n6TYcktSYY83M
i+3v1dCfWZZ2MKsaUnu2TWy+jMeC/iJn9/X4vLTPYBx2HB6bNRBm3a2BtNJK3e2g21z+H9/R3WcG
6IPAW/el76adhc0c9Di7zTYJuocmrAUgN5lXnnAbmPWIHrPxti9mze6tXGGoALlQowPOTa6Lj9Rj
85wxDHpqn6iHvpjBSaamj4Nw2HeFrolRGUZn5qQgB4Cj6ot8QcaQfSgZuDfyB0EAc30+dT5JscqL
3rcad0LZxOlj0Pbd9dYTiExo1B6sUicCrzSGHiy0FKLu7Moa2mHDOnTJIXbsPkoKtu09KIea31oU
8rSq4Dpb0ug1cxfWvagHFfWWDLjPDd9XAxoA6Ad1Ox3tqyr5AcPib8ekUWzLBWeKMJbTeWcEx9Cy
d4D7JhXWwvX5Uu+8Z6akw8spZjODWBoKC/532je3pX2besY2g7D8GnxH6gry2SnsTm07azI8ZTxC
agwFDQ+JudzgyqFR5Uc1Nl0rzJOR/eqLLmE6MUvlyYnbmY1naeinyZjIsIoaa5wwklYe7sPsOBC6
KWds5ukOpKwoJcajpaNnV87emU0RSmenSQB0mV8y2Iz6A7W/1S66rB26D73gw/XJUxrC0AFTEOAt
/GVnOzOEprewnscOR3S1rPtmnWekQS3fDGYWgWui0dw5lBMGcov/Pj/L/D35mPXdyHAOVdAUs+zH
uehjX1ccfMnlXh0Igo8Q2BLktK8600zQqY8tdkUWVZsxHKZDGuA51muthE4hxFiqx55AP5P/IEO1
bwGnmK1dTssbnm2aNdQ9bSnHOMIBZaP1G2MsTWY/mtU0RYjSfrrvBsrjsJli1+VbEMfqDkPVANuQ
pcMm7UOFQ14RmZc2U2q7yIKAOIWpeX6ctStebFTy+J4bkRyC+tgIKRMP3f856DnrIwWm63pYqrbK
cwtS5mgxwuwx9zGDTZXY009r3vu5E49457XR/HfdmGp+QIpvRoKOVkBpLxfbCjZBM0P6BvBJk3Q1
ObbLehjye2fCarhuSjk94DYX8uuQBrLtS1MtICRIAsLqRY6otzf1AHSVrgVQZ0S6LtJgXGnuY/C8
6LEGW1VRbPVkcDoj0mHmphYLCicAr8V8DA0r8es7o9etHGWgnQ2XNDM1VIfStsdwmSwJb0CXeX02
RBS9imMA3X1MO/I2mSWaT4R4EUdn4ex3n1BeTXpePoJB97gIHpqm/ZFpJRGUgQ2sNrTXgXQCwu4y
AARbaungLnoqiu7k+YDWOIeixcshkM4ocl73Tzl8kF4QqujodJJJYlrHTbthLNGcD8nwZDUDtg+J
o2ONVkaCD6SE0CGADocU0zN16txYKPoGy6hOiN25ietPFs5jVu+vO6RcqRAIwAb30q0t1QoWg0Re
b6JFMWLurnU/93m2W6YyDnTkdmqffhuS3/FHIFaDtEGbWztFcT8v24g9lpA9+FfuyGwT3TjgzgTh
AdBUpzGj4fc+fJ9D5oj62fa6JVUkCPUcZEpCC+DV5WxtqsH1M3rKRg7ZJt+dyh/oTNAFnCq6wTcL
KgjwtaA1RroHVbMDImofpw9b59vVwBHbZu1zPlkf3B4v4zT9eN0tVTxgx3Yi0eoOlLG004WMZlln
oou263vIXz9DNinOjGFX6wSplG+555ak7Y4GaENg5kBPBEQ7ib3mQExHg/cwuKG/y8ywTNq1Hw9u
Bqa+1YyeJz/NkskxDXDvRCdidH4yUCd7w3o4/yppNzEKUszLgvXQOp+D8KdlPuE5L6eT5kamWg3g
/UTZANplyKkk521W0xzgROwjZbv1x6M4TRjEsq5Ppmo3BkWF4PoEpzow3Jdbo19BKHGx0RBoN0MW
h9Mmm5pvwdgdB9vYkgk16cLSLAtV/GBNoFvACwGFcqTKQe9lY413RIpGSu7E+fwedM2JNVVmvEy6
bVJnS9omASgbQ0+0iwFt86UutlNFNhkKAmmqI8tWrUKU+dCVD8CObcmgHWROjWmsHj059vIiBJeC
3coaxn1V+bu2KjUYGNX9CFiyENhdoXMlZ9uu1bstHQGCXimotPzJvx+WL84U3eberQMIEP6vY7T4
GvpRS4yXfHgDxwYZFRQoQTsirX03r/zFyNFm6+WoKuXjQ1oM72oUCWjo7B0PFVteJ7Qhd2bHbn2e
xgX7P9Kuq7ltZFn/IlQhh9dBIJhFiaIlvaBsy0LOGb/+ftA591gcYjllr70PW7VbaPZMp+nwdf0X
5gdQnRr27WIECDtkryVWHKNwFDXM4RpjuelL7VsaSWYRd65WsqpDi9KDzDWalnG1aPm6JgWZjHNB
wXRDNo27wegPGpoDu1HZ68zYe4HUvFRIxjoq4G4pPOVksybDroMRjeaAvteryazawSozDf0Cz/cV
fpEQXoIIhADxhSm2a55EoVCyUsMNlsJe0ZWHLP3Ixg2nan/+6FR4TBrMSLUC8hzUNSm1HiMthikK
mePXPtoaU2w1+ZuR6SsqlC0p5SGodazx+lwXE2mnUPFJlP9FyHpFhbIi0tQERTBPAXQdd+zQk6ly
TyLXzAXCrAktT2sYtn9Jz0BxhvUBejF8AHVLxdj3SljMEzya2pJETUwjPqnKZVTh0YGjCgTQ3O9I
yX/zATOHAZ31fSlZcD4zGDpS+shbQ98pyc+NjOv6nIeeywMp0g88NP4G/OeKBvXcrFVURkQs3tml
ckFQGpd0mSgpo8azyAhq/NiZrMHn0P0dYZKgFlkAzAbYkFqGVER1igxWs8WSTolYzA2DjMVrGIa6
1ql2KvmuzJN8N4UylkqNakG8VPpV8OURiFqVdf9uFqkJWD+C+UfkWej5lzaSB6ww1jEb4k/rSmyI
X5ZPrRRYWcbaTrTg1BQAYsDUojsGE6KU4PMKQBtD2c9nzNDKI1O6jtSt1rtSRO7ztHRN2FWHQiF6
YhCFUNai5MWiUD0u26llbmdes0F+eB930uO/I0OZiyFSgQEtxfkOAP+YutRSYvSMeZJZMykPiTHq
35xQRybq9ZAB6zTf9V1ChO6jLcu/Oiugl2GF9NwrP8vHl+xhWwd8rrVgQi0vIKAaz3z3cf+cFqKL
eRb8fyQogcYCU30KMQm7EzCATMKxq4jRTGhPsONw2GqDbHFlscVO4st9uksRP3K+mBHCxgO0idLt
coDD9ptGUwCykVfSyijSYlWEUktCr8ngQXSYXgRaq2EQlUsvaRhBLjQzziLJ1iNNXqP0iW2UxQjQ
yvs/bEnnMIo9L/yZF+XRk7RF1WMBL7K2O7EcV9iHgcfI5IzSPp9YebGl7m8gvAMDbw7r4KJnVfly
vYPQ1XgQQBWESFmPeulM8VoqdVvrsQynMXmUUvvQcIH0Y/oPRqM4ntZbYx4+9PpgitWTKrOapZZE
GsAEAJ0H+8ikUlpTjUCP8MM832WlUhJ93kERyF7H8HlLJuArFUpxqh447J0EmRuGGiDIaaWYYgAk
SN0bWcjSi+4V/hVDhBI2HCBTc33GUp6LoTBlOZJBH1opmD3azIpwLlL2PBCMtoXgDuJ2zNDobWhr
tRz+woSjN0+fIc8waPI5kv/ljgs/jdQ0q3KULjejuEnf6qIgDB1eOk+86zQ8RSQDISV1a2OflWnT
lri1mrPCZDVVnhUMjGcIiwh1acqQAjpCAyM52tsQf+ljSUTlb4gg2QBXBNhOJPOvb8vgvVpKtAFE
ghNyAmZZ7bOu/4srQT8MmkBRbcJ5UQG40aeASe/zAgP5dU60ZF900S9RwUQiVob/uTFBh5SKXfXo
DUDB4JqfOgIMXdOUxS6q6lWUcT9G8aeQhlso731CC+4bHkKWoFaoomFd2TWhMeJD4C41OVByGo8Y
Bedwjb/RNTwtot5S0m/3yS0IwxW52Y58kWqt8VLkwep8p7cj8fLvWNhD1PxPd18jlsNE7mehCfvg
4SmuqXhDWvKBx0Ou0ROcNfXKd0MlZnjxpVlNbNbCmw/3g2XKdO+GxweQ6KEodjWnr3pDfgj856IN
9yrGV6e6mBfYoJXWzKKK1F66QvOIGScNQ/AXDC/KaUCR/UQRRYPHNasYpMiSsK2LnZ4X67yqNhkL
endBQjDgh5w4Wjtna0QdJqoWbdJGSYFtegopvUMgr3w/I1IaEG9gubYFdpCsRliBOhl2RNIDIJrq
Z7qWjMXOiwRpwibiunxTggBPtvtyuMQUquoA9Md8FprOKKPUy603TaMIe2E0iZOWYrZWsZjY6TJZ
IF6BOT99CmSG+1pgDrE4KkzgDsDZ9OLSFHW/vgNIG3alF3Y8tdgKH4l/Mfo+7+HCVc3jkQDtuRaI
RtAVzhiMAhMYhr5qCi7ehIHBbeR8qBkasHCI8y1htzzeGLebZrKKb5HURb0kxP/gDEonbeQSO2fU
SZWcLAsNouWNxEgaLB0iCCKLpqE4BDzVa/6Gxmi51MvKXeJV37lgblE3vNV96ViwUmi6x8A7MnWY
fKThEENP4ashkMtdUO91QG9URgHkChYS1hIV5Mj0zwZL9GdRqhsrXpTlWlTtJKDnatMzSsIVZ/85
J19pUMob+YNYS1Fc7ZJcMlcl5v+EmNHrsXQh6BzAqxbRkqHSGbCmG8Va78MKXjFy9an6lUZ/M8QN
6CnMhKFNDndCPzKlRlCqVioqTDKrKx8L0oXSt9vWc++f1m0IDyb4Ocst42kBQONr2cryqp6A5IlH
uurvKvlNFSpSpQ3pQhbgJosSraVRkcC7BzlGL5606DX1MGOnHmPu9T5Dt3cDhmAHcDV4rN3cTR1p
ajNiNfHO+CGMpGE9yVmfp9IzBXCd/BYR0Y6LNUvRrCxWrX/HABVyyaUa+kELBnq7Ntv1/Y/fKiCe
KsC7R3gFpwO03OvrRsPC2BQqfn7lrTQjI01z0QOGjVykgVwtsgYSBIvu4ubLDIlhX8MNVCc9vAC6
mBef77OxdAuwIf8jQfkyRaxqvxxUSK0+kqy7AIDuPoFbYQV6EwzurBZwmLRayBkfjIks5Lu4HioS
qHy7q4QCVfmiwBIcrp8YfnKhce2aIKUdxdBjLAlQNLuqM/VxVRRW/dyVduU73CbM9kLHEAQWg5Qc
+1kmDzzqlTs19yRTl0tvPaTca8ajMVWq0ophMWehvc7/zOwBBQIz3BpC/PlCvwTBqccFWStNYI+T
eitrMGolIw4Q+soWu/dSaqxByDnijT3Dvt067JkwGlx4hFcKxsevCXce9sBJHl5JaNvBLqY08y3s
BPBq7GmLT/dlZonHuX4wY6pjgIpGO8foWNRmIgIsQ6t2KdDvtHzjYXeDnjqiF5Fc14jKCupuFQHT
hYAUgpeA01Y16lzzOJcQ5PD1TpJ+NTPENmNQa+H4rr5PHV8mRlofS/h+P4RIPBw8EvnHPCSxzji8
BXmEo8OxIQJBrxgNBTFDdGKHn1gjqH/vkwNkAbv3sO+CFW0vMjSTAbg24hx690ma1oo2DV69C1TF
LTTgopxbLjenstskCqMuOB8OJfRw4SCEQAFvJbrTIR/xehb5sIFvDUkOWBs5wGvi9b7ULRLBHpI5
7zljvVAhVZVzk6/LIOLjvPLo0rVOUl/u01iQbF3/QoMKqTgBmFKtnzQAlOFNPYk2JZpbB6yJGEPe
DopfUo9tvo0YMl4si8KtY0MeEFrn2JQSvqqTPXUc0wboI49ZdsKedgaBRaHDaxY7zlClAG7ltXFI
9BzDdHnd7PjyIRk85GgGCxZpEEX7/gEucIL6sIay7JwplG44yUpeGvuh3YWAcLClvuzWdRMaLCcy
e29K4NBXgzcrKt/ogKK9VsM1gWe0crsbsQ89MZJLHuj7ThCcPm6ImvaPY5s+ylO2UcKVGm8E/aJ2
b/c5vRUVtF2hvWdGo8W7jzb08I+obKpSB+wUL7MDdBY4ESciKyz2HqnEOLEDH6V5rDZZK8OYru9T
v71QUEfiEKtNBeSSaO1uCoSFTal3OwzcmZ0xkYRfwb2TQmU8yW7NyDUhyu5iL13m+Z7W7eLIzRKn
L5weoz3+nlNZdzrr7/WdotIOx4VqI7CKEaRfy2gdepVeq12/a/qojAHinWD5vIQVhxmAc81wAoKl
YaSeie7zihSDLzgcX+er++d6a2TwI+bN3fK8LQS5pusfEQqpGjWQ4F06eRb2bhIuGghXyX+sj3Ne
FpVdKAqKhnQCGssFs1HpAceo93b0UPvzqOQuKFhr4m9ldH67AwAUWyPw+FFmKfoSjNSonSRYjQdU
QaXkt4XUTvuAw6yT1CXfGw2o3OrI166cjE9oRJcYAclnJu76QgHTiukcQMyhKVyjmSymbtKHXBN2
CoCLRhnLsKZzkeyT9z6y4q0xPY5iRPjO9FpHiTfNIz60Gr1z95HJT7G35tXQZGGw3aqNPo8xA2UR
c4nI/M8H9uVAUhH7VpU8EHfhUBf2WPGVdjKyqCtNJVByDOYVqOgwTOLCoBLA9QDkMw9M4Krp8nDX
iknXJBPWGWkdkTB6lhotxht1AlBTIpeGlSeaPU6RXal/bo5RtMXOEIweIhGGKb1rfn0hSvI6EYSd
lHLYgheryq4Om/J8X2kWThXNQOjkwvMB2Kb0TqUyqTr0v/s41SwU1nynVhzJMY5HWgkPbeyyHBlG
6VZL4cMQD6KJbMYepfNgZTQNulaM4g7TlSIg+1Rgaf1IKqVK99GQhzpDkhfeLKh+YfHxXG3F2AZd
/ssr1DWivBZ2vGqlpSlr2OZGCskCfD4WvBmHFGM4wx9b+GuaVCjCR55S9XoufIJhFP1Da+VKaQKD
/P7dLZgIoMRCKtGLB5QSXbyWkLjEowKZPmGnpXJXmZPSCKmZ5FWGd0sSl7mJfl3sDdGLZrL8YMII
WsoBuvH+j7h1Moi9hc+cPjAgbnCdsbhM5wauw4/gBHGFHJNuDcA8c4So0tbKFDp9K4cMtVyiOcfg
AGVD/gTVuGvGAZQ/DYDXE3bDqO9GNdiPqABi3atRYdUHv/ONiMHk0kmjWwMFPw3tc4C4uyaYcFIt
N8Ay3GVZ/zMIMKwItEkxRYslYCfdLIpNLq9JGVcM6V1QFngBqD+8K9pg6H5doQrEKhxg89AlyNn6
0DffczE1zAbr60eGE1+wBADwgBPH/A96ZGl0dCNNEWhimwEwnvzHpsMYe1zarQosIsQm92XmNtKE
V0P9FGkXzBHcgObGPVdUHQDhsAlADr6XatU5IlfxjMNbpoJEMZo6ofd0X56vhPkkwALt0FcdknQs
Wjcuelan+NIV4fWOD0EsUBicj/WLW+r7Ju8TLZJ2epJOO15qP+TAb8wSnZQMq7JMaR4VRustSiOz
VnyhVEDTsK8+kXZeovwYeuVpVJoD13m/7l/OIhl4fQQfCNGBmXZNBuVolE+TVEKjjQgAn8E3VnO2
xC1KfmIk4WYXRkUZ4EWFe0UYDsc+PxW+cDQFvMLVvioCEz7ZoDHKlMpvZcWbafcgcdwK//wxa6jI
wWoImFrSZJq1UtPEoEUj/q4dXrMpIQaG20QWbMyt2KEKDYlDByZyl5pOnR8vJ6ECgHAVIMoyRtSL
8TVSh5hhkBaJoOMKhZZ5lYFOGaQ8rCDPgw8ict3yVlnmKPv1eqGHf0MI4OBQcgXVJHokxmjjIs+U
Up3BNUtTzFLEPf6UNe9/ejO4ftRLseoEZh1zf9eSwE/YAY0lnyoWotYpb9eG1pVuNyIEIm1WCtHj
n5OD3GETNNKz88P6mlzbeBUw3QJtl2hVSzqte5ID3VX/HKoDfTf/CT7maVGJIjO1ZQ8Q6lDbBVy5
m6kAhO2P0zcGej2RWcO2HjQl0PA+RpKqecL52q5rwmc8WjxU+bT3MtFZk3i37mEmBNTazyQljPb1
kckRyr+eHmsoKr7VMXfOseIolZ1QYCUIlggpqGfDM8jYNkVvSK36lveKABDOam6Yfg+EXh9j7TyQ
nVnXc5/SzarPHi2afMvjegCbZYvNm6QXVt8CDRN7tO/L223AgkDlfzxhO+P14QVNaeBBCkqStxfy
6gAspoKrD4Jf4pHKyIYucwWjgFV7gOum3+J9CTWeSpyfGIWBmfli4FRF+JCnebbN9JqhuAuGCM1l
6LNAlynafGjOWgC3tynfI2oIUJknnOBfNHQ6/7x/fotU5koZ4kxEYPTUdRiLipeJpQhkoqgoSSaJ
1UpA8PfHrg8w8Z9t2zg+xJaUjJeF0PhFCoD4RksSKzIwtpNwvGSWqjDYf8ERRkAAvYI5EPTaX0tE
HopC1tcNIjs57ExgBHfA/9B0RkVj8dw+lz/DPMCAz//9i4MF7O6E7fMdoC6i1HjEhGXkqFmgW/d5
uZFuIPfCaGOATeORQKSfWFwPID4foEe7NvVJ5cmPWBhn1RLcuSY/SXnNODoaHw9VhFkG4KzRbIkJ
K7oNAJX7uEo6QTzHxNrvu3VJfqzPa1JapCCvB8U0Xc46MXikMwE3RKlYhZOEwhBzEA3WjWWFm+pj
427f7x8kpbo3NKjrGtCdEiEZI56tt2+MYJjum7z5NhWWCI0Wxl6Cbzv7YX301xHZmK5nM8jQiaMb
MpQKdZzo1QYa7c+XvUJychzIevXzYUfMg/vkWozz+vTTXwLIG2pUSNx4U1Vp86VsrRfBedv3j8f1
48+Vza0OjQnoL5MlBp/+9B7FOaT9olEj8jBxOR+jtRecaj1Zb4G5Xq9J4dokI50tmc8Refow1gxW
6TzGDauUwZhkfoz5aiYMqOZvE4S8d5nczX7on7m70WRP/X/utsC9IpZzJoO7jqzHh5/fRsc0udd3
677EL98gunjnJfXIhqtUiISW+3aqVE48vzTW3qnJ8TGwHlc/iV0QwfTI5mRdOIdBc5HLLzQpVW7R
X+t5kSeeszU/rQ7j7lUnBzu36uPG7MnTE0+e3Mt9mnRr+H+u7wtNSrXDpB8kA5m2sxWs0Z9qTkR+
Fzb5O4TF9a3TiTX+sWyvvhCk9N3rWxz6ZIjn3vRlIlqW65nvESOumT9yIy9fiFDaHvlSP1etxLNs
8g/e4789NEq9tVzNIjwaxHNhQRrjye7Ow48x2rnJyn02q+dTYrJIUk/Sm3ui9FvqUy5sEBqcRzNP
kNl/+Wma2V5bn9wN+iqcE1MaKed5Q5DS69hokeQJfelsqe/ux0VgJA1obBf6+3Q3mzaNlcyHELzt
niO1mePv6lW0NgFxLZY4fM4v3ZGHm3GD2OeVboI2Y7ejuU/J/ng8nteP6vrXwwMx7e/fQXbTE+ud
lQpd9ju/JZHuRAu4oJY4AZS3L4O1D0xnvX4gO528+qZpvjOkhAZHvDlUyoIIdVsPCo9LC3Zb6+2t
Nn0ykAf1vGpGYrqnd/8H82gZRotuoqgqTD50vAoGtw78aveUWPUqsFCGET5G0m/d+GkkvhWtmE6B
oeR0d0ql51KCtnvx3DiX/T542Meu4/hk/Shbq5222pmCKVqV6b6f7ttMhmbQw1I+EPLyOIUq/jiH
xCesDm3mJVLWBe0IVZLNrmdvDZbjTORx9UBs2948fTAjleXw64t8UnZF09PQz3pIzPatPmEx4YPl
Wy4jRvgHJUCUiPyTgclnyuZPYSREkhBL4OjNSawJQrl+gC/dRKQwT+7pJJH7V0QPff1XEX5TpBwA
huQHYZwpbpP1W7eWMxOBV7cfiXtigSr8Q6jwmxZ1X1XY+oMAeNFzSi7Wm2CdnUdYlp8rYib289Pp
9M44zs8O2Vtr9psgdWeeLGR+qUYwzdaP9vE4AVbcwqp7sxzIRNbY3EN2ZLC/hy8b98kPyEdAktP8
9HCnh5jARzEe9suu6ffPoTyF0ReyENfg34rdsSfpOn2yWPuf/kFO/0eEnv1uysxLuwY857FbfFMq
h7jPG/fSkn/HzKcof4mjdbHVmikHM8qP+Gx6ZksURmhJz4HQsvkpT19IFHKF7etpIJ0v1lGN7N7a
bKyeuF1PGIKyHJsDuOS/ekejSqZJFkwFJhnPElHw96W38cYSesti+B3m7cjXr48uy5ooKEBoyz0F
T15re8T1n04hT7YMUv/gyn/zRNmSYgDMfRjNwr9/wcJ0MppgKydvvP2WPidb/3wqECybZnJ4NZ8i
xvTMZ2LijurRmZi+1VOPr8NZ9V6cN2d9/rRlK0JsPFuf4e/wlyUvy37uN8eUfek0v560mWZrXtRN
LVuHDcIV7mH77jLDFaph5kY2KdOSj20ZxQVkc7sdzb3DEcdZrzqysvGA3OChfN9MMywHvdexL/ty
jAxQswKPCKfm4n6wOGKJpjRz/EXb0MgCxBl+5girBzb7uS/8XGwxgJfJLNvBpDXHSl9p5aj/DsKs
2XtHBQa3CfvrcGfWG4rlT+n8/dh4aqF+3tLLaKqr/dsPciYP315fe+s7HuCMW2KyRUWVwBABDF08
C72AEE/H29AMrcS0GHHVZ6HwjnJJlBVpjSDJ+E9H8rIv1m8/OII3PgI6otkropPvEXkOEDCMBCED
w+wvxnRI6itAQJgnvCgWFUynSZKcS3gg1PZ0sraM788+8Ia1L9+nWFOxBDMFLjoCcwMvEKTyG8K/
j2vWTS2q7xcylHGUYYM9ZWbjgmBY2x/s+XF9X2eXH25faFChVaeHXh0bYCUljQMjsXdC0m310IrP
0T5YFdbA6MxhUqQM4BD7np+l2Xw54qqxXgyCGe7BxIvGZbmX5cDxC3eUAQzbRsNmvVQ6V05lzTc1
7KrEen5yTx+srOrnUO49oaACJ33y016WcZIt6FhOYKk7G+p7YjHFED66SiHKvDzJKniKMBhxfvro
if+DIRQMwfuMRL5aviLT+iIFicteNsvnjiSYqdYdpjWf9eTOkX2aqi90xLjEFmgfdMbV9kVdvaUb
biDZwXVL1qEtB0+/JYFuAjD0Ks09Bbez30dogrURVfSkhMtl5v1Yh0cZh8TjSsDZglJpv1hHxxnI
Y7b9mRAbEa65veTu/ctadh9fOKOsBDYSYclogUOUSEpekN5cPz5q5kNDHnavbmLqJvPa5mzpvWuj
bEZcTkPjoXfjHF5UbjWYtuuejHP6De18jJcfkznKWOSJ70eY7Z+NBSJejYC79epRnqswtrmBxWB4
rU9ghXu8URajzL1w5FQQxAq6t+3+6KwbMh3qn6b7cTr9xUmi2QEFM/SnzGVU+h3UeQZ6+OQG4cwM
c+xoRD4FpdWJGwwU6N/uC8pnse+atWtiVDzTY4igE+ISWr19QfoKiZ31amWcUDPBH4aHXMhEXxOb
ZeiLahtcVwJ0fCaGFCeZdtgfFVhrYh/qdi4JscjNInePN8rjl7VcdVMPcljA3lijKW5KAtRgS9vv
MKxzVga8YUyGf2bRpBTdl7MxjsJKOqNjL83sHLPjPf+Ebl3Gvd1GM9dHSSl4kIVpMgjgzXrBywgg
L6Fdj84ms59cd+KYYe+t/bomR2m3EHGG0Ldga/uy51WSfed3ULT7PN36sGsalFpnVRf6PabgzmVv
OS+BKT/wWBZlmvepLLj/azKUMo/VkOsAH5FQndjyQAGyc5+k5niUW7MVEHCwpHCWsntSSIUAmh41
KleDniUd99U55si0Rz6MaaUYkke/gsYJLbKV+HlF6a/qmSVw87HcYYNukyoQYkxqiduJR/ICIYAC
I3L6+dJZsp0GjxqDHkO+6fcPZxjiVMyntr+E3wOnf8hYRp1xLxJlHTo/rjGxCobG08s2Osu9pXJO
cimQWNgyJHshvL2SOfrZwymhlk46aF32Fkf2xFt3Jp5YTz1hpcwXim/XpCjDoAVio+oeDg6d+1FD
2ocAdFjZoIX85DUVyh4EaS43uQ4ql/1Le3kbbYNMxaa1KnV+OD7ZpkpeE0IO3Ot2v+WO+61llkfU
jVH5+bf+kkYbUMMc8ObDLPihStrVLwBfIbBy2X0YLImhLEfMJ3o7jXDMvYmaYB+tNROYXplKLNNi
iD/DFkqU0WiFyK8bv0OOkmytoiPoNf8ZP7FME0PJ5Nnqf/HHUw0AxL6fxVIhe0tfGeTt7XgmqxXW
RgfkwjC8s+TdsSAyFWpklRfEwDWUzi+Dbyuk2lkG8YGiYSunLtiz6x4ygx4VbdRiXokBwMFQkjgG
5WaHaqpmWsKDYbWsBN5CgeBKH+jBOr4Uaz6ZTxJOxXtDyJ0T57hGWcdfh+sdeoOY3pLlx2hIVq31
Gr/swZ4Fc3zck3Tfr01m6MsSEcqc+HWpe80EKq3Zb9KRIOnVpIRwz8oKlhKFBpZZZkQadFN7PY4G
sMkhJdPxop9KlKpaZipo4eF3fV1UqFEFeeP1fT0H9C/WhIzXYHmrfRzY90WedXiUwZiwnLHpjdlK
pmTaZoyvs0z9zVhaEVR814GL9JKrRN+EhVnraxmz1I7xarB8GONiaATlrK5HIPp/nlln8RfDEd9b
kYhu7bIKzizRpkHoIj0BjJEEUtYewa1gOfy+dspXeDJWUnAh238lCTTqUztWIbrpQUpFz8CLCsRK
/D2iylWTtb/hn6rMHlYl1PeD+RxiGQ26wb3M1FoaC/gTCWWOvSPa6OcK8SJK95ptrNqOmCJ5Nluz
sLI9wxgz/Au9TkPM4jZOZ1eWNLY8mWfOTHRLmVivIeZNUuZD8BCSthXojLOiBRaeX4mDnCVCLAZH
C6m265ukQhKhnsZUGgoJHTuXPUao20flML0h2eaj9MZMuC2U+K7JUSZE7DB5Vs4PMDRF7IsfOpmD
uS2zyj3/6jtOkx7Bx/R/mvIKyPTm5UU7OpZo962NYtRk226jmPcN1kKm45orKu6oxHyM1fnJfFEE
xPfbqSD8qjeBPmJjwswkEXFdzdJZZGfXf4dLGsjXT+QUmFHzYWLLUuGZJk9i68N3WNHxskEGLh7m
P1EHoNuF43yIqj4eERy3JjYHcCe5NllB1TIvv2lQYU5nCO2IHY6z8doO32ykOMgHq47yD2mb30So
2KbU02qYPBB5mbtAa3Odmmg6OqDjaJOt3L98v/wmR72VtLgHxsmIKGC7f9mne7O2zCekERlHNxuD
Wyn4TWUO6L6Eo6qaSeqEBcDnS8ETwF+xLMR8KPe+TxmjrhH1WKjw/Zhc9pIlHA54g7nMDq1llf3N
BmWIyrwbvGH4FID6u+FM272DP2gybd4NMzuUIel35ujCm+mO+RE9M1R42U//Jk8ZplFLPblqQd45
OuiAtjEBzAgFFjqRZyvxmwQV14RZqQayMnP4AgeNRuTj+YymN39lowkebaWbD8P6YAjHssEF0smM
m/G54O9aOrhY7gHyPOFJFJBoFx+SV/6XfGzXmY19wN5T5DL7FxdOEkMsWKIyQ9gB7JJic1BSw/e6
iT+PXj1hL5fkv/pxg0XzUcGjxjeF4i7XjdENDRHL6DAKekCM9IdTVijXYycUBuSVeSgSm+4pTUef
mKBwnMifi/oUJT6RMlvPv92XmYWX0txCAkgUDFHM+0mvj1YLvZHP61I8D/FZFVQSAofyPoXP0R9K
90BiHgz6z7AYxYauYMJALCsRYX1MXpI1svZvfmUeE9QY/cNxLWwfOXOVubtvKumtgoBT0Wl39e5g
P3erJ4YwLTIMLA1skpthr2gw/BhAzkrWFmgeDpAykEpLqVlYHUvxiMIDrgZQFtjiBGCQ60NNUsw7
+42P6K4xX4BbGhBDI31B4p4gUbtBD/0QWerBY5z0ghEF8NuM3StJGuDQKQ/u66Ivt5UIsrJE8s7t
BqDkMSP0WSKo6wSMIICigd2EJbp02xFmhhK/zA1YgGP51n3zdtxm8wF8f+XBui84S2p/RYlyCrHS
+1MRgFLlbDUSnQ07FqzYcrct0c3KuU9t6TmACRHFwKKEeQ0JveE8T0oZAQIsW0xisi8zuxPJ5CMx
IqFL5rEzZUxa1NOB2w8q6VbPKHFZDNFcKpKgY4WfYSpm/C36Akd/GCrZ4xAyb8TDj8FtQhK6CNA1
fpWuzdDJTGs6smDgFhpAdFDFghdhxtIE+Mu1tEYK30wjn8pnqVpHhtv2qskD3M+MHouVoe7a0Ww1
wA6Q++e99BDHWWP6C7KK2UR6Fo3vgQuheYJxRmLc7rbiulwHRPx2Ytnyzz4jSmDnMd8ZXgqINphj
v+Yv5SI1G0oJhKxxNK3yOz/3F1SXhBzVtY+mSo6k3zv8m7QXAvMbNiWXlrThCdpJgUsnPLB86FKk
ffWDKPMQCUbWJJxonGvbP+wTJ9zU5pvvckQ7JAnpDpGdB+TE6kycv3rvGCjr4PWBp/iYUj8nITEe
4x0U6cm9f6cLMfYXxoASfX3SQgvgxATY1Oexs7IAGPLbYSuvQ4UVzS2EWVd0KInVW6OuBR90ttG6
tUfD7HrHOMikPpt2klkY6CcbrDW+z9zCu/mKKOXGokZO/RYj/mfQnGwA8nS8lXvfmwF9pMr5Pi2G
iNyAkWZ+rMhloc4yK27675LV1yRyUlNRyWEjmbb6klvMNO19CVF5yt4GfcJFU4pjtao1Zw/mITN9
hk1fUEYsB8LAPTCzFCDN01OUXF1zSd57xlmyJJKtsMtnsKbVZPrP3LFZd9+UVf0c4eWpEE3Z+zEW
ljpxbPoo0K2nx+ItIVVD4uTsKysWAsUt9wA15bG0BshHPJinhIpvBj/FdL53nkpLrTGMm65z2cBG
FrQJJ4mjscBsb+UJ9LBNAugdM7SUSr0VhozHYpIy9s4vvH0+ByYqFy8sZ63OV3at9NdEKNunouXT
KCoQubwcfznOVje3yHU5giV0JHXz1d6xtnuMIRzXmGn13eD48LrZ2MHh++FwkDbpA17jJ6Cfk80m
dMzN5sn8zkrefJbz7v3E+V6+PP38cPJVT8FPtNBh/+OHgex5Z+VoZ96X5Lw6bNA0NW02gjnZLloF
sEmE5Yhmxb35AUCzMIBjgBZB2utOoQ/Q3MrzUA2cHOwSVtzJ7V+LkSRufuReWT0si1fymxyd8EgB
MhZPleGdZb0wI/VFKRngDAvhJy79CwVKkv1SAjpMBwqVk63DmryVhLfLTWkaZnDwXwsyXCpTZNj+
z+Zo+hiBb4Kl1oAt43GY1/cYloU+ZHkmz1OxOSmJbB5D4jySFfqOdhCnZ3TMsIRnYZoGMQRi0RmQ
BNgnn9XXr8JTJ15Uh718xqNCsNBQivac0vKOh+89ye3W1hDLPX2/b5w/S7YUp1dEKc3FLLsnyA2I
Vha0piYYSwp/edba2b9s3w3r/T13rb5zyxxqs8lM86RibVRBTn/uBq+Zp5Qb+5w7rinxO2Qkgpx8
k1jhyT95D2syvmS2+k3+wZ3vs75gI684p3RV5HVljMpWPmcheSskoq6BwsyKghf08YoIFaj4kVgn
uQIilnF8U389AjJnWKGIdrrPy22wcnV6dK9VUGfaUImdfNZXwfHxQdpw7/cJsISTnjYZw0LzeAMU
piP/1iARJFmYKFiviGzthk3/khDzuWdYs4UJCrClYtMDgMMAjUBP7MVjCtjbZMTpYVQcMwy+fa73
Z8LNw4Lbx5VmrkzFfOK3Iwkz8nGS1gymF4/1C30q08bJA/ZmK8OsHCkaEOcqjlOaZwQv+3VsPnyb
Z6wPz0/BJrCRNWfc6UJy9Jp7SjURoWVhhH3k5+4l/K5u/o+071puHFm2/SJEwJvXKhiCoBElUu4F
Ialb8N7j6++C7o0zJIRD7D13oqejZzpCiTKZlWblSmhmvwHgEkbdeHjZZfYBRA3+GgxhyfTd7PlM
ERHr46+nPZ8aUHXzKG3OtsygD+5RMQyASrbfw+e0456ur1axFrXlar9nKikMlYx0BmQDjuGhFPgc
P9lkPBlG8vAh7kKkoKn2b/AQt/s801FMPm2VEWPdEMKYqX6G8bNEQDDflLX7vBATQxJScBh0iowK
aLJunxVZC8LUUzmcKNTnk3NsKyY7EBEYqEcE+kDW0EcLPB+3Aqf8x9WTkgWeUnMjBDr6/h2lQNyh
R1V/lHULEFN+8lkpEhCr1Z5F03q1zsltuBYLuALA/RALfMk+NznRjg/87o9ydk7x+9T0tFYQWXK8
bnZ2pqnKmGSK1kNiQx3djDaF1W76l4xqj3+BHrJqVJo+LpdyH2GXNfskHRVbNWJDPKwY/GX1uVr6
TGn52pc4P8GHREC87M3WBt80GkOsYLfbCducbDMdyCL2P6jDLrlKN3sw09wCU9U4KYLowngGng19
FZlVDnB42c1ptf9qweO/ETZTVdEV2r6t2Gmd4UObnpuMSgopWSOSj3K0Eq4uZM9u7/FMRXlGYLI8
n6SNtE1hB9mnt20FmONpqorq983+2kbOudZBhst4mJENrdkjvFBJiwobOnqmfh4whqyY+QUY+M3a
5kR0aomJx0IJo6fuiy1YXgix0E2EZja0HdPUCHRl5VlbAFzcSpyZocyPoiCqIVFCAendtCJ7s7KD
iw/nP1qgzuxONdaJGneQkOumtMGM3oNhHLYId+D5rCU7l9/JK2EzaxMIUilIKY6r1dVtRXiqn3/8
gwdVtxgr3iQmozP62oyjZefkSuzM5PhaEvJcBLEJcfZ7NJPAHzJtVSfki+w6HaHeduOZfzZrzThr
JkadmZgY46PiIYPg51cHLolpcrAw2YUxiPW1MxBVbp8YPaUxDenaXZ3O7Ve0cLXmmYkJ67jqxA6i
M+I/yJQj6FjAY7IDTNL4MOgTUn0n9V+EgNemZj5wIxnUELlsCGWnliqc7Tmhj7blmtaBB6pq5equ
LXFmakI/ijWxgalxHLmjJQrEUyX637RH3CjhfGpELZVq5INY/+y/+U/8Hxk1VOatI85p7aL+wB/v
HNqcerfXOEZmIwH3xd9Jx+iA3up981zuOP3TnuY7kMdHvI+7A49W/INM4M7vDMV6A49/MDF/RJ//
fzs8T5uFXseNzaSvvMERHCeJqLVD165viI/3RS1Ak243eWaH6lTi5L7BJkNDGcJ+mHZPCAkoruul
t9CjefpeU5Hf1dZbkTNr1ALvFbOphJglN+Mj+GVZG3iGDWV0Te+cJ/DueLr2xuyqtSLED1Ly3jnP
DFIYelIZ11gsJk/qmJROa0Z/NJGcbKzCJcD3Arc81YOAkoUeObrztHmib28vcE1G+nYAxOj+7i/A
xW+3YmaoMGau9HMWr4C8L4xPBpGLzVmtQZE9acif+8LWPMB5ZURl88ofKux79A3GUwMJNxNcWHZg
cQnhv96mdkVlh2SGvqEfyAfDUN7/gGl37+3+zCGS/ahJh1DEo/r5Fa2NMlgoMN1u5cwqVUImdF6H
sw2htgT8bMbhw7i/gJVgARMTbr32fqyDnh1h+STPMQsSYazGg0/RVsKgbMiQrrEQhNWPITEKbcOS
9LKiOtMO/dpBsB/KLArsYKjkbuWzbuMFIQafnJ10J32KX2CNWpGw6JZcSZg5PuUg1MAEQELkn/hk
1zb6wFCJIc/3d3LZgbySMzM7YJRWfGHEXWQp6o+G9fDywtEJfAlfdS1gX74aV8JmBiepMc95CrfO
tUbK/Kh+t8kF451JnxrVeXAaAGrX2Mcnxb13UjNLo6lDm1Yc9jH4fq0wfobZNmuDopZj5atlzYxH
6YeVyyUqKrnkdaLBmvgrHi+XiSRp5bjW7t3MqWH72pOrARvoBKk+OqI+qrq+6qWu3b2ZfUj5KMQ0
HGVyF1/Ra9SzJP7sDdBjBPp3t9FAZvS8ikdclqkgo4JRgKI6Z61gQw1PkehL6NnS4yMMIR6i785B
ELP5s1rwn5Tn96X4H2Hzxq1Sapmsi0IJUYW+12MM+NBVQsFdsSpp8YnFHIH/t6x5D1ehDhzveYGE
6AKNSBrJXld5HJcjzisZM1MxlBhhLfHuTwrjvfUJwBMWT7YgJ4qtlfu3AFqAcb+SNTMX2YjRtoML
WdpmrwvAZZm83RvJ26FZaxUXljX3n62bGQtAQjCjimdgAXFIU2nq/bhvjNzWK2qeHx8fLY3mxs7a
vTW7A1gstt/fYAhc7TNZjkCvVjwzIL3m+p5b4mJqZjp1kbu22di8swYiXED43e7szIhEgdg0oetB
AZxWB1M0ArSJpSN1kA9C7WhLn1J6OulrRFvLns/V+mYmheva2BUGrO/5df+qmM1+PB0u0/Whq9HR
kvWaYD6Ylc2K4LOfnWjbtIXgdrF0rrYoh2YYaoT0CPMc2OIrHC04m38c/f7zNv3EuaJjggdGKPDI
jYpzZgOPLfKyTATpLMoZZqkFpF+D8UzezFwCxhwCJYj6GwjmZ9dDSj03U9hpTSTnSEnoB/d37Q1b
dHeuhczuRtv4MaO2mYT+dKK/Vx/RgaWvTvK9f8V4ZwGpHn3Y/Qf0t0tm8lrs7GqIYia7+TiJ3de6
H0yN/xW6nt1zTSrdAhmUUdMtLuWf+4e2mCW5ljt7f8SsGZluSCajqWC9P2RJ4JTcGRfw2q05JUuX
8lrYzF1lM7WuyySXzmND1eKQuNvxw48tTV9jpFjUtH8k/XJa60pqXQzjxHa+AgstvES7bXsB++Da
ihbTdNeCZt5pm0SS30yCIlSCwCBsIp8Odl/rAV0MvCmtcxlNP/B/VwLg+PD3V0n0UFRrsZkOLCJg
IgTKm37/WWehWN3A2eODAeBtXCFghZhSf1UtBeVuBTCu3PEfvZDo+tpO/jR93lvYzGKNoddIAmaR
nZGrf91LSFW/Mhu2IKOmy19U3zxPXLXDFv9aJ3TaXi5bY6QvaQxQNgW9zdr3LD711yc7szaCUPTt
IOB7UHUyEyOz+sfW2AjdaliwdKKYiQveJlSAMOJkdqIl+OCaPukgiEnJXnvlQSdreqgPPK0p+5Lj
dy1pdqhiy6ha2EDS+AT3mYmpQjSzhaUBDBTmdEpkE1ymFROzpPXXUmcHq/FDovRFL51DjQyRnlhs
jdTZ+IB6z8SGxSP7+2et3jL9zPllwpwLFcBkCbzuc6RTi1HpdTlI0vn1lQPdUgbAI+GIb0qanm+K
UneJISETe6LNJnHBFzpYK4te+4DZoWJ4KdxEXpTOwGO6H5g9zJ/bDetTL/kQWQp8bYZOgqGwhGBF
8uIDdr302SGHZc8wfYylp5VePKNCy75pdLdrkHqGq0EU64WywEX6p3FtOvpigHstenbSSMh6cuxD
dP7FG315FnlbBtS9cYGD63T+TX3TNMq6TgS0eLzN0FO2sutLF1yZUMU4dA7DFWdrZ7UUCx99BYlo
kHod98/Zo3fyY3K5dC8+6pp/7stbIHzTEJv9I2+24CRBP0ejQJ4T5vDPfY7KektcNALmL4AzI/89
mDvwMms7CcylmeFbA1q/NsK/6GzTADnkRZHHKMfJC7t9FbyOjSSQ9ynnGH1LrEh85dSZ0raeaivD
pvs8ncSRALizpmcLun0jd+Y+JKXiu+huUxCOg5capBmvBVpaz58jdO1RtMXzVwrm3+34vq33G8b+
VlZ7xda+YOZTFJgeN6Q8vsDbSC9oQ/5ET+vp+VXcvjrV9o9nDpuVQ1+65VNngIKZfJjfhJ6d270e
cvBqJICJnbvoITjzOgo6g5OYUxrnVDm+Jb3dv2U/XB0zY3YjcLbEIU4DL24Z3DJguzGJ0KfHXg82
bGswl8T+2D65h6etQfznn/oSQAOADNQgrI7QQ7DyKdOjN/sUEeM60TOE3kyMCZl9SoUJlr3WVcxZ
9cyoT4ionNXPkrHK4EFCnxKXbzvhLRsVInXfSWZGzSns9EDrScDmJOc/inwvhSUJYQJjMIFuonDX
YYRcemxV2vY2EzeUV88lc/BHowDt799kDS+6FFZfL+GnLnLlQA15NtQ5pnGeuafqW6htXvNB+dto
e5cz8hNjFy5tm/P9fVtyE2+EztzEYZS5Tk0K5sywegnfyQz/MJwhOSPcGZMS9Ui5PXu+sMCynNbQ
mEth9Y3w2VsU+4nixxpWnDYAGz9FMat7D7LwOOR6VmBsMPPIpytp7wV0N1Tkn4syp4woBLUQezVn
zhJPi8p0VcrxGAv3t3U+QRks/C1Ku/lyyZcikVGETSxCbu0xWLmr4sw4jzGDzjceey7wNOTp38fj
VJrMjZ4x0EaKeRSblUOe9vFGOaAV6EtSMTAUU+x/UZupjcoybNm7Z0+l5j475E+iEZqKQmLUCw8G
bQ0gemhyXFHKnxt7T+7scpW5Gko+D7kVZ9cvpYNBciCRr6iwQSJFP+9ZFNRik1iVaZ1T3bQ8K4T7
HPr2U2xoMsCbqRVT4eH+bvxOQP/sBrptsBEgZ5qbSYnNell2efdcPGsBUauItJ8oPn0WiV5qTwzb
EDlf8X1+3/SZzJl5UtvaTX1RANBa+RIc7STR7WWN8up3SelWyK+MZgbuUHTeuWckyZINHj2FvDq5
3vqG/BBZaLZRHxTXkDA4GbRAJl5gFPm+QSPBj//1DZ++BNB6TJSWBA7/cfsSacXQxnwqY7mCi4L/
8fM4EUqHlZ666LDZ+v3KTfudfZ8JnO0vW0iln7SSe+7LTV0DbN3+afbKfjTKwyE5w2SbAbKD/GZF
7m8/61bufNZG2uapix13z0707bxGh4wkBobFRu+u+RIFE1gOKIMpetEeTk/x6em0cpcXNfufjVZm
GqbGWcwJleqeM4mwFalZUhvMKXmAVwODfV/Y7/6RabHoV8UcV03GEOJZBqrxGq1mRZ85O6LlnsKH
dOcaAwkNYJqouAVNOHCmGIrhWSP6gd6SdqrPo5fr6fv+d/z2c2bfMfMpMTtXzTKOcUEnYEUFhlcb
/I5GeqAH5ndo1AX5dmTjvszfjbQzmbMbrfoMh3HBHnPWMaBSN/udGX+dzSAiZ3tPundRIB+yueGd
7fBy2mxiQ/n4GPSPC7zcNc92uspzo4qJ94AXY/oe4onZ66F5hVe5Azwd9I48e0gCjuf26L8mB5FG
W9Xq9h1HtrFRIZQUN9q2fg+3Jd0WHNHXutoWrdr1p8wyEYPQl4zb4FOqeCPVLz1LJcHpnjyOhD26
7Rn7/iFw09JmS9dAzYnYZVo7Gh1uzUqudjXGD0HL4ac0B9hRo8egC9SkfBSI/twX9iti0zBmCK+l
osgYd4ihnreyElZJMk3GJZNqOoCfLnUYFb1QB+18X87vROePIHRIYrSdgFOdCaqDsCkLJYRDQvTk
sXlvI6RX5aP0/cHrsdFeNkj5K6tkAr+zSLdi56DBNlIypDwx1jNHygx7KYZkV5iyCad9bcTSkuGY
xnYjIMNvPByQ272M+k7Lwgyy2gnbcWo3prDpLtH7ebIXBGAejP4ynsSX7Ih6FWA1n1CbzmnoGr54
6em/+RDh9kMytVCaLMWHFDIRD6G2lV2Dp716apSvmiYNybuVuQa/s4fTPl+tfaauUT6w/RhB5LOz
7/X8j2m+v+8dx9nkYLOrjim0WKbH4e+5KkhzMZIzN2UFijc8z+l6knZRg1BOEyUBM5HRqXS7ARyX
RSjASMw59owmB3+Vw3rHvMZQc7PRLDWmcn8I3rSedq1VaebKVZ+M5C/9xROCdClAE+g/nknPNdFv
mg5GVCHuPkWPUkC9UO9MHpy+f7JpJsgaxfnignEEMrqQeU74MSlXQVUaMlGUNQqm13LHFlvLZuma
D/CrvIsfL2lIciD0xGhmeb6nuev1Q9P4F149AGRAk9AWolPOvMoiyG9Tk6GJIYMOwPWeU+FNdYSR
YoOHfCvxjhQao+aueJuL+oZ+ckVAZzkoCX5MztWiMba+zAJgOi4jc/Jruy9OYnfp+5cK2b2cqhnl
i2d+qIlQvba8Ho6K0Y5kfA67D0WhLXqUFS/ThZHk8V+mo4EW0DEzO3mvCDqmxJdBveYvTp7D/GJM
Q8ExIl7EUNE5lMZTchdDtFvvIpiKi1kI8auowGGsUzI2RMyoKhhpaRUeHRCiJQ+xt+JS/Dik8w8A
oYKEWec8CCLmmEOl7pIqLiT/kqSo4T2oYODX4celdvdRi3r3MYJ5Wq+ex3zPFW91DqIMGczyymeW
UUBXwiLUJTMBS4Gp1rQRptymaGTMx/hYXBKNch5h5UdRI4HRDgYrGYliYsgsZ7k7TaWa2Ue2/JKP
dDwEduMSdKBzmp5tfdl00aH+x0Ui4lzvXYqRQ2FCBIY0ge5/dJj95f65r6KL5koTNFEFpGm61TPf
yq8aV2Jd2b8wIfWPBQlfeapufRrrJhjhKRRIN4BHTMnDUdTjTaQb+eM2Mj+Uj41iS3ptapvOW03v
LDySCmplYDGZYjZwmcwMd8L7ouINInRs3HM5CUaaPzQKS6TS2xTFvt0HCWVikj2pmZ4yG8l9KnvS
PtYybcQ17fptUvAtPKYQwg1GFn/uBg+ocqXjEAaXGp3JuT1wevyBEy7+SqE5RD3Jo3PpUZ7TGWk7
+UEdqcKWDCgpeIHBxyZjaxJNI4NrXzpmzTv8bYyQYMY/0CX4LahG35rYJA+LKOuS4OLbzKtvZu5D
FW7Y7wqh98EtSI6m6oxEzNf4N4neQ3avhWgWYDf8fw2C1vAdIq4Q2qsxlkyY+ctZ38tl3ZXBJR4e
tCeoj7RLLigzNMOJaQKw+JjlXxkZ+FFnVat4UtqVd3chMgPRDCos3PTMYTLabCMCJhlLzmfCSwGA
QUurkWYKzf5W7ktmMIPTFWAU2bWkbA5wV5nysc/MwjM6lWSf3jGS9i4Dt8+swmP4WJdUWklCTE7d
rb25/brpjl1Z6LL3q1GYvq5Gu65PwwAPE0zwuNeyR5clba3f1+uFAFnBi4CKgIBJyhOzy63Aohyb
oR795BLyuxzzMD5Y12hCvWCdbO+6JkxMcGbLDScQ/5KFdCyIt4Zg+J3gxKRtjAwHMQ+LChg3dwPd
tAzZVojSS2OlmHbz4L4B4gXrqncvjR1fWG/lWVlQ1Bt5syuQyBiy7YaQl7LfGp47ICfv7+pvf2Za
kAjfHZ6UjAHit5vaJymneFqaXsBe6WEg8Hf3+R90p01e0eyu3EiZ3RXORVel7JXppVXt5tQ7glk7
2hbJaq/cZLroMM2K7kx3YS5Q0FQFQxCAaOHnSQXgPWpGEPzs4pbftW/29XOb7e7v3ELoCC7RKxnT
oq8UIAum2bgFZOT2a80TNnTkM2OxTjmgKnVf1tIpiQiuYK4VUVK02f65WuLxdVtnF/gSzWAg25WC
d7wyuGdmtZNw6ayuZc3ULG+LMJbGKrsoX10Ju0NYx/d3UfjM1Ef5tWpo1ZpxZtxf4EKeFY4n/FsZ
nf94lX6YKK42M2wKIdUCJb/4mCk/woFQXqPUbhkTY4d9YddWehIZ7IPwXcQjQT67js5es2FOnrZj
pPeACwnPkcLbqIBjdUQKdT6hcbpRlNeaeW4qe6wMtbLbANmW7QDPBC16A/zEkGbNk7uWK/19+5Cj
xOM1qRXc6Xk8nKdC6wddV1z8QJek9yzdi81KIPLb+kIEcgjIIMg8Iu7JHb3arzitXMbVxuICtm/S
908lYAbBI9tJm8FOT/Lj/eP5XXLQVBC8CTLYpeA3IHNxKw5oOGFg2aq4IBnaNkThaGv7peU3B9mu
9PKRe5TQmK1FEfzNP3JhMWvKNtmhW4XGB0CbNWTv4K/MaS/CMOkSLuix3h5gO1CieUj/AznckXbv
VlR7aDa5uPLi/Ob0mlZ9JXSWmlT6jgV6E0L3/Zm/fJqf4VM86rHDgXFmW6OxwzSoYoHk5Emyadhu
7m/60hFrUzQBvcfcsbnS51XrClxXFxdp1HOXdL1qRT1QxZqmpx9BTaWKpfcl/jAx/9plmceiQQDC
gTfw9phjTajdohkwo0kXejNDXTFNOcLxhvpdPDegKiqIZqQMdVk9Tg0uMJuMdCIdH4GzIYEzyDRF
5e2jCJHD5QcdnlmMVqMSQ4N8WsZ09Gj10P9Nc9oDMtLYOdhvA9qM+97flMlG/uQr2jKbIjdyxCar
zFm/Zw8gkJxI57AwBSRt80vE9Xygjq1UXnyBsHVM4/IlTKhXmGU0UKF7DzKLdZ8134zeBumxF3Wx
exL+osgkSSDtp6kGBjdTUA0t2YQo71QAXJd2CxgVr7MIRVEKUzZar/uK03B6ppn4nxLy2fcP6af5
bnZIN6uY3UquiHOZleTygpb2QNMVAI6UvQBWrnFXfY+fQEugBORa6V/MAvfeRtUOQ5NTLHegirqp
QhqNW561Bn2Q9bDedKmljQ8xuxMZI8vN0qX+oyQcswflPXgUciMQXrwOEyVRWB4M7yh+1a6hZDvM
SHRfesYpLUHeytpJQVD3twitMtGZ4DnSrCo6Rpw5Mhs3MnmJlocMMXd+GMLciNqCij4ZLTRK+Pgp
/paRSChTAeJ3VWGwpcm1dOge/M/G1wuNRyoHvx46YF99aWU7f/d2zi7F9B5eWdKgrgS5VMXywm9D
e8+8HhsrKUiMXJrF6iDv9IkM15aMf3OM7EX0aqRWaQXmWvlfmo5tfqwymgbgXYIIhfuJBq6+o2gZ
H8RkankRjt238pUdikNt+yYHEgjvnOzMFLNmjgMdzejgEWUvWeEBE1SRnr/E5IWC7RIjiVjMIEOv
IUufMcv3spEs3gyO4Ur0uJCCVLnrL50FRkOZCVHFKOWFVSqaVt9Tu7b8lD5KFk41Mv01eb+9n1t5
s/RykfeCUHrYGe5YmhXqNdPE2hG0IKrum67tmtxBPMaYXdysWOCFMs2N5Hk5UkhZOYHNwN04Rc+e
00qP45u471RaVURu3sbBht+R6WG0zSRcDf7pvqrzC6/e9U4LM1XvItnF9cdOaxueBh7tkXQGGujV
gyaQwERNThfszEmp9ObSapsZmSPYEzjl/nf8L3dTBpksmsFAzDc7AQmV0C5Jpu9wig/5VNHeSfVy
NHkZ0acDdWGneY+xnaek+WZf8oe+0AskWg71Hzak2peySZKESNvCylojjIhLmIpoBWXAbNSY062J
jt2Z4axu3Lm01hO9PXg8aT7DUwsjso10V1lZ04L7jrNVBGAKgKbglZ9S9JW+cd0Qa4kSVJeh0/0e
zuO3nGlUTeNNw+9YtqBhwRxK5b+OmiEVPhRyCqqG5MvsRFW2TaRAcnGXRcONSfPc9z5R3n3Ha5/k
NUbXhWrTJE1BmlpF0Kz82L6rNRYiD0gOE1YXH9md6q9f86Zc78vsBcAgMd+M4ZfUBqQWrAATCxqa
xvyKR7GoulcfMMvFhX7jd2wWVRcxsmOAROF223Vkq5XTr1iJhbTf7VpnVkke09IXVKyV3e6ZY3ge
TfbjCOogmSabemplQ8avntr26UsDKp/ERqxGYprS2vjISWF+x/YGkxPwVFHPXIuqFiKCm4OYKRA6
BoUhEaePi2wu3yShSOT+8b6W/iaMwkumIL2IgAC9Kb+0VE5lpD1r7+dGh9VbIZ1jaSMdkwj8q8pF
HpyisZjcVMAkxAAxsS9q5GmNun/rwYs4WGxwvP9BCxmb6YMUxHT4HFRspkzf9fVTvXhoZZy+gie8
8Q+92cHvg9dUYwYosxsxwkdiqaoBxEMY9yGm0p94m64BOJfuIEJLsDLK0DswK99+BdDKcl5INe4g
OPubwnT95zH7cisADNx+JU5ZkoU+WkVRpnHB4jx3WeRR1HWyX1+Ax66/4MgwyHAjWYj6AzLfK9vL
L3gM6oRMBUhFgVM7iwF9pWr7bCzqi9A5KveqfjPgHFYUkP+QyLMEqaKqZxRVtOWjlfTKUjzIXYue
6TUn50kepHl9Kb+4z0gQqDDookSzWgV5VEAr0oh69iRLVn+oxICmQBlkpaOuBdoLJWAgwq62YKb0
WdplGGpc1RdMFrbP4ZMEM/emWE8qksVHRedXVGzRoF7Lm+lxK+ZeznKQ57JbDBuM+H2BGbN5iIrL
qe5staFcRFiOKu1GOWvtijVd9Lw0Tphw9z8PyOzENWF0M6Zu6kuToKCSO7loiAV1+31eS0aphbTi
0AZQEFc+r9y16SfPvdNrybMDH9JG5iq0GF3CqiNNCqdYSWgyGh6LSuDfqNLH+iMtvpLhqWocXrO9
4SWpaf92/zN+M8BMpUB4yAJsCssKPw7TlUWJOL+XYgUbMMAJfgALuqjzKS32Q0i0S/7+rR5OEmo4
gcnRi2QnjmqERkOqjWTzayowrfjXjqDMJiITPLFWTtp59Sl+FDRCkcGkt9H7sG8LA2lGdcqMDB2G
aY4fTOZEoq34NHjljmqnZ/nm/mb8eH+/vgCso0gQqHjdldmZ8NPYdb5Kqgv3mhnSQ4eEYM3HRGQN
NnAQpwDiVFnAC1e9OTjgFrHcGCX58G+NaGtblqiDBa8YuLv3PSr1VAkswAfb7nT/K5csInJ6//OR
Mw3N3YLXQgnbVGZkKGiA1zVxihxlWo/Ca7wv7Hdr1XQ/NB6TD0Blj2OZuVcSl2C+aVXiCaQgyJKJ
PaJfAIGmPrxG58H2DaT+VupVi5pxJXJ2DxoljcBeVVWXOkI2EYGr7x7SUA+VlWBgoYB4u7YpWLi6
cGUTZpg9/rM2DVQj+a5BW5ygI2tvoC/CBnPpTgDRWWykoJS+v6+Lhzghen9a2kEMeSs6TuNWyZu2
uqhb7th5MS1HSAmbY6ysPKDTY/zrTl9Jmh0gN3a5FvuQVKcgku9SRjK9qni5v5yFMs60lf+sZ3Zm
nhByrQgytQtSahfmU/4Oi00KDIewk1PCZra/r9yVZOKCBwiuepHjZE6TeMzluN3Cpgs8UWkl0FPX
vhHCNkb5mySs3JGfgHS2fTdSZiahcXs1AElWdem2AxWN5m8xcWHnerMpjFqPHzxH+OyRlOMoa7Y0
wO8C7ezWYO0efbD9IXpaQ8gvXB3cGhD6TtUyFT14t+vWSgmZ25CpLnH3EigYtd2eWrSlBqaAGLpr
+3+zzVfiZvenC/y4GBm3uhTp3ybDcBX1M4+CFXVYPEsRDUHTccqYs3K7Jnjg4VhjNO+l0WjkficC
uimiNUDwkhBOVfGysBwS/NLsKHOub5ghDJuL5xqeiIm5NcjO19rKFi8MYD9o50L5hVfnbwhTyiID
T7G5lHps9zqni399cJCOaEst0SZpqHZAE1s9RjZCRv8RLOOgN6TCEdAKQ9zwekm+7+vmAvIHEH/k
+VmkGlDlnefBtM5VtSLLmguXksIqLtwn2+ieodHKrJHjUiiS0mg4FlnQeOjSzkHjlWKK1GnRGNaT
wonXHvqlG3z9QbPTVqJRa1IxbS4K9xjINIsdptsGUaCrIfFEjwCOhnSGmaiEF7rt+MpbMoZtPMvD
imlcegAwwEhDWxwKIPKvQKbn+lJt27K5OAkK7eAOs9vjuFEeh+OAbmgk12MjIe1Oz7fcvlx5xhfs
8o3s6bZePT6uUKhtxOJUehTVR25f99nK2z3d57npwsikCeiG6SWKMrPJwyhWeTI2zUVIADTr93Xu
uM0mrh5E11y5YpMRuBalTTgc9DCixgEUH/5wu5ig5VSlEb3u4nV6/Qo4EyBZFoAVKcgf92jkHHYe
2GhU2ukbFBbvC/+Vd0L9QUTfBpBJQJGqyhy1OvaZOOZx0Z6z0H4doWL1p3sE2Xe3y1Zeg/nF/ZEk
o0qIoSzIAc2nfLZx42ZxyDfnJiZ8l2zzjt37ISaJ+fUpHGwgZ1c2dn5J/q9AkBVOsBk0781Mlhyw
fFiXanNmeOSD0TfYitWKfV8UMeHGUXoHJmcOysEo8TiNtKA9xwkqvbyP5pf/0rj/LALNh4AfSRoK
4bMQT9Z8Jk2Csj1zo2wy2kMhRMTzipV1/Co7TGIAIcHRTH2OrCbc3sFGbrh2nMSUumyVO9VSt+q2
e1a33obTU50xFCPATJvC5qhmZXZ+aGx/w5MO9m7lQs4fmulLgJYTWRFlMbB+zxbMjWo1wllqzyi0
BBtEVCroCEjCYFyS47MbdsdndvOZORWqH/+9aFVDXgZDLJCYwXfMNoGNQ7XUov4so5IQGMM+w3T4
8NA8RuKTVJ3Fxm75vcw/SKkRHsC0tyJ/bnKwchXYKqRHBTzimF00E6/lfhFmRX8OAp8WDHCP6gXV
qEq0K2UlchWm87y1OZMsAY0dwHEAHzo7b7UTmc7zGshSWIKnVQtPYrsXUaxj0NMMe47ql9ImeogI
TlasRPRpW/9xK0MWSjKUL361jfLnrnJi9LoLTsRZWWq4IclrKnNbwHCfuHorZwYXAe1YiGtvz2+T
efv5s5OSSrdjSgVbVSs2jx5YjqDi5z1G2nccEU0gsUbj939zOziAakWAKXBBZxcz8EU38v22P0eq
XlebyhAaJ3faLS8a+UvGPQ3gSdLsNjpIbw3Qgf9GOqbMILiGJ6LNHVf0+tcKO9b9uSkfxb6hJfqP
B5dAnYkL2KPAET7fpGqJPIzNhAaX0ax75tR+5Tumjb29N/+HtDftbRxnooV/kQDtlL5q8e4kTpx0
Ol+E3qKN2hdK+vX3KPO+z9i0romeOwtmgAZcIlks1nLqlI1eaDyJsBLwNnVOR00gZhBYDvJZLlPJ
LVU9g6855gIjMEcfV1KA4ADQGoz/MvpEUIW8vglVoUrjgJbsM7VSR6PHcVwx+UlJ/PubetOri9sG
OajBf8mBFb+WAzUK0hh/fB4e7ZeidprdsG1clIPPwcGSnDp0+l12OHxn23Ef7WJFYNtvXsQv8QQP
L4BUc8r0WnxPekzWKyDeOITDMWZ+GX/vFZQTlRmQOwlWe1M+/FqtDi8W9tXQgeC8Fjd25oBoBOKU
8lwpG1JtmtzPNMxhSpy4IW47lZsIQ5SbrDwmXfcjrpofmH/lJuO6Epn5xRMGbtI0oUgI5Lmd16Y0
L5T5W4Ya5MUDXU/JsZaeUk246nkTeV0CPFIzVfTZwbxzmzwZlY7CaaycjcbXx1N+1nPXkp6zZ3Wu
70eIYerRC7vHQVIcgJi8NM0ELvvSMaMRCdgZFbkK0Alc77tpBSVhJVXOlH1O9rqlJ7WDSBns8/Rs
VLLA7bnJSs7njH210BSCOQPmzTNWjHk6BEQG0SD4UJy3PSbYfDw+bs/bHtTUh2+dB7C38xKhiXJz
ert/pZbO9VI2t9uZ1qh2GM03d3jomrd6XwH0307r+1Ju8HlfS7QMwNrg3M01pust7ZIsZi3JlfMR
awM7pL5GnIPxds6qcNcg+1+vUzBEb8+Kk/qTAza7V83HPz/mrvvR+RRSCN0Erv98EHwosPrgqHl0
VE+ChFZmIJ+9HpTKhXv+OH68vx9Td3K7FVtXHn2o1/vNy8vDwwlsW9/u78dN4WEWDxuGqaS2hdGH
N12zDGDkIW2UM2n85jUDXQM1a1dD/j3JK4w71BwVHuSpn75nJN/ZTwLxS3eMAJGHRxFkbTccXNnY
h3Ata+WsIaVJAe+uN3VEgVc62f3HwDI0Kr8OquG3BoYVpp7GzlU2T0K7/xmzzeBv+swdq8K6aTqA
AddKQdCWlEb6oJxVc1VQv2Koav8o39R01bPXGM7MfXFfJXleHqD4MGJooUQ1j7NhdWdYTZkqytks
HlIFU1DX02DjNX7AfPiWoQNgMjYa9YZgZQdeU74mbzom3pnpejDPWuaY4cE03AHDh5LJl3sX8+Gy
+iewXXRbDMepyZ0x80vR4L+bmtGsKnAucViwSIjf1etdGocWzB41rg58heh92scoiukbBQxbL59g
Qry/RwuKQVAJBC55nv57Q6AC3FtKJcykPWvvQKaDg/rP/d9fOPKr3+eOYDLDKtfiFhzqv5H+MNCr
u+33lrHe3Bdz45nPNdR/l8H7IzZKK0k/YhkfiEG80esE91ewTTywJiNjWFUSfl/xAs8+Kt/vf/5N
oQ5nfvX93Jm3xtjLZo/fn/khCf5lD/qu3zpR7BYCWQsPwJUoLrCwNVaS0oao4Pgz9o1jcrq/FtFW
zQ7qReanjANDG+ffVz+jFWr1wj4bkYD5zy8ExGPadcasUqmDfjRnOlhoN/K6A/ruP2feATErnECJ
vyhbLyROQZQzYNd0jB9qMOXNdh4VBxEYwCG/gKXzx9XwsPkUgagWnJKrc5pV/kIoWhS1OsuwTAyv
MF3px8Z6/n3/pJYeJdgYpJeQHkTExMeYqWQ26TAPzzrKx/xFcYtd73RPCYbI7Zmg6rVwQa9EcVqR
xPFA9HzEKLfv6Z74euyoexHRqkgGpxh2j2xFpEGGXLmN60QPnWjD5geKe1AsRFcICND5gpicuzsR
JXIrUWVWPSDqXIAG1qCoHR2RnJvoeW4hu5DD7RYmQai6hGf0HKJsrf/YhlttnT4BQvsgYnmYf+ne
irg9k9IyqPMYKwIbfyAIRRfP42IVnA+IAMko0gS/nTUOsLHsIMwHifaJuyN6YdRlM89TOmOu6zOg
4/pKQ19B/iy6jAsW4OpA5st6cRlNwNrrKYKgffi8+pm6ms88gXO0cN+vRMyfcCEiNNCtkEjg9jd3
x3AfeL3PtrLgmVyw/ZcyeIBVAnZUMwEV4jl+7tb0zfZEYzkXBcDFBtUQfGzCu7kkCdUAwCq4E47i
hQA+37dYop/nAmTMLCoLPcPPN5/JU7GeRoxGvy9hyfsC9uzfFXAvsRUoahvAAMwN+4UDrXoenD87
e/2yoYIDFy2GMyZkLPJ+QKbz7BnInnRucRYsZfF2YMAsKo/oB7lJ0tA0i/pOAZ89OFwLJ3b+NJ4q
nOu28BrPye//CeGOpM3HqqcMQiKv9O2/TiPOhvDi17nTkEllVGOHXy8QKavuCnQ7BoZUibzgmwI/
/K8rOdxZhEncp00OfncPU4FPb/nWWCkbhQnJkBftyMV6OMPOJo3BaGE9s++SYSL8uVx7gmNfNLsX
MjiTjvOQizjBWt7ekJYH8gP+CmZ5t6GjHk6nkwiqeoPt4/du1vMLw2WbcRsMeN3P8WZ7JM/u6wtm
JO3fH7zD6+f9pS2ayIuVcea+mMqaxakN1/JEV/r2MIHDTbQc0e5xll6P0iKxWqwm2TZOfNh9nu6v
YcnVv1I1zs6PaEvGGF0cz3EfPuTb8/m5Bd+DIxCzrGg2yM9ADakCh399KFNq5XVrGPNk0hzdkX/Q
GPNaiFj2loQoBspqeOTBKsej63qwjCRWEYFY17XWo68gMgILgFML/IglQ3kphr80JTrMxg4TEax1
vEGsvg4FwOMlvboUwN2YoAmJ1E4QABTMZ/Wqvv9KdqPoWi5Z40sh3DUJCtaOgwwhMsU8xsbRTsXW
fFR2oddsiv/wzl/K4i5KUoHryBwgS10rh2BTbEXu/PKRoAZIUAsD8oKz+uA9AqvzgPkek40+Ukff
JhN8IsFNWVIvEF8YyCAig2N/teddGJbW7JO0DjQNEdC75tXf8j2yMW7pIicKK7bHWNS3/yIRORcL
2HOk3/l8/ySHY1tgrMI5doqjE+6KYT3s+gd3A+ThyfB+S6vOHR5Fp3UzA2O2oGDq+Z9YTjXGIkgC
KbE0zKLwDNlJXnK0voHdzvs8gd/t8xOdh/i72VjAphrgNBN5t1/ZWD4KuPwATl9kzETtSYEPwE5P
KzyBb2+tlx6J7zw9PT8rDy+fkR/5n5vf9/dbnZ/vG7kzRAVds3PXCXez8z5gmVwm83MIyeitzF5N
cOaWoGbePbi+guMOzgnqdcAQO8JVL0VzXyCV/086d+2NXo2TVoX0tzdI36+U1A225jZcf9+hTe4F
nLexl69FALdFX+NSLHfamGqhtGYDsQFowazf+Q4DS+cJLvf3dvHyXGwtd6RDXOpyWEOKbHqPMwvp
4CCMVCKBE7uYQ7hcDfdekqbtJNpDTrMDJ2LhHNlzdzSoB2zV6bfAhupLj/OlMO5VS9u0lQwKYfpx
TpQx6mib4Ml+/gmGsQ/mJ98CD+763PE9YMX9PjOfCmXmYC7duMQQp9aRnvI/oAANvZfP3euPV5Qa
BA+vMbuKNzqN+ivKwCjwGCZnGtuAmUZqsX9cvPd3uiVIUhHHWs98oMNmPorzdqs/jQog6LKbZr7z
61cKsnKMAa43pd8Cbtl4iW9B/Xeb359zQitc5e5nuf78/C20ecvGB8l/QBoMIDp4EI6mhrQYMySB
Gl89lYcBw3DOxTpaRd/q7apZN064DX7la83dxY/gV/QKDy3b2/vKeoPD/rKAFx/BaVEyZEU6UXyE
9kgPGppZ6Ut2TF/tYwVp4SraV08iasXZttycE0AKqDmi2w0h0rWHVDFSa2U1IaVb9qU7E0O5cKRK
wTVcdPc0RZPhg2EcFegAr8WUzCrQxFdhctQ7ml+305bpgGd4AFf5As1bdMQvRXGGRWWSZmak0M+A
qE1b41u+jVylWtsfnyQBCFN1QLPzaa1CzxRQHy35T5eCOVvTWyBk1aZSP9eH2Mftc000DIgM2i0Q
DhO48EipAKfZMrBQXIxWN0kM7BGZzmVTOcb4LWlfxmRd6cb620ABTVZqR89FJauFpaFdCPVvAPDw
Xx66mw/6mPRtL5/3tuE36+AXaIOKRxFD98JLdCWFs2tUb8teRdx2TozP8IfUuT2mvEwrOvwef7eg
qyCRsMp0+/Tits+9KGAtNgyVcDcuzXpKNISj5xLjRgKqrezprYlQa0e7XZi7ZV+/AGzd6G5gvEbq
SnDfbxd8LZ1bcNlW3VD1CjvLvTeh+6FqtVVQxE6pb8tWd02yqVN1D0omgdzbBwRyLQNUZhrYGGWd
czgYHTtrtArAksYV7XcSaZypmIDaLH09fYjGz9peJSHow4a9YWBmh02eAeVdt4Ub9L/bTvCeLbgC
+ByQAM4dxcCxfr0lFx6uHoYqSe16OJNfjX6a6lM1bQrpo/80e9AuvOAN7TYiesgFM3EtlNuDWIff
q+iAZkly61tK49ed0w+HimA4ZbIZx3epBU3Q1irYz8Ibk0emgJZQip0p/zHqxzZ/FZzJ/CBeG+Lr
7+EspFz1LIb2D+ep8sZ8T1I8jIVv5mj2PIXK0+ioSeEJcVJfvuWtWJDUgD4BKSa+9XKirKiUng1n
eaeGLtGfSTOsQ9VYN+VHYn3XyKoys4eEgpP/xUY/4lAcy2abTlutP2rUzaqnQWFOG521cW3qj1Zc
CVyred33PpA7pz5CS1sjAwGYMO29tKVoHXfRXsrVSXAbbxqBgYyFGv67FdwJkHSMJNB5DuewfkuD
FwK+Z2RB0YeflivJPBM0D46eBtgTtiDb1ZWrBkepeU6UU01fFHUlh98FOrFknQhgfGiYQDEcDWvX
r6YRT6WlhcpwtmlsDX6elakb6qn+wx6taZUb1Z8W2PDH2qgCX1aGvZQAJYky9g9GrUyQhJyfzYtz
IDJ0A1cTvO4AgSOy5WzVpNo5GmdJctCTl1bGPnwk8U40B3H+kf+7ENSWrheMjJEZlZKVHGzY//qo
jVB700+GP0rINpIGYpxB6JrMCnQjE6V/RPDAPCl8x0gCfv6aaUFywMkz40nSas9Gmx+xrJWGgURI
8Q9OVJPSNwqNuBEYTvLKL6282ZUZ8e+f+OImo/f7Czmp35D1IfxV0rbBt8RQtnaKjwWmjQwB2p4s
kSOxuOwLUfOnXBjdcmRd2qV2ckjkaN3IABUqyvr+arhn5h+VsaC74CZTADia1ftCxAigMDOHKD1o
zVGNLM8Em0VlTi6NwT1pvv0HYegrRRIBFwatYtfCbKvrpbaEsLqJ3gZz1+pzGzla98GbUHYiajnO
Kv2ztBn+jRZ9VHlMbmmaRvo2tSFNyk4BAVlTvqOTJjB9i0eELlALfgmWxaeXaoaqnkHi9JC10oeR
kPEJ3OSRIOu3pHJYDmwfQevBDalpFMWVkWplepBnPtvsiBRn6/RhVDh5JxC1tGlol5qDAJSOMJLz
+ogaewrKJKnTg75TAjf/KL79vQpc/j7nzDEjK6WEVemBKJ48aeucRp5Fx10pFz6jyeq+tOXVIHSy
UILGqrgI165ob+QdbNUgm04GLLqGJpE+Fzbnck7il6qBiOF/cjhVy+UxlFDcTQ6UHtKicSK5dUnz
rQpjRwmylQJ81FD+aVKRYVxUjBkJauJZRN8UZ/B7SrOyjWCL8n7XsMaNqm9R9ptOiXd/H5e0nPwr
5yvgubASNaYxt0YIQ5Rnj3X82EQCm7p4Tho4YwC1g3n/ghtf/L6VhiRowKR5qJRjmdYA/u0iWxIs
YsnUoRnwf0I41e6jIo3VClc1zb0g/R3Z8AhSE4QO0o61sgCoyycr/lGJC2mcogdZzlg3zrZuXOUY
0RgZDbgrXOV72azNQj2Mk/VI5ReTTm7IQASug3mp2pa2P0WqF4cfWX3Kui0BA7XiNvRZLpxOJiBE
rIzn+2e79J6jGUAFTsTEQ8lnVeJcCcxGx97n1LWlD9WUfKP9LTHiSNK20V7DVBD9Lx72hUBuZywG
3gyzS2HN6sBr7RJcbSBXHAWR6uJpX0jhrgaJLDLEMqS03Z88zH0p3cj2GfSZtGQCxVq8HUAmoacK
rhyyftc2U4vGWBpGmGdAd3/Z6aZvhl/3z2h5y/6VMH/Bxf1IgkFpLfCdHFhZ+GWdJRjdU7pJa8SC
i7hoUNBYZwJfqaNhYv6QC0FR1lhxo7bpwU4+giR2U7ZjQecmgtvB8+f8czsu5MzfcSEHZV8WGhKe
mYzuBtDW5/1+iPcWq9Zl3ftofwnoz0h97brcHYe9zcojABuntmw2+Yi0TdEINnhRWy6+h7MNdYXG
dqS608PgkSjZMIO8FCDyqsArFLaxqANn8ThNIqMQib60G9xs2teBKfUFrpyNoK3a1f3ksFJwAeZr
xPvMIPFATCATuEAWdwFyrbTZhOkWB4Ow9yrST1rcrIrkYBZeV5mrhIBo876W8kmCr1NFGRd8tzYW
h/TF9amilAtnrIfI0ELzvbTps11QvUukc41qbxbgQ9YxwrmB14K8yff7wpc0F24YYOPoIUarH7fc
gtljJqGD8hBKT9LUb+2i9QcMBszlTgAQvC/pJgBCW3kj1aD+OihTtYtyaWXVJ2YbT4hcnP+XNWm8
+2KNSUtME5Js2u41e3ykYXuUss6V479tyv/n7P63f0g1XJ8dCG6zOJJoeogn6jDpo7aehvzHf1iP
pqpg+TFlcitDQXYwy3DLWrbWdTDDNce0qFw6NQKL/NUHwys/uhf+J4kzyUYtSaGs9rjPo+XqMbD0
GEQF6LwEFk+lMX+HbDzSoV7bWfY0YswfWhlOSCY8RcDPK5O8aX40HX1Nk34VhsrogGQ0Zd8jNm1G
uQGplz5sI9ThwfilIgSURW7d8kWa24CBSwPYnee/YnlIsw5An0POptfE0DBTYl2PvxQrci3DbaR0
3xn6g5FZ+yhswcqkCezzooqDnwGQKzhkBj9ooiu6kqEOisuUBelaSSxz2xeZ9qZNSvVQS2UpeHaW
DCJyJ0hczyMkQB54rXxoQRoSjASE8tGm8XS5M1dtnrUwipUI98cn5/9RdEtD3wJIn0EwzSl6b46a
lkiQhfELvVSCRggzVwpavoCIaCdb46sV1r4ZgII2a57u6/+So2BdiOa0so3aoRwrJT1QxS5cYvTE
HXpVRB22uJkgiEfdATG2xjt06hQl8PUMGP6ymm9y1x5l9IjcX8qShiBjgFoKuAZQmZr//OIBnwIZ
/kgRwL3N2+1EUMBJ6w3g7o0D4jxBWmtp22zMJJhHI8z4b877KVKtqUguIZBX0xcyoD5UNCLygqVN
u5TBaaDaSrkZsXk9Ifq1wdEw5Z7QJ13ctNm1sggg7Ci6Xm+aVWVqZlAbVqkdVjT8KEvJjeJulSSi
l2Nxyy4kcccz2nPnQWBBkvZp5WD+6T/vn//ifl0I4Bymspo7mEPsVyyvkY5z0lh2hS6MaL84f6KL
SBKg2RXvhYRENpJE9XHsV6qcr/7DYsC8gIYva/ZfODkGK9pWLrEYuz4V2UwZ+Tolb/dlLJ7IhQzO
PwlCKx1pBCXOpde+iV0Yg/9yJZGABpE8amWIdK+1q29aWltZSg8YMuPXTbtutVOVtn5oiqIEvgg+
21DEOhqATjYYidAiei1KN1U0S9kdTEwTM1BXw6GTpJR5itHbitOpYbrvw0B2I1pLnh6079oYHDua
1HujB71MIUuZTwyGEp5kft7f5wXFvPo0TjGJNAzJ2CDKl/vaZcOupabDLEEIu7wBgHuBsAYtirB/
1xsghX3WgcUoOchK6IWFvknCVyY5lQYW1uCtHsGBipJdjwIl8Bwm8gv7hKFhVBUNc11arYlUP8gX
wPoOV+H6O2KioO+7QJaB1NKqlXwbHAla8fr3W3ophHsxxzy09KSHkBGprVgb/Rit9KAQ2NwXMysN
57MBd6DpeJvQYgb34notNBpi+AgZzHxCvC6XnGjwJKiyBk6gv5cEXjsUStBIjTiMO70gM5ralCAJ
3+FXUuRFXQki+b3BRJ7c/M38msDqiHhoBq0Ag3i9phBzLlqpRTyNjHjsqa2+I3lfOJPUfEeeqnD7
uAz9+4tbUolLkZwZsEsza9H1P58WODSC8ZnqiRcmindfzNJpzQM6QN2AhnSNd6PSWgnzSRlxWkzF
qIo+AhFbv4m6R8OguiCwXFwSQdkPZQpgd3l3OBiZVYUJ7LM+vrYbapxFNa0F4zxzkaGwTYCvUQln
z5QcjEJGG9IDjUCTl2MMnTvYtSg+XljGlRROwWVaVrKSxxQ+02roBieF2QTblCA8XZSCU8FsIOAU
MRT4WuWMqq4UZUroIVCQVsSQu/potZXAk531ltNrwKj/FcItRaVRnFlhhremIMyfWPois9rwogQ0
ubGOjulW6iwML0wEEeTy4pDrBhcBmMb5UjhYt7upt5FlRyk19uSq8YuWMY+IpiwtaDfW968czkJg
CHwYA9RLD3mZbOz8LSJgpC9AJSoahbJgIOYp58iWmABXAFpxfVqsrnRwJdX0YGrKJshaGAn9QaXq
psdMYzDeRtv713ZxAzFpE3gaFZkSnnkGg53qiNQ5PbSZukJg7EndZ0OJQD2W8ntgVNBhr00w2uJ/
rpdFy2hSaYNlsSGEEQdHe0sxdzkFTRdohMcueGDWT5aQ97AFK/6EaYr9KgWCIT3bii+hwd3KRStf
PNKLT+J22rAjI0D+hB6G2u8REqX5Zn7H+i4WhCuLR/qvoK9RNBehkVL01jj2DT30wesQoB++YUh3
FW4+rLJOhMheShUYMtojgAwGcQDgQtc7HalNi60t6aEYgYbpMppsKwbwbA8KEUwhyPKTVVrdc66F
vT8laeKBOe6HzvTkVPW5/f4ftAskLKaOKZWoF3HXxswUWiQTtAudHgDtYFpOSWQvT0PB4/PlYPL2
B43o4EmGK4o3gTtMa1LbyZawxwHQMQ6SYR0Mj5EDV1eeajVYyQkQcHq37nUNI33WevqZoQicvqT0
NEQCZV+6Uhffwnf0a1Of0kGFYiWgI6aAJUQDxlVkApdzSasupXCeHoBiKshYcM5y+k0qHF13en2t
zXjz+0fItxXOvv3M3Pb/b+0XVcWF+hZDFiE3X6GQ6XS129brP2Xjjiq4k5zxhZROF3ifgcCsL93N
S5lcYkTXwPWsWTAXcqn5GaoAWQLupOwVBU7R8mZn9UZz8HIAFACzq/Mec5uYdgg4GW5ndSKNh5op
DNJk7JRkqzZeJL1IBPRwmHn1IthXWSB4/rCLfS01hvc0ZthXsHhI/Y51/qQ5xYC5FV8FQRlpvr6i
gpuyqJwXy+V2tuxqCg6dDuYhMR2pbxzQVInjoUUpQCtibuZMuMqTToRNNjb9BJ2hU+GFmB5ls1dJ
xLe9eANQ6AbGSUbYyc+e65sanK4p7nynfERaDVoeDfHIVErOQEXDI3kw9NctMJCAhYuBth5U9a5P
C3PSM6nX8+xg6R24x5UtUDKbcFq15ostbwPW+2HlG9VH0v6HA8P0bcRyqgbZ5rwLF2oSw38PMbsl
OwTlAwtResPUUyoSsrSVswQQkcwNcXyKEPQ6mdkQOzvUxPzdMfnclP1qyNRzCfzWEItc0htvEdYE
6C2QgqIehSYs7o0aB2SapSQc9gSDMGJfkpVVBP+3Ufahpq/DRkSVvCQPS8MjA8QkUm3cM2RlLU0G
NrC92tnFr5yAmh0mL8T4sihZ9bnxA+UrawOG+0kQqNyqDVYK4lMERKC1A1iWW6kM3qahlhnbt52Z
PGVGlD4Pqfkt1id7k2MUkKxVv7tWVg9anvSHyDTMra3lqsDI3RwvvgK2TTNwvPAKeLAuy5uxa6Vo
2GedhnzsR54boDEEvr7cyyj03zdsN7Yb8TOATwZCaQy4VHm6qro30jJMCQ53eND6xE914whAzCbO
TUFkc/vq41oC8gsNwrQTMOnyXmUeRulIIKp913fsKLnEjV/D1/SoPyUP0q5+LX42P8fnv14fhCJj
ixwLMsQ3z7s0DVlNrGE/zuBSVri2lfqqhD6wSIRQWdjKGWGNqfAoveP4OO0Zp8bqiqwd90PaY4jU
jraYS60c8/Tt/pJm/b96A7GPYAcGAyyosWfY37WNIVlhKmPSjXs1+RZW74kIe7F0DcDHBPglTCdI
FHjraaO0lmmpNe6LOl5J5C1RcszAS92kyA8WzTG9HV5+SdxJfWemtf771aFPb3ZAkeFBUH+9Ok3u
JlrE9rBHsK+imRyM9BmtROyVC2dlgvUKFTJQdqHtgrMx7aDEdYo+2X2DkfFmK5/qWD4WTY2+BKSu
7q9owZ5h7iHyYlANBSSWnF6o6pRPVRNiO82y99rerLy+ZLWXF2r2MyaxfECnPoqWWSP79yXfPOyY
t4SkOAILwOdsYISu9zKaSDyOmTHsS9o76Aac1bEyBdXGRSFgvIHVQvYF9/paiKxJhULVaNzLaeA0
leFCiKr+rYs5r8QGNBpPAhwIPiIdlVbW0i4e9x39k6atoyA4sZlrCTZswfQiKYaqG9gSYQz5TFKh
hnrdVfK4p+YvIq0MVMUo3emYkmT1IhjJrMjcNcbVmsMsTFIFjGTe1wtXwdCkNojbeNqjsLDOyvDc
T9lu1D4TWXVV1VXqV9B0CsKQpbMC7zbQQTDBcFg5hRgwt6LCp8AEo/010E+5RT3kSgQKv7SLMLeE
wBQituWvMJjyu6iIybjHyAwnlfyy0f7QEUzRJdkzzGe9r+QL5nAuK8qWYVnIBvNUMIWs13VaT9M+
j7v6j5VR0N4Dl2f9/UOCUTamPgMfwLr/xSB7cVzNQM0i0Y1xH0eN7pVgdjnVGAn/2Kew9oXSqgKW
4SWrAe5n8OXNzQAoEVyrh9bqzA7QObVX8mwjl3uMtP/V105N0lVTTavGEA2PWNBH+AJzVg7E01gl
Z6aapLNJqkfyfjJaP1IwSCUFhEp7M5t1pvoYOovqlMDhWrDCEDnPKrINMG3z5J1tlzRSlkBkVEWr
1s58zKzKqz9aJdjLBYUkYNM3UexBi7/Cd3mME0ESy+zkfdCAUDcYE/2jKEi0Ks3IWktUp4/yFFTr
+3q5cIBzGQSwZR2jHKGZ1wc4mkbc5EQFr+JwsppuFVCQYxuOHRgIGyMnyzf35S1t5qU8TmFKxOC6
kUNhDIzg8qfAb9eJ6Clb2shLGSq3ppFadYA5AZg4uiX0xFrm2xgrQTHniwq2b8FUAQUx13fmYSNI
jV2LysEJn6NfeNwDR7WWGqCKs96vWSBoKV3YNYRQsIYz7A3SuF1rhwrMQno57scBIxXioD4Nsp90
/b4tRbXNJVEYNiMj3wdjBVzQ9YqyNK3jPMvxhpUuOsxfJT2be4lUzzJCgVe/tHmXouZPuTBWBRlV
rVMgihrPCvrc8LIEk8AgLugC8HpfrPFfAEVOBno9ZblNhnFvYti2omMCc4cZUzFxSlG+cMHCw7Sj
YABDAYJVndO6DCuIjBSmNyg1DHzufXX6c//u3MKKEDLCOQObOx6tGf94vWFSG6nKoCtYTFieivgp
CDdWey7lLYiA/H5maCC7VD7fl7p0SmiKgu2D3sHgcq4udHLKskjFk2JIoyPF00bT0hhDHbq/f/Yx
TBZlCpwXhpHydynREi1kBKuDOoRB5SWYeW7YIhL15U00IGIOXuehp9ebaJmsHk0J51QWiTdKn2nw
g2HOc+5iXIL0MIpQMgsGFiUX+LfQjPlV5sS1IRJyRKLTHggHkGgDrJo5UkrWibqrx3EXaZJ//7wW
LjAEImqwMAcbQ4k4gYFcTBFtymmvDwbAuEXxGkcATATAWKzKSf11XxrPeDG7MpihDDysAkcUp8eJ
s9UwIt3QTPuq0tlOIwy9oagaugSjPDclWqacUU8qJ64ja5/GGMGsyXH+aBIQPjvxaLf7NJtywYu9
cBVReocTBNgzaHz5rixVmaRRbVs4W10kw0fFaMe+KkVETAsXYx5chxELCCtQOOZuI9LHOSabdNOe
7eTT+FvEF7ng6aALHklIgN+A5OKTdK1shbpcMLhWAcE0KfQVPVv0FyWYJRVQGX0emASsDSKavAV7
CVYGeCAEmTtQE3K3XepgSkwyYuvMwQma3OvH5yzHU9BMXjf9FCjP/G5x0cWlNL6MxeoOExnyHrq6
I+/V2xA7+crCtEFMAi22qkja4o4ip4N/YGRgSa9vfjBU0OEGO1qTdl+q8gYdhJsK0z7H7helj0bw
iq6mo9Z4ZPKqcl/JvsqSA6i/Wzt0M+M5kzHQJcZAm/u7sHRhkbokwFLi3bgZ4xJN5oSOWuiRpj3r
6jFhiaNPD0kmWv7tZqN7GA0XeJ9koGD5kZsYAa8BAAtLZLJX3X4hqNlX9FjUn4bSviWxjlHCj4G5
k4K/jyEhGOU6HeszkTScde7inQ8xlyolRoVTbn5Wdu+EcG+t3jWNP/VHZDhRIwKO3h40QBxwYPBK
Kipy3PPNvRA4ypgckVY1nEw5f4CNRAG2wwli5qOKdgu2TUqQGVJjFJidW4Mwi50RJLMjgKr0tVhm
TywnLUyhSb9J2rq1X6ZYYG5vX5MZngJbO09YQh6D28q6o+gviyAC42vGMfZGpjm6/WaPE+CXxSr4
a5wvgTw4HGhuRJJL5x3PjtBGMnSYA5mq6qbQUflFBBN9KGUsSNDclvO/RNm2hmQy6CdvwiyMMBvw
lEz78lde5etM6rxObw51OzhtFXmsR0gZ5miwivZD88Da6pRNB1OnbtGFPcr9zNWpaOLJkiJBYS3c
F4Dw8Nf1iabzQIcow1uqZN/Rc+KMqw41UXXThIcWica/9ocR1+KKAoU+w174lOkUVpaZmPK0D4oH
Jn2iQbETgQpvX8ZrEdyCUH6pg1RXsMnsWz/91P4+HkIzELpyUPtEpx8YYq43rM1MM6/mWBkI9BUG
kOHqRd2bROK/bTyCsgAaCaOJlCX4b1ROToeW7DSMEZMD3WyuO+BMtmX9AMoK83TfOt8+iNeStGtJ
oNiBLa0gSY1UJ1G6lW3HHnqP9mMYeYEtMCFL9/tyXfP5XVguHdlDZewhLZF2f0A6EWquMfqltL6/
qCVLBYAZupWR11BRArwWU49GZrTWrAZgmwlo6ZUo/w2jaPDtLXBkPiY0yCBvMldUdM4iDqVRw4dB
dkGCyTBjh2mdk0Rj7gxR5bHod27XL8pQPrJ54rrkNLEteFsX3NPrL+AUHnc3D+DO4Clok5UUNYfZ
atqhvRvTFaIYKrdvNC5XceCp1E8xc1sWQU4X9xqzmrDPgF4pfGEy6Bqd9S32QC4fLGANCuMgtX/b
UT/vsw6g55yrxRvLeW2G1NOy7ZHxMNmPfHpGz5Mwgb5kOXCOQDNAX1B14e4Bk/O2xTsBL8XrN/Xr
fX28dYHw/Rc/zql9pqtNOFn48VbapcVzGR0nE/2a/n0pi1cZkLR5iDAybHw5RQ1RrsRABvi29SYo
XEPas8JJardjq/uClp4NxK/zkGT06wKSe3295JEESltCEOo6RymaHmmQ/kFv/5umboKgP6uI7h1S
CPKHS4qG4Xi41rAgc73oWmoC4sGUyam8L9PGTeqjpD7mwMf/h6VdCPk/pH3Zbtw60+0TCdAs6lZS
z55kx4mTG8FJHGqmRmp4+rPo/X9JNy20kJyNIDfB7hLJYrHGtaSTstQUfTRWqp5G7n6uaL9hI98C
msCvCJjzMn3TOM4W8HUrBmvJLiKOE5VL9JxidZdrS6YWyfqhhr1vPtnOg133nmHeY2fTFPFC8+X6
Ipd2EmNbKK+gtIeys2Q09LyaoKyQ5nbjS6vQkzK2N4WSHq6LWdL6czHSoko37uo6rtRTUm4s7hfp
KS2Rz/58XcqSMqJR4H2KAm+lbIOpmxmoODfqie5z7U6vPXva8k2kAMyTrlEQLG6cCFdRGUXfu1yT
nWrTrgcdz5cFbtEiphst/eLiebm+osV9Q184CswCiEjuLAGfcN1iNEI9kWQ/YUqLG/cOKm2gMrwu
Z2k1gKsBCA/SRR/h+wG2S9Om5XBmYCRMEINp2DAt/X5dytJqzqVIytaURlH38aCehrBv3zTnRZl2
+l/P7eCBgGeNuF4wMiLMlO4P2jd5zlT1NOnHadp1qh/1ANBa2bAlAwsFQ10GM3sogooNPfNeFJx+
NU2GisnRuxJrMPvWH6nv8mmzXpkUn3yZO9CAuIP2IvwNBjG52FqOOhJco8JP8wyXuRuzFORhzfh0
/XQ+YmygJgP6KfFsQBM+MKXh29UmnSJ+qotT7bwMJZD5TmV1Q/Sviva5qYMI6Nhv5sOQ7orylADq
I59uyFOiHGOA1wVm5kW++d3ogzbfXv+0hUzm5adJ261ObeuOmCI9sVd+yIPHeTdtv6o31tcVOeLh
+LjTf7ZAaPDZsaaZW0YkhpwOSAXz7UCBM88Cx92UxiFuPffrkIWmsY+fV+3Ju+NyTbT0kmY4emPg
EN2wQ6IejGhnlUg9e7p2tNp9kX4xE197UWLHm6JtVPjJJ6Y8VFtA1TRK7rmPs41sK73J9rO50d23
Tt819k0z31L8z+Cs2cbP6WNFvbIDuaRyLAmGt2cvWuMHfU84XFuGFBYRZ+CNwV1+ajH3nhyb9BnM
GmCVfu40Gwzole84Xop8Ux9v58GPpzd22xZsS5XHJN1l6CBP2YGML1YVH8yTRV+0+qEsA8sEV2Fl
YiIuyOfMt3qvJM+p8qsdqJcAVSJdefvfK5DXliGemjNFsOPRceuRDiezfEBxcKyC2QBDHN0L8JnZ
4z57jn8UXnNwomCGvexLL7u3mG/jFEAtjx6ZeJ84d4qf0S8TCbh76HgcZOlnEBfX9qm7T8LxQI/6
xgTCm9tvsGkejqU5asUT27IHZfT16d4MiRsW6XOm3I3qrvKGp/FzrXlJds/vbFARgdodY3/6jRrd
u0UAtBt3FeZZ2OQPG4HOJkPATIlp68uNqCaitCNSDicgZqHlbypANNzU86GoGfXJWOqnlOVg+DXs
+3wqBlD+9MBvG6e1QfN32JfLD9E1xJ/IQYM/EIkT6X5oOa97AEYOpxnqgh5MX7P4J458NzKr/tx0
J/JWO6bXoJEC+I6b3LU3hnpwp2+Z5XrpYGxGy5uQYwEUNEBj8yHbAGNsL5K9eZx5terVveJ3u95u
9kRk9jEnS4pT19p71V5xX1fXIm2q3jO9rtwYfY3KcYp958XaK7gW7N440WwzUoIe3M047t0+SApA
bcXIFqM0yQ6Zdp/eG45nKvtkk/AdA3K5HnD2k23jIxKMDsgFeg/PhbeG1Pzx7cb2C+RUpFQJelWk
7Y8rxgegDA+nb+bhwXj4a7t7+evShiRGjKAyx69H3YyzaLaFvusI+taZL6oZinbn8nnTTcXX3rhp
K4qgKV7L3b4Pvn/QMEzXgDUeAQ3870tVJ2mTqkWfDugome4VVXkAHpjHhviBZdaxTGav0hs0L8OM
MRQMJj1Qaz+K8h3T3ceezE8xn34gf3cbN6T0ct7e8jrao2rzGNECh+onmhFQzC4qW3fU9uU8bAB+
a5CT0z8OJdqhHdunypoh+3B9sbHoBAP9py7omqUHrVINXuSkHE5NCs7ZOg1YwVHs2ESoeVw/QxnT
H+WxS1GShlSNZtYNbQb4DvZjQ0sM7aJnhdkhUEGeDSsJ8lJB37cTqMZ0y4f8hWdVUD528VvedqCR
z/ecqF5vvA7N0ShMX7fGnV7sV77yoy+FrxQdBnByUBi1pEOOKCesjefhRPPE2U4K34Liqw0KattB
qXTpDVNAtkYd2PzM3PSKVQedydNAaSfXq/NS8+dWMXHx+n5bo6FkawKG4iamJcAnxrLcJDXxYCUL
5FlmGyFjZ29b3ewery9DxvL9b7PhS6ObHtAUwIy41FUMPggm0XY4MYA+OjpAH3vghCrMOpgz37XW
gZDdOL2aiu/Gt7WbCkLGUhu2RJsOFTyZIXvV6zm4/lUf4y8d3TUo4qEIgplCR9IA9O9pYmuH00Ci
xxJ8yizUqLnt22KPttSan+K5W/EMF44TIjEHKkqTcFmlwHIEOWfsZipEZo0/p0fAR/7LosDc64IT
myC2EC7jmSdQdc6gdDm630s4AHG86/Q7RwcpB9/lqDn3Rzat9GWLXZLMEHoq/wiUNBQjkqXFGAQO
48ZIPLCnjtZusjZ87cYu9BXjvJBTFjANqMrJvdiNq4xDPmLzNGefsnQPH+vWuqPqXfuj+czzaEu1
FSMh7PjHtf2RKEWAUU6iYqaQmKT71mc/0G9+6NfaHReFwGVBg62o2BNJJ3rgBRObacOJVJFXTN/c
SNkmxaMR80NffONrhYBFrT8TJylIaRZzxWKsKT8Mt6rtk/v2oKReeWxXFGPhCQY05Z91SYox6eZU
ZxME8fRZZ4Km+Kej3ACka+VOLURb0IszQVK01bc56AQIbKTxUuz6t+hr4Ru/TMx3eu1KcWNZBc9E
Se9Trs8dZsghKn1oHgzVUzb9tgjsbXPEA+KsXOW1DZTs04y8a+WMEDb5xSPG+Id7oEhcN4ELWfjL
vZM8mdRAbcFpxN7dxw+887rvHLTu8VHd9gc0tK3xE69uoPQQZLHVtAy+xKnbYjigfi52xk4F4aZy
sNBRvAb18DFPdLE6uW5X1qPLTGcaUGPY8/6uHaGLa00CS2/bufrJzQsJ7zs3UXF/+9yrE7/Yl7FX
zsF80ksfehF7AEPfka3qBQ7fxN9WbtniEqFzqOWgERxDwJf2XhmTslQimF9MIxzzFpZ+1LxybZBw
WU/OxEi66KZFkSgKLjM9zUbA3joWjMg0cDCib92Y+lMNyx9vgG/lr7hAawuUNNRRdC1NxZNpZhuS
7mJrR8CnuXINFq8aMsqohgFoCkPQl7tYFT1NO64jXCgP5i69MU4s92w/vW86z+49dsg3KveU0GxW
HN7lCyFmxsBDCudanhnrgK6SAT8EKopsCNfnff/iWmzjlCeSgU1KxdRR9RWYaf5gRiv25b3nXH7e
BIANJhzFdIkco+Zz11ZdZOF5q+PQzHet/cXJ+c4sb2b13jIAOku/N6ZnpkDD0m+1JAlMeurb3dB8
msTHuV9Vd0vN/d+DxDqi3wZdjeg5FOCVkpWIEsYBEZtj8CR5rIZfyvxtGj6vHPmSXv2R8aFJLNWT
uEPfzXhKbyx7D2y9bX6K72xQHwFuKrSfvAFkxtdlLooUzibQv9AmIuMGqUrp0ErDsqbxtdXvRrYz
nfC6iCVnAk34v0WITzhz/xwDDBU9JrBO0bPpz/vOc+/GY7zmii35EOdSJKNjAVQKwUc2wuQ9OW7m
2amym3M0vNi7Rj203X4VDExbFinYqpDzt4E+crkwvRqKEqgS4wlgGRu2pxuUF5y7GjSrrt/s+XE8
Og/J93lrg3XROFzf1CXrgJrJb9mSdXCKkljzXGKmbMdRPcF03tF+vi7i4+C9UHlU/UUHkQ5gHUlG
gQSQZraQ0QTot96TQ7Lr9tnO8aud+ahsi+0aC7lwv+TLfy5Q8gMLNTPHroLAwR+9NeSjxR07W43k
+7VGMThpV2DHigEj7vW9Nn6PFX6HE1y5UzInoAgtLzZO0vixiaZo5FiH8rStHyvQg9FXYCwduEcO
8z451kF2tA/1Ydzle/0lvXO+RnfTqX1YcQ0X7zbaagCrAnhTTOtJ+gki207PsGIL6N53uWJ5WlWu
PVPiTD6cmQGODXAOoPtJLl8T9CNWhjgzd5s8d0/mkWwAOL1Pbpq79tDz7YpOikf9mjjp6TVSO2Os
rDDl+Kvdu08dbp6xTTbaqdoPD8NLfJe/PiH/u/LgL+rO2SIl45+Vc57YrlBMwPUPG7RLgsTmU9av
JPFWxLxHFWeWslDHsmc2xHCyV0AiNd/P5t20lplfSjOhLeP3kb2//2diAPSO+R6HQUy9L4qA7KqD
XXteGYBtI9CO7ZPpgdgqe7A2tW+E/Kgdyf/ffsq+zUQZoNX6Gvtpv6jjLo41L2tGwNiuuBOLN+Ad
whUDEGg4ERt+tlJMi6oua7vxVM87NJGijj2tDaQu2qwzEZIXWjgA4I2Q4D+Nboru1DsNW7mi88LO
ftR5AUT73yoknWdJxdOJYBVFONRe+dXSvby8LfkjuubebBVTo+iYXxEqExv9Z8PO1iWpvO1QW8s7
rAvZc+oZ3+eb6ZXsmj1Q8LbOrfoDDq/9I90fja8IJ5TKW4NoWGgHgxH9/QHoMr88O7Prx8xtG3zA
dN969rH17Z9m5bUDkjkeJt9f+zWA8uvagozYpcSpbbiaVNhnQEIQZZckm7b766K3WBRUUXMcXDJX
OsqCKrbZWDBfBBMd9ueCPtUPwBr2Vmv4i078uSTp/NSoHtqoxRXLPg9HoOFu9UO1j/aVD5ySfzLK
cL4czMcKEGPpoYnaOVZtkGCduB7cGxy8cJ7xMtzNX1zq2TfOcfhp9370gwWIdEu6Fq4svkBn0qVL
TqO4NMFGB6+58EHiwn65SPkd6Fume8gykqf6Z1uuFnMWAxWA9fxes3Tvk6bSa46WH/Spo7Lp0hvV
CIz2kN6PhuqTvPHIFJbugeZfYvu7G8eem22j4ZB0PzJafqHlczryu24y9tPaEJE42Q/m4uzLJB2r
Ab7FzEqcRvPF1BXgJG1mx9N/lElIc3Dj/VOker4VkqqxBJjcs8ahatHGAOsoXuXaP6AMj+cSlR6v
3N9URZB8cg//Yhj/rFTOpWiRmc5zhJWm9SF/aCaKUbovdrOl/FOj/azzb1yDy0XCbrXXYNk3PhMt
2YpecTEoleL41TC6tUPwTG5cv9oMAfHqYDw2nr5iORbfmTOB4pE4e8o611KTaAC5IiVMC2plxFRi
pBgrqZtFD+RMiuSBJ7qWT3o6YFnpvtE9DbGFmx3N1UhXbM8VHZULhdbEsoz2wtQCOeKg86+Fet9r
ppdGnlHZoizPlHtj4iuvmlD9a2IlQwWfx1SnHMsDblLmu3fRluynzqu/XFfMpYcEM9mgR0FRxcZg
yeVZFVETp3k3jyc2Jb497ngFr3ENBmZRCMZVMLwHhCtIuhQyKhor09ZA5K4f3Urz6y7UrbXhmDUh
kpWLGeBUrEhHiGt8pj3xVPvQlY/Xd2tJs62zhUj2Kq1MTlsdMkj0FKXfFRC9XRewZBDPBUjHMTQD
5iQ0CEB/FZn8Htw71cauDxgUGRmG1VYepMX1IHeFAUcUwTG0eHkwadVqvcYgrjoo/ho0xOKBnP24
dCBjbKUZ6/Hj2R4lwRdlJQJ5n9iWb4gYFvrfx0uHIbKR41jj93XQhIfj/Qh6Iq8O01ctpJ86MGl7
9fb66Sya0nOR8vEQQobO0RBBJs/AAUJjXnTsnNrvCysgLRCi2jfAnZXTU1U3aBFUga4K2tWJfl35
DrF10tIxhiIWjiSfi1nvy3NrImp2qWPiQuVJ4fjcMqpXQpL4mOpTTjdmbtmTlwwqmsq0XC2eorgy
gV6Ratp4yBrH3XPMKeeBYtZqBli2ghwtqxxvOsvtKdrEqrU+/qXvFTOlOC3Ymg8zUCQludINQq1b
jAmXfaH8YHWd73TqTn4ZWfHJmY21YZBFocLagFUKQ05ywXPURzUB4jsiKv6sD69ue6grE3HPz8p8
un4eC5ou5sgRAQAyDW0X4t/PHjwObpZ8yCEpGw0zMOvY3qd6w3wEBu6K1i8sCthdQE0H4C1iX/nk
qVEpvamiqxbcL2qdYZ5zvgEpV6TcTnbx6fqyFp4gNLuimQSpEjHGIGn75DZm1JoRGu+5+gWZV7Ra
uXdiJM9gd2o6BwDSCK9LXHjTMWIFKkCBOmG4MjA2R6UI4+2aikkGl26LOXMDAnK7Qw8IuBb8Jrt/
ECc2EglljM3KsX1ckpINJbqHXUBmGiiSKJ25y1TyRp1m7XlaODjMJYlZFgMj7B9QVxNSgFNtyLWT
ySKABzd+PM5+hkl225w/Nd1ayWnp7DQA6aFhRMXkotwKVFexY3doaAeW0rxNpn3XNm6QpMqGUOfY
OuVLbWtvf7+bAuAFO4m+cgCESrfAoaoaFUQ9Zb+MwvhVdDXoJn5ouvXrH+TgyNB0omEWXs71dknj
gNG2104F6Amy6RWD6p3mte1fMjOLtAJMByJfAANrohvycj2aXltl1nEALbL4xXGr7TBbAeBPV5Rw
qQCP6WGM1wKzwUBUKj3CrM1aGw1J2klXqjm0rKILCkRhW23Uxg1xubOZxq59I26qACaX0wO3yBrq
44J2CopgAYYFfqkP4Aq9no00Qa3wRNCe2mV8m5NqSyi97Vx9E2c/r5/gUsR/IU6yLJoZMxP0FdrJ
SVW/QlGycurAHL/DhLp5trPxANkm9cfS3sYgIv17JwvSgfOPFkf0NppSQDROWlSXwGM9MY15ToQn
b452g0vQLn1bVbtcNX/mSrUyBLtwIfFeA+tGzN2AkEcSSoDT22L3obVl/AmMuuWXkhsHRf3ErHxr
2NVK1+nSgVroawSABQRa8v0nWhlHLkfDLoCdgjJFc3lU3SR1ti1aCkJVK1pJ4C8tD44rpnwFyZAq
o9jq2ayrzC70E439WUUlFO2AtL7lFMjRzU2KBpbrKrS4PtCoYCwMQOyowl5ezm6aepuh5nxic+8J
4GP3xsqTfYGu7EJfA+daeJYwkfNbmJzstudhJLXT6qeeY/aHazUGmhDUFkkSP3R8jU9R8iYIYJcw
f43cG6ZLxdS4pCmz0eWAXi2NsDE7P07vHWSHhvHz9f2TzutdCFBN8BJhXlAc2OX+oXJrOJHZGCEZ
Xh03nIfWo8lNFh0AKsWZGlyXJp3W/0mDEwEDA2Ci9xn5MwdJbZuaO/pohNmcKN6QJhu9z9uNmThB
hQL63PGVFIR0Yv8JxPw0/oBKEe3sl8tzx7EBVbJmhGirS/uwQaN+mR8poASvL0wKoP5PDiwn0qQi
fBbbfLYwAwx3OYNZD5vU6H1R2vJAaN/vrktZXs0fKZKyV8lgpQnXjTBG9dRqdwJMcqS1B+7n64KW
VA8zmogtwE9kfdi2vC3qNHUNIzQV1S/QXJ4wywN2xnUpy8v5I0W/3DSKPk48cliOaVnbIbvDCIln
a423Otu7thxJyZUYQ5fMhCBoH4Y2HuP6M3FWDO2SBgDhU9xU4BtgUZeLmac5sToDF6lFCzHyugm/
z8x8Datv6briaUbCGgU7zDxK+szcfhDdc2bYu0+E3lsq448uwPkrnT9RxQAOkT6Oh+vHtHRpMUUP
Pwvpf7wg0sqMuupTjum7sGyaDWneIuVxRjEDk2MBKIi214Ut6cS5MPExZxeJRGObp5UCndBvq+Sr
WR3ixo+sFTCOpSURUPs5aAeHcZVBkBUO8CSbJWYIAJzP1riZMVGi3wD4Y9/pa3hVS7LEbB1CdMeC
FykdmZHXCUiuBjOMPyX8m40XkBo/i45v0mpl7xZUEKonALtR1EawK67B2d7pJp1MMqZ2SKO5OaDJ
F9MlOZjAr5/QwnqElUP0hdYimDrp1jYN0ZoeYNUhLXsdODdWyLXGRw0Y4GnIhVkJfbkucEElMBIN
MlwAVGIaSR5GsmYzs7O0cMIKty9QQP/nO7V1wsw5ZsKmNTiDRWmoNKMqBBQ6XX6iumxoGWshbeqs
uPCR5wPt02jlY++P+ky+A8AyNlZej4VbjTlPQFXgURQtiJJd7/vEmMwZr5RS3xqAxJgx1Fce0pLc
sQjNc7RZUZQFewh+JsC1IxLFtKw8YFwXmI4qWssII+AE2ey1iEd/HteSios7eSZFehNLo5vrmsFu
oB3P4GinhIM9MJTa/uG1uliOtH2pOmZWCuiIUDNnNBJr7NUekAJ0onp1MG5J+R0cFbJIsPEopV1e
sdoYYtanFJi93bgz51CZkoeacowJ5GAYuHMNDPAxrwYvTkP4abLujSFQqB/H+7kA2l9dGyv+r1jb
WQZQOB66A9II4DKhxQ/Yz5cfVOpFo0ZVZISzixgt+jXlup/cATJmjsKqLcDrMtD9399HBBSIKpDC
wxSKdK5jzfTMLiorzAF/44BIkmdPxfQWo2R5XdCCmmJ0X0CQw9VAP5e0tracHLUDX0U4KXcEXaPA
gLRXorEFHb0QIZnMdJ4qFCQ6O4znOdmR0j5kasYx85xbHqwNW1nRgoUG2w4BRJtjIUMoYzNSPsSp
TgD5rLOEntypKjyjjNiKhV7at3dkadHhJAgjLnWCTOD16nhmhbRL4c0DOaBJgCG8Fj4v3AUDNRAo
He4DzKUkprXhxE9ggghjc5M6GL5Ex/YMWp3efFZBC31dFxb0HMLgXyNqhucjKx1A9HogBDdWiGh2
x2jnDwBxb76X03Obx1sV1DrZ53+QCGgENAgAnBC9D5e7COZ3yk0GiRPVn404zo59YTy3TeegORwM
0k6exAc+KUowA+k1uC584UUwQK4MOAO8s7apSnpZThmNkpRZoW1urejVCBRf7fdDf0zXZqmWbgCG
xpCTx1GC8l1aZg03KVKVDrdZMbxC/zb2sZdHrZ+54fUlLaoLWpowJ4YAEICPl/tpu8OIFGdkhRis
2nTqW2e8Os1jB3CaYa1WuyQKNgNVGMNwQGAgGQ63BbAWTJQdokfrdqbe6NvuygHJ2TpheAV5628Z
0gl1xElzLSvtkPBpmw71M7UBFdC8sbLwqy4Gwfi4a2n0kCZrJn/pxFBBRQpcpHQRRl9uZF+OA2Xu
bIeFDU6S2XACfYh8q3PviZb8un5ocqXrfZnnwiT16GjSzGU62aGtRyzZoZKiqhsQMFc3DtfcH9o8
2ICMTOwHN+NHjqGoW6Xts28TV8g21giSMhF0nPptprtfrn/b4j6YFnA8XfwN9/pyH9J40JCPye0w
qtmPqfumUwAE0OJbEa1y9Yqfkl5ZJGAAcwuUPAGGLeluGtX1f88ECOI8oGcqWhCVzr7rFH/WvLis
vZ61b91YbHXt9foql54M0Jgiw42qEqAKpVWaSTnZAHWyQ8yu7/Jh5alY2sPzX5eceSuyFM3O8evA
nABuSubn8y5/vr4CcRPkzUO+U9VwEwEja0vRd0fmdiJA0Q0Ju6MY4B71479E39gaXHaEp7CWH2Yw
rLzLS5U5YVScGNYCvvbri1jaKKAlAXxMIJniUb1UtmQaqaPVtRM2scAymugeBBurADNLW4WXhkCf
LYz8OeLfzyK4yY5Y1k6jjUTVLsZg19M667KwDvJpnIuQVHkCkQEZOUSoCt05BF1IbrKJCDAr0o1e
U78Z1UPSDD4wRP8+3QOYJhEGg3gMl0jyF4Y8QuJC2C0WbZrUDbTW8UDmq/d8xTYvPZ5nguQ0rZtz
JeO9DpuFmeeSAzPiRtGQkFMaTy00zzVWkoyLpwb8a6SGYR7AWHJ5ar3RTESrXDusKstD9+6WkgjN
wWuozyti5Dq21s3GkM4QEzcOuS9abdiDoOsHeLpXfK0lkwPURzThI6wCpJZkchRwF9ZIPjth51Cv
6FJ/aNawfZauE8aP0R+MDAyoZCS7M82YmGxmCpugVL4+tGAxCgs99bpV3p8FSVA3XFmAu+Nw5PbV
qRpj1OoUO3TUzwP87bk5AZoG/Jorrv2Cz3EhR1KCqBvnvkixohzwMOQRY3xe7xSBo4eT06/kCxY0
4Y8stBlLHoA79NFQCoVTO8PTMWpFUp+Y+7+2eAL0A9EK8gSoBEoLmqeYu2qKpwGGwgyYUVaAtpwb
X2um1mt0Z61nfEHrgKsGWFgg8sK1kVPobqeRiOhIvNTdD/Rw+aX2dH1Bi7t2JkBaUEoBpBWZEJBo
X7P8rjUwYEoP12UsahtA/oEtjvQY6nyXpiArOtpWU+mEVnfQrF9oykiqsEX7wnUx4lMlI469+iNG
MuImNzSl6bGU3E6ijdUAjxB4G9wrmZb4bTu99qy3DrXN3Kc4r1bMnVy1FT6hiagZDC7oCMGslaR+
4D+OI8xxkdBCu4TOp33Jgej9jIjTAxDfPo6f9OK1tx652a9cMrnD/oNoyTTptVLPiQPRBmRqRnds
mnmnxVngwEr9KIGWTKNxQw1zX7r5fRvlK27A8tp1NFJoOgBj0C15ecBDBmKommdo0AUgUT/SI3ij
jkiCAKbmBrOlJ92OT2lVAauNsEeWvVw/96U7gkdGYDVjGgZgmJfS69zMOMNrE+q8Bbhrrmd+oqpr
7u7C+4lSoItWGKgwMhXC1J15IfPMclbUDQnhGXpj8xVYT9vBfEyByzMk26H/dX1RSzEGCgvAoIOP
KGYNpItpYUBKGSOVADckGMenjASMAcBxX6nRHkSzQWc3wUw+KXx8rmqvcWMga60VVpbMN8I5MF6C
7kbs7eWaq7aHtnaFG97Sbhupe974RAnytXacJTGAs0JBHikF9MdIvnCG5jGHTkjRK4O9GVy+R6/M
pqebyrYPVF+xEkvGCPM3COoh0UZf7+WanL4G1etg2mE+VgCBKVGPzFvDOhR6ZW91cHSt3M4lA4sc
goPSFDr8UDa8lDdNClWyxEBg6mK4R7Uqw0NOH6hp6Rot1+LKBHop8tdoS5N5FQiwHi2XY2UT79DS
5AAiYGCaV9ObOLFX3kF5rOjd5lhnwqQrb3Ug7W3h0YagKwS8wjDl9r6yGFDrFNAwBUBn5B6vzTYw
aMI22lhsLD3FOEmnf2IRU4FiwKbtYMS6P0SO9oD+0Hoz5rVxRFRU7pUpxaB8soaxsWQpxNagsglQ
D1umCIlRsFUboJWHNZueATxzwG6tvAPLIuBYgdETjoJcCMriupwIYuUwye23Squ/Teq0NtO1dF9E
F4RA/BW0OdJ90WnWjl1nYe+twc8jbUf6/jSSyKdaA1Ce+O9mCd6PGjltEaSggIZwT9LgPCsSAHvZ
4VwM2q1lCIy7yR12JpgVv+fjyMPrpm9JjxG2ovsUOozmFWl5bj+1NnfhnMaAGbImdOi1zGsBjuiW
2+uSlg4L9wVA/1gYXDpJiQsFjasDE24wd5Lt5OJa2na9hhSyuB449QZQZRE6yC9H1WJKwq6Ei1UO
u0xnwD8ETF+FKCxfm6RZXNCZKPGInT1SxEoSbbRRhkRDMQ8SkDh6pLDXpi+WTBqcUQCCW7qNkofk
6uii3YKCTit0o0r3FLtrvdiZOYC1orWQaE2UdELDkHNUVYVTz+zdUNjE6xNMpeXjvOIHL6UuwRWG
Nn/UsNCILXNeRpgXzGwzRfBVPqT8l+J0gZ3v8nGbOBnwBrONmzzQNZiMRdVA/h71dvithhy9Thpw
6NwUQq2KHYvefGgIezBjwH3a7eM/6Dq8CTHRLjqFJdWI62iYeI5cjWrmd0aMkqD6l9PV74YC0bEA
GhDErnLFtsup3bjF6IS87g6D22zTiH6uYvUG1BHfr69myQSeiZK97XwgWT0TiMrM9mjZb4nxRe/r
rei/XuXQWTokQQaCPwL2TMbShp/AkaQhTjiwDQXMcQFs402+1pC/JkXS9FlTMZMOxzPUdK+aH6sx
QP66Ytvr+7YkBY2dYJBFrIwcp/j3MwOBNWqVVsDi6X1xkyRHnRreNNa+gt6sv5aEohQsHoJkEfVJ
kiiZiaKJeKgCG4OPoOsF9DEb0hWFR9x6Lfhf0Ad4kMgPIosHDZSzTZFLjcloYjcc22RXzi48EJym
PynMH7P+rTCifMUDWjC1FgbRoe0GUuAgG7zcyRLdfHU/Mje07PytTgqgM43KGjPIQkiL9lT4g1gR
UP2IpBRt0VjFMHRu2PS+ngNjF5oByMq59qpvrNpcP7EFW2vhP4FaCJQi+C6XKyo0eBUk6d1QS+fK
U1Odeq2dfKpMa3dd0NJhIZFmIq4Q5XL5/YjcuJ5jo3HDVHtry6PbKFsbwnKm+47x5bqsxUUB7lMI
A8aUTJsMl7zCqMbkhrR/RJNbqd1mawDoC3dKxGm/RYjlnt2pLI0TcEJw7Jtr+iiUbClQkFVaBskQ
r1yqpZ1DMCTiF+RV4WJfitLHpKiHGqvhzneeGkf23GBCeRbzTWsFtSXVQ58K6ssaykgfJtzzhtku
RzUr5AkYJv243tylR9IBeBkVpetntJQ/AKr/H1lSTDZlpKFTo2IHc784zt/Rwek+JoeEexsFyFxr
EENLB/ZHHPDxL3dxoBNjCqDzQwfoJu1Jr2/GL7b68/qilvdPoOeiCQX1av1SCMYZlJZMphsOw7c2
+ayZz4UbDG3vufReN7NgXCMuWNQN4Iv9T6BkkLg1WITqs4uOMOoRG6hi2ks2PzD1htftivFbulU2
GLuE+cND8g7pdqbyjKvahDKZi0p82A6fOHsY6s6/voFLpwTXXFxaIHOignC5gbM9Tm0B6M0Q2Gm+
VoYWG4PI/LXK3760FgejLPBmgZP5obxUYnKq01ooehR3WYBm0urRbdTittTL3T+sCEMHCDVQLkO9
7HJF4G5sytmMoHfGZwxyeSx5RG4l/ofKizAQqCEg/kaBUXo0KrNjg6s2UdhEQWb5vesVzqfrK5Eh
s4SrBxkgpBM9lWLU6HIpRdGZmJ1UI4wqW+kWu9seiNa1fmOWqQ/k5/JGy9Mvuk6aDXJpsz8AOvZY
Mqfc9YWm3KeTxgNzjuddERvqxuAZerMMdbrVY8DHdJjJ3lz/YOHdSrnh90YOJLPAWo4uxsvvrYHU
OHaOG4XdrN5GDX0olZsyeso531koTU3u1+vyli6jaBz5nzzJokVpTBkHfnKIFnsXGNMoU7f0la6R
oixFLefrkn1TVcF+aVYUhbGl/3QjDQxDaRE0yJygtQXo+BpCl2ibtpnXmGt5gaWLgwY0UdxD9vXD
xSFznk0ZZrfCZHgF/KCndN9JtZbrWLICAHeGGMQUyKpIiuYA3dlIujQKi8kBLLYyZDstM752tQlA
UcVeAxdbODeMPYlpFhCagP5DfM6ZYdMG3Y26GEbHsh715Ffdc3FLbRCXlWucxAsPBKKx/0fal/ZK
iivb/iIk5uErkCN7Sqpq1+76gmoEYwZjBgO//i72uVe908lLVOepdbqP1K2KtAmHwxEr1lowGnBH
zJdLt5DHZqCCWaFcKEQPzRr0k+UUaMPDNCzDyIFJk2Cut271lW+GmifYD73lHYir/Xp9SeUWU8Gc
5RxMQIf5mZL6W065ZgPT8os2GcrWWN61jYYrY65MpnLJhX4YMFySVPreo7v7J+zWygIVRNF4US2H
PJS0fanWYMCdwTF0nK80M30DIqO6+dcDDNdWbmJponlA8iQXuxJBYtZhtqVPduvgiwW0fS2MqkNs
RvK4RF1giaJKLgWoDY23RGSh0j2Ww8t/s13/mlkc/4Nj90ItE4PUOEeVwiPimfNZS6pjXXlb1MK3
R+h6QVKoJWNrkh4CfBcHbD1tmIXWwTuMfzmTiQsInSa0YVGvMRyAtaVtK0mLBGTQvWVEq0zcQFX3
DhBVOagbqbGR7azkp8u8NWxpC9QJxaHrzePG2JUaY/CCbl/2z+o0BJb5MIkyUIq9TV8K/XMqlH3h
1RvokJV7drFsLwzy1oLwlD4bXi6sZRY2s25/aPkXbviVA/WFcs/sg27Ec7ZvGyDsiPucvFR8ryo7
qGd447Oa0TczcT/zcmta7TZs4RdhM1QD+EgM4kkRBIpAlkFQ48dQ17cKROzEDob6jMtn/KL3WZCG
9/12+eOuL24AY1BAwPQY5kVw0q+3HsVF3iHDTkB5hKDIByUL85qZG7nmSjBZ0vRFzQOPeUhXXlsR
ipqCrL/FNk8IV3SHlNBvtqYKV3YOYyi4W5DbWcjLpJ2rHUKFoiDgz82499qgGF4xyLwkgmwKp+ln
6fy6v3cr2QHUHVDfBlgXbP2A7V4vCypKZld1XLk4dTvyXaNo4ClQMCoD/pS5G3/YA891H/Me5WcF
jak+aADf7TAt3nl/D2RYHNhzcIVD3hwI7OufYrVDo7iVpVy00kJzvmm+j+awNXAoU0kvUQEMJLgQ
8DRG3/TmZTcNozfVBhbsFr6ulyfTgWISMiFjcgOv2xcVqOAeXYM+Y2Rh3yuY1/p78CB+woLkBawL
rPvy08iqHDtFY1e5CP2c869QXHPbAPod9z/tmsN+tCJtJ+MTtRLPUS4Ke2vdFwPqqmzesHGbM2Ml
SyUICQo6VvKh6JWOazylaYzSCSkOB0d8yetw+lT//cgjijMLZctC/oAivOSmM+gKxKyVaZynB4CH
Q8oevTkPevrP32/aRzvSneG0dt92dpHGWQ7g29Scm2V2j23cFiv339VqpJBN5qZNLRvbluczmiPn
ejgmlu1XGahotj7RqsM7uofDbQL0bKuSHzRjw3rNbdN4rv8pjB2IN3PNPRqK9mKZp4wVYc5frKLx
x0urN6d+bLbwd+/0VFKAxqDNv79A+ng2BB9Z2nZp/EpsH0gEw7dFWF76iDh+RgNGUDoKeBI8BGWz
cTuu7TRu5aU+AGL1G9aARi8WgbohjRe9vWmXt/8rcThOGydh7bSB/x5PHZRF8fSVHu4zuB9AyGCk
ccGfGdu5/SETG765kgaCtPtfE9I9JxRLr5PZTOOliKgY3LeNJ6fIDptjv2u3EBhkgDp2FriSnMt4
IJx2MsKzuHuZyLklv0cedawJSPq958+JSrbAQUsiLjvIB4PyO6eaIQfN1S6LK9v2h/l3o+TQEMQC
k4UM4aHWMl8HFXuRt/79474Wv5b5XBuleBTQ37O6Dynv0neFsjwMU8721LWQJn0VaCNPJnp6j26/
RU+29gk/2pO8pO5K3JtOm8VeD8aV6TLTxF+YarcGOd6nLeUdRUqEKhJudfwf6VHSgGpibCuRxTo9
WtNX1kaZ/VO4tc+dB0DOkArX6aMOUcoq1uZvY/WpVfZNORxI81+ci48/RFqxQzIVAyx6FvMhKtJv
rf6ajRvus3b0Fql3G7UmXKiyumjh5eOc6UYWM/hJl+iBCiLKbtjqVq35CnpiLugyMD+CceHr9GTs
dSP37JRAgyvU6m8ja1618pjHndN9p+7n+4655igfjUln3c1MTkXnZkjfwTI5mhHVXjLu6223+/8z
JN8OpQbkUetkMSE0ZNNvragCs9VQONE3LMn7hwk03N/LlAEKPtCekq/WDqfZSHJxaaqdl6v7VgtZ
A/YmI8zmnZdsXLE3DzLZnHTH9hoIQ8lEBZQlTOR3gV6FWvZjdn6mdqzbWuhOvyayt8gGEka+cIAZ
MlRwxmA4B1VLiAVce4nOLGJZiaFeZt7sCwWClaYrYj4qZQCiolNH1D/3P+CaQby2UCNaurUYrbo2
WGqcDzYtNSBnIblW2cdCfXU63HYWCQayJfu3Zg2PLRTZ0K/CSIf0EXVRO40wmHYZKakCq3V+JJW6
T7j71g/ThaTm1qNAvovAIYXXAAYY8R4A1EYGDLglq1uGEYjLrNLAGayHyphfVaU+o64dpEX/YjTJ
rmvcjVrI8pk+xk/JrAwemAg4sScKs0gs/nhIUjy1fb3/4bZMSCE6B+cFnpkZ6r9UP5dFt0fDc+PI
yZFxgT8AiI4CO44RuACkr8VZmrHeIWnspeV+drwDrosj4V/vL+T2E11bWXzmwyVq2h4ZkgK5uToW
UN6sg8rwglL7VBQUMsDo1HmPaER+um90a2lLtPlgFLSNiT50MGr0mGlNgQStd16jbZzmZYOu3QBL
AwYUJIjATKKVcW1loubMRgtWzKr1Dd4ETisCTJMW+RYsa8uS5A2JN1UKnao0hsgpqgujuoM+C91q
q6/uGiSG7IUbCcVraT3CqvqxZbBiQUap8sDr0oSb9/FNTQFuh0Llgu7BsUXlX7LSKEx1zRG5sBgd
wOpTxW8dDB8XL+2+otn7zDPF9FwIzojLfa+4PVOwDCdG2opqGOj5rr9XVVQQMek9fK9ML5Hc5KB9
zU1nf9/Kyi6iSoGsEbkG2Cfk6rVdmWmb4DaLPb06gUPB77T0RO3n+1ZWPOLKyvLvP3h4qmQ6BQdZ
Fmuuu8uqL8w+Zx3bK83GKP/NA3H5XHi/44GI0hPKTstyPxgaDZYbZonExki+0x5SL5kbWtWFjX8a
/lS233pV8yfrJEaMZUAts/xbYpR3+ygIA8WCTcWY27V9gOkBhE0rgltSCzNIn1bjl+kTEPpb2ffa
d1smAJabGZxWlnTG9LR0Wy/DSyJP5kM1QNpgUI6O+fL33w2DiItaKrA/eHteL2cEdtAtspHEmkXA
7OIEevLcqsA/b2kYrDkIugJ4vIBNAHPNUgjs7Io7vTuR2HIPECE8IWZkKiTDx2Sj9Ll2qsAniio6
6M7QA5dXlDYpraCXECdG9g3yvNTX1JSG97ftJmFDiV4FeA6uiN2DF0pfByQFUAuvGI3L/ks5XXoH
XPtadyrMvUvrPeAfwdzkPp4wW0NB7x2t6yi/4LDxlw0BzOVEX38xvZ9UNzWMPFacybcgpTi7B9XG
UPrzqMzHxiEHhwU9iUyn3atdE/Lijedb+iW3mwwA4aITAdAOgFwyWxQnScIUktC4vlTxFnHNTQkG
m4vBd1Qn0It/d8vrJVamYErupEWclphlOHkQx07ise8fyECPnrqjwN+RJ4eyg5sdoH7z7GXHmukX
RJwNZ7o9hJj4RDcYr258ZPNdz/BDtOEmAbnOMJXxVPw02C/gJBuxEdHWTMCTAPMDytRC//R6sUSH
QoEHDHrM35r+WXv8a3QadhP8P/8akCJmlhVWDX7iMk4sy1eaiPnahIT7MUeh/v6pWF0KmHUxEYeL
FKqz10uZ8qQre9GUsejHk0iOdl09FaZyum/lNpK4y1YhnQfuBOBm6drkc8fb3tTKOJvss4n+hl78
gKrISzn9um9oJTWAJZyxpTKBR7RccHEIU9Mp0fFpijYgYCbt37oKRCv0XPdtoEEAyTaRRCZbqLi1
A3BlWHq9z6ntTkoOwzaLM9H4Q/2FmGc2moeiZAEdlJDhHzSAwr2Bi6ef/iB1tVEu9OL7WyA/gxff
AXUamt+gJljYjK+/KEipAOKe7TJuht5P89RPxedanGyEHtNZSKg3PGjV3nv+D3AyIL3SwsGs7Too
iuC8adMXk3XgMS9YxVFqHe2TMLQ8mLWq2Oe1ORzvr3QJm1JYxfsDAR3tJaQYMpy8qAdlBJMOaAPN
/mwXeAk4oauGxDW/jsq4YWwtiIMLzMNFuJS8QO50va9NYXEIqs8VTkqJZAWwk2czZyTsWRLmimBB
2ZFub5VmF2ISTjnUrlM8QDmHn7S6zI5pN9HQHatiY9hnbfvRnMW5QsQAFZMUKgQGH6upYQjpXvVg
JtaX0i5ORpGcJpY8NdUzzwFfvL/vq74O3lpAi5YGFzrS11thQVd87IldxY72NL5l4jAYCO9jc0Dj
t0kPQ5P59fBiO2dda/0FJENfizPbYiRcudDQxsPw0cLgB0yV5Oh1A1xOmlQ11O0x0DYbjbvTIG61
cZ2shS7oukN/A01g3ClS1tBpZqnj7VTH7gHtoNfCCdWNL7gWgj9akA6QYU1cn1VYyJCCEP1XNl/M
DRPvzikdFRSOMPeDQQ+gxa3Fiz5ciq3odIHyThXPquejO2Mqb8lOFz/NgwvNkoqFZnLUM9UX1Y7b
56L4Do40ESWgty3/TPVb9QR6hnncie4g8OKy9H2vosty361W9gFbrOGAocQFoJW0D53Sg7RXw3Su
nU+HqVtkAMA5mvGtOuvNrDIiJLrRmGdF08hdhC+vN2MurV6rzKHC094sfYe54F1XAyDCd711Vn8w
8srQHWdWQJNQ2QQvrDjUlfXl33/4FF41z6LKUBdXwVflPs3iSdHOlHz/LzZzee14qImiJy1V7aAw
SCcAHBEWEgUPHep30CLIs60XjyxP6b7v5fIOxwthGUyWjodaQc5dyRAK0vnYMqi3pc8Dav+t58+A
W4n8kbNDPgu8YOvAc+OK7IFBBA1aADFJn7jn/Ashz+m478ZAY70PjYZD5T5oCT8rYqNVtxIv8DJC
dRh0N8gQZW5R0glwT+lOFRc1aKAsFzORPaNboKC1zwssGAiJvEWvRwYZMG+cx8E2q7gR39NRPRAw
Ntezn7l/7n/g26IYeuILzSemnMCFJs9Fq1pBXdoVddw4nzwAXkn7x01oMAGI5v0QxUUk9sb5XLlu
ryxKUT8fuyLP0PqIXfDJNVXYQDeZ0T96U4aDQjaMrR5S0DoB3Q3gNYCQkgNrGSQKZlPU8TQFeQ01
ZvZaOy9e24acd0FK7Ffan/hgomZhXhqyURtZeywio1hIkXC/ADwvx4gCiDuUYZDL1cyvxOirJHtM
3GHfOMqLYNO3qk59sx8+l2MLYfd23rh21pwVpwpVcNCZIcWRAnY2kWTIAJOMKzVR9m3XVF+nVlE3
SgkrVhZGWoC08V7CZSqdXs/OirxoKIvHpnV2wp3HU5lzbSN1WnFVVEWQPOFlvwyxSXvZKnbjOYPJ
4t58K9InaCsfElU7akTbe8wJHAEkxPCXoEnEJcDkgGoEwBRXnsw0x5va5lBOauKSdm5ga7URDIO5
RTu6ciRgAN4BphwU694VkD7E8mLOqlRR2iYGQcpntdiRdDg6qQiI/XsTabByPV7Zku4NZuZuU6M6
EFsT2o+zGWXtdLY8seH5tx8LTg9ljQVBhEKBDGq0qlIlbVPxWDX3fT8aR1NvzD0f83Oesyed8G9d
p+p7x822RjdvM1lYBuntkmoB1y9DcAochAnyZDyeynOd44nkPaESpOQ0NLxYTbYmfm73czEHBMIy
cIva+3I2Pnw7PuhAnjk2j0s7bIdIqZ8AmtmIYiubiV8M8BoKEuhmyWPXHLY1r6i6WBNNBADcs9t+
oyQCgeQeLb5vNdkZm+nN7Zn2Fo9HvQ6ofCR7UuQQXOiQQsg7bBmz9pPI9UDpAdC8f/2s7B6m8I1l
+BBVFpQqrndvsHlVaIXdx9z5qViXyqr9Mn+7b2Nt9zB6AwGQhX8Zd/a1DU/QhjjM6uPc0EKVKEhU
aXYe2iI4QyHlD2UpwEZbkkMr1Wrg0j1zYXNBAQH/u7YKvSG7pbTrYqs0nuvOA1rROHlD6qP502TW
w0yIT2n+1tMstBMSDvlTXrQbgXmljrH8ikUEdWn14nVz/StKiETnSV93MZQRQnvc4aL0+2LXTv+Y
xpOmqH5dD0GDmYD7Wy5rtiGfu7a7fJMPp0KhbiPE2HRx/0e4oWv6VIkZSHvm0HrKXqF0k+1GdKcM
36sCZ+uZsnLrXlmXFYrKdLZw6cK6StTvfPglxCFNTX/U2h2i+NQeQaYFDpzQxKV7f+G3kXzpI2lg
QwTIcBHUvV73iPKmkw8clqtflnXSxYkydDR7f27b3X1T7xXI68fYtS392hbIQCnFCwAetnAyHVjy
3JmvlQCNAUQwwAw9NYrPfvxjiOeqTVHReCi9n2hCcrEbN9xsa9XSE9qc0Ndv06GL9Ww4WR7YICAj
b30vdfdhMsmGsZW3wrJulMIRlrCf8iMUIgwOSA7LLmZ2of9yDaGeUS/yJmj8qvxPP/eCB2RKunlH
Qe7Q+26Sqxrk8HhV781B9Ls5yUv20nRoUaWlZf5oq5wVPhkL51NdVjoDMQMV1m62dXIxc663ISjq
qXLQ1IKVh6y2evU0tnZuRK5SZc/EENUWY7ys5ft+gFCKQS0QSiooyqjXH7ftPTrq1oSP66u7+jAe
82fj6ByTs7qDhiNkIHzRH+zoU/3DTqEkHDobtenV+PXxB0ieTLgxcquau7h7Y/ne9NOLvitpNI4/
Z/WYN73vnHgTUm0jYb199+DjGjpgKZhNwLCA7NRM5LTPsO6e9EXA7CTxe70qj6OTDF+dMknjjVO0
bOTNKfpgUPZdWtXcA81QnI8NlH6aow4cjqOfqFOHHaqO5fhamnMAOfH7hlfuV7Q4MHSAv6PCKpM3
4ZxCekvTu5iUuhHQlArfGuZ0f9/Kyv2KAgUCEWp7SJnl+1WxOt6pTtHHTRl15J9E/60bG5neShkP
D4wPNqQ7xklSR02hZRTb1ps6xE1xHvhO7OrmQYCyoI0AhGm/2H4f6e0jb76nAGDfX+RqvP/4C6Tb
ptLFnPaC9sjSz1naP/LWCCn/nVHMRO+6yDW6iIv+c0e3uBrWPiLqP3DXZWYePEnXp5Rlre4pvOlj
ZXbVT3WO9AWTAcmX++tbtYKSAirxaBKhXnptBRw1acN03seWVaunQufNycIk8QY8ceWpjKoeElgQ
QACRifbKtZmED3nCqNHHmN3bm9/dgx3UASTaX42ge6rMDf/Xl4MlH7yP5qS9y4yh6xnR+1gQjNxa
ZKRgjR37b6aws3Bmef/AuDI/Y5QQI/uGVkWGnaAOpLl9AMIespvntAtR01CfML6do4NduqdirIa9
ms1i3yqYwzX1pHltqFc81eoMevWUbI0Q3SZYAPoveHV0D4AMuOHin/D0MVviDnGpsOyX0RRZUAmu
vdQi1R7mliWYwzYKMBtAqwEEPGzuzhrYZH/e95CbY45fgWfW+6g0mPbk11ZvOEM75YUAfNw4EfCS
8Cw9dd0WW9KNIy5m4Iao0UFUD/+49hAlmwDU0nuBk24Vb6nb2SN4XQRmHe4v5+YSeLeD8jL4npfi
lBSTDaWiqZi4iBt0ocPCKP9UAxgBzWKCShWpw/vWVjcPpHb/Z21Z9YdcVc9dq0qRMMW2VyWBZxfK
bi7A8s5RKPnbcPy+MLSZliljjMxKG1jRho9J04oYLQe/0ZNzUQ6hQ+aNy3v9O/1rRrpEG4B+cgO8
WXHmWp8x2p6c9cHLNuL+6raBAABEwvqS7ktRiai9YCQbsG05P1SQsLQbfhautrv/dVZ94V8zMkir
90zqDhgrjTv9dzecBYSEh/xTo48bdjaWIwsbOnRmlmLh07iYVHbQzcjb3rc7fSPsLVHtKuqhjoQz
hHIk0D0YPpSCLPOoTmgyiljNm+yf2knAaJrxZPCFag87ExjxMCH6FEJabKuKsLJC0GWhuwcqCsCX
5Bd9waBi4JTFGPdKG7gFHoI232mYmr7/wdZWCAJVRAqoW4BZbfkZH45TphHsmlaPKGbtmBnrLRSq
i1ELeIal9S5g4uXW5M6KjyzU+ZjkBFwDSbO0qTprwSGozyNQI0bpN7yH3Kea/yZZjdmMsZuO91e4
ZU66uVxuGENuizEWQuw9Z279DvwBPkvKMbQSd+NeXjnMGHCHw6A6gpndG/hUp/PKyNQxroryaKrD
Ac2tv4WPwik/mpCOstnrAnxx+hjbxVezFWGrPFLze5JsyeOseuC/S3m/TD+4RsV7oLJ1Y4xp8RWi
JDuNNtAhmTYCk7RhKLXomJNBRoaSEmD8cgMww6uQOmajRxVz6F61ErBiZN0c3neCdStomIAFeumX
L07yYS0qbZPeoVyP0BQdDzqx/9gVKTcuQrmO8p+1oDK2WAA7jezZI83nvsP3iWroTTGfd/n8Uql8
ejFb1u6yWqP7pLR2KXM5/K+lD0pdCD8f83mXjWBvzsD0fmbqbPuQbB6D+1sgZ/7/++sWlZRFpAP4
zus9cMmI6QFd6FGWzZjY0X098w7U9k5Cq8KyiBILPNGkj1p+Ud1D1Th+Or/y8uDqqDs5G+dkOeQf
Iuv7jwFWa+G+gYQ5in3XP0ZR1LxU0HmHPkTQt9+9Mvd5fUimybfphqm1b28DM4CKGiaBb6pqGepL
ba0rWtQqVn+k8LWgoCPb8ON3bS95RZiTB84QPobWhxRJi4qzcuhTuFhZ6Md61s2jSLLhaI3YXuJW
ajybXR7Wbvq1TvCdrUyoB2H0JzOhn0Fj1596F0knnyDepHVNs4fAHQQgxGAEJv5kP+cJBu4rroRu
V+io8YLttk20Yue6tRJ6xmwfBwuSB1XVaGEnlFfLoOUpG7QE26q+tf1o7gHEzXb33Uq6QN4/JDBe
GiYjAEu9IWltnJoOYjb1qAH3zLF31SQyGaM/zaz9R5SDe4SGqBuOBTf+/BeG8RKHmCMwDjcyfRn1
jLpLPT2aFXvPE/ZUZdWetfzZUaejkU7nutjirF/zJNDHgU4VQF+IGEiZrkJ6PmZmYUQZyrjQ8jqP
7bTVXZKfx+8bipkzDKYAxoUegpwOgjgOhX4DssbVYWr3zSF7bf/xZp8kvvhl/6BbwoBy7ejGoLQq
dHa0Xk9gMDdGPy132g+F+sV3+xMlvvE9fUmNsE/8LULIdbOopWhQjMdy5ezaZNTROPSHI5G8DFlY
PNNH+2Ew92rva0+g7njtX3i3cQ3IeK7/rBX4D0QdB1S/MsVvW5njqGIKL2r7Pkjnx5yEtdhZ6lc3
R4k792vPN+rXXFX8Iv+ziZpbDcHg0oTOOeDiQJRJdcKxTiDJLRI9UhQXFFS5iTl9UKPOgemm5ams
QQw+qPa8m12t/clTpdk3qVOf69QEeN5rPlWKlvq21gFkQSr+0PLx0/1DJd35/9kfzEOB5ATlPMSx
67BMPAUtGQW1Uo25c1yXbb/Tjc461IbYqgOtBY5l9Oo/plDwujYFpEoFOG1qRLOxs0kGiObJ01E/
LOoTkoIHfevhKFdMpLWB/vHaoKCTzXWKtfUmO0/N8DiV6l4ozRPIkvY5rwOmR5pR7BV7CgDmDHj1
/f7mrq4YTarlPQ65QlndG8XxAe1XYkRmC8B517RvTFVD3Zm/MZviCTOnh4rQjQR/zefQrsNGo8OL
RrwMarDVZFTS3FUjYpzp6B4SKw3MSX/y5l/d1xT6HkZojI+pwyKgZ8IZP6RxxGFC72v7+K24F847
LmHkIJCyllllktRLqmwutMgpyz2xPietEjUgciG7YniaAC/TmXpW2XNqHzlAtVXykrrf1CTduDpW
kg9knejR4huALO3m0eOkbWGYQouS+glfGuEn2U1zAhzTb+qRrZgjPUAWv4M1F3NRaG97IOy89jsI
xDWCJboWuSn3LW3cl9V0cBn9KmzLR8/JSFhIoMJX6L0/WpHjpGFVppeRty+k6nbKtFUYWrtilhoA
xBWQDKNdIb3AhsnOylpxtIirzeusf8lMDIwX5SdvAFv+BLrXEQUPLx1PnfFVr7bQ52u7v1S/EAZR
L4InXO9HT22790bkY4Oi7MvprLV0V4nCx7y6toWLXtJIKSlDrej/bKEge23L4HXmgodGi7T2PL12
lS9M3/tqP9jdmWw2kVfSg4WiCFNi+NuC4782luPTuwWjemQakEMZpsADuWz265LzzzW6fMJOH+1u
CiYA0TgGFJLLBIWU+yFm7SeApHAZL1QBTZHhsZ7d59TsPRww1PtCpbJRInOKrT6FXA1+d2l0u1BW
RHEMaYoUu3VzJBhuIXi0DclBS4HBtj4bvA1sXu8cIzvX4HYYknDo6EltKj8Zo6af94yxP9mkHTxE
oEIQMD/8qiEINs7lSWMZEMTqCWK+G8fvNuguSZQDVkrAIvAMkKJ+YTKoRtJWjzreC7y6dk36hXS7
1jipSUhS5/f9D7BiDrkoiJxQ18UUlTzPb9i5ovERjyyWDl4gJvAZcevIrTogA2RKOz7hAhdbDciV
ZArRFKTGKPNa+OpyZqp5WYVQp+lgQ/B2lf2jTABN90LPyh97wOSd13z+WTS/zHSnLUUX2m0hIP8f
v2DRf8RsDJRupX0GIYqnCGXSo5GIHAMP9SlnyUOvQgTZ/VFqfzIl/5QK6+Qo7W/UzHDPV8EwDof7
23973pd9cPEgAYgO1CxSbBmzokoXxprI/lJazi4zoQBd7nvAYXrPOjb0AijDfYsrwfTapBRiKl6n
5VDiAWQpfR8SajR7Z56NWO9ysXMnqI6ZuVn9ak0MQfLCKIKuJK6v9GxLK30xdB3rrn+IdM/UuWsT
BHU98pRc2Y9F1rxM3lzsTT6ol/uLXgkAsAVWDCAVcfzxxa9Dna3k7VADzR3xzNznJhDVtkleISNY
DVagtM8E9OSGX4/jjiU1SNifCsWfXzs7sJPncty740+gLCYNIE+UbakP+Zatz3J7617/Qmk30jSj
6KbqepTWyS8zIz6UhMDUuJtGP0nGMys+Ya5tT9SviXsqywekf6n2RPDO6rdq4nLXCdHy+qdI1+3M
QcE4YzOjHrjHTxCo1dRgME5iOBZNULKQ5xsVQpm97z8WAajH0BtSHDDmXX8e8C95IJ119Ug1WuEL
8WwLfxYPnLl+bmkn3f3V5OyoAamAHmjV7bn2eQJJS5dBA7LZT2nU08BNN37Vuyqn7KD4OSj+LlUY
UGlc/6pGZ02tMDyfIe9UfNYn0u6qdBhDdZofeWIoz7OVk4WE14nzocW0v1epu7TTLlrigFXNtP9x
+k6EXmK7QVNnRUg8dzhmXvsd/1Hk4dn8AgmKN61z6LlziupSU7186tHsDkdg2gJzLqfT0LfafxF0
FrGqJZUELlsulC5Xvj0MynsJRAw+6oPTpdY8aFaZtRLUrv1ieClIKWtV83ywTbh/f8Uhr1wm7xep
0ptWsOmWnW6AKyqyBzNsOPqvtu8yAiVcX5lsH9IYW10DGc20OBjgPIBJ41uin/4eHz7UU21HcRKQ
LRtRaffQ+R1U/mkc3DrsSZH9BBXd9GCYw5T7pKXVEX1w8HHNxkNKNQ7EBpkA506974J1GkDdTfHb
q6E0WRVN9qA0yRZfxUokwNWPqs2ikYepMelmomNa5I02GBG4Fg+NqQ9+1vR62EOfIdBJstWZv03B
0FqGd0MPGpQByLKvvbwaBy3vu8GMlO5NN4lfb5EfrdxxCBigZwSKG7N3nhROQL/CzbQQZpSAPiKv
m7BBm8awLxAfXLhLjgX126/34/3yR0onF9S9YF13MO2BSV9pTXVZDw7rcjOa0cI/loaaPxY9B7th
5mqB2uf5jvU22983uhY3cZWj1YFUChAjmRbGRhDrzIJYEZ/rN5Abnhoj+5wQ7zj3/XMzRGkKUe+Z
nM2k2whVK1kc3qmA0eKNiIKHXCYavcprrME1I4/r3qkDYfgO8u9g1IZU755QYNt9TD/85lXKN2LJ
EgOlnV6u1UUPBXkpnsrX3pM4du+CX9GKisHzaV3CV1/5tHF9r7joMsIDxikkxJhOl7IkIJlQiEIf
I6IcnGgpeGl8T2m2RrvWNhHoSrRcFs0N0OxcL2UsFQC6J8uK1G6IhGkETvZ9TE5Zmu3YlKBUuyml
tGyOvHl4U6KuhrclEMTSugaoZ/cdc61oTMM0XposiDuqD835bkIjM+Df/pRb5dOVo4EMCGOYroEh
IwSa61XiVmh7Vpd25JEvVblX6YGAz2JKy6Ci40aPYc0WSpcg0cbkhmfIstf62KQ9mkh25PT6gdho
yTUaBqyUg1GVvpe9/f35e8/voBGFYjS0JK6X1mtto3Sm5kSd8gjaZqvbVeRQ11Bq1ell6N0HzwzL
ekv78dZtwKOKHcUEzDJN9V7C/XC18MYlmTUlTlQmYpdW2hAMFt4Lng0Rw1GEtlHmgcfHLZnN2zPx
zueNUwHXwRCXdPBA4THXeK+6kc7ptGdafuQ03xKkXekQXluRau2TAraU2qzcqG+yNyOl/qyBoUTJ
w8St90abhJBUfRFfDYDcvSxqE8Ufsl9DTnZsi8j11pfwSxDTkTmoGqYhls/wYZsdpckVtU/diDXq
riSPKHmzqfd1L0MbcqMqcXsDX9uSmn2J1zaDjbsiqrL8BepZeIbbO6N4ZsW8FXRWLo3FFsqrSIgw
6mlL6ypGYTYW526kLVuqDOQ7gWoh2PsYDfuU0wAIUv2cljbwDQB8PNoNFV/vH5w1V3onPIB9dFrl
6shI6ykZROtGSga+QLXrhG8w0zzct7K6UmAoAGiDuwJwKPlSK1JTnavejdL808iYn5WWXxjPJahW
R7U85EmDyOeGOfl53/Da10TRB8U01Bsg5bV41gfP0Z1h7FmKHa6bsjnNYhwvVqo+OtmoPhq2UE9/
bw7ULS5uQ3CN4UK5NkcVyC8OdHbfb0RFeRb8G8nweNG2iihrn+2jISkCeKNRT00zudEA7gY8mTF6
5d9fypYF6YtBJHH6H9KuazlyXMl+ESPozStNWcpVSa1uvTBa3RJB7+3X74Hm7nYRxS1Ez52HiYnQ
RCUBJBJpTp7shgwSRPUoW98mwlGJNdNJp5Eh/4iX6IoifQSWXhVa0TyCYcYOfvdP3YMyb0HvpPGy
atc+KO2LB98RWqnwtLO1lDxLtGzsBPNoFT+C3IYn3YVuOnlOPtqD9nc9vAg24IShHRP+pyqi0MyY
j8issWmpbh6zBM3pahHUDgacahwjde15YVgSivcglkB1Fy1OSz3rW70b67oxjrnwUoyiM5mFk06c
pfCEMMpcJphUKUatcYxlYje9aJfS3X8thFVkpcvNABR9xzwNHbm8R4uaC+LZ27q8shK4WogAKbE6
+i0Z786SELrLExGPUxTuQKV4jKrEqdTavS1mRaURRcHUIIErgiOVXqkLY1PLw6BF6Mc/6lHkWmHx
UIZ+ooIsSX2dU1A+NyMHjbli3RT4rGCXwJtIM7lLgVM+ZzMstngsja2uPRtOodS2xcvQrO0e5qCg
uxFeI/D49CsulpWL4dhN2Swe4Tv3OzNK3UTIjQ0ZebWeNUGAvZg0mAFlxtUzHwqi2MrYP6Dd32q9
cnJiPfb1wLE8q2JQUgX6BYb3Ku+KgqcOGmmIUdCmSow7Ep877eXvVQHvzlc+C7rAevekTMRStRrx
mFWtPdWbvO+9vvzo81dMh+NVp+kjtgwlMHSdjuYFKQWdbEYXfHlACIpM1EHFY3jfBndtVbiVriNZ
d+g4oebKm4DuGVQHqdlBPoXRBAw7nMXYaMWjoL+rwSd4om/vGu/3mde6keREJQN+f57uzeLnv/t9
+Fk0IQS3/ctLudgoZZTiVK96jCc1qwZGE6wTiVXvbi9iTb2Q38JoPHCVo77B2OZKy0hdxpJ4TIqP
VKkccIxhMhvHr1k98gshjG0ONEkAnEfGSvoI1MH9A/Q41MhPRXxDfwDHFVgzM5crYmy03IRh0rei
eGz7ZqvIP/OxsxM9cTXeeNc1AwoTjZlItA8fJMJLRVYmYEV7HN0RXPWFHTTfxvmE/llF32S83MWq
qsHK4FVAchcUDktRQRsicG0s2GrKyjSDSZ4HZljbNQ2IaMwyoZ26LOxb1QZpRogvHtFR+FNu1ZOI
YQpKbKdhsrmtcauSYKHx9gCcBBuwXAsRtNkgKHwedWWTqbZWIRwFvxGvA3XtdKh1RjkeHPwoTC3F
mEk/kAyez1HrLLu7byVPQI5Y6g3MFSIoVnN86bV7hGo4sJ+IrUHdy1i1MkpIoSCFcDQCzMJDpRr/
j1fwxl2sIG2+AL14beAaAl/APNpZDBiRZkS0wl/d5eF4jBJtsuPc3LTaQbc6u41CW0KLVFuE/iim
bsAbfb62r+CiBTkNyMHhMzIGI5BDK6qlRDpObWur3bfCfLQSiJq2te4W6dNtZeFJY5Rl1ksdrUMZ
EKYZsWu19JpQHDC81DbDzSxMXtUqBcdbXTNWSMlglALNzADKtlQcMU/SWsKAomMZbFVQy5lDv5Wt
j7hOnV4d3/9+fUCzI6CGPgBDxFxssYqTHo0d4hEcKIArW8cOORgznNy4soHBtLUo5ZjH1eVhzCNI
CtH6gDhzuTw9DhVpLKCoMoDBMhgh+hwTPrIdss5wMnmoibVrAcguLCQeYnizzPmZejyjVNhIxxLz
IPSDHNxpMYeMa6VMDHfiQgZz07M5KiwtQZ0KYwts4L1w/VSnNZ8HSXInFcOQ8h3qYX30q+VxXqzt
JfX94M9oaCtlX2i8qJ3coMuNpvFmkAcU4a9BFxwMK4G7yTGbazsJJgrMNIXLTgPD5blJpFe6KYQs
HQTqQaJ9y6vSaZuMo/3rYjQkB0GWTKkPl2LwBIEPRepQ9CuelA7deok9pDxO0bUnAMqASiVQzUgI
0n298GyQh6wE1GGk4xBWDsY/hsJk1+bjPHJiwpVnU8W5YGoqkvEKIt2lnFwvG0GlscCYJrM9oly3
k4uGNyhhZTXUTNBkETJGKpu1mVVpGot8FI9ml41eqKiNp8yS3YejG5qlwLGIKweE2AbJRZBh0aGW
jLYXQ6EpZIAvpcbn2LibmxN3StS6CEqVASOIMgNzaQMETF3Q4YUGIYmFsdf6XT41PYb+NJzz4Qli
1jKaTVJWWOxRLz/B11uSp0njOOmrIlCJoSyptKGXeTDRDyXJEV3LNOe2OR3wftk5b2bTqp6B3Yqy
pOKCsHqWCZEQkYFIR0UKMOhxstQ9qqavt5+KVTVDmI6KAcwAaKaWyjygv0VLpFI6purQumWgJY6g
asGunUnzO7IArb0tb82uUm8TlNUgEbruP5gba9CKLpeO4lx1e8y5m11Vq2IHqR4RuSKBeEaUaZjd
WkHR+xhtFZJcgrts4CGg1lZO880iMmMYGcOqfGtF8HmEGC5HEduhfNdYwbc+d3WhO3GWTJ0XJjZF
6GAC1oGgywTD+XKPZTQfTqD/lI7zpkbX8qFVdiS1t8kzXMaWo5krjwe46CmijGb7YNOXstC9ZvXG
AFlAftlauQsmOBiY7muU5UZVX26vbMWPoogCoBdBtY/GS2ZhJdqIR7HBWRbZMcuPgglIrv42d6Vr
Kt86k2Oj1qWhuAXrLgMbSP9+Yd8llKwrUmNpNV7gzAP5Y+Oov6valXgkemuqgUfq/yQxFr5tYxj/
DJJ6DCs23svsbdAGR885Z7VmRS7EsE5vOlgROGnhNDXmK7iaHJH8xJjv20dEP5XVvUsZjNUNR3DP
YqQi9ME2t0W57Qzvvp2d7veQclazpnlwOUHGB7JOXCrmeGbLrPqkGOFKKKXsms2ce6oR1Xu4qJ2T
Z2X4gBFbvFfyannASMLbBHYWWBqUkRl1b8AJasTAQBzlebblINwPYf+97TajZe17tbSj+feQkG+3
9/Tq3JBmomYZPgYgcwDpLxVRrCO1r3tZOApZ8SBU+1jMTpbW8DzQK7NBxQALS5EjNOBkQwbQ4QiW
GgjHNKtcyXrWf2OuToU+KbTehZsuqvZjzkmmrqwMTwEKuWhYQlsNG6/nyYymBlUkfgIIEh2T18+2
NXBUkieEeXImGP++SmTiR+KeRB5mCCjm978+ocU6mK0LMPBXyTSIIHqD+XGfA24wb/DC1fNMA+WL
vWJUT6gsBHXDRHz9kG/qv34z8OsAleA2IeVMu/WWOtZHKX7ewEkM+T1y+rb2ahk/0nETjoe2+Awx
Adzs/16tad6eznRCoRkJqKXISldLjKabCeYVA/1s1WAcNpyx55iJK9tKF4a8Eu0rwYeLjG0dQoJS
UKsTHz62I4gJMB+NLWWHqf+8rQNX9mgpiA2jxNzUhQYD4XwQryD4fc0iP9C3aDx0RB7C61qjkQmi
JEBIPGFNV49uIChgstQyP8K1qVDBS0M7+uvXAj98KYQ5nr5RkSCZIUQg4KmyIEFoNln215cTUtAN
S91a85oZN5i0uO9jNfNn8ycI3Jw8PeSEczLXqAq6lAshzFLaniRIFyqZb4QATGWD12eGW5fJ98ns
76wYNNZDUNtyp3pkAgpRqdFiWFY+cIrOWJdoRuKlL9YOUKfxr0rJedDut1R9Qtpi7PMo8i3il5qB
MtW24rW0c2SwU4nUeVJjIpHIH623WrQceoerjpen5klh3ns1IVbR1FhJrb9oTWljAlcn1/btq8UT
wljwIW+mMqJCMGMpwrAZaWpdLQo5cdwXC9vCd6EjYACVAMYHlwu5weWpNHIUFZhLnvlNn9qJSXZT
ENqJClpjx+ySO7ErvQJkFGAG8KXiFXSuSlpv+iYDXjtxkvQDyrMTG3UvR6U914N7exOuDRnic5Sd
8YXInyvseVoiGUrguAq/VBtAhw0h2XSSnjkRxnt6k9JF29vyrt+bpTzmZDGVJZQSgxQ+5qK66tyA
7uO/lMAca5J2ZG6HpPDHJHR0/SPixQvX3tpyCcyz3IvBRDQNS0A9s+9qu44hR/iQ9Ke60F2kRT19
5DykvF1jXmmQhCKkLNPCVwrNlbS73hA5u7ZyGRZ6QP9+EZZYQ1EXXRAXfidtx9k6ztpBS3hU16tC
DISPYPxF7slgjmbSIhKmY1mA8RGRCAq33/sSNiTI64+/1zL6/iNEx4VDVX25miQSCzS4VoWfEdB8
omc+Uu/RHcYDQ61cHpSD4NwgE4ShY2zfstQAxy2gddjPMG/McMzvQ4NeSx6Z/JoUOBmgOaDT+0w2
xG/a1OoieDV+InhZKT6BmvkTbGjArPPAKCtqhpNB2xzYf1DDYBtl8wGNyL2eF74158Ux0Im8saLm
2+2zWVECWu6UkEOAcwTgy/JsMGTFLNVMLfxYDJv9iJnr78I4xHaL9B3PxK9t3aUsRuEGM5GRGoas
aH4Rq3qvaT9GvMlqzqOkvIbFIWhExpamYeAVXnFxtv2EzEmv44YawiaFR+DMSbct69pRlNTtRYxM
rcKHlOj7pn28vaEr9mghmtlQJJUyygyBW4WquA3dl90UrigpvDb9bcW1bQip30UTr9q1urngZUaj
OpxFjH9YHqSUBI2U1EXhN/ZoPqWiTcjO6Pe3F7eqLX+EsFEqCCLAJdLjJovgCA7Kly7GEOHc6HmV
rTXVR6oEaX20BiO/z2wicKKYZdJN0MqWqAelKEZ3SqvRvr2aa2+eptBAHkJbQzAGlv79wsrKZq0l
ahCW8J5QFxSy42h098iE/YrQ1mpbqsyJvld3D80g0EfMhAND0FKeUnRqDsr/wjejIveSaS48Ia3N
TSESHmnZ2gaC35AWYSivF2sLm6TT9FpJSt+qgm0jN2h7DbQOGJnbO7i2IsCKYDwAQUWPBKt0nZTh
C4rSb8zHScfET0RCTdZ7t6WsLAbJAwr9Ak4K9p05pzZKTQz5aUtfFbfgcYaEf+F3ITEClxCM8KB0
YZ9C0sZCSuq+8pOofDSL9FiQ+UOVyYeWK3/9tIPuAk00iAxAeoLq7VIJujRLcsmKMj+OfwrFK6IC
1Xi6vV/Xp7IUwfi4dK5b1xdx5qPYN/aRjSYLKX+5LePazEEG+h2QqAXQFCqwXMZMMKai1iEj7at9
oIMg/aUa7szwpKRbEfw0IkfT6LYs/falPGbbwCqMspkMeRbyFeLd5CT5y2DuRd7IxrW9gzeEqXjI
qSMVQ/9+aRMS/IMMfuaXmGSTh/oxje5UkDPc3r1rKXCHQHyHfBiYYCBoKcWMi1AX8jHzx1H1xunU
q7nLTSZdHxGEmAqK2Qq8IngRSyFVBeNZ6Qjuh2p2itGw1QG9Bv1nREYHzZbFtilSzrquH6GlSMZu
t5PcGl2PSD/WBEcavhlA6UEhBl7afnX/wDSKVCnSPYAjLJcGYFGkj6IMOYPqZeiQssA0wMXQrqwG
yAPKaPpFU8HSlk8lHqFENzJfLlPHCCREZRmSBuKZe1TXFg5W+kISY0enORPLVoMkq3uNxjtr4M3q
uxYARBamCcA5QD0OUMzlhsmmICGhNAXHKtvlSbOZIh4873qzaDsSBX/C9wL4k3ncwGuvSGVTWEeh
q71E+BZmM5q78wNlZ799ea7ZbCgWC+AlcLegIQnh33Ix0yyVIHSsAsAofueta4nfUPAAZ39gy5Mt
zPKuFw5odhbM6b1EJqFs/bDeK23kabwGmms9RD4L9M6AbVFoOtupV8ZWNyv9DLqzyRz80uhTbx5Q
JqgtMdtxVk03cGkBQSxHebJQIAbU0mJsBqljYF+TNkAtpN2W5kdLYk9pi90oyIcxSx/1XEQmv7H7
9B2kxS+FHHM6z1YWi02nNQoLINUrZsMBVGsNohzhWCq9Kyt+FL7kIS/XdG3nESCiQRzuEd58VAGX
ZzsW4A8eWmRYKzXYWPpowzqGk7WZyFun/Ly9pSsLgqKiEELxAzpCxqUsU6srpezDyAdn43tqvOXS
U5Jr324LWbl5MCB4KvFGopWTJTmsmqxNKi0J/WisOncG2Rk4T1QeTmVl28Dni/cYVUyoBmvr5bSr
5gnJaaDt7sDKcq8097H6JGU9hq6+314Q9R6WeoioFxVujFST0PWoMN6FnIHrnwQCEnVm72ak2SM5
HSjNBhOCnbT8rHROcv/6lCAPTfX0lHDD2IEoHYHLPBMrwozLaaeS2ddK4WiBSOP2stgdpNlppCfQ
tU3JufCfS2WI1HE2oqRDkjPK+mPVCBVKSFm+EQsBvjN4Q50Yu/GXVwqtd0i8oMMAuB/8mx3ZmsVh
qiIKjf0mPwjSCy0ptZ+318XqH0SgF5ZOL6UMjVeFxSaIjFxOosQnBtpzijE8h1rGa9O+3jwNwQa4
hqDoMgqY9AwvvKZoMGOMHWwTPwCEzQS2IjBkb+qHXwUYC2OMSL29JlYl6JoAKAJ9GMBSBpbFiMPU
UVEDj5tvNEjRgkk+Rm/Lj9syWO/pSwaGBlrIKdHpgYw+GJ0ZxbU1Jj4mhztTCUhO8VMfH8FlYI/d
c1bbff329xLR2Yu3BG4ngjcmkzlncpSVZpKCRV/6VXfR/IjRucODCcPuVk0d70mgT9uxGpptUjU8
Ri72WtP14lUBoxPSF2AMYdYrjiCprcU49VUL/BVxa+7KTvvemoPbDeNWmQ9cp2dth4ER1Okeo9HX
YB60sW7VCANTUt+cMbAFHb+KEwztRhUrw06FJHa0VCm8rBYDTJjqG859v/IisGDE4cAmw4whl8ei
Z4VO6MxRS3N/7kw4q1FVbzUp7R0V42JcoxnKrdiWlZfIZbeTStB82+EYW/t8HDvFzvV88jCNuj8V
bZAeo6wuTikGqHGSSSuXF/35GIoGF5diwhhb24caBt8oUupj0k3ipYJav6WaUHPyEle8TV9bQQdK
gsAEWEq2Ewk0YrkpVSamFr8U5Wf8ALxjsdWfQcQY3CWyU2JmwIci7G6r+4rNoLB6gB7hzuCKMZfY
UjA6b5Zw/KX0Wfcf5F4WDtk5frktZUWtF1IYt1TtjCJDvSf1k/wYwjlKMFHdeAYfVqWltsij+dGZ
t/GfjfyzJuYKa0prhGWspH6baaMzyHUI7hpN9IJUmb2waUP39upWDCGwIqD/wNUF6QvrXPRhklD+
n9SfCrA14r0/ZCrn+V07JiwLTE+UNwW/trS1Wpp0DW5Q6hddieGpYmzdISgih1xKjcdCTme7rHme
5tqhAaQCYwi3mnLfL2UigxS1SQZ97ILHycNEWVuaf5HqM/64vX0rFgj8+sj7IGJRkb9i5EwmqUSj
Rhje9AKaSjFx7IRhfs1dGeSVNw2Ctke6ldxPhfAO1CyvNLYqnTLB0pgZDCOMsggJutNBi5P51Zhs
SDqAj776YVTAZ9deL9TnuSFvecLRmDUNhXON/KOFVBlaQJZbO6hDBRyrjsxDkNi09jmSp6A+m97t
nV1TTLzQqMXAmQfNJv37hUOQR1prDJhg56ftoQEZjRLelbyS/5pmonXyq5CLjkOW521QtG6YRCoj
so0dwAsYWWDU9sAbT/nVqnLp8dJbjbHRgILRuATo6eViMMxHHayszP2pfIwwBDAPRQcU3HHzpIi2
mINvr9hkHTAFb3XQ2kL5UFhuIFherYf2gHmWJFAAsm4NNEZHD83wXSI7zHg9lDMvMl7b9csPpTt2
setdic/v4yb3FZDoomCN2eibOck4Z3utQghmwPtEx1si/8c244tdNQ1TApyY3L8kJwUx9yylO1CT
856l6+UgOU9JLIFxBdsJawbaqgOasRRzf8wKWwJnkyC9V11si3PhUE4QbQCeqCUvUnI2RQFxfgJ0
6mz3nbYhwu/bCr3iLmBuCgCueCSRIb4KFvMBzWCTHgCPU2+63AvuU2vbzr+j7AAHYUPaYZfNMjiz
MWJu/F1q0VOl1M6kfw7R5vaXXEEYcG0XX8JYrVmvSkHG8CRfN1x18oB4eui8ftNv0j15NA/9XjkV
vZ30dpNuyuJ+Tmz0X9z+hqsCG/sNzLNaKsCDgJsaKWb3++ARJ/Hs7nt7z7t6XyCZ5dVbrpWxkVHd
CkLWWrCRXudJm95v96onPVub4oC37pA8RYf52B/bneE9gj12I2zBGrzF3dqGD5+77FzbaIva9dvC
zT2wDW8Mjjm9fqnwfYh3cBdo/KYzdq4a67gCEWruV0lSbxJlxv03jdqR0q7bilqseA3RAy/PW94R
rNxCSKY5Ehkxg8GGXMqcxrocx7mfzILdltuqc+rUbtr97ZNeEwP2JoDqad8XEp5Lk5IJcAvEscp9
UUtTRD6YGqEWdzWGZkW8dMzaXuqIPjAWCwErhgkuRVmw5aZVwnqNNcj6NIBFu95XgiOY1IDHqX5o
Cc/A0I9ntYt6T5QrF70KbDfEbKYTIFQk91PMZxOrjTB8GFhY/BagiT2Q0FCegiU29DVpN3Bavq96
FugNupDNZmzQDBm0QMXmfj3/ssi2kZDADn+kVYtpQnZVPHXjr6LfhB0nouDKZaxHgDltSVxArmXq
G2Ow3Kx5LMheOljQIwzLnjvwP05vBWaD3NakNWuOgTgoSdJKHtLEy+ON5WLO+6nGVRHq2CFJHqMQ
j5yR1BS8GtuaJqE8S2lQ4FphmvtSFFGnAQ2Tau5HGmh+LUKEbQeWHNsIhnlTWG3sxbrRgY4wrzjX
5ctlZFXqQrTF5BSHrJpT4NhzP9Q1R0nUF0t/a4eNZMWbXm33Uouxiqo3g2fzbE0u4sthPETy61in
d4Feb6f2EYn6nfyoV4gybx/AVUsuVbnLb2OO3lAjxQDvCI7eOsiG20i7kKBNhXJ5bcLp0fJGxCx4
vizOa/FVNLveFNrZBhoKDHRhBA96W1lVjk3JTkik7B/AgR580wvno7YlB5kVu3VST7ZL+/UHpp04
iYs2E6d0ok24of+duPCnvIDjxlAluPoo5I6QTaegaI2xbG3d6paQDDCg+baLCqeYHuZsU6T5lthV
bNn1zKOJu74B6BSkhwCkKlJ+bLUcs1xGuQN7mx+ns2YbdXgMLDG0BVLtbp/0tdG+FISU/VL/41pp
ZDVpAevrzWOQGK8h6Lxq1XRqkbOJ6tUmUkkUpkwJbtEAt5SEEUUDsigAalgdeUd2qXP6NCOcR3ZF
cZdSGP1pOr0jrd4D2WVYcAJbRy4/rKpyENE5UzHbRMNYtA7DDQQPYxUau9RUTm5u9eiQ9abc7ujs
+vrCC89aU4dZGOmOGtYLErW1dCfKL7cP7dpoYZHoPYa9UpBBYF/aqDKbPBCHwh+ejPZQOaVmz8QJ
vieEYweu46alIHqmF2sx5SqPDeDx/dZCW7wrlNte32jPYs259qtyvu47zXBjRUs5U6KoVdyJ2LNW
w216leKz1XROVB9MEOHe3rxVjb+QRc/vYk0kaCuzDCGrBTuQ4k0SccLK4yZDrm0Gtu5CDP2MCzFx
VwtqYI4AdxlOqNtonQb+KfQGN2y9Ud7cXhNv/5hozgzNOssmqfD16NMkMRKTpxT5P0HnEt3wlsU8
zVOXZHmZyoB1dQW6ufK72BhrW5ZHWwbauc83wSQ9TErI6QziLZB+1sVuNgPmZaU6FljP6l0aqDsM
Yne1YYcchW0oHOT3+hphdA2D5thZ+tpGGkPgpzUIGz+D6Lcmt7aW2VBGKYsc43GUBo5Krq/uj0Dm
+PIZsI+pwqZK2nsc2I1ZOc0+UB/00201WbeOoFf935Uxp6f3cK0IiOv8OPK7b5pgPk+tN8RvU91v
52FnwW+3km6POB0tUhwd/WpDWb6i9Eb8Ec6cIfh5UwkxeOkDup7bUdkktqAlyOTXgF3aoT59N6QJ
xQpgMA0vTiyQWSpV9BroeuzqWZwfzFYAxacAJm/OttCn5+rLdDAvIkpCFkFl7moWWr0QDEDbZffR
sXIEwxZeksfuLGf2/PhvZNGebTpSCoAExtRpStZY0YTngZjbSP2uFLYSjI5+bganFX/IJnyccvuv
ZFpI4yE7Rdsjl7fHSvGKNBpsUbuZRM0LrO99dZYxA1o5CcNLOH+MFeeFoqtgdxQsbwBXI3WI9jHm
GS4lqQn6DEZ2LvNHYll3rTR5t1e1dktR/wK2g+acr7gjBjEFgWFuQpeNXQszMGRH0g3OID5mQWqT
9q1S/64ES4kDMNsXkS0FWiO3x9weq4tNo2kNDD8NW0dpf0vNSzBzrih9fS427koGc0nKjoxDXgjj
CbPiQE6QOODNdvrg2+29YwzOP1JAGQ1UDMVpsINqc6FM0qAm0yloZ/FMkDlxkV6Od1UpZZ5QR/K9
HkwDxzFivJb/CEXRF+Ru4BDUmIe3stquQ+J0PJFa1Skvv5BhXiyppmkzR2r9CxRA6ivwu+VmIELQ
7G8vmc1DfYkHAAySQV+FiI+55JUwz0ImYGeHuLw3552g+Bqwz0W/79FmOsjxqdN21vB3ns1/pCIJ
CkotODZsEl3X6nyOh3g6qd1JFVKvI67QvQ36YSDPtxdIv5/VHIjAGDZwg2BWE7O9UQIEFLHIeDIs
pFzMoN4ERaLbKGqJjhKovBBx7TQRoaNZDRByUG4yb5aRJdOQAyd2mkKlOVnNMEa2Ftd6v7HINKeo
eZuYDziFE5h4Ar0I53+xsXCyaU4L7f+6xlgYNZ0TKe/l+TSXNWCLkWtm1m5ss49UGH8oSs8bb3t1
ZTAHBgUYUBuAEgdZLmZ7kX+osr7quxOBrzNpGJOBAnDdvwvkV86b/HZ1lFQWqtwIHzQkCtn0lqTM
ddoIZnfSo2GTlzKIHoHD7MO9LHN28fpWQBTlBIaJRkM5sJ/Lp6FIht5olLpHNavz9OEO6rpVg3HT
Bb9To7TDrrQ7Ej13usDxeRjzbYJzWYY5xXNEtxRl9aVgI8Ok5WQwMS29DJ0xejfJISKABWF+9I8+
0LbcuSormwpGBSBA8VSgV0ZXlgJTBOpzkUfiqQY6E3OkAlI+yWOMML7nvPHrklDQAvoNuBN2aSaJ
6jopYvEkR6+lDKTdNg6RshB4ALiVLUQjDuZ4YIgITV0xWxhK0TiS2RJPSW3cl3LrwUvy0dJaGbXd
xrFfjvF7kXGKvGuLuxQqL7dRCokWdcAgnMImchqyF8PfuP+T8v6X1gyUMIBX4b3F+gAkZN7aGI5i
V01YG/ktYsSnHH/T5cqZFM6rcGXFvlonKVUJJR3Ay7RcTdmGzSAljXQqCfkhTyqamdxMle5V0vuA
M3RE926vi02qQu+RI6e4RWSRqR/BLCzspVBURlU94TZuZsx3Q2fg1kwtJ5dTO8ZUltEE/XhXnisx
wXCsXxzx18eHjARwV9hVCmGTqU5dBFJ9HQiFps/mqW06DPC5z4tkm9eom2deIZ6t6LMcf8TzU76t
lF0cJZ6uvwloc+DsArUqi7cKmTSkL76Ib2gen7mL1pQreZDqwSkVakIRMsJxgC+JvZB4uLlruw30
PHB/KC3jqUJTyHLBkTmlUqrL5JyJqq34lvBQNXiWSidIXjh7S7+aWRVK8/AvALRAexyLERgQmmTG
1EVnpUm1QxhW34chku6TKZc3Wi5kr1YqgztGxFCvJhXnfSXpD00yNIckb4+KLsgch+tqlzVsMNqD
kSBCfxRSasula6USGaWE7+nNh6Z/HvLBSwxlw1n11RWCFMxboXUtCi1hV52gr0ciX6sO3ezTeOjd
93EXf0bO8KPAlNzSMe3UM1wrtsdHLnHj9fv1JR1mHfgstC6w8P5SlgLMnO+j82gmdjc/G9mZdE+t
GQGN9VmUtSejGDzxZgQx4Q1FV6PNEigatN6i3sXqryhjzC6AtNE5qUJPm8DMp+UuZ1+p9V5oEyOD
fsPFTcWqUAMh9PS+w7WSndi1vKiw+8/SLl8MTn5lfR8vVsToihCludyLbXTuvGHwYsHR3c4NHalz
jdjlQT5428fcSVUT0BbdQZgwxnag/I6IxfEuWI6H/5wQKBQBPEAZ/qsyfrF7SmBlXThAL5Di3SfH
8Mny+gMAAb0nuvXdsBOewRnAA1Vc2Rp6ZAqcNpRtMBD5a+b7hdCoaA09kbGuGC+xA8Yolxgp3uPW
PDVR8pbJvLTYlTVnBDKnlqYE+asQOhLmoZ1Z4SGW32v9u172HP1YMyXw0yjvEC46WPyXythEdZrI
2hidI0lFMU7HpJEUHqMzmCKPoo0nitF7g6QyiI0gakrPk4CBGFZgI9rgKcjq9ULogJYMZPiu/E89
C5NxlgNcL/EjLKStTtqnJlPuovGQpuVe+TnI1V5IhfvE4LH4siDKf5TzQjbjQ6WBUqP7yYrOquHM
qROZbrkBS1UdvFfCXSXbRrIPewz3tRHW3LYqKwoDVmwQ+iIWpS2zzDmGtRbpUo9rIRrFPqmmk6WO
lp2inUHp2pizxysnCWgepfRFoAZMKiMsLVoUzSKcZI3B3Q6ixZMAEO22NxXOqlbuHa3KY5ioAVo/
vEZL7cwHM8WH4CylB607V6oXKUjXetlfcqjQc6PZQaDj4bOgwYDx3VINHM85aBHP8Mh3gvWSpPex
KXGyTFdePRWC/nqYEQwVAEx+uRhU/WrS1Wl8BgP3HPtRW7uCdIqlLaZe2mPZuorAcYLZzOw/67oQ
yZiRRCEy4nSQ8BefAOCTwv6eu+aPD/m3ZDi6LVu2vmt4bWZsLvo/QpE4QMMB+rPYhigpn+Eikiw+
z4qTfRb32ZvqDdt5rztlss96x+TAKNb39Y88RhubWKuAn4a8vjtYr2X6RESwJDlqBXD2locB4wlj
DjGvJ6GNlRJspsTCTFNEf6HpGKNrCOfM2g+jidCCNzbpOrT40pw/K2SOsdfquEtjrDAMBkAHnivR
HhO3VAYnVUYvCT7CYVMjV6MNnNeBe5bMg57qqSKOE3RW+lV08b6XzJ3wUoXTOW79HtPVeozTNHvi
WPF91/CYBuheMo4SLsyfZVPrcPHqqmgrFjPw/Z8nVci9tOxn+ElV7t22nGseEgI2GE+NzqJHlXIp
ps7KqejjPD7nPmyELRvbtNhHst0QrxbsYT7yqkKrOnQhkLFqGaAIYMfHcerOvIuJjcG4NlpKptff
t1fGAlH+uYkXgpjnqAoww1GWICj6Nn2WZ+NofmQ/QQ01eOmDlNm/Uls5/PDlwp5HJz9JjvRy+wPW
1efiA9irKapjPLVQn2KywxNG7ip3w0bcDG713G6NvcsRR+/BlcJciGMvJ/CZcz9C3Ohi4vOb/PGo
PpSeQpxx61uPbvyhcSTyTpK5mCVptQz8w/G5Du56FdD484BUg0QxNORUPMcxD/i59sxjFiUlYMWk
DdS1lroqSH2BDhCc6FDej4AU5Z/pW11sbu/j+jb+EcJc+koJ4yksmvgcVDKGZs/6O5FryYmmkTcI
a81hotARg2YNAfZns5R5EucNxrTF51aL0ZRxmDbBXvG75kXTD2H8q6p30zPm74FsXnRuL/L/uRx/
RDOrNBoZxA4YZno2x4cg/Wj0o9I6DQYxV6E9icdGduvql/7c/Yw7R22+hSqxg18piO+b6kmzXlVz
EwPIdPuj1o/3zzcxFi/Lhgr8wdiOMBYCV6uSbpNh6JYLvs6zMA/ebWncLWDcHuSIs6gwCjxmDdnU
X9QAaW+n1nuo9Y//Q9qVLdeNK8kvYgT35ZXL2bVSi+UXhmSpSZAE9w38+kn4zrTPgTiH0X2jw213
OFpFAIVCoZCV2XV4E58OZu5V1WH6K0mV/WjvJmWTZhBeBaqYeOqMg/ZB0/Z9vob3Wd5Zf2aC//1Z
7AcpIZhZ+OrI9KgeTG+i+8F1nuN7eY1VggeF70Hjb0si35qBdz/DLPkkGI3iMtYQv9WLNab6/ycU
/jEjBP1SdxK7GjEgx3lWrSA7DY2baS717df0kHxdX1lRl/k/kR8ctrwOD4yByAQkJb3Uxd2AI4YG
snMLtuZtOTxxCSumbmrnOd+nzfPYesfq026PrN/k0h4v9Mrb9e9Y9rA/3yGeraaTTb2sI5QU5q6c
PQOw+a0+3+Qmw26/o+YtIABd1bqq4U9Q6JjKlj+HgOD3lLUPUrTrpXeTuvrjymctlLbQLPL39Ij3
inSYKy0HaCIchuRNsjdFu2MJVNjvcFlr8/JB72sPah6Hptplzi81faODS5RHFPyZlgZFr6OfY1ex
TVH7uUH2uXoT09KfG+uojW5uMwhprj2rLIfKs28WDvMRXcJZgXeNUH8uf+Zh9lDf0O0UjE/6a/KQ
hdLaO+DiKXBmTzi7c64YBKnzNKyjeN6wFnKdeg3JPTT1rMqhLu12RH8o+jg4B6B9cLnbcwrZDcXC
5ig0QL5LkB3SeC8Pj5rjV/KuS2YUzp+0eWN23mwPbkSfGIRjmKtTr0Wyb3UujVdcdzEtPP8mIRZX
6EuVqq7GfENYt53fdAmflRK/lOaN1v3Kctuthp94w9hcd87FhT43LETlUVNnve6wZ5L4WBahBl5m
jdxZNZQA7kqywetkhEZcv7JOEPq+bnvpvn1uWoi61VhrVjrDdCVLEJ9FU3V8opXiJj9sda0LbSnu
ntn6Pf9nEd6sGift8E/YlIqry8Sd1rbM0ml6bkEIubqeKi0em9KQqmyXM3VP63Y3l6onW8kKsmzx
igawOSiuQVAAATzBVkxMVqkyRtMWAU7FQHq3vGpbedPNcMNWsoRl1zwzJoSCeba6ph5GGJMhn+uN
vT9Y1bEKIjCyZv1Omn8wc00XebGWcD5CIR5IJh6vWw0xUx2oyyrP6HaN6jVPzh2EKsqYuKhk2L2H
tgVLegFZ6nXPXIpG59bF1H5qc0ttEf2i2i63MWpCvjPpOLdGpPfXTS0e1ee2+LeceWZSFU1Rgmsl
jMujOXtUvlHkBnzCN3bvStNpGIkXN3flxl5LRRbD4Nm6CmFQmaxpzhgMJ9Zu0v6qUcJwvMkF4cuW
WJ/W0/VxLh2C58MUAlwmOUZT4eYbkuK2kYsgBcgK/YvRgEpRPCMb9q/bWx4dZ4nDSz1/BL6c1gEk
NVLcMQT5vcH1gtEM4VXjlna+HWrNai2W7zgxrwMY6G9zgr/GWgaOOBvDc9BeXgXxjfJoeZAfQz4B
vXJUodfuZosBDRVEPBGC3xS19MvxNU3R0yayYTCRHFcbyezOBooI12dx6QFE4Qx4/2dGOB5UUgAN
SHAup/ldoqEremPVd2hmxwZ1da66+wXWHKDgzcItWeJqqmeZa2Whxch69g3COTFVDroXUnzDCM3w
rXZUFFf+Kguval+bT+2+8s3sNlee7OrQSgWe3tdqjGI77u/89s8koFfscq7jZCBS3is4nGU8sh7i
56FwDfu5z4AW2taQJMl2XfaYjSf7oXzNqq0jHUiONkCWeoOabqkFRjz1ntRvo/2YUrb9r9YIwuqX
n1eg8w/FF3welbc5un7626Tb9t3HnG0KqCzYmzl6kLJTJw97GUI16Ty4dr3GgLq4v/9epG9Uk3M0
6cOomiifbZ3Ep9BreQjXxDkWzz2ItEB3HB7JldYvR5qral/LsUpC55ilePFQWaCTT2qdiu5n2vRu
Xyl+YwfG8LYyxTxaiNv73LCwDeYxA+nryEgYZS998hd9ugUo/iB3bsw+pdTtPx6uG1xyedDbgKMH
zxGcRu1yoFXHEiiqt4gbRooWrTuZPrcxOpTStbx7KYycGxIGRvK5kzW7xlvjNLoVGT3Dfrk+lCXH
OLcg7N5oqA2razGUzKg8FZrd83jK8rsx/aiLjTGsSQ8vmgMqGoRtqFhBa+By5qhCdMngK9UptVdX
hR9luUtbBoIgI/VAiKr4Wtpsro9R7NX+HSF4HzwMg9UGr1WXVlNFsipoaMKq3/2SQrDHGpF/T4k7
7Go/+9QCTx283T9FgYtmxWaobKpmea5htkdt3m3u4p/ao7yZf8qv0r9Jb89GKDIgKYQWoznicSzN
I88cjprld/GD6aykCYvZJjQLUSnmYBNc+i5nEsgXfWAaL1dnvYwbiDT5RCXlM7q/T6pZNA8Ny5hL
69o5gaamu9czI91fX03uIuJmP/8EvjnPMjKntTWJ9mkaWoqvN52b9PuhYG5hHyV9Jble2n5AMP6G
vaCjTaxI9nIHFqQa5aDYru0DrRrDRelL8q8PaLFAY+G2ANdEtzN6oy5HZLVDiYMcdxOLhUN8GOsX
7Dtt/qv+KgDZBG1bn7nkczY26Uck+6Ozi6oAPFAf1z9jabDnXyFskpIpvdS2uO/FsWxuzbICKlWG
yMh1K4sJNXCogGpx2kB0yV8Odu7NIWpTJO95EoCNG+IvagAOQam8RyMVzm2vtm/k09B9TqvVvd/7
XHSdc9uC63TzNFqNgzTQnO6gxHGIOunQl3RPp2dVPgwyf5VMval9U6tfZMg9pmyy4cQkvDPvh/aD
Gf6Q7gxl35Yb+L8fR+9Sle4zJd3phEJsQ9qnUxaQYfuv5gyXAaB3gfkW58w00RjVMWTLIwV/0Ecp
38yzsZNcHRSX80uS7QnqoU21sVYOB74W3+cLTdo6WlQVIOsu16qbHUirI0cK20QHxCZ3QGahJfWW
SZCKvj7GRe8D7eL/meJH/NmuNvNxzodxxnMNOgiCpKvmHfpLnq4b4S58bTzCNWCwI2A2OxnX1krZ
ZYekYZ4ZZ24SR2EUv0ejHVjxGgxqMSsCrfjfI+MjPxvZUEcALlEsnq3E+xiqAEaRepaG62pP/Fgr
/QToSHM+Ta0rp8y/PuKlFQSVEccpAQ8NUqFL4+imK4YRbHyhDpqyQC2NYiNlieRnqVn8i7jMqV5l
ZEQg5RQ5jCXIfaGV3uGlKup2eH8ngw+uqkAezCAuVjKwxXGBAZLzbEAeRQyZqLDWJkuTLNSiBOpb
CSC2ZGyJ3xfz2uVxzZQQF/WCAdBCaRbWXW5uM1yHgyyLyUam9loxZzFAcfrR/x2WKVxl5D6TIjU1
81CumlwLOrvpcjd2WqvfNGSY65toVkbKDpKBWpYnjxrk50YyRmARmhUjyPBUSILKVIm209IoU/Z0
tuL+2DnqpPoqSfHnWCu02utHS6IPVlyS5i9FTmrUEU112rLISEvXKBqTHe1RBeV1bE5tvWvkCvoz
wyC3nQuCjNL2sI3QtLV2OCxEAS7UwaFLqAqASPzSXR1Gc1KrWoaMqQ4+Zrf2v1qPuL/Qre6m4AG4
vjmWDl5khbiSAXwOuLYodlHPGZoS7S4PG/tTMZuDhTMp0qMEiAo5lMqvtgJZk4TScz6felbcjCTQ
s6dijDaj9jVJYWR8QoHj8/pXLaTIGkoxaKsD0hWMZ0LQLZwx76YqpqGeNK4qyW4hFxszB+9ZtQGh
gluNb9cNLkUoWPzdL8HfXUWBZiSOVcskQsNu0yluASFUz/3S3ufnPoR2+b8wBt5brvwHZksAui6X
OO2pVYLGCVQ8+yGk2752h5f84NG79FCvgIEWdi4wHH9McW87i7xlAlvqwMeV43hObOsrqZJ3Q6Fr
oW/Rkc4t8S85s2SMUQQxMlhihzHboWkaLxERe4ZQBYi/dqV0UwSQfNfRlYkW4xdbfkVXM3qb0+p5
ZXaXnAfR0AETL2d5FU9sakNPr6I1DafmZlKDbPJyeQockE49qz+ax7oOioe44BrtVGZuTh4L1U2m
rVE+Xv+QhSSdw2f+/g7h3Gmsek5rqaQhpZ0LYhOlhnomh5bEa5RQSyHj3JLgT2ZVmCO6emlYbMhD
ufYI/7sLS0gZLgYi+JAVE8aKCBNKmGeVftps0+wpBbXUsfiqP8rEHb5mQBI8+ZXtimf7dsTCr+XM
Sy+nvOMAnYWgz+PKhpfu1eV6AvWaDu4V3Td7076tem/y5dZ1erd5awZPGX91L5BtLBq31SBYdl8P
rrK1Glw2i1XM+uK2AqAPkpGcUccR1pYW85CrNb6mP0wQWJ+jt0E6UhsPUazaddIRmIDEeNPNu6nv
NnRoQd5KDkbyD8ma+O1ag4eBsBsgShAXCnGym7NJUrSBhi+K/g5FJNe2IaYzBLkBelhfHXaREurS
W6a/j9raQbW4IlB/R1YFQRXejHm5IlMd1Y1tT/DvR7R8Bnt9P3/UW7Kle+thCJ5BBefJH44vgwGt
PfYrcW3J5f8Y/1bwlJOhKSp9piHYgYFUaI9UXoXW80UU/Z7fRcHGCwwzRMEuB2jkrAX9tQyXmw9m
5eX6psVjB7ROPeOleXYgKm0FzZrC1e+KyDWrQnnIQJMiSIf5yPzBH4PCJ2DQ23R3uhcxd3J7P7uX
Dlrwtu/ujNP0tC0eh9vpNtkZf5U+XoAfycf1MPa7nnHtg4SreYLm/tYu8UGGqx7a92rzkXitl37e
1Og4GPw+MEJnB7G0r3r3UB4dfGNzlB5/tb4VxFvn2faBFdh3u/gmd9+Qz20V/H+za237p9TNvesf
KxIB/t4R52smOGVX1l2sDvhYEGCiz4w+ENPLw86TfPU1UB6NoN9Ft/Jrv++83XXT348dIJmR/HNk
Nh49xRq32tZWquusCXMJAh8gmnSSDZ6Me4QnVNkiFH2v2+MjuVwWtDzBO4Eo5mAx8Xml0rJiqJuq
C+1nDHTY/wJEs3mh/lr9daHexelEua4NiF4h5C4EGWPUbYoOORgi+wQAg/7RUU/jqLvWVPlStq97
tAmvYMP51hIHZ4GYi1crQUUtCyda6wxxXZZlF+qpcVRSdOw6yWczaJtBrf66Po/fIwn03GQIUCmw
hq4uwb2jierEBrQqjFv5BFoJ3KTWJCW/ZwKXJgSntNOxqExWd6E1Tpu8rfDGt6trn9gKMDIrZ8LK
cMR+oIJlZm8Q2Jo6/THOs40WraGg10wIDiFXZloqPR8Og5hgbLhp/Hp9Tb7vJSw+rupgy8W/v0mz
JG1U1oORY00qBgUTNGe1ie3PpPSNvAzSevzLkZuVft81m8KRDryNLkcR7UIapZ5m1ntmx25B7xFP
3H4A1kbfXR/k0jSCLAFEBlzgGgQ8l8dLqqVWoReYRmNmZsCsFIxQpvzjupGFWiOfyj9WhONkjBs9
rxW4d+22z6AF87PTa9S788EziD+tNIQvz+EfY/zvz+4ApCvK2XCKLmQeYy55d352DLR1L9fH9D35
uhySsJ2o04A9P4KVaZM8JS9rJ/DSbv0zY+DQuByEMmIV4g6xx2j1QJpDwxmQ4IXo1Oj1leNqKcyd
mxJ20phVAJzNPIa3vyqQ8ICd9ln6p7SoOBP5fFnAPUIOBWFOCKaKXictIbAyT5JPqy1RtE2jpR9d
b7vXV2Z5PH8scZc/W3/HSdKpVLsuLAuncCMVssVKcQTu6EWqy5UMcNEL0GSO5BfQb3T/Xtoyum7K
UoPB1+rYLxKg8ZSPGUnZ9REt7x9k1uBEByL7mw7ACAx9pcwwkzQ3cQtQttoEklPsKxsM20mgWvEt
uKy9MtZ+gGg5mOLp7foXLI6Tp9dotgaFjajISGIKko5C7sI8eysdDDM/xckavHjNiLBxzR666jRR
MEpH2iRjcsyl8Z5KZCXGLlwlodWEfBo8BJxdVhGiURQ7Um/pERyEfkWoLMk2GEFzD4yPtIHAakbd
fP5SR3A1a5AVm4J0oEFf4j2iTO+MrPRUXEFr8lTNye76LC8kjpdfJswA0Co16RsLRw4ukb7U+NFj
A6D7X9Ec0FtrNypABfvWs3VrDBvz0w7tqHUNPVy713wPPvgMvKnjjquCB19saOg7vbCjaUBzX+Z4
iXo/qcoxpwdGXcNcfXTjR9pllsUr1bhNAxTNHzSFMUuSZLBWr3qORp6Jy+i+yd5LJzB+xvU77rgu
kJ4S/QKb0Mre/X70AYYETh1QviDvckSSYbuaQBJioYUxsX4a5rHJPq6v5kLOCgOcn0DHcx7alPnI
zwJR0+tzmevpEHbtOJiuU2WycjNkeOk/0d52yBZ/dj4Uye41X6f2DCn6rLZ2qgScln/9W75vLTTQ
462P3wnQHSq+gMvZHGd2lEwhitQK8cHCIe9SZsqVDx2/Nb6J7wEYxlTolfBLAWeduRx3L1ElBpfl
FEp5vtcpa71KQcyY0gl3x2ItdV4cmgY1IHCYaHjLFHfzNJe93VZTCJiLfAATvHk7gfB2r1pyupJZ
LJoCes1G1IDIkQjgj4gpZ4U+YGAM1FXoTc13qlFqoKRGs+H1BVucQy77gssOv3zwTzn3HZsMdRKp
U5iWpHVjdZdk4B1lbAp6g83BdWMLMFLOK4UqJaAgvBtCmEO8vI/IpisWypPk3Dux2Q5uacRgtgKh
kDN7scWq7B77OPeyOG42Fu2s5kBqK/+o+gF3PquM8gmCw8rw1I00py/XP/D7VsX3cQZWtAFztTYh
RWn6HhzVaAkMI4CHj9TSC97Zpa5Mw/c5/63xJMN5bU6HIxzm1hxbUq1JLKzR0HVEFz47mJKU7Luy
JU+yPtYriL2FUWF1wYkDDA7aqIVb0vUZ+u6anDvzz88SZggFIjUyY52F5oP2ke3N1+s/fuFp4vLn
C7EMlC4xpOXw81VoCvzMjkm4d1oXTWDVM8357yv2vh9Bl/aEtTBoqvXgqWXAbUKq5Ji3W+U1NX9O
zXYCVtTWHycpUDpX3ldp4uGRzh2nhyb5rPW1Hv4F5P/llwjRbK5MI64mDd21caD1R/PdrG5UlOPq
93RTF55cGKB9dfq795UZ4Bn+5bl4aVeIAI6qSzPebljYOz+q2m+yXTtvaLTBW/Vr/CvfXje35Pvo
XOT4VYUXIITrjDZAloa2xRySTMXre0kYsNXRnUPqyB3Uco2CeNGfNBy6yL44x7dIcUHajlP8l3PY
a6pvkq8M3PpP0f5tVnb9YIN1nNib6yNc2m0meGRAdQ4IBS4hlxGVOUpLtFGecS0w200qp9WGWd1a
oYr/FHHVzq0I81jnThJN4zCHdlN6jRJty2rb36Dn342OtpOupLJLuwQaPqDkxNUd57uwK/MuL1JI
oM2hY8f0VsY9wc07q94rUqttW70MhzQt9/9iHs9sCjtzUJpxRJCGTXlIARKqpi2tS3v3b6zgCR4F
MSBZv/WoIdfurI7g9VfVuxvojP8YgVVaMbLk9Jxc0OGShSYS3kuXmDJIz/cynpjVbopvYsXaqJH2
mFt24TNi6CsTtxSiEaGBt8INzkB/7aU1lC+lMqqoHM444tzR7rtfmObi1ij6euUkW0g9QWiGSiKn
MwSDoi04Rjzos95G9hwC9qjtp6mAREjWlh70H5hXZHL8MnR4d7RG6NDUDQSardExV7KlxdnF27mG
7AW/idkSb0xRrBG1ixl100OaQeSeaD3zM1ROvGS2P/+Fx9hA4fIsAdaExZwzlU5WBFo1a5jazUwV
2bWbSvL+uRX0EVhAKXBeU1Fk1aCSWhtjIoelNT4UWVa7vdM//nc2xBji9JJFcvh+RiXFJUMXe4Oz
9pa58FQODBuyHAMRERVukV/XyqzC1ugEK6jgH9Bt2x4tmzn7aGLdYy+jMJfZLbSyYlD753oDfGnM
TFeJYhbUAHoHBpGczdiOkIqo2ez3kkme4krPvSRnZKWTa2nrgAMGbxpoR4QOsXAW4im9LhyqysB/
RpGf4XgKhw6ET32aZ+H1yV82BelDAJpAdCry5kqpWsRt5shhK/XMU/NkeC5bW3cNBiTIdVNLJxJe
LUFOyEWVIb9xGRAmwyAkbzX4ktzHt3OazoGudvK/8aYzK0Io6BoKcRFEbFBQ9/om6atyb+a9vpI/
LE4b5KHB+YsrNSpFl2Ox1XwaMjNWQjBbgIFzAHawmtX0FiUpc2ULLjTbwHP/2BIJtisdIJxUsuWQ
oqKAFyC7KYaTArGLcRdrs9yfBkY0CI6389D4mlNTttOII7cu5OlbPNnnRo8SWa6brkyMNna7xkDr
c6mnaFS4vsLLs2KBelW2ULUT76bQWOilTolkNMhl1UHpLOMHk8f2IepLZ+XJhU+wmHhAixRAPtxf
gJAWtgggcVbVOZkCdKP6PM3GR1Orj4kRxgoaQJA9c2xJt5JSLQ0PZFP8jIEMHISoLhe9SfS5nlrY
HJsqAb08pK4qKUk2AE/EK6aWMh2QgUNfDWsPOkvt0hRDOjAoZaWESQo2+2Nn+lMUQHu2GVdygqVN
eW6I//3ZxTuKokxN7ZI7cnFPE+LlMV0pPC0cjDieANxAvQt0siK58ajzqzb3iriND0XXblOwe7jG
SAFseb7ugEt5Nl5ouXQ79oIF77gcDhuaxJkGDEcG17mnxoNvdom+IVMz3dp6I3kdKcdT1+h42Tfs
G7O32SuVtGplVhc6P1AuwRsAclX4iiIWkKscvdOQ6VUAkzDduMxvJh29+epLY0MEQVW8+qB3IPiJ
VX+scMNn5m2b90GfD3e0LPdSEU8rW3Nhv1x8kH05MVVTOtKo8v2SeKZONmpeHiPMQs9GN4PkZ81O
+hoIeMG3YBOEcBbCAe5Ywn6xpwrCYqSFzZj6enovF2u94suj+mNB2CYTrlxO18CC3iTRJseLnjOF
/Uiem6FBMYM8VFN0qp1x5R6yVEC6GJngZjPKulXedErIik8ze5VuIfLgljN7SmV9W6bELTu/YsRz
tDpAR+1tVrrEWSFgXXglweRCt1oF5hkYLZEkvZgL5NQSYgRQWRpwKpU0eplleMWoAKxZUBQfo0Nq
dptImUy3SLWTNq0JDXO3EcLwxTcIbmW1OFEchnOwGbP+XZZk3PyKYehfpwGZ0gyy79OYDao/02JN
OHsxrJwNXziCzdEuFMKHb6EbQbJ/IXv1dOtjzteKyctB5Y8l8QCumzqNAVlGjAxzyMhD5/0Wxev0
pX4a7/SPNd6UhVMGUwpWLDw/aUiWhF3TRIQkQ9ooodmddC2U2o3OVipxC6fLhQlh2wyDmudsrBGd
zF8YEVgGVfoejzaOs/31gLy8SH8GI2yUjo7GaJrYKHT2gBDaGTZ1S7O8y6eVhGwpv78Yk5AQIOdk
EF5CKOhRn62zfUM3Zqt7mv6l4p1SSkZfUTwp1e4hRLuZ7G01YPGI3+hswwbzVafal0Hkz+vDX4xP
Z2vJp+fsdFVwN1OogYm2lbeE+HJUuToU7MnPVrorlDstCa/bW7oI490ZJVYTvMzoORQMFn1KUtQo
kDcMbgNf1cCS8G5+UtW1gVSqHts1GOxyFDqzyH3tbIi0nGU28Xlvkyioaigmzc62giAqi7e69F5m
p7FXt1Upl247vBjdSihePGPOzAsBqKc1g7BpzyGXDgRXbSV127hOg5V5XdyUkL5ANQP0mWCUvByl
VU4gzCtgxrQ99XmvY/fPoOg6qS6qNSDX8NauMYtb9Myg4M4QIyJ4KcPG0aEfwvLG7W01kJQ3WiV+
N/+4Pry10QleE/ddRWYHa1iV1c+2zwvPThXFpXmeedctLW6Is2EJ3jJazBrZBEuz0QXUeMjsoNF2
rXlymFdVs4di1IrFxQh0ZlFwEIeONB0tWLSGYmtHOzb8aCma5obN9ZGJGwGAOfQWnkkGCUPT5lpX
UxpBB6n/gQZOT2kA+bGU6qiiHMR1UlTS+rpTugV5tNvHhEWNf/0T+FDODuNvXyAONa5Jhz7n8oSL
L6T7ssxI3MzEs4VFj9AO92dpe92g4Df/axAgRZQpQFspopF1uQOSLMKQ9Rxl7MhL6C6y11REhAX8
bQRsTMBbgvMagGvhsJrmorCnIS1Pk/GpTceojEGL5cbGyljEU/4/dvhA0F2MKqyI2JGHOAHxCbSz
nDj3bfWH4+VK6SmGq3iOulU/hjLsErKSlosXhd9WYQ9oZ6DK0TwhZDEy06sGDx/lKX6RpEN6AhVu
+iSbGwr8vLZlyuTWnxHZ1PW2Zt6k++0q1RP3S9FrdAM4TFRleF1MyDfkWa8iTbKg93i4q13H5b+0
jeP+KN2NCnzIoXonP+rX656z5Kq6BRARMN64SYvnlNZP2qhYkGvLkTB2+R0BnVlelR4lW1W7qeK1
Drcle8hCIB2NFjc4k+BEdGyNQYq16mRP3XPZPOsluSnyHwXu8ZYEaZ+2e7g+wKWtgWMJmnQoBaOq
L8yqUhlV6ZRJfVIbe7gdVdbv89E65A1Tdtct/RaZEBcQxXwuIYuKCPCbl2eTAm0ms7FIfeLrFu+6
fbyLd81+hE553LrRFripvX2Ij90+2+Hau2uSmzg/yT54207JWuu6mIH8dujzrxFmWmnmrLDztD5p
5VsppV5k/0ijmzSytq0pbaraOEB+BQqAz9dnYXEjndsVTuhWt+cItBj1aZqmjU79gdoeKHCi6Rlr
rGSeXUu+E/+I843yOKD/trxrILTWr22nhd2EBig8b//WP1NEWYzBTKOiGvEZmTP6qXWTNpOrTL2r
GbGnlyt14t/ld2HpFbzeAwYChWkNOhmXS+/EVqdLZlWfjhbfuS8gRPaBaN2UOwP//fNDcTn6NA6S
zX/+ybwv4Co99EUFkRt7hif7ijcFDOLGsqutPIgsnYgaSqSQgAMMhx/Bl1+XsQFgmAlzofezC8lV
CMGQt9mY7ltr3suphJaEG6CB9mPGAmbku662ViZoYTU0VM84AzjamL69yWR6XlB7pO2pHyHCA/FH
t2H7RLlLcTu+7n8LAQb7HPEF3QgAiYgNz0RP5HlE09FptG87sFNo+U0rd14xH5oJ5IH/7FrFNxms
4SkU55SBkpqwyVJrVCsIy7WnNnfV7YzrtUvX9Ca+72T4MPjubQhXWnAxS8gKjbZMshb55imPf6r5
4Gc7G/23ee/nquWS2h+q6jZao2sWEkRIJcAoMJ8AmBqoIxvCeUikrHCMbkxOeKfMgnlQi5OExt/A
GprspqBq6bXo0/V6rYW6zUxWSpXf/AUM/FyaXOEoOV7kvfTYJI/MuZzm5MRyqF2NeOnzMp1GgQPV
q0M8Qmo3Yz1dSdt4ZLrYxGi55YrL/FUWTVW/e4HOblApymR2XmjJqVRlr46Ut6kFL+s/dE9uA3B6
jhqDk4rnbaS3/aRasJEkQWEE6JSxnE200fOf8Vrtc2EOL0zxvz8bjpbZ9mxXZnKCq4REq12T3RvD
o1Tr90rxeH1Ya7aE9SrVnvaaoSenYnDjKlR/xJ/RACnXldlb2gpcfAVILN4KCd28yzENvcxso1Dg
F+lr05uQQL616m1+jDM/P9Ju3k3V1/WRiTgcvhEuTArnGRqqJI0a3Cuq6RGAqmOO44pMhm+yzrNj
6FeTDkJ604M8xS4Y8Gf9i2bZ9vpXLM7v2biF82Vou8YyJIy7tPyy3WQ7emNJaIW7boX/lG8bgFe6
wPSB9iOxaD+06VwxFR7TJugNRqWIWA9zNq8torpiRhgMy7qiwBMxHLPdAuKzJXPpOpq0VcgD8W/Q
71KUj83srraef7vA8JU8G54QR0uVjpITwW6ifiX2HMyT7o0E4OtuJXp9P3B/W7IgBwpgE55YhRE6
M3ooipmQU2brcUAqHfhiZUIZei5DJVWIR7PiDY8xv8oOjemgzag8lhRPGpDoK2f/0pgBg0DhX8fp
hGfSyw2TNclUsBpjztTqYJDAtgd0g8+utGJnKXZCJQvNFnjtQdolzG3v1MRsSzs5GVnVbvtSfbVG
vV4J0N/OdkzruREhoqW0VFKNGRhMk32Zo1f+qvTMixV0XxPQDFZ96l3fEIuzB+In/p4LBUsxo+/b
TCOTilE58n3G3hyrAn+i16nhdTPfr7wYmKoiOwOZCbIkWThsbSM27RRN+qdygJjUVulML03BR4Tm
QiBpQNPtSfcgMljZiEvTqQJR7ABYjGu96KWxTorCaCZ4qbxLpg0pPeujiTwUCMdyjdx/yT/ObQn+
MfZJlBEKW3hM9UaKX9VK8FqzIDhHHE0qmxgsgGoRXMWNm/f/rMT5+yQAqtzSdODM0X8t4CZsJHtq
3s7khI5Wf61AvxR7z384D5pnp3U+sBQoGLiAXDfeZP40QMdXtD9XHI1vdzHCn1sRzk9bMZLCHPgQ
8Cj0SoJh98ve5IHp7q4bWhsNX6yz0chqY0iyhMVI4mfwp29ruXZtbe3Ra3nJ/yyIEGbzyMkLpjNy
mjPDJf0D1f/LFRe8NtLN0k5LTBe6ubwieWiVfGUPrg1B8Fqt6YClZBhCD05vBvnEjqwANJZimIpU
HkcAznSk1ZdLISlKAmgtlqKGzlMNSs4itQOn/VlXwfU1XwwnvHomc7IpYNUuDQ3G0EI9ucAWt/W9
kZIXR7trtUecTbjd8wYUtuJki8esemaRf9GZl82qXhtVDIvJvYSqip67VZgfmW9YruKB8nYoV86D
Rbc+MyjM5SijUdVEyeqkWM9xRoMaIoPmmhGRW+J3nEENASA5NGRzMNjlsLKmaJu6lclJfTCBfDvK
uas/x4G57YPsSH8aD/omd8en9N06pLG7r9ONueIzItTpP5+g6uDg5/UMdCtdfkJbS3RSW5OccrYZ
H+Zf1DfroxMd5urByPUT015aVLHupF9xUrnWP1R6+2ZdmIA2yeORAT12ktt3Dahs0smeXN/Y4xdl
/+ZgQtkcd010FzqAhF+O1EnKxCginW9x03G5CooP5pO1p+ulbY7sCzVWGRLcQAlcWjEiTvcEpdYT
IB87x0kPDC3C17ff0j4H5hWtX0Bh8Sr9pQngeXrAYGyEdvAm6uUm/mGyl2laKadyDxcPEAMUUVwU
3gDVg3CAjLb2P6R9V4/kuNLsH/oEyJtXSirX1d5Nz4swpluGcpSXfv0N9cHZqWLzFrFzFoPFAANU
imQySWZGRqR6F0ewgpb0kuB6uenM3u8AAAcpwjIPvpHIeC2Er75To9zQqIFtbtowWszfUbcZI5U0
W+vV1t7teN7YfbKPhpfLsykaJ2RfQVCLOiOy8txx3IE7zY4yLz3i1qUgmRuHy9G9Y8XmrwYHOkyk
p3HxW/PU5+tGrcitqjbJjs404Sm0RdHPmVNiIx+vJPfJZJAshUqXLD/K1+k/N5mNux8yZZ/yJ1y4
rtqW2ZAyTY8GTp3UbCGsW4Ae3AL9W+yz+GZ+VbRb0Nwc9Oge2rf6T4jusE3zntlPjmFJnJfvQP3P
13zWr0CDakOp/nwWFNfLW/SApcc5nB7Nl/Le/bls+of4fnyw96ii7TAx6N4f7hvw7f9EgeLycuvr
evJ+Dcg4yk7/sc8dJamLarliwH5ekejaCqxf0x2gx2S874D7+65tlysvVMJiJEN0E/tgf9rnO/v5
8lcIne7kI7jjRW/Bw6wy+Lk+PjMbjUaGS5rFb4qd7mwS1BBykFVeNik6tFcSI4QmUM3hEXA+73Wc
UdDHQ0Y+X4yDDS10p78eyoAl3ia+K35eNrYu4tdJ/mOMu0556eglMYWx+ZDussdex9aShUHhW8oG
HBi4sHUq+WtIqvW9UkEh8Tis4MYCfEV29xFH0Ic2jUNN2d16LTU8eh1HbylQuJeHKN5WKCACL4oq
NP53PqFVHTdRC5Wy4+wjPtL7KgvKx+zb0pFxO9418Sa9VX3vrXpU3pS30Qsk5tc3yJcpBhcPQJ4g
p0JS+ty8o/faEqOL7WjfT/uUBtELpYR9i+4iwspvvyXWhLsGe3ctLoD+h++PTNqaKhOIAY5NN+3U
8X68dn+lPdErlyjjc9f4VvAsaxIXbhI4KmQjULcEMQA3QqSd6xIcvsf+h7Prn6kPEFPqo4lAMpXC
nXFih3vtofOprIdszI6W9eItqNa5QekdTfOHsh+aSRJ/hEfc+gb/76jWmT65yto6nDYtYa0LPpCW
eoqC/rjcoGApTaGuHvDFQ5wVgwrvWL3k3FKxdF5EFcxfBRWAKdkw9Bj4LNmlbmjvh5fJ2OaUVC+t
c62jTBrJEuCiawqQ1P+Y5wJ9CeW6qKYY6Gb6aYAlLZbEGLF7/Pl9LpBTx4sWK8Xv69fmTLxV4KO8
dpwnvHjQUUmYxNz/Z+H+2ONidja5aGoHLOJYtsZ7ljnbsi72nXsXVTaQzehquYkNkHHJHluSVeRL
eoM2qbpdwKyxoceDHV7e2OLj8M8q8bRXVZlmUcswi8NmDqMf3cZEu82+fVG+eYG7jQ9JTnKVzL+i
N+e7qRH1et6Adk9n28vfIRsltyv0YaiXocVnxOjTVJXvw3DbMFlOZL09ftkQuDaj5KQhe8lPpZIl
CJnr1luC+PDm7GbfuupeUz+6au7TRxZmkkEJA8uJPS6wqGalumCVzI602hbm/bKypbUPxnhtzbcV
Ot0vT6H4PDwxx82hpTQD6mswB9g7yQawwpnbpQ7Y0aG+Vd81Ukz2+gS4NJ/rv5+Esrr3AL6OMZ+j
X4TzPS4Sh/b4G838ZArb/b9Env/n4ngyvHV1T6xVhj3gjPi0Vh9134RE0vBh+R+XZ1EYtU6srI56
YsXonXh2myk7Fjv3bg7MKyl8U2Zh/fcTCyBDKcvEgIX+x3SFu/j1dFWEdZgBfEQ30IsJQM78AGHg
y+P61IW4tFhcOAYcHM/iBN5hbrUBHfYm6H/bAFA14BLowQvbGv3Rc5AEr8pW3Rlvic+21U69Qipi
ZwXoLvbnzb+Ekn5ZUi6ELyOzy9zFkkZmATuWA9Bl0cuAAqJtjzsLUBGf9yS+wN3WCZBPiQLtddBN
JFGNDINkowsnF6gqT0cJYVWK4QaCFA/qE6mHp91mgHj01jyMB7Ydfufb/Dg9xlfl0UMmp/WbXXus
t91H9a3dFk+giQz7fR/UN/GveitN7az7nV/x04/iDiwj0tM4n/BRym2z0cM6aH00yIbgRfZr39xc
9i9h9fTEGk8AM+tp3eZ4SeMgMf0UVN6M/CpJ4ZcgL0CrnOTOZohiz6k5LrYuOsqXdoHB9eAOHXfT
t9/aJoFDJ7fjD+NWDaG69NqExcHaarvotsaxlV3juqMTtPBtu2eXTDtlWwC2c3kaPqlnLkw6X0hC
V21vRCq+K1CvlVtlDzz83uh9UFg0ENx+SiFGML8Yu/IHHn0H+wr4GOc+CaEa+G7XpMUz9Cn+Zfjq
nXrMSHSTSByVb6P53HGn08aF7HYpLKWiWCUDaKUXtv5x/LeFaP7hXUq6LnFAnqbHjeucmRmMqQeP
pMTYbr5B85Fk4Q/ZW1B0fTgdFhe1LSsGDGPdf7n53ud3Rv1RyFKVX+FuSNyd2uDidq+omQmKIzg4
omZyq5CBgDN+M2/iYAJhPbI325ePy94kfGOe2uSCNpR7FctrYTN2503d135aAmoW5dsunnd1tByU
vt2lY3c/0f7W9ZKbAYz1dQ5mr2XeGhoLY819XvpbRVbNkM4GF/Gmuc+8dsaXeY8UALg5NHY9ROFy
yNor/hAqwfytPNSSXS+8g5/OBxfS+nFkybhgndVt+rDsAMm4N4Niw4JOclcUPS5ODPHVdDB8RLba
Y3hjaB2XK5N42ywcSXJ/eYGFfgtSJNTTV8pCvhzc0ladlSKmR5o2QaNBoa7yM1mjzufp8yUm/bHy
OasnNw4TMjxWpST0qDX7NPvQpmTnuDsPr6ZpHu6mtCaJ7UEYq/azsvcHY9wlml9Es98B4pYvxdOo
OKTsu60RVRvwOKLIZ+4oU8I4a8LOMW5XmtKI5Y8eBZdLK+OaWDcW9/lA3qHnG/l0VJz4PECtjUD1
Fl1yNNGuUHcNMSH+qcfP5ShZDZF7Qa4MOR1kB4Gt50sERTdBPIU6gMJ1bFe5+W3bbFIaeupWp8/g
UGuHGA37svyDwAlwdXAgjwn+KQDuOadu0WuCF16bHmOA35oBfMo2bs+VTKRMYobPV82xSdu+6JD4
7A5odwtmLfE7NZdsUZEVQBhXWjqwggAyeX67xUJCn9FE4q2F/4S9+i4t1QrcAQjJPxbWLzjxZqZ4
VWe2KKTmS3k1VtahcKdN08wvS69uLm/PNYhxnudiX0LcAKVOoBPXTzkxFTULW2YdVWE9D+mQBu6s
GWE+gYsiCye7zbdD4koQRWtE/2rSMnQQgACZ6HBJr3QcMjxeMX/jFEL3mzR0hESrTXKv3AHv4F8e
oHC1IEHyX2vcLUpz2snRKmARzDHo7B80+hnJbkSyAXGvUmA53bZX9PTYOcu0jUD2ESgFuGatYnrv
rQRdnaYpS/ILbaKTc+11QAu8xTmhljStouQo9Wkg50+uN72zZQtk2yVvKsEhgbrYHzOcJ7a1Wetx
hdopa/SHcgQtQRz5SqfspkULWa2kK7ZHmWR6wcINYCKB4emfjffcouU69Gat1gIYIht/Tday9fQk
GGle+RRtLJcdRLgDkOEGWgnRFwIM5zsAnC36yDoMMdX2zDeAljV80NqzTVRv/zdL3KgU056NtkRd
Bi1UWvzcxEQ3jlk4d1elxJLQO07GxHkk2hK6qtdQP12btcqwTQ9u6Uf0eYz+JhaeGOIu2yBua0yX
roYydZtVBwhZhAWToKFE2AgX6kH/LBHn7CMbPIUuWKLE7LeQr99UP5Jha7tHzfieF9vSQTnNTkjc
zn7bSKZy/e0v0coGOQcYTj/JHTn3MDPFthiKEMbyvsT3k6zHRPb7nFM4RtR2A9oJj3H6YanfpWeJ
6PfBZQAqWgfCF7q9uspJgB/c1vHmrsBpVYMKNjGWw6R7sj5F0X49NcJdlTuryCurzj73EPBeFB1A
mXnn9h+XN5AolqMlcAUXIgHxpRxmzt2Y2hpNj413Tel7o8uUR0X7BglEkFOhXm5bJjeO2XJbSBxj
spC7spt5q8YKQXQgWnFQoJNzeTSilypuQ3+scbeihDp95FIgcLJkHClooUDwMCcx2mjyzoPevT6E
hUq7pypr7xcHyjjY1+NN35cWyGeLNhjL8dmlSy4JiEKP+fNZPDOBuzSVk4wr9imNFX80VXNDG1Wm
YytcSySsQN0CQBeSSud+2bRs7gabAbBpTD5CoXwxRWcX2vP+scDtrKEvp67rYQGY5ccKAgrKFJFU
H4kNkVXTJLVuHrp/qRCxZh/AFWeg6m98UhhyRrUu0dbSPE4uG7wwA71q2/qu71Vf69ZeoSTeXXYi
wTSe2eMiveMWE2MM9uBHBFo6aEe6ntlfnMdnVrgwnyQ5HigarNTetTld5/1Hnl73tuRFKhwLoixa
KkExCbjYuUuAvMKgKthHj2DO3uXQ2kUD2b9ksPzP+oCXzHJ00NyhP/XMxuW5FyUEPVB1/fNj3OT3
AL7Z1MS51GZ9tinjdN8qSXzXdlU4Zylo52hZbSqn+qADpcfMZsCdGfHr3BjLvp16Wav2J7CEO6vw
Pc6qs+GsVG/ng/s/O7ZSs8hxGsdeflXa7KDGP2oavaYp3XiJTewaCXgDrZsLyaD2hYwLcfNNRfWt
Q+lVbo5vamb/vDxJgpCKd/mqUw28O6gouUU1Yq8rcgNzpChBuoTWFRuekLlKZKk4mR0umGYRq8HG
iMtVUlcHaHrt1GUgLLH2WqVdNVm1vTwswYl3Oiz+xa7mdmGNPRBH0PkFzG6Igig6sFbyeJFZ4Ra0
daB/NydY0IKo0d036rxEhiSAiE2YUExEY9yKdz3bEP+nZVYXTQ3mTQfD0DgdxiA3vhnD/d9M1x8r
6+qd3EJY4iR0yGEldcgEFcyjR0NplBIcXFgTvClXfiy8ZXkjrWlm/QL0GXPdnmST5fgznWTwrtVh
v2yyEyucQwMn45amrqyXkIPjjr4JmthouWvVjFgQxO1kvI1ix/4zKs6xDafNkA9IUZS3uqvMrp9p
/r3O71S7BYpbxil8cXDgwONO5UJrQHm6QqgyQwfVH6S685yo3/rqloK0WpqOEkZ8C+3za4MkWjO5
uUSyyEFqCGMbax/nZPs2Zs+XHc9ct8iX5UKPHW7A0OcBWuPc8wbTnSpwLSGL28VpmBUOC2I3qfyZ
UYXMQ5k99aVqEbOnecgyRjeQR/82Ge1IPHB1E61uoUFvY3HNjn2AZSQmEO0w/CUdCh97x/Ohw/3D
ytuedFr5kiQzDZwii8ADqrmkTYw4RnsniLS8JZ1fvL6O/EGLk9tljLWgqtB1WrPcJSUbmhBJEbDL
TvZ01BJQRphq6YRaPCqkNBsbVA2Gsbk8OeLp/zM33PQnLqNLncXZsQaTUZ0MgRJLnm7C6ILGMYCb
0In3hToPUcftkZZFNtu61+KjMe9ydSCW7NYlSmvifPljZx3pSXyx+9zJKhV27EPhhaCfUiw/MnFX
PqS/lL1RSSZOGGlOzHFBs1oyVCIcOFVyR3oJj5ZsyjiHBU11p0cafrsCYtS8bQ7L2+VVlxngVt0e
usauZsxVnEUgynluRsePIVCSvfxvdrjAVeaGUXcMdqL80DVbF4jg9lrVJRtcMhqPi1h91ataYWC6
ouf+xr1LnyZJ34wwJP5Za+7G+H+OAiEDBqQnyrBaSloVfbK75OfYhZ5swoSR/sQSd50EdsHQlwKW
tHyDNtIeNEYxQbulKuumFu/7f3YLT/Osx8aM0jkMQffImVIyJNfYPOTy8gtHg1KG9cluBXWY8y1p
tmOP1V+Xv3nwALBS7B670iXOuy2jrBCOZ32u4z/kOfg7TKvEZVVOJYAf6hbXX2JMBWEyHJlwPA4Y
aNecP2TN15hwEmJysBkoqcWyozsGBhr/ytYhhZMQNP8xW3JdEvockp/IWoNbGg+Mc1seg35dVSEp
1BZhlobTsAECryrQWBvWMoyTMJad2Fo32Mm4kI4fM6WHLSjOApmWSE4A2c9z4UxfhiIyR0CY+x5Z
oZaaTtDHkSQICB3gZAxcSIPiSNE4KsZQTjed9W5VhzpNJHdx4fqDcAQaKnieAl5+Pk8xSgx4tSIx
hIx7sqDlMNdIkyekUo9jLll/4XmmQ/TINgEMhgYQtyhx3Sv9gmvLUUexJJyH5cYZmbqN21IL4rlP
fTSnXZvubAZzP9VkcrVaEr1FU7qWbNEwDLgP2G/Phwsl3pW0oMKULr+z+Gn6ix5R6FX9+X3udLDd
pC5pA7g1i7ugpDZxyp/MkPiFqPcLCiBYLQOJffQlc4tmMHC1JAYqgvV4lauM+chWH7vubuohKasz
qO2kIAwGggULSov7rHc3o9WRybpzUpkei2hGcVNE69Wn/JzKzSjUz+xoSvAtGqRzAuSEmF/l+e3Q
yp7CQkMryQog+yAs5nmp2sqLdBcE8sdh0d+XqPRCI1X6IMW+Cy/H+HWR+Ms1iMoNHdQxUGTg67pp
1U1J7fRoOKvo81D3x3q+LdV9suh+236r0Mq4FJJtKAqNmEEQ/0KHCxGSm0Vr6unUtBNekjTeFLsG
8oRJ5s+xDlXlmEQy+gPR9eLUHOemSdFVeqNpyK+lzl7ziqe8LgAy0Bhp1HT/F7P5Z2g8IgMSMWAE
GDA0t3pBuz5JxoaU3kKmB0O/N5IlUGX9ByJALchH8DhC9QvUNLxPlh1LsyVFe2Y5bSyNXlVgS8of
XAj2uR4k/LIgubLTW5aOksuB6FRw0O5qgWnYWlkCzqNLqen2YJtIbCQsjT+Qj4ew81hpfxHDTq1w
VxA18xacbhidNWS72sATJ9ssXb25vGwiFzm1wl3bityb1T6HFUefv+stwSXuAFoyPzVlMBfRxkY3
DoivcP9Amo87S1s4R2KqeC5HSBfswDj5E43Kqp8m01/UAMBvhWcb+jtxseF1/SbmFkO0vhHsxQWn
5kKTIG+ZTOhH6AV/rPBIAH2GWJhhImGjGO8m3uSghZH4mTAlCuQJiEuAd3HBIXTuaF2J5kejQ2XK
YqEHtH+3qZ5V5YbFBJpzXvfeT/v5N7rhrflbFpd+vvhFtdfbu8suIro7uOiJRK8pWmaB0j3/CmNR
+s5hNZqA6T4d401S7Vl6M9jzxkhk7bkid1yFMCAMZQCfwi+d4jRNVzdAdAxRsR1a/63IYz+FduLl
IYni8IkZfu0SzS1qR11xFc89JfZI3N/qW5TdUlmTj+iMOTXEbeJpMCw29DjN6EfzBlN0Ig+LEtpR
IGsvEG0vlJkRlWwVlYHPRpKTm7ALVnlchRDrb5tHEMj9e9iLd/rrXA2lAcYgjyz8egGMy6IeoWNB
G9RrrLcm2l1eG9FAQN5nIe2Oyyqafs/drVAKsKytHdrl1DzYzHpIqm5nKe9/YQWVBrTMWZYJvs1z
K3OCX+1AAHQsugzUqcQcH515kLiZsMaCmi/QVqBJBpUpd973I1XbKQe4ZmpChqKFwfrA8p4oOJOL
Eqo6884rtnayBcsJKY2Dojqby8MU7SfPtW38MYBA4DknqNpk+jBjMp0m69Ek7m1qYLMCWpQNiZU4
+dfpH6Rd0Y3+2cOPrjZuVpdeiYraw1Omm5g/dCB6ZONuTZxYteS68XVgsISDC07p6pDSWr3oxN2X
3nNi1qDtCg/AFAwzoJlR0yaEqgVSZ9vLk/jVI89tcR65tFrf1hlsFS92ThYsoy6xIB4Nrtdr+zk4
UrlAX7hKXbYWnmd0BNoz04xsV1ZFSwY79YjrUPd/tMdt5wVE6VY79MCFKOhw8T6M8gM7TMp4Ip44
JMdBRoXnoMO5f9ewuBrMGa9zpf4B7Opd2eY3SpzL+JMEGJtPYWx8NuCZqNOtR9iJN0SlW7hljPFo
eUn0OPGdQiU23iYsznCN74jtZbu8RWtJ+6Ov913thJddRLSA6Fr75wO4kSqFPtrLggdh5j1r1jVV
ro1wlEH1BBdeDBOvItR/0VMMSYTzYaplayotHtXHPA27piYogSZjFsSsQGRBC5CZ+INVEpOFlgx7
K1rKE9P8nRcqTpCaXnvJSvTi5VuANzRZskXw3kVZW8etbSXthT4KtwugmFeo9dRhEnsltJqd+1aj
Dx6VDhCDBMn8a5oDZg0+eLsNrGhPQTYGOY9Cf728lgJU//l3cLvDzuuRNS2+g768t759aALr+DN6
Szb1i3dgG+Vg3xWPzlMcSOyu0fH8QXpul3vvMzZrs1XCiSD+XYal6a84j3qVONUPahei56yU5TkF
uRrYRD4IpBcrKazK2VS9ohojiCQc47JDF77pt9Bpnmi4YuHs6NAPjBj9MVkkD2FBf8K53dXfTnas
3XQQv9AwxxVRKnI72NskMO/YM9CYuO11D8wldkwSSsbX+adknlc/+jLPoJJEPswGQwvf91KnFEwc
CqKtqVhEbX55fRImybTVvWnTJ9V11pV3OQSBtAEDz79b5Sy7Fq7x6MsXQNMSl/sV28tTjTT1ELEs
UZE/mscbtUH7l9f+xB3rlbXKdTuYb5IRCz0LyVjAECESCu3T89nul4ItHl1AD6BWAZDuh1QZIdZQ
uw/Ws5v5rfraTHsLnK6EqpLZFkVG+Ja98iDgHODZcBqHoajd6yhh3sKXy1ujDHNJkUM4mycmOF9y
cI+JIkdD9E8Ct6CkbMA/ZRMl7X0mAwt+ffXBb09scXeBwl6MeHZMJLd791fnmQSiFA+XV2tdjC/O
AckrA4gTrBefq5/LZkCyC84BmVBidEqI4lM1gFdNe0+Va1fpSSU7WUTR3cAK2ZBwAzkSn7E17GVW
k8XGbcrC9re/g+NJ03tJfBMu04mR9d9PtnzWVDWY9R08mAuvCjPPjsPBU8nSriLSTpeQhhWJxKbQ
+9Ap8smLgaQbdy43mYvzo7Cy46S/lGpCXPriTN8rgBAvr5lobCBoxhMLQjMrm8P52FIQx9V6gw02
YSQBcJPDcY6sITCXIfX1kf4G24MmsSmM3WthGjxo693jyx04Soa58HAmj/YVe53mOxu6Pk0a+0bp
+VN+cNl94Uj2mmhCTWAAQaoPN4F3ng+UltkwGC62cwI6JsWPMqSglTsI2kkOCOGEntjhnGWh9mTl
NuwMU/NTrR5bmmy9V5BXbmYl8sjl1TMFOw4ku0BbrulgXEDOB8WWuqJKl9Kj86qBXkHGG746Gb+h
T3+ecw6j1vWpHAt6ZMv3MY5IDQb8WnnslYPeJf48vV8ejWgzn5rjlqjG7Qng1xLtZKNFqvHeBVWb
lORTFKROjXDr03pdwvJmBQYOHniq7qIxD7Tp3poCzw1pDMiXFEi/plUvTSO3l0ulm6YGirvHuNqW
zS6LX0CqSwbkmJXmFSKKmvUtW8z7y5Mp9PcT1+BOzhrUllPR5RSJD/BxaQ/oyCGadrsgl3PZkPBG
hMSN45iQNsVTncsq961Oo26BOlSqbhsbvGNdTuLRg/hIn9zOSrpNLTucRoiK0/2gRhutWMLq0QJV
2KJWV2rUS3agyI1ACQmBp7XBCrXc800xaXlnKVZDj7N67ZjPeCJK2wdEk/uZUkQpDYqe/JAhUGWm
U27RI3ISRBs+VqbruLWJrslmV+SuKKUhAQY1G7wtuB2u6qWnsMWmxwoUjsk+HrSrroyv8rXvuzwY
C30aGgkgWBRUUB9AbgIJXNBdc6+IwTFmtTVMemyMiWR4k0oBaAIM/kp/u14VAEJDOOYCS9N40Zgy
FAXd+Bbd9n6mXK9domMwFt+XK61Gd5WB0gRepGrYjpve/tflcdjHveFTHWBt+jt3EZYoU12sj0La
u+UmqZXn0ov+fWLz3Ai3A80Eumngx8OrMCo3RkNJ40y+nP9V5O4nY/k8bE9uJ3HLvM418BDKW30f
T/fITe7kfii0ApDlSkiOjhb+blfX3uiuiJ9jtqBRo9QAwGWl9kPxehm9k+jQQSoJzbIgSV4b7c7X
pvZ6FD5d3HxqJffH3NtCBhZae6AdJohC276NVQgEJLeXo5hwR4NpHTSecEdL5azGqYUSlbpeD5r9
rDhXDM0fPZaL/dXwVvEG0FGqYAzSz4dnYLmach0eQPe7zHB24NCyMjxuUmNTVDP0CGTXLeHSnVjk
9rOKttmksnBHZnTeG2zbz5BssSTXK+GqOXhgoNkcohs8S4fVMCPqBvgHtb+hd6bdWNFeG19YjcOn
kdR1hAFqrSwZyFC7CIvnU9glOZTBXQ8pHWfs7uJCV26rgvXhZY8QjsgFdB7PTjgjnxKGrLwDlBbu
Vj2yjGv9A/K6N30LDp3LdoTLc2KHcwi1dWg6u2ii18M3lUjOQqFbo4lkpSHFMcXD6AYr7iuWuMhr
6+iy1Be/myA7rtxVheS6YYgOKnD9Qiocwg8rI875oqjYtQt02hHS29F96xRqBXM0eT6wM8khWptV
syVG2iBejhnLdB/EGgkxzd6+qgclRO7dDtS8MHds0p4TRYMIUqnnm9rL8r02G+iVj+olaJusfU27
ydqAp0IlbooMabXkD0PRjMShPVIxiV7fDhm+I556DYIldbqb8jH1KxuQO7Wy5xDoH7odqiK5ivHL
xMgAjoLikUzsfY0Y/K1v1Y7CsxsUebgXnU8ISJ6ZW1kLPU4KfZw78xGpDPs+p0YesDpO3hKlsSSr
LTxXgXAGTAOPK0gXcUdOE9u1nRoT7iUzaaCSSkzfe9WenFf6rv4qfmtOkDU+EHSXPVg80n+s8kXJ
tNCoamSwWgeV1x4m5y1u3hUj3o/W82VLop0PkncPLZUoooBQ4XxOqYV+77bCnJoMgMNGpU9NxGST
KLquo2z8SQUAYgj+/ogcV6P1ykzREKXvpu6Ves2dCniSN22ZtyvKkag5I336dHlsgpobzrUTu9zi
pfhVZfBw70oqpSajSp8XLWW3tRWpV8UUl/dxGWdoexnnYHQtZR/p2rcy1oxgmot6D8hAIllX4Tv9
5It4XjsXKDimoD0MGkqkPjo/Y22j/xp+qKSvAreVWBOFKtTfoLuJGjDe6NzwlbbVuj6BsThDy16z
zws0/xYQUpd114sNAfGDJABKEXzNKk3MmXqIukdI7aioPmhdR5wfMu1n4aYAZhF0H5C/ghzkuau2
cwv2zwZxyCE/QSjnH/KtxF+Em+HEAndwzH3TDyWAWajuGdCgue92YDHZGeHvhMyBErjgD/ofLXIx
Prccmg3jABJl51cTIsmXm/2bUnY7LdkBOo3U5exeW0NFDOgDODkZSpnyj+hQXpGg/53VdU5OLrt5
3FvztM4qyCsC0Knu6TZ9SmQe8plW/hK7T8ysZ/aJmVlhRZS1MDMhihILyovQvtqmJP6OFD/ZtEc0
bKXBK/KAIcoAAdvHt0P4/L6EMqifaLxIuqEgjQsN2ja48Q7GAMISPcKpyhY/A2tOAzbxmr3MZli0
Nl5mlWQXim4juAIjSQYmeLw6ubsV0oSpqRVZjjZkKGJ4avobDZY3BZWlyYR2LNwTgO1Gezx/Os4N
YAQAmMBOez/VB9Pdg171srsKTKy0wpg1e00H8FlGp13ynFUj9DFD6zW/SmSMu4IdruEGb0HRFk3x
OI3OnQQlr75Oqylf8x4mUAM7NkAj0tejf78kZ3a4JWnNwSltb8iPRf0BjDXoEKRodEFIBJwEPfEY
CDqBecHcOKXUVew5P9a5Aw3167VttVXfpQhr4ZLY3gpuRrXb5pvck9hT1Ly38+Ooba32esxCAHH+
YtVPTHBxN3Zzd2oymABypS0PMAEO/MsmRFX7FeMFWIy+0kfxTRbI8XZK3gODE22tq2iTbXBck86f
d7+fZfkf0a3gzBYX5ZFGH4ykha0se3bGgzGCFRwgUc+oiJoEpR2AurqpwjF/MPJfshSGIXSMk5Fy
ET+N+1Jh60iVhHi/3JzMV/HNcFSflw1StH5+9VPbdcF01YXppg/6x8zPdyyonvstNI+v5o25a0IU
EtKVuPURTHPSSC24rJ1NDxcgS7upjWKdnhctUMOJLHsd1hzfJo0fBa/VnQqalxePJOFlHxB68snE
cJsfojtLVuN+dszHaNtY4ajqW3fZXDYijDAnRridP/XQr7ZrGLHqJ1yvC+VBnV41f/YkDv2JpuLO
u7NZXD/k5LybUrcyrXU0WtATdtMftI27t30D74fKT/xsr+3oTb1ZAufKDpiv3XxvD80+ASPf1ghA
nR6ogbkBhZvfP0L7S9/k9xq0aZPdTGzMvEFokG7knJjr2vJfvZYa19Qzzkc+i1h70cz0FcgKHfFm
Ny/B5dkXoVYA5cOhizSjBQpgbuslkdo7uQIxhRoN/QZZik1E0XncvbR5GDNS58Sxi9vCkZxboj13
apbbc7qttLmVYlhO5my6Cc0udNKPmt3/sIdEplgquGBgjFDTXrP3K6H7+crbcOPYsDBGqtv7rN0i
y6aV8SbfedamdSRXVpE/422KpB5uGBCL4GKzmUaRVa99qW3T+JlaXiG3HbbVfapO4LH+9xmptV/h
H2Pc6hU5lBuiAbBtI5lvLKe9jvs32xmCtGFE1ehmNGViYsKF86Bbha5beKTLxQQ3Rs6vLtF0lbWA
9s01A+myjX6lsjE1kqE3ZHfZQcX2kJC1IFYBQD+3a70MVGTegHalWNt/32cZ7mtTLXsNr97GbzKk
MFBMQZ0WiSQuBqnpFOvt2pFUay9qXW8GpG309FFn3xJzP/b7WE9IjtZfh74zc1c0r5fHKIqzp+a5
Mc5lOi95VENDIbIB262QvYqWx5g1D5ftrK/Lr8NEBXxNOyPbw226GtxHMZC1aP0y3kzVujKybtcU
j7r7g2l3eVaEQyejmRAP7Y9JbuvFQAsDAALUFPol2gAUa+9mB4xfYTPJ2ETbDqWIf8bG+WVsFMqi
FVjCOWu2ne0F9Tzcd26d+IbNiAKNgctzKYrLp/Y4l1lSJUJT2OqXYDJKzYfe/X3ZgGzmOKdQx97T
otVA/WT1iV9Xj6YlCcIyf1jj5smJyDK0aAwMflf2kCfLQQfb45RT70C8Z9AcukofBjBel4clXCcN
LSbYyirUQrl1mpHdVHQDIOT6bsItJvbpuKMG6eofl+0Ipw8JQqSD8TL6wmIYMZVGywphy1rn5xwN
1I+06HqaZJSdQj8w8J5YSdzWnuTzObRYbrllt8LVpme73ynW41+MA/QSqulCcwGy2+e/nyZ9hZQY
8EYjqKYKC8gV4ErVQUY7ICpwozPqj53VV058IVJnqtgjahuKBlPRpqBgmkTz/gfScNvR0QGbYaaf
N+4buqs6UrZ3FgWqW5+OBRYzRnfs5XGL4r6OYIyssr6irrlxG8rEZjquFTLkCq090vkLJa5MCEhs
BbdPCJiBho/XAVKgKaxYC0YNZHBb/+zwJDTHO5NK7p5CZwS13H/NcMGiiO2xA60SCkdgTITAMZ3Q
D5TLcIvrlJyEdzz+PYwCcf2zLR5/P19Cs9E1OGOnPZpNQZLHMduqnUliEzQhKQu0opdsZW5UvD0+
cxpNZkY7q9UeJ3vfOmAWjkry/0j7rt7GlaXbX0SAObw2o4Ily6LjCzH22Mw589ffRe8DbKnFK+Kc
Dx5s7JkBptipurpq1VoTu9LbsmaECqcA7Ai9McSg+F4zW1GPgSjx2Of7m41+7N4Mhb+eOp6BtkNf
wQp7qv9A18t+8v5Wzld0KOE3Vm4qas/NttBDh+QTML2QB6Q78NNeE0DOx3LnvKqkveZ53JOXS+xn
gCe9AUyJtFJJXLYHXMXcXq4JdJJWjAQVcCDY6xR7lHZDzhGGz4DUUpyVWaTeqf8Z2b+WqFnsNTav
elzDZz835WRTaggLs4fIEMv3OjkidOt7fmUPUlfYPyYRtM1gYfyGLqSLqNQNuTBy5yKb+g1bFaiT
VVlmaQDbmk3LTk9SVCUjSUVxcPxBFDYrY573H3XoUEThoZeAXkZ0Es3798Jvop0hauYS+Dl9if6W
NRlc6dC/pZAgaA7ZsDLahcNwZYzyI0yXNHIOa+c6LHYpW5lJE+vj2Jgrg1qzQ8UeqabkhZDDTt/J
hhT4x7ZUwW00bUtowzWcHrdQw4IYApGT7Fj02kaN4y0bxHbs8wY3dvb971lc5Is5pu4CtNmD16iX
MGx/cn1xy+XTQxiX+sgJuzABKj5jTSaqV2Zh8dxcWKXcKRT/Mmi1w2qftFYj+5bnhUac8VbTjSum
VuabhrcMTB5pSo9N1IAHphenN6U+TKKylkii82z/nJZ/h/SbDLjYrB2E2gBHwZDY9CdV3roq2bac
SiYuN8OcJ2XCOAGuDFaerJwRCToTdDle0+RaWc1fX3zxEVKdd7nfYXMxSPWHvbRFLvMgRvJOajpD
KttNkoAYX1ib4yUfj8Mz07iBSA0VhXkRLuz6ZSwySsjAVbwPDQpipCOTvu3s7FSgkYF07/c3LZ1Z
+c9k/2uPOqxlBA5SZFaxqIHqFBCyLULBzNNOHwq0OolIHqGclIJJbgAzdK2F1or9xU0FIgxl7vcD
SJLyxpoWS03Zqdw5a4EbGKOHfowAOesOE4oqndbb0ohc1ijv6gkQP5TvIyjTho7MTKQVVpBHi2t+
8S3Uy7MauGYAHyB3FhKrZ9HTAPozQxlNlHon5E3j/+XKA+8bZheoeSRIrpca3Lplgj557jwO7+Dc
7ieLg2LTmtD9b8vTje+/MEONCj29ddYrOX/OEmgdADMGtsaiAlZeZCMoGbUFWj/1qK81UteRp6cS
MF51U/SmoOaaUatTvOXrwbODlhnMjh/fQ2Uodwo0S7YQchLNiQf0Q4nzyUDvT3fw0yLa3N8k1Ovl
d4+C0hA5MRbySxxdj+59DdG86PPn2CuPTZWf/VZda5Rf2oeoQ4Mgei68QCj4ejFCNWo79H9gluRx
dELBVzZqzaEl34P+5f3hLDo4PGMQ5UD2EhVU6qbI+1FEnrzgz0osfMSRbMmJ3fMHXgCDIrRWQt5I
2D9BGepJXJvSgJxqlmvm/Y+gXrh4pgFHA2oUPG/xC8fverzKUExeqNS1i75avNQSHSlBwxN+Ctk3
fP7pvrGbmB8SC+i0RQSEt7oEYMG1MSZkRpFjutrt4uLMlPwpHKBpXTQtKdhpw0wF9j3bsysXMt0M
OI8RTmVmAphTquiJvTbrgy16SoWhdutptNSms4tkX8UnHDSmnqxmfKtQZmNdvzE7rrP7ejNB1ktq
jPuDp3Wsfj8D5U/wi+BpxQHReP0ZcQ1661HVancKn6djJuiAPyWdrbTEQ9O4Odo+YyoZwG353E+1
C2Ur5cz2VBRmIG2bEVqspNwHnB0KBHVwLwcbt9EOOy4hLXOsz2u5D7rk/s/38gL4BNGFgpiR8kuB
Ugp1XHq1W2yUz/Q7NDu9hPrf5HhGs2MfK1PAfVQ7ldVYvdPuIcF17neNMR3Zw+hEK/uUu3HKszzH
xddQ7ovJxZhRQ8web7cmctR6a/qE0RGv42L0yNf3aETkxzdWngkL54MHXy8YQEBABSXX+e8v7uG0
nUpfy9jG5UJjkHO95V9nOW0uh8eE77y/RW49AkQmoHKM1AZoaLFpqS1S1mPvNQ12atQVjpJVbha/
a1Vhx0EDHSh/n8ecMXEQM5D7n4b5btXXPlkDp96GHvNHiDN4DBlz/FCnNPIavmMKuXZjaHfkcgWE
anTyT1JuRCKvj42RMz4ptc70yn7u8uPeVmZhwU0gFwaSEmAFQL2qUnPuhVnIqlnYuGL06kEst8+/
I5/fCGlGWoUlSnEs4mAzvNTVpi8eisR3qqDRa8GQ/LeQA5MoL65EBDSMbz4LAoest4i8CDrbFOpa
YHpeastUaFyhBtuZsM8rnfHtAdHoEJFck4yh/QkHW44eS3YgoAQxY4FfSS7M8351geMb0C+FvD8I
/vAf6hvkPqsyD/eT6+clqhcakJJqz69hKG4jwdmMhK6sWRtJUG6EEqpgBLNw17poAa99PY3NWH0J
hYNSWknvermBvs+2/buy5rMzuR7cLMI0Y9lBXwjnSK15pwEgykaBdFYnB2W98TAOujiAIlXaaSNB
RIC65TA40+pr5vbMAfwA8gcVz3Hk1IALuz7hDPiReaXk1bPBONbmMzTRsUw4XZd3K67k9gKgLFEH
K+GlRuIqWBrtYl9tMmMg3xlRjQlFXVGH5oFucZCZa5wOhdrODG3VkCE4x5mhEWxTi9351vS41m74
26J8NfPUV80R0YWHyyWhlST4gXOrj/pgRH/VbbbJoO0IuQci7DgnsRIj178BswJ+w0BHCGrLssXY
vKXYPBkh+hhbhZ2sNITc+Hvqs6gHyZQIbD132Z17HQTBumJmpACwa02Ri+7QhxzX9fJTG48DS1ye
R7928heouGPQmeH65Ov1T0U8Uu89wpKV3f7Lin4z58j0I1kMvCMwPtdzrrFMn0qZpJ4nq8ecC47k
TE6oc9voMBqpgVKsPqsOGlvMq33/pM3joUzPggyIQYD5AbMiZTrjy4Yfwk47B7mr8g8l9AKj6j0s
HhJUSO+bWlhCpHjR4Mnj7pzTXtej7IVODqoI7YnhSPJSB+DcR0NWgbgF+RiDXZMMnL+cGtmlOVpJ
Y+KCCVu5ZM4KCqBl9JnW//XUzdVr6GiAeEzAQ42aOqkcBK4C3M8VmoIIUk3UwgIzgI4AQuf8taa5
24WaUdWgcZ3VmJAppw6AyPh1hAQIrAFG7Akg6nrnX8V6N66J5i4a+hXCwynHzpj//sIBJOLY5Vkj
hC6vloBUmKlbIH9WOmW4cove7gfMGVDiIKZhNbhb6gJrkfuUFCaMXOWcyIChiImZew0pGT3JScjy
Jph+7u/A20cveh/kmdiHA4hZulkyZPryIor9yG2ged4+fIrbUf9hSHRMdbRE2jH0K99Zo7EL/ATm
WsGGhmvDucA8GBrRFwM6Xjia66lVxYZtBiGJXPm51CcDgp1Obent68oobx6tlBnqCuu5MqqiII3c
FLhYCejY0SxJoH9OhN9Upm+LJDi0RgWAbAIE0ftzofvG2j3Cz/vx+vhdj5U6HQkCFqUO8RHFm+8w
BIJBekdauO4JgrCiMZiPEzSCwa9OClslcK7osjqyJFtZ8qXdfDnl1HUmRynnyyymXCEjdxQUXYR0
a7GLq/P9Sb8JUjHns3YKsuUKojHaGdTiKMtZ3ESuhMSgmgWQfBZZnijcqd9Affi+sd+3IT25l9ao
UZVtG4JcpY7c+k9sJnpnaQTbSVdNXud1xQIYgrRWYXJkMCbj8wnAc1sGxD208z2EJgEHa0j9LpN2
w5LKhsal3eo/FYkcxoh0SNUbg9EYzEZdWQsarPi7/5WZ549FBx/uOuqzgyjqqpgXI7ezBKPbbSbi
OwppTxNEqnkAtUed3TZGsSntyPJPT63VWzLJN6wlJLh7/6RGth0Gcg4N5nFNH3lx/XA7wTsoIoC2
1NEc+ga3RTh/WqsBCuQ07WQ0JefIiDMigaTs0/0lXDoe6F2RWRDfohdLpOzxaqylTFfG6MSTN9mU
6Lm3kRllz6wl+m4DeOzMS0uUN6jaEo+6AZbYkQiWX1pla3nKLilt0WCQW3hj883/bWzU0Q8qrRCY
rMDYWijqBI/tcOjCgTQr+DG67I/thF6U+fIFDTOqkrSGbpjGGQd6hcjlFaNqd2ni+ghGpw16VIgA
GH4rIh6ddh3j9HZ85sAF8l2v+fTbdcQ3QFNlZtxBHEVDHNmpDySOCWNXHp1KOXrhzisfeO7z/owu
DhUiNL+NKkBraFTsNPADXt5sHLuDpR2F99JMf4rHyOA3sanYAEKZkCPJSbmSil4xe5OA6NHC5kMT
IXabfWuLp/xUG62lmdO2tVir2CoGPM+RXxnsrctGgIhTOOfpkN+lse5J4vdJzA+xGzCW9yAe6tgZ
PaQYuBWUBq2OPO8fRB44fbIM0tiblmk2xLu38NnEnfb16U0hJUGgDzEUC9zC5Ml+3O9f7e/H72/v
rT/GR6Yg3Rr39cJQkVuGCADy1yBs+u3ZvIi1UsjYg0CrzFzvI7OYP5wJRW1jZevchlmo76IRF/Ae
AfQEdNg9FlzpddWQueNWfGk/gqP/AXyFLTnM0/i3Mfuz9wrH+hCzJC+MaO2Mzt7l+qaC9ZmfCQ1j
IDSmE+hVLzRpGQiZWxjDHlWBnW8DIA1lF9z0ycMa4PI3d3vPHOVWuRFySrEkw9wmddLTADVrnd1o
h2onb6CG6QhG+SwdagsyFXZjh+fsWXM9k3XaVyUi6oF5T55XF2BtCigHzGphxBTa/E0AwBeWrJd2
YAGQbvBGbnmHNZHTxfW+mHHK+xZFF1ZhrmQuwzRkUk9C8iCNR7HVtepZ6HWQV9/fYLfR5vUKU5d6
wXTKAB7UzGW9A98lhlDuQvG/pESejyo6vNH1L6G4iGwota6h7I+CUrGBW4Ozh3st1tJcC4MAaQLC
Nkia4hEsUIPoMg10kjwXuJLyd2gemcwOvTXI0cJhR9SPaib4GRAn0pStg5RqgyjnkXsUDNF84km9
8qC6TUvibXFpgbolkJbMGK+ABc5/Qt8TUaNHLnlgRzuX/qq8lbuivxP30h8NIk2o4d7fBwupk0vr
N5cFKlIpz4+wLn74pd6/xN+SNe2Sz97wH4jgjJEpbsJiUzwLRF6Ts164hjGrPOi4sEkAIaMy5WKW
Ca1QlXjypKTHY8epTvIaRG0+OJe+BSEGcvEwAopMCeIj1Dmupz6s5dzPXX9kSCwdVGREV6aQPru0
CersZq2nNH4KE9m+/2G+MJyX8oX/k26Dc4i3krSNPTL9JIf0sXfZlXzkTaL/H+Po98NMYox0hqGr
+ipXxwjGXWFXvAZ6cJb3ick84jAEZO1moE8cbW0+LRdXX5wPZTHM1kAPYAzNPgmQ1uhe7k8oHdXP
RhD7ctDAQr7pBiIJBqmpbEU2h+tVZat8jlN9mNAitUZiffOypw3N+/NiNGXfpGlRTrkrEG/U/V3+
nOy4bXFQnbUrbtUUNXHyxBYqD2Iml9l5D8UmOfq2vw+eIrJGfri0QpeTN0/u5Zi0GG5XhiFFwovd
+1ui/yS27y/Q4qZDaUdEFRgBEERdro1wMiPEHsflbr8VQZVJus/iVXsGpe6z8ihFJF0pmty8hrBQ
SHZC8A6JSCTuRGqhKtw0xRySuMKRT0j/VJ/UIyLNnfATHtec0sLuu7JFrVQDens/YJLSjXfhtiGe
U1rt6xrB4vyPUF7pygi1SoGsDuD5h5FgkzwKDnvk92tbbnEcQAdCChNvSRS9rtcoBACdj4uydKev
/o9wCD6FivCv3p/7W+G3KZMaCa54FHWhh4eeYLogzktxAph6XrrJW6APuyfbsoYdQaR48MirfnIi
0jr3TS7MHSyqHAtvN9dzqVsfDIdx67N16aZPfkn4Y2Nj260Qly+colkFAy8ZbLa5D+568vyMicuc
YSqX5R6iRCMsgOm+v3JxLBlBeQ7oaaA3WOhDXhsBZUnKdUVQuyG3iYAOA6WhCiDB/dm6vf/wXJqz
9ygG4sVEo/mlRKvKosyADVEKFBwTaHnkbZKY/zcr1FDYlkHPPPioUW88M3xO8mFcGccNAATThIFo
8AEofeBBRF3kUq6GUe3BRMttJ/EPy2iWzOuyjHTUYzGS0Wr0Ltc1f8sI4NDaZNnKllicSBEqBNh7
eBbRNRculmNJ8NPaHToImkN6M9XbauTWhrlsBph6QItRS6VxLlLQeuPoA15TofNWAqW3nk961unQ
YgFEkn9j449u+kDXDBQuuTWmGzogm+cYKJvZsaMFG0DC6x05MSmgfR7wGcVYORL76smROfIvUIRe
Gebt1r82RIVMHCBsgL8rtQvWPT1FH19XoLvDvr8pb6qi9HDmr7i4CxmJy+UgBwhCIqALseqH4dP/
zkDhvckcoJRQEwyNwnaUngxWZZx4sg1ISyRjzr77SLSfW/z2/jctLS+0pUDFMlP73xSqgymX0hRM
fG6thMETp7GaMU1BveIib0omvyMHoh+XCNgGNdorK9M4BarKNCgmqFtulz4ZFqtnFrdTkHkCBjVx
5B1qvryha5uVy/oXAHZ9I2BtL2xTvrMtOxZwWNgGh8frA4rRemFUG3nbHWsLGWEr3/zJrdR4YcGl
kpjnv/cn+LeZ4Z55/nrRk64QuNb3WxcQTEu1i6OEFBFrFxsvIcixW5I9OIreWyhiPPH74ZBt16re
NxgBevbpY9SnQ88KmAFf1fPmU3kd6q2nvDWBpbxGos4FeOTVVlySmrMzZrLTBqpmBpv9HQVQs+Z7
kInKSg5RMMbI6wg8BLrMGKmGP52eWt/Oh28J2iQ9yPBzR2Ot+xO4EKoiNQDINi4lMBij7nk9gVIf
yUHYAjviF3pY7GvflJkd49Sv2YO2X7vMl84Dbj7QQSHdNfuea2NFy7FVybCty7Z/OjEmXB8a98ez
5NMQlqBwAdwNWvOo2DGMQlEZorh10ROabIcmzzZgCqx0ttU0Agh8uWJvIVgF9Av4G6C/0GvD0ZC7
eozR3p6kLZ4vEnmIztKDcwak7ef+sH5rDfQ+vzRDbzIlUTImgpnRRnvtVjpLX9zOsh44Q36sHG9v
Sx/EJuSpI08bzYz+mMzmdGJJ8HFqgfc4F/pIflaGLsxn6943zat94XDZqp4krcU3ySOJ1V2kAFr2
xAaWhioGqonIJJ7SZ1S1CneSrPYN8gWgNwIiWzFKZwTLXG02z0K0434ablPzn5rBS6Tae6MRrOW/
biqd8xm9nD7qbqjSusmaOmldPt7V3YNQ6KBV+PGtTNcMvSf9Dr+DnAaJzMisbJ1/Mk4Jt3LUftEM
9+aL2pv80LEM7+Wt26f2GNsApufsJ/BafqVrDqOdammrpae0P5bFRIR+lxSbkP0s5ERPFIJ6SZrq
AvM2qXr8oFSGJhuj9tQB7x6bIh7M4rbnrbQH4+tPsal6MBAQjrGr+JjH5qDqUK3n2kNQHAbvMapB
CV1DdRAEHz1JoDTzHad2u1cLc5ItYRN+RX64U31gmok/rFLx3GZQeAW0wviFotpcZL/eN7VWd6Cb
b2v37eP4CdAMQ5oN9CwfGfIJlWKUnufyM7L7DKhIfFBUzT+5jv/HHzIAFR0OW3PLku2fxHkWTHAi
4mo/Q8QBoKsRKet/fnon03EG7h/DpdMOaRJ0/IoIS8FKSHnLtqrSdFBGhIXKJmHZr1BuH8TX6I/C
OLJmZVXjqu1LFFVrW+f2pKEswM8dzeDQwHvoesaEPEw8ZO0at5e6idRT+SFG2hsb+Q9aOLEr53rp
SgAJKVjlUTpCOpcuAQtRFWatPON2hWSXjm4t1UbBioaCzLT8FgnHtCN1uZabXIokrsxSx6MUSrbi
Z7iwdgTXTPEoliQ5x1v/WTZ64NYEk9N5wmxYg0OajdnU4KQpneC/LYbAU6CcMyeYZ3zNjTxIr4SF
yID70uXZbUg01eIj32iexzNI7gYBAAUTD8SjWKxEr7OvpHwDqmk8xG+AH4LYK7XC6RilYsUijmGk
h5z3Sc2vYYZuUJO/I7swQc0vE5TISQ1e45acXWApwVLS8YHd+VbMbAs9LxD+9p+d7fcv90/NQtYA
c3phmUpOyEXEa2mAweERY1Ub0FHjJH935OsL+AYsJ6dXuKR8Q8PPGg7jpj5KD5uKOXjRz6Y2CACO
fRC3Hfo44VP8bQCfAjw8/4beLFBSWuMan+cNYJC2Sz2Se8WrfJXBdNdmBahGoMs6B8hgvJeAghdS
PEg8klvZKTY0AF/4lcLpTZ2BMk+/CbTU87scdMJIQRZ75qActKfhVTkoD4PdfmqPwcNa2u7/s8pI
4QJujUYRGoVc+Xwn+wNOjjeQ9CV+Ks6BNTmann8FGHxAUmhGvAvuuTZZn6SGd1DN+/tsIVE577N/
v4BaalYAoiAVsdSFYCqJ7tkQHEudGMyfEfF44h3Z0mT7vytWl64zNKmgdjp324GV7do5qwzrZUKN
MIj7GjYy+lmhfP/BmqJghf4G7d3sIzfuVTwuz2LitjUQsbzexCvrPfuHW//x70dQsVhfSwkbyJh8
NWl7M+Dgq/tQyPVOLl7vj3fRU83qzHgrqOCopixp/qDxeSGhvWL65vMHtmr0+wbmVboZyoUByhVq
QtGCtIlt3GHPvEmOhIfQbnqWVyZs8Zb7VZn+zzgod8hNVaYIPde48Y/wxbzF39qzuhfP5THLVwa0
vC8vRkT5v2nMiikUYGpqCf8BCcH0IQn0EnDhHbsfHjTw3r3fn0Nu/ifpSQTTEMpgUA9HppbyPgoL
shrwbzZuAYrfd+CW3tOtJIFxc3iB4E69U9z01c+gkreS8Vi8ZS4M01JxYs0yCCs0dILgEV7tZVt7
03YQFMKT4Ce1wsc1xfAltzOnsHBpIi7CpqTWMcrQhZrxePE15QMe1YFc2VL0XInPVTk5zWDmqCxB
RiMBaHUkA+uIol5lAoFmb5tvq9TTszhz8szK16iJlqbi6suoZW/7SuC8EY8OMXL4cieh+6R7DPj3
LIYy0MFjrPK9eZi2SfR5f/FvHBKHvjmAkGeaDsSqdCNypQZ90yKcOqEfTQPQX9ZxCT6142PpVSbX
e+joX8ON3+ZrgamcCYexAiqYu2iujtCvRRTOi/oUMEd/PHkaYwziMWuA2Km242sAHjx5n7eWAOJn
zYhGm22/74/6NguGTwAsAJ1vM3sYwF7Xfjgv1CAItaY+tQrajgkDLkn2I+EbM8hZi5MYXVbw1jqE
4yYpN0pglOkjz/xM44jWrfKoQVXmr8+AdVdvmZUFufFo85ehA2mmgMElRFelJ6lpK/SN1iehDoxO
3JfMT1O7/fjWyJoj4Lq8PxM3d8FsTgbpNiJ4hAG/J+biXd7kKQN2kL4+yX4MKYSdBkYYuV7Dnc3X
2pWHoazw1HRLapqM8lCf+vRHaTrSNGCA70qjZpFBYp/i2Ip4J/NSvWydbHqGCsCKW11e8Itxzl94
MU62DSTJR/vzqS31KMhshWnMqMwgSTVu6ik3uFAX44JMKFHG7+9DuRfjj6Z5BqWM6QWGl29FpSZa
9IjeM87PnP9hEZCMxYZkwZxLx185n7GhHE1QwAAEofWdwav1pNv890aQ7ELTF8DyEH6mXtKtqoZV
o3j1qVOZz7oOKydWpsRGTX2N2uE2y4nlhqAInuvz4QKE+nqya6ENQKzGNaeObT7k0DP94WEKgVIW
bd6vdbBJzJ1HgpOlRi08de2TMGyl1gkfy13koXsqbfZTcg54CxRIwUeoR2aPftjUO3blJu/sXCE9
eD9KvSzXEBuL+2QOzWYAKLQVaAqVfIDi8qQpzSlmuB04n0ym78gYjE8hmlvEXNRT9ZGpf2YB1aBG
aKp84h1O6vCxD4EshkhQnFj8W4v3SVMYicga0Dle2cu3IQKmV4O2oIImH1RifhNYF3tZHMeoTKW+
OZW9AfGSGDfSHl3kntlVpDwrfwHhHI37m2fhmrgySfnLhot8Sa5gErqx6UMLvBEzPAnjqcNDJfvT
r/YLzpuRdhgzGhj1aZRaRbrWFcJBIuPkt6f2p2nQHC8T7Sn1nsbHfqgI4lQnlFYa0hYcIdgTIKaC
dpK5DZN6DwwCUKqZ1A8nZHMmIy169Iv4fAzFS2VNvnaOMqjBzd4dOXS0HqPLgIqK2VyrAm6chhMw
V0bBQ9BK8/W8dFp/hVNvcUwXhua/v9goXMf7VdGww6lrbCUpSBNt23GN9egmxkcAcTkaKqZS6xp3
bI3R9PGrH30W3sv9rXebR6MMUHtv9Dg5jHwYkDjCKU7X6sFooS0CZU9w406H7qVbifdvFwg8BrMH
Y3lUxjG463kT+TaJFS8YTnke5nYgFfGu6dnRUKcxBzKdX+P5v73zUd5AAw0Sduj9hbrutb3JkyJA
Mqrh5IeK0xwT0SeeV5vp2BpTjA3vR2td4LeLBgADsBk8zCJ9R/dgdyJoqlCMG06JqiFtGqLlO86U
NSu3LwswIfw+LCC7DqdFXwRjArZINZQwkV2pbKokVS3gGHi9Z4vYaKu0cAaGiZ2kwtuiHrOfTm1H
MxyUjvgQ4DDB4uQTtJh0FiB6vqnGQ2ILfrWWZJ6n9/o84ishNyrMmTwVzfnX0x92UqiVIK09aUVP
NC3UWaAOuV411N6KtDUWgKWpv7RGLXatabXEj4h7uzI3/FpyxDpbAY4uDYjn0XqKxvZZVYDav1AY
FdtejMeTALCX9xxK2EYPsvDCck/3zyZ/G9jBO+OgiOjmR+xCq6bGiRdKYtqOp6DIrSD5YCsLCu4k
avThWD0qPtob1NdA7Q2oDOHYfoTRU+rbkbYD00GB3uPuS3rPQoWoMyfHsBJK37o/8HD8VtMlZMJR
Rrhe1x4q4dpY9uOpjP19KAEKopUjKYNsjbV9aUmBhlfxsERKFkf42pCctwrfM814mtTm4IuVw6fB
8/2ZXjSB/klMM+oJMHRtQmFAhyr2GEvABXiyZBy4h0t2VWx7DsTpozBjYXEpzY2wNDRszGWurGRp
POUepEQ8+AXbV7jGqKS80YNWHV+lsO6cjAkqPR3H2oT4arptqqrW0ybijfuDXlpAvM+gYY8XOw4m
9WxIkj4vqogbT1KtHCVsnKRNj6A3su+bWXD3syAvJ4ONC5VtGtKVJAr2hsyOp7APnjKwYsRTZlbV
n3GNbWzpXMpQU8LlMhfR6Th/kmqZL4V4OtVd9F3FmpHhPwR1IoOfNLds6rXyzG3Yhjf9hUHqBDQN
7wtq78Ng29g9F+lc8SVmbsICuE149UvozPtTuRCbwiKqT+BUAeoeTv96n04geExTAJVOabTlWsHg
ua0nJ2A0a4iPZ7Uv/h1b0Ron/6iw0abO/JWn1NI5QTMiKBXnzBHi5Gv7fcSVArgspxMwlJNeCX5h
g+J3TYzgNmGPi00B3gyOT1PwoqKO41gFTFqGCpIXSuxwhdGNRhUSvjG8VCbRWVBsNC2DhcsuGM0u
2tIQJn4HZp8apdkw/uhlJ0rLbdUI55X5vw2c8WHoywGVJ/jQcZKvx5/ydVNlEj5sYI4yYCy8oAeM
yZdH7lkorFD66NdyvEuHFBMBQBGg2eh8ot6VvIhSeSwKE06PbzKeYAFTscmStRfI0iGdO3JBoimA
P58uevHQZR0SdppOw9AlaC6PwF6hlhWRAxAo9cHf+/O4EJEh+AaXEzJU2Mi0uF4TFLE2ND574vKG
tfMwflYTRtJZX2j2aRaldlpxitmJw1rjysKJhWEwiEIyGdlYOhYB3FkVxzqA4TO/rdze5nt9yrbN
D9e+3x/iwrpdWaLikJRNBa6IMEQtzTalBMoPUEsGo/J438zSgFDsmInQ5n5K2iGIaTJpTZaPJ/Uh
0XFGypenXNKFQM9Zct/S0ppdWqJuizED8Y2Xw1IVW5r8DRihXrGnGP3brOrWnXXf2tK4gBrCpgfw
/JZZzQ8Kto+0ajwpbGIqgQ8gFmcIqjGqULRmn7ICBVLPvW9zaYR4lMxQTFDi3HRNQTYelLwpjxGi
I0E8jWjpBnNcBoJKq4tWwHprtqiEWeKrqpdouHtZnT3kwPGDpoLf5StWlhwpWgWApeZZUCmAI+ja
X4lNrqRqKY6nUQMAsc2PeZ8Z0hBZXiRv4mQfMWYFBEr/KIW9nU3NC4OMg/dXkw+sBKp7vTqN6t92
+ro/0QvO5uqr5r+/eDgPDNczTIgwaPDR8ax2Gz4CMQ74wWIQB983tTjPFxNAHUNPxSGElud48nkx
IXWGqg/vQzgSLxHs3KjHEq8p4i6EISi5Qrwe7fFwMnS8M2Z+HCVTCI/dsCfPtwuPNbVg0yWf0A2/
P7olJzMTLULMAjcDemOvJ9LjprirhHw6AVzXOr2njhYj4ikYCVO5uW9qoawA+CzGNCuvzu6T2rH5
KMNvTsV0ipNzxb+k8XeifDVHNTLC6dBULwnzmhW7JjWAqQSTXWTft780VAQeQCqiPxa4DOoeZFWm
7oNkxKyKQ2ynWf0FtVTfnGqoF9y3tOR6frXDcEWouA+p3cmDuk8bOdy4/aCnT8I5H4/CbuJDEBxY
frC2QRfHNSuV/ccatUGrYSp8Jpenk1Si9tgBJKyGZtn6K2/WW9jdnI3AxY6WCrwo0cFxvVWaEQG6
LzLTSewMqLuzSLcXJ017z6qCpDWAXoUZSU7HVHof/a1qw0N2JH70BBLF27LelHxEwP2fFDo/HaTB
DQuVxL3yIGcrj5KlA4vsKxBpaF1FBwi1zt5QioMqedMJiG2WCJXw2IJ6Xu/iitO1IOyMGmTYeq42
/0OWCD0GyNggLwrVFDrtW451USvgzjspb1A7EPnaUH1AxDdpORjp6/0ttrDoiLJQ8kYsCSw63TsY
o9NpxOOPPQUgEjS5IOVI0eShWbVJ4dw39ZuNoN6cKHNBnRuPIiTd5HnCL5xtFGn/j7Qz65HbSLbw
LyLAfXkla+mlWurSbr0Qki1x33f++vuxPbarsokipDsDzAzgQUclMzIyMuLEOcNgWoNytq3gg5nK
2a7wyZzTUVG9eaoRE4RrfDfWEoP8swlDpTErh66Ws7uAQPaujsYcEeyodufOTB5tst+D1ffDQYui
wK1Tp3uKVT3f2alSI+BQ2Pu87pCSmk1f+aL1Y7en2qztwUJkz+kkh+/GMLBRnO2LXcq810aUWrlZ
4LZYHrSUnGi8CV5edm0Vh12unYvulLX1UzY92w0tA9vecNO1cHhpSYxHWRgV1dyn2jmzDuAXAJDO
ZEL1PsyLOyV6Y6Uwg6EUl4RuoQeH+OvkP3b55Fqj9MftDdbZP2F/FxZa3oQyyt70g673t6P3VzsO
P0RW8l2jU2DfAsS9xm1xLC5NLO584UKtlM2jkyfaOTEezeKNVTNgQC4xdOrRGk9j88YCCUhRNZ1O
rTl5KuxE8V4D9RO/+5218hziRufSE2eqlKRJmtastLMhSydN6j20xreeeMsT+vX3/M+G4EJx3clK
25baefJybZeax8wrUs861g9Jva/8Xfrl/7Um0ZHUnvGqNGNNEaV3A2QWEOzbFl7ja8AGMZLCkYCu
h1E0YUnaWJeznUv6uRnvR/Nno39uXX360SH98mel7qXDbXuvoxvmGBmj/bJEHVm4QJtWnesQgr4z
nnmI8rdjdienzYaR126PoquMupVJiKTxKqQ+yNs1ZgKL53kIGV2f8hZWbrpKG8d8+TLXzgD1AMFz
6SXxH6ZQb5GazAoKyTTO7cGsoJGfT5InRefa+PJRibfwkSvfjbFKZkCYwKbaaQmpQJr0QZNEgXE2
q+xUAR2TdrnW/zKqFrU6i+LRIoTNLSf6Wz1a8qBZDUvyy/qASHWNbkYLCyyyQKd8DKO9qc/2oUoG
5W4oLajeOit8Y2ltcazUoLgbjCTe2MtlYeJXZuqOghKXPleicEXVcwwzUV8a52ZvW18k2a30Pwfg
ZtLxtmMujndth/k6PMOkhgaV3isWqXY2oSRvlPMc7gxZc4s/zfFgTFsjDq/3UQchzptr0R9gtkZY
TrjQH02ZqfCCrNIjdGpISNaas6eeVt/dXtHKA2+xtZxrjT4gUBuWfBGaHa5Q2WgM5azMn6PG+ayN
8V6ltZ7Iu6HZ91bkdVbjMrLY2jOwq2NkqneJ7hbFfSQB0PpQ67sE/E3/1+3f9YrdgsYXY7w48vKl
SaOFGFCZ0L5H9K7OAyRaLUyg3fBcVl+aav7et4pXUbNMe8hqA9nT4rdxEdH4e1tXnwt5+FCBFDFz
9S9ttjcenq+PM3gonQ9FNKTSLwYNpR+GGqJD9axID1ZWuMNUIG/l2XV4KOZPo+SW00Z0X8kTFpNY
W5xuuUavN2gcglyJ+Sfn7N3UZ4D1/V1cpLEbyIknteQNcmy7/ZvKcc1EexsOe9mIPb+37oO62zhm
L8Wga/+H1gh+4GXoC25i0f/tqkj6YQr181D7zl61kuxQ+cp4109Vcy70UnbLQvJBi+m969uFeSeB
2GYOdeh/brjHEp1f/RKOu7LotQFcFR6TSd1kZiBF+tlSRtcI95b0R8sEdmPHrgKDcPqm9eTHCiFi
a3/b8msP4BNcGBayJblNLK3R+QSJU8IpORVMvGS8ZL3MeZCS5ybceHetVOzhZabroRqLZLcslrJ9
W1IAQdXmOTwV4YduGiAAP0rnmBKkNLh5m7vG4DaOdpDLDcjFSmzANOEOwYdlollEQyda5ktB35ln
zYrcKNNcR/86+IBYCA5yiIpxCs3koS73WuMGfxIminpfopTql3eT/hTF90GQ7h173Phdr6P98rMI
9jCnIPgm4jNUO2rzWB/Ms2Sod1pzXwZQYs/KLi+Mg//rIFjF0BTkKBjF13E1kde2DxV90IzJOneM
wFanGp7UpZoYT4c4fj+B/31bD0+Ffh/G06OlbCWTr28cQwNmI1M5Yf9flWe7IadF4vTWudX2AzSX
pv++R4Gue5/2f6XVO+vTCF12PsbHeZkD+wxyaxo3xueX20Y4alc/QUiUZOaw6zEarLNZeop0UJNP
YE8pnj7Z7WMMR/jt8/X67rtesHCwNVuZc0marTPPX9MbSiSbrHICS2IXWw/216BetpYGEXkgWSaF
WyE5G/J2DttMt85jyFBl+Smk9WY+KjNYbr1o76lOxAAvrF3qPyXd8+11rm7shW3hq6LtE8NOq1ln
xzpG5XPhvwtQgd8IHi8nVNg7kB0axwTSRCa7l699cbsDYTDyJtXid7ok4yFV6uvRLrD8Hh6EvImr
nRMrNJLbSgPTEbXw9T5VjTJ+jsqgrNyYSWj/bpSb6FuFYM1nyXFQlaHJkr+JsxE2h76Y0Cpy+D8H
u1xOmcvoozD379oklm2vnNPZRiwDLO+uDwbrB6PJUenB1ltkXjQq9UfbGLIvejhJ34p5qQZwCmbr
GGsZt7sxzJb5AGGI1B10vaRMqERgAj0p15c/iuC8NyRt+q2dG7SJYPyArFTzkUlKa4BIZpiMnwe5
84ddHpk9Y5qaknl5rDGtU7SVlXuJmRVfYmvseJEZhfScQecFRxgNUsOb0BG0n8ea3P0HFOUaTjCM
VDBAgE/f62xocnfMfCN/MxPrPndNl0Iiz9jGKVHStPLK2s92MI8N0At2djpCkdVKp1nWAsSjqLA1
O5Nvk+wGYx6+m2bYZF6T9TRfOlUtnKM0G3rwLXNKIo7cGUV1iAodfs0pK3rt49To6WnyQaht1PqF
kwf6h+4gF/s/wpPC68Ea9SkPC/QttZR2aSSZ5y7Ke9fuNu5u4Qb9287CfW4jfAPIX7AD54w/z4jF
norMdx7jybE9LRuNXZVkEQwnQ32snca+L9RqJyn1L7KK/c86Kge8YZaOqHDmkylL/KCy4lN/cr7T
7b19qoVY+fLXkYjgiUy2thTMrs9bHKqJr2VzfErTaV9b7X1ktN5AcysrP6jNsTB/DUH4yp4QLZ0x
sCtLwp6Fj+pSwuRf4W6OCQkX7isrQs5TlI2SS4rCsLo5skPO09w4b822feid8i5ONiLj8tcuYtbf
1niJ6FTPoS0WW+QLJ9KEvEZ8qvVZ9oosGD1tVObd7Z0Saxp/m4EthRcjsD5gpddbVRZF1jL2G58q
ozjo8p0EdFD1ans4ztSkpzTdMYW+a+Kt4oYQ+F/ZXf75RUguy1CTNJMtM7M3Tn9ss+bglM9dubXA
1c94sT7hmBlpoqhFtYgBj+70fth4N64FCwYP/v16y0G4WIXkcHn2y9dTG+qU0jc5kMH/bXHqrFoB
ALmoRiGHIwvHaSiNuBoNicPqlMdBbVwz00lzfi2f/HtHLqyIh8gxQmasAqY5lU+mX3qtSphO5X0x
/Wi0j7fdbvUoOTb9GoonYFiX4Hj53eSGMAuz8IkitOFqBgSDWhLJO7UO4iOa5JDHl8mWcsLaZ4QA
cwm4UCfwcr02GuS+gptFyUnRf7Tog1M7Z5rifHtlq0bg/qNsx9jzq1lCn+VmpZ0np1FX3vSG/CZo
jTcjtAa3zax9QLT6kKEDOM1DVNisPsv6SU2q5GRNh6T+ZumnPNhBHrlLtma+1hf0nyUh6g09AyGS
iqQ0fncPVR6vydtLWTUAlG/RFSLDF6+iYNDGrmwxUMnZ3h6P8sTUTbDh3GvhhnbUv0aEI2SmULTI
XZGcSiZlkn0RPFj5cd4qCq4uhSuV6uPyWJWFXdEALM+JPLD59V6uyA5zL+Q2v/291pZCkr4MXvH6
A8167cbJXPgwTBvJqQ73OqOWvufwDFf3t62Ir96XcHBpRjiiMglWY2lRepJrBswpMg1ePSt/KFNB
z3P2TR+x8yzdUaEK96PfMWPWWozc61Lnyi1qjMVUepo15UfeqNK+rU2IN6Ix2PXa3HvG2KM1N2nz
h9u/em0DLn60+EqtlbIEqcm3GfqTUh21ea+YG/fyWm6zQNINfJXn8KsGcB/HQV+3NHHNx677WOnR
W7XpXR6nyGX+GLR6YyNWlwRO0eHpQo1SnPio5KAoOmWIT5nTxru+NeRHrYZ4xqlj43j7663dlYvM
3D+mhC2vaz0e47iLT83e2m/x362vA1gcCBobRi/hwp/ToVPq5bulzMrTD/DCcvacYSP8rh4OWjT/
WBGu+1qbgjnVsdKo9FKT8sGYUs/pvkHO8v72x1pdD27A5AWXCvfY9TFsAOuXE7Qapzb6ZljnOTgP
6e8sBvDW0pthQEGEpZhpV01pSwrI9O806K41M97snDfT57WnyKIq+I8dIWzpTpNI6kwulnXa3iiZ
MZSYWpMmr4FlByE2z1Ggxgw3PuBq6glKHEyzBU7k1YDRRIsGqUGSp8kovTB9S035CGXX2A/oX0Re
6P+pBpZnN0y+3t66VT/nXQJ+EdAABdzrrSsLNR61gUQgjWOv8n86xdb0xKpzXFhY/vlFfkMVS6/D
hsfd6H8cxgeKw+7Qfbq9itVAtDRwGcY0TE3kkwwj0xzMmCecnR/lyPMZ9FX2TnOIEVDbQg2tpRsv
zeL/2RK+WDP0CUALbCUleOECvkH9LZAsS68PqrEFHFrdnqWsCR6TjodYjwrNOWLwhBTKDmQZ5tL8
uSjSjWqeqOT5cr3xp5cpOrI1WhnXO2SNy5xgHScn+oSO3bjU8pro4TDa3yR13xaf9PcQ3cnpZ+bL
Y6T/Gs2FYWscd+WQuImaH27v5dr3XVhBgZ4twzDig7mT2nka0yw59XK+z7OzCqxjgi/PzkBPORsJ
xJpzMkKPGtQy3U6x6HrphU+JN5LJHdP7Qs7cynnKUCm5vaC1kLIc7EVJG+5e8fU6KU7pj2h4nLpW
eojjDHqYdF/Wspv0Ss2yIOzPWrcwpK1J8TXnAcQBigPIK1M1QqLXmkmrVDLlG3nI3+fs2TAm97fX
trpZFyaEcJl0utlJMIueKO6Zlv5eMZ5irT7kVeeNlraxWVvGhJOXLeO1kmEs5ahDMqDYCNNOHR0C
fTz1ur1hbC2kXH48IWxJ3aiguo2xpJzeGum8MyPdTYdsb/lvmjTfp+pmmrnqjBpzEKRSC0uUkHNk
y5SpWjbJKWuoc7g51b3Oa+BxRfA9VMFCmnkNybid5dCddgpT4LHSoP46Fep3PWutyo3CCggqaWj3
Z1ZbzXM2JVG8N4YpOiylVySO6uFH4NRAQqzGlz+EoxX5rtkl/nOXKrbP4abo+CQl6biRKq6vzeFV
Q9sIOkUh5VHsMUk6lN/A+1EfUtygvYOdZeOkrRph1gpEJ/9iSvL6NPsBvd+Jct5J8hNXnY/MMLqy
/u22y6+eKhpALyLhxE7RC6U058WR8Agc0BqKoGfdFyNg/NtWlu8hlryI93wtm7kY1AavlxLbc1fb
aCudGJjoBoZUANE9bMJ4VtcCrtiyAN/KXADXVsKxyRvLIvzBVuh43Yfba1jdjmXWhhYNvKAiLCS2
4a9vbP664XxM4jdWWLtt+Om2jdUVXNgQAriso0OdR7yYGwQ87/0il9wqspvdbSsi39bfVyRv2QXs
RJNfLA3OreQDYlzezPNhSt0v9tPk9gHA1Ttq9GnyzriTs9iTu6Px8bbltZgHLI02Iw8eWOuEHRon
mAzM1OSCirJp3wQdPBNWjjZ7PxeP0iCfVCPfkqBf27dLm8s/v8jYlE7O46bV8b18OCB28AQVyL6p
x42Pur40hN4MyuJ0GsSQEDVNPQxWcgp1bYeO8q6K9Z0q589OJ7tZvdHLEJEKL1sIUs3gOsTZX0Gh
0LHv9TLo8XUkZfs3IUJED3UOm8lDZx7bL3fOh9s7t/YVqSTTKV6mzhBSvv6K1pjT624pGlTFc2qq
lEShpoiL/W0rax8RlVCwccDKyZcEK2Wk5UbWS+yVMe2YvZ4auOecx17OTmWR/0Z8XSbGIBIGeUCz
5HpJdOR4Ss4aWvcxXH/VsUVuvNsaQFhd0YURIWuRTNOn2qKSLhWjF/cAP6PDrI2e79s7rTvf/nyr
m6QDDwOgvRxswQeLKY/7KsQHe7l2i+G8tPT6LXTClpFlxRfnKS6cZJBzjCS07+LZPzK/Dlgs2jhP
W2aEV7ijpbQxJY5t27ljeEykpy0pzy0LwqXUZ/PUBPVSUgJQVPYw2iPpG1kbcMIlpIlXHxJN/+yJ
WLiaAmMMtIrPZRuN10OpV8+/0SNbEiyKVnQRiD7XG2IMvlH41nJoYtO1nO9xnOxyiNN+w7dMFA6W
qcSFbfXaipJXraNJrMOQf+b1UxB10BT81pG8MCJsSRmlnW+ndnKKGlhJDNDpsI5vtUPWkhHGVv5Z
iS50C5IyGqpwidS28lB9S/1HJd1vQS9WbVhwHS1E+ouM1PXXioEh2E3mk/yGn7XuZ64dh/BU6Rs7
v2VFiGDKZEchs6cEZeUp3zGpTjr93PcbUWXdCrNxC/P6Mml7vZa65wWrxnF6aoz8Tg0fktZBQPXo
FN9ue9iyua9OChLb/9gR/DiwI6QrSmbuwDg4quPJZcMTZXJtpPQi7Xvay95mwrW1NiHHLjo63W2S
UQv/GjsfuzcWPCSwn9xemAhxe7msKeiTFABzW4C1118QCA7XJd/ilM/Ps63ejRrkwM192npay3tF
dhv9Rzl/qGagZ5q+v219LcwxuMy9DUJ7oby7Nq7POa90ZwSOgDAy9LH1kxV9um1iteC3zAyrlFwg
/RCnKM1EVhonputX6n7oqXJ61KPpjdXDIZO+06a3HTyjOZhOo/nFaajl06q0lqgHLP+DhPZ6dUi7
aEzJEPzm4g8JvGrlGulDK3u0t3/eXuSKqyB5qVCXwxRjV4J7zhBfTONYMRIK8prSn95VhzS5y7cq
cut2WImNFK1uiQqw1SyVcaXU6cnWpY+j3nzrB+s+n4KHgufohmeu+AZr+s/W8lsu7vJALipEb9v0
ZLUPRrRnVWG/EaNWEqArE8IGqVViTIXFcvqKCzCLYN9Ttfi5TpMzdDp3DmI1t/dp5cIFwA7dub70
HcGqXK8p07SqKXR8UQ4/z0Bm7a225kqcujIgrCi100YbW/LGWSJh3FfqdAyye/s5KMKDWTfHX+Xb
/tvHF6oH9G/oF4hkxWXdGkqKnNVpCMwfkmo8Ixu+kd6vOt2iOsDAHXRaYpYyOrMljRNrajsv/6ts
HwPnLig3UrrVnQGmB/MTglzgh653ZmxkH0ENAnzOwEtvG4dw/PVkiyvqPwvLL7jw51kOHL+KUs5O
aLr0bpjg+J0Tc2FhOVEXFqjNa9k0Y8FUzxXwnbT+i2bqbxihKwThjE4LCje+NmLEllIEKfdFZj2W
3zvn3t+4E9Z24tKAsApzKCc9yTGgFS4TrEOycQbXjgh9LaZ06DzJ8BheL0Cu5V6nTcwC5L50dSNg
kNK5S1XLtaBz1YezMsnvDTW8u33017z40qxwMsepTYe8zNNT6D/JzQ9Jp/7NWGaw1WZau+94N/63
PuFOHSlBxabK+uLUjk5+rkpe2w7pDiav59R4m07K2ylyvuaDbtJM97foy5c/L2RKV+aFNDlQ+k5X
S8zX/ts5/cDQBjIUHXRBk1F4jb9Ra1j/qjQUqNjQtnnh4Lpw+ahvwrTUsIYITgjIVkXnPX3IjS3a
zlU7qrZYeNGXFryel7IS6g67B8Zi7h6M4iFPH5ACue0ji2u/+naQcQHheSnUCFsnWXpcBzPXOCb8
4cxKNlvVWyaE7UlDq4F5DBO63nH/JNZnEN5v7Xxr7HT9g/27FJGkMrEcJqRtrtYkX6Av6KnM1cH5
rWDEkB8ZD+9YytHCWS4BEVZ1n55a+6Md2DvC0VBWGwFjNSAtFUFws4xgv8j3XPiYMkm1L7V8Mk2S
8l1W0QyRYuMX+a9eLlJuN7JgixNKqe56KVObq4VSYqVRzB2bD919pcCr3e9UZcPN1hbEVUQPB17d
RY392hRg69zKWiU9OWWB/o2Vyh7172njs6152kJtgR00UF7BkqRZNXqg3MShCBS25v+xsDCkjrzV
9V7zNF4vHEt6HQC4hZu77Fu7MFINjwbvc0wG19a8yNp4Z64uhtLwSzdiSbOvP1mqFHUbqConkzSk
/wQZmd1shLK1ZBTuun9MiNwJk5aaYauyKxliunV8N/VPZnBUZAvJoa1a5poHaAvygnk65ktkcTla
lFSz0WenpgoOPLyWsvPtULZqgTope6+CC7OFZ2WqSryZQ3IRTUpcCXrB/DfAdcyD/mdBePpnZT8a
2svzuPnWJNlD3v2U04+BlW5c3KsX6qUh4XEVBlYERwJLAezoBw9MnGpn4yN15qk/6HCbDb+RYV3a
Exw67jRnqJc0bvl0C46jhqZg4+WzdmjgpGTeAEo0TqiwPXbSTV1i8rhSfe0o1aabNIiMtF/9YotQ
Z9UStByg/TmfDFFen5wqK2qrUwjRmvypqJ4dqgqRRg8s2xKKWTuiOtAKXlcaWDIRshY6rQ97yvjy
Xmwi7R5nSDavtTW3vjQiHByiQFLGLUEtMA2qBg8QGvzG7sOxrCx9VV481rLMi9sm1ju/73osDFnD
bBAAEeOHbGy8RVa/1YUR4d7UAkUy1YxvpUfZzul+LgcUppHd7RiwZUVIeQe9D5ImwkqZMyWY9rbl
jXaFXhq0JhuXzfLdxcwJKjqip8NUIkWX669WTXoOAyfxuf9i/kzf53Pi3knoc9Sft5pNa2Ea6m0o
SoA/8SYV9ieVkWTI5zg7OTUUy3NeD381AXw6YShL5ynPv/Vmt0UjvXqG8Gk0ecCtMwR1vTolGNAu
T5OMq9Sn9Tl6ddK4Wt7vzOHH7S1bs2SYVOoVUKbkU8KWRVIoVUWeZifFODVlvivDM+TArlRvDMet
uQbQroU2AGkNNNGvVzQOddk7QZ6dur1fed/rLYaXrb8vfLEy7yW7zliHbD12xQnYddA/3/5Uay53
uQThDDGnNeYlsrRLLWccHpNvxfAIRtfrtB+0BpiefLhtby30QBQAYBJ1IvTjhftOoSWUw+qYcWYn
CHp0t/sNbB/Z4FIqBRlDJiJcCmpTN2OAMN8pqXym/Kp9bn6J/qihLbYKL0u2hOpWL1aAPwsEB6Q/
Ee/aCbKZzLPMCuz5zXOTheeCFkEgM9kam5I7pt+D/OcQHRR/3ti6NS+/NCx8yrr3VSVrMNyENRN/
yGBH/cHPzukWMHjNDeEjXIrbC+OrSO/TRoaRTw5uLnVHq3jwu+PvtDwXysN/TQiensnlPDbMU51e
PlbkTd1DH/y87XpbyxBcHc6eOBgh/j4hvTLE+zR6ssbj/8+EEHjMNPSdGnrc5UsxJ8GX0ouNA7S+
igUdQ6V84dS6djfNiCHsqtvspGrBfOAZhlyeZv00JiXY317MWmjgnUi5gJuC1qeQJcRBXip5jyV7
bOGEqJSeh5wBotipRxlZlaB96nyzupurVvk69+pWY391pf/ZF+FAZYpiioHU+smUv7JffvLx9/bL
hkyQ40vQEM9uG0jp0sfkCNmlZxeoLc+evjUasHpOL4wI51SyB65gy85OUTAcg2DcDf05stXncviN
fAhs1r+rEVL81Hdkc8oMIhGEoUygUXmxmo2Uey1xgOcV/Dd0IiTDoo0EoqLK8LOTFsrwWj81du3m
suTuN7KutQIcd8TSDpV5Fr8qieVItDSS9rIWSXVR/wzf2x/68GnzRlpb0aUl4RI3WrPJ7V7nBkT1
Icw/+tVPPe0PbeO7Zb/1Clv2WszwrEUa0AB4Ds+rcHoHEN+oNGEs+VlAUMeoxaO2e7Y7b/Ld9Ku5
qfK5doYu7QmL67Ooj5QYl9Dm7mT15ogAV+HZuemabbifGB8AUTweB+cHvGaHcFAf2s744qijVyXm
RuRa/dBUOBYGSORyRd0r2e9ha0OZ6dTJD0OoHbrG96z8sTXe+4N+fzt2rdjiYbDMKy0U969AlwhS
TDaTq9FJKh3zbTXJpqsFaD5IAwNZVpMVaK4V6UbAFMUwluqXtkDilzQAWhmR28fIrDZCvSI6Mdzi
+Z8gE4ErfHTcSn07ldXe0aJnJX5KpR7ywa/jQEVZ+awU3b4Nf2r5FtXOStjhxyyFXtmCJlwEX5mD
I3VGX0Yn1WkP+cFooP6AfKkqNp5663aWahJXBFe4kP/khhHKudpFzGvE1YGpm8bV9WjcM4813DHm
Vm1EhsVlhSOEaJq8/JsEn2ml6wtQgoR1kW/iI3dMqs+Jn++60fhFYYK/t/LCihC0URaNLC3Gisbk
c14fwuiQm+mGl66cTup9VBZBLzH1KDZxoDZrQr0eohOM7kdLfc5K6d6Pfmd/LowsR+XiKV5mOc97
u6eJwmxo/MHXfsAHqW1cC6tOsHw0XvuUY8TqcgI9Y6lYrKRXtYdE3v+YJyitko3i4svr4NXeX5gR
wmc0GZM6+2N0CpLQS5SHxHwb6dKxNCZvaPX3ENq5anBW8o+TfO80puc0486vmp2uvml5TNd7ZzxZ
8TcYRyz7rtbuOMsnKWnuiwFqWeWtcQ96dt+V0t5vnuytzG0tJgEkZYRPAyhii9OPvTpURaho0Qky
tlp6rO6TP/of5W+gyDj1/1oRS5YZctF9q2OFFJTczkugWutafaNSsboW6hSgOxmFkcUy75gpdJkX
K7nm+TR45tkLnv0W9qAPvx7IuS5AUVMjBn6xON6F9yqjJXVtRwvQAE79nNrBX3UbqbvZz6SjEUxU
sEuukds2147lpU3hxMyhNKRNx+K4Mjwz+zYqD1G3cVesHRim6Rmhom5pMOpzvS6jHeGKSaP4RPMH
+q+nxvpeWMfgcHsl+lqwZF6JG4A6HIVSYSlKnJZqkGGm2uvH/iTdwbWQ7/x76II82NbhgHMtV3EL
L3WzQ3hI9n98/Fx72sPHfm/cBc+116jucG8dIbtxay+5T3afcjf34mN63//Y+K2sWDzblz9VKLH2
Uxf6kRXGpygnF2q+h9rxtoE1kJh2aUF40Ehj36Sqz8fQzORIP+5gjvBpyh9StdqPcJPZ8UNtLOTU
lgUn39aAu0hh+3KlXJh/mRq/cGV/SIJc71igCr8zdGjd7DZfgV+iPPG2/+Z/ab+Nb5CVD8+U/G6v
fN0LICQGOrbCBoleUS/HaQHHS4XKb5rm5S60FGPj2IiEi38vEHS+zVXGIIoj3Jmmn1dc2DXkYtLB
iL/6Q7S3zPiu7NwEbqPIRW/FpSGYT7t2TN/pwx09SBPpLyY8Awieps2mx1qUoqrw7w8SDpmTIbMZ
BEw0W6jb18w9IFE1qpan+9Sexo3LfH35C3UFJw3aWVMIVUYYZjLEz7hXM3mln+xmNXQT/0sITXn3
pD3l30e1cLX+oPbxYXxS3snTIVCeCyo2qC3e3vHVlV/8FuHcVzFqagX8UScUyK35z0GC+6m4K0y3
TLa612uzLkw9GkB2qOouaeB1KEsRf3CMgSl7Xz7nMEm2YesmypNUPfiTdfCDyPXbneWgPb0fF1o/
VCaGfqMSu5p6X/4I0ffKiG6Awkg5L/jhsSdqeXPzFLhR4QYf2p/OuFO+xu7EwMOH5sPW7N/ahXFp
XPCzEPyLnmkM/09BthvNr7SsvE0NqyU6vYqPVM8X6lw+spgsOlE9VePMCuv7lMRXVR+a/GHIvsva
qe+/Ae34jRuKORSwpvAnw/6xBJWLcGXMZe4gl8nhaR+qiM4kqM+ooO6zhUxYq6AiwqihakTRlmeB
dm0piEtfAoIXn/Kk9/LwXaVY3tLN86F6c3qGOIjSPBLf3T4iawM+UNFDNrMwtVPYFPw205LYykLG
XcfSOVRz6s3pwa//GmpXOSWx8+TMH2G2e4g3UmWRM/DvMEkmA/CZPI1uyPVyFTkstXRQ45Oj/hmr
I43EYm8YkTsUj3kY7OpQB8s1uS1ytOk8u2bU3PHG2qhErOUfeNG/P0IIVqOfR3FjQCAgW59B3HkD
NAWMfN7Hv8h2+rJaXAiYGkhRhT2+Xq02ZoaNnmbCand2e5i/takb9F70p81Z3HgfrN1ztBQYBQEX
55hi30cZzUxCQICnTmT8QFhuQBkrtjZC6/KDxXNoMWvOkB1FDObQrhfUJMOccafgNsYeec2w2mvf
ivDUQSm41Qxei+KXpoS4AgCOPm2JqcErPimn9H0JatT9jWNwaUQ4fXoRzkkyYMRSd1+7AYljt/fi
2VXhAAaOdr5tbvXroXElQ72koh4tWLPiwo7tAGu+Jd9P+tJ+dlFFHRUYOmD8bTbcfC0yWw4gEZr2
HHXxNWRBbL9ghAiagxZ5eeU/OWn606/9rct/bavQNkHLmK4q8VnwCpSMAyeR4RtptfrOUBA4yR7n
9ogWuRI+IkoQVLkbmW9U5xP6QvVwSGXzrum9cP4QKFuYpbVjYMNJCtiY/0Ks5tpDx2KQa9iv4DzT
yuTettp4HwWNsnHY1u4jDhkIWpicmboQIkhezNpUjnp8mnv/GKbSPo+A64fNDoF5t80fmqo/x1a5
cdGvbSjDPiqMD+QV/Mf12qDCYfiDJsgp7G0PtgcLmdnNq3btA14aEa4+RSl0ZQBDf5rrczl/0sN5
49Cpa+5yaUHYIn+mYGMUfLzQeVuY3c5nUN/IigcZUoncmt0sWJ7VWSc9hNnbOHmSyFgTw42rZNFO
Hxhx011e+fshjYBxWm/iYR+k80HXjo3i5kp916oHK9qal9/61cKWJ1MtMTy9bHlymgo0320EN75G
qQel9cYXWt9nBNrhEwXKri7ed5F9QBJhJIXDJQkTAHilyJUoKabK4XY0Wt1owPJ0TcgCGGi4toJG
hNonPlbC2gZoHnnwb9+2sLqOCwvCRkuNMo9jyycrFICqg+nZkHDnW/CkdSsWGDjqsIsq5PU6ukBP
s67hVFijtetp/Sw1rHE63l7LWuxGIOBfK8JassivQsgH4Dqan1Tf2DnDD5p+fZ2SjELeG/yaRvdL
5oBCPGpfIGKo4gveVgzTqGcOXCFR/oZ6XjYmTx0smyD1gt9xNmBVlK9VJgoNYWFR7Sd5449/U1FO
ZAzO8FFVtphdl98rJg4MG/xrRVgPS52Rwptxtq7cpx16iYjHSMHD3Gy999dC81JiRF+COWUwv9fu
YJlJ3Vo+G5WaEeGk8CrDM9IvjGqUerJX+j0V0tuusRoZLiwurnNxXKPcCqQw4iA1Rb/zVfUwOVXg
2n1wV7Th59rfarWsuqIBsmwR02D6SdyxIsmqZGaFSV47TC/Xxt1oNvd5jm5DlQbRbsCfEJiKtx4r
yx9+tYkXhoVNDGHCHKOce95cRsy7J1X/waDV7/gjGrc6ELqFp1AVviagOX/2Ycv1He0IIjShitKY
G5nY6pbBHEYPl+hniiMwgQ9pdNQSM2iAup0W34+fnR4ib704Okm3kTSLGhTLYUaEg3bNQoixzDdf
L0nP/b5pJeKgXUZuqMx38FU6vLR6OuKIvRZe+CQ/ZO6+S9OjZe6t6t1tB105fIt6OTq+NMTQmxYe
e2GgSYqRpgm1KcrvMOJ/qUJotovB8vyg2EhSVo1RbGUCi6K1bAuXl9XVY5pIUL4M8pSja5b2XtFm
GmrzUbInId0iblq1ZwNPXkg/6JaLpyGxjcEYWigQRo0B1155yKbGk9G4VqPwz9sfcuUAgLRGRgAN
H+5NsaKcVbZayhw+2uVMDwTpSFmJ4fjd/5H2ZbuR48q2XyRA8/CqMZWTc7Jd9ovgssua51lff5a8
79mdydRJovqiG91AVyNDJINBMmLFWmLhRRSnoZkigko95lHAgDpny3nIAIStzg2RXkGc4/GIlhKz
8EzEkplSF8yzxJ7u/bAYUV5Ab618gkqFkZvxJXZZ3XvKt4XR2dKaMXKXcR+bXdh/N1aJII1rQcSk
7HyTMgJD0f8oTmw+tjDvKSJWQTkKRZOZ5g4VRsICk0DtpVXQp1n1HehnWCgqBf3bYxsLRw2ONHQH
ixreWRr5Gg6gLaMUEjonxTIYIMOrbFg/tqYcgh6clYfp26wmxnw/NrrkGECGiKB8QMc86s63wWTs
kyjPBRX3UPRlxdV7gjw+Q1ufhSMGxS10oCFLg4YJEoybypUSNXhAbRu/NmKNt1n/JK0DxWCZZyr7
7ZIzAPGLYAHmI4hJEM/HdGxlyCvAWJ69pJpkh+9C5Ol9lBoA9P2LyUMXEBDzMw/rHctbUVQs6EUw
rigXdN9jWAcgrNQoqpGm6L04qitTxGONmSCLIBbYwCFAAWzz3venUX2qkCcpC9rBvOTsaDxBsEVW
C8ULIsC3XdEmaY9haf6pg45vmouUU3kpT4mja2b7VJH+QUP8rdtFcR8ovYAzBF3Euq+VuPOOwNOM
RgwVm7CenDD9kpD81th/0RM7cy3iKS+qaO4lHV5g5Lj3IzQPFxCYf+tKA0/6x16xdIRAmQYBHc4H
uY95y11d4FC7DyJk1MCLNSaXpB0gz5Wvw0izQloZfGnzXlsiom0XhGMLNSowuzUV5GBCGRrI3sAb
qpSwlABIM0UEQIh3RUOeg4ekDL6L9Lur3lWRAmpanjcEcmxdJOdlYuNWcqoluYLRsGJk5ExqACCb
5b4dtpTjYnksAI3NL2J0/JL+XRbJVBUYSz9YXb6aNUIoienlofxjgRiKKhR+LcLTtupo/AZmyNv8
m+4WIJL+MUFcbL2phazwTJ/k8W9BoVfdx0Q79GjzRMQcUKlkAbgMwR1QuKItQfJu9XinLAU1ENTN
JOUQMr4rG8jFGGhjCLYPqEpUbQFFp13sub16/HpsZymgXdshlqMSYqgOZ7DTQUgA/KpMlDp/bwGk
2EiwaMiOIqzd7nnVk7RcGcCcVXEm8DCj8PL4939AmuQF5NoAcYHTip7hvXimVYDuuVBbvJXnBgp0
/kqZzn34PWVuhPJ7Oll9VxjFK5TI5AnCfO9jqunROvLdwgS/MEMjAFnyERBPo20U9z2AyYiBjyPT
VLWK71JUMNIyfwb/SAXjLi0fqlkooIFkBGctEeb6UhiUTtFw9kFyt0DbgShR9utSwRk3r39MEMPw
fD7VcgaiT00arXx+N0a9IQ8mkPpPXgT0ueCxOgfQ41BemkrVy3Ocm5Ahc3IuNoXgJIWbqqDhWpZu
TTOmBW4FFAAeW7c+NQpFF3ctvslX8h0vn4Pxi4vKDZ8J+0oQXQi20GDq8yjvnAzwlvndM/eaEROd
sBPfgdARfBH5geNKu1C+2jkjnW7k9PmxQy/hzyClNvcBArcH7yFuAAXEofKCB3uWupPX2ZZdqTvB
bGxp0614UzrGRmrJ53DXPE2/QVNoijpEwUwGsJ7GEM3UVhxWp0sjL3raPx9F1t8HJoWseoyP8nhs
IjFa4dptdJq4ClnVicfabEBCKba7YRQNNQyPWT0c1EZ9BdLXfjw/S1CA6/khqyCojDReLeIIYZ7S
FbOK9+nas7lXbwXeyW3ktC5NKnleXHLxsepoyERXO9iSiSApenHBD/OZ1aKbNeh1fnjtCtCGU7IH
S159bYY4t1J4Os8EmOKhO/OlEeYWDuF4hfjUUCwtVaVFFDdALY28He5Jc+y6vohVYidECmqYbSme
Nan60vxmIyZSo0/hRYVUamxlgDV4lWJylUw525YCI572eIjgRcfhVLg1XrdMypfg+N3GguNNilE2
gT3kNFT60o4FNBtQBgAhkaIkZtMXRkEqI2D6ECp0OSoZoDGhQqqhRaLoxM+gZiilqkWDqNeCuPtH
CZUISshMNc0gY04DV3Wl0E6N6pjR0giLc3dlhJg7ju99EDWLQA2iVtOBhrDU3nmVssOW9jpaDf87
EsI7pqADAFuWwq2tU5b+h5qB3ErXP03E0baolbiYf3q0EjPV443gRAUQaqLZbNk/9TE7TBvul2BH
rmjgtXgAG4LDDc9NuFZp0BNhXpBH30KcbBpb4bGj4Vu0wPQ3wVdgSL8kG6gpVMITy1sLW87GwZbZ
/TZoNoMDTFF8EDfp22DlT95n+tTsYzvWh2cNYAPzcZBbvNVcT9QcLK52aBdMrBf48CaENwussIgH
lg9WO2sMjRRJ73XxpjW6Coc2Rjd0B2bffzVWCDnZlUJ5FNAcmziPFH7kw2l27BQpquQlNCM3oDQV
LUXYf0aLc/Z2tAxbNAFUqODWZruT7WpHmc7HHo0a3O3vh1KSsxKDpWYtyzceL9Xj6UG/wO1vZ6LX
59K8UrhVfubmZLAmrZ/18a6HYvetCY2JPVzw8PmyvGHTdS+vOPXweBS0GZr//MrfGHlq+2SGIzPd
GntUrzmaagRtnu6iiheggjPPU6J3AnhBoZ7wFYO9B/mNx2NZKnyDcP1/Axhi1e1gOBx7fqfClOnl
e974BtD2LTLjPW9d/E3/HJb6H3A08nZ84DcjXtNO/Kt7Tla0rl3anBIBJmI9UYwBCdlO6i4fcEsL
aJfz2W//7xCGy8PtQCeO9auyxXEgAm8t6LHJvTQOKphPkFxWnjLn8bzS3JAIBD3U1IQqwcGdbe3h
taXUMxarN1erRiYfBAiMVv48mOZr3DPGcI6dBJmoUeeN4ozHXbiqin2f70baVWExN39tmQgPfFDl
I1diYLlemBr+sY063V/xb7Vbur2j7dHK1kMwjuKn83w9WL0fKPnVnhO7AK2hHtx0AjeyquehXUt6
Z2bjt6Ceg5biLDRrRBAplYFhQPgcbisTXZu/ulXs+gZnBNb/l5OQaIchYMQh5OdAwphlUNixkFil
TDkvFscC9RD0AKHQhzaKW79PlFYrkHjDWHB0B2ugyQQrGIz0ddzQaNOW3fLKFuEcVZAFsh9h3lgG
SJSB17WJ14dBcToNcJlqhEjKLy7XgyQ9hq0CIHTiyKrkqHLa6U1MA4AvxpSrryFOG3Xgg2ZUcRQo
YRcZ06CcxEKgoq3nX7nzzCsrhK8o4th77OyZ3i4xJ1tZsbawVbe4boR2Z9Ma2hdPhitrxNmjjsIg
I1uM0z/UU/R8uEpvFsq/udReGSGOn7yPOW1g5z2ecdZYPo8pQ/F82tIQp04rSk2ZarCgZe9pv8lZ
GuJi+dl2NQbiQEEXUiD1LSwwwkvUipYXuWPU2mlsAUsS9msu6Mwckg8qMoaPdzVtwxEHTZ7IEVvP
DpF+h+vUKSxuwzyLyPy4j+38H7vtB+M4w2vJmFiFQzVofgs0Kh+D/zdrJZk3wjZuQ6MY0owzVTYf
JTzo4rHXIf7cHyNOhaBwOSkTpGZyoVi1PJeFjpelMrphmxDHoZYJNCq1ecD3O+Sf7yR2SNChyoss
BSKQZ4sD7uNVoVs+fxh6yowsXo3BYzIrlqBdiCw5ydzEy8LcT1TFnoEOG4h7215fmh3zhzL1i5v+
yhIR6NguFFR/9IHWrhMjktE2o0FY/jKcGnQyPosQqJAR0SC2JXDnx6YXxwiRbUnEUx1kqYRfS7WW
MJmQQrKRT/UwEji9UzVL9oQ11pl2X19cuStjhCsLE5t37YCulSCc3sfeF1wlG+byWsAaZYdWqRH6
ZrY6VrSE8OIegl4utG1RxkYH/u2hBfXTSgpSwIQb77eG7GjYP4381u/tyn+KgCYCKOXxtC6O9Mrg
/EFX94tE4hgv6GBwrHsHbMfAK+0HsOEEHKpIkmQG0/qxwTmG3m0KFW0WAPugz4pcx6mE8gegPdi8
35GQrUeufpE59AM9trJ4XEBXVRDBcTyT8t0OKw8hrKcOdbS1FWjqDQ40ryJR92k8houVWIA15gVD
pz1Evm/t9MALjkqO0WRgNJjQuch/5qEzMonOVQc0pup5CSgtDZP6w/JGTiKkZ+AfaHxFCY4YXtgG
eQfBlLmDb9iOK3kdOP3Of+9PSq+3x/QouziFf/OMPm2KVXYc7Rzp3/Zctnr1jNS7Q3tNLYbk6w8i
5qHpIzX25w8aDcXWrNhSjNypNpEdP4t2/CS8RceJetTN8fPRLBCHaZCMQu95MMpi/NHht2dWFuNM
Brf9TA+0h82SR12PkIg/CphulIr5mfLM/oPmMj2zHvvsj0Dgo/EQm3+qRSkMe5hAsWmvQaV5r9XG
FpnWDX+oTuWqMNoVgpDNrb03363Wrcu+Pv6EZX++ciwyHKRQjpVbfELiSqboxOtGr3QPr17aE2Ap
nF9NJ/mQ8yreS2MNhkDjUzXHoliDBxuCYS+PB7QUba7NEOcVgIUT1M4Q3pAoZ3XBoMFNBYpbkHeR
zp8qVc4wDuGpXLXWgCKMZxRv4lpX9vledH1rWg+OcJaM3h7N0EkyXbSy35E97Udz2Afb/hX/XvN6
/DtYZYZEuRks9XgBZPjfSEG2uURTFCCHie8bs5cKwL+daBSBHiaQXDLCfWayym9P28h4pjye+MV7
6LVhIkQNtS+n4NFCiDJ6g9UjQ9mIumqmLq+rlI2zdIZdmyKCz5R1ZZoWsy9ZklsdkBaw5ownZUA0
VyKijS82ArSWYGU3fB1id9BrvbM6+NQfyGy42lNKyXXQRkUEnI5rxjIMYK8xZUuzW3MeF00VgrYN
iZAjsoUaah2MTJzO7Kd1DBuP5+0H0PogqpFgJQm8PxgGupHRvomsdAG6dCNf85ZsSi/FE+u2ndHt
sv3wkiN8t18fkIB5/AWLY0RT51yWBWxJINxDm0I2Uiac0Vp1RE+sNrzXwrPSUtINi4EA9CloL0Rb
LJhUbm8CIxqdfC9tADyX9DJrDcizRZo5+QZVUXr5sEWDAFroceMApPLWVA4mySwV0CUgnBWw36t2
j84XNXwZOM7uVN5ACVZv0XuhtCJ4htA8t5PSjxQMJI/ndbHIioY9dG+igQ5SrfNj4eruGLGpPEQe
hsw1Rl98+bJdFlYHVYlfIftegUpJngZdi1IrlbaTsKbhIpdoFERQe88SDeh1Q5bn1j6Ce6JKw4xO
L0SjjT/FcdBFcEVm/ar/TiO7hxRp73LDetC+KENfXG1wj82Ng8CakozPrBpIYhEARc6rnY64OuRv
ISgT0IvEiKu8Ze0mdVCEnpv7cW00GvHINqU+jYU+q6PQtLTmU/luiwFxAF0wMESDYuN2IjIoqElF
MveixZmqJxVzbnPtHDbQ09PQUmlFSRToPdDfoNiK3yhTMR+hj4wTR2zcFFXFFOi4gBCZGVTcRRTe
On+L7hN3isR93YIxLfWt/Dv4FyoCIrC+qOACby6BZPN22Mhy+HnToi8H0i+NugvVbV88DTS2xqXJ
nRtY1JkLFzuO8PIsDyu5kTWcLlW38cNszRctRlZeyoDHa6n5mCruFwjiPh/P65KHXZslkgdePaG/
aIJZ3mnQmOAXqcV4me4p5a4ZW8pWXjrbANqHJ2ugqwWa/nYmR1lgimbCTMbFN8QEc/TbUpWjls4z
8B6BanXeszz5tK3FJAgYJLzgGb6RC2+49Yl5ZsaRNbZgB8o5SthfzNiDkB21duR/0SlAhEmWL/P/
tOYUEiqj9Ydfgvy/rPWsOmqrNmHsIkCVCV3TrIYKQrgqeSRum8lSC/WjCFhK8WxxitFJA+IVqB4A
KXI7xS3DJiITYD0FsdIZ7jkW0JGr0PrvFq9dYPORkAgCMSLe17dm+jEq+FhlsCfA6yK4bRPrbKyg
L7Izu8gC6YpYGGFmoPbz2F0Xhwe+lZlNFzj1n1r11VngTZOUBk0EFbxOnfUWpEE2e4/ipoujA+OE
BEkh+BEQ97ej47mGT4SiBTo9DPONmrGCEQt1YGkeG7nNxDc28p/CZizwn3L1TehLedMi207JRS2R
fAB9BaTtDN0DTp64CzZVF2kMMo7bbjz4sVmFvQ7VRF2QVopi5ZMlMcIOQlHlVJt+Frzx4soTdwyS
EPmsZd34q7+f/OvPITwd2thShYYbQE2VaNWC9GUanjOG5ltLgRA8mGhhB1sDeuaJQA8p4azvS5wy
aa1YivY+DtUmV9AcLIPEsfb3Cl/qZU5jUSYcCyhzJDnmFibsZA0UVUQcRL93HfBpFJ44Xz4Aq2P5
8QejDJQDfd59V4fYbAXZIvz+TL86MyfeOha4Skst9rXoBJn2V8Zr9uiQouWkiHvof2yo6P0CcT+Y
AMg+dU/gOl8cmOiER4TRBZu0X6ugg6m6y2NvWLQD7h8NuWXIkpDynYzgNRlgiPGpiRJz8ANbDTei
V7pKSEEzLU7alSFiNw6Dn3EepNFPbPPby56n6vnxQCi/T6p3Akwpy9OYxydNiX9r4HbVZFrBk7zD
/mdR/hmDSCw8CPtyICzT+ASkwa4CDwL+4jZQd8Oj1R2gLGaUIt7ljwdGplnurBJ3Cq+UEkZgMDL5
fbDHP95BdIEc3Hqv09tjSwu7Bz7wX18gSZp9melknLzxaVBrm01UtFWGrT1oLK3zjwgO/29EANLN
bLzoCyDmEdlRIC67Kj5FiYEWigjUSnqV6uI2c+iJv+VR/WOMmL4ukDIkNmCsUJ/Sj37P+HpdQgzH
zHRozRvDLkOG02z/LsreDZGIRH4ojnzPlPGpFYvtOCEfB4wiGLVoFB7ERenHDidruIyBNWMGEt/G
Iq8s5KDwFPWYePxhwjvOKySc5fJ6bI5N+hZS+8GX9hkPCgu0UeKuhGPt1mAYgegOypraUejPnLoe
oaz52AsXDczvE1EDMckd+QnPdrUMNkjtWGtbUX2afNoTf2nKcPlATQHBFawDRCRqwWKYVIrnHfOG
NzzuaSahD+vUBlgJ2DuxZCmPffIC8LNGeHrzgMb+p2/hdsq4AmrifBkwRwhjp6MuJ6LZhi9V/1J0
o5sCqlGabXvWctSIXthQz8VU9zRbKgsjyilR8n4zANaPwhCYCXCGgZ3y9lPyvIvzshiYI/q4DaEa
rBS6e1pE4UAgE4kYMSRK0bqJagcatfEWujWTMKVSelnknza/x1P0S5LXkyMB5eiGn6Jn1AW1pnAf
UWQot2FAeNFiVGTmEviCTAykJDzJDVLgiCXl5GSH5DsIOdvP7JCWClsIymDfxtVmRnBDsZK8AygM
Owx4w4anXJCMOkgdUXvVPqXAlDij5ZL1pAS7CQ12j/fGklmQmgEyjjwGWkjJtoFIEXIQr3ThqcZz
0JRVVJFSrVMsT6j6U5SWmatoPfIoRR+4cVhyzxoe+fbjj7j3IbzJVBHddnj/zeIRt4vLdCmkx+op
PBXhqBrQ/sb2aXLGLSSPxppMvGvhR5DcmK9ZPDA52h3TvdKNfcexUXZSzn6t28M6OtXbx6O595xb
E8RohFbykqybTXC6ylhNqytIymXqcZqSTeKv0Jxv/b1FhE5wTSL5MhNy3c5f54epGrJJdqrALebr
k6ZnwtbXzLw1OlHUZVoBcGmE1/aIeCdIGSfEEuyJyKizkx4UFi9ZU7yeAZPJhT89Hh6ZcfxZtCt7
JGmBlxRTGIewx3CG2nzIlS61mwBt/U2xSnOjA+ogdJsyR/wRjeDYAH9ME/Qj88jzN0CRnMcZhQs6
Ol5mH756YaZ1wnax4mUnuWx0aVuN+4758Pwd117SfNMWn3XxW0t19Xvgjk2uWlnOGXWY6MIQbuI8
1xM/XU8VS9k5CyfB/FlYesRHNOORbRItSDdC9LXhs1KT8beyuk3fuA/BCBSd/e2f61SvHGnXu7XN
Q0WYEjwW/ADG0b8A1iCkbkg1sKhJAEmUo/zEtRpSF2aL4O8MBa4MaDVNdgplY92/LDBWPF3mtzew
Jj/P86slyFoUByuByU6BmF3iE6/iGpQ++0XsUPxtIUjMXfwg+MHTD0ObLxRXhuq6asaIT/JT33yI
Yq9r3qY3sa9S6+0bgJ3vEJgz9VJLyHLkgJtsSsrL5oct4OY9iPZqsCFDZxGrikQD8QFjK7ChXLPi
qbSKbb5PXPEoH/l15Ppr1Z2O2ntw6i+SA1yPWRmaS1McIRMdKk6CG/uEs0sq5MdTJD5PGThRuvoc
liHICk1Qm+NfByjoAd30pI1oU+xogsE/79BHY5+94Gryq8LPBkRw8cQbmQtwJrBczSZbNSu0PWyG
Vej4rmyjzw8s5fxROMR2bvMr3kkcmoj0/dE4zwLykeDdArsbS3Zx9SULCmwfsyBzO7H4EPk1Hk26
wLoS4wj5qZHsHhRvFN/jMTxy+GjdR5P7zGGFTpnb4ZdyUQxlWEonSee/wW8KjdKdv4Ug0MHT8yca
/uZ+pXHRwD0SFxzcckRoSN6aY0dVrluekU+/kif/XcyMNtLlp2KHp9oUmSzlGne3sYARwz0RpK0A
rMxNT7fWYtSKYz+JtROvWW3nJmB/F41RZwSJNo2LlkBPMCuWYnTkDqq7sq7aPNFO3arbdK/Zudzx
bx76ZNRV/BQ5tRVssz9iTTFLs0rsm3hMUK7yYHUMvr0j039DgUtvHCWoaHF//qUbN5ln8mp8xC5J
28qvhxozWVToIHj1GfCUl7LenioWKHBDG1/44B1VIrjrqkUXU0bLb9+9efDUhrDIT2kfrWvki9sr
UNUEKtY7tRJg78ImNnzf2cvPj7fDwjBvrMy75SoYcIlXpP3Ue6dUt1//Og1CDIF4eKptzrAsYMSn
dg+8pvJ06Q9eqxc60vDO42HcP19mUwpCuQSmLhzXxDjKBAS3TC94J/bIIv/+qdnZ2XtjXTh+FBre
q3agqaKR9QeQsuIdAWJf8C6Bdw9cKrdT542sL7YS55+Zlb8JO3PYaCD+Xqf2uV2xv6udus9fJVMy
KSOdtzDhmDL8AYJZ4KRhkZ++NSshRTsFYhCcU9HGa6U2ICkhgD9fgOpEadNkdhe8EITTyPsjYM5a
u8SGKytVK/ssDM5Q03GUVO/RjfHkpTpL6Uy4u3pg5XDNwrsToEEELuLGK+dxFk5gssKjAe10X3l3
Ru+8PjY0zO69o4AHWYUJZa5izCxWt9NX5VAS8+sgOaPopjryn4rVg9fglcFpsA3t4I/0Nfwd0AMY
4FuLxIINvOcD5ewnZ+4zK/TuFYolNYqpeker0dwFR8IQ4ZBiP5Q+62Nooa8PunRSIPAurB673128
IGyQFye+UxIOR8y5O2gWLqKPf526OoS7gcBSLSMBPx9c8n1tRKayj+VV+8tMTYnBTVAHFIFicv7i
m/1EjIgI9B3YC/x6gsne+t0/J7wB4MrRUpu1Z3wdIff72NzdjZ6wNq/hVbzV2G5SqnmAJdwv0b0D
sPu47U077SDS2h2WbGmIFODk4lFcIcGrHN9qJVfzWKtcB/iOQYrlc2wNdTV3htEwCvfTCLgKjIAl
AthfjRTmCQYhnno/7s8qE0RPbdTXKMYqNKKdexdHaEBpBWVI2AIw5Xb6ArZhyj7IxHOcmp1kSXgU
bpr8MInHx8t07+awg+ceThPc2u4EV0VpTJKIacUz+F24BqVWxgjVt8c27q+GgLpfGyGcPU0nsSz7
QTz/ij/gDuEpsJPX7EX+7D7i18e27h88P7bAF43WEawQGcczQHzAtTeJ58Ye4nfxPet0PKw14TP1
DnHsSsWgJ/GmhwwNct7ccaY+rV7qytXQZ9Hq9TahEWsuriQYd//3g4ht10sTF40JJ57Ll3S0csgT
RSLoW8B+JriUsc9OcbvDMc9AEKGqPKccydSmUExtzUJP8LzpjV8amvreRWuCFE1ghsZgvNWXj4/v
UT+3Oq2H6u7wnCf9yvC8Qa82u1/KWdwEAvSinmMZ4Mjow3dp/PokSgrHy7URcD3fGmHFbFKUiYeR
XXEu3N+eGzsawFiaAzZu+/FU3ieKCGPE6YkKANKzuPWeu2rFIjH0pJwEX3f0Zo2eXt0/dHvZMxna
PC7vlP9O5N22T/JJm9gIExm/CBfeENEIzx2VHbNDQtV6PMS7iwgxQuIQ1Yoy4SJEhbNZHt3uhaGk
WO5vjcTvEweowg1t3Hjwe/6YlkbEm8FhTM0WXEW6YtXYlamJlpfPabRE6tN3Xh1iI+Aw0EBBifYT
5LIIfywEpkdNN5DO1RZUGBtv21jeE/zEqTc0CuelJbu2RZYtIi1PS1nyxDPrDNvI1D8PklFZ+XY4
PF4vkpxo9v8bQ4RL1mjhEZlQQag+VxdbaPRmw76Jh2xTm62pAr9bPQMtUujMofb//rpya5s4jrpy
ECDIoonnKrD8jXc46JPDvEvO9C0YfqBTDS4ElJuxEs4JVmw/jitMqqRPNmt1K82p0PFNmdH7o/x2
VISLpkU+puXAiOfeiNzsUO78UkfvBSZUMLrnYN2+1pRb5cJhcDMu4iQEtLfKwPktnVUn17eDRdnT
dwMC2wOehJClEpEd4UjEhBg3A+C0IkiiwGrAFa9gjaJM2d0RM1tQOCCWZqQq/r4NwqGWpPMLUTkX
v9hvxY4ibGam1kc7wVXcis2AdlO+8wRI20PsBO8y5CmgvTn/+dXRUoW5lIYC51/AgsRd0LsO3Sls
bqjaKJGtVkA6SOABP3VaQAvGdwFytoy7HpDBSBQrZOtVIIR+N6WDf1FyV8VLt8TVtW+/KBN698r9
sYLUMGjH8Mwlr5Oe5wfQI8H4pDKwhdCq0Hfc1AAeOGI9ubISm4nDNb7z2OzSrKLVCxVJ5BLAtUgs
owBgTQMldP8CwJAxyTtUzYwC4nV54HDRp5BM+mN7d34/882jxQv5T4RjSBPdrmIjCEEljHxwGdes
5a99l7N6Sqr7Psk624D3z9xwoDAna38pM4Ra2InBJXDF9bAdNrJbb0UbsEzKJr4/2ghLxOx5Qjkq
sSgFl8pmQMoFCu51uatWsVFYaDE6hi63hvAdDRtwfwEizBKTGEN9t+0nmO3XwSFciUZ24I5v0b50
VZuKSV/wy5vZJGJjFrQTw+RycIn3Fx9qc2foeNvRrlzltNmcZ+vmsCaGRcTEkmd9L/YwLGalOooN
mr0vPHjWnMWugh1DudgtOuKVk8yb/iqc9KkqBEmGYYX7J+41+8ht2njmu8X9cMCFiJ0FHB4JXM0E
LZFiVggurNFb8tpfDStQfz0hD/J4S93fBzBvqJQBXjO/fO/8HUn/XI7lKrzk1mTzxmQmJmjzNrIZ
u5MhGNjMZmijjXL1QjF87xqz8g8KaGgOQcGffG4Dki8rHoDyP+4PCmdUUpJvxRE3NLryhS19a4lY
LXHgKj/pYKkxO3fSPbuwXgWr3uSUc/MePYd+mushzW5z5RZBn4feNA9JwLNp/94dPm3VlHajHZz8
NxTGaMcobQqJU60YowlAddgbEakYQ7Fa9EUho0qlGFg0BI4pQKhldPSQYPUwScUSJP7RBWlNlNdN
bq8+cRZaMs/i6bFbkHRnKuBKAIX+Y4q4dOfhpCSA3ESX0qq2iV0aifne2ameriBTuOoLfTzwT+pT
6Uo/vF3jafj8QgcJTWuW9h3yPCVXaxmlONXLBt/RrxOXw85otuoR9S/WGK3M9i3fCd3ebn/FbvIS
7TVHMBr0oiou1alm77yNBDcTQjIZB2qp4oaJDynMxqz1qTaYU/P6+QbK/V3lhLZneVb014CuuTMM
KmozCpiHCgWxZeKUzzsJWniXzga6QdgGxrSZPEM12ady23ysjehY7MpXjkaacR9Yb+0SOyhNsjmZ
Bbv+h7jmNjyHejJLcbH70Hprg9g1QxGEwFn97Bp0hOu/ZdM7pzbtiJjPG3LZ0IYDLnwJoGzcZm/9
h+HDZqwhMHTJpG0dHUbpyxtpwZukvPvZLNdGiOO18LiiakcYYR1x7Tnsuv+pydd2CIBF63hO7VQr
bj1ZiiPbuZnb/YqWLrp/LEBnbKZbnmkxJV4kPGXUGl8AjXxykcGnOwidHsfG45Awrwc5k9cWCJ9I
2igqI75KLh0a+cZin6qZ0Y0WE0Oz9SQ0+d+fiBCABlP97PmgdicrRhGvRNBsEuNLLRyH1mgYQO0s
vz8xAjjDOEsCBMFLWTdveacC+SHYtiAfbObopiy2cgAqrNx+PAFLroQXBESC8V0o1hGuVPFpi63I
Y4q9ojWRX53MFJIpVtxVH48t3achsO9nQhE8zCAOi31y67X9pKq53Bfppf2u99wmNba+W35yz9GO
O1BMLTkO0K/onUBpEOTj/K2pIo6aognL9DIl08gbY+4Xf8S+DRmjRWPUH6VpcgVyyM20RQdV/Wvk
h1E2Et/rdzLX5GibZrQID52aST5rSW5Lh/J981BJt7v+PmIqQjkafb9s0kucb4Zs3GpgzggmtLCz
ocknXznOBFHKIF1bmsJzMACI0R8ff8LiDMkgbQZEGMSzpEiixIZMn05JeilUaa2B4papQaj51zbA
lzwL9kHRCI9H4pgr0rT1kQdOLypbALQa8b6h5Z1G8eClmxH4eJQZQoSgJUlElEBfBhpapjS7VGZn
TiaH66zqyqYIiLq2RsF7JVOQHfelMYReyB9CqglFZ4hqEO+BjEtFBqxG2QWErzMRKHrgD9ZH4ayU
A+2CubBOMKWgzwwAKRyY859fXRUkpSuLxsuBATMOtPzq8sxd/TgxDs0blGysiuzi1W3/pDEV/0sa
o+rIFG1rBPPK6hzbySoolpUCPlnUHIScAYwVjEFGTsBp1JRLjLpIZix4oNUBZW3vayUSnuRACAuo
myFEkUjExlNGv1CV7sIWhgp8SYD+L5BLHUv/T4OuY8ChtFPfuREfntHxp5ctJMXri98GxgiVKc8U
GEsTgHMotxWNJu3HfW83Mb4NWSxUy4FFRDve7dKwE1smMlP1F6ZclT5nF97vlkWIjk5+gFbwaTVm
tRVLpZ4qdsiErtcBtwWlxrTUGWiV/Bq0Xw2zBWwlT2xZsoJ0lQTfLTSB1ScVbGL4v9tqByqdsAPI
fCp0MOrJY6PnhcUgo8WiqFf8YkSQFO7KojZZ7zNjcyvYh3/Szqni33L0S+v1GnD4x7v6/siUQBL9
gxeHFChPxlYE0SbqOKm/pEAj6JncyRbbJqwtRuF3LZYgyebVr65laFzLP6c9Md9IhgpoPEA6CHk9
4qzmQhCeNawKMODw6kmDO7B27rt5dhrzExseBAUM2S/a8BIyuC8HeqFxVvEk/JZdnlmnW/YcKWak
qka0B71U4RsS9xTUQHK64kZUbUk2ud0YgmB7OCqjVVjhgddsqAHpRaUPu1z+H9K+YzdypOn2hS4B
erPNJFm+5EpqtTaE1JLovefT30Phx6gqxanEN72ZwaB7GBWZ4TLMiVUX0lJ5tD5ky75+oD/bbREO
oCccOg7EBKSfmKAx0+re8CqhP4lxgAZfIAepN4Byr3VqqKtgOrRlgY3QtnGnUX2n+Q+6cSirgRjR
yjymAQliXq+rMptM9qjPfxEj2kOlDvEYeP2pCzMiuX3pxuVtbNHab2hhpatRx9pzG1WRfK9v9OC1
e/ICUgm3mkjT5lnobOwf9Mw1hPEwBs5k2HJ6yIBJItgSGpe9dZyUkBw6NjvfbgKe9/9RW0F7PXY0
Y10HNm2jb4vxO3EfF8MkD/FJI7Y3OuOAl6vzMBLtlgeU/CN6YigxBY9YNkK1yPr4FHmCthmwc5xW
02DavQRcr+tS8uNlMZNCXxXGT5C4gQ5cWpvSM7uknCZsKSO2MbodRZsM0C55b+Qf/mYmo8GeKXCn
OsDoL8nUZhsl6MAGGQsd9YiQWiqbDc+rfeWMLwQMZGA6cE3zRirAv12SkSy5SA25zk91NQjrzFdz
oMqKoRevpFLPNZqPBmZ5kkatVlPSthVN1CQ0aR+PcUW6UkTvkzCFZkEz7IcaaeaNWBPnYVUTer+K
sI5WUdt2/jEUhCAgA0Z2JKIonvxQFooF0cTaoY6m+lgnpGixPYaKQdzDylaehYRUoPeviSVEnttO
WaDQKRO6lzAHaD0Vq9HgAVX+dMM4DAVdqchToX8NU92XhyGqVdanlpScBrfZlEfFrleBG6JEFx1f
1XUykJYjSz8DGIYic8t613ZT5yPqb9xifwiVbdrTcAMDN2FrhWB799z+4h8R7+wqMe07Q9EBjYPt
FmnHKi4UNEThnXFs3L520V2MRW6tW3dOkz2pu/o9wCgD4uDravMzQQfCGGXGNIMKtwGAusvDlQrT
G6UwTU+1YxB1ewiovmmc8cQx4rPzYQT6ggxzookRjGmDbWSnlqaPvx8+eQ1lXD4Y71dbgFDwCxDw
VsauIfuj4kSE/u8tjcxxMb5INLqpKOqZD6ckEcyMSY4BGjIo51qW5OH8WhgPo4WTV1sprgVNMC5Y
cl2fqBuT+NTYRuR/hcjCUnRIAd46KPyh7wSL4S+loKtEswqVmZzdO81G/qht0j1VRP/1fp2xH9ER
Q4gRt2CYorEvwvT0DAyanU8iJ3U5ovazyjLTwKMNRhqJdUj1JTOIkVDcGXPQcG9wbJt9vH+44+Zl
F2/ojIp8SSUyyxIzZaCCtINEXGmN+U60ljw+FvST8xhdOjT0DszQ0YD5QU3iktQgmXEihX52EgLy
nA9AgI98sl5fv5kFB4rsHkZcRBRMLYTtl0TyylJKVWnxkiLei3KTbToiNitac0A3FxX1nM58rmcv
thahryBkoPM8ecQ6EP/UJGT7YPLGwJcO7ZwOI9J5ogyKFYKOdyfTmuo3KKg4HFH7EQdC0s5pMNKM
/Z5tW+hNdtp5GsFc1/vAw3r8mRViSDB2TagNpATaGseVbOSVSAVHeFHoA6/0Op8Ga5/POZlP8+xW
xKlRtFACJ9FG37rVfh5S3BjVvZqRh+CRlzxd8gbn1BiBlqROssYaTGEa4TUOCf3kXMx88FfYYfc/
JUgW6pWOl3uzUe1oy/n6Unxwfu/sNFCRYSUldgNmJ32LBeKao5NjRdfvI1VI+eu6WvIEgE2JGpXu
d1VQZqeRIuAk81aT0k73EmZluHnBOfK/dmyMbgJxvOvyrprvBYGAK0ckdkNXsDnSxlFNNmkT9fog
VBOErbGHByx8X1U0tHk7aX42AF5qDpsbyZNh7McYB1d+Rq66+bB2Gwxlak78MK7lnYyn1dP1q+Kx
xcQ4fSRofjGCoB3ef6T77ZrHEkdtWMDi3EtETxFB4Fml0lr9k1BeRYFHgTEDfVEK7SRCMc3DbnIH
gsc2T/c5foZ1ZoHqT0ms4fJ7oHOUq8rZ4olOOB5zMQb4tjCYoLu0ZyNAtWSj7mZJHmm3B0z2e+9u
1yYVNu/Xb51jDH4A9lT+pKaVAqWxAxpZd3vnURRJT9RfdUAyypty4fjPny8FpfYlUZhNm2trWMNB
i9fUTrYF5R3hUoBzfoSMMfBlX/L84ssYzHs+TFq5k62tqx2w1RtKE8o5xzks+3fjgymeyyvza1PN
K2VWn5i8KLvI1u39Y3zDU6LrPhtjvZdkGq+M+mbE+SFtqG5q7DRfcxi5bkVVdp8PNkkPclhB9vBQ
bR7M22BHHWryBu+5gjDr8pnLzoq66QXAf5zET0Jqd6IUqI+E5+quWwRDZSxClylSNuoIo3qKMqdJ
0QF8E9CQqqR7zfA+NT7bvbDKHN6Dbpnu3KuITBWGABhjGvvV4CM7AevtVPahJtiZzjHXy4bomwJz
fqkW9qKYJ9lJesjvBdpsFRRqeSj6PDaY45NKra9EYEAgqn5BKt5dK7fXpY1HgAmlRH0IkTUBgXQi
CcmI+Sd6vE7hXwTtn4Ni2zGsFuMy4wgSh960dTodHSVztnTk9SjPZ/HTAHzTmQ3EmUAD/B9xVRZn
yBGIT5Ft3jwmDkc3OXeuM4+ceauSigWOszRbRMCE2+BsiwOHyL+EbN+MMJYzKjptrIwIJsY1Vyn6
nwUSr2o7OiZrnnrOP/jamTFGM+mrVEkbPA2j/Q6Y066pkI7+ng4ZXfOyYsuG85srxnBKZdP1kRai
qrd9Don+wGHlZ9fPV7z2/X1G4zOrDqWqxd1I9dYgkmxLGpGOwhG1G5K6FXESdD/d38cfITUGIiO6
4hiEZUFXkDyeMfjQyctYBFnrtCJo52IilngNG4kYazQbAT2M8nzdLAE/ru2MEmMWMO3ZJoWGmqz8
Ufq0QkonIJa9Gw4FXXOC7aX06VyO/YcrxkIYaZakYQeuRoy9AAR6/0qdZL39fFIQpcgc2V98eH0T
YyELkBvrkQ4GsWATPNDSvW6KFo3d2dcZC2GWVu7BQGSnp5cpIPfpn4fr3180D0iFzpALc/KduZYS
XcFAgED4aw+2na7HxygliKyuE5k/8uPuz4gw91EUZVVIA+IccwVHunrEzMffUVCY4LcSMIIU+Aix
g+eJYIEKZtjFNSc8XLzoby7YLcOAPv2/qPd+dceR2MVbPvs0Y6TlMUQfZ40Dkp/6lYaFBOqac888
Csqlpymawoox3ApTht66xnnw7v+SBcYse+hyQ48MCCS3He1th/uEXrZVZ4fEWGMgpPVjYEBUAbRz
/5bT294W9xXl8MGRVbbclVgVoKZUUBnvnt+sV0SY73+lDKzJDSyhkVoZBILTtI5X+9ytVtcpLLqt
s4NidHocmzTXUEI6JRv/UcRGOI7fWvb2ZwQYfTbzQiiT+Z2krp4qW9mZwWwzsHeWo9UcRljTaqj9
FMUl1KI8YrPuKaO8l/nCZaPdSMOKIjQ9iegovNSKtPTwoGiUHGELXubY0+OSzOdJ1NJxXVCZ2TyL
8gqMlFv4B0qbjuK+SWSDBRYo1Yy88H5Bxy/ozH9+RkfKy2wQZ27w/t/MBzbyZHfhQjQ0N6GFHsA5
usR20ceqgl2LupbjJe7KCdpZh5Jz5Us5rAsSzGEBpR9oKwJIeC+t0z/dFG79WDiiLT3R+D0gHG1f
cH8X1Jgjs4pcmppCz0/P3sEVS6oCQQM7BWj1cV0leXQYlaxks2+SeqaDHnPszD5S78h7ePFoMFoJ
HyJoeoeTG6m+8u6QabTRO1+R8nSdlwU/eH5mbKY5bozeiGc6QE8mecdNJixkRTQJXb5zYyja6did
uVbTS5Iw4azCp96piYnt2URBvMhX/6VE1gUp5sg8oQd+mwxSGqZgDTxa3ABbzSEBgTMS8Rcv4bN4
Q9+cfXm4MwWtI6WNo5kzjViuQDuK/eSfHPeybG3OiDARo6z6Q9sOIBKTaLMbnemIPMkjJxbiUmEi
llFrLCMQQaV01NUh3pXUf5Q+H8dfHEK8I2PilqGYYrRJfB1Z+yqt9Qcne/m8Ls8/u60AAoPOaxGD
mkA7x8KCS7uZ91Jf9YY6P5G9Q3wsNuM2PXqrk2eHh/CAVoj97+Fp3Oc2+iCc67S/vs2Exhe0GQ/k
o11ZxMo/JDMCmrxXdmjXWONiV8EqdXx13QLlvcQkf9VvOxut4Ngj0ylUdEYKzJDhd57OWCHhDmMa
6me6NZxyq7hJTsyKpAfzIG9j7N37KGNSRSR9qxRsaCHRc7/PfNv31q2fUuWQpFgcuRZfPXOFzXnq
LzOmwfCKrsOwOjXTqsuwwWTT6KTzOXXRBecLVAsNs5UYW0DPDxOzd1kGAPBKwutXsovdpJHH0OZE
KjwSjC50Bp62itXPOXGZuvr+9YE3eLEUlV5wwSiCIsj6KDdidsor8lw6MlV8kmk4xzvebO+Stbog
xehCi82Npl6Bm9qJNkVCn4GGWNEyoXPdxdikHN+4YOcvyDFqYQUyMPNTkNuJH2iFkn5fF/0lE3Lx
fUb0VVNNmgkdo6fpBlV+Ax1dAc3I+ilfy/fXSS0ERheUmJiiROeC4kugNK5keqhX5p/13xFgwgg1
1qpI0ae5iCTSN/224jCwYAUvGGDCh0Gq8yyLoCpIDW9Up0rI6/qTc908XZl/w5lzKvtQ7tsYghxi
5s4dW2dU1rx80/WLQNfgJQ1syK303ACN9vOQr1S7ePI4nfjXTwrg3JcUYmVqTE/ETXiPOelOvUVo
blOOj+Wxwei8V+rYLlyCjV2HRP1j/79iks2oGf8Yxh8TOIlUD0opopqSk0NIIvseOz15kxg8Fhjl
Bop+5g/1iLyPiKJkYmNfMWeqb+GtcMEFo96ekOm9lMzmI9yiT9iVeW3nHAOis1WnIQ5r2fNAQdiJ
28NcNQGU1uA++jZv9vW6bugio98icvRTbeBGypKYhProRCjXXPs+Sz8TC1ycGKPlRW5oStzgTp7x
tpLh5Q1a7o2nLSekum7XdRZoBiNouZKpYOa0aQjvEcI5KTbEhVSrVpTg42JnuxNJP8JDU3KTyZyT
+pKMM1uVp6la9wHsYU8V92Weq9RJeBvxnrscY/JVcj8j46lGoHk5BEwjris+0Pfc4RjdRQpY/AW4
DxUrGn68dXQT+AidAiUx0E2VT0S7I/07Jwpa6q3GXMY3Fca015kyhb4lQ1HWBrHrZF0i++Biia4N
wOyceChudysRTcU5Aov4qK/WDUbx21+fzqt4s+XlURdNz/evYUUEsXioCCJ4jkn+Utq/0V/NOdVF
ITyjwDiBXM5zv/RAoWmIRYXbXQ91ve7xF63bGQnGBWAYssjkDCSecG06qOQeuU6BxwQT7UUoDglq
AxlPKtsNibkPdFJQjmhw5O+rknIm4UkblHLfg4hGgo7UeHlYNy7GYvLTdWZ4dBhnoLZmHZYNjmuk
L9XkWhiKoI72eJ0I78SYMK8azLDWcSunXbV30ZtoV08VJz3Fk13GEYRdP8R5DxLGjdvtojXPsvHE
ambx7D5q3citssZ9YNAY64wBLvxw/Yx4BBhTYGUT6tqw/6fp4Vm7b11uX/Wiaf5WjK/H9hkHajQE
cTpD1AN7f2OR5/g4EJQ1k63vXueEcxVfg4JnhNpBwUCvAELZn5zcQNPDd46Of23H/eGQz3hhlLwW
2lZvJdx26TS25IpUQ10J+/tQaA4xU9pV1LhzKvLwzmuG50gyu9BPU4N2noGcD1Gy64j82vZEe79+
fhyVZDHCsUOpGIsSNKJN75hPf6SVsZo+/s6+fFXAzy5pMFuryAwQ6amWA3bLlujv6viXRBi9V7xy
TAC7Ar0vn2DAjukGQ1eU156zVFU+96LstCEcbDN2s8DZg7XCOGxHN82pfI5d9W2nrnnkfqItzK+A
M+FjTEFUe13f1RC+524v6U64P5wwhXgbD5guHrbKE6XDYINPKXY+MT36HzMbZz+AMRVR6ycagABm
ITz4a3+rPpjkwbDN//Ji+ybDlm7VbuizYHbWz+JqN341qWCSMH+7Lu3LeZozMkxMMAVGVpQebm+A
a0Af3PurR7MVR6eWqhfnl/YViZ3JuwhjMRoBzgy9pL2D9UUeFnICyRSgPPIhIgWsBw87hssZEyiE
XmhgOA4HaDcZySPyijxa6K6x/OQvj1C9dE5BH5WjGuII8SpNH8PVr9eMGre8jBrH9rE1uUQUPCOV
tK+W34H4m84R7/+SEcZgYJxySLUBJA7p2nWj96x2afJ8ncgiGxhknDtrsBWaHeHFZvdyqHITkQJA
nX/nAI/T1+F/MXxnNBgNLeJQF6QENLD5CMvjqbRVn8cdL4m66Ci+qfzw6KWmoWCtz7Fb9Fu5Qx/+
3OxrcHhZfs2fkWEUVDeBPmEgfjvZIw1uLYLF3UTaNsf19Xv56mj54dTP6DBOHZsbTL/JQScuVlil
+uKRGXWMUAcYmpvtsT7too3gmtuaGHgRFQDqxUQ15wm+nMo9+xGMzubACtWLcGZWznf+HRYI6Q/w
Ib8CIqxSm+dLlk3EGTlGc6fAw8DrCEHZHWRMy9pSNzfJyCseW4vB3xkdJswP07xP89qYn3aoTJDn
zva30+fn9RvkaBa7yrVKuyT0RRDBGFr5tJN7gpcRhlGuU5ltwDUxYSP9wQo8gDejJQdAQ6THKpr/
FOufHdbM55mvGLM0GMtuFkSdqDaGm9//jgPGOoRyg/GmHt8fMAtyzLhtDbOiXDkh1nFjCHwcYw0n
9FWmdd98J9zQ18jhoSEsTTYA5uEfU8o2XgW9jKyYAEbmvgaZ3kwEXb9Y98bt/+dIFuu9u0H3cs8H
RykB8DNtSXD31GJIWLgJbotNJa46VIUxtmOcrt8Ux8Kys++C2WdzGXp+hVsPwk13Al6Aqwc2R6QX
2QPY2NzrhyZz9hwxf1bBvlowOu1Ts4s3j7HNteKLFuCMBmNdxz6Mhb4HjZ2+yvbiVrIHMir09b+9
M03M7wKvEtBRLPoBYLPi0McictzVU3IC4PKTT0JgpsA1Xb+cxXfmGSHGpuld2talGM2EDOxzwXQg
r814WcDPSDDxCDY5T1IyxXMbkoTodHRq+jFQ+HI7ILws86KsndFi7NrQDCN2bOHcupgegeqHF0Ro
W7yYYdnjnJFhjJs1mVNhRCDzPNnT/la/afd3OSfNt3xu2NqJKX5IM9YVXFrQuptGLILI5laHzs1f
+1fEpbS2x5yormxzRW6OQH4YvG9yxiz7Zwa7jrAuTBCLHI/ZyR2fgFJIbifqPUsOx8Mtn94ZJSYW
Kq3M6iINlERsxL4JbBV7mVIwxBOGRdk+o8NoK1autoKC1ZEnG6sXBPg5gVPjX+TEQIcGFoLMI+ps
kb/t1S7u0wriBjRJnc5xx5xu5neyL/nrc0LMkWWeN+ip18xqGh9DbMzqKrvZvw2ktOU/kIh6X54a
+l8u6pwqc4Ci0HjqNOIAFTI9p3hXNgCZ75AT4hGaP8TK3jkhJmAcpE4YxrTNTwbygslvldbkPiOT
Ux2LLSdFuKhW57SYaDGJRD9rStxZ4yKCGx1p1iq3tgtYC97SiiVzdE6Lsa7a2EIIdVxbN6PlrjHJ
kduA67ev23CJJx3zn5+prlErFhZ7g0yBeueMOgxc0xtsqoDId7RxsIXMhxnkwsLxyDLGFj2yktFY
9WygJrfaAOTQVl9VB73LjZMchxfpSefvt19S6vMjZUxvnKB9OQaeITRhykn7NDqGa7jWc/8aUB+F
MsOkouakt9xRI67gMPY47JTB1CqwW+GUMcBGix0gZIAdW6y4YBSzEP67QvzYrKKkiS4n6iw4rjwj
p+9daa/TVHPI+MCTnqWg5vtEAbZ0KT14ZkdCgzEZCGnyLjs++dPb7cbb3XGkdP7ONZ4Ya9L3Rd/o
CegAhegtdQL3o3Gyo4wlEtyYmscSY0+sKS78PgepyVVR/seCIRS2M3Q9coOb+UvXmGKsiSaoshiU
uCjDjIjWd66ifIzqnYXiYybaFeLqyta7dd+srPa1LLr/GbYaeVQsTFW/cNQAbswIZWKEYRXU49x0
aaAmpMCZOgVe/Bm9fnvLavcPnS9PeGZiEHFrgt9+0alfeldystV/6B8FbCYQsgCgbmLAiWFFMFWh
SYxhlkPMPs53Jhy0V/4WwyU5xM5XA7V6UcZYGGNB/N4Sah9Yt0ArEKmbQTputdVj7L5fP7FFe3FO
h+FHk+ox6AzQAY7+H6zaJeFmdK2VhOKzb/N6/b8ugBXEM2rsBQ2hqqaeDGpYKkzeht2f6WnLQ0v6
qppcI8KYisnrqzKYzVKPFXUpUf7gOWfrIwGWkX1zP9kuXq+3/kZVneEzWm+tDW9by2KZ4pxNxogk
oSinnYhfMHVbLd897u78Y0tEcuw3CLtMjtQvebhzaowd8aY2NoQJ1DSgDiCR0T43r9elZEmvzikw
9mNQxwFCCqfiv6K3rguosblO4OfOZViIcwpMDGLIo9hoNXiobHkGtZnsDH3gBtE2KXk++HchTUjv
3qq+PTw69us2o588K7n0ND//CUx80gqGNfnaHHIBbyBGIlcmnzxsdx4NJhgxwhS7XOZQq33aFE7j
vPo2j43FvOY5H4zlKOusGU3tSxwMbD89oYvY8ewO3SaP4s66vX5xPIYY8xEkopSns/lQbtyZzEBH
FD6u05i/cUWf2eR34+dePTbwk0gEya8qSbG6DbsVOBEGR8bZWrY8TnI4hKDSQ+wA7jwF9Pj5d4ww
ZiFTh9oUBByWHSLYJTGdaIyOKV5f4aI9AF6kqQO6UNXYJ7kVFVKed2J+elHcaRPfquvrbEiLR/VN
gH2EFwKWOYflBD6ywHH1rU4HgEBERM5JBa9+zCrKXZc2m5gfQnBGkzHqkZL4kVHC7wIRnuZEx7D2
HN3qdkdFl5Y3f8sjc1dymRdVnOIQEb+rVMBSRPkxcWOqnzr6GjjCRpwHXLsVRwqXPSTA9WUZOqwo
rLB3faEAbFNC2mHV2dHvmgYiyU/baODWP5bCT0Db/kOJOVFBhTEaFVDSZEh842rkMOT2tGpl7jgR
jxRzmL2h54MUyLOHciM7Puy3gNDnV2Hnz/yUkW+OGEcION/QTBXcWR2vkS7G7meVqH8kh/aTy5MP
Hi3GJSKgzYooAUuT2wFxPAoAKafQ+uYuxIgKL0e0WNM+vyvGPda9lqVA0sSoDxCYFCfdWxUSAc1q
fpWgZXCXr1Euo8HquqIvGt4zCWE8IlBZh1zsQFUxV3X9VLS3ZrPSHsXkUWzdVCTXqS1WH5GuxL4v
YC4jOc4caVwYoiDGCl4pNxsX7Xb9YT+ge+y/VGzPyTBniRV4BaAN1fltbpFWJdKueNHfeHo8a89P
Wfxmhjm7uAF0vOSDGfT0lSR4nodB9x4xnoBueP3clm/pmxITU7RY+TvVFh49opM6HwnZz09IXozJ
vZw5EDh7WlVW0frlfDl2sj9kNhD24ekVh6dWy77rmxk2nvAMVdADkMlubXewW6d+LDfiw/Dak4hW
dstJX8+/+sotsfUzIcHKidyDFj9PGSmOBbo7My7G1JfN/kFFxQ5zoJ3Oa6Zn83h2dpIA8NGghMTN
UHqS+xza9KkNabxW1oErn9CZv+nuE8fjCeGiZJzRZSw82h9UvUhAt0JF46V8vC1v767L3uL5nVFg
DHuBLsZIq0Fh5x0wfEhh1zk3xOOBsekjlt6jXAYK2LqSrv3j4AEe7qav137/X6Z3kSL/vifGAGlZ
5Y+lCFoY4LOle5FkqzvetOFsXS5lASDeKmbEJey8Mn5M3Kmq3yS5pbYne8Nzs/PPu/bpy+u+frE/
Q7zLn8lcrDa1Y+BPSgtEldpND71LeQVX3kEwF9sDArr3VRzE2/0try+V923mIvWhSfXWwLdTyt0T
tvC+ujwa1n/4ltACTLs9KfZ9bQOux9n7cL4P7w9P1+9gYWbgkhLjQwpYQqGbjygmG6AW92QHg/Gg
28SlD/fZavdiQ98c28HoocPpCPwqRF8TJsareJiojKsOAnBwX/rH8NF0UvoB8OmD3d3cBzbWvW/o
OnxwaGs/rI+p7VHftTbv10+Ad4+M08HW2EjsKvwI9x65UY7f/OlqLk+XcTVtZ47iaOLjA/ngaflC
Wu384z+m7MxW02rf19rTU+wIx3RVvCUEGO7Roy3wNqhdV3t23O5vDhz7Li89lSx5U6XJ84Hfcq6S
9ysZdS+F2vPCErL811+eKZ95125qFcubTRWwo3mNndcFUGdhG0dBTMN+xK/WCCGcrPhCnvJSRhj1
zuK0Ca1ZRoB+f19bjpw/3iX3jYuUsr1/37fADR13e+Wp0ahxCN6CgUT7iAfFL89X+u+K/mOurpe8
0TBnHcMya6qQGFsX3f2c165Jti7d58eRrNbO51+KA6PZo2FknSDiYAdCOZ9WeKLGKPZQoPEz1vFt
PMriksR3+Wrr3OxHck/tu5bs16/0/aHd0ZU9Y7ttlcgueXEs5ycwee7rOvlz3ZJ5ISdfofmZgIeB
hHGOCfzsXlqCCndkuwdvUxGZOB/YAnCdGvbsXReIL9N2Rq6XrcnoE4hlSTa2RTaDLbzF5D1GybRe
C2RTuRgrTEleElW14+MBDTLaRnA2gbvbjEhvyz5R3m6043OT0VbenQaA+mNbbuocNCL6pHT8wllP
63b1XK9uTNFR/uh3Era7rVSs8F1ZewX79EhgkhDLJ4dtCWQLYh6ke6CCED9AW2qyaRPS3OqfEroo
N4BfwF+Y7HA3YFMnVn+tkv2vTyVCid48Vrb0UGd2dNt5WOFxn+2LxsmfDDenDX6u8Md81aKvjogo
I/1KcbFbtKb53kNyKV1J2PdxuM1nvLSPg7hp3FXhflhEw4TrBhUzKm5L59CDaBivBztqUdNGSkN7
E51pN9yUpHu4MZ2AIpGNTWQ6DezCjUzyvCkJFkzDm+V0uEEPrys0ZONqK0iqlVI8RylggxXyul+t
gQVxb6xCxzEcZKQP1p2/KzKUMe7MbeoA2rN3C5TOkzcNG/QmMtqDRK0PYydv1IZoKSq+x9vAzgey
0cO5b0rfIUF312C9Zu/Z7xqmM0xS9nT/Kr6lq+2vcncsbe3pRu6cjjxgfVpmp8B7UjaCfedti0fj
pBUEiKuANMbSIEdAaLwC4LCEuoZ+7Hp7XIvOpt0+5m9pTbVVYFOzBW5M6BpH+D6noUYBJC/MtaFF
AzKCZQLxhOydt3GK9UNPFGDiZp/vvS3frN8f+1+aQkiwtfXtuDHvMXCxRbfsmlQfek9WWx3CPwmk
OVCSIfKgKkzXH6xoOhkKcSusrog+DGptoiNaXW6I81CRxCnt2AbSV4cdx7862mGP0za2P1sJMFDr
imy2yoFOd8fQFYl0Xz0GsIAnBL64j+543OB/dntSDDg0ZK46/Bbbpzj9tf5+1NAZRE18FCch0OfA
zt6mlQt09gz/KTm7lLjYtfRLQLH/3XPytx4Q1wmac1XS22HhWIlzXP+iyYe6usl3x5aCUwBKGCgJ
r0LsRzkVK+tWknYJae348QNeboTk7709wGOLwzsGRYlakHdxLZN6PRnudpVsc3JvvfsZCT5De3z2
3EfjFiuri8cWNddtjpFjG4omksFBvn5NlNV2I2S250MqA6el2QEF7xXV3l9jCvRY5X6G/dm2dl1T
sk4IjvYPMqHC5pg0ZLypd4lTxYSsN04JkHjLxsy078i3AuKd+KYg65F6OJtP2CrgkZJm9/j+nN48
pe5wFxyiVzsb3GktQhna5LDVwf91g7bkZjUAGamGqqgY8mXNpx5EhiCEXoceXMWF6g/kJTzODRmJ
3aTEvNHdGQbe2uCqtiH6vjnuiEufiamkqVaqRLU6wEdKKZV24enkhsDTb130Dt3mmwKRs3JrwYxm
B84L4os3xrlf8M5EXXoaRGJmgnY5kpeTBRSDkHoEWcr19UNeaO7BBMLZIc8O8cxpiKJvYBxc6E7P
dugcgHqjHMtnKIuGdb4Gv8b1M7t2SY55g/lmk0x6hTstCvLrt/QUkZ3kQgF4bC3Ef2BLwUoVRVZ0
QNRdsiUXXSB3nt+fLIJqfya6sJAYpc9v0eseAQ+rvOUiyC1UAGbevmkyRxmXUZv6JmgC2T0L4Aax
2yV0P3sOb7wQ5ZK169fP+xbzkwcll6OuQIRi33N+5c/0z2Xsw1x04NdShXVucwBukdjRjhqA+3uS
c8jIPDpMLA4IslyoE9B5dgGoRsjhRqAvh5PvwNWRNZYtPe0ckTw8rXn4igsSdpYP0r9qbWeK48d1
KaXz6wXFLN7rhRcJswNQhjkUvTA/X552nesG9ilCH0lGfp0QgLj3ZO1stNX2KSAUUPHvI936Nq9d
5qsHnLFAF/wxwbinyknZDODv2bYP9+83N+uS/EZo6e5ykjpoonRdyHlOd93Os7FqCvhvPrEnFEfp
5+puoM6Ds1V3D3AN5Da07z/hrDfbj/XHUYSH+qWQwyFACLY2nesS/TVJeuV3s3U4wepqADYgCpbc
G88+bA52j5/64mrrGs8GDKulrkL22GCY3/Aq+Bxt+noPnIlENElYRj2nfVLq8MRN/VmKu1Cor+fg
2cf1PsiGcn5M2CefHDbzSa+o83ZCS0xAEKZldmvb7yHegiNyOnO0ptkUoZVO8HTi5Ha/YPyvHfKl
Dfp/SqEnQizjx2Dvgr15vv/l36mb59XB3pTUvG2Is15R8oB/Y3IGbQW64+AH0tX6AUs2AZOx5kkr
RxnZCpQQGKbezZcOREWeK555YXm1kP5XsCwVIxM/XEkw+mmTYmkuHiyVhDCofzbXGBMV7HrHu+Ul
a3ZOi7HHWoC+MkDadbCaodOt/3jkYb7L6yqyFFxgVfU3R4xtHr0wjQddA8ITPcT3bylNXjHNwEWA
X4AAgDc8o8PYZisx69zSQMfAg693XpS3CitBgHabAbhcQEs+tpwS5/Gzcq8zyDtFJgXa1hEqvMnX
KYqO/2LA9zwYPeE1xfHImJcxRhBZ4xQWYM9OPKKkxPuTQigSaOB1dhYzPRjUwQ5R2fra8ndJSAuM
OPcGEzHaQcLwFvxBtRbw4gzQHFThFZHavtuvjU3yMSMslBxlX6oonFNndF0qlGIMy5l6e39fbzLn
/Tp7iynXcwKM0I9JXUm1AgJS6qajnRuO7NHf/kasHetp9GxcHW9x0b/QBD6kIRsSdp0zdydOXiyM
FpT6YAGeSN9GSIw3zuTQ7PE/cfdNifGjAra1tkoE7mzvKZrs2sbjNbbbtYgLEziZycUU0Dzr939s
sc4PEOJZ1YVgq7A10mPnpES8jYhJJUD4G0AlIhzmlpzSOb3LytX/i9Vh8lMJzCW/p7V2XFEZhdhg
6z9cp7P0FIMl+eaLfYp5Qe2pIZ5DSKTka9VWOldwih1aKeRdigVdycFDXIF3/TZCDV3//6Rd2XLc
uq79IlVREkVJrxp6VHt2YvtF5SS25nnW198l73tOuhndZmXfpJIXVxkiCQIgsLBwU+mWyKishfcX
38DdgxDTX5pwOcgJCaPEbXeGJ7uP1Y//96Zy98GPJQnd6TjECTN00D+CUTqbZ+PmX3TyL+b596Zy
biBWlMrsp68FLSx2GYgWhg2ma22FK1pu058u9LckzhFEzKBTOmJFy7xQE9RZPdrT0T13s3TP+YiV
YuQpIjRUCiWLFJRzBTmRatOUl3u+AXXlHXOkbQCJ8t11BV13Bb8XyJmTmIa5FAZ4+mXoGUm2KTiX
3yMhmkhZVOzaPnK2pFMNEyOXcGL0fkBGFTN/bRAIo8BYIrA1bX8TgWp028N6HtKTtA9um50Izyc4
Sh54kUpNpvgUvnWym+euA2cMC0qHhW7vf/71noLfllFFQeAFklvu6LJhKutCwmL7zUsDkrAanQeP
It+6nv84k8KdHOvMeQ4wDfzpm2mFdjJaIxhbA6txFIBkUjfaBI/TD6HUlYO8WBt3kDRLVZpRqGW/
+Yop8VaVXeQiNwfh5I2VAzsT9UevT+MrUVAtdy+zCHpjNVdxHkUQXFUkhPMDMmNVEIDkEc0V5jF/
zZEna3fUre7Nh/k+NZYWZuDd7BKBSrH7rO+VnQfrnVuHZ+RIHQctqA7YaxyyM4Ug+7Uo9GIDeN9R
ZFOeLyeMvSaGXdkmsDw/fO/uozx+L4EAtNhusqT95KOKdl2F13yGJgMMalI0z2D8Oyc710iQxDHs
wmSjF9D3vPdSGB5+dbhzVuFCCOeYsiEegAeFkMrNbswbets9Bwe2r7aaG90n6OldfOJN7u6OI1Lh
nx0AWZ/5vYQUujWh0UKUvFh7Xlx8D+e/zEQbq0bH99Sbk+ISam1Ht79pAdAStZcL95dzYZmklx1r
IMrxlzpMAg7k50fzVfRiWjHvFyvi/BcB3jbVQog5/QgOdwZUZrCYe11XVq/Qmapw5k7pKlLRCTLK
O9+rXbq5xxteEMqL1sEZu4TJcUBaZF9P8V3k/pS2NZ5g/8bnXuwWZ9zQxqPENcFKKrdxC7dzAcKG
e8/EA5XXwvhzUTygPQ3kUYPjHZ7Qo2zpR/UYoOR2U2za5/IkWtda0uNCGGfkzBlYaCph9+Rb+YXA
kJz2OqqfsrNBs+EbPUyn4JA6DPbEee32dv6u7Qpbsj1XpRZMm2/Z1f4QnlTUoVAEc/3NzWHXv17X
orX018VH8hYn7JUyXXbEGNGs8D1SUfxCr7M+bIp+F7Jtp1qF6kT1FpzxsXwbTdas2eFs18ROM9eP
UTwCcH4q3Th04vlQl/dNtSXlo+Azl8+4YrN0zmbF2EnWtig7ENs/aN+D4/hV+dy65AiC4F1s2dig
H78qEKJEm28C4etXjekqmiwoptdwBzkyNmlFiIOc7OH9BbXKwWpRMM+d6DCcUgP1vdkuZ8uNnugt
PFeHnybWcDSd0hF8ySLpj23ADFiGMMdQ/hiXSRRJDSRMlkRgHPdIlMsog6N6+1Ht78ZdhFamV9Te
HmOLHtEF54iamtYt9e/iD+Esda7Wvhn2eFapnZ18YPBotsclfRSsctXqnEnhjHSQlEzOA2w3setf
kp28Iisv4sVd9wRnQjgTnYISSjFiCEEk8Y2hSSfCa3B4Itb99SNbyYac18t4NuuOVKSmJeSAc/hB
eVTxAtxdl7Bu1M6Wwlnpuc6MrF3UE06tv/14TXeFI4ithdvF2WhVQ2tvnUPGhMkZ8q489ofmlx1v
RXMQVq/a77V8fcdZ1joIe9TMvjQM2j3upQe26ZGjur5j60ZP01XKkCCjyNHimp1JiSiJ8q5MBqRN
wS3ifzMTWz0CK4Kw2tikO/t1eY8pQGdRZAm0b/X2l0DF14PMsy/gdJyGadDOajg8vYy5BSrB4NAf
TSAXlra62CLH/GTcgIcSk5fzrfA1sWpMz4Rzuj+ZKpXGBMLHDk3a+9zyPdfqXVdgtNdgrcA/60yj
GHxqmpRbZBSHnRpq9YA7RoFU6COcKcg07DHHLLZTtKOHytJmp/3exVbzhCmCx7KC2SIxyCLZ9+QR
/+9KEWps1bqcfRS3eJR69JmlPeImzGxKE5s+PYPwv/l+XcXWL4whq2hwkakqf82iOVMxzJrJoxQD
RJ6mw4xK0qv9LCw0LNv3hzMw4AYIYeg24Eed+xiKMIb+uKwkf2FvR3qf3rL9+DBmVo5ZvW/3IiDt
Wj5BQ0u8iuNEHojq3IEW6F/XJD8dnqLP5Nsyd3bJLEe2t/n+8wZVnMDST/L9DNzNY7gtY0uwpYuP
59cLUlHUIQyFaarKRbxTQYoxJtkAUzqhv6J+SlxwVnoEw1vH7aOoU1lejMA1cZxZjQq5jIykGkA3
g9kQ1c1mBIW/D/SVLW01ER3aV63vD2kK5ipouo7rwnP3BHk9VLkBfamdcRM/tZkd6DaDtHTn2t7r
64xgsHgl6Ij+JdjWNTVSziRz0U3rz34R9c3wDy0+EFXektnACNxfykaxKmT4BC5x7QaeC+RCzmBS
/ULqsNTQt06ql1paapFNKzLya1YOqmqqur5oDePUpU/mOa1BIA40m2GpGAdY5XZD77MSM4zJ+2hs
mGTaaLWzTXA9FTd++ppJu0l/j0PF6stDIQPemPe9xYqdHKKZnwg+cKXXTwPE+vcHcgrWKEWklstt
wlXSN8khsILThw/KjNfAJru0EtN+rgUj5xI5L87ivFeNADuvgvmuOqQNrHKjLihEyX9hbH8zn0wU
hEK7R4wPPgohq+1a/KrAJhKTMVNjOvcBYSSp+hTjAzTwVXoPJpoKRvtGEuZx1y3Vb0HGkuc9M7/G
UE9zu+jYNzC7oynqJbGoa27yRxnc5QcKTXBu3pVjaXe5FR/Mu/YkynGtVeFwvP9dK/9qUHulT0iF
TzgufOb9fvioTuX3/Dhvs/07ukgx3n7nxu4u3vo3okTSWhilUMbQXSnryh+EuHPqK2laTnhSV0vW
DFg/IZ5lpTkc6nsmgztLaqTA4BWQcWrv8sRecikHBC7bZ+QlLUBoJEeU8li/Mb9F8uUqX67KYRrm
AYVo7ZjhFbaAZd07ELaHJ8mR99UPYeFv1emcieSso+8n5eTHcLLOMtasucfEbnCOodUYWiMmg1mV
pqkYkqoxalKD21Mypz2mlFC49P0mInbugP6I3Q5e+xYfJkFyZ/U1h1z5f4TxLsfvMvCnNBD2TUeu
BbVhGeObFBATpaJIcDVrfi6K20UWpQm4apXhyd+2v0AgFd4o+r4pNvhbuSHKceOztp2Rdhw6QaVl
rcSJ6bm/V8l5G7NLJzZkEN1udOs2Vty2tYCTSO9bYDKAChcFSauR37nA5YzPTE+WV1mCeSVLjimW
kWKEgQPNmiUBuvhvPLfGloF+qqErjAtlE7zJpszUlgAQVCaAUy1viNH+qTi70BXjClYfmggUqII3
GP5pnHaqCZMkMNDAqowqgMBGJ/WzRepkvmUZZiBbfVeYrVNmOkhIe7+KKqtNa7nGIESjY67fKe2n
Kunyz+vboC5i/wid0HJrLFOSTeUL8ne24WROpEIekvEpxZON2nL3MimHVLXGbrDMsNgY4JRJ3wgI
WGV01hgP8fyzS6xKvU9RIkpftHczBaZdq36k8r2SW8r0Hak7t6lPhfqZKZWdApap/EhKKyEAhltJ
brN6OzV7UDXoTFCRXzXcIMhBlA1OKJNfS6HFRB/UeHzCyMGYffSPeQFa0vfkUX2+vmvrh/lbEl+Y
q3Q5qBUFkuK9CfpvdGIEP6bxkGAWFk7vLQq3MbJaw14gdqXAqqE6958FfrUjnh3WEq0FICcb0eoo
A2OHOp1qH1phpn8t0lnGJgOqYWI+q87FVvGozkRCDfkpwiDT+aa5E+XCvl4bvNadS+Aug6FKRYL2
mfFJL4BXlXyLTe7k1jnaQaLD7I2m1e/z25La2osS7tNw65foa8Fwlsjqxh3o2RpbUR2iYrTocCLI
p8XQ1tmeyr0RbKUDhkD27CY1nK7cmcKn1FpsDJuoEpXKQFRpvFFUB5JkJRxp7WSfp16y2b7EvBXX
Lj/6kzjsW9Pqc3GcSZxzOtQSHRYbvLzcTk85KMF09/tSFzHcz0ckTYVJjjUNOJfJ5XgmXxsbINUH
zE1HHvEWbGAF5ruwfQbyDi9xCgex304TUfKsBp7nYrkncl52WTTPEFuAyxp8ELegUIApsuiA6J46
S2REdgMAjdWxONZOfCpcVDkF6aU1i7gkXYABYzrGh3O6WWidnxkNWeAFP1JHd2f7Pd2K+i1Wc1hn
UvhcXR7jERdU6oCrXFk/biULJRQbo/paq31MvPioV6IWi9UA8FwkF0cUrZKCIgoLm1z6MT85mzen
96gT3PVbukt+hq7AWq3FY+fyuHsySjkBkhPyTiXmK0Wl/THfJBj0jYLM8j77JUp/rr3FNTA5yTIu
JsFg7svYoZWSMpt6hGS091Mn1PFCHaM2taUZ9I3X17auI79Fcc/jYfKJIncGUt5b9aXRrEp3dDRp
SSDzVTYzFUhbdTcaKA6pDvJoAxCay5UFLYv8kGJlDkLb5qE4+A7cywM7xkJ84Pom/hbF2f6unyR5
iBEWTZi2Oe6nyvIdoAtQQstdp3mU9gANiBRl7WF7vjzuxpFqHiMAnJeHLbG7m8D92TkzoBO5sHxP
Fx3gHc+ZKP4RVFdDo0oqRKUZ9KK1ZRo6KbNl4LDmQ9I5ZZ666a8xOxVFZHed07rD/BIbszWAgyw/
qPRkDs7gI0N4iJq9FgRQZbvuNn5nm2+d+ZQWR5+5ffqzDV+a8mSGv2YQmOS7KdmE4BgL3AIvr9rX
vIHekuYmHnd+Khhnuvq2BNJSl3VToypYgi61BYljw0jBwvz0cnwjzC6A6HTte9P5LNE+5whBSl9R
B7+n5/K44/OJWjS96o/g5p6AgjTBPfINpT1n/7B/0O079/urPlm2Zqe7Q7sFPwlGJwe36EX4df1O
fgVdf3wHsB+A2SmqplPuO4oE425zY5ieXl6Qs5hBoApev3kHqMKIthHLs9z3GGiCfvtY2uX2E5PF
UYs83l//Cs5bg+FdoSAiBXkJYUxTdM7oAQmdTsmgxV6pI/7tbZyEPX/TR9XKstlWZtO+Lo9T6P+V
BzoWGcMSVEi9POypGY02wIwBz0yeQSy7ieODgRxUZwjWxdmFf+So2F0Dk18NjfImKGr8wJjM2JPo
ZyghsgLCtVUkgSlYlQL6dZMZKCwRjV6uJqDJ0PZtnnhFk5607gNsdptg/ri+ZVxw889SzoQsH3EW
RU9VVlXdXCYeRbvvVH0StGzTuzlz8qEWWO7le89U8g9RnEuSpKwamxHrAbUwRph2pBAI4BzRHwK4
Y8mbJOow8iHx2KB+l8GCB0oXd6zpXsfDKyR0b/ijG8V6bV3fw1W1O9tDzsb4Y2GOQY6FBY3/q9UT
S4vGXzOTjjNRK4GK8wmQfxapQemIruOpzut4DYYgPcBkY69vXRrek9Em7C7PNkZ/mwfvhow8xHzS
9dAq2SkgL0GG5jRpsMdUNDN4VT3PPoSLoLTSVAY64EPKKLZl5VlhiVXO2+tbu6ozqEnpTMebHFb8
Uj3NpCyGoId6ygEGuGCkU5gygdasnt6ZCO70prmfmNRDa4ImvKmZ5uh1swl1+itrmODwVrfsTBRn
lP2qoEO/rCZqPkkJ6rDwo9Td6zu2LkOj4JsGuFTmX+NaSeWBDG3i1SS3DemjNtA9L6p7i4RwZ5+a
bVZ2uG+eMd9LfmKR/tRPumC3Vk0TSr7/WQnnPYZswtw6E0KUDIN6y20pPYGl1J77wi6C13+za6hE
GqiBKqgpXeqZQvopaGsowZJlqurnUqdWnQg0bXXXDEVDbRNPZYzbuRTSR9nQh2WXeHrjD1YOVvWd
MRb+pi0TUc1AJGr5+ZlZH4pUlv0Ce+fn3/IOs8mqe0x9Eti91ctpgPLHQOoQgH5OyFQD++CrQ+I1
tf48zMYHGHsEOsC/0/4xd8heEaLJOjH5IUuZHjKaNVPiZXrQWUnY38g0O+ZZ6gRtt4my9q7FNVX6
+ITWBbvqXZYHkdtEoZOogTcwXxBQrm7s2fdwZ6jISe+HbFzWPFnFcN9oH2Xy7boyrlgkjaB9nBiA
iIH1jTN6dd5jnR30JO+63UiMeMuUEpnfFKHjQEQvRT6vvWzxhTjOAJaKWfTBiGPMymGT1zAXww95
Js8GGb7nNciG032CjiGU99Qsc/MSaDVZcMwrgaKGcTPEIFgwkDTqpbpKI4D9+dQj1IlrizSZpUkd
gIGzGyp4aoD1Yfx7v3IhkDvGhIVkMus58VpFBXdzpSMN4OeGQMqKBbuQwl2QBuMuaI5ROt5UfBox
2FxkbTuwwCoT97rG8I/if87wbAM5+4U4o4vbAmc4dQ8huy8jjLpQT4j3tbsEd4ViXHx9ajEToOsF
RuD/EK0Cn6OCtMw0uLOjJDVI0qhwauwxgXcOyo0eWSTZJnLkGtqEEcL+yQBPDlNuEAEKxK/cR2wx
SsCKqqrAc3Ahfw4cx5QnSuLNfeYkLZ6tGIeUPlzf3pXAUiOqrqEKqjNoJ+e3jTI1VNnoYi/6zDC0
8N6nR6CyrXT2FER7Gfu4Lo5vOvvnNH/L++rIPrPeVVMENen72AuzzZDvQy/Zhfdd6nTDLYokVgpO
nPGtUZ4moHPkwg3oR938krVbP7VzzQkW1hlXvpW2oID5f34Z5/gVU5PbRMNOsNSaFUt99bdwZdEu
9MzH8ilARnpr3MsguzYtstQ7LC10CbnL/czeAZv2au6vf9CKCwLGD4pPQSWCJz73PaMet2YPIIBX
0s+RvRWG4ChWbzDFH8wABsaPB55JcQflC0nsYVL1MRy+Rb2lgMdH+8Ssj9vrS/nq/OTeRwte0dAZ
bhGFR700gqUSyK0S4bUso9gnfR8yR6bflBY0TXUD0/uEYWpOSnXPKAJwEW3y8TbUNlXdORLCf8be
RlHBc9Uq43WLDhLKZKpxHxThQ8PRxAd15GD2W1aCuwsc55tAeevyhzQ9VjpqE4aTl9uIPitO2b3N
dBemMWipUsE9Xz1ozZANnIRpmtpyUGdXQidhMoPZNfZGVtia9mpGAqe7esfPBHBecK5VOTdHaJLf
fOuMaTtU4141Dlr1s6bG66h+S0Ggff3EV23XmUjOrMgx9KDsITJPn2l0CADEjlLVuS6EryL/Y0xQ
vFJ0ExwxyleEdbZzsJmFHGcGpJRx4abtzNwE0xk3mO8DX2u27caP8tkKyJg4EboMtr0c9QJHuLq5
Sw1BRcoEmHPummZsqIYwlGBAy3f1O7TIxbs1JwkwQ7Nt6PfXl7yqt7hHJgp2S2FNudSVnqh+kPlY
8US1W1grZ5wmqxl2Wp8fkruRtMIGDfzCP27umUDuovikCGt1RD6ob0/BjAeELFL/1Q1ErVPVDJUZ
yGNeLimJSllLjCjxVCmx4vQ962y5sfMfLHH9HJQGmii2XxcIYNWSTAPIlfOr4DHAQ0nF3de1EHac
evE4uzRO3SCT7FhzKHFDGtjXD44Hkvyjq3geIVOLhYL7+nKZVYt8bRyEiRe2Q+pUmRzZ+lgyp0O1
Zpt1KIUC6zw7Uqpva82Md4o+1Q+TGUQCfV27maicyJoJclS4Fy48VHOzjZIO3wFKPLgtW/l+faH8
8JqvhZ4LWD7g7FIGqjTIY4HzZFvVyd4Dd9jKL9lO34Q/W9DUPBV2DBCLB068B81WVVAgJjfxHsiB
5jb9y2GPf3wLFzvqJG3SOMS3IKRhW7kgrqx+9tqwyer7unuTfS9MBcZ2NWg8Xz930OPcS7kPkkrv
NKVW+XKaa2dCVQVkanjPwSwARy0qqK55EBl1fDy9kUsCcuByywffbOlIUuQsEt0Kq0+FvV4/VB7n
+78b+VsCd0mLWlJZsmxkZ4fA+KJggplAnhqhJzXama66a3wrmiKBFxGIVQl3VduJdLXRJEjE9VZM
83dlcNFK3PWvedHvx/ZWSa1g/Bbkz0HaWDNBLy4TGNz141SYiaS7CZPBd8PRqoGLQRrDY235kfR5
aemTvEljdKG1422qp1u0amthZEvBrgmUg5IrO8HmLy6Et8Ey4jRDVXECCg/SneJ0LNEIjJy8HH7L
48xiMWzjLNkZU3YKmsyIMlrga7e7WNqM9N/Yy3PxnHalPcEGGHABmgkssF/alVYB+CyHdEHBkNpR
9Vjg2VeN1NmKOXWT41irxnJxqt17HqFnE4m4gIjm5645AnCTg1xOMXQq8+FDlLcFmWQ/9oIZHKoE
iMXQrYcXNXgjhZdp1UaltSDHshqyqAT3FPnLZeI1Z36TBJ28YUNgkfQGIcJLO5pOEr9EGUq9OWb3
1id/mO+zfhD4nzUToSLQpwxqhIGRnFwdLYwVeIaRCk6YZYyIakXP1cWW8lpKdfD4E1A2oEbF3dV+
kKcmkWCESvOkAsiXRd+6ETW54PP6dVjs5zU5fMAVKm0oBUjOY4KUk7Z+ZKupisBZ6eBW4GHxnkhE
PdFrYdf52riwq53LmhglcqhzsjGqb+Mvo3jrHKUerLRv/sVJITxQdTQvGkgbcfsY1BjaM8Q1TG3x
Kfngx9Xerm/g2uXCuwd/DTw4wGpz6S3McawlfUYafX6Mm5M0Bk7UNgLL/VVg/+OUTBSlDRhNgpVc
CgHRZhCYKZIXbdQqu8g3JmeKitbBHGnJbiRV3k1DILljHgHc1qcdCIla2a61SrMUoy7f0j65T0zD
KQLft0N9WKKlqXbHojZsv5Ey20wDVbDzaxuDoAgxIb4akC9uYxI0YsURkRAataOdNHvDsFjPBDuz
KgRocxR+cEe0L8DQWXgkoZbfR0mVenNklRmeum+0vbt+wGt3HQ4Ld1AhiAl4+GDU+Sieh1Hqpcj4
y/1nXohYutbuA17xsCQAH0BF+RinaUoaEiwCuSJbwtsjawK7YSeY605BrWwQmM3VTTuTx2kTzfF+
NZAS8gLlvs7opi8GW5ibXlsUIn/EOijLUCT/L1U21HotV/Qm9WIFPUUJTIo8uxoZXZPUm66Id7QR
MW2undS5SM6Wab3UFHFfp14ZvCNP7RCjEOj0avxyLoJTapOkWlv7Q+p1Va9v0Wyn2BEJ0XhdVcE2
x8vOrot23pZELw5SVCL5okJdshA436o10Wb497p5/jnq5Sancyp1uoYVh3jtJQZawEUIhjWvjvG6
8sLqtzj2RZfOLphmDLTSizb12uIe7sd35PjEvMKTNNsXzAVZU0uEhBgib6JXBw0Ql6JaZvhp1pep
p/VHRbmXu9BSpOfrG7bmVnXAnFE7QFu9bHKOO0FvaO3Ly/kVpt3nmPyk7jsZbfOiO7a6b3A6gLPo
KFbw1q+rQUnX5zT1cEXseZy3lLzF2luYawc/LJx60t0wET3+V9UTboIsdZplxh+3PIB8QMwl66mn
YMQ0GbT7Ih/sKEUrrPo09LOrTt8zPbH1GHXScHB8sxI9ntbiCYyhAt4FzycTPbiXhwg31Pvy7C/r
DmdrKRdZbM5jux2Nw6TnrgTO/OtHumJoGAbJyQt4UWGKwVmzmQ5FoYwZKrISOhbTo146Pb2dZsxT
TN8ikbtfWR/DwnAlMAOTsa8+77P74OddFQ4pzjVUPCX5no8/6/eyuJlFpb01OfoCiALLBFp5v5g+
zuQkeaKjDMxSb8iP1PcSpt1OTfOsgYyfKfL79S1cS6cgsKBgD6UonaIj9PLUEjMy9H6R1ugZiD96
uXTKBgwbSR2bKG8DoWdm/WFI9dbGgClmk5AO2yStpe31D1m5nkAPU6aCkWgJc7izrEq5JnKXZZ5U
V3Zf/pw7x0A02om6AlduJ7g1UAlQMWwbBSlOS1u5SPJxLDOvpkhyDq3VGPtqr5q2PFuUfuQg2bq+
sNXj/C2Qf/cORZNXobwIrJyocFFhn7+T9iCn7nU5a7UBBq1ZpnvrS4mU84G4635f+9jBJt7lGIbw
Ca4e6rShbQA//BAg1fB93o6fmNqg2bsUnM2CaGn1BM/kcw6yjKNsjDTIjxneDuRRKiNHNnurjWfB
lq7de8xaxK2nWDHKapc6qwbygEEvWuoVviuReJPE6KTRWLgZCnOXxxXIxExFdFEWh8oF4gxO0ECu
D3A7sE9fClUWDj3DbzNPB973ZmzIq+wzgCdMPzStIS1K2yiTbOOnhnbTBXO5VYwxfx6TPHTMeJhd
TGDF4/v6ma/4TYYqEtgOCICG6tflPjMVdPBzxfCTzMuDPtvMWdrZUQiDpPeKCM6zpsYIUr+MH6Ac
PMqqTso6Bqls6unzB6unQ08Og4PH3LaXRMCUNfwafAjF0Dz0p2O+IafJpaxGch/lmSfX9XDTh7rv
+oTIwB6GgQvOgGhX5IXhRkAE2JM8APMBL+GOQ1e66VA3rjzkPaAQZDiOM+ZAkKYqBBu/uhsMFtrE
8AcVdZNLZWjVPCPTVGeovhbFNilKdavloblJCpa6s0ajO+r7+f76aa9dMAA9FzydDnvNpx6aNlLn
FmhMb9YB+tbVu2l6qRkpLOKL1rcoM6/s8OVg01CpQlGyvVyfnEZRMORQ9rI+aOw+LURXeGUtOkGp
YhlYiKIp33uQqxi2MAc44lJ76KMHdDQNMmbUiIZKr5wTeIkRUhJkHnVoweU62ihAIkWecE4h/KmB
FqfZ0kbJmpR2X40/r5/PyqbpANMRhJgUeGrCqa2cZ2bAQhm3Mb+N21OWi2bZrgkAxTce1rDusLTL
pp5d97HJk1SOsZqmKA03UWXMqmlafXt9GWtHA7IadKIsb15UWS6lJGjc13ofUt6ApDPRRhZbqahD
Y+1czmVwK2F5ufA+LisBWggprsTN0CUPHIAI3L9iIRfmnf8uhruoE9R4SjsI6lAyUMfZlsdnJDD/
3hxcSOEcEmn6KfMLSJG67Vge6sCixn4u7KgQFGJE+8ZFL77CKmmgEDRM25nY6mf5NkwOE93OVUUD
lEVDXoUhLbH8/EzR+qlSVS03MBCaolJf45HoooqmCHZtTdE0WACVoVqvoixwKaXJxq5Aub7wSOO/
m/6dH+qbITF2QVoKVHpFCwDLQTYVzwRVx8jrS0mtWkcqxhPgfMpKP9a0AR9fSLNdRAPV/evbAwQC
RCyof+SluHd5VRsj6HbNzDMkNPpWz2X2qTZooqgFyce1Bx+KvQtBuIkhMgBWXa5Jy/JST0ol85a8
44NEv3UMDPYeWD2tQToa9qzaQ3sntc719a0l3tEuosJ4Y54y1shZuXD0l+hCzTxStLspTFzaP5j5
cBxAYcLG4FRoNTJYR51JAskr6gJgLF5GGswf+sKVywUHnemjhAWlXF64LVWtoHgdMZ5Neb6+wlU5
oMVBpyoS/Qr//iqlmo2VjBMMKrSMjlbRHLr6lIvweGs6qWALMf8HbS9/uKagATS77KLcS5XPajiZ
45scCqzFughgHEwKDiM0AlzuWDcjXiV6lnuj9JbrbyFwYUN6f323VkyFoZh4QKLbYEFZcWoYZqMR
xqz4WoaGMmKT/ZvjOBPAWfCiJGPN4ir3avMEhPc8owG0PgmrIWunvlSwcKcAQsEY9cu9KgO5zGO1
zL1KPgGzq+oOXmi+yBCtSUEOgaJoBdwAwGiXUnIy9TV4TnNP7o8YKGnR5EcfvETFy/VDWRWDNC9y
8MgqAyt2KUaaFFJXXZd7QA9vM7cBw2mltLZZCSw43zq3lLMN7begL2Nx5igmPUlqqeihYZ1pqUbr
QuAmTaJ7BI1Nf1zePdFQWan2FKfgypwD5hmNeZhBqNl/EPPpr5cNOM9XeAwcEwKxy2Vrs1xObYjK
WZ6/0f7VZw8Su4u0v3cmF1I4Zx+U3VDIOQrZqTkcTFdLwFJaihpm18ysiecmOuaBWUVvLudH0Fmm
RDpF9QqIi2LSMUgSe1kRMJKmBw30JRGGFaq5gBBixWBAqGEslg+oKJ4QIs5KuYrBJORFZBuCHi+W
7uRW4LhWdHOhj0OWQtYwF5afhoNyLaa0dhNavOjk9AMIVYtik6Dhykev83V9WNSce8VciOJum1kD
nl4ZEDWRE4v7Y4TJgjXZI+dlS/lH2OS7QHavi1xU7JrIZfVnF8JXc9KMLbD/xvhcOXlx1HVmNeAd
lCfRhGbR6jhtD+sZDK06RJWa63+bquIuZse8e6vZXZW8+mYp2M21VKGJBDMqndAMMONxDhiXwq8n
GYD4ubmPiWLVUggu3sqdqepMYWjRyBoKW9HxYMgq4+9LBBfCufuAN2omKyXOUsk/B0W2ZPWedb+u
H95aTHUhhF6ent6GWmgYywqRP4sd9i7Jtg5mNmIZoWUSa5JAdritNF1gR5ffy2vN+c5yiopHcjAN
ORYn94XTl50TsEqwf4tVuiaCU8ypnf2A+MBLNKE9bAFAZGAla/aiAr9oJZxS6jIDTiyQE284bEZB
OLP+u5d5iRiciBQn59XQQdkUvoldQo5W8UTOY82X4fD/++t5hqqiYb3sL5X2dD890232kR1MO30E
guW2dg+FZE+uuV+I4q8rnWBVJhd4xFnXlANFJlFq6+amCfzG9WVJSDC5ZDr+PP/fq+Mub2Y2aZ1m
WB1w4qCMXmbFFjbFAFvRtLM1s7TgdzUZtSikKTgNAIlFKweJhszoCQUf6RiCVLlxUP5H9kWwdSJR
nCdGmUbN6w6iBowgVs3BDkLDkWuknZWXpt0n3UM+iTJjIpmcEkpkquumgswCtex62ADUZtXxppm6
XW4eO/JhSvt/oSC/N5TPYQVKKMEoU6xS3ibtFo2613//WroVMGgEGniILASy3DaGZdH4uY/uHF21
Te+hPCYHydV/FNvG+qmCVuuB7Cim2V6XuhZqnAvl9tHIB6nrdQitncB9EPFxrrlhTOVF6pICbYg+
6EtDrkR4OUvUBNhQeZWLEyFkx7JnPH7S+O+rHnhf/ZbEbZ6vh7IcxsC66JVTRKP1o4Jtpdnm+m6t
at2ZFG638MDq4Rr8xTFhWPRQ2qN2nJtjkDwrOaZo1QvOQpTU+tMwIZe5xPd43+EtqnEry/+HtOva
kVzXtV9kwDm8SrYrV6fqme5+MXpCOefsr7/LfcJUqXxL2HOwNzAPDRQtiqIocnFR9kMT9O+oDALw
4EpS/9RXIs8MFoKKWQpys6L8hbNh3J8+JuB3S5IE5bFBJ4ngRh0tFW0ldxKp/Z8jaNWyIdx13zyN
c65uA1FIRhr9K5kKCDujU8TXemtmwN50EsasyaiYKJEdcAA3HCEsf4peFyHiaSAbVPnQJ8n8dK2V
V0/liFnogb1aDFv8S4ZQTCYZwJ6kFNe5/xa1BR6XsRMDVlo13+XyVULWxBr24ylKV11mAP8gFetR
KDjtX4tWg4weavIieq1u+uCEStGrFAvW06OC4qM2vd4/ChwBbOObklpVUSY5cBygfPKyj4jX97nw
9IIuZ3KQGeI5l8WvnUdsKm1aGdClHIDnqdbcon7MxEOXPUYjpsFn22QQiT/yeNLm83R9Q0PsjDtH
2h03J+uGR82aI5ABYhMHT7Dqlyw8pmHqNKJpc7GLi1rUkfAAZGQ+fsyxGyIpi7thFhYYxBAe8Zjm
xLS3Dh7LmYsvaFTDk/KLu+ziJRR5mhxMASTEgY4IGpMq0AeZ57wUBE/MvNALMUigAeY5i0kBsZoJ
E+rsMGrtXy1mRq6aIDpDCvJaSlShP7r1JtSQ0npu6UY7peBzwtuFJmtQ5MHktDm7CegH88SJEpQ9
VTHGUo5qStD0YNV4Nh6jdqXKH1qtUN9raDDG4CcBZzMv7bnoQi7FM5qMATwOvRQHy8T0NMM4pvqL
HIbUFA9CgkF/nS0UoEtpP8xIcxq5XBsgi0zBIUZ0LqXH7fUNTUjI2CODpc8ERdfqxmRW00tVnEB1
VVY//bBCO/nvCJ3lfKXfxsXXophbbvATTYhKrDqqspUHAnL/OIaxm/cjTUM7N1Mi9TT7+c992OX6
GA9TeHrTjWOazIlZQ33NO97dPf8A60uAi0CXA6If3OHMqspKzEVxAjpQFLGDhlOGz77/6qtrfTW8
CgLndCx5LkWW4e/BqAkeFmY5ySQWmTpCWuh3gSsVYN/wRmGE4Dre6K2RgKwVDfqGkdj39cgRzGJr
jErJNFCM48TM9Y6139uJ9HPQVlr8EgAFel/YbP83Ov2zStZlmpVcRHoMYX34y0wP3sj5/aVQ4UKL
LJw8SgAkrdM5HslNoqmvvuYTDIcjUsYJJpcdjQyg3pzq0wGEuj5eBthrDHHokv2ILGLfnFO/ORbB
of6ZC1tZ+SkoK1nxHBEMhJ2yBSP9fT0ubpoyR3tIHavIGl1Ln1F7advCYyvoZfU3SKZIz7Xd0LL/
fV/Qohe5EMQss4sEtYg1ID6r4XenUn0fZU6NISRoQf/fBM0rvriDonQc2qnBiqL3wA1GzFEI0YTC
eaYtXXQAYyBtikImKNtm87wQIpdGVCgFVjOkH2hjD+tDFpzvr2PRAlG0nCH1uIBYmgYzD4bCSmVE
/JiKllKJ8kKcxR25EMCsoQNYJh5kCCg2EijAfRpSkRN/frXH3BzTCxnMVS2IRjLkCmTkW528qiTe
Aqi9fbScYv27Ign1MDKrdir6K8PrllKTvilu6ZzVtcD5ksUNu/gQxs7FKUoiZcSHKNomao5i74rl
y/0NY1lRYQy4vS5kMCYO6qsqqnPIqPYy+pd35S7+DH4q5xqjQh0QTrsd1SpSPAsv5rq0Ww4dATvc
8UY8Y/htbAapNEF86xgu7J5OJN2ClCAt6LRTiUAMmrtAzPkk+lY4FabohnZlY7CbK62yz+mb/CP9
ITnSRsZf7mtm0ckAgjPTAADCwHIBtGmsRK2gwFl/KrYGyONeWusbI1z/b2IYBeiR6MtgpUWQm2xT
TM/rzxWoYrK1Uv4CqvZvPMDFmphrdhoqc/JmYLk2+KTxMOIIqVyFU55ZtFoMAwWHvaqBT4mxWtWz
EsFsIcQIXtG2R3ThW1117n21LSTaYbcXUhi7lVK0bUcy0OoG9iZs7dZbK+q+19474wOl17IxKWjx
YsBWA15RaNHJWaKJhkUArEE1cO1HldzLQsHDloVSO6z8SVHJaFaSLaVVmZHSVHgA4IXmWywWJXi8
hr/uW8brqabf9GFm4m2uTnaLsecdBmGBO1VTDn2BgadlTisE+9pT7KN4EwNFoXIsZ/E0XHwB4xMl
kKT5QosvEGmvfa9inMdslWwB3jAiXjC4rN8/q2UMyNKDHi8JDy5pAkdJ8HuIXwQPHCDRt/s2tBTi
gugDA6LQzYsXE3saDA3YviZK99pbgGlFhl0b37NwfNT8B7lpHLkU3PsCFxryMZMRtyKg48D1oLPt
2nIGWQNPUhIAgGJV6rbulZQ0ShM5Ydf1oBOLU/BD6ZOLJ364acc8cNC8J6ytpm4f+rhQqJRj0k/f
eMIpt7zPzEhblMuRsdbKETwN6CslGYgdnC5t0V+UteY2DioVGKXBOphSaO0AY/U399e0tFkzdTdK
zOD/v2GKTPxcqAEhTfaCWbvIxpKiCWkjxk5l/nMmE2hP1ZBvwJsEr1z5WnsdBknGOthe9xouJ7ly
/KwkgsjZo8XczYyMnLt8FDBCMlYxNwV6dQDHMvxsP9Bbn69QoBwQYYJTtua4ykXl/ZHF8krlTaSC
hhmnCon5rNxq+VaTNqLGS+0tvVABkUVMhvccmtaZJYnqpBv+jKuffNmjUz/6dmF272o2hdTK+88o
bhNXqhKqqikIKbvRuW8jiynaiw+4WWfRNegLAcq8sJHGQf/LSabW9+6H3xGht7u/yeiA2sjE0FHU
mW/mvslmqea+iPWmmC2Z09HVLN6KFlUKDDX4WNBWi6LftS2Gql7UZS/AR1U2GN2mXZO6iXoIlCfz
e4yhCu/3NbgU9s6Q7f+IY267aEhC4LnhElGk/1Ulr5LXrXy5cPQ0spuGE5TN5sDGv+hyQ08PGFn0
G5KDoWmKyjKwW4pAp8wVfib1cIzMjWZGD0Cpfh9yjXPoFpeHNlnU24BtQjR6rc3RM8quDrp0H6eN
7Zc7vUV7GVpAUP0LYs5NthSeqAAcodUI9BziVxLr4hVUtbE8SjEw8HlZuaVQOGJubXMMSvmLHbsQ
wxgIhjaqZhq1sxh0COXBqgPPCZBFtuxN23AyG468xTM2I5bmpkEwcbMTHMXAA9engS4hOf82NOsI
BJZVVq1VH3h1TJTI8hWKV0H51tQqR/RSbHApmYkN5CRACVXP033n27WWYA6brfnDqqmFLcyOWv3T
fdUu7SA4zGRUhxEQyV/JiYsdlBIhkksVrRNS/ZTpIc3CQ5jzKJCXTPJSCBNy6YOIWRUezCQx1kEu
kSjK7R6U8/GqTXmYvsUF4fpU0auHTgO2W0XSq1xtAw2IXz1VaSeNGZ0E0F8amshb1qIoXf/ihsAK
WPo3Y6olo+16mKXSYZiBNI12LpobGYB9zpmeDZz1ImhjmDsQ8RJAofb6TOfKqE9j4QHlaxZEaAe7
Db6JoCCLC+efmwOMHmuBLcBrKdeCMD8A9PsKmibGeJuDUFfchH+zlAsJjC00bdaYowKgdFAf8tjp
Kpp6m4yXvV86RpfrmLfuwqyjWMQwNQnrCDVXmGK7755FlZSvppc5Ztud7mttcXsu1jT//UJaAEb4
1pgB7XgKDs4UKmiUbA06FEbgqgYeVPfFLSwOdiDJeE+jjQYg+mtxetRrWaTiTqmDgYzTttd/gORS
brZZeUxjjoNYWBuS/sBvAruH1DVLwmTlbV707eyQyvVY79EPHuge7XhTNBbOEio5uP2Br/zyRtdr
itH+4GdAle1FdENrJi3brSbwDuyCH7oSwigOxYVBU+ZugDhz2oqO3QFU21kJyhWOF18ShDobhjDO
9H3gJLlejTJq02jFOK+oHAa+6gjDhy4kpNU/gDbmWMPSBgFkC8A3insATDOmLstjKkSY3TLHvV7s
RPkWBI9Tx4l7eVIY1RmFFkv1BCmptNUwtlokcvkU8YLNBfDLXCdBUyeGhEF5bKWkFUpwpVRxtk9l
FHWVk2kiY9WquPWNfG/V6l6pzwIAZyJq2b5qnmNRXWG8FkoagbRTMl4RYCkzAi4Z4C1ALjSTLsjX
G9lkY5OpaGBEPcoJhoCYJmCkQnWQch9D0x7VhCqW3XZvvoVJ2on0+/5B/6KTYfw+xAOXCxww+rE1
xlmqQjMOfg1AdxaHq8Lb9v2mFHZVIKDk1z3h1nH9ekR+pqbV0IpUy157scT0gMOgg1Rhpwm/PcNt
41XfHjNgentp2ym/MyQ1BHkXyqu02Zg8np8FihzQOcxgA3RGisAUMyqrUlFog6kGdN+wkxC1E91f
JxgzhwafgGJskkYKf3QEaaKG0BF8VSeSPDzG/UEaMBltMlZ4rj70Ne/FO+vqRpeYgAvOAFUDVdTs
VS+ctDjoHd68AGkLcu47A4LkVaGWDadsvHDyTRH5erSyK3Ojx/z3Cyn+oFaBVYQApCVbEcTGyife
S5bxyCuBL/SXo6EAibP5HTPzbzOCWsmrVa0C24L1EvTbLvhpZO8ZiHFyJaKJaFf9tBtq/8H6jKrf
Tfo7CLuXVq4I7j5DjNdoTec8BRYcxFwIQUsywENo62K+p4cpGICSz3z8MW2S9txO8mqKjOe+4Lnx
JVFgeEQ/LEpmmHDGeNfOCyevnGcZpGFsm8FGxihPjAenVsZDTSxLwsMGDTvY0hvSKnUKTbUA7P+t
sVZ9eSz0t5EHfFqqGoCx848QJrhDCVfI+rYEzF827cSzqJD8EMyMar52NIZf9SrSkE0YO9dUmpfA
q+3AWzdK5/rIB2M7gQQT9s0/B9Jh0vrc1YrS1ty2wmxnJJh6VUwABE7Vm+S5Yb/Vi/eB1762cCav
pDBnMhMLrUGPIFoCVsWaY5DzFzLn3UQ7OGLYed40aAKuT6ImdfXUeIDYNvUWjaDpVrN2lbk733fR
C3EL3By6v/FIRHcum78eQa+E2j4I6FAHNKeCAMtFvOe/kIHr0EJtyQTSmgnK9QpIf8yrQY5cPmnT
PvXRBcxrJ1iy9Lm79D8ymJtmFJPUKyvIQHIXgEmVRrGLsw72S8u+v5qlPZ8nS4GsD5cDxndc7wsc
RVfoAcCgYX5UQ/CP+zz2nYX4GPNg/0hgrMqzgN9PU0gYp7U4AFBluWCBQtsAGiM0jbOcRcWhLRt0
LWhqRR/N9XKUoYLiOsCEwmctdEYVyVTM3L6vsiVTBssAfn/OdoPg91oGUD2VPHqQIb0Z5o/y2Whf
Sx8dn5yodVFvF2KY1KaR4elptDPS7kMA2pPoHtjgxZNoPNe8KGEhLYYYAYOPZtwNMJ+MueVy5ptT
Btx2ltQPhlq/WL54THTUX8xIP0mCuELvPhpY0oFzXhe260owEy0LYAZJwgIeR/YHu1Zl5PdrAg5a
oooVxwEtrXGedTvPIACUm80U++pk+EIHftMJMeMkbaz+V/GAoRLSqyLWNNFl976VLIUEqBr8VyD7
6kAupY2TBiGBl5fSo2Y0vhspWXz0hyZ10qqN3CqRG9LGEronPMyAUoA6odZQjTQEERjpu7BzRyTs
T2mfhDoaFLUsd2WQRLoYOjZwCvJLSbarz2VPDshXFdMHAauZKvvAeg3K8DHywLrr7UKL1KjdRKlv
t8NITO2fP2qt2fXAoAHKuhkPEaMzMZYDaErDS7CRRtJJP0wR5VVd4PhueXbOzDU0Tw9CSGSCjRXd
v9dn18uy0ihkBCtKDYrh0jGjhgyaaYMsda3UOyXd+ZhFh5ogrc1sFQVEMtys/JmF68azbLFYWZiB
OCB9DJLysSGRVbwpLe/kL71zLr7yhp2zGWs/8fIW/Sip09XvyJiRcXzolNYVQJILIPj3AJMks2pT
d0eljR/vW+6C4wGmHZMHAT8ChzcLHJOnQiiDGGFWMjOHPeleRoWCSt1IfA9zkg3pf5THWF5S9LEw
9diTJtyjx4govbrxrU3RYAAqin/CX4kDGg8M6ajhfz16L94EoRCYQ2xAuaAoJYL5Kig10Y2eCBj6
Icin1q85d9IXvvzG6L6IT+b2fNzr10ZXwJll2ojhMlqPqm8XoyUxCkmgNNtK0DElFDM1MdQze62i
ap30oht6BjXL6TUdvY0nPafTvlAUkCJHD03u5pbrK+a3+1u+5Icx53a+plGkwGyt6y809dI3qhBt
NHLXAZ8hoLFfNhq3kEdHn5SR02635Iqh+ln9CLWBQbmWFhRGK+cYl7CP89xRMR8+Aw5HR0+Z4j+W
GIBb1/LvKdPX99e4EBvOew6AMhJncy3hWmrTZGBjAkIYxEknwcjINKyN6e2+jEU9om137u8CNp5N
mORiiX78EvGnEX02jT53NMxUpSFvQsOSHDwEQAk340QAFrxei5f61b9IZOVoW1gjwfBymrWu7vPS
WfMPsaZ7KYjxl4JcK5mvIxCtg9ZNS/80mE+YYNKpzWqoPEep/dV9DS4EV+C0AngKveozAJ+xDYBb
8q75Qv96r4OvHjL1IHa0MI1tKvPo7hZlgYUVFXEQLYG87FqLudh3fiOhHcMMVXC8962Tg660sI5N
HK4xuYvHV7x4xyIJ8V+BjAlWXpOMqQ48dZj+mgQ3CdRXSfyBiQ123tLBf5oi1fZwzMFG/Bda1VGC
nOkoMMSEebNkidXVQ4sWKTWzE6IqdAzslPeUWILOWnh9IZmDnjvwlTJ7BypmrY5UQD0rw/LXnTDD
4utyso2pVVFeMoVVpnvJLotLf6fr5eBEZvcUSL71EpaydpDAjcBxvUtnHrNz53QsIFVoHLne4dro
AqtMemDla/RYWGezehp8XmS5uK0o183JLPyDhrdrKWVj6F2rSEAQqf2xx0DCfDBsrUu3kq/j32Yl
h5ZdC+pWa5/iZnLv7+2y2sGmM/dfwJuyTaXZpGTG0Bt4KPgJJr95cmeXY5g4YhHg8diXHYXra6ga
Z54dtYOJnqcho42Oh2vXFsJenDBa+P43LeodGDbkmHTkwNlXpZgOeRJqM46sTUgcGWQaP+KWx3K9
dH6xs6YEwsF52B9zfk0rq9u8n0lH69KeAP5wxKiwiBe20aps02OdPt1f1pJAJLlgRzONK27y6422
dJAVdx368epIP6T9uySi9fmgTtVWD+PNfVnzx7Oe91IWY1STpXvDNDda1cE8GFb2BMcfVYNzKS7a
LuZCAsuI9z9ezfNNcxEN5aqZ9L6FMxtZZeGCsCZygsD0XHDCYZLr2A9rTWxHRxmkzNGTyZJIlnnV
fjRTfXV/wUtXzdwShfkBqDphP6+/RMmrUe/Qh71XpwI8vB0Ahz6Isd3OjweaKEGDEQbWqQ+bjuMk
li5ThIEgwEIvrIFXyLXgzC8DNfKg6U45V0jYW+qhbiPb/AvMM/JfFsQgN6HfTIIo5LgeVA8LBGQI
QY6pxmvUCUq7GX3eg35xSci06YAaimCJZPz92OESqAvcbJoCeG/VHGIFo3/jM57/HO+zdNKRLAUU
aR5PBa9/rTy1UL2+nhsW0uoZTfokxJQvOR3/wp9gcJMC5l9YBnLN11LQUg6i2A411hxR+gHPhddG
CYz1ZPkeuW+FS5pDjIhctvwFyWOOuJwHlq+ZKLBGszsviZEfh+SnFnCe24tquxDDnO5xyrowMUHx
iAquHJ79XiMWr+q+uJS5CoDiDwYNsJ1HAPrHzRd+0aqeAq+wQbtnYK5ckH7eV9niWv7IYd+LKNZl
lZnh+gvrah5kHWD4RxFzvMOSO8STHWXcGSKpsSx1cExFjIsE7lBSQJWU2h6M7f46lvX1R8T89wtX
2I9CJjQZQJiFt8o801blRzQSin8BIsfD4I8YxpZNxH+VXGElCZAW0mtrbSrv9/2V8JTFuNKhqtrc
R0fZXgpMIpQl9UWD4zSXN/3PKphz7wGZIqjlTI0tGeByrALbRLMZeOP/xsFYCG5w5epoeWRnfAB9
bvmGB0GtGruK/KnE6I8xz/cVtrT1KA+C3wyMjkh7zAq92PpcDzI/7gGJwnG0jI9aEwjafewhajhm
PKuFvdVn1jE8fi0gpVl3GerF6E0WCAJ1RIbJU9h9or8+x6SRQPheDb4jDf84ZAEOHKz3AM7h/xs8
QhkD5WH0OJzxgBaP8XEyayL6wPLL8aav3v+pGtG4hp6bL8pKJI8Yu4uHEoQjGfACdYZBl+cx3xf9
hw+urPtibiMFUDojVTHzC0vYLcZ5Cok8TXKFBJW8Ch0Yt1M4Ek04Z+h2pyAE4TzaIDDDRmWZRcTc
SC2rAmKkB7+HLtqmmLpVV+CCG0F7pFPcIJiyPK7vL20hHpvpqsHkCFpWA9lj5lxpSj/2aYBUPKhr
o3ClKWel9yICcBsVQIETqzEZwpzG07gXvX98piEbiUecaqgWXdvXpyBMRGSBElRqcLluCgU00f2A
1lHeGbg9bNdiGD+r5mGjmsX8GC1rEqVug5y/Lj3rpntfl7MjvT5r13IYR6trpZRNaMLem33qxCXg
t/2hVxo6jKde5I0JvfWHs7B52iEMBrEDE3FJ5RRFQh8g4soekuRBqhuwIHAY6NiXnjmTz2kz+4GC
rmVMb2KCE61uzdyKvP60E2npk/YYuJin6/oUI8WehtX5vv6+xmJcKPBGHHPOGnESM72EuJ7maLwh
BwwtTitaOWjX+CbuHfn9WCE9WxG6N6jzGrrnnqRubG956Qu2lnLzJYx28zwHAngU+tPBNOwP83f8
ZLmDR56NYkdfz83nuKcBWhfvr58rlbkVrKRturSAVNt/dlNSrzV08clOABD8mQDYIXckWwUHg7PN
bJHiZrXMOewSrSpFE3ofXxG2N8JGx9AczLGhQ0d08S1/HEoavjffmnM5+hQzC0LXOk3q9+ioY4A1
raIf9xXBuMKb72EObBAZQVzX0EOKRDVZia65LmhBOSHx13P9nrkx57VG1abuKojp7Hii2UbcGi3x
j98i8tk55KUl2kOPGsSzTIfNhO5J4yNcpQf57Si6q3frsyLVyiOUdmfR7e3ju+gq9IlXX2Z7aP6t
C4xwmUskyOYzlohRPHGcif5wign8IwXuzQEnz8an/5SU7EYSY32h16d5MULS5NrDKULeLn5saOxy
1M7eODdyGGsz1MEMUY8YTm1FPrpNgd7UOiTb2F7zJjJwlccYkjLWbaElWJJ+iI/tsT1MR2tV1CRZ
8c4ui3u7WRVjTJWup1ZUYVWFLaDeYogYutORQd5IBsnOL0OwRotVsU1TiipQaZJS30QhrTBEGugE
zkXEFoD+/TGoPmhgo56BCdcXq5UhGyAbsOxifzAninL+sxSQ+PBojCR3z+aaTk69iXbVoV9z7vT/
5874I5uJyfSpxaO6hCKGyjY/h3ZXPVYqLSvaOPopf9LcBqhopAzvu4xlsZgDhDACdQokX6+XPMS6
0oGQuj/FMSaWPhnNS/Qr9ZWVAk77DjNIQN36UwGQSis2vCYKJjz8l7YvRDMrNossrNRxvraso9BS
MyLDaFvabiwwpYuzzmVZ+kw1juwRIvvrZWo+yM+GDjvbuO12wqRIUm5S+9d9ZfKEMNe+ankNxhJi
QfLWW1m7hLxL31LOQpbPJloD/7MS5rKP2zzXp9n7yv0Jd9sA2OCDOq6adDuOeyN/NX3O9Tof9ht3
fyGQ8aSTVQVK3mJVpVP8UrYS5bHNc5ekXm9OM1lyhdmd/UkjdvmMWBM+dHCGVcw53yw70L8t7o/u
GBfqFUqNMiYEmSsN7foOulzajL7LZBuhfft7T0zHpPdtgm2c/rdMAEEwPgn9NSazXyl6bZDQh8ye
Gi31zugVD95j5zH5zIpdaifOy32B84G93a4/8pjtGgMx9roA8hrtF8rlr8UHJsl2r1ZTcgT9P67j
jyRm2wI0r8ZZFwyntx8+CtH0UbXfk3W/rte8qUy8NTH7ZmVhFJiRhQBP+x7mQAp6tOYgkP8fI/yz
GvbOE9VcbeaAQTzHr0FDMiLa7c63BY6TWL7HkST5j0EwHjeNKrmZRqgtPL/BybobDPYZbZns/spT
ADqD0Yez4bEsCKMogibAy+erFWim9YNBv6eniKzv29vypXkhhllPp/hqE5kQ02pgGKZa4gokX+mn
7/GvxknfaoHoe9ANkW4lbM9oqSx3vMmLi3HvxRcwF0k3VbJfafiCCM8fOpAazBwm+fR5Cp39983R
upDDvPmjyC8asyxmhQY0cr1H5B4378lTv+ZBbTgrYq8ryYwjxashKXf8Y0CfvXW8Abk4xzfxpDD3
1ZQnUdRWkKK8BCedRnZpi+50Pt83kGUP+EdtrAdEW2hUTDHEeL+Vh5wAVPzbckzbc4WnxCkOWx59
87JjuhDIuMA8LWpfTyGwcw3ykB+atb9StseRWJudtLm/Op4OGScoxmIvtT5kWWuw1sD4NGevvvGG
JvGkMA5QC0GBZcxHWT4ILbGIT8QX42CSnGPi8++wFo62NQx/AbvBnCG5vol7qakVdYzHUyN2Cng3
vcruwjBfdUVvccKKxVc7Kv5oz0E9HJxh85ovcrmZNnWJiNEbJ4P4u+6xeADZe2SrxFhJTu4Rj+hu
QHYmBj5//NUD50I22+2NoYqqqiaQ7SYPwYMXPHZO+120bNPxcue+gSya/6Us5pRp+hjWVgFZbb5T
p4/EI0loj+0mcUzPjsVHHajWeFPbMk6fuvofhTPRR+OhMg3WbDiSs3fY2Tpo0308yef4Csggx3ri
yFsKFi8Xyxy9UYySTk0hr7KRJX8LHYGKG+0p2yUe8lHvPj3nHuWRsS3GdXOrCfpNwNeJN9S1KZXm
DCVI5ivo+eCGmIFJn3USdlS2X17OvBE+i5HCpTQmUggxUh5pQ0jDbKRjEdN65SOhsZ1GXkgyK+vm
NF4si7lZq9yPYl3PhpOtTHblyEQm6/XZc/Qj7xnOIlm/otTLNTEHvxDBDhrWWNNbtjdIfFQ/ldQ2
SefwDIS3JubUx3oYwMtA0M4NaPfd2IWb5mNtexQYdnrfGJec5sWaWJJdzJzHvIoRovxvfknqvWDb
XL3xZDCHe6yDJEx6yPjW07ddfPxQbDeww1fNSQtCX5AM+3Z/UV+54ztGoTInevJNPWk7uJPdQ01j
58ePkmwO7ocSOCfVjkan3YOO7sW313Q40HWG1NrmF29uN+/Aqcwx9wACVzxp3sVD4cY+9TfAm9P1
2nd/rTseaeBixHy5kcwdW5WVUrUTljzSN4MkD7qtk5nXz7B50DjedjKORPOSRixLSIqJHR5V29+Y
5JfCufnY/tR/HTZDBwfiXLVSWeYWsy+SpKwknGv1s3lIZKd9736gFX2PB+izQnRnbb/UDy+03yH5
BEq6nkCvvHTi4lV/8RGMc2mGSsrB+w7LtQ/VPniUXLf9LEm3ef6OZJvPQ/gtBmX6hTzGw8R5V9VG
BHmF/e0NyDda/jxS+sRb1/wzN8cD7Y0oRFvgfmN1m45jrRSpBt0isHD6TUAor6S+bP0XMhjVFXEU
jjm64k92+pkaTre2HN3eS6/bluwOOXIyHCT8YsYdMNv/LorRndVY1SCGECh+fBhE3sa+65Pn5+eJ
oKq6TVcPm1Ngl6BU2pYv5/VT/uNpHTj0lTrDuXN8+rqmL0/wfTxDntd5T9eML09iE8CCUsWlAUbe
3bi57+mW76Q/q/66hy8CxCTINSMt8PNowPVX6st2u356euJEvIsn/kII48DTzpAw7hBC7LSkqg0O
OwqrvL+S2T+xejJE0PSDCBqULWykK1YSek/0CaYfPCuxZBexzLnqlsIuTMwGAhydbojdmZDEz+NC
jYZ0PGV95GK2F9VKDBLRAY7m3XgsNemX8zIw0H2m0MCAWLbeDoa3ttZR5Dsdfij6KiRGQ9LfzwBG
uJajPq5W1HkRv5+rj/gnrVaRc8ZQRUxkd35x9u2rJfxGqRffwWxc2wRdW3aoEb/Zh5yU5CHeosCm
EnyKIFKyohV5wWgn/HdODj0ZOmfH2VbpVus6mlcxag+98Yg92Vuwx4zwTvWa/oQZUkD1brs92PMi
UuzCfeNYCK+BKF6jD4uz2bcmey2WuQ49veqmXoNYjXjYAHOzR6uRw7sKv2aYXSsYYnAy4LSRpNfY
HgkJXAKK1479SV9hHKe39TPHItnLZKMcYBHrR4QJXbZKi31m2Tq4PD/9n5lPqpqo5aH7FvEGJy24
g+vvYbyN0EwNxkNEeMrEltbZuVFaG6nV+nMhFioo8yVjyEklleXJGjsTVLWKERKxb+WQeGqORpJe
TTOeC2QHLuE4zF+lA06Poz2PgsPZv3BSqRHJHpgNkIsnOREsMPVW6Jg9yg+1fTxn9LU7vESH/Pt9
h3J7yV0LZcIvUQGHhWdIqAGsytfa9R5eEAqt78tYsrKvsdkYqTMfeqZiYslmL6BFZray0YmdwNZW
GHNHeGa2ENzp/xrP/W85zDlO0iasywJyWtq44bfJrb5Lx3RTkIbyEkPqbcxzLYvZLCkejcjKIavf
ZvsTxkI/lEBMGDY4RJXNG9zHducTDfzKLWbPNra+lVN7dPLnzcoP7OhzclR3ok64t5zIs42nfj8S
gK9tTMY92Nwcxe2tcf2xzCa3Q6wmI+wblpVsSudwMm3DkTc62RYrj3Lc6ZJFXe4241MqcdIS4Ibn
3X7DCT98ZpS7oFm7rEO5lMEE117UTpagQvvzPoNsFCX5Zm1Q4SBsC/rPc5vX2mNuxNIYy6Dvv7SX
k4dm57kOqOE4QfTSBXC5IiYQ9Eo9B1QRQsqDtAKygIdiWD6DABChFQg4Ohbolfh904OnaAZ0PPi/
nc9zvfv2N6f8jwRGTW09CGM8QIKBUx7Zxdokqe3bXDc5G+vt3v+Rw2hqbHWjEmaojOY+vCX0LSeu
+d59S11ucD77i3uSmFjZ9wKtGpKvFT2Eq8hOaUbwDO7X3Efw8gH9sybmQqpFMVIsjDI/1U50KgmC
8Z6oLzoB5CZa+Xa547FNLGSeZqP+r0Q2bTmWaaFFFrT4rX4q6e+JHtMH3+aEF4sX7aUUxiNHgRp3
lo5KmEYm90dgi+/eXqKAjRl2zLnIuCtiPHKoZ4HozbuVktZxUZH9dRTsdv13mpuHISFcm3kbGWeq
i4Jfa/IXzOTDf8L9XBAgrpF+JTxU2MLrEJt0IYpxpX02GGUsfYlCtsLNafAd/VyucPQ3NFulNS05
N/XyFXohkXGstQ7+9iJDRTHaDPaP+DBsJ8DsfPeJF/wv+qMLQYy3MLw6q9UY2d3SeQNDCIltMHlt
7nuk2RPcnN8LGaynELoqjKx4QL38LcFpSrYcdfEWwTgILQeo3yuQVd0lm2ndkXiDyhCPmO+rs/fe
MhjnICmT1gotVJW9Ve5IP4KXQ00BmEO0AVTNVqTSBjMX7ZwUwMjJv9T/I+26dhtXlu0XCaAYRPK1
GRVthbFlvxAzDhRzFsPX39W6+2zTbY4aOGcPNjDzomJ1V1euVS+qsSCyrdnWy6LBXyqzf4yWK2XZ
8vo5KH93vowNq5v54pIVBaRlK68GBNZ00QdvqeUtpL1HhNEhelc3dSKDyNM1JdtXz4jhsyjYm7DV
Hj3Z7AyBXKzd6kB0K3CEk5l+xA730XNu+qboRr55qQZeHOk3RaYTYbtF3QwTeu5Lstz9MjJgdC4O
PM98giTdOICxWoo89xP3Me4qrFNo2tN5sJHgrt3KzI4cr2NKw9CaGf7DimuKgIUbHvGlAtQo8Ggb
C/Y62Ugn2Nc1bIExc2LrQj494/3+i2ShtmiMA+w3EEOjPXbJ/Zj1jlJ51qeQ5XW1MBKEnFs7Q1cl
HFIfgBf23EjM1NEOSU2Ew33SN9xZRo6+kWZYnYlpoKQylGnxiSFlpLu6DbBg6BecL9vcfEWDLZnt
CoK/XEzVaG3xUT52xu/o2O3ktWFkm5W+pJLn27GjPnK8p4ka5veTYcyKqFxLgJrjZNDnbcwROgAj
cKdYbUga+6jtrJ23U5a8kvNExwWlChAWjA1iIPJWcRzdf6pU2PIQQINJoIitJajX2DE2kKIdTDVQ
QF0dsW9yNTOBGYiIjScNE27PN+qMtVESBNqlhxy54IjOVrTmLrx4q1vlRH1Nnew544k7vWNWBhYY
j8PCZHTpoXf/u7hHXn5tPBnsKqTEyp3GQdxAlNVsRW0cL24QqQ37QQ1wKhSbG4ZcYRR3GTfdNVJR
2kDIpa5tW7LFlUrCh3IdGOFu5uSW5e7RTk4s46Un2C9C7ov85OumeC7/fADLLpzK7FLT2kqN2HMO
zyFxsM12m7VkB6haoK4Q1P/+C58PE3tol0YyC7sU2Ynpblgkl1zSkAYVV5gitm0k9naPqGr6b/fZ
myh+LL5RYl50hZGaMJA8lFjcDr0gMUzgYBfY1CT5JDD8U4r26cF4DCxr9hoavin6JCGh4aqn+SO3
Nk9Fh73sMdvM+1V6oU/la9mfdK/rVikQrl7lqJBJXlwv6zJUA8PTEgxvCEnpyHkuu16LlnfOifA+
gnEYMcEeXP0CZy8dQ30ZY+T/SrDq62o3ihkrtveiYgsdaWIjRzepjvZyG0BIApTadXn/SyYV/fg4
mKfdiJIaN42KyklhzjZyZ2SSo2auHBkLU+hW2/Bi9P1O9ZdBvY4N0RGM/o8qmZyvmPAAv0kI42WW
tQgIgrkOBwWSaC5MDBVsPGzauhqLNTyIPa+8MmWzx1wzHmealHKoAZoBDy6DR/T8cnV6wmNqwuv6
xhTjdabI1yIqAFOSSICkI85zAIdZwbJSDSzJTJKIyMPjXH9u9Pfwai+CQ1CfBMEs6n2iNJztChO5
8+9vkNFxEUbRlTilr33IyDYhQ2O8BrtwuU2X4bJ89y3VylUzWKpOY6bkBYuMTUtLDJOX35jo/seH
YMcJQDkA/qr8mBD0asFTAr8/PXXnV237itq5/jt2diaBN0w94sDkJQGnMrbfaDJvPvdC9SqEoCns
FSiW+XEbuLKFPTiPF7N2W1wPpqU8g5cumHKJv9Flnvms7f8RaxXAq2rlznRXParpKzBSZUDTlzY6
J69okrSTyCjitZbakkZK8Zc0X81CIiXPGCC6VLbeEmFYq3lFinpbR8u8NPzj/Rc4+QApTAlG2HQK
k/vd4FbCApWVIuhPki0bM0Nf7XhZGh4F5jUMeXWdde2lPyVuaOpGvDP09/s8TJlxFKf+5YER8TnA
MHShpDwQ6Y/ROTwxmlQa//4+uo6+n5EXCplY9+DAHHBI+UNNXgzvz30ebo4cY54AC0FLh4D9AOYj
o4/jArUZBAL9qVqJjmwpoHQAdLHxsUB73HXPdT0mruUbPUbzDnKtyOIM9PQjzcYjO16hK3Sx9J3W
1h1ATNsC2iFO97mc0IyA4cLmJrR4INRgh26iOXDfyx6FvEbcpzMMGek7uZyTpnZTH/n1nLPwaOLi
vpFjRK+o/EyvQ5CT8AxnmkrkdN9omhHOM6Inz57eGHnwdJ/FqZTaN6KMNPrzYnFBy0eP5ofsqXGa
bYLQ8K3aSL8C9BzeJ0b1CCs0o/O86dxRdNDP6kSPIxRoL355irKLWfYX938jwUT3ctOL2AkJEkmD
3SflnzBe/hcEsBcSo3uQfcjG99elq1nlN1QmtAiOqJphfY15nwJ9Oj9OaUSBsQLaLFCDwOv7k49m
9YvZcp4u7+fpJY0uIZa0RuokMBAAFVaMTB2GNlB5D3bqvc5HTDD6oZo1ua/Se1Bi4OA0KRE9jAOl
uqEDCqXieA0TY8ZAUhpRY7RDPI/VYEjm/Wm93t5K7sh5n+K3U2aQJXnbXK1NtCEvGOk0Umt1LLep
kW7fkTMm/9vNMdbJm4ldFgb4DGG4kkp6a7F4ui54ceDkKxoxy6iJKlYwUh0L/Qnd0qgI+q3dLUSO
kNzWxd0TQkYthHqAFXuIQdBGt7XbQ4CVij7Rdx0Jj4eDVCEe2qRkRY5BSpKH46d2+Fzrp/d179w/
0aks/Ohmf+CYqrM6unYJpFXYXx67ZXK4Pszd5N1HkpyHmTp5rlh1QHvfgCh5O5LRw5CDpBFEEbfn
lSnRpPdLw3W0Jg3KiATztJVQCxZJDxJwqVCU3z4My1Nqn7o1cn+OY21aM0cnbY0Q/qgvP985un7y
5Y+oMy//AngSJVRxp3p5VornNLWSinNfkwzi9JAARMcP1il+Vy5dHypdcA2GE7aYvIlhYDZ6Z/hd
9d4UQm3NI+yD8LD6/b6QTPKFXdcL5CYWFIDrO1G5QKPXEETDqSy2XrQr68c5wHX/NxoMY01Wz4Os
iodTqP3JmivRxdXM5+1v5jHCPDpZj71Y0EOorvJqSNLyms+tAu7/fVYmfTesswCYC7D+gOwlfj+v
Qc2HZj5kw62KttacGZmTmeHZKZk5mQmUQw7BqcQVXXV7w4dDJMXipiIx0atalw/weLdXpHGwrnRT
nsSnPw/Z3iaFuVFL8lIekseS9Mtjarj7+xxPZXa+fQBjH2Slq4skrobT+twFxIcn99hb2z+5bSfG
ITAK02rMvDDS39ZKNEtUqIIHFGV5OZ1bUfyHUh2dAyOolTz4Cwlwlqenp22+ea3Inz4zfOLMDAdD
ff7jTsQoWmRe0FYbIizgPP/JtzmizoiwNsxm2ClTDqdrvpf9Y4s9SUL+y1NyS7zCqfXmFufU6ane
Y5cR507QvV6owe4arRu99fqg23+qbUeWH4HhWCFy0KWRHY/7mbnnWWJp8il9McsiiilN1CSiTmmv
z5rzGr6/yr8G+FNL4lhXqzVfVr+Pq9b9XAnEeLla1q+Q8Iohk/bkBhCNpY0AfGTUbS23/iXpU5y3
+JHNDqV8un++vN+nRzCyV37QyrP8imccJq+R9mvBAxuc+n1RAN40XQIDyDTGlS5DsZp39WI4qYvs
LF3Ks551/4XmBoYVRZZDMx9QG7+z0EbXYSguwnDyioDo/bJRnrLevH9MU1kVnP8XEcrn6JwGWa/C
UBnw6hR7YQgxBjHL4+k5EU3/sbZaG92YTULUE4cs1aKs9FNAbJT1ZR04TMxjF9QwEbMGtr4Nu1lo
tDr6vw3f1+sMiKpy4ZEhqQLPSCQo4/Wi1/VtEM7VmNQdOjdJE+SxXcQZljzf/y5x4rsAVIlt2XQp
F0a8me8KFm2ZooViDu0/E40LWrjsYptsTwMqCbNfKLmGZKWvAIWyct3GfXLvk5+KN9EEjGV3wNLF
X1j4MkkLksQPh/nJPG9lI1hhlYK1+txzdN1U48GYDLtSqNCiUlMGcFlYCUFPT/KKlcgv/E4bqsOY
W/5Gh3kknhJf+qQFnZkLf2778KcDpJAxOBaUGznuXZ4NmTLeaBVBGwc1aNh0wDwZyfeL/loo8xPa
RjNyeVg6UKYbwbZWnLf501yokA7MQKIvHLvSBObZaNhnUQQNBi5NuyL9y8YYeO7OhHP/nQSjwTyt
T7u2jOHcr4Y1sTar3bHniPuEIHynwZh+vwiGGeDUMTeKynBhLMmmNy3OUU0I9XcizJsSA7gXFyBz
n9YzIr/s0EJgmGhx4Vk17oExJnwmoEkRXiiS0lsJcyrpgTeZz7t0xmR7fZ3lTUkvvdr35+PiwFHG
nN+/MTjSxTp2tg1Dht+vEEqmxKidI0e/UPn//iC/XcVNHkYUAumKjoArKCiETsIHxsV13XfeTfD4
oEp2RMXPh6S4KriI6Lf+G6hlvNmPiVLrdzYomyMClxBrOgZ0BSP+VtzMwVGtIFU92fPQfSaa6b9T
Yt65EmbIR8ugNDxsz41xPr9eDPchM/48bO0cwzwdpi0f4KVxfHLem2EzyELul5VCH//8/Pp4JWRj
WSH5xXmZP9UzZQ5TEAB8pUv1mAeThos68MoMIyFoxoBiRoBBhpf7IjcBtvadCPNoBr0QZ9U8vWnK
X4cHAG117uHgb5vaPGz20WDqOfHRuoqsLocyhz2ZSfVfrnQOXgTly6Y5oOdlUxXkYgdO7Wo40vlh
Q56tbInx3F/oM1VfPv0Bs1aaIXHfw0S57NsZ3LplRvKaz4DjVAo46Cft19MWFsNekkfV2JTWs7Uz
eEL7F0X4772yo6aVVun+JQW5okB1A6W49d78r1TVFwnmBXbyApNtNDFuFiTKjGfA4oW8tbITZe3v
x8Y8Pr3GMuAWS0lPW9O27Q/x0XncWHTMKzSeEk63CveOGHPbqRdV7XMcGnJ6g/1gz3FJTumm7gY1
mxwdoHyMoZ9h2Hf+GOt7FeKyzVFDOQ3rxjb00335/4uW/Lojxu4q1xQrYpMKHJ2j3RZTxyeUZsnF
zXcmtw/lZzT7nRVGlUTorQvFDKdnbjugQYQ2hh4MYh0DdJjpJs8ATBTCv5NjlEoWypUnyJCM9Toh
5hbXtVw+Xg3no3YP8C5XGDDWMeDBM2x/8Zf+PVJ2uKYXKswizcBm4hvK6wqiqKFRrHI5wjhtQL/I
MH5zhp2rCsa0kQnNiLBcPJhuy2tsEOlv/HQFvmgwRrpP+qDUL1TezbNdGehmRa5lYRLLMo65g4lN
XtDBY4pRGUp/aaO+KPrT4peCKNNeJsaHbDoYgnvByCvvCLlXxSgPaTGv1UyBiKQZgMn8bXVeYbp+
v+dc1UQr4TdRZLcbzC9S7vuUDsQQOgN1AHTGOpZhufoSy5J5eSqePVUYpRGqxaALcQ5bkqBB92ZL
Th/kDflxxFSG65vmO0eP/Oxz+s4ho0f0iywHCx8UI7I1221lw6Y8mBwiHGPNbsgKPaRimxzScTbR
w3YiS+T8MdKL2eG1ZvHe8UTO9TtLjP6ookps5xpYWoPcK+hd7AP58GzHStEfiHf9uX9/FzhruSbV
vShqWFAmYGfOLXgdeQEYoqrg30NS1IZkZ0Cp3j/C6Rc9+n3GguVtn3rYz0pbJ54wwfD6+rBEQk8m
aAbScJSuy3vR9MX+UCEjgowodkANmCPxjyeG8hdQymhgb9iadX25zxl9qvfoMAIYK1jLc21wcIor
m+3z/R+fyIBBFkZcMKYrX5SJikWZ9NgA4IlR6M18JRkrV39sCdcVnFSCI2KM4DVqXy2wuAnl6xhp
AxQJeYmJaX30RYFtI/Abf5apIdjJkUN6gFr/oOoIyQNAivB036RmGNFi7NRV6tEE6eFidDt8yF1U
Oy9k/85zLjjv5pazG72bOv7P9UtHALY7969/ovrx7fpv+nb0634lXJuYOstP6//vaH2NXPtUOEsH
ifjNYLSmtdslZmK7iPJ4rE3kG79TZ6yUqvV1Leo4wTWalodlPMcUeonhd7s2jOoP4BLdd/f4S1hz
R4Lom7nzptgRxSQusbWcBkdhY8TeS01KLMAU7YvEUXocgb9p4tHx6uksjXzgLJ/UB22pIGvKkcFp
v30kg4xyKOfDLKozeoImahnwch8QW9UoZLSmsepdXt2Cpy5u8jRiqLwCnRoQ1TRlpmKcwf5/JWta
irEy/6sswIg3RlsoeiqrqUbhITAloBpz58VY7fc1R71Ox4tfZNjxxBKbEvKIHmHQEQGi0AKxEDPw
osqJyCewZL5JO4uv3+rFP0K3NgVLcb3VQ3H+dX3FGBPXwk+6tyOeGPe2C+bZPCmoWCTkqSD1xlY2
8CpUpIMB8GRF5xU37KY/eedJscnnHlC4gA/FbSErRcyKdOvyqGO7Il0ufV9pTUfGI+4YtVEVYpMo
IV4Voh8a/HwAzQzOi2W4n+s9D1FgOgk2osY4FoIWDqLigTETtYKtnVhoHVoeKtN5WVmrnhxdhCfr
9/ssTvu5yEoBrETWsNOesS3itVvU+RzRqwTcxIf8eFoiPhGXxML1uRgL/vxsbxk/DtlpY/NFlpGb
/CLNck28kT2fH7CMGFsILDj1hrKjTr3xiT7eHH3mgouyDK+oOFG/oA/kizoTIwVo4o/FskZZzKg3
4el1uySdAfqn3Y6HzvUXd/GLFiNDIbZX+coAWuundW3SzrCA2AenRqkButOC433/aP8itF8EGTEq
fLkQSho804gTahMwrAvTQf5rv9hxaHGlh3FNpUSvsECGWnXBOWOmb0udYc9+dqzdbwvesGW6HO7o
L/58/V/cMXboql3DsKPeNyw5SSAyaN1wfpcOF+X/Lz7DFyXGYS0SAavnZlBtT/WbSiS8jqWTugM8
/WfsCRkM2QZsFIe9v5jZL6KMKVIv1T/J1MqqzfUFHSrahjiYdW0M411Z7n3z/YnXEcZ5Dqiz48xH
trauL/JVp75saZpnwdiq7gP6qCuzcxoOf38x6//hT2V3q4oXNUkSGsu86g+euSQycu7GLaLmNZpJ
9Kj+LimqwKiYOmgBdXChwadpmw/URT8kjh2sX5HkRAYG/G02ljs3jKNrAmfNDcx9/IuXQpvODv6r
alR2sh4qXU1KlRpIvH37FBDkY8iwQv6Ae7bTtvjrbBlNc52pM0ktqcACmQCDlqmLAFvbcSzGgkeG
0S+a5Ett2YKMFhH9gumzc29IbwmpzTjAv+joKwbWKrJMNXzG8s1xNi+rFeKio2WR5cX2zLe3Zwyw
nNEPq++zjfHuIWherSyEz9hBzwnXpxNUowtgVNRs4VWhR7PbJmD18iWmnGdwG/YctTQdon2dPaOW
Akxhdh5NOmQYuTVmr4Jt7F0eqBfVOPckmtFI6jzNNJ+G0MOyMD1CsU7vszGdsBkdFqN+rr5Yi1UH
NiKC5OH+jF4Vip13wJQZqfFUd5YRPAJa8rhfc1Fqp9Mc/x4hW5YNc8XTBRohbkG1MnRLeDNWfs3x
6ThqHRu6vyu7SKuiEFsY8UqQSYSPBW/VuZINErKlcQQoBK+Ew1HpWA37nWDWd4h8Q6Tc1q8FHcWG
g3V4XADBSSSfK+xWOIbO/VvkifwtPhjp8ybv0M50qwUuVl5L5nvoAaVFvGH+j4QYjVNfhLyvaVid
Od4LzD22G7hHrmDc9xVVtkgbCl2kSR0E42mdAwNF3wkvwTE29jff8D5Ht3j8zhO7YdqNju46E/1A
mVHpeNpu5zD5WKxDnMhIXdSGj4Yrvag8AeHYqZvJHJGMFK2d6ykOcX1BS69Rmf5pz1NP970mLHn5
LoM+kOzrKAFbWzNwkfp4SM6fxTOWayCk4MLf3pbi3DtERotcaqlN5ykkvrPN1zXmJrcPp+Uh2H6c
4ocDepN6iXx8EGJUaDEHkpi+WR+jY++6vJPluMIqm6QLK0SnKX16pbk+vz7Yp0fs7IHRP+7VZWxw
nGHes7tFAqOL7KVgiAvK9sy18wvxXMkyKDYt5zI5VoDN0ylBiH3StMoNKNyrKW+1nAyxKfDeNo8M
EyOFjfdPwcW2FReFdN04EOP3CjV8vD2eC8p5A7fQeHR0g/8fRbLeotLtPQIw7v7D5jmebCLuWiPL
Uy3wynrHRELpYRna9foNWp8OOvB6vTkai83GdXGuDFoHSQhWHxgVf+fwwrsaxtlQ8kTyC1pDN9G+
Tc0J2scdi94MKm9PHGL0x+48ZjYRd+niFtYSvACJ4PWEvKm32dzKHOvkDy+d9JfM1b8+AAsF2+d6
IOVUtpvEFBSSLtxQceNuE+tHqYCsF7KT1oceA2+8VeOcM2WTc+k1mgvXOdhct5/iS7n75Lzaifnm
cc7hx9LLpgniMKVuc/J7i+7zyHCW9lZ2bIjiwXdQfiY7C4NMLflEgxVH+rnEGR8kn6H3uazAXWad
Ua44vdrmWt7OC7M1htzymr32YPTP5t79PMbbMIPaWv+P2pFN29VNuBg0dErQ+g9AmeElo90jxh8O
r39Js/4rQ7c5vZEuKVNp3lUyvcngN9rIVEM8o2uNQ4UnLkwQhKguzLDAFr0/mZG7C5Kdel7POEcn
Skzg0l9ULRAitK0gKg9WquPytBQv7meX281TPVT8ChTO22QnGK8kR04KgODObMlRIhyFyLbANZJc
NwsKJNIa2Hyx8UnkHJzHXXlA5Z5Divrvd/TVLS0wun4/aqK2hTk5mWa7IAN6yMlvZDIvHCebIwAy
kzOJZ0VTBwM4QjCZAdYWwYrMqelwsmsAUf7utUkzIdfiHknS1gCwjfmAja0++UA8TTBFugtvbQgV
1rLxQOKnQxYJG9l0BUN02k1wRmco+nNP9aka1t0nO7JOC/MDiRoLVXuaLeH3FE+6pyN6zGvyutml
ClPcmULWnav/iv7cF4rpoG9EgHlLNUYjYkyYQ9IxBWS//kHQh6pjTMjLDrWy/fq/k8IRQcZEp5Ia
aY1HT5Asl45no2uKeFZ/uM/X5LMaUaFCOronLU/SLguoWz+YwInjqezJpMbo51k/3o/ji17Qp7TY
B05MbiUBjiLlyRrro2OjxD/BwnkNlC7aHP+BcHxjlIZ7RGaIx9NkluGLJ9ZJbwdJu7Q0O37Z/MHV
qNgDvV4Ay0U35y8VrxI3qcJHxBizqwh6Kor/T8zcxrbw5po8fibV3YgE46bHi0jXg1uWUzbmh2dk
+RGg8tzzW9j7Q6mOqMjfBa2Jr1USSDi12HzFOp+PDvBXBPA8aOHxc+u+UHOJMdqg8Nu+lzQQM8/n
cpOQdWvI6Ay15RdBeyiWbtXYHIr08++xx6qHIhUBoweKEZDyM4cgO0xQMHGVJU/aedfF6AXs+4Ir
TRt6UUTHoA5aohwFJecNiiUIS/Vli8HXp/vc8YSQURIzNI+kWU1fsVySWYTZE27JiXd+jKKQAj2/
6lQI02Ww7da60aF/+JM6dyH+54j8dI7mSxhZV70ZukWh66D2tEVeH0cIDFnzAAAs/EHliSIsYK1A
QwSUpO8f5XSJdkSasciRGM3CXoeglIAppUClKvKkraEf8wef9I9vrX1dDStp60dwoV33PvXpaYUR
dVadREV2TWi/6vo1+ahsBRK616wnHmzGdCJjRIfRKfLQ+2I24IAl4gHSfpe0WL6zco8BLxk7naAZ
UWL0SiDWehvKVDa3tD0QSPIR3sIKdTWXh/sy3bE1osWoFTmREkW4wAcozXNjocwFw1wTrKLAmBxK
QJy74ry6H9575mMBLFX9Jlof//hw3JYHFELQOoCN81z9zLHUrCevLBRvVveg1hjbgvjW3MGCG867
my5ljQ6QUSQqGGoKmjlvVvEGaw8+pbWSEB8L+3bYofPJ9aF4TDFapWs8QQhU0LtNT8em/jp7vH9L
PL+Q9eKHSKJMgYT9kFhIcl3JG1p8NbJDqnfvSqf75DgywfrzwJFNNcmjDG1jc75LyeLAzaBwXEJ2
KKUJ2l6s6aGhy44cPugogoVuZWtfcowmjxCjJLKFXqlqDkJbbLBdBhw0Hd6vM4ohDyVR0mjCer0A
nmm1vH8RPE1624QxcpxjUc/TSsTPN0a7Mju68PxtWBVLY81z0emj+OlaLBBJyTpdcM3o7EBBh1QR
IobTPhrTyEzscuBtXJzM0ElfJJib8GYLMdNSkLDna/ExJiJXvfCYYG6jGjDvm3jwWtDyvN02r6Ep
AbDhuSepg01s6IZCvohzQ9OO0hdTjLbWtKgtpR4kxdcYa4Q3j9bLyuAY1OnYQ8ZSKKDJAjiXnTOZ
D9plfs0b6vclpDe28MfQL1MTzD9hDhBmiOM/TCqAET3GfZi3UlLTUcfT8BZjcEdaQW9yzo1HgpE3
qbwGxVW/0qsCngDayB4wK7FEthH5NhjWiFeNmPbGsN9H0iUdYMssFplS9XI2UHjQxkhIUJHBpXAi
1Ct7vZhasPbeVkfMaAR2upXC9Z7XwDYpmiPyjPD3Cy+9NheQf/D3cFE+fY4hn07CjAgwsj+7LLTr
3KPIpOSy2V6MBzs0m19LchDe0QnYOUcMX8W/eCmY6SzmiCwj/zhs1e+HRXfqzIEkvwIHfbZVDa+W
w9+kvIzoLL5HdqnezYREw+68pycVt6aZ/UPxzJHJSUM+osEEPbTFsFYL8LI2PSAWof0FZW/l5Z1D
ht7ED1U7IkNFZaTUsZ+1vMh072BxCLCs5XDrYUTJ6tjzGKKP6B4leqgjSihXtbGagKHwCkyyujKI
HX34jq8seaHVrVT0d1Ii25slKtqlWAwQvzWaQhcfkQi8azlwSh/Z8+xCsLmFonxfbGH3bu7VELPZ
a4UjItOO378HK7JNW2lQV1U/x8GaZpwTgga/lKSH45G7bocj9SLbs5UDiyXSPawbXOfXNSpnCXSH
qy73HEmZ9C5GDDFKow3jdhYBFewUxraf+qS6xiQEjO91KQtkPl8FprRYe/X512x4rCW71ZacD7gv
qj9xLaT6MqQhvdWtYOQvVbCLgT/Sq8gRepaa8+LW6erniGFGmwwoGJZzHecqB0tNSMk8MhpHfCuf
GskQZBIUpHNW4nu3Hizlcl7w4rxJD2VEnlEyeqt6i1YGoHLyGUQkeFz5PFM+HUmOSDA6xseeaLUK
IaOYKwbMU7SGKSdYYqOufkvW0eQOZfFYYpRNpKS+oMb0Bs32N3YM0/R4a3ZWSVyDo9hEHi1G3Vx9
LM3RAtB6Mumeh8zC7hcz221fm8HQjiRbbja51diLB6UEeEFk8hIPHPpsZ1ZQLgCyXUF6UrP+s7Ng
hu4/Bx6DbE9WkxR5q0fUCJ3P3moZWNDftrhE4Y6mOMzMXburhe0aJjfVQSXvjnplm7M6gF0HGX0Y
5jZ/X3bk1Hz4xM5dTzYAre0qp/ucTgceX2LKtmZpUYgOo+5GLyOtdcFejGizsFOkyTiU7ht2ka3h
5IGCva1Ux1G/rDewgnaTu28xoR23u98ZFmCbHO92Om80Yo7RMlm2yHI5wDPPrCf5s17lMVlxZ7nu
O3ziLXs8sr2xHlSNPMDhwwT87E02ulVyxV7o+6fHMRA3fToi0l21IQ/p67YPn/d/ebrFYXRIjOLI
mzYucrrOoDQb1ewDIzqoslN61rUg+ZO+RVNU42Y8HDyu4DE6RCtmWXqtcWyXC5w84kBdofcLiT3e
0AznRbH1nEYquy6i9xP9Do/Db/f+8XFUEVu+kdJFIAk9LmbrObZqJxxVyxEutrdKU6MikOkpoe8v
QmH/BaBs9xngSNYt3BhJltLP5n6egQFviemPanX/1znRGABQv3um82tz7dWWvo7ztl3Rbux6kwZ2
FRsAlESr6f5oGNbL7uDkCk/hTEbsX4LNdlhhDZGoKzVVOKuztkeklLfmO28WdjpkH1Gh4jc6Pzm/
YvwrAYNAWZ7brxTgwAGoMson2HdjcDsI6XndsQ83yzUiB+iQoA0iep6xWdbEEAnOEdliFCa5bjbv
ABnNMJ/5mMOaQTM0JTmfs+SYu+HT4B0vvJiPp6jZNqtotqjLhqq30q62HpIdpcMHorgf9WG79/eb
EueZ50t0W0qPRUvPxba4EmPPJ8N5suywY9pVotaIiMXa1XZhaI+RcUX9DvNcvYmTW0uP3P5WXjzE
YtcKkSTEiQySqouMsUUwzeAavv3Oa9vi2Qq2Z0pXhHBe0SfVKmaGNbq747vyjoIarRP+jzER2zal
tJIwFDWkL0JBK3i6Yivf1bxilVgPjLeSaPXKEuz72urmg9x5XTcA1dHrioIo870YNKUG4CGHmLzV
gGoC9BDHanCULluMyRpJlGchlirpNQk8UvGU+l/iK3SRYFOLpsvslE8RXK+pqGNpCtBCzNSeHaLt
i4G9b6tjYJtc/MXpsgVAPf9DjtHyjZppDTa800ICnSjcR+uTtpTfAqwq1E13FRL36O45pvEvl/VF
lPHumlyY6wldSjI8rO2lPTOGA5bZf3I1PA2+fwrFFx1Gw1d9cpWuM3qWa4BzPiw9Ey3jFJGqxLY2
4OhxCU5nc74IUp9jJIU1oCzziweCJdoh6fwbBjQpgCb1lGFXYFYwTm9yRH/akfkiyih7ATNJjaRB
JJ/WIGlv2xa7Nh+9o2gKgNM39sWatzn0L1r/iyTjAhZCUV9aARcIgJmKaI8bCnUHkC8OZ9Mm818y
bLR4AaLeUNLA4ynebHtjsJEvyrZ9QNcMc8dBOcJy43l0d3o1kxQxnNHlYLb9mp7k31FEPPt31lgc
vniPjg0V/UioU5muqMLckL9WbBuj5+6SrNBrcPy1a5YSPANee8+0M/11lpT9EXuzfO7JWgYpSVTT
w/rpS8Dhiqe52DBR9bB6Wr1SVYJdqyI5yw4qu0+t5ixspNNNjpXhyQajQzI98lsU36CI1xj1C57v
i97N1t9RHWxsePUkP42Um4oyz+IKW7SxZPQPhdzqMHESGDXGyzfJEr09MeC3zNjB3Of9T+CeJ6NM
8lrOg6gDh/km2f1JTeiQarN53sAcuLy22skQX1U1bLnUsOiUdfYLrFkV8zxEf2gF/DJsUrABaYIM
8H2WJh2sERXmzuKulZNWBEbmrDZixSoyS8ESsHAZ5uuk5ojjZKO6spBUuu0IW9ZYlH4gERSXRU+n
5U3oqOufzAB8GfS/vvtYmI9oT/btZu3bi927D8BTzeJc39R7G5NnbE+qFBrqXCCPHaoZOrMuH/fP
crKaNCbAiMfcC3qAjaMCuN7af+yPxbJ2aUMvSpsphPH9aWbfJziZUR8TZOzMXE3SRZugHgicorVs
5W7w6K6f7hOZkpAxDcawdF0t60IAGuezbXbApwoLTtQ8mb4YkWCh9KO6bEOJXsx6mx/D5+IN/Rl+
ZbxzlyJP2eUxIRqkjTTutZlftYDCNWBMwVt55iMahGKyoT6pu7A4B0fFidVXY2LUMxkR07qmk4IO
xCoL49oWz3pMBiqqpCgA/p+jvs1mS+Z+MwfstEDbHFRMZM9rogF4rQQv+1lOMHrB4WdKEMb0GH6u
Itq42wD0pICEzzG57FPgot4XtsknNCbC2ER/XrbdVQSR0j6v4a011mv6EljiS6WTYFkrSPq34O3T
9QQjdAouMMTNirC3Nv4AauRGt9b6dbBQZgOURIT8yvZP4RCEgXOHDJbrzjktStw7ZNRv1c4UFDbA
LohZWxPY7osTTd714JKj/SZdfFUWUVueL1RJ1JiQXRLns6Fo6f2BsfP8HyUY7kj/zNMZt/D/xymO
aDEPrceAQeJVoPW0Von9mj+qbvjQoRZnloBrM4+ehSbAo7GwgRMIo8bNI08f7OgDGGGNIkzQtXN8
gHl+9YCDiAjDhTes8nyeqUc+PlRGXhd+kklJDjprYL/kz/7x/nuYfHMjNhhpzKJZ53Ulfj5GnCQs
G9NySy7G81QuZ8wDI4TNJcsApjHHWaHb63VJAudqyObmOcU0rdGQ+bLlOIqTqY8xRXqqo0c2+FlW
eBko0nTE2bZnVmWT45E7A8XjjDHIXSC3IjbEUIgnzHvroGKs5MP9K5q0XmNmGCMsq303j5G3pl4N
RjaxkF4m4jNHMU66nmMqjBlu8/ngo4EAVHJ0Jw8Qh8RI1471a+X6Nk9V0Nfx4/nCR0PTlKZhTIgh
tshSzFkpEojVdImGNUfh0/0/1r6suVFl2foXEcE8vBajJMuyBtuyX4h2uw0CxCRAwK//Vunes01X
c1Q3en/7ZT90hFNZZK3MymElAJFzctSw7ohhk4hWaCWqKKkQQ/uZjr1jPKoE3eWozf3V8X1rxCYS
L32mheZoUI28de6gFl7bTzaJEVJ/9v+Hvvx5tJ0IZAAoiuVU1iKZjndhhOz4oTiqk6Hz9Iun2mzb
ujGRxEDQORMTK01xirhKyDbETxewGoxoIVk9iahcA19Pe3EFuZ+6y7vIHENh84qFWV7MsNJBse+E
T6P/sF8GX9rCtHmfj/qLe5bCQBQY6K107CBndV1aHkYCXsetZG81tCzet8n5AGRymgw0nU5yeqks
nOZLijw9Guy8HvOMlu37/iPu2tc2MO37IrmmwqBUqTdFX6UwFad2tFtjX+8pjrzIX2RnyTvJWUic
6MeglRLLkRk3uAhOR3kMlMfiKGhAeW6DN+9yMxiijnqVJyYwXkTSoVsIj9nq8vPx64rcZcXdksP7
bCoT3HSCVCbnHmdYvSuvmPtSFdK45Nn1SwT4DagwAlP1t0i0A2oqboZ41k1/Hyrb+132iXqSakh/
ubhYKR49euvWV84EO6fG7Zv4un3hdR7Pe52JSAZfQlCC5iLWB9PWMYDm7g2o+YU1EC/cD8m54yqD
L9kZs6LVRcPRupTetWyI4Kqvwef9WzD3NJugmKr+HhKgJVIowivuXaX4p8YXME+5EF+tZn1fzGy8
hn5tLBzDJkdNZK43AmPTHGUTncf++BjwR0PnD+v77zN3OW1EWe90/P3KdcAfTZdltN7gYA71vh7z
Ae5EEeYen0BC0YUWBKHJ3XbSXbSM1qNo6y2p11tU/h+1Q89p2/8vQPWtHHOlja7OEkmBTA3k20R0
scgZReifJlnGFfn85LIKzNqErsCMRQnnZjKHqWKRcxdSy6sRmX7km/OzhrmKBqnY5rm0I9BY80cu
qQ5/eBrdMk109CP3diNIm4SmMsYSGivEflGQKYD/WyBaEEu2vOhrLMgZSOoF28yWxb/yAROxzHWO
67GzTnIyIlLFHZMS+/XZDtpVoHCBWaP39Z6GzH1WGuzikROIcvT3gihe7mD5iLfDkMTrLxRYn9zX
t8GT7JA8L5dLdJwe6dMGIQyqX5+f4HKzH9/wltoCaDi+d96+JofAYECEhH9qFvhlayXQgGiPWKAI
ugxpwbk79O/cOwEmmmhF0KyJ9BtDtXWxlhUSLezS/lKeipXucoTN+sGJUgziXNVOr+QMSiHyPGLr
EZIJjxIOMLN56elZUkSsbPvHdpn7Eo5xZ+oDFQUWHNM/KthJEaVu+BBQZp8gsEFu2xD9ikF/jPrT
uBCLpTDe0a7wHufmp2ahdvJrWIQy4kjLRCzNPTrv40ppPcu+uf/4WY0Id2LpFmre+6gMODWC0Uiy
AnG0Sjs6sbfYLeKNmdvIip0SJwAohrYpByVYKWDG+yXdOLV94UXEs6HAt9ZsLlO8KrGUnmBb+ARX
9/2CDWHhg+Jjuh71TbrH6/PvnlETkTR4nkDWeEnMIRugeZgSr1qKCREQg/juCds6Au2t5XYTcL6s
wYBVFMYYtxEgcKX6CD6kM2ouS3F1wgYq8FV88rJJ8+mCiYIMYqkJNoWOHZWHNvlkP2yCAGSeHPTh
AL/BgE9anvpCMyAEBdQzKERRpuXmnznQazDAg1S9nLRNRNcUrzzL00TbhSMD7yuPE4MHpQaDOq0A
3ylcoM0L4lHsVOlJBB5+OvTOObZbmvnOvWN3Y5+vRofu3pB2Dlzt5MHAXBJQBxlb6VEEdfdl8bVF
KSe0dZcbmXJw3GAQRgvbiyjUOM4Uyzqc01bZ0blLjJ/YuUD+HYwbDLwkqh7hYlNZNVkd13Jui58l
SuxYYUo05+/ehN8mzyZryzxvjDylTvr94qfP0RoEjHvQN12J8MDL9syHWf+4DZPBj1Men8trAcha
A7O8jxwv3nwFjtPTPlj9ZYQ80YwBD8zkDqkAdh3axBhvRjypcYK8wTGe/ZsMZPS9JZtFRGHYSbe9
gboIGiQd5At42ye4khjcaK+yKbc17B8jVrc0I/iPHlAsWHFxnp7MnZtmMuhhpFGqJGo8oqCE3hlQ
U1ESbsQtvJ4ZHt6aDHjIeZkJiQJbXx0v647kQUnARyRz55lnuy4mAQsb4IdqkefnDmc3+HFBEIyd
XME1LDt8yBtSDk5ZE51cHhAtfa7i06PV2fdv9a2Z796RMggiGFYRJgPMBMkejIjqtrLCJuXMObmg
UVuElR2C7Ni7ojFUPrmRbQbwqBFiCfre4TMlcW2JAZlWks+pXuHWD0vPq2xrwKp4cCsLC1RIsFXx
vvLzKeXvm8huME5HaSwUEfaEBOUaC6MWYHhe715Ngt1l1uKTI40aDXvUpoo1GLpiYg/37UE7iVKq
Vta60cgQDipOsVYwKOgHp01ufybrTzxzONLm7spUGmPCI5J4RWdBGqZqSO6c7NcB0Qn3hTqXl5yK
YSLuMSs6dKWcb0GDQFLwQQbDB6/GNGsWUymMleZxfsqv2i3+QYP/CRxuIKdHNYtbIJ9twJ5KYgxw
qBIp7ULoU6M82IxY+Ya5dps2OuL98IU3i4V1o7xvNfdCmgi9/aiJZWRaHg6xRr/V0elE6PcQU55E
PJA+eUbIE8W4Os0cc1CsQBRN7h4dC+mLK7kc1TOkvXxmx39nhezEgSEhe1HTDxf68V4ZiX5GXZdW
GxIef8dsd9T0EBmHV4MFPTIv0GzwK4yQrTxMFpvYfIFex4hollOhi94WV1S8sTDQYhzekr5cfpnZ
eHD6Qxh/mMZyFzf05jlrp2kIpGNNOf77Qs4ACdjPF04AOtsEY6qmhdedpqObjrkd8VnQTkJ5QVCN
CWpY63+Yljjfkv7uP/HrWwxzNSKraQWzy4FfmO3CwD3o8p5pOYcXjXHksLdBlUapMekVxDsk2kZY
V3QC2SHBwd1XaNb5Ts7t9iEn186I0RAQKVAIftejTEt90IMHHtk86nOQFljxcryzc5xTkRS1JyJL
DXuszAwi0dgMKpv3teKdl9q6XYioxJ3gV537Os52xU4FMrdC6TrBvF6pjtmmAo1ysB18jgje96L/
PtHpOqhj1rYldDqOD2lFrG2CaIn2jTqfvC1C0rwT/ccI2TGcTNVTUexg6y9HQJajoyMA9EYBmBc4
WlFrvmPtt8n1iVaaKUa6fKro+9ER7U1sFxWpA/VgLL/2xhvdC/t/2AzL047xpoIm6+BxgtBx84J9
DjTFnDjlKn1ID+BV4bU+znJGTY2DAY6oKU55JlFrPHrdPgkdhHlY2YWa8Ovn1xeXuH8+JPn+dgyA
iJcIFWgV4igfydFBrBkY9vXABZDZmMRUZDCiW4i3RMYgh8u512vVRCoZ7GXXreZqSzuRvcznvr9n
NZpIYh4krZyqkQmlcIDaa4IBKgxPCQvwFHCgaq7YpaEDVlKx6EUysary9zsmx+e8CRsV11j1D+WH
tbu+1RXahlbRx327n6sj/iaJCRD6WheE3NQgaXXceB+H5nVnub9+Erz0QWKf2VeicSPjmbuGmTdJ
lExLp8UV5oOFYlxURWSNBx25mheBFHZ1tU2Q6bqV87wv16X/v7Ocnzzwmov3UAMDOYBsKKqIRsLf
D/Y0DGcpVQsRgOyFywNdb03eBufxB7aAcLn9bhNNDKj8Jo2B/6jM62zoW/GWoi2wkgw3/IflXchH
RBJvBx6b7LZz8O1H/Wh6GPkrbfCvBCs8te5/5rmnjy5DcRksFJKh38xgAm+nTivb/BqLqJ6t1rJb
qSiEI6oWITH4shZ0ERNHIgUTRvffJDIfuRGHU99jdcche0Jh2DDAt4p0MHqehtct4uoXfqJlJtb9
TSJzO4dOSKIxTERailwrTnigzGdIt3CXG89FEr9Jorg+Oc08O48g+U1hRR3ys5txdOTP18BuA+vw
CT8oU4JBG92iPC+lzjgMXZZkC9VhUDzBhH8XXBeygmdeBoPSSO91MOLxAXQ6LlbdGwQeMrFpdRRZ
GUwKVL75ZqIr4CN7tXw76e3rKsCyG1Bi2/FLubPPm73T8dKGcy3vv/1C5iN08flaYyUWfmG7RGEC
qyrWsLex9hsXXIE4GpvY5sNZJRrdtWl+gJGx4/W9z8Hnbz+C+T5VqqbnWMQxgc5aIxjeRU3CM0nC
Dbfoef9h5JPvwTjwJImsorZyaItXd7eX384H9/mr+uA97+cqXb9pxLju6zgitIuhUbt0nMBqQDyO
am24Xa80opAYg42ll64tTBUgovWxwnmNPSUwCOHFSAObWzWee/T89nsY3y6n8MR6Rz+z43yob+OH
7oCHBWyXDekw8khzRqvQ4iRw5t58U6ls04twCeVLJlGpq/XweNrKFWgBY+dJXfjRQ480ATZzxe5A
sDgC7XuX1WfkDKv2gwdts0Dz/dXZ7pfEiOLeMvEzBhQRkQXx6yD0emxZtbB6jQOjNGC/Y2Es4941
KjJLzyoR/hnXPUycbhcgMcEddJvHtIlSzMtBbmO1FtqbIA9p8UwhUoS0eG8LGOfAQIcN5aKcu2vs
dlj3FGQgLQUZk1h0JRQsyOCmy8Ieg4h8bLy4JBpabx6zjBQOgtTS3y97334EZ5PdnkCHRRGWPupR
sjft9PVvile/WRsDZeWlGK1Yx50Dnh5RvcKMF3br8f0WB0RuoD/xJkaSRmCZwMmH20EqyTmMiBl+
nZ0o8eLixzUk0egICcE6DWs5qO8cA5uJaX/TkoGworTUTgxx/khGibZw8tRP9YQu0bHwePeG471U
BsQwcJjlkkE/tUMXh7oRpvUf6HOuDWKfB5n0d/9hV4qii5YpyZrBNj4JrdBergZONRs8i2TXRz38
Ia4Mw/2b85vIYc7P6KUQpwc5L54TJgRZEhG9w9QuOYJmkWAiiDm9q9JfrfhS09OjDj5dtt5bDG9w
X8xcdy3Cw+9zY5AdGcNGC0OIae3G8YZHZRWC3PGB/FzAs+QkaNa3zEW25iZLZi3xWzI7apuoZtR1
LST3WIv2+iv0os+EjL2dAYC4a9hmL91EGPMQaHVwYUgWhTvZvdgn+K0QMIPlSXtuNX/mfTo90Vu0
MrnfWdnFWK8CvRSyXkloZNfct9rnJTB4p8fgt2aEmqaWkCJsEF29YRoa/S5ov7Dv28dcSus3bVi8
tmowwFJ71w3bkX+FDvi01RJTyu1CcIJP2upy2my3HKmzLnfyuRgsNuW8yq4neoadnW3Mh9aTj82j
Uz5/Cc5n7HPXV8+VIH5Tkwkhz+ZZqksDAkFKIDmXdduS/Vf7Aazirh2XZnFxohwDIZdLLppnjcrC
Uqr3iniLiGTgettz84NzBIy/qcWAiDgmGEI4Q1TpNB7dcnqqbAwWW0S3U1fYnU+r0a63X+NzsM/9
L4O2DnG8AJVwB5dv9jW5DdgyFFsWtR/6Di1s/ecLrwNt7pE/VfL27xMRJlg4zlUDEa192wCM17Yw
YrT9KwB/pv3Jo7qZD52QdzLxshYlyWSuxDnVhMsVsyoHfVmX5LoufqXr8/PPOFg2qbNvN3jzrmhB
k3OScy2xujyRy1yK3mgTqWwgN35YHesDElLKEokMe48mQs4FnEnZ/CaKuQ5i1NeniwBRKckO0iPK
/ftPzhWfReSJNswtSMOoLk0TIkpnveleDRejcvsg83n5wvkn6kQQcwfMSsy0Vh0QGdQBEpNnkn6h
KoS5PdpDKLu1SaRd7bZOenDdEjPonrC94plPnnk9zXNXQZF0EevTUEBCagZXZWKnJyMWQ00faTKq
TG2lIg4vCJrN+yiyjNeYhP+pLJX+JU2ji9iY9LZ5u7BzQzT11r79tb2iCQUjwJxvOBd0TcUxR6to
RTIMBcSlxHl/H8nGB/t0Rh6fA27H0OwTdCqLCVSEQYATv1DV8AZeHzcHD3TXfhioYDhB8pwbf81+
re+jZB+fGRK/ppb9z1Hqdn9GMISX9iHyexcUq5/bmJdLub3tWKicaMi+MzMlHPE2MHC/T0T5SMel
ILkn7Gpfmqul62O87xd5CMnjklCWIV1fbh2k8j71HWjRfkRgJ3E4X3cOBKa/h4YgE3uVzVqoJHri
4tmtLyvf38Xg7/35Zg9ohfyyG9n7qyFefSqTCWuEQUm07IIzWB2PMZLE5PVxKQfhIyd84qnGQLip
COe6yiAGt7+VsNrq1G8b+Uck2GLtW8bD/ZPk2S7L2G8oehShww43/xARugjNtRJ74fsELeB46uV2
8gsYXnF5euYiDUVGQ4ok0WSwzpxmh1ok9oaEeKwIYFYmR5DOYdqx6Elf2SjN8AxmLiadimNO9dzB
O10uEIcgqnvoEzsJ7G2IMbbF/fOcv5rfajGOMDSKortQwzR2ezQoYmL0/t+f9bRTRRj3J4fZCYRb
AhRxetmO95KvH5fqB/beB9GGO9w1G2NPxTGuMGpkPTEp1GApbuY4pRoMXmS7g/dWLZbNe8AdH59j
WsQ1+z5BBrjPydXEiAQURKE6d7D+BzuIKGWk/0R3B9i0On4lptsS3eWd7dzzaCqawfFBTiPZzGLp
8DL4cMdY3pheic4zfY6JsG3qdWFelKLEkTb7qwNyCjQYcCBk9uU8UcSgik7gsbpcy2HEmhcEMJSq
EgTnNh2m3JkPII/Abr4fe6xq/uR+u7ma//Tbsd3pSnca+sKMcIBO6wr4csja+bywfa54/JsUBjry
UdbqLoeFvDjvWUKwpzl6EsmzSNA7ETl0OxYvvKV/8U/3949NsmXC3uxLpbZwnm1NJBIuxjPt1UAF
ATXXL87Hmy0ZKNibgbqKis4alqonGWu96rWzdGgH2xGfJVqveiyebNPj0ffNdZvqU1EMmHRNI3e6
lUnUpTlitDhhaNJtN8tBcrmtZrMIPFGLQRJTzhrsz8hhG0cndetAsR3wlnEeB7NR30QIAx76tb/K
lxZCHLMi4k892J9fOQBMPcUftjARwYBEp5Zjltb4PFfYQhC5hwupbHNhvEv2stG51C/z1v4tj4WL
qhTl+mriG6GepqykoHwqz3ZZla5gOfF51Y9udyW1Z6UOiPXlEpObSuIW7dN9tW/h+R21WUjJc+zM
UJA0PawuLkbdyw6oQiem24i8hD5mHEj+sduhmOwkngZ6Kf1wOmKGbLF0q4VekHaBKJ/bkzML2JOz
YcJA/ZyXrTYk0qE0SXoNxtFGqmkgX/qZ49Z5N8VgMMeqNFwVAV8hl53YwlhpEG+D5fOyKgmXe49a
0L2jZmIVLWuN82nAUdO8yHq9SEB21hH/4eFtueSyNM718E0xgB2MOQnjGalcSFv3J4Jdl4mtHsNX
HoXcbGZC0QwFuQlwW+jsunO9jRqlTQpcGzt6VJzKDxfKLg/6nUqX7tZ41KJehvqJ8pkS/fm+8c77
w4lw5s6ekk4P1bySEMWA3ni90e0Not1dg9xW7fY2rc4Hjrr7K7fxLZYl2SgzqWqwDUs6aGWQB492
H9nqCm0VdLnIXxWAJwd8q1hOfH4fSo0SSjhgNLKsO68gWL9ldQ7y/ysu+dmsheoqkkzgx0PTDnOe
mgLyiXCoqd/wZFe38eDd/SRYJ7bcf4Eo9f7Xm3eI39LYYzzJYdmeh4uE5BItykXL/oOOqKalgz4C
jqxZBzKRxURO1tkqR02BZut1Ejn61VVlNNFW3nPzvk+xFsbneaz5vMhEIoNhSR3m2lhDO4V0Xi7b
D0vQ27q9K1so3jif4/6+hpxPpzBAltRlWIzKVTp4Vz8PVG8vcrZrcz8XA1+nczoK2RUSasEZnhrw
y6bYoLNY8aYG5zF5cnLMWyuPE1Vpc5ycgzTdyUWRGGOQ6Jbnk6PPhuwTSUyc1FzAXaBdegnJpKND
X6oHiRyq58JemA/+D9tON8E+c/eIPnl9NvO4ORHNhk2tdk3lawMlV+/rd+8wVASbFImdBTERaa/+
NuDBFu8OMEHUmJ7LUG2gLc5Vk2yxIqfnfEWn//dDQ/bJsv0oPu5b5WzhAawQ/0EUdrt8LBmxUlqQ
Kfp4oaM97eqe1lZtC759KZeZzU+izcaj3xLZJFqrXHMj1mCmLyDviW30y49+tbh8mLxn5e1K/eHP
J5IYTEnq/5ynVoCVAhUOj6LzS/eGrqR17lk7bfdrd8BWyfa5D4QYDULFQr+iesV731IzvfdDGKiR
i0ate4naElgd6k3m5aD0O94+KqU4RS8H56ty7g3LX2JEdV1kCW5og859771ZWOSCtP3qikjDW+of
qNJxJM6+1CZnzYBPVrcnS+lbelOlDRZcD7cWNPUw1txXtsI7TgZ/5EtsieYIWZVbe3QpxDF/GGwT
3MwFwRCd5IPE7a133VdfBaUQZmuwEBelH8txVryD5hkzA1CarOp6HOH65A/Uxj4utr6pcWG5L0aq
0z0TYuBIQgv8ObSgM4jsVR+0iWBdS15L+Mjctf+tvTJA1ISSlCsGhCWZvV55H5Vml6VvPjroSk3s
098wbOsTEFKZsKag3I26CHNdITrEu+5ELBseMgiRbbpvp7dw9845shsyy8ugasWJepQXp1jGm0uC
qa/FYpM7lS1opPFtBImrzI7XYNzM1p/crtjbho17v4BBpegcJrreDnDT3nqFrS/rzcX+OJF0uaCk
8G4WLEsie2/Pe+7UGScE0RgYis69mXcRYGjtoB/38spzYHM0K9PvePv3SSgcdhJWt0odvmPnrdGr
pnilVzxfLddy0TmFV9v++pHbducv0QLq/+zsp93T2W/Rkfocg8MHDB3+6Iubx87FxvPMDl76q99z
HtSzmVWsYdXpawiN/GxX0OnSGEI1iBSphAADzNmidy6po508ISPXhfWyrLFufbXl5Zdma9JTwcwV
7rvYaqToJljcaiQ/EQx8HNfiAPKFZfsmVmuM1vNSkrNR4VQqc5erKLOkCmRDB2QGj5v1eZdGtnRG
N53KuVqzYeFUEnOLz6dGB1MSlWShz12188bucJZLxZXWxtv9ezzbBzoRxnYKgVe7VYsUwlYYQYoq
L32PN/rhHDvtwi4M+JzKDbAS7Ow8uo+KvczdABdbNwjP79ECLXubp7+Duc1ijId3UVOl69gRdtlA
7HJJWYzu6zv7kp7KYe6uFOVVf7ZG6Isxss2msnfYeuUbtkuW8G10PjuxeaXjObyYymSeLG1TdHE1
Qre+tT+8BMUANGwvuRzpPBO9NeJMYKNS0/810VWzV/w3UA5uTZvnqWkAcu9DMUHDORkjHR8LB2ht
1usUs9jo2I0t2tb6ya9Z0s9xTxoTFyRdUelxCGlhTTBdv1x2/o9yueVY31yYN/1ADKJYp67Jm0iS
DnK6EHaoR4+xHQq8ie+5ASF9KoaBEK215C43qe29oDVpg9akxY48vbqgVgKj0IpPSM37VgySjL2U
XJKMfqtV4zgaiB+e0V+9qbxYQ/8tN6syF7tO9GObMPprlmECHOLAomR5+QojEtg3g+aI+3d4toSo
65h60jVVljQ29pBGLZYUMBgeijEwaBo3scePa+w8L1HCTxB7cDM4c5HyVCKDTo1UCHEhKYgaVzWa
iAU0LOAxiUzYditwCtqztjhRjgWoMh7b9kqNBKeo5raGQ3y5f4CzeDQRweBRrXcCtg3I0kFoSbXW
XsG409onLLz9K082EUTtcwJI+ShmyamDLlfbyZ4Ku64JnaNdcVnZ5qL66fdhQKmJYqMLT/g+qy4k
iLKXj9junG62e8oexK0Ezdr5RC0GlARFaJJeUOGrjJ/lm4SFEGfJSUUHyRMubyLP8hhoiuOuUY2b
Oay8981IKpgDKsigN+C+HnhqMfBUiYUFggMcYumApWh0Ct94FpaACV6BkN6WP0B9cn4MLIkgiC7M
RqMZw3V3kHZL2Xmmnve+lc9mniZGoTM9YUV5qs1TDjFIKKv+cf3+vllgDAOrTh9cVCSf7VXs3xfJ
QyaWAbJLhbwTU1gGGCDXNZ6yshvXXvK4KhOCx9C/PEidwYqrWbeKJULcy1Eg6gLdBejYuK8SB47Y
NpfYqPpGSiAiTsj1l4iuCbuTeRYx7xlRMTboTLWhWQwiRQMWyaRg/MWLKvThGxfe4tfTyfbhGEG+
ZGMhKT9/NhtxTmQy4IQNjmoTRzpuMca/3ruH4VEAxT8v9rsFXX8a+7dqDDT1TS/H1YWKwegmaP1G
UnpYro1cVWjzmmsoGNyTxQDTub525hmvhwPI+KVdSJbcR9+8OXxrw8DRSa41Ka4MCn14mxzXlbvu
Y5D6Kmv1eN6U/lfAj2Lmwf1bJoNL2HFUg78eWiHdeKxl0sTEcLMfUUn2yFdzfOM83n4LY7BplBs9
bjIoSIWtT4v7t2k2Taz/Y3S6yGBS316TJFWgi+F9oJV6t1vkAc2Go++vwH43myNuNnyeiGPiltJU
r+GoQZyAaOJ4dct9tqpfwOXicATNQbqB4iglR1bRvMnYhXiN82xANwbGeJ3w7ensILGPuUWOlDkP
NZXCWEKPKYL03EIKSgkWkvoqcRUX+/A42sz2FE7lMEaQZNVVGSrIue2RAdnIYYF+WMz7/viBReq8
ZtDZ5tSJONZRpfIIGv4zxIF7x/EixBMHb2OQFj0s62GLZgWDbOgoA9ld3oanUiNP7vBQY2kqRoKD
fL2tXsF3dP+oZ5Ms09/EWM4ZK6Gr+EI/aO+sD5iwJ1gHi6YhIDLISD+tB869U+ewayqQ8WVab6QK
auwyog/ZTweiviM6OH+hwnB11xtyWu8KO/MOi90OdPq9nbwgx6fZYGg/W2hkdSXXzcmjjdoZj6Vv
DhGmP4zxTaXWC3Jd4Ie91GgDsfh8g3P4NhXAOKIhb4u2L+lRe+uLnYlE8f+H2VB643mj2fTHVBbj
jTqrzy8ivadoWsXgIDIgubM4gPBWfPuZvOqkWJQYt3+pQl4LGu8U6b9PngJqc+21jtq4gp3z1mPm
3rfX2WzkVDEGgORzFl+G21daHd9jLH/eGe4DrDXBpnluWmLOCxqGZckWttGBPYA5RaORxKFHyHKo
2yX4nGSvoR/NTB9MgxPEzkaUU1HMuXVi2ww5RmIOK3AMvr/nDlhtXMs/O5hc5sArTyvmCEE9HPda
DlGi/7L+UA+px8HV2VadqTIMfo9ag7HzDBLKfedisoASSnDsYN5FfH8aBrotStBvRBDhUNzAwtYF
GnT4PbCzj4uJKmxXWz+WqpJYHbVnzxvWh3jzi/ykHU6YWf0agiDxeZ/nv0DyP6qxHWwjOIB6cWzh
lY5rD5yLwEL/CSEyHdzjZTxm6ztT/Rg4DmWz03sJ+oEY41BsIxItsxjN9QS1QB/rFu19WZEvEJ8L
T7Sb+ZNji7O5zKl8BnXplE8yypA/+OhYACiiWRWvAJ7vpebARsxTMQz2GlpjhGMDc8Hcy4VE64bW
Szg2+V9A9/vDMXCRmWCbSCrogjQItmaTtAWpZELOnlP6jb38whjd9uuE7QCcuzAX/U2VY7CjRKxe
twXkwlyA8eZbF4gflw+eGN4ZMrgx9P+B3pVjbo8WWbc/mkBt0JWW4KuBedin3TMc3eZeb1PdGCg5
S32cySfohqUHayz7K0j8g6cY7/wYLNH1MC1L6iwLkj2pqIDcBtd41jEf+PxjHSxds1bXaWsqMEHY
ueYtPtIlpgbGB4R7lo3rHe8el3a7UlfyCjMSnFPkaMjSN+u5JgDxASkrT1pFS8uuvJO3AtUiR868
9//WkUETlIrlVhpxkitUMvuGXAXaROEglwUKzY9zg2o4fx/j7CTGxEZYIufR6kXRaqEdZU1D79GN
qBC7zzCO8fPJf3hzY/c2jHHhPlQ4V4IdYxVLbUBpmp5rPzreAq2FYN3YC0+0vx+M1dxqPO87MgiT
XsfBKBScL1ozsD9WCbCH/WKjy/+N7mqIPHR2YQf1/Y/K80cs1XMmGyWyG1ASs8GggYSvPfzyQZnz
4GIkn3eks9JMSTQ1RZXwotVVJoC0krMQplTF9eghRYRuA1I5r5q/hIZouyUc7eaOdCrvjyNtTDWj
DyAw4S2RPLyQA1rDnUEhmv0oeksbg4oWGmF4OZy5KAzTz4asKTS41KTf9ZSzMu4G7HSG0Xrtu4EG
9ZJ37eescyqCuY1aUp0k5SLBOh1n83H19hxwng2OpgJY5z1akaxlEICcF31koC0D72fMP7mYOcE+
I468OQSdimNMQyi6qhFOODKzJl2EXvNfHAGzPa5TCYwxtFrcY/wDElA1RuXug5xpBAQSwftGx5XD
eGzQkXVh20EOXvZHMGfG9sE3tgh9wF/AEUV/Mhv5TFVivHZ8GjKkuW4qOQDGzJN8sObhKvEyarNP
s6kkxlW3dRVjr+xIwQndgtIFFO1qQ5E/Jksw+zp8tvu54GAqkXHcptEVNZIq+FwVUQ8I6PgejXNN
2ZxN0ZRxql0hoqUNeogdEY0jY/2KHont18v9b8Wxb7aqkJeVkhinHgc4uPHJMyX+Quh5tPsHddhK
QiGcL8U5xDfSGlesX9LEN3oSC3Z9sisJbJJG5shO2R/uK8YBIra4UNSDlV/pIYKtIwEt1TKwedsc
ZnN5E1tg/UaWYxoZ94pmPI5H3VZBUwkoenBPh0dsZeZa+2wpYyqPgQq1TVOzo2DkHKWj+FWQerFB
p+rZV6/2iPGiYFlI5LmKyXb/yb1qvM/I4Id2GdXxOlDhzhW7myhjIw835kK5qX4sbvTVkMkiLAWj
E5fdxaZr1c5PjwFWyaLLmWP5PEDUGezohnCQs5hayHHdg5rRO5jOzie9//zJCWdmkxNTxRjQuJQ5
ttYquGVgd1eCy0/t7fO+tc/GoxMJbM5g7LAyAbulocwaflcJTgTDwfsdnTxB2wI69/z9FctWV7zK
Lgfq2cRBrvXjKCU4xJO/5TZD8uCdnZmVlC6txBZ//cXRfq7iBfLVqEZ2B1Wzswx0d0jzcKtq/yUa
/Aev2HG2OAtNTYhuPgV5Maw0ARHsR+S+gbPlh2tfFjzPzIFgdoBWAfV4byQ0oqmfTk97Hp80D6XY
IbZUMuoMjTrUzgvEF6l7Di5kTU4RUSKiduCLb1MEAbzbzD1HBjDKNO0VUEJQk8SW6zGIHbq4+weW
DQdbdO78y+vMLnwSu/6sjyVuAOKbtSc5hwr7hjVsCl8Aqj55UMXx0eyOp1C7alUi3+6b5q3f489o
mz6lh2IBrPr/cBEYACl1OTpXPRXnIEg8rl9E/2h5iWRHBQl3KIidsHXyPqTwLh+bPDDqcARF7A2N
kXnxNjtfPfjucnkb0OMyvXHcC5suqMyTMuQGNLyiqea4XocoMxduYCXulrf/ghMamMwbpTo3zagq
t28XPhUPSA/w6jqzlfkJHLPpgc4s0HJAn0Fgi8djGYzqb6ht7VEu4PmW2WzqVBTzQknPVTmoOa4Z
erpATIa3OdK3EZagPpkPhDy8YU8KtvVgVw9dDMSjEuKBC7v8Cd3EcSRLUBSEEF7m1IHv2y46pPCC
oZ0VnEfMjTn5zsuCzQt0WtJp6QBxrY1ENVLj2BDdE4xYPvnk9SH/gbhrP7zus21Jmfm5E2ezJA7T
w2YilOxs6L1hQH5KcnTgqE54Il94BHD05AUMJhObgHXmJAgKxU7U1s9ujF57Xnqaa6MMpgy6YGDL
ErVRPDHGQPGf0TnicJ04LzRh9zlJSHWepApyau+I5hG8Ow8ZKtGhs1s0RHUIiqu2awepYPOSETxz
sZiERwfO0TFVIPpI+3C8jwWWoMEr9AHdLOv329DzddJjZ8qD/YjBB3JZCQ+f2ZXwMj4M4sAgZGyY
MixNUwxVEW/7vqYVyvgCStCibh6yzNOq4H1IwYB1Ueyr6p54jRlMEH2TZWGPlahYsmhoGvNI0Iqx
6YewaR9SEZlQybKt3LLPnhoN9n0HQYFlchepIDSZGKKFtJkmaey0bNhfwH8jye1D03YvkTmcPcsS
FI4Qa+bodNGklPg4ORWUH7/nrFp5KIuovYwPtVYIna0rQxbZWd6pH1mYlY2jJUKuPPbYgZOtkiRp
d5YSm5afdnpmrIuwUDVi1sr/I+1Km+NEmvQvIqKAOr9C060DSZZsyx5/IXwCxX0fv34ftLE7appt
wu96YubDTEwnWZWV55OZcnawWDnqDg0d+S+7LVnpBUzE3yTTQNQBWIwNKaNqZ2dE08KjPQwopFSG
Wb1kdY7tKW1ZqNdijOw/xVRUPzHwYH5KtUw+5YlVP6ftZHhpGGSYDyBsFCCtscdKP7tIi0M5d8OL
nrrsaQC+HdlooYzO6+2h+mnlRfIjm4L4kw6iNHdYXhbPQTLT1EWjNX+wMbAWc7L7OrLdqo6jr1Fi
kcoJ+oEAmhwN09Gam16dgHtL2THriyT+hNV1WFlnp2p6qDEpmh6j2DLuRmQEf3AM3W+dqGht8mBW
cfrcZ8acP+axYWbuTKaw9aIqoIAKZYPxKSRx8nVGtuPbIBpxi1mi01copCR1iO7ywrXzWn7PdZpW
XpMVvXkwgiKNvbTvuo9hZfXkOEpbm4eMmZVGB2leIBEUtQ22z3cW/9zM6ET0mlwXgWOaSn2P4oIl
N904aezZ62bjuUddCxnKuGqLg2ois/WSCmMxnblnwz9xHhbzbYez4w7rB7u9ncYwM3eEbw0cWURc
oAkJaHAuseHjrZL47t1i83XUWJib4nN0242uOfVF49CCD9GRzGpIMUpYkJeuLpBhyFIVf2yLVsQ4
EDunTt8VuAqzUn3j2pOZfQ/KdFSOSLTlW9holrnMzGuNU2GUH6ySy95LkaRGDwePM+GYiWgfZCJI
5sSIu7H62hZ95VJikQeJlTReXc7Vzy6Y6+qgUAH5bZRhnhzyXsK1l4NQaOpJrOh+KFXwUcRZZtyY
XZp1R9H09XhqVd1NBztNx9zBKgrxMjYDIQdjYmHq9eM8FVjQ1YRz6XSVLbBYqq7ltNMPv6GrhOQW
w7IEE4pknaTRU19GOZ8Gf+Cl2w4nbkfHvvptpPleBL6khVfKColtirmfSkKRyJXhlgDPYsNHOPpS
h+bLbPDRUarhx0mXxMvhQzlxN7baqXIJTJQBTdEFwjgWAjVVwlToDbTSrfPXGnSZEYEhEYJh3yRf
WeDRHhPe0mz0gQibXFsYmM/E+Z/rRFbhJWTYpmhlgPGxBKwCWynQseuaoovp7HPBjrIv3Ei0d13D
kT6ffqsg2nkzW+QYIRLGgSthra39PPOeFnNI/IJL9tQFVB9FCeHN6qn/UGSzcO14JN51Hi/lCCaI
UItJTjHnY20kUtmIoRmN2Y9LrTzWdQhx66K7Yw0tDgVj5s7FrbIeb2fKCK6MclOgMX+Rtnd6oW+w
k5lYEfEjHQs3DGn5oHqjPzBsN7m7ztoq0PxvUqYkBCpawqKv3Hsx2LaqLU18gmXGt4zn361WouUy
xihCGszzY87N1k1NozpeJ7zuFXyjjO27QF4qhjURb/H9OyaJkcchNpnMPqbeu6qyPCL7m6FTzxhV
405UH6zxU98m7mzfxkUzOjHm8DtloHdC7bfLO3+6NjMJHBlKOFWYOnx+2IrYjUITlelTZhMX2yxs
yxED7x095pUXmabwurLmLlTl6E5zXLpK980xi7sE/8sYOtnQ/65iQd3ObPP7rCPGAyHz/LkdmuGI
JU71AfNE09u8HtVNXkXlxxwATWfKp+CYZ7p6lGHRfrx+uJe+E3iCccHlwalR69wjKWOrbKyO+PY4
PZZW9aUt7b1mzw0hxfAipnBsmGos10McyimuO3g0oz+HbftgWWNwgDzHP4TV7Q2buiRFCUhRE/VT
hHxvqYR3opJhuF2BGRWWXyQVdRRrp5smmzOXooi78x62SHHIAVNoOIfFWEVGJOeFHuE9+Ip5fHCb
4DRkO6/70uXEkcHeY3sPzCrW+JwLnKAqwrEq269JXN1bbTN5pGf8Jc/s5h4eAXd4x1uXjTx01Tz1
0Q79NUAJL2/5AMbgvaNhQfKVsapVWjM7sG3fHI8MG9OdQOnDkPwwKD2oyWtkeaJz45RkOPZh4ebT
7XXp3P4AxaS0qQK7YmUzZCZtlfHlBGh26MbQSzoM+CfVnaDzq0k+V2Z1mwvb14Z8IkPj9HHjXf+E
jWuG60XxPgQV2KC5UntVB/pTb0LtFVn/uTZpcadFKqkbBYFZ7xz4xoVb8A5MkMFzwZjn8wsfbKFb
TVviZ8QGEFeLGUtKe0qPImmG18GIA6+x+uSYC5259qyKHWYvzRe1pA2Eu7IsCN264Cej0QggTcTv
G1PdsynuPUh5A5+Wp9/y3Ch2tM+lTQE9JkyMl6Ww1GRlvgLTIHOlGPHjXPMbYeb5HQCA6VGGVv8h
TYLs0QgG+iQLUe0o83ViYxFtezlniyoLM7XX3oiF5PoA+B/xUwt9sIV6nvT0WhiYcdYN6EdUz1ER
fWo0c2da7dzyBtcgLSXCycWgrS1pHNJolAa4rki+OAVu0P9TaB+7K51SlG7cnK6L8P/B678EFxl/
pxXtOLAs2oGgqgbHqP5JZHJs7OxJluio0s1dHMV3eVXlziDMHdobz8cWJsf9whdDQGCdk56T1I64
UVk+x4qEA2a3mm6S9ZjMifTZDqlLU0apoBxLAgEoMZF1OCc1xXHU2VVu+Ue0H7nXj3BdQ1jE5f2P
r21YXHaYrIiioD8WBYJwJx+7O5nzhzlIf5G4eQSA+WAk1W1ZxS/DHHnWj2Hov2jVeCExvCDBAlcy
O7P+Y1WTFw78w/Xv23i4FK47vLLF6YQJPOddTlyUemwtn9mR2/PCjatvOkcGG92o1yktKv/cCcJB
vKO0kqVuxkySfAAlEXmlcdDCMT5E6f3n61T2+FnpfVLEnFRssPwk6Q+kf2h5ewzYbanE4T8gpEwG
DW/CvVw7DLysVDMGteXnjXoc6m+6LY9yYA4zdzKpWxzBgKKTW9hAPa1HKzI9jqbE5nc/1ekh59+L
kt/Y9uAZidiR1a13gNASsRxGlhB7nQ5TgRA9o6HtM93mN6HIPsOP6G+un9uGZWYW1kkj5MBT49Yb
POqdTjETg5thmpi+3QShO8huuMWutXB2am51ThGz2eN8bG5qKcrbqew6b4Ib+jBI1X5WVPQ7x3vJ
NIMXBk1uMwm7ufZj28igfVQnxG8aa3awAbg5WVWf7EjLpTZj8AMsiuiOWBJNeefPLEkErCcu0s96
fTvz4KFtu9uQ73iWl/YBDixUpY0dtchKrPvM2ikzkiUh7idW47VZcaxKhizefD+R8XtQWc/2uKM6
L4WTYZ8Ezo1IAdd73euRUTWonpqIbDBC9tksm/6Q5AG/k7ybfWPg41+LKKIouG5MYs0EuFypagMJ
H1nMNdy61srvo4I3fs+jYk9XXQoFJ5QiFoeDASd6HbDpWhQ0JiP1i4yyQ0uT5jQU4d+/N4Esl8TS
MAiFglycC0Vq1EkfNaAS0YwdkhEZnaLL5M6RXYoeqGD7LTLcCpmF9TymWWR5MLY29eUYVD5CR/MH
3r56rprG9q6/7UsVDzEGNaT4OIMTaJ8z1GTmHOtUM98oW31iZQaLRXJyk6WWfZp0P71GRrdnvbf4
sxHlw84iyy7fikTv9MkYiCDLi5b5cU377BB1Wk8OQYaZOrQpQrZjxi5FQ0ikTRR0PpQkgptzHot8
wkryoWL+nGGUguzn7tg17d60kC2mkN5UCEWRL7DXMaIqk36ugIL1BeZOFPOTSsIbU1s7WmnrvhC9
SxsD1wXWwqyKSxktW2a1GfdjGTdu39P0lqf2cCODIsLuTxQDKtmHO0KywZrCucF3R0WJWWol9QXl
Y686yvyEl/1BRtF4jwixdCZTtTukNvxXAVoK660thCeYvnJ+WfbEkpoGivmVFOmpyCbjPs0TfsPN
uvM7UYe3eRp1N5PBbZcOlr7Pxsncw59vWDyBtBdQnBSJTBOSev4V8diHQK7m3FckR1Qw3rU09Gj+
D099nptOYbZOyFG5cOzso9gNGrbOG/ZcLmlqG3mH5b+/ex9lrUgYzIT5USJiRzfReKDRFDnwvcud
894khVgbtUKs3EaMck4qHA1hdJ3kvuSRJPfMbsbhg57i1HKU0Y/2zjCYy6co4bASkypucSre0n/v
OMvSNKpoY3PfKILgU52K5nc5BmTHxF0ytVCBd8BQK1zG6pwz1czcgHYl3LdqWX+3emUfUxvlLidO
mm7nQW5yBD8Pe5QUVOga3l4Ig6WpkQpftdGAcTB2MxTHoQDef8cobBLigqOYayLKWoN/zEqyvOlx
UzDW+WsaiOyGGKR8uG4P1tgKBD+LdUNdQCIrgSe4UjCNRsGn4HHgM+wv/qpKdCNL3RhP9VD3d93A
yH04zuZdPhqTpzGf8Zhokp2aLOteKjO9pRqjIUkSpJ7QVXCSRk+/kTZpv+hyKp9ENPBDX7fJL4HS
4o6a37h1W1IqKa6CEFMtqvOdbImhRugfN4EvsjBwixDpVJ6xjyyddq58Q0fhcUK6YLvg37P1FNVO
jKjAMivwW5gv0zFJFH3lsNWph7xJ/LMqePWJRl3VH2zeR/lRYj7Ma59g0sQOy+tu2uW24KDCHYZE
oCS+LuYUKRouiI6kH0iNRlpNRgx5xjjBgwyTY6VFcIPRi8EhyeDW1YNRe+0UPMaZqp+GaEge0kS+
0lrb9ykU/06YunEdcF/gjy0ja+A+rzwLYna9artQ+rLj0yceoixZZGH5PCPZsvM0Lo0iojkJCw/J
RTp+jdhsuyXLlZfJw6Ayl2c/7TZ06i5xsMDWCcq/Vi4KvZomXiBCcAv/PBezyQ6bjhUieyjkI1dY
OTE7XOxs3r08u6XkgOwgsujQU+tkMFhBdS2xkoc5R2U2G81f1Oxnl4fIWV1/7xfRgI1UDTIoCkwh
oloXsexE5QBTFelDAGP6lCbxknqNhJsGTN/h6fTH6/QW832WUliAKEwu4Teqg9Bl56cXEZEVHarr
D3lG6McJaZZDTzuBAXXD7zloGdAp7XwwI1u9WGTMd6hfRFugDscdiW7oB1QnVoahq4LWrtu+eOiT
kD7ofJ690hrHUxO1vxMjip+KiNRupBLz43W2LyR0IQxH14Y3AVuxrt3ZXWaHc6aKh7Hq1ezYdlhS
gBeC0HQmC/WiYza39W9djtPfvkIQhoJCphmxHuo+q1cYG7rBipeofOjmHDgTeJQexCl2ZDq0Ow/j
Ui0utBgxmSWhgQE7Or9bzXJtpXZWPrBqCA55XSq/HeGmYQeC+WGOSPRH9preBe2oscI0jK0PJsY3
3Fw/6fV6FvgU+AqBOimKiFA7b2N235mBQYYRoAxl+TCbNf9IDcBWCBsX9IKwcQDd/KCHKT8SUnQf
M4Zp7k6cJtMzZi2kzqwSftcaTBzbQP2wwjk/zmo6jrw2XPTqld+vf+vFM3/7VFQcUHhBom2tvcu4
ZwpDvcqHJNDUSy35mMPLPpW5tH9cp3ThPIAS9DCqmcQmqLmvypko+yQmN1jxMCszPlS8Tx0kGLId
PXypTJbXhVGuVKLTD7W5cwGIZRNUMa9sVEADrDet+txC9rfm2XPbED24PG/ZeHuds8szxIBo24Kr
stQ2Aas7p4lYfErxqrlf0TmcP+ZVgvlNOfBF1VM5YuWk97fkKMrCBJKF9ywVWbHIMKV+brtU+snQ
AWglULWVD9gzTpgTkyhs/hqtscDP8KLwCwpWbJ3rKmndVMYkhR9aiR07AZEaSym4isIdz/zyHClY
Ag0T9hPu3+rxQmTmOslj6Y+A+LlMCiyWBFQs+TgEEYt3BOVSHM+JrawAMngRw8Rp7GoGvsdBRIWF
aKOWf63tEbotqwxharDedO2ay6aI5qw3hB9jVsHJnuseypaZvRPTZfjbIOAssJaio8nmyQ7I6FLh
ww1FxguFGDgLcKlXYhnoqR5YpPxZjoeyD+7jMQY6oPk09+apMj5dl8qN88Q4Yc6FZVJJLnKVYTsV
g4aH6HdVOglnYiQ13FbyRO24CxdSQukS4yhQIWJJGZ2zRSWWfPayLHzCk5tYwF6jD97wlLVXN9sj
tLLUvJI21rAUhZ/y/mDlf4rhWZTxjq24ODZwgwiRMBMLCjA1bBXrBMHURHEwFoANtfqoi+JTTrps
J8O7SeQNboXEuUKEcn5kdWSkRiBF4Xd9DCAjC7v4kYR5nv/tm1qYedtRh3QFEnqrq2EqRcpIycIf
wzi4HTIVu6grNztU1nINqw6ZhhsDUBdBIXelbqM2w4xGhEb3fHJLM3E7DGkPtFeL6TSGf6naQQsw
PezNtpCIwcNcndzAJ8FKFrD7lHyQ7ehWB9G2h+sv58JdeCPCl4KfQgIEMJLz65nSaclUKH5PNDeA
YY3060xF/tojJLqrJhV+bRGr3s3A6J1Ce45daTf0C+l4+MzHOj11hsydmobNXV6mNXb/0p9FoezG
4ZqGfMdhWPuvy8cyoEC4BDYU5me5nXe+DeK7QMs55/fhqyi9IzuZXv/Q/3P9SNbYeQBAUJtCpoEK
VAeWjVIrKvY81TJL5T0c2cztM4VOyKoyj4BkYzJskI+HfKorrx0redAyTh5504wno+V5iJRgF9wV
lqw8bF6NHgVWvD4IIy4+taRoX1Q/9jegTG7nOQr0oW5CcmhbU2F56NSxxqMC+G4nMoHo3dFca98E
TKkl0y0FMJ/Im64UCsDV2TzOXN5TjGIvypNpNbdG9y1BfuP68e0RWt8RmYDraIS87+d7QBtce7Cd
LH5K+tf/gA7MKDKEyGqjqHl+S7OVt21MQUewCTvsuafy+FtJK2+cxfE6qY1Hj/DwX1Ir1YLRHwXJ
IinvW9V9CDL+KqpjOz20DFOMrGFHX+4RW12UIRJMOCnAF2bmGeHhwahfbtq93oitS1IwiCZAfpDy
dTxmpV1s90B936f9jL0edpbfNkUtb+TUPVIxmTt3tdzF+6h3ET7APzB+AFcF72rlXJHejrAJDuSG
Wo1OwvPuUFvx3njq9VwmRBCmvQDHTWEtgr7GLyXIeWmFMYf+YMVl5cYsDEqvj9r+SxP2ApujxWB9
b4Zm0aVTGo3u2Exd55LRaic3KVT3qZMkjw51OIShg7y6HWK6XZFQG12b0/yj51n6zDGo3PbyhFoB
3KfQNn+SsraB0J+6epAHFH0QzsZWWO1VxS6UHzdREltmcSI3CXTh6mFlNh1npplxDwh/9bkXDr8h
pmvoU9DsPOGLSBYHCQ/XQqH0zXFcdyGWDde5lF3oYwBHe6weKyf/MdWHO0yE3bM/F6IBMC8KlxZS
ZQi+L+DY5tTFgTDH0FcamJxePgPRf0NrhmViueG05re+Cg+FrVEZy77M+Fcaz512vTcZe9jNi5d3
/iliFSRmSNeYRTyEfmvcZUTDtatOqXUSg3SEkZ/+Uqe8ERMwZwCJY/DgitjQFhOL2in04/RLbBte
P/3po09pkd7349frpNa+JG4TO11QuBK4zaWp51xTGi0GcTaAh/umrg5WcDeiz2GKnq4TudAoHO4D
ypmY2QjfGC7lORHFMJeMFCL260w+dMFrYCanIcpwVTuRxQU8CeyAEnhRsL/wA1YKslcqCKJsBIjM
NO6ZwGI2G3FGW9nFx6Gyp1MyFqOXmiw88tBMPoyRbI5TJBNniGR/Qj+O9UwGwNYLE651Bc/lQwC3
/qnL7ZeiV+IFAGXsOrt+Ous5wYtqUqj+o5y9ONpwhM+PhwboHYmHWPsRWm/orRn6I7tFvTf7oO5M
LNn53vwKgsMxeM5/45uvE19++0z7vtFGBA39i8tZZ1N5HkSNicKE32XIublN4c/PmFmh9GkcnGoH
nHJROvxvTv+HGvZvnXM6xYCwY76J9iv9Kwqr27icDtZMT4LJo1DoRJru+0Qe8i/QpamYd3jdJI/i
MDoBUA1EpXhFvkL7Tz0Rpn0z6x1aFQClBShfst5Bq5JTkRFmgX1g7J+w/tI19BBpIPSun/eGHlHv
P2H1FAozSVjCOM57+h7qV4EdhYFx6Fvi2ntIqw2bgJBqAU6jzreE+eeHHY2CloiztR9MN0P1Zwxm
J+y/ZehytMLPLNlrsb585Bby5YuupoiCyVvr1jv/e8jtNq2tLvLN2O8ldzGP/5ADE86yH9ePcMMC
gZKF8AfQLkD112GJDOLQ0vCg/f7IHMutHlIstY64Ux6aHYG91I7ImgG2gFw8QCCon5wf4WCURBbU
xirXwVo6LpzM+JztEVn3MOP9g8qyWQuXhCTduiSrzWZGBTGM/cEb/eCOuy+ceuHBwOJDvWNZti7p
PalFPN9dkk7ztutTkKqK34bhhs+5um/rnUjsolFlYQiAYgmlBp/LXtecuJ6auMib2LdO1Yv9lXjo
xnNqcXyufqQjcJL55+sSsXVN7+mtrimpJmbpDvQKDJxKy0MaofQ07aU3L1XlOVer95SwqdFGAyrx
7MXeERgn06uf1W+6k21c94G/ycMSZkIjCyRw1w64IUJbBJzF6EX5IuzsAwmLUyGiF1knx3JWbpw3
bk2/qrAcHdnWT/Nk/KnQh2p0N9fPdUNhIoJCYIjQGrAEsH8uLhXc6FJkmfbFk/nEX+UvfvhZHMhN
7Yb46zqxLdF8T2u55HeiOY9TqRa4ld/kd6WFhibxo646Zxj3VrpsSQveMzwEBBwIdhe9+Y5QGldR
lcpB+xxLpvIhdjqGjfB6x+e5KD8vjwCtEkj4C/xB5HFOZoEDhHkzax8F52f9gd8BE5q9ZC/9J9Ov
3OBQJLkzYenZ358iwJIC7QRI+yPleU41olheNFOq/ZB0jgFfBe3ODnI0Pd1xtTa11oL3s9HKiCUe
aydVII43Iaax/5Ud+eTM98MHdEtirTYCoB2ttSmH72mtrGY569FMDdAa3GVN3rfG+QIvwVmWhg47
Bno5oHOHCEWad2xZ5wfY1MRqkR2O/cZj3n/04wBOoaIMBA6s1/mPE7O3ojBAj0Oj2w+FmWGaMhyz
w9+LADC5/0tkxQGiQ5PPYw13koUOL9un0i6cRD2HtdyRgc2zQhZfKIRpl2M6LVqNSiWd9rXItFMb
+okYw16VZ9PcA3wFp2KZkQnU8fmhjVVR1nWK9zpZ/XiqIxNmUs3sUAMgjPKE/DlhMAdqpiz12nxU
XjAovSMUl14b2oAA8cOoCDxlxDDnn4BwfsR6MgI9GDNsLFTyvkYbuhcR+8/UlOwwYnrNjsxvaSms
yEHFGDV5eB4rdRjM2H4cJMtD1uqEZM18g+A3cTV2bO0wt6F44d0A5gA8H3qx12VwXpKuGvIw8U32
p8D5wSWwk9pdGmmvC+YGS2eEVhcZRl1XUm1on1mpB4z6XTAwHwMxvOtkNuz0Emui/cVc8jxrFRii
S7/P4iTx40FVXhnk4eBMs/rBdda4KEZGjpaB6bS5HEJ0+Q+7EKhtPv/9gNXVzUZcI7gpEr8xyVfL
IKeOsKd0Mm4CwgdnlPRRc/tLFVY3U9eEDkqcwE/qKnUz3UWHMc2IEwOZvKMWtr5qGam7hAMAIKwL
0HkBLB6mOyR+VDNHjNpL5xdRsp0M5ZYwodyGqjPSekgSrWLZSttRBwzbwnvzUFXfI/vJtOIbhUTN
9VveYsdGigQXDWwmen3On2SMPFRMVAp27NozMWMU/kJT/XVJh6M97h2VtcLubDEETZb4nceBgYjy
z2bzu0CP9efr3Cyiv7I6qFCxBVaL5g304Z1zM9i90kM9p75hqdyt+7JASDp414lsHdl7IitmJtaW
NCxI6kepa3sWpvz8/e8LpOuQCkMPONyfcyaysLabhpUwB81XK33V1k2t/1wnsSVeqEQhxsQ+SIxR
WMUvZpVhzbaqQCJ8zIKXMbntggPPbq9T2boNgGBhbAAqsNh6SlHVBaweGTSiXczlbzSvYfIlQ5/z
juLdipMAjP2XzspS101ZGIMZJX75NYU3aEROYOYYJxM4JGzduiKnIEvv0rJy5slPRfSYm3TnvW5Z
17NvWF1a0aRdibFTWGeCCVq/ULXiv+U/5X0tD1HhRc/XD3bDjqJ5Gfl3IDeAPVi73ogK44YNOvEL
w5/i7GlMW5c3N0MSeVG515q1Ie5IoCJVgHIgjOgamd/VMQ0xxjHxs3F2Wv4nbHInFWznUW1IJFp4
gJ5FzR8ZtLehpu+iid6ooiGoJ9yh/EHSFmWZI+bQ4BL38Kyb7CAZjO4wINY4WWlWHcquakYLZrqr
HasI3Xm+m/I9zOOG6C9F1KX7aelutFcPbKjyuNFCQK1KDmkMXdLU/8GJ4epRswZ2hwJdf64m0qHR
YdvwxK/qn/H83PcxzDMWZdQfrwvb1s2gMQ9t0xA1OG6rA+M6oMAFK7ACP9geIswJCl07PWFU185D
3roaKIoFu4mAD/NdzjlCoaceAedNfZZhaxT9ojCpR+i/j+wWVbHgeJdBJ2uMe9JXfZD1DYhwzJKV
ngqfzOihSvfQJcuxrEwRSkkLkmspJgFhu2IGXSVjk4FOkwROHCdeXce3Ca8OLZrTivAu6uQdGiF2
3N2tEA/00NkCsYBFv+gey7p6mgcTxsm3ntEx0DnklD9JTFc5dL/6BJC8nUu7TI8u+Il/Ca7EoyQa
DVbJQvCT5aUH4/Ps5Z59e10Gt4gs6DSg4RAkoa3w/DATNpMs66fUn80PyegI1yqB9zv+ouWX64S2
9DiDVUT+EDh/5HtXr0prie3ZvZ2iWcXJPJm/JMc0ccTr/DtM3GmvZrH1tt5TW0l8TsrKQN4UwtiH
QJX/oGHn9KRx95Ojyy+txfE9pUVhvdOvcxGaETMoTrC7n0V6M36DacwHr+Vukbh9ch/rY1Meuuou
OV4/0g1jdXaiy6t/R7nktp2NykJX00MZ+aPX/Go6R/74/xFZvbY+nOc4FLi2sTl909+Tf+bCDV6u
09hST2iERugM5x+QlTUNUkedmtLMb1r9q0DzTTOjm4k3h/8fmZXpMBoyRpORZX7ZsJs8j27ndPom
qN5zm7bYgQv4BlZHlLFWhIC6BXY+J5k/oAva6dBec0yGcCk0sL1s2pY1hP0AyGmZqwjX/FwEgBoB
AMrMM1/ZmrtmgEZdji0d189t4y0Bco+IDDhSJIbWHsQY1kphpwsUbhO7EcMggcZyURoFJm6H0lZm
GZ3AUHomivco0qyerZCVTDs5pr7u7romclj7aKVfquLUlUBe/CT93RT/yMLvKD1XJnOnds+92OR1
GeKDZM4yR2cVguigLuxxgLgX5EYgaCvj4xDEy8Ka62e6UVNFSIiaCtw/ANfQM3l+c1GD2Y74O8Na
ZvtI3fnwI7sbnd+Ojbx1jl2SCcorOyQ3hOWM5EpY5iScEjrEGaoe/ZHcDR7xYidqnQ/mXXU7nrDd
fYfixkMAQXSPKwRDwHwsH/ROQZlmwVRPoBqDNDsVmAeG6pQRfbjO1oYWxHwWugyPW+5rPXmo4yX6
Ptog9RObonX3NKdYEWE/t8Gr0eykzDeMJdxaTO6g6D/BnKeVwm0r4HNYgteWY/iN02ehxkhAnZ2y
iY63ZYd4MkMP5kOMDsz/4CTRi4XJakjLIqGwMtNI1lhWhj++oH7f/+583f89gATtZsCro8YPucTg
tPPLsvugKKMwivyu/VEChk8YWiG7uwytqwqF6OuXtiEZyMgCOAL829JetnrnmGHWcGOeYn+OSjev
7pqQOvW0E8xtvGV4h3ChAeBFOL7Oy2LIZ2YljKIeRp+zuTsQ9ocr1DT+Hj2y9Hn9S2clFrGI4BhS
lMMEe+GBOHTGd128ANS9ozM2JB06Hsn/RTVCBlcOoTTZWGNsbexj5KknETAcYmaiNG/C+cySb3Nf
mjvXtHmC/0sRmOFzmaCNaZfoO4j9UqQuRfhv6ZccM1Y5SXd42xSId5TW6jAtdW7mAUqKTQAo1UDA
IP8+dmInSNmjs9KBqqvGZWRg7GcVKni2PrAMYeTeYJDlrax8QjgySM9QQAeRoFu9JfSvBQmTOUAU
NRtPykxuenvYC1O3iQCZiGYdoBLXl5MMDSODRjYLVdiZh39EMv26/ko39B3Y+JfC6lL6MEy61ASF
hDReSr9jgq9bE3FjmA+YW3BAaOdeJ7jFEiJhVOXfQvz1gIROabQAcxBEqfcpx2QEMtWv10lcCoC9
WFsAmRaIBg7vXKQx8ycYzQw63CilW0SJ07Y/xr3ayOXBLUQwGm6ZBgxs+opI34hk7pAn94syOKaK
PWr7c8zpfTSOT1HWYlyLuLnO1uVLBbQfBgK1XCgj6NRzturAoAoY7sxHk7bTwxCNH0L5qdd/rRDO
yayeD+1U2hpdkfnoIMB8ZdE9zuUj30PJ7TGzsg5xGbRRnZews9xLUxY7cYMMY1alTq1+Xz+3S50K
hpbCEqp3AmXiFUOWMlKpyZABEfQUxOVri9k25diALWBoI364Tm1LLjBqAAl0ONIogK7kIiCdAa8Q
nnSkUdmPkRwzxtcK20mruv2Dfqf9pMyFuC+vFyUzeLNLk+J6ep4RihZresvOp6muD//F2XXtxq0s
2y8iwBxem3GSZiRxlF4I2bKZc+bX30Xtc71neniG8MHGtg0IULFTdXXVqrVqQDQNMHXljtAOa1xB
C6YQO4C5AbgFBPD0M0EBtiofA67bx6EnHtIheRsin7cmRWrt+9N44yZwpQMWMVN8zK1MdKax8mSe
Kcuu26OkajBKYQTJSlpkvkqvHPi1BRobkXqJXFcFxoLTypC2ZVsTFitryuLGAXgv0hm24i1RqjVj
iAfufH+At8mm2T6ueNRNAXyVaGaPQM25DEFot+9+ivyjqG84hYA8BRhPMGfqFTSF7hu82Zjf9pDG
wJsLxR26z0lNczkuVYx3qPX8VwA0FHjoW2NiVq75m+NG2Zn30MWLoCu9AC2fPOwMli+VROFd36iE
B361KL+4G5V/R0QdNaEVI97TMCLs+PIFxLKb8JdmNqQyQ2hUs0ZsrazZ2tDmn18MzffDoOwAoNgf
pp+nwOC2f40/mucO7N/IfKJqjCvs2gAidr/uS8zd9DMP9UnPecO8vwtu/C5lgXKGeYGMYzrvglre
JaA19WoJ1KZgSP55387tM58yRDl4dG+3fCkJOF7hU1QbYXUSRdI4e68jRUKgDfE6CHYsfa3RPK0a
nj3LxSIVUulPiQ/D0pHXCsLqvRWU+mtvCawjbd+rz4KszOniPrxYtfnnFxanpoy5gMOqNexLLBxE
/yURVmhf1kxQWz33QnYMIxGzKZy64UevHnLhY2XF5kj/xiFeDIPa3cAtTmk6b744SA3QfmmBLr4V
NYkNNIZltsevOIolFw9GRDSkI37Gm5QaE1jSIwHcq92eDQfCeriMhWLFxNK0XZqghlQHaKeO/LDf
8wPpN/IuXLns14Yw+9yLlYcYQwYbGEITffDNMeqeVtZkzQD1HgwEjqlLMej3HrIPxQaNA2XwIHz2
bndQH9jdOTxGevJ43+jKpNEU70njAzqr+P0+yUoj50o9Bz4xk1dwW4tWwLcBosM526LOP7+YuiIE
90CSYWm8QecJgADVykNj6b4DydQfA9T2AolOn9RN3O+zL2A39Ehy69TuOrMKbXGtFLHodPBEgy6I
imIfyGGuRxNkiceDSajfj9wHO9OQW8hQQWERMlCqLn5gkVZGtxS9/DE490hTBrt4aCplNqgXgs6G
uvKjAUtLD2kZZMhWtvnyVP5ndDB2cy21ca9GeY9E5vhbI2T4/fn3uwFESHjjoh8D4TEdo6ut0qOZ
DXuuqB6zyE2Cwxi597f1wiCuTFAXUp4XhRKD7HTPc+958oXjWubHGv3/Jy5fObYLl+yVqflUX+xt
vi3QdQyJl32a1Eh0fArq+wAFEW7tDbpsB8VelGK/NS6u7czOre8EnCFsAa1X9UxFIg/KMKK2tgMW
Ih+M6F9LlKObGTC4UcFhavJIj6HXI2aMGQs64w1EXpm9BZ8H0mgVKRU0UGvA8lyPymdHflSLpAfG
vSWZOJEe2a/7e2Fx4qDd8/2MBp8h5XwkTpiauMCG7tltWvoWKBOJKDvikDr3DS3NGxLWqCijCwZ1
eWonqOUg9WLSDmj6b0k4bJLiVc3e5/wa1/59fI/0OMrzs37EjAO5nrYkj/owFPIBOPnOrRmScWZR
6sCbxH8NTQKR3qUlalB8lPs9K9bDHooHYKISokBvq2ztIX1bTZ7NAGqA/1E5RGB8PSDQPfmKFHbD
vhH0Ys+aXm6zjDPIZErscpOvdecu+YdLc9S269VUyZkBSxUI8U7+YnjfCMdX3jc5zgbKeKXBYuH6
uxoctVoj8pLaEGNwUhcZac6S1Hvs/pL7ECA1FPRwKwEvDCAN2jmuZzDSmCGL6mlwgewKXEHKxI3q
y2uFC2ribqxQd18WB0koJNzgSm9Rb4NKpedAs/gUi59M/3b/ONENDbQtuntOjiohZWrYipk9k76r
KUjJPuQPPtuHqKo1HQliJ3rIh2d+fMDLdq3aRaPl/rGPYixIrPByvyleBqFaCuB8GyDLy4NZzkg7
k4BjTtpEB3T9qtbL/fF+45AuYvIbe9RRy+RMCbHIgyvaSfMsTUbnjKNV2L8z1PIyu3fGH/jfCa0R
fzKbxDbWxDy/ZQjvfQLlK7s551RLkPVR2fdEPTZo8smzzswjp0bLarRT0HjRc+GxjRujyt/l5nME
aG/KNigY6mq+i4NfeWnKEBscdk3RIDp5mjI7rqUHlYHeodrrBXOqm3LTyNy2h2j5uFIPWN40QCyp
yPoDf0B7e6+R5bYNlMGFugSre/b8X7URrPnvQB8qa+DtYGvcXzrK8/+zcoDkfbPUoqRDea9i1NBj
yTODOwDmJhpFXqKg449iSHowORueMk7gfEPT+n2zyzvmwi7lxobSb2Qxlge35vG674ww6y0J8YHo
nVDgicXY6plXrrD97tBqm94HAZhGQp7IvWQE8lsaA/Ur9XroHZhsl698Hd2w88+sKKjkghVTxqOP
ClsTFeJbU4elqMSIyOFXUjwgv5eoqDptwFGk9Ayptt5q0YFmTf3HLliR0MqC6i4y6NeeMGFENKH6
WA0p6KxIBvsLmEZkbySFmhmeNhLfTyB7ZzLerkLOgDsUhYusBQcOiKkNSToJO8UHr9dpzLcFmJXv
L9rStOAVBNAZ0qpgCqFDnk7uM9kr1NathocU0kVF+IS9OoihHncZdAJdvyD9uJdWQoaFPYoWLQF8
gGhrAW0QPStKmUEljenciX2pudyeZLvOS2vIUlPo/+7BMq8AbIG4DDwlKO3QQAFNS9HqIKqQaR+O
hRiQrn+JGUvmkZXfoVdGfFqZUiqb8Y+9GT8KOAt452h6005kMmmCVrw7xm3+PAw+bxawixZvUWfR
JmQKCYRsQizmM+/3yjbJoF95/xsWLkaQ9AIABCZNPGxEynkXYpLwVah17pMa8Mgwi4RFEyXzlUyV
nqx11X4XHCk/DQgwMEnwcSyoJClryaS1TJbKvRvLY/YwiRLzlCgNA/XC2JdBodLk26HFjheKajT8
BmzLGer+2ai1ZjhO/J6ZVIgsysKojx5IthAeF1arRKreNmW7a0P1DN1IwVD4UdYnBYzfnVdkeqnB
mUHktjEFSH9WXF3YTBtwFtND91McG5G0oMOyRHZEKrhuBfgbSSinFRe/tJHh88AhhxoIAL3URh4C
tvTDNEZaJMlewb/+KDI/lP6xKx9q4Xx/Uem8/ffGAmAYiAPUFyE1RkVuidr04GbJe1f0TE3cQKt0
o3HQ2woKUvS/O5AOAg32Ota9nioMUMVrZXQaVvSfD0BYDHldFANplGXRtf6kMGXvlqLlDardloE1
S8AWuQHyw101bbJwm6KSL4s/2fY5b0FwXELReHzLIv90fzaWtrgMPmdoVULVAc/Aa78qZZPUiVLR
u4z3UbY/R+0YF6SSiZI/rAboVMrjn3Gj8IRaOIDbQFRf2wLZWNoHWdu7fBP9AAyTxIqMGCw8yj87
ptChANzyK2ig5cW+sEndpn418EXOd70reMxPQbUjz84LXKH+Nk9qG/AWY2zBpsMNxMsmg29W0XLU
O+E/g8YUz6VmFizS14OeigZsllzTu6m4E6NN2e6l5BC3R6j1NmY46Dm6dKpix0VwoZORHaY1JqbF
FUYjzf9/AHW0qjYtxXHebULAmFKSkkHKLO8kgjy8BbWYkokrMf7aiOcPukie4AqXo0jGMkcj9zBw
9aZMtb3UruUfF+9cHOA/A6OeLUwPCTUtwsyOTO1wcWmweJUX8iZkBgIZO2RrZr23wIokkkr2/WPz
X/bVH+N0jtUbeKUfRQyySayDLOuFiWy7+mZO5+faWQm6llcQyoi46mfJBmoPM16FJHsNW0r6XrJO
Ez9nwHeOT4L3oq2YWp7UmXhQmK3h3Xm9eGHgD3zIVr3bZ7/68CCDqdrD6z0z0L6GXFjuWb/z5vf/
MpnoxAJf9UyOfxM95U3GNh0OaYu7SwXdjiXhuVRAa1lnNNJJjto2m7Zxgl/3DX9TFd9cuReGqasA
elVqkks9Due04YInUFWeJxZwkwI+EH4wmPWL84iwIcTsfMhkbPr+UDSqoyG465tIhyzpJhLdoDyV
7DPvtaA/tpHrGpBUa/mOxKKjdisvytlf3PtkKkqoy74Z2hxzBW6hZKMiw+b3TsOs9SwuTQ3SamC5
nDk1Ee5RfisY+rydIFbhRtpBsgIza3WhLkj64km27EPe2kjACwDm4eRHfdYql8nQ+DB5JNe8E88c
8IKX8wOIzLYVsCenYbJ7wRnwvr+/ggtHA/gdFk1A4FjHa4T6SnQiB1zBzLNhp9N28B4lYQMRdGMU
j6W0xnC4bAzCBKAbxm1J92F44TTETCrhHGYgQHZ8oYcyAZHjnyx68LMuWok+F1YaY/vXHOXfABnn
QOUu9q5Gqr1nW8r4P03eHwM0gCIaJAla42zvFkmtl6xsjtmnv/VtaUKPW79GTD9vTGrjXg7n2/Nc
XAslU/RiPWI4O4l0K1P1jVu598spFykWQhNnHX45Hz17AMLxSo18i7jJ/NKoxMaomyPTEKXZqDgp
3sCCqEkEkqc6Vl615cPmEI9rKWo6/Tnf/Bgw+uyAzkMvEt2OC/5l3kf/GvYmm580xSsegjGZFeQb
XtHVfozfO076heBe2UpRXWVEarO/BF7/8w3ok8QHAP0KLahrd96JRasFArZsUT4G/BNq6ZAGl31f
F/mVp+jSjTiTu/wxRcUZUTnkWiXIOB2lciwzp3krkQ8dw3rPMtvwZyUZ0cEDD4u3pgK/uLHwcvjO
DqC4RXlEIfa8quIYGG5zlTBaD63iIWrWtthCWDM/e/+YmX9+sX/rISuiUfV6lx0dNRytrt7l+lBU
pH33W7tqj+1OnQioiZIR5JPZJ7cywd/Nazd7/OIDqLVsCi6qEilAMngzWJ0L+Y2QxGZr13pzOkqW
YH0wZDIOEUtG46FLnEYf7EbHKyJ3Hu973eXjJoroNgcTMmBrVJTge2PaopqEhFzyMECnHBgUFmSi
lZFUb1FkI/4jtfhUvjV1Q4RJ96YHrX1q9NZ7v/8hNCHnP/v74kOoJ0UZ5/mUhjnSQscuJ2+Yf+6p
Tp1GgTiBnUJZNMGKPCmR3uHdyvf7KX7iKquZ9Dpujaa0wAASHwN0qGZ/SSf1z5che48H3pxopom8
a4TAmhqGgyt0+VuolV9jswvSz/vjn8/UzZZAP9ZMKQ/GaPpxoQrNKHER1iEbOAZZXZAne2xoyFVm
5l4Dxss1/ODiWZsLicBN48Klz1qGikefttHgguwj2gr1FH+OQZSt9JMvHrULK9RRGzTBSxSuxNzF
rbiHaLG/K4QgsHKp0Z7vz+C3lNDNFKK0gmBHg8Q5TZGitmxWhQ2mEPFUZzXWuOVt3kbT/JmxArt4
w26xhp9GtGG3tTmOx9z296/xZrS0j9byN4XZWpzdW9nv4FNS9Lrd4M/OfA6tRF8LCJaCcw0P9T/f
SnkA8LMCUVDAA0R8QPKRDByyAt4Bmj8xzxO1dDz/qTn8L5m4K7OUZ/fAxxHKDbYyUxxC9iP3njth
o2ZHCTCw9FRw8DL3F2Vx/S/GSb0g81jl4kBNBlfpwnGbD0Nl5m1XbWQ1XOu6XkrGYHBIYc3qjDin
1OAqsDynflgNbm7228bi7ezEGcxP+XleXdDi72Urs2vn/gAXz+2FUWqAHTPMbQkZ/CfTezsogoV6
UeXivqoDiQS54BMAgJWVcG/5hr6wSgWUKdj01CzAUPk+NwdHaiZAm4+VAz21KjuA+Yj3kNU1mXTN
ayyv5585ph+VXItI00Nl22Wl5sjj3YACk8r0K87wvxyPf83Ql0ECpbi2KVDo0pDmP8WaqnfsNvQI
r3z5710WEIV7ZtZiz6XSBNL+/MwlidZpiQaMpx4fcy1o9NyQdfxU0xXkTJsQirmhAWe8kYZJbzwL
8GS7ynwDCCRD5E519q7Vn6WyYT595jc/7MC5psvi2pNlqXR29XHU9uYqpstiAUcp9Uw/suv2sYlc
VTTGfpOiNUCHeHluSPEualXSgOJI+/vE7pV9aqczoQZ9awZLX2S+Hpppvo8VsykqXSnW6v+L7yXc
uwIk6sDARIvGMULWdWKFW8MT3/jRkdt3mQHbjn3/6P6X5f7XDBVuerKfTTN4wo0YSwRNA0ohovrc
pEe0+pglmpUQ8vCAiqhGgr0mYUOogKvliD9SxWHz48AUJAl3XNzpfMitnPG1OaBuzpARS5XvmsEF
R5wuxoGeeZbE5I/tKgHisuO8mG7qMhq8XOk4tsWtEOdWFO5j7aEso/dCO2mRk/nFbmLfhekpZbdR
43hta4D3csuo+1JbA6wvDRp0BbgwZinKGzXfUA2aQcpHuBelHD7FsJvtiIMxFDK379JUWpvledPS
McOlQYF6CjSaGAUlQAT+Qy2fBLYhIMJtQyvMtym/Vi5YuitQWmRB6jyzJNIMJOrYCPyQezjBn37+
ow42LOjC21Kx+x/3d/aSIdTYkezhNbQE011XHiP16sxk5g5laUwFnBjTnouqd6Y8PKrimrdeqO8B
5YSkJuT3Zn0pyjOMMd7nXofS6JQrdtye+yGFSFunq+1W0HZawW2F8LeW/WVX63dcfmmWugR9rhFi
KVBGNwRDSL0Ny7d4jfNhaXtcmKBr5JM0jHnGQJOxq9/67lhVA/T2rDARiRq7Vbx2uy6tG7KmHFAI
QGSAA+B6NzKhVwpMzoxuEyCNE+PZpzzyraP2rROgUvi3mwSN96B+g/9DsRtKe9fGfLUaoiCACqYI
wEpldfyn8JHzRIlX7o3bM31thz5iahwloQ87jLZtlI9JeSvQC/p0fzC3r5lrI5Qrb7oEAowRkDFA
OpQ6L3rslslH1rpvZeHhDjMQT5urP8im0ultiB2ObAeovCsNnD6oPxD9DDw4ac2JMfwa0iLdJn/j
wy9mfEmlnTJ+jcggFAFjSEANlGLkBM3PIPwlAtowbjO1cHhxw+eGj5umb3soTaxMy+3+vf5eau6B
Fg8lpQfqLM1P4/TYOLXRyQStLLK/ghpes0QtQAqgCtplYKlSNoG6iaXSjP1X9OXpbMQCrbGC2VvA
1mBkuCCQDkN/Kbq0r3cvBsUE8aBhZHFyELrAqQuz6p4HYSBl3z5nYAtSrb5mSR9PBKCSSGR1NNiS
0LMbdtN2Opd9Rhn4CHuUlDb8WpP6bZwsw82j/gEOMBXlYerz+g40qUPNj6iDcJ6pVuVI4gL8wl0c
/VrZkwvna75SFCDhwA19w2sl5JxaA+bDu2KFK3rQOfR65aYyPmvSE6RuivLYyQGJmefKl9AFSaT8
sWAeG8CMwt+RtIuC6Geqfinoe4Nmd/sGEUqm9a28WdkgK59J64T4XAEX5om824kxb4GS1myUMtwi
4RqfgrFZawf55jS4vtlx/wHgMlOZzsU26gkBCrYkjYFldXc5QTqtJEdZ//Hjh6j/OO1fX1/f398f
Hj63Z6TYyO+eJPrXXy8L7COPg/6+mWeHbgUtAlnuQdMqucEeOAsi24MlWWBEOvh2aDc7wfYs4Sm1
J0fecGZ+lE3WViKSbKPzKm337f08q5ApM/86ZDduWtdDzVflBJpnrgRgArEaCE75ILdi3mtnDaK4
kCpHWRP3CRhIZqgwrTzDBZESVq0iu+w2eNesyQGpy0NmyuAIvz/B3Hy90ws80+2AXhI9KzdpuZEV
ImFsNdnNyXHUwQyuvx198kskpXHav28D0pOX+ya/sSs3JtEmBQ6ZOX6jSckUtEYU4CKXXWN3qE7u
0fqwDkaij7oWkh/W5ojWaeJaBG7lqT45jqM7W9O0SYTBG4+7lXt14UGIqb74Gir+CSaUzdm8kF2F
hGbeGfUZQL7QjRxdL/fDNkE2absGbVozKlD5YuxoCNEOmAI8OF/0j/FHmZjCq7CfHqBo1r00UJJ+
9p9X5n2+pu7MOw3gZMMIT/CgxLwbB+PjcLSOx8ywjoHOkI+S/Jgn3UqhNkfyTfVgYN6fI6J/8iQ/
Oo/SqSXOykagdWUQes5TD2IYvFK0mRvv+vapskT2x6GWXe/QPh2sap+E1v6VtzTTRt+Pzv16BL7z
97hV1uCJi5v+wvDsZS9KF1ABQnqYh+GJM3g9P2jPVWeXMd7/ViO83Z/2hSwTRgmCqO++aBEtQdfG
BtB35CHb4ISlZNp32rmfQN5xGvyD96qEevQUQHhsZWpvQ2BAgyHxBEYotBlAh+jaJoiImT4cfNUt
sKKSeS7s3FkZ1u3dfG1iDmUu5jALoaTce57isra4BeDWjKzQZPSOvL6imuaIzioUY80idVIBRGiF
xGcUdzA6o9d9h3modvGZe+KN3MIGdbKDt+Iev6sS1JkBkSuAnhokhsG5QG1RmStH3k9qjBIc+d0u
0DWz1H8EBvjK9YSg/G/lVkaeSrvclnZ9ABrCmucgtX3CWk+JETqRMZCTZFckMqNHsGSTmMxf3+Jf
hR0aCWH0V8AX9X4nbZIDs2l03/L0YFOCJ/+ZsdSVES3ujIsBUbtRTqs0ZJRKcY3C8h/P+XGtj++7
QEBNGRDpKugZQRA6K9JebwwFZfom7RTFbQxRF3beiXkqrMjCjJmTE38ExuT429rmXmurIuout4Jd
QBq7sWMsovfEYx5A7u14D/36vbrgAlGrwesF2MoFuodI7cJMTULVhcqc2Zof1Uaxpj1vEt9NQt17
vX9GFlJjwEZcmKPOCMylyZRFqtua6E8HNN9STOSBiGZ+5kZoRXZgIqYminHfLt28OTvWK7vUSfG9
OhArAcOUbXXbbPKHkAykA43Aa7np7O7BM+8bXPCn32hrDaIVYCWhezenCkLcUTKormdHhuA0Oyys
xTrlis9ZM0MFowJEw5A1hRmEgc6w8R81O3IKXXm/P5qFai60WQAe///hUM+OBBLPStn3qvuWbdCA
Y8WPQMQ++Qd5P9ktFDIUXJFIar5za4bnX0wfHTDPQTcdrVTga6UGKCOUzxNpVN1mX27lT3mbGJUp
Goo9Psc/pdP9Yc6bjzYG6QVkL0RgfhWafYeNvJLru0BzhdIMRQIPhSKaj/aANX2OpWgW2ed/LVHz
6TdCADG8SHO1wOx1KQCudV8LRtw+y2bP6fxKSDe7sNuByVC3ALsQ3Pa8jS5uphqtK82UZpqb7aNn
+Zk31iTPlmfujwG62g8hQW70ZgPygXGADH/y96wlrmz25VnDQwNaWRJYAun0PUApmtLJpeaKB/az
3PJf1W8QmZn8E7/yply0hChhBuegSRVJrOsJa1NPbJWm11zQZ5RP0U8F8mkWiplgd54+lZVtt+ic
Lq1ROY4mlrtQ8loN6bkZLoYmmfzRf+QO1U55YGO9+oD0JJ+StRf+wsU3h0J/Bknd5BEamD2eg1nt
CF6DZ/GL+9WusR8vOahLG9TlquWFwoVxpyGgDTrSf6Ij7Fj9zq1mhTxjodag4g5H7w9eo2g8omEH
XOhBhSnNPNeIa5Kc+vOGP42GLun1njO34TE53/cVC4kiGASAi0MuBk3GNItkwnYZozYwyG4VUtoB
nqTSrsX9GaAqDJ55wlspMACCDsFSvd31P1ZZUBbn9uILqLmF9rAPMSt8QWWgoeuRKGZgCT9qW968
PvAGyD3ek3Nkr4kr3voS4CDm4hkwJWBuEqmH2qhWKQcyKM9V2Mny+E1ZcdvpN9P01v0JXrIDtXTM
LZgSZ4mE6yNYyWVdt0XNuKxWbBGH/iwnX3FA+daZBT+wKwHC/NuuPKSI5AKHLAZeCGCjopvHRiGG
zEcR827CwAnHfZUZOdQZTF5ohZV4U7xZN6ThQVmHchTUs2YE7fXI+ADwmHESJJeZHrhyyxY7NdoU
GlHQieYxr573FULJJDqwgJn4z9NwknIi8WdEaboi2MMX63+2juI9F4k+nTlUsPH3r+ozzx1Nfe4r
nUXPk78bByiOeZbnG21tNGhekCGdBP6/lLSvcUKazpRLBOYpamDnId4J/gpC5+ZKwChxhSKunIUN
b+4cEfIsaTa/KLNA9cyyHiF0qiCNGIE4wUzCqHQCvvDNsh29lZ2zZFkVZ+Z/aNCA7HjeWRe3nSgN
YAdkKtmVBwZ93QP45X2BLzb1gEkOJS21lTrOHiVtXCv0Ly3t3KGExCxCJRRbqHujZ6rSh4KCDPgN
cBIcYTxobMRbKTsLHCkOaWC1+RZE6XJ0mPxtpB4zLdZL7sD2Oss5AaNPIEv+oY27abLqivjyiWuB
xiw+eN+JVVMAVXNtMflL8jssD2njoYfTbpN3HxLxEmljXd3xb9lWEh9ZdbLCiHi9Val7Af+6fzhv
4/jvHQxWMwmpPzQXUgOVRXCWNhPScZCyPeH9VAF7DC7Jtix8p6ib0ai6hDfiSug2pVQ/NokMrq6x
fPbltDV4zlN1SfOMPs1+p/MIoReT642QKiHhhVQgJfjwSJcpw+b+d98CQGasnQZkGuJZDIGOJ4WA
7+XJV5OzUKvJBhR/6QPPyJsggb5BCAB7N0AxT/AGSytw1hASF5aURn8rbg13pUgSZIrxGJwzybRz
63IA5aNq8twigpRDw+WPEY6sWPUEFCakxErGcnMKlJeQW/E+t8kXmFbxcgfVOEQxWDoWFD1ZKNmK
9c9pbnu9Ljg9Z3Ws3TdGeO6bLeCYkvdLXO2ymjfEtYOFWYwZsjl4B0u0JIsc5wIb15l/jlpNNVkG
5aLeYz1zzLvArkMOorxdXTtT4IlbPmA6C30lpI2mwlAh3G5qfdmshZM3bwsRjCq8JkHbFfogiPop
P9E14F2Pav9cxSIybVGty2ws6bNYtlUJ+Wi1gBQacVOqtuazEzTR6sxqwijaqCO/hlC4TRLga0A2
j7I6hGvgOqj7zo/YsADFhn/mntVAT+PD+JsFMdeko6E0wjtLNPrezEJT8I6caNa+BWhOLpaETY9J
/pPf8+j/LpwUelsJiVAd+xo7W4q2uWQq3E4SDE17Uc6+qCvM2jzO4Sm1tHOyEr05uKdBbD3fdxf+
NpUgzpCnPXbUiyeTwMd7V9inj63yUIoaqZu3vP817qLJTuVpxQ99Z2hvbOP1iQoV/gSTyLXtUeh5
aBsU/plXH+A8PMN/GhlA40hQbFtV5zsnFk+NZLGewRvVZ/LIPvUvojkOhhTtOF0xRZ4IJ8lNVaP3
jI4xNfDvrzmd2wsfS3vxkfSF1JaSEpS5fwZdonZkansQTEHZ+gcJdcPmyJniDrryb4LvKI8MvH5l
cDorrSzTd2GImiowI+AUziDWGb9xPVUCOkP7VlL9c93HZv44li9ZaQ6+7eW67P1qmH1X2GX7nk0R
EcR9MP6sWEPmbAW4oEEiXGYjx9CZ0EeEsjZhCzPpDJGxpxGtCQ9JYkbeCUIZYmUysdNqhEtM6VH4
QoXUe9aemmhTgUqiQXKX+SXKjwEoCFru0G6n5l3RyACZ13ATPscj5FiybSOtYTi/ac/vDZ7KI4hM
2okphJrO8qGWLTQ7knp4Cv2D1unxNoxey5JkThq/oqUJlzaa89+zU5Q7sWRMwd5vLFl65Qdj/JL9
jc88iUCG51tlNFp4bK0+yl5ChOoJ3oZkwxlt6OPcPaKH/UmRLfDZKx+euFG6cxJvyuwIlGEwa5Dv
ZcUSp0NW7BLgSkPSMRtf1QsUjvOXrDIKxSyHXWWHymPxhiaV+zfhwg2OQpMMgD5CNORWJCohPip1
47OM7J+b2JJLHdj40t+ACb8zANZKCB/aaqOPh7xBu5qJ9rdaz9DPtZVVXR4P4pqox9K1dPU5c1B3
4USSDGJGfe355/GQimj7terY6FFED1iSBy/NqIuiKbKxofJrdBoLp/PKMuW+2oQfplRk/DOTkTRN
wHNU6FqtEEm2wKxUZSlBx/nK7N8++REbI/qHs585hEFPdT1ctHcLYlX5wblhHxjcPNE0HAJfJXUB
PEU20ySacT0SMCdtOQTNnYrjGIwbTV2ltbt5Z+FLhH8akeb8Gt1ynUYFX4qtEJxzVepB0hdqD1LL
D3bZKZzej3W2r5VEdXOuP/kN2+wyzR+MPB1BChZw/Fsut5o+skls8CWXfxWMtwb1vn3a4wshTAqV
AR4keKDfu54r9CMpYVoH4bn1BKcKI0NTKh1Q9lqxi9oK2s6smU0WdVCSe4qYl6Taa5UVK4Ar/7h/
Zm6LlCh2g3kLYSEWTlVkypHLhSiMcprHZ9mOAWniXhVrPMBZxaLOextecirCv8dHUAWd71u+BQjN
lqHmK+CGBYRRomKVDlgMvtaC5CyXD5lmVT44eZw8PineWZB/RsohrYmHdgv2oZHNWq2NzGPfCt4d
wBgQZLOURg6g6VvPAlmdeLpahFuYghZgowvSV6CCKyZYeQDepJeoT57DhosTzYmJyCDuis+8nArn
AW7Iivq6BoongYRIFWW6OOTByl27sJtRhEMkAn0NJHHp7ASTAeMbslVyrgCJ2Ndr5DbzVqOukatf
T10jId9XwKnj13PjgzK+9F+KsC0eOlVfS+x/14SuLSELgX4dgJGQ+0aO6Xr2lCr1ciGIk/OYTFs/
OojjlquUg9fuy3M5iWafvxej0+mILQxG9Nz7++02AYr0DhAu4HKB6CAHZfZr8ynPiK0XeMG54mYa
rKgn8YiOT6tLDlkVkbSy2bXeldv9cm2SOlzJCK4ortOC8ywmEvMt+T/SvmvJcWRJ9otgBi1eMyEo
gCJLsNQLrLqrGhoJrb5+HX327pAgL2Gzaz1jI9q6AqkiIyPC3VNJAADrY5qUHw5JpvsjnAewmF8k
dzXUvEAWBEq9xYEaMjaAqVKLTlLYp2bYTjXhGU+5XkvofUvXRX3MJWQh0dlnSPAay8ielXUwCFoc
n1i+H9XHoJtA+wOsmfiDjI7yBb7SNLdKW4hJ76r6wWjsyQM/D2lrkov7ZK2Ce93ggu8BbyRS6GCf
noULL9dWa4o4Frk0PjWc18/0EiLNuCfl0be5iRT5NjvoKEmOpD5KJ0M9VsMmKJDmg6xcvjI113Wl
+VNkpA/QLjoTpC/OU8EPWcXAlXWq5O+ieOmqx5o7ShkkoUIriIjqA9Qfn5TBlFArlnc+5PoQXoqt
CGVK6/4y3dp+s8NA/yVqP7hsLmclYeXQC1DiOLWShHDIaHOnkuIGfbls2sRamZoIEtbeL7eMgpwJ
nD5YC9wsC6NKUodCFkbJKQ11fSN3Nb/t2w+h6fboQprwxIuNlRfTjQzIX/4ErDwExmeuiMtxjqUP
cY4RszrJv+VxO2oCNBnw3pBrkj0PCMbryBJaS19rC7514BTw9gCCz8/ZsUWYJfZtEeMRHp80tZs8
AQwnSQasS1NNK75rvleWJ1sDAZWABAtI/JZgG6nt+VHTwwQJDsgfSRGc18olc8s5i+cm5mU9u9p8
+Gag/OPkFNYCEfSEtBPi9m8JrQuvfP4xSgSaUnXixgMZVkpTt3bMuelFMKQGkoFwqExOeqFooGYZ
OBqnAlqSCg3PXY3poJ3KMuffnw0NL3xgl1R0PC4jsCkMhYk36uTUjDEAsy++VJqhFNB4KHAes7Ut
en3LzuJIMgIeBX1CuMkX08u6JJwYxgi4qmCzXhehoj6Uu0mYniB6Pis5aIkZIFbdCG2BzrAYUF05
bCOz4SpQIehTbiXosbfbWv3W4lECtRUX7bNJXIW0zw7qarOh3IREN+BdINC5/NQGxBhFNglYjmzf
Kki7AqpHdOmhhh7ctAM0la+dZI2v5+b+wxSBVx0KZsh8LDw4z5RRkkclORlZbYLKG7rnz9xEs/wF
uW6pslu80Ad9X/MmML98sBYFzUd1OWhg6ObaqAFSjSXbTMP7YjGJRXriWRd5HNMBodbT9BjL4SkB
jf0hn6Dgpuh+Rsei//jXexH5C9Td0KEJdfm/MfrZ2VOkICmGoklPoCYC2nYvKWZfWnIOSpbP+5au
oePYguemFq4SzKoQgJLq9CR6wFxu37XUbnzrrX2PKAgErNQGCHNXJFSD1F92iKHftQkO6mo1+jqm
RcevDmcGKcpZ0Hpx5CHHK01JlGYnpKdrk4kCGMcSSEz/+wvwwszCQZc6S7O4T7JTNsVAKe/ANRWK
e7DHDGu5zhvvqIsRLYNbsQxCvtVhSnoWnYkR7U3/gHiyDhUY2lhIgUX20BPUvp5XVlS83rnoVUYT
ICKxWUl5EW+Axz/uqqjITmg3s5Bw/xpPtRfbP/GhJnZs6mgu6c36qO4h/jrucX+sBV83LqeLD5g/
8Hz3jmqENsU8O1V8bpBRNVIrSMbcvj/OG9kUTPDZOBdxRSAzdO4XLDsVpuof294EdZwItV5wYdqc
uKlfxGqn5psVqzfupgurC2eo6nUFxRMMTjt8V78zgtpUYsrvA0UmeFtRaUet8dfjfaM37grYBBU2
qOnw4PubaDmbUD4QA3AYNNmJS/CiBDXqL1waULJou4RGXcQ5bS8OVM7ZWkPpNRAA3gEHBr2QPPog
8Ti/XEpUcAIUitr0lIKd7xA3QyHgKg7klgYFJ6AZSykn/XnOvb0GfDI2ZEhZpbgFYw2j0Zhkr2EQ
d98JZ9Td94Bd0B6iqOB+4QgqwUbqWg7kHIZehQCSlOCUrQS5qEw+VrXJC5QJjCJRVRcqyhK98ZuD
iLBiDwmTGZKLhmIJ6RD+koYoiMx2iKvEg6T3kFOWq7gbZKXJe/P+Qtw81DMdGO5rXIUoL13Oh8g6
RSmLMj0hp9BwnanXRAhAlOA/agbtXQWla50mEXihegqkLzCu9z9AvHEtQa/tnw9YHG5Z5vMY8lh4
MsebVuHRTNpGEKlOdjV02SWagHv2N3gqB1tHoymKJHZYE2XPteBabv5U3Hv4illOm6cmwIxHxMie
S9VD3eV/8ZloegZRKjjokctZ7JseENixiKcUPGI/0Re/iV0ulEHPW9lRa3a9rVak0wmeS7QMWlop
75z/kKEnu6NGldIBYXqy9X0LBctEpFWy7YZtFeHuJ6VG+DVFhWuSL+xyGYV0dPuibxNvtMtVbZEq
56ZBSE9s3JTqvi0TkoQ2MoUSUM2x9NP2kdUgy9/FAumS9xFc9P4ughZLAiAQSpnlVpdejZGqPXBt
b2P8NKLRITOrkiP9Wvn9li/AawpPerzs50fc5bdyYRX1Y2ykJ9T3OzNo1cIss9EnBqbcQmFVJWma
sU1VcWs8WTceN3PPIBiUZmgOtG4uLUNlyS8TVcYsqXywqQepRsvBOD0oWVmsXNO3ogGUICFCgjgc
7GWL4LjQykCppgiuXRJkMFu3oxUb7BUFnx2flGuFk5s3CcJb6HmjWx+/FoeKQ6QZtWB0OfEZAE+C
YcctaUCQ1byoo43KQPSWTOYYrl1gs7NYhJjSudnFPenrYeTHZZudSpWo5VFTvJbf6zYOKJfsi8EZ
q5UnznU/FzY6aHyRY0b5Fa1kiyUclLIWQoj3ncYO2Qj0GEE365eItvWatOIbyiL6MURcFFvcaHY1
1Wwedyra+w2wWk9/hHHnyyufdMufoXMGhLcammhQq77cVHwpcFHLcYiSQqPbgZEWTSSN8ixyteJB
jjrcC6wMKM9lEW3Ru7vy0LyVKJDgogw8wVAkB2vWpflE80Owmyf5CfJERI3ftRF1PnnDaTtJcvKh
cdLgsdJrK1oTfbsZd8OoKM+KEMhCLjykLGToJ+pguVfIUD7WfG4akAjxYyvpMlrxjNbqW9e4QPWT
ILMVtYZrxKuwsAC4nwSU9ELIdYJh7GGIXvXU5H0KPr77bvzGMYRiK4JxJAmRvVoeQ25slFjIhPwE
zWrKSdug7sCO4RlrnTY3KkXoZcLb25gTlSraRS6XoSxbVS8SKT+lbvXMbTNSU8hokacn4el3RcQ1
Vsdb2cELe4td109511Qh7DHihbb8Z4ZvPP1MD8fEVclbAWXzUw3dxNXb+8aJv7C7uGjyXKj1KRbz
U/cbL4JE3ufhV645CitAngE9p0onvuKBrYsfnmtu7+NzCjNNrAEgonbPCoulKz2lN87fxRfNW+As
tOQmWfXxAM1PKJfPeIHC7PgMu34gQvhTD6u0ITftoWmNB1Ml4J1LnqFxTCOtLmBvHACk3CDtSrbM
CZ8HrDl67ClPaOHNeBmrKynd9MT8zvZ+TV7v7+y/PRML3zvHJv/zHYvjl3UAH4cGdsAehCTEIBJK
wwTErth3P+2HU5tujubWguxOz/2vx8e1ROytpPCF/cU1XuedVArlPO8Eja1gI6xcvF9Y7Aw75mP4
IZ6HkfkY/Lo/7ls1j3O7Sw6iaGzBNxFh3C0dFQK4PZ7bNPUhdOGY0va+sRtPpQtby2tV7qNUDzFG
Xdt34IONm6M/vg7Bz2qLzK1k0YWpxVWa6YnMRgnDkg4ZgDbIyQAj3O3rHo9cUskP8WePZkXPX8tt
3/Zc/+yjZYlFCQIEFSFO9ChsWElaRnmPf+WnXfKDHp0pMTkQsDCrfBbVlczNTed8Znnhw7B9+j6d
MLu89KgKaKqL7QESdKvB8U2fNSe1QfeKFoolr0bVq5ysBujuVLj93P2o2JkA2AO48LccFIi1ucqT
2NWX+MYrLeV124gfkKnMUC40qjUe83nLXB/bfz5m4a7yVkjDQcA6x4XXhdaAdw1Hob8AQHyKDp59
ZnJrGbLbu/gfk/Pvn3nI+fkLmhnMs6S4Qmw3YEiV39FhLKySiiwPJ2pD4P0/U4paLGk1DL0xSs3g
itUDmmtUikdl98BnHh5xXGdxK4iZpRO6sre4jnpfUPtegVQUszrA6+MDOyGLYfqkIQJwiCH5zszQ
Mzb33cLiCvhvq+gOBZMP0grLI1MJaKWrm2pwx3If+RUog5EVKz+qkkj+t57achuuxDGLJZwtasAh
gXd+7gVFyH25hFNZJWmb91DgMkuvIF+7NfTjvDBn2/LKwOI2qSW147hoGNxe8pgSksr/93N2MYLF
dSEh/czLLUagJoPVJzFtCwIegkSRSCpquC+KoDDvL9Piubcc09/NerbvBxCSJC0Hk0IJVT7Fw8MA
shwrK7N03FdWFnfEGKS+UcjQD0M/oC29S3bzy1V243tj+chLsrf7Y1pe+/9tDg8OyHUitb/Ut2xA
gpzJPXZ8T8MjRL62ELgkMlGc2lYc2YyQL60d0Cy6D9MAsTYOqNQMMOPv+59x66BjOf/fZxjLZ0cM
+JdeQNbcTeJtNwZkklRaArjQtSpJYpMPWqJNVOLVlbBn3ofX+/Qfu8vZTvkqCToMP90WL73lf7Ru
8cSv7NXlnbiYZINfXMagWomnzICunl6DLN8UWiL20azl/lm271LELB69lsz4JScKGZEGQumrT9ZS
CLe37z9DXTwpfHD2gvocQ3050jU6wZVthLTRpUPxWV6B7xo/PBBlwkHFGLQsphp6DYYac7RGHD9p
pp89laEFwqMpt2uoqpQkRc8yNL5bpytt1vlbOSnoNDnAMTTGQw31jfv77LbfQxYNpaRZpmpxW6JT
vRsbA0e45Z0aDW0AYBuoMlq+YP3fDC0cbKXGegXKNJxiG8pX2127WZN4+v9sqn/GsnCx3AD1kiTE
kWnA3RDj1Aq2RgQz/OpAbvhoQv2b3h/T7UOKXAnKcFDJQyfJ5SLrQtDKfswPbiSgWRE6DFVTkbT7
adG6oQFY7T/Ejd1Ga80Li7juP6fnzOzC1U8gx1CyEHM58M9GwEj6Fsg+4YK1U3rzgPyPnavUR2io
Ol/JsCMZX3rqpEeuc8YTgIXzDg4/uuCzNotOIlMj4p8RXcMH3wgDkMPkEQAgGYUWsEXqRSyUIAZi
Bl4i4oHe4ay++AM1DnsCNb0YdTY3nDh/u7Km86m/coBnRhcOMG37Bq1QMArV5kedQ79gCLQW26Gr
QVH2AWj3xFdZS7c8zmuY41XEVmKuZaPUf5YX7h3JKw1IiGUxXYA6VS9OAly/kuWO1Ly0UmI1fv0p
lLbMd1arjduyL5FaNUOQ2OUQxUmE5w6wKTFk2ySALtKnZnht6u+yYOV6WKbDrj5u3jNnd35fQVsO
jHfwa6piK35mNsbRbx1pMP3K6zElT8K4Lfx/KV/xH7MzKxycMiK15aM0z1jmT/1s1g/oFDiNRNMs
8CrO+JoGxdJ17l/m/a4sLvaBNIZiNbWwqDxzmxf/KOyGnXgsTWMbrYQctx3X2eCWt2EWpWE5wFSd
WYL94puqqTgPFuRfnfTBXeNkuO21zswt7r28jPIYDdCDywnmOFFoe6ou94fLzOIxp2vpnGXb8tU8
Li7CUDeSCMD7wS1yZTtN7SYo0WsrEsVVQXMRerUs4LdeJaQzc2QAAsgiopgz4TqqpP9NvDojIUGf
ZUCDe7GkKrTEWBGI+JTWETtPEV8KaWXbzB7/0nuowNRBnkfHaxiQtoVrZnUxSAETRvcdTRIWPOJa
YHHtE2EANXvkQPEvqLxenr9prKVoLGBAC/IXrqI16OiQz4hkqywZNKQ/xKJbiUVvjmlWPYMPBkxs
iZjxwcnYTKjjuNJ7j06umELA4NjOjR73Xe9fpNnV5J0ZWqyPyDcQzxthCKdbpM0vpBilzfgqmQKJ
dpo1WNG2tn8qC2JoJSAJpnHsfz2vqWXdHi0weij04TL5Wwk6c3CABqiDUmGCRZUGtKLynjPX2h+u
L3CsHTQiZ1Qwft6SwcHwyzpXU3V0M5360P7QS0uIzXqVevjmWM7sLM5eApG8qZKV0Y1feJXklcNl
pHqr+MdWZCux0BKChnN+OabFxcAJaVQ0vDa6g50Q3WpssPw4kM3d6XR8IBPIpoz5F60s8KTQxCng
33Y52VV05rnxVyPw6+Dl8nsWkW2ZGCwRMh3fg6dSGtu+WkOrb2XUt42AbBIBA+gWll2k5dClUtDD
iCrbDcq844RVbFbc1g2HPQ/lHyuL2NlAE2ChcrAix2+59tQ7OSSGEQOl0mcfWIaWUWlQVkZ2/TAA
jhCyzyD/w1HAObj0M3Koj1DlgU0tsWPjdx87WvNQGNQALPn+sb+xSVFem+mU52lEhefS0ihkslTU
5eD6CalefJA07v1DtTOO983cWCqQrakzQTTe9VCNvzTTCPpoJHUyuUXMY87aQ2G4U1Ra963ciI+Q
tELvx3zHwMjyAmiLphn6KZ5cjR3YU+UWGFVWbKSWoCFwAHU8qM5T/NeK2evlmjkGQEWBTSioV+Vw
DQGjluQYne5x5JBvG5u3mDXhEcRZP60thXQEAchaUut66S6tzr9/5iuBAZr6QoHVWlaoyPY5emoG
qkgvQRzTJtqsDHIOTC7vh0tzi50izwARpYG5KbH90JMrMNFUL12/85+S1Gk1zpIli5v5lkMIG3a/
/m/mlzsoSFQoKTbZ5Da/9VOPjiOGKrAN9aDKCWxQS0QIwNeqByvruqRZbUqgQFieT24eFVTm30v1
bXznkQvq+z/3h3fbEoRegb1G74i+8Jdy3aa4LThsk/Y55k68/xlWfyT/h61x4dxI6GEZZ3Vy9Bdg
s/6V9z3bNbrRtVExhpMbt5pZxpGVlBHBhcshkVh3dslo4acAIbujwD0Wn11Tr7AbC9f37/wFEKgS
lblbedkbP6Vo2x2bdHLDLbOa0GThBl1rleU/h0/GzqfPYDh+DH+St/tTfB27zWZn9Aua/8G8sJhi
MeMb3giwf0d0c6jop3CECcoIpGlSWmo78em+uRv3xqW9ecnPJlrM2iardPiikfe46bn+YhT5U8CZ
I50U0xb5kpVL4/bEYkLBU48+oCsGV5BFZEwrGNgsbVAXWF51QPvh/GsrE598xyjeBiu3400fdGZy
4RT0VhrqoC8ml6fCHpRoO2WrkbVMxLItBnsFU/mPlSUva6UFSRdOsNJa+UGkLxMJ6bQ5PP3qyEcA
nDre6TR1wN1nSnQl/L65Wc9ML25iDajSJuHhApqppJGMGvRUgR7kABzsyn65viIvByku9ouhNoLC
YEkGdacYmGo2mcpkJ/wLS99BsFSECkjAHZEPaFEIW7wU6Fhvm3bF0c5R6ZWbPxvwfA2cbduqzvV6
MLCJDP8jMn4lw8q5uOnpzn7+bP/s5+sT8ExhWM5rmRVPuv+aSgexNBN57e17I5MDjAqa1fE3+Izx
7ry0lFeKX6cVds1gg9zlddoMpNg0m9TU7ENOpJ1A4QhsMNUAJvO2av3WdXlufTGPfdDWHRfDurpT
bFQPaEYhruBVG82K6EDxAdSnlSl7MdhF5T1S7GQllbXsovl7bNBKNseReLSqxsIDgYhMYEGNqW7s
2uIO6Dm1Alsxa6vYiiNys2iHbDSClLOY2lAGZXQ12XHLPYC5DgA7yN2gNL2YBJS/xroLu8llr01L
k6fqJT+KX1pn5g/9m7gH7hciZFAp3feHNcS2enMBzmwvNpqmpHou8+3kllZJRvQAV9vqOGz9P+D8
fETaRTbRR+QE9OujoK8KXkEt/Qbtp3VyHk4nnUTUoE8p+Qroh/NSky1IjwiHvifryw3oYLkP1YNo
K7Rxnk/9Xn1aiylv+Z3zmZu9xdkxaadUE1mGmQO/utvsMxeyHCsOZ97/y5OOdlF0roPZEg/IRfxY
1Hk6pvUE3x2knsLCDORHtb7heD5F5+HEeVkP9KeU1x1lKqg2NFZus6qNUR4KJPv+x9zyOkDJ4QWC
7jLgTBaXc8N3wlhG4uRG5W8tPOTpine99joYJPhX0SSBrlV+GXOkaPDz5VDR3UamaCJr3RwU4veH
cKNaDwiACKpGbHdkn5YBRiTWcqr1se/qp/KVBw8eWgRpag+Ut8XtaKoEfHyp1b/dN3vDzcEsWADR
7y4IM3v75U5RQpAA1mLlu3YRWtNbVpJt90t+QUgFuVynIONWfkPjP8hnQKrCHYeVl92Nyxn2VURW
OOBwM0sibS4LpL4FDZi7N1Kq7sRX7iH5zL8HIm6NT8PrTfZSHhtQwtYbhUpH/mENwHvtZMBJAFJ+
WefRdS0tW9bQweT7haj6bpCBmgNqCONR4Y5IkCGh2YsrT8y/acrLU3NpbXFqhKYQDKZoPirUjHCH
6IsjM6GO6PSWYkdP4H20E0c1B4K0IHl5Us2AHB/e0LX4INDs2G8HizdFu3N4NAVMFiRpzPv74fok
QfUZqTOgvdGxi4bNy+1ghFOisSTw3TAviQzo8prsyhJjgWvl0sJiw4GiMPWbgTNc2eFs5b122Kmw
6lP3ZpyqB/acO8IxXMtO3oimL40uLnM/A9wV1Om+Wz81+wkMzZOV04TkdK2t4oanQDoE5GygwoJw
6PLS1PsizAYd7x8IzEO/6iGzpORRFhJ4+vsLdevgGjyUPGEM6yT+DefPXLzPmr6BLjjnZuAn8sJj
t5X26TPzCp7IW37rb8KH0VVO8j44+A+cu8ahuRwoKoozxBxgWgMEPIASX24UIVO7oSwkzuWQogui
77zoSAq1zkqqKStXBnvLGIIAZOkwVqSyF8Z8fhRVNsWB19Tb/IjbZZMFE9FzQHinFVKFpTuYx3Vu
arFTmrGqAAtNAk/y/S307YDWLzm7rJGoC6BuFyNLwAdrT5Tl43JpdBHoDGNQgKQH46teDnpsRp66
TeBtsUV/3d81V0HdfyzJs7tHjRIdupfLhlSklEN0CfsBsqauSAs7NWOz2iOlmyJogdKqVRFmZwfj
uCYHenUIl7bnVT7bsWrdynELNIBrQImoDV7Uyen7TeBF26H4E0xgl4y+7w/35rwifEfXOeo5gGFf
WhyZ6Gs1h3kVGkdUzHLgCf8es4Bo/tO41aJ/GzL/HSGcJire8KG4Vi7tsaQX0ynB5pmi9DkdmFl2
ORHqAGm1rXQKs2cxOgX+jGsu2SFOH1OtoDW422c6LeCPih9xisj9KbiKKxbftKSTSYWhglAH5sAI
CRKMB3/Xeslp7OElEpe5AEQ8tNtZ8pasNiDeOktgoUC5DgHSnFO9nI6w6fM2TAqQxKGd0ot/F2/+
R3FoHY0GEGGZJLsOCedKp9HmtmtqLEtyMNxesHxmfLH2Ql+2o17AeAlNgMwa9s0h+1Ipo4kXuUpI
EZyP+87inx+4Ywck1xoFwDIEh31ZRCfATDhgID5ehOBMhntsIersBbmTtYc6fBz8oyiswbbWzCwO
tJT3o1C2MFP/6XYTXfGGy3Dg7yBAggug/gzb/vtKOjuyvCJEOQIkOF69+/Cjahu0yUpC72/65Twk
mm1ICjhNUUIAj9cSnhVC8QTv7C70QErpFLa+m8xsV3vKxuMs9bv2GBCNO8OcvOIRbLAHH1mazQbl
BhSpUs9ATf/fH5iL71ncAGmuA68CRlevrl47/RN1QMJAlgf2sg+9PI21ic1TQUC4+q7dpCUdWFez
k4Lczv3vuHF4Lj5jcSfoRqRxkYhpSUHAa6C13ZAeZQ78+jspcWJlxdpV/RaroKDAAt0esPwoePZf
ntUqC4HKY0PkhQxyUQkV3pqcjCMBmy90BKYMTcOFJR8GCwmHP+OeN8OSMEA36Ob+sK+KMP/5EKR3
QcaJ9MvfuOdsy/VaOkqh2keeMTyLCsmlhz6AkG40kHCTHJD89JS1J8BfNNZiCyoIocAJPvfBI+dz
OXhhAIJsMMYIFGSuZpcD4Px2pe1i2Y4eh3wjGbZcAoUOOZHvwM5IqLt4DzF9ZQ2ukuvz0M8/Yz6N
Z0PnoMrWB+oUeVLw1Qs1LdAv6teH7OiD9mzYt8WLWJgFFMMA0OaUt/sTf+OuBPJz7qEGfzhqbAt/
OVQhWCkCLfYS9U0Hca0PGlnBJ8kng/ZaBKW+vFjl07mK69CXANcCSK6IDO0VXAgaR2WRpOXgZYQh
QQL2WloTlYpWd1Tp9I7//fnr+DGa4BKmE3mrSGJCVQb5kwJ9DBOilZ+/2kQTnSgaijctMcweDyNq
8gju94FZIFEGSiqo89yfq2WyFU9lHU911D2RmFJBl325UFNhJG2LFlivK14iLiBQelbClYNw5Xpn
G4jwZ2w++JyWCMI0DLvAZ93gtVpBetA4JoCt3h+GsIQpavNAkNvjDUBGJYxjsehtw/WpEYajN9JP
b9+ZG/pemdNvEEtskPUU6a+BvEXkM8MMvssWOdi5CW5+9PXSw8sBDKmEbD9ftr+hp2K+zVI0z4+P
EjF3bkc//mRk19syUckRqSE8YFO6mZtqHgQH/1qZfzr69ae1EggAprSnf9SDDEiWhP/87mwFf5ZW
9rNOBqqTZJuSByTZlANS9I4rOW+9+ZGTk5sSq6X35+TqGCxmZBHC6RWPTtQxwIw4U/2icCb/e8ix
NXmwlWyNfCUfIM0TfOF5Ls0t65Jcx/pW1mBu7316PDUT8srI1vv+3DpPnukdtpWFv1xrt/ty3J/K
ed+Y98f7V4H43hcs3lZZNMRZL+AL1M/GrFyVbj8P9o9tHy3Tgs8nz1ZHHJU4xNpYDy593bgWIUey
I86XqdO1LXnLI5xtyKV2qTrKcqBN+JqElNa7RldJWlfWd8n63oVqFBs9DDSQuUC/Ai65P+0P91tt
LaAwc2z67WTVe/mQRo9AiPJm/g5h8/tzfh2TL1Z94ehrXQdbeImPYMWRR3Muep3FGUBHEKNDUTn8
5vw9A38DQKIBen9QOk5yYIPXgru1yV6EqHnn+0Eu4zPs1xyH2ns/MMLTfUI88LrQF4LDR7EH3m37
qcH97zrWcee4z28SpfvTI07g99ryX9/EIFcHqTvKDUgsAzcuXnpWv+uMsYhA0ZiJ6I/Z1vWpZrlZ
fkb5G/jVWR2bGe+CECQfvd6nfI1u+xpgfgIgghGviZIv+VFm9wg5y5lZHZ2HoLldnA2N0+Je4abU
e+eg72Y222Cfm9xDehjMXCcKZOAgfWAKTrXRt5igxgG3rQ9naYIB2yztP7HXnPK1tv8bcyTiVYE4
Dey7aDL+m1I9DxNKLq+FPKy9KGdoYgaC3sNllJh+4fOOIfqNJSpB6Qjj0Fjgpmt+y7lobMFOnD0k
Wpqa6ZiHdq6LkZUbY+b0NeM8XlMDa4r4NbTI9U2Jb5XBlT+nV5GtWuz0QZQnjYlx7RXso5UgsZw9
x8Ma4Pvaic5GsFIzpa2Kp8rlpik1Iyw7A0bUOWv7AqD9BHoanahrrGEgD5h/1qW7RH0Be0KV0Pg6
749LWwMTWSlV3PCCqAacJyla9CaIlEBnXW4D4SuQu/j3FA4pTyHwA0gqxzU/4wiRWQfQJB/Kq2OW
u1UP5lQzggzNZ5WXwsM4ctEflibqrELbG3gaS8A+pgXC8d5g/mFCqu+1yvsCbF29AlqSrurQRdlV
XAeaHRRVnJ4Tg8ER2il/CUGdptBYDQeIUPgpGm0UiCw644S9RPyBccI2Vbr0rex6HXzYUjUAkN3L
zXc5xPprxcpQ2hYgoW0pSBxBVSxq6fTKl3VdgyaszNhYuEpRg6aIgNqOj/+EkuYHwPjpPqSt0GJa
95PNZCVn26g1stGOEr0XAXlu2/jX2HIKgjlJqhozVroJkUQ0gmxHDZpprMiYSBGoY4pEBvGOGqql
mdZRrDzITGfZtjZyAOKEIgJfni+1oIRSlXTy6TjF6L5MulrirW5WD6NSmeiZI05qG23wKWi/4QLW
fDcBdg+6lGWWUlR3Qd6e8miJ0zX8YLC/qM0b0/0Bh1ppInUv9xyYzTNQamyBch6eyjSpgNNnSuGG
qdp0ZlcI9eOQ8cHbFGfNr0rORJ4y0Ot6YpwYDbqYQJ5UaqJROjHPM46ko9z0pjB2iqmwBOxOQVHH
oNIv9AREhG1f/Qyg/RJMRWNVakIpqsQFJY1xbI+RlPh4+/HKtmgy8aeE9Ajn5HLOof6cc+AwYfow
2bk2L/cgtZpC9DRrQpCgcU3gQA4ie/E1HniktlGApVUTXnW0vBIMswFif0LaNull2hg5n1kzrsNL
65mou6+S4pDnYfqMP8VSEgBcHtlZVfgNmca0emR+JMT7CcqEGFgRNk7UF75AGceL40YrjWbfD/w4
C8ILwU+isojbSgzkk9uoasTaZoCfxGRkvPIds0qDjkjPUsMSOSmVSDUA+1xJIM2gYaf4w6aFenJL
qrLmBdOQk/A3y/T2tyF1QCXFXN0AoK0MwNSwXG9euVroQCGoTli0IGhaaJyrYgUOBH3qMistwJdr
qnJnIF0tJ9UpSUSNh2iLAUp8LqsjyawMNYDeV4c0ISi0hJGOYweikDjkwz8KsJLgLalGxSniUBCo
xGkMJnl0Q+kRlsRmAmAPZhvpaJeXJqEddz3EnzlPA0BW92oO4DVLyCOGNIYyySJFOab7GvrKeBl8
Xn3sMY2PLd8YTopVGim4wYfvDjyJkFGLkCenAj+hIBexRnqd5Cg+ZRzYxQNFDX0iDgYSWm0XYPzM
xz4j2tCqb3zWa1hRqCD+ACCR46FUgd8xiCOc/wZXYEKkBoAitPA3NeSYfJB8gbqkMFKi1SkDcGjo
k1ehTZqEImFd/RryYdgKXDZGYDBRwn2uhUZpFXoXGHQGrG36GHoNpAcmJ4AKtM/TKg7hu1q90N65
UsqrjRC3aYdkbOxP5uRnocWX1XzNM4XzxlhABgIMq+WpKJSsdTtdTDFbScTN4jpi9l8Uncdy3TgU
RL+IVcwEt+RLkiwr2XLYsBzGjAAYAYJfP0ebmYVrPHwkwr3dfbv/Dqud8I3ZNh60PdJBlGsigxZj
jzYkrVb7eDqtBMR9Qd4xwYpUTBDgu5nQsDHWnvxN5sriSmGbnB+dphJFYjUHXzNmGN0JHCL9PWcr
xd+xaDJMGr/tv6hW7r9GO/UNI7pdRlhJ8/FRh7yFmMy6EWcri/PIxyLjVMjDdb73KkZRil6lnFpr
OCTqfGSHH906hjV/b+Q5ZUx/VX5yjoKpbj+hgl1wQXIVBA5NoS2sH/UB0QGOD2FsbtNzEHQuIYEo
tzTL8bGOpY+/4vc0WHWMS/qmTZHPzs/Paq9DjAjbRbxsnaLQ7Pp6u1Np0703csq8a7Yp+S1XkTff
iXzR18Pft/GKV5sOCr6J118GLXPx2DR5270Q+FKHJ2+RGFvDxtiHfau7D5CIea5iHtLhcTkmnV6P
3Vvf8rH3PoML98Obxe4HhzB/0wFywfgjkyiqmbXj6P8OK21dEQXH+nvZsnw9gxO0v3a0qW9Od0tU
hEYkL5ilrlMpVDZ/OdYBaiQa9yQpGS2OGGLKpG+ugsrxOA/5Bqzc1vsm7+K4WjDfEfWorl47pKbo
6kl/mXvY91uQbl56XRJXPe0B102Z9oYf7cUy+70vauqfjmQyaykHBg3e/GSGsoijahof92UUj2NK
6hEnUaabU6SHsC+tmNbtFNqkdg8kyTWkCfsBCUGLi5Q6q3rNYdQrnr4MWJ9jmSJj4jV23YC54U7i
MuUGaVvE2CbHg2wmwgniORY4lodrPZZBCJRcNtG8/EANnb3q1jY/aNxsxy0d4BCc5O0+f1psNW23
Xnr7S49Ss7tMrU8hNCS5hto5nHf2/Y20DIy3LK7ojQjZ471I7sJ6HUlSCjs/f2de5PAKURNLc0rU
vJlCeOvxs058XkLFi8akzbPxr8iMXlQqLAAIRhxleGkUYG5RBX613yXTTDAJHGHbUqZvrn4Di8/7
k9wWzPNMgyERx5JOh/va9XX2YtqcVTRKP1tLM/oG97EPifaJ8zxB6eRnjWJkj8VdVvkyvos69bFY
X3YPnfRQr901XsdYnf16rv/tSb+PZ9kl2ROqog/4JMpsfxqsN6zFktqJDdoiGTtVIKLzybM63Mh9
zjyfnOaI/8t1qydED6FHXbPPc7Pe8y38Jy/tXPWwBJtsbgRMePV1r3KTXk2g1y9ZK1RXmmpc/MuU
yn56qNvWe/CqevyrumR4dYkhs2dtBrQFaT1u7TmvV4sh2KTj5S4/4lh+0p77sEioFdYQeAGAf+oo
NMEF93XzMsSrqd901E/zkxiXpv6SrGv4Va5aYHkNgbY8pGvoDLe5w/GJUbvJb9/VuvtAunEF10T5
wXGz7pOzBN9QqpZuPVbUHeu4fdN4h/87zDAqvGPi0N6QwrZ1QfWeB5dqnQYKPgpR5DwyMg2tsk7N
ZeuDlrAbnEDPOpvEyPzxapNbHWKQ+nqoPGxOYpwUDVuPucdbtVdBffJdhXO7n2l7qv1qiD9lJju6
07FsY309mlkjA8UJMb+jq6ETDvbeqF9enWf1W8UekoXnoQ072U1YnzKrp4iiWhCZdW+61yb8rHgq
fTLZHn1bWR0/wyoNxkt18A/brLV80S19ZpGj6f0eBd7elBFTNa+LVx9/ktUXzZl4N/kioQ/vtRE0
LKYd+re6SjpcQDfpv0a7gAn+uHSpLYdQ/AVVaH7Cdjn3Kqte1Bcl64nyYZuT5uI36hjLZgsa3PJH
XXdlq8zUFJqK4ZFgrv1PPBghCtsuU05cV1uhuEtnvuHMJRYVhPLF/GlYy78NAQPTRept/icHXX2d
MhMs54mjcSijNhFEGAuG9qCc5ro9VzKLmsIcEq7XKYPR2Bz5S9l2Wf25Q3JE4eJP4TN3SDoUvXDq
h3aUOcWSGzoL11r20d4fOOnLmrdcCNs2OU3IYNx/wZp1L0FfHUz8rfJPzqn2EZJoOBiJRsTThFIj
/xaqJKUI8FK1MV8Quce8XRoaGD865DnsuA3Gtclftj2T7+MeVNdehdA6Xp5c+8MX32rMuT8ZT5kX
Et+qqhziiuywyMzBz7zxgW+aber4HKuIMRZN4v5G2FrGB9Vb2lyz2p/WczNtu7oPN3805zYhs63Y
/QMbEsj+OD4t8Trbz7wiivBWzGDrA1ZsUE7T6N3XCd3xOdn76b0KN5DwRlDrF8dAJkHhNTtDdcsa
iv287n2enftZN/R4EwZUFCNV3J6STfv6REdzKOr3A7YIVJ1RriFrxqb0uiyf/nM2451HS91gltm1
sruaLl9Wji2un0d6MD1f5y6Rd0k9t/0t8kwcnkJ/HpeXDIGmZGNyZw3XuPZMd2LoG7uXbIiGUvkb
ri8mBk/x649KI4wGajR/JwCyJC8+E4UOBCmb3J3p902p5Fu0dnQdY2yJ8PVENyGSWY397G1zLgub
9n0CEYDeDtG/2efSaZIIC12PxznhpCb3eYZ1J1cnUWDwltyIIg2j7aFOGLuWieRX5bHVn8KtlTmV
VSDup3bbkUumqG2LQ3jjUfR+vsM4ttn3Omyx7lqU21Df7g6T/yRW+dMe6XgshqlOYae2pE+LeJE9
2ZHDh20n9Ij7U9XZ4BeRyYfu1Kyp0Yx8jOpF97331xdbBtCWG4kP4joPqsSgDi9jw3rSlKothmXJ
HL8sg13FOV7mbCkmr97rYpZh9ug1edKWLoYtKZjchiSZ1pZK1KJl/zfD32AGEZv4YeLPyL4zyfDE
oBm9u4x6+Z8Jbf856JtancU4syW7VIm2HKia6nJo+yjDFj5LGKToFM+UxMY9+37TzRc/5KDhRJmy
L6y85s3YRgDY+U3tnYJ8wOp5UOH8tO+6ns/DwVgy3lS8AP4ObZ9lHfvduZ76lhbKCIJ2jrAfSj8d
lS1Tu6nPWwrDUAcdzqgUbkdNL7sbXMON9Yn0ZCDh2xoN3Ssu+ylgU0s57OueaD8JoxiSVudPpD2x
G8iwiwNelgzH/r9OzgE52knNMdgYkbtznh7NH7ctx+va2tidogqcg/+k6x54szNGt0GqP8uEzpW3
nnlvLhziX4GOtH/25y5l2DLoo/QUIjyoi4DsvHdO612e+rrr11uVNS49CTq7H2KoYp+4t1Q+yfbY
03PuDc0PR7cKNrQla1JMI+UQdr6DeGI6V2FLMDhO3XD22vzVJlukr3HbN/gvpom/ne2WtMTtcQTf
JHQq8vpZD0ERxqL+EcSxUfc0EzqgJNwAL1vh0a6irjzINqiGSZ8zF9TBuY7S/jbazmVnPL6aP9Ng
5LMGlG5u4dRH022SyzS+jXk9cFlv/qJLaxRKkmGSsibGSs3tRTTHGp+E7qW5WwM5f8c4WXAzLgle
zVKOR/lxhWZFfPgjbTDBwE1Zy3gMbsewT/2VaOA1ugQN9a5oMcctNc4xB5dHFBA47QXBU1p3nNy7
8penOQw0xXXvhex7wqOwtNNe2HzSczBvD8m80TAyJwhJgko2p9YHxb8xe9wcmKUE28dJGTIqOzYx
rsnNKqOxSFmC4O17V/G6wng0p6XZY1HOLX3ACYD4nb9uvzJxA+zU1Mn27RBa7+U6zZpmzIOvfJKe
vwDDrGBSRb4z4nEfJcHeUlGtsziRq5Ex2MVKCMtgjuuAOAuGE4os64g2qGmfJ06oJVQPaRdW/kn7
dvgc5TIfC5ojTrvDV3FU2qiOuzLKakTv/VLr7Fzpo8doRaoJkSY5JAFHXxudbdD1x5uymlpSfUy2
FC6qvKlchhQiAZgd9l7QnvznH9r7cUzJGlxSquuVS7OPI3KTGXEvVLqt+dPY1HkF4t9nT+Nc2xys
cA8U1WXPzyBUCVsSPdehuA1RIn/mwXS8h17oGPsw3v4vlMdOLxNtAd7lMZbVonLVaz55rHgb9tx/
WVRzjW/ICr55nTD0F0kPBpaDW03sZOUuo+CILnJccDj1DoYtL/TTIwqxIV7Sxw2XL6zR3ZCRFxK2
nLEbCfDiPHQegSGNy7altN3ui7KrMAEpmz1df0SLwiuv6eo5LmivQXsaux2/hN2iv8pFKfCNSsI3
M7kFd7KF2gjP05jNrLNGRzjN6547NI/kH9OnuSrTjwofhHCWHOBLHX1oMvSmynUNGAkY8oFzzLY0
T5V0nkffZTLGfMJeP1XWieMs/H2sT2SNRNFTsFf7WvYcB/8NY5/7hYl9/ahnFYEPtnr5FgbJgGes
f6yPQky6PTkNTlO0Ddauj3nfp80tzcwSXEJno/DSeQZSuOmlYpMFVWQuED4WQ5LkwwCuD2e/Pnkm
iLqb4Wx/zpNu8E5hmwIwASVlbTkdiW6fEud17YONOlUXSxBgozJbwo5IshJtXLppW/9EzRqMp2T0
pTjnIarQcgxkKzDYjMPfgmlXvs3RTwa/9jkOz0dUL3Np5tB+EyYznyXptdwCOO1vZVhP809v83Kq
12VLsPJWA/mequlIebLBmH63yQcOuSOHvNO5p+3dqP1mKkcXRPrsqS255aA57iSZDQgKVcvglm00
IOc8H2R7VU5KUcD/5JyltSc+T6tHHtLUUFXpwuwcDSfiBiOGRB0XtufAZ7Z6Hl4n2Q/gxlan2bVb
sfYsOworURgn9hnMX0dM6TD/RGRJF4uqDGTtgzBL6NVLPs3AwxN9WUP6I6aFWEx7/QlFpwTTm5v4
YYmnbL7V9UdrMfU7W6ziikDxDqCJaC6T81oG055Np02F+8+OVaaJLB96it5RtACfeTOerAm7e29L
pYdixosAYXiJOLf33ICUWfH4QCgMUM4OWPoZd3ViznO6tttMhPxCYuXuWwBwqT+tzebzCMmGqgAn
CTx6Dt3+EY3gDKyd/w6o07tTgCMmBZNi8pNSZtLkXjJzuZLiR9UGUrSKf0Gb48TuabP413DMuFo7
h97/hJOHr24UIlKXAWv0j+FzURW4uMmumYu65vsWzdUvKjLXlE23t4R9jtMYLje9ByS7Z5Mvvfsu
UJO9HIZ/FdBJEHEi2qYQix+wqQ/TGwEs5DaXnZD4i/mSqCV966egv7f1kDJrPMZTQlglg7Lvtdn7
8cUbTB34hT38NixElxMFs/eoqKd9dw7eaqvI4AVVKcFXoqTwB22O09xX+NpmQMTfXbtTIWnd2VdS
uqvvSXMkf6aqO9T3XlFmPi9cIcmXkEvb3R1VHzTPPOVOVJi/JFxtmNWFD35ShdVPq+eDD6am8VMw
WmlKlQ+1LtlfBoezKJtI78Eu5MfM9BSLIVbiy2QFMwOVbyTFib9X6s2NveVYkxKrXUojVwtbDquW
OCiIJQWHr3wR6ycb74u+q8NVB7hd6XRSb4PzAr7FaNL2qe+6zjsllLl86Vm3r8OgW6RYdEvm76C6
VQCQwxjQ5qP0kOmnOVIkB1XN4ctLVTVeXnLvWSxGNpPU2/3aeVnIga0a7+RRrdp7PEKCr6Dj6+OU
0cBde6oI0stm0yWP7rDz73oQs2MqXMXr52jwsUqIGidBsOkWab1zLaDq+ZvkneyNmW5ruu/DaVuy
3dwbKCuO6Q+TCSq3YHuUy+zG98WlQwvyoFNmeEHgGf9cxvg27Jsvb6vRiJSLROxrdUXd2wfnqasE
Zn44JjQE1hx8rs14/g9q3bQrOtH72H0ImUAKBdHx8UwEspd29PFZkdryeJtMswcAu2U5U5kmuKGr
LV2KOJiReHkhkEfZryYdX2d6pOHcCs7RE1E91XTBJ7uurgyJRF/jjCqF1yZa79Sug/vZEHBKDbmN
VWXOB0Iy0matGbq7NV9i9bAHYktPTUd43intV9l+swdH4l1XUd5UYHwuaIKCa2JN/ov81EdadwTp
3VrHa1rkOhI/GPUNvktvGd3fdq2z6g9I3Z69cL1GNCFOfcgTZ0mR1ATkS8VaZxBY7UAVq0BqKO0b
77bEsQbomhuNyWkFtAUrgGLR7YBjc5wfN06q2S+PnJCRf7PRh3zwkkbaSzNm6ols8wltnHdEVGnz
cmAr2MzhULbTqI7Xnjrk3eso8EqXpsMXmHSoHGxbtfPu8zY34ts4hNghTQe1xIE71nDnDj5POQpf
jqd68XV2TaXVyVNugxZDkbFffgdtlCLLdXboi5Fcr/QmMDd+yuzSpYVb1uCcdkQPV2GrwvNYUfKd
Iy2Ph137c1rUVY5GMibo8W/Y9H72aPS0+WBRAGEUqemelhw4S4MRvJnn10SHOzyHlj5Tll1PsVv3
MgaS3oUE4VxFQysSMlphlDzuwkl0X5oPp+vz4KVoQDdD5sa0afdqqK7bO3QNwAuKuzEtxlHTETWV
H77zMsUzHcb+2K82/WlyPlah48Zcs/aoRJGlcvlxJPkaFTIZKLmaKY1qVkE2odQf2xWA1M7pSwCO
KcEL0ozRj2kSewEI4Ig2sKn3pQdy9wqknBXHvSKBAPfFmvY5Hx2hFbAY8czTaEZSMu5odtEUunPG
af3FulH9moHvnjuzUod5/qzLmOzKu3YAezqPjk6vDPqVZ2rjYZ6IEzT+PyWDaC3icQq+D42nf9Vh
723FaHb5GlNgxaeNpns/L+E8v1gsSIj3Ij7v2zYoSrVRqOR8NG4ixPGjwIS/SPv3Jj1oymXaQPWk
YVO99wOBAa36AOpXGu/zjvKhpZadOntqdtPak+mHNGc/xPNbDhENRrW2DjkhQIoql2bMv7sGeeXd
QPH/+WCS8K1uDRxeFUyENVXWuKfBm4GgA9eYX3WVUe437YB6IwA5u19U16cXG6jurlosJsFMSR0Y
VQBl8h1p5FmjXpzfoIASCppOps8ODOCdyyH6g9gHZkhAicOxVUf8xeu43emYtvE94kViCC+50wtv
liQzJKoNf6XbIj4vwzTCYATT1JeeWA2HWBTO72vuVy9BjAmDWI/8ixNV70PtGBypg3YG6B+2AcRu
b4P5hdm2pDtzOlKVyLpOvm2hbdrrlOH93sSJTyYPPNSn3SryuLzekam75yvsjI47M5cpFeDdnsdS
43iZr3/rDA6kAPyUX9M6UABhgIav+EEoe0b/v+Rlr52Pt13QLFGZDBTR9BCm4ks3LrrP8H3rimlv
zZ/GVwxTcikD1AaJneyNGtLEgPTw2SUj8xLSbIz37jIulf88VZOfFXYH5yqF3vm+W+zb9TqPZPYQ
ys5g0G5DCZdshv1rb6runx3zSZW1WjNYpG5NvyhP6Qiftki/Q/kTUZ1beuBSLYPQV351+Llu4vYo
Ftvm1y6iYoCDqJh+lm37Ok9HuNxN/cqiiok+0jSJWL+xyZ2+jVNHejQ5Lf1bMy2HJHEz39U52XCK
Kv3IiT9HFzF9tsnKvqIS6J8lj/m01YllRSwfrAZN8fpde6v+BDBQ/3WmWWgdqdp+rVN0PMo+BMIR
Lr2XwccAi1nz5C1qmoSxDTWk/9R+hPnZdFuq3vYIqo016Ma7bWVZzX4cfqO3+IDMTYbQzNRKP0xb
MywAbuFCPeSHd83gquy8RIlDjpb2za982NcXgur4qSvdsruAT+5Vudto/+XFSqmL2+bxO1IJqh5R
J216oqz0MBAHD7i3ocNX09oao3/lt4To9NLZ8dJR8r5lTXRMP9CdbsTYzIle5DXyENKWMvOmi7fX
8/SwLTlMcxq5j1XWTea4pTZs4ht8RdhAl/tS3m2jIXhsT3fiPJrVO8JbN+TyW8dWi0Fq5yT6DRa7
Bl+ZrI3mH9SWNRILi5UP/HfUXEKv00HJwR38AIBX6XXdl9Y/D9quvMB5Tz3aKP7XgPkZCrNtC7Bv
QAe9Js8+ugDKwbYap/vkoJI9hTDCP1IFNX6qOKP8sxr6GMkE9D56crqP9kZfVtlS7LbKL8exYs8U
98BT17wLhokhMzcBUmRW/ydyCCiQt259z2jKBKs95UUa1It9yYZY/wxCSIlC/GCmKd+sF9xP1Pbz
JZIbIHghu0l9VTUkzR/BH2cPY+t7bTmPhI6eCXATG3RELaPTQZac1xYO6iM7zQd/4SfOtDh/GKul
IxcM/JzzpMqeE5fG/7bJ+dV5FcEYFLVrs5+CzAuwCH/zYYNh4i9p0nn21jUMi6CJpiFF0eTjg+yW
2BCzOa8ayIBoU285J3bnkN094MkLM8rpcmbZgQrAVceI6Q6nmKo3HhtVOU8+R7pv26cl0WCjKegJ
SogYic09dWuMS1irK1xb2xgZUcWVK8shiVtVRnPoqFwnkbz5QX6QQDU6WslkmXp4e5lNlmYvb4DS
Ir8fLshgGJV3MbojWM9MQdVtIvjah8EHzzFgtHO3O1tlhRYmDTi382Qthyan+dmo6EXhZUCkNofj
LYHjxW/28Y5oZNxWGMl9XeoTViXCfQ37mRtfSLt6Z/RTY3c/t37HwjwaaDGDjCI9m5SuteRAzTZG
pWoXnTBPb3lBrpP61Msw2p9quwQwvDP83HH2wqU7ztsoXfO8z3WKtdECA/WcRKj/Gs5Tk23PFjTN
nlSij+Zej0b2T3PqN/7VxENo7/LZAtfLpfO9Z3RVe3Nr0yHPaDd39SgWXa8U4V5uuq8AeL2h0Rln
/RrNrvUdjE88tl+CKunzO6EzSJdt8JKENwzM/K1uxmC6qkCC0eeHb79EtGdp0WC1/+HA2yzDaXe5
dde80hn4Xecxgq69cf+LYAw4jDzhzFzQ+hGJB1oZ6UvfH2K5VA6yVcfO/jaRt22XwKuUPikt3F56
x0z6ho01Kj3Hc0Gw0N09y8Zs9c3g4sr9pGy1P6C+W8mVEDCzZZMY4AgfCArkUlqVl9tHFmNJ/WEZ
RpIhw3JyPUBkxTqP42stG5B6Llp7nIM+YXhiavMPYZFvU3ftJ7H+oMupX7K9hg8Js3YJywUdwwTy
gQfXee2VeZzh+Y+L9Ka6xkmBwuJ7Z7KVMb12FNWFj4waTg2wv4SnjfV6Gu2oc1QV4ZEDfahq+pR3
xDAXZETZ7tzumsUk12hHWTZPev8+oFckPm4OF/N+8Cv1y1IhzztviYyaV7PBnn+vhdfHKNEqXLyT
QA/U3PsgzdPM7MDjRErT+i0IDzNiupRO7DbD5VtWU4uDbB0s+NmONQaleVGRDte+SQlDU1YxMwbA
wJC7gFrNUT06pWPooizrmwIeI1V3CCb3+F4taG3PANbtfhm3nIFQM+Z7cKFCFekZEEcxZ8Anr+5c
W89PHiSWvjlmWrq3LQfMevfF2IT3iqun+bupTKwPgWN2uegyP9lvzvbpp0Bna3Otq10epWpcgFVp
ihDlsdoHBrWRVmJYtR0H6FzjiYN+G1Kh/er5WbQQ25Dp/POae2L7EY9Rx+qKaxveH9Q5uL5W8TyX
Mz9Wno7VdtCRCEY2zKGGgFurrzLxCYulLL9uO/zibRjWvAcrTanmynVh/1xhgpetiGQYBxe8LDt3
nqKkyllla4YgI1ni5l4Jy6q0iKz266T9VP0XTP7RoteKELqtY55LOLFF795XERPDeO42r+quqDT2
/uQlJhifOJWH51EGXIM6yEb7PPDz8pua96F6V2Q2mlcfk3ceneuqeuxtRXm7S1P/CTyGsz8FfcbJ
nIJRew+wh2QVDOC9ODWMTdD9tXsakvyw6Gg+17uOYU/B4au7rgUYQLFx7DBSHNz7cD52OwSEkIlk
/eJB6awftA18H/WmQJMISF01dxvxmH9AIqzyCkQ3kTup2VVpYeDwhrsNJgA2OZdzePFU7tlL4if4
sLuwE/V96uk1vCaELn/JVNUeN891YXM1Bv67WOa4+tOnNfKcjdHzAZaEa1sXYDEAu0heaDbojzdm
rTJv3E4w40jyPbOmXB85lzXitDn8kJIs2Xrz9ObND2xzhAzikHH/Ww30Y4ULpyA529yE6Sk2WwJM
FIRjinfarrqHVGfmIZ86WkC3engzrfER7+QhdkS++KS1txfP9QhGokTHcRkuCbJfbkmuVX90tAVz
RS099bCwV40AeS8kRc9c+Eas3kkqhfP1VoUI8FpAH2gMBFqM2eRQn+dOTWn3o9er/1PFk5nAHGZ0
eOgu8rmYbZb9gCGOia8SOnijP8LoyE1dzNHXLVP7GdJE2uuuoHruOhV97OXV39n7ndxTaKt055qe
43Qqp36eCak8fH+lcWMM/N6rvZBFcCSA22HSd0cxxh/91byFkUO3ogJxp5gCcDfv0B2UrKwpyLw4
iT4qiIVelBnsJD+pCtkEbeAg8CTajpoMynFZ/klNnF2ddl16lnArL4dOQWvyTfnMAlfZ8c7JwbjR
RB/6EuWQodepWvav1muY8s+1Wl4B9MenXExtRQu0uLcWVw97bSc1H5eB5v5ATThF/ylWU1IA81DZ
tEHkYijTI4VcTG2AuigX67/EW1x8q9Mt4Mdj/NGDDrkW844s8X5BoqwtqrsxfV0cTFu55d0sy0qt
KMrm2jePGGUYLFioUIJb4PIcw8LVOXIz97X55rd5+IPubPxsJELvYrO535cGyXFwm6Hd/nph3I2o
x1M5lz5h2/UJ3nVhsDDrpkecjmumq5oOkY+DOPiaIQTUt8yhEfo9A3dvSAMzli0ictneA1PEE/aX
0vjFtmuBqqxmzZ/RjNmVCjBkwfXz5IMuLOn+X2aGg3RB4l29y1obVBU7SfPHFSWZ/8mwe/qTyhNL
Ccu3gHlKIorXeWnDKy6gOdIAJWR4VhHY2mlDsss9E0euvVW+njXwQ7+qq9ItBoBsV8ars3TtgHRE
498dkfC4N7NoMHg2iOTB93N0ivNIGgl3AZcWCoO9qS/p1omwNCFFBxtsUeN59UPkiHsKgUuL9aEf
TMNtZz5No1uCVbCBI76jYoFXxtHwUBv5+22RnfncIBdXQHFUEDhiddhhzEDL9kxp3N28PA/GRyj0
/EsO/z+cs3jzEMsvMk3KzRuO6K5DjrrfwxywG7wDWfVZtpZawEaTQsfaAQuVaVtPpAeO2f5VpPRH
JSgnAbU2HeDw+yWf2/Ocyjgo/cP4sHxym17njkzNIsmE+mHTZERS60yV3sJN8MzzvnyO1l78l+jO
e0OSkz2bakZrMC6o/e55GPCvvQuHoRxTa5CcTwJDJ9oA92fNpkR93+fRH4tMuXAp+rSrk2fIiqjB
TU96MoRmqeMgvBvg6Fh2kMsBUny0xufZX5LjayOAbwsQqBZf6jXC6rSPx224LP+Tdh7LcStLGn4i
RAAFFIDatm+SbWhEStwgRBl4V/B4+vlas5FaGjLunc2J40LVcFWZv0t3lkeLp6OWpdRxfXfR0nwF
Es+zZT7XcbO0izJ8CBJNRZ/zZt1AlPDu25KeclPETfMYMamH0S8TZOK2bUMDtLMxg8/s97O/oQSd
g1UeVEBzuuELX3pzkZqHwrOnnT03IVrbqS0oteMWeJkrT43PnjdrOs80xjnTD7YTvLYwQbvLJAmJ
UINXeNpKM28Q+ut0fDQMp52WvQ/k8Vq0tqZfqWpS+AizNSwi+NmJgTLS6T4PpgKNl6sZQuFVmEs2
tiX0eJOzxT3Bw/jftETduM/8pnut0VBEq1o6fF0CffGwi7WX45P2mqm/L5lVxHypaGqiF88ZomHD
vS3YBlvbeO6b2nPXScg+vKyzVo43QxkG2kPb4dh3A5aOHjGWtvE5xtJTC1CEud94aaDcTR+n5QWW
SdWrV1n+W9GJsUIFXNhPRq6bz05tMOKSSUxTsi7coJuWXTz7902VJpy37DR6k7mJZeBiDwmaQsBR
Qc8WfmoHRwSZcbNqe5+8MsoOWT/CprgE7ZUUoktvcMmVN6sKRLudcvO1c/ronDSRzQwtewJqzDLa
taNQM7OlqzAeUcMMRk3EeNH6YnWxe9QgGKN+FkMh6iX6kOBpYDpWhQA2jkOOBDayNZ1xfpt7rc+h
5oSg0NRVuDCAk7OXwqza79TP6XgoUw1m4w19568NLcpoH/MUfrSyStNXx8QTAibFzrPquwG0wtaa
I1RVDCBeNTKM2rUbNWH6lQcYIc2mQ+1WIz54InA5jfOVazvp14rj8WQO5viKBjeVS3+W6Jdqq5fN
cm5M92s32rXctOycMY2hWxufrPRilYN65pQuykBNbzYehlNaoTV70zoZjX2DKtpcodeL69uEcMH5
cQ6hMpexm4AqwPKCB69x0uTZHjQ5aL5TBjnmpvXdUdyk41hUJ8PSmn1tnAd70dsD/IjU2rZQOlhB
at+2k2yCFQLBziUkp+2dB1mNDtkeCZvAbuZcYAJHOMRo8SrRR1s9N0O6iZymznayCXPvpueINvZg
xBCgjIaFh3ctp7VWnI6RuQmFhB8PacbAPPywfYgbRbduSqd+HqLKnRaV68P4WmimHl3VxtaKwzAj
OVXgbUdaEUGHtrlfs7nPbnWsJiauU05pp98gwbb41cGELJ5RHCMCu9lm04AM74ttrY3SueN19ML1
2NLHL0MLIHxR47RwtuyDc7fMMdEaO2VaqPhaVGHc3rRikro5GK8kOdSPmW51d6+azHbW5WAGb26D
4iTOZBashiKIvoejE9iLsLXj+DB6kwEggy8ruhPkIr+BbKi3vvRogdPRlP5DRrdvIjVB0ZZuU+gy
JMYwhd1jgAkKKUaUN5SfUo58i7MXmJsmbqdoP0jkv+xTZjSsTG3X0yYbGj+4M81AcHINvqjOzEiJ
GLqum4t+L3G9xn91DHoFXtJsehnKNrW2lqURvPtBpay73p1hf8ZinuxD4CCA2ViemCk0LEv0XrUu
MFnUHQqfDIEbKFgxVtFWxpOsEDSUVgUe4EiPiMdknljJQGRc5MoxDpYFLBvy9VoSLzJEdPWUQzkW
mxxAYF7WTSDYG1Sefo9536KlD9tcPWvpxaQIYISg7TCTwf7qpXaDDUjZA+Y1Rrw3xFc00QzyTBU2
DL1+q2DAfqjJKfAQCnINH4xxKsJoURl+BoBRTfopTVpTUX4bwihvWzNN2ZyysHrReN6gjXqz/DJX
Y/+kzamzH9QYMgmqrLris9B55yz7vB3MhWRKrPuZwQIVmtEYHe9CRGPOqzcPNSBiQhkllsMoJ39j
++Rg4NLx5nIzTs14KxxN44NAbY5OAxiVRbMcg810hBCX35xqBjJu/bJlrjq+DTtfN4M/P0+R8s85
NiVNpSwS72ACVObMeg7a8K4XUeKv0W/F6cExdRHej3Yx25rCScU5GgYKqwnpZDn69xPi5v4TlLj1
pTHhhtZEeBjZOmpRubBBRx5HLMjCsAiLjtiQwpLRE2Fzab/rLfTVEDzjmJ/sQFycNljuBlo/RmWs
g8zgvAiyKPkGpW4C7CEX6NTZ1WTFPWY+eZFL3kFOFoTV/pe2SfKn1IPdwUOT5wCydK7WpkmVy3sU
RK1YIoFt7yB96Vub0smPKJ8vzuqxEcNCWJP8oj1zzs8wn9RNIznL4cqzmvwVxMrm/IKFRPXTyRLP
hAXk3rsJQ5HlHLu4JYqLtNmMrcG/Q4kAyZZ1XoMuivYrW4ZpnCpO5ArWP5D8158Av2G4d8GPyk3s
IlKi3kBiz/7VWvUK36eVHwLGXlrrmFoX+Yuf9cghM9POh1NIrRjvBy+Zu61pFvo1gbcmeXW2p56O
3+rjhZdE9Y9Rju5rZNYVG0RhJcuk99NzGQz+ZwsTyKtnJBoJYojZeWV5fiNXRVfiDtVWmb7qoTOs
21haOCQQscf9WoSq2adDKxlXjEpO3tntEHefEy27YMHH6zHSAxpVrzw3RtvcOQa630rZBPInRWbD
gtej/0JBzfxQFzsCIU9BiCMNrT9KSBVMI0/I64Lx4taYogW3nkqrT1tZL3F/tybluWT8ZtXk1vCl
a2yAQYbej+HOdyoHy6i6eO6gkSjllwbkUYT9ccoFzjhf30vd2wdwirYDXc3ab8XoezhtJBgoQBMG
mvkHldL4PEKzdZuwqihEN6GHcrZY0EUNK+FGGSFvdHa03U46dks/Dpg+0dRlIVZBpDFYFE6UP5bK
jSpEI7mrl22f1KT2W71RotQIintsm7xsSvTmDSV64K9Mo44eGXDgGLezyC29SsYumI6NG+VUvbpS
zkoB74cUXy57FR8Fsg6trfaFSVqNu+w8uL6ApJoebs4fX4K4i4aXeZyBobVw4w5R1+U1HcLU+QFQ
w3NIcF4GO5MBp1TdfNY8pXG2xRLaUPIknZ6hIg6arJVXOwZRG8MF2gjmS5FUhzZG3UbBZyKlj83b
KVY420UeO091WNeMb/QFEhw3DBuQtNAwOuYRdd0TlG+BGifDfQDyHwfByhN6uGU6TAIgyp080Zen
J7cNMBOBQZX5Upbd0K2ZnG32i665mKSlYULmxhg9nQWEprgFFele+9Tqh8XYJ9Mhp92LOfqCYNwW
/UWsCf9s3o8mN+XYt3AVewi1viIjsCm+IZuvaNClLI7cwGQEn0PVCgES23pjqbSEYegdC2sRgkbc
EeWsz43RVdkqzEp6fUPxI9bS0f5X2+4wGgCCoj/PHdFRhIdkzzK4c8byzeeQ1+gSLqLOwchpHE2/
MHHvIg9cAmiqF9dT7lthJiX/DJ790mameUcDG8/LEr7pOQwolpfOMJeYBrogvW+wr1kLH70i+C6w
3AIhOcgKhxJq3wqA+Ru7bx1u0NBjFuSRjPZmjIPRWkg7m/jeQ0USOHVS5x3i2WzPYWxM50hYhbmC
nM7rrZur8Wde40VZJLKFOfRpTj/BYFSfMB9xTPl2lsqd1aC/v9Vwlt/yNMCvMKd2L9eRG6UPpKr2
NPu13R1lBUF/EQJ00B1NnT86o87EmpA0NJPhPCY3AWPa8OIVJrEubiU92n7LDoqCLTiu1IE92ED2
FUjhoyKwjLh6dVAiEYCDv6dJvsZoIZEq8kbkN5Zj1MNKS6mwjISMW7g3TTrws1MXvr5h7+p/Ejrg
1He0WF20rXNZvIwMQZMou5KyeUoqpzQ2cZH5xxhkkrM1NnmwXAhyut4EFCFJwEaEUCUOVB4Nauvc
Wrgha4xO2egM67wAw3yecxmehxFK7w6Q03xITT/Tt4lywbNbu7Lj4+A1Ut8GhX2RZHfKitbZSN2O
BSmdv2Eghjmiw6GkoQGEcoYiDr/4DVUT/0cgf9oeiC5PNyqZisgykLotcsOdngdfLYtMBCeypeJu
3Y+quR8MhijvJTyx9TnQgf3ktEnzdXasoUah1FXRwskqmlWkCqr1kE7kqREtulQxhtDzAnfaazMz
51t8MKV/j7N6erSLFCnEmNS47i8lWXvTVF408hgzDH74PODRxizxjVVS6RrpZDzYwVqYOYcFEqpg
B0nQf2pFYb8AuiSMDerahFz1xvX9ZRiF+nX2fRt5d29O5gK7R/xVz6r9oorU4AMcHYwoI7LT74IK
CQKxAcFZIowe+5fBSDtIvI5dcQPnYzt3jTXSEeMmau8ybK+Y41TIdkT7nq7UVI7OIvRzxNI9EETJ
mTBDDna2Y+KXIBzT3TgmFf69Ggalzh5+IfR93hA+GOCF/Wl0B0U2g01TU4C3G0htsXIGpFIZBXKa
HHtquzTrUts7x47QoKV0E95qgtJTy9oJm6cilT3OuQ6DEJyvF6x7xzadfd2UFWRN5OkvlTaaZtvn
GS7WqOuylaVj12X3DooaXT7jBCm3zC9VP5sw0UVVArUmdr6zQHovBjadr8EkZMP3M875sk8EHVzn
iGg3ZGwWNzjhA5TtcWoMn6l2clKXoLniY4p0pv1BA1eQoZEFZAMtQEczj3M9mo4V/oHnQbTIZouW
WmJhCzHUj5OjHJR8M2pSfq4vs2dq0i7eE+3Vf08jrEkLpEo1+0Pl2V9kYUzH1Jx4Ccu4rNJNX3fV
pzEZ80cvzmbAiKGeXjsO6+89AhX3YpHqzkUUG9WKiO5JoOs30fN6/igfZTChHpTat1+yqLpsBZMX
5EvsdkXG86DUQwGIqnIR1y1BOq2DIGyl+J3eYmIvepZETaC10nH43AZRGj/aKLlg/tlXs8dajNGn
NPfHCZVi253BhXXFqzhjo+lC0+93UEFA8DJsc7kxLYy6iwro8Yc3UWeuGntOju0U4M3Fa9agdcEU
95QRQRegzhUktzBpdMJeM8XZaztXPlbLwUCoytH41eTz1ivko8WrB/JO+BQuxH6FjYMEg2IwvSXk
9PBCQNzk4EJMkhNx/YrZe75pmNuWEvOAKiJ6QYeEll5Wc0K6KskdL5i7er0hoTistwF6pxCJeJPW
X2fOcWowM7Uf6TD9aJnbBap+M270PaqTMb5BsRTyr91hLPYu2TLl3Zzl3a6eteYtgUyKeXcdFwk0
lMALwf08Aq9p+2M6l86rFshNFx6jj8nQ1QMgt6Gw8iAlctFLAQo3Tw7t+Tc8Hnm7zQNt/SS2oxbr
kdFPDAWCnWdoZh9enkYnYrT1ZJrNHdyeOUtsIlUFtVtXorSXXlpNpKdzAcbR03P5DDQG6RMGQ/HC
plscR2oCcwlC61MtNXF3mXIfxd/YATprgR1sVHcTeRVQxSJRNyDFttwhgs3TB4c8gJ7LLMEBddf6
lIkqHQ6egy6LLa8iRDSuKakWcZqx4fSZbNxPPbFs0VcMK2G0Ldw+uUM4ZSuQRYKNeGlRZVRAleMO
WKWud03UEaggE+STS1ckjNSaHNMTy7nyBlwBslDfL9qqQw9/YG7nxh8kBXs96dsLivw1JqoiRZzg
2Z9SKRSo+ThE/qm0hqZ+gKfCXZb7l1ADI04tfczsok3XnVfIz20STmQOU52dAjgnankkT58ra8LO
0otihi434qlgwvFEi6z6tAf7L8OsADO6qDbA33kR+BRqzI1mr6n3vXqyjkUzhyeCe5K7znJxYC/Y
4HT6mGPYU0fXGwqLKq1N8HwvTcc0LPNIBgttxKZMahn4iHo72bzNOeP49ArcFqHsIvcdbxg3jHvt
je4eIb5VW2d/6nBWba1IxDluHpyAefigJrIV6lvfRhNMp0i/ZYdrFy+99LCm4AuP9wzz8w3GNksr
M6hTdVR/dSt3NukA0Tut0rivsKQXrhds4oDpOcWq1EKQSpr4VN8EQPVm8bNqwhpNJnz1MByMUjnq
EXX67K9FOQxUXmZMgIJdtl6w6Gxr+mET3VLezAEFB+SCUxVPQxzk1U3ETihXHcMnXhXZTea5gcm/
+LTZ5P3vRp8P4Vl4k4Kz8UWqCKgc46zbp0buzdvCHhj/fEkSAXIZwjz8Ok+uzvdTNUT2rgXtDA9q
IPvzhtA/9kzRzFG+GszEGx9bvmnmEBee6+LKIAvhue5EMt82fiqDA94inFaCBhX/FmwoMgiLr78V
C6R4GLIWBV+XpG7FPLIG+dDGA+AJpp0xhbq9MUjYHBcm6S98PTPpBMQYZchywlZN/LGQ6P2Cznu4
QHw14zCHvEAMpyzrTIZviqa+G60ZE7GCIEBxkXySvXa/CuwznBfVoB6sai6YZywAOyeoRWxCWZ5Q
2XDuFDTiKpCL1AumsxNIpz9BTXGG8UU6nxrbZwJnyDd+7I2+J+qAx61uDKnVtzGqw7eUGzCvIyTh
JkADyM66027zLY8GysfBiYFAvRz+KLAH/sw4mAc8c46Yv1RzaAQ7kVaG3kHfjc994Q2bwnVFs22b
YOyPxagJXfHREzz2CogP2QQe4N0YVPhNCf8ZeFe8lPDTnjfwOJecsLeRh/QH2SS7A3lBSbCG6Na7
OZ/bel22dfkwTb/OO9saP9U2JNxKiwgWE+tM4S4j1vWW0aCsEYxcprhM6s4Zd0GZRi/EjcR0DV2u
7jCyknUyOFm5zhxLeguUFqhUY4kMfQF025U7tveKPcvpyf2Zo+gesMvSC9p2gLrGpAO7AFeWvW7w
YD5C4UNN23VmnKYoArLVYY5pPehV93MY3Jb2lA+oWifoKWjVQYpL4EEcaccQc2hA5ENpdfsRDOXW
n1tE0yMj2pmfSnqPuO3sykdmHTZoJ0yo2ZoPKh+TdWRXDZcWBu18JzxgUGzpOuiXQwMqTa6INdOQ
NKQPnzNtj/HWb/zoYtCqa/NO9PgKoA4McLtKj/24MnM6riX9r4l2YkrQYnllg5Uk7IlYgJFLFmEj
7HIl0nD4gXSe3i9AcEpGZuR1zrZsvBALCef1tiRZdF4TDiYfopq0hBWZHf29OfhQ3F0Q0Dihz+M9
y9C7fWqD2oEsVk2z8hywZqRzpr4n+iUGz8KyoO88csaep3IYg2PJ0NkX35z0KhWi679MNpQ3OPqk
Eupe+Hq+b3hajLLkgaJv1L1aQOuYxZKUUKJdrAQoco3mBI2rTbgAggtaMwuvppYv1aXtWQWSmGB+
sVvle+XMwSdtevidIW7lo1eZ0wpTeX+qe51tZoSuITp6t/2OfR/tDs4Q8Hdi+mg2ZmBfc00Xb54I
mlEXpzI86QIEMsWrjnnbWhv4mwjtQIeMhhDNBLbSaoZoF7nOXtJ8yIJbP8uMEY13Zq7yxCUoQFk+
f68qScjZIIf5UNO0fyuxGWBSN4bkIZq1FJjosMUsUCB3Njwl2uJNYsHw856p5rY0rUAw+ETp4qFy
QnCUwiyan4XVV28l0DC/QBc+TTqIwfTWy1x7a1/V4ykH2hoWcRHY6odrGlBINtz8NrRSxfSmyWof
iY9wKzzjfk5X1FZFjlKgtm9GR8OhNIWMwn3pNv68UlBQ1drvBGN1fFT3t9YlYmg9lVF/YmPt0zVE
Eyo0i+3A2F4Gt9nHKu+m4RYnAIaJgewRa1/HeMMUTTU6QLNp3lzPU+MdjhHlnsGvlYMvFkuHNyqi
pHoj45PDZRgZyc7NO0xgseNFX3EMJCiCGzW0pygc3eZgd+NFl9Zb8WEex6o6kfMuhoPZByOECVaW
ON2gY/B5cYcUS6CF+/dbDAb8VeG5OKMbQu1NQdF7BAQpvI78vSgPHtYGY0/X0gt8wW2ZrWtYqJIs
CCw0gBIxGrVFQC1lLBUjxtKNzmic+LJiWMFlrG1DrNws8IMbdjmCPKVtXEREZOuRQ9PPQ3dGkE+O
OS9+5RNmEs4o/tqljJ3OPoWNUSBhwUkcDxxqEd4MvbTYrPMHMKAZbyaTx+RmaFVY7pRMMSZCtnX2
Ziaa07mdBki3CxIseHk5fle0pnO0jDOr/T50tX3OHWKts6XqQHkOE3MGCaEqXDNgywyntr5FZJM7
ny2iJCCBpWEM90BUkX5GLRlhpfZQETirBLkLahgBPQg2SKJK8Rx7vfstY6NB/WHDUXhz78D3DC7Z
j0javGw1aGToqMEhXjd5lbbBPhvc3tuS0qObrRooWDgQ0XCopZnotELr7CoCNUeddDdlkeNGjnpt
H8YxNEMFSh1Z9ttcOPpOFKD7nz0EXda5RXpIwNc8tf5DUrV1cKcwSYJeVIZBTPrMMtsaw63x2XKa
vmScL3/aY+aB9+9UrSHzcb8I5HfYw1MnX4kgrO9boy3EvgNb8AlfEuIxEXFIErwpKK7rdEDZY1ys
kAVkhHlDzRsm+zHki91FPJWHVlt0mUq3hAzknh+90mCOzZbUzO7cC69u1vHgdj0y5dYI93iKQ3NZ
9eWEmwsTgmXc+oD3xHUFKgrug7QS35LKCOt95deVjzJd0YVg7XVf2VJakoVayDpynEK/TwEbPNuH
PGuQxNSfy5kDsMI/l0fpTRQlZvvqm9TbYAM44NdlPNX2UZJLF+3KBCUCkWjkRi0kQB7zgbMkTF+I
aBnCi0ZXmg9l3VTliRHATJjQttM050bVyN1mHpm5xycUUrMLQ9r1k9NVLhR11wB69ANZb6u8iZz8
DGw+jje2i+zH6G0XJ4DnlAE2tq53qBRHORzInJ6/O34vY2S5bfL2QQbu3/nWggRDVCTSFBy/4ipb
Ne1zy0f51B7QDXfxo8jydY4GjwURN5mL2QifwjnbdKW193ftcsmT+iB82fpXOKkvkBeZzAZhSMjV
T6jdwqtGxU9gqN1E2nW4JkJkhS7kkO+ZV7EMNx8OF7jk117HhzItWV4SvW3Mild5qAaX1Wde2B2G
rJ7WvWYAikaCBR88MF0QHwGiCsWulo51tzFc70uBZW1v9pE4hVgUgg+SiP+aHmEJhZqUcfeeSYLq
dZC57MjRicqyO0B/rPtpl+Q/VPiZgK4PHvbfScOXdch652aT+uNf3el5sDqBN6k7+Pdj+1Qup3Hv
HaSxbpee9RQXB72yw21OEMOyZJjjKf9oMMs/nvQf61/FCgOARIJ0BbynX+moq5aBpnKNnW/6Lg/D
Bmn5DuYksjaR+uAGW/+8ckBMxXBswbVfX7kXM4nPbDvGr1TLuTvO5GXQ7ITmluwBxUEpKxwFP2k7
gZ3X1UVy3O4n+6cYjE1Vph+88n/fBwA407w87sug6V+D4H+LDtYtBs+ezLID7M4prDdQaIekfnj/
af9zEYvZDbzfnmtdv1RwtPaYYWA4WE5+j5bv1u4eEufxv1iEVhUagMpMXE8eT4vQbl0n6A9k2T4r
1/qBa/3ej+wPMrKvr4XPghIEO6CnwBWlf/W9uoZqTF9WpCjFL9p6EN4nv/5gies3hCUsE3EJYcKS
mtG6GrlmVb1isLhITuhQq3atsZO6O53tUFe8f8uuP/brha5eRUpo2fpUZaekum/ThzT4KdSb7k7v
r/KPO/bH5Vx9ajEjC+ZMW8mp0W8i/u6r0/zRjK6P7thV3rOM0gyukjuWOcumO9kcXtMaAbirP9g3
PrqWq6dfGWMQjbGdnLz4UyCPgfPdKT8Y8/DRQ7n8hN++SELYRkf13K4hOMvwyEMxk4ep+Q+/lutH
fzXdJeptTFYmq5AhuMwsYjL8z457//978pfH9tulxPgEHASgycnGepIaP4gPxHj5wet1ueW/H6D/
eyUUlrZlCr6cqytBH1AZlekmp0sK2QLi7MZsMeK+fyX/fCg+ZLzkUHRRuf15JTRy6JmZh3KKqpNP
lmxC2KgVf9dD9cFCfx0Pl8sRkg3G9gBSbPvqa/H6wjKjKc1OcXsHuhE3d35HmjP6wbn6MklQO3gu
8jE3szgF3ueUfG8795cjzEyE9lIRA/b+pV9nqV//oKtva2xnZzICflA0i3VG/FksBVRvuNJGhaWO
WSov7y/4r3v9+x24+saYgBG4DaDQqVdb8bUgWTL34TU/vNOXZ3b94vy+ztWHNns1oGkdZqeU/NIc
zTJOO9RBxL2pLXF6CutlOm48vA/vX9+vN/J6Yd/2OPVsC5n39Rvb+all4gvJTqowThgnUdSdCdfD
CUBwn/GYPnhvdIr9XX7j3uXENQGDfzRm5F/32Hf8yzADij3HvbrHiR3JbkK7d6pWUbeODEap4OyX
xUeXejlB/rpUabkCh4FksM/VPZ4sP0B02Ganun0A8l2QlpbRpFlfgoV372wI1ELKly0/uMHXIz08
weAmyhnXpMByhXu1JaRIvDQA03QWBHmY9LENqRDMZ076B3d4sspbgMEEwKbztr54G+vsfHkWCGAm
4sGqHajHRvb5B7/qrzPq6kddbYZtHE8jkW/TucN4OY1PMUEIimixDvTCKjfv34K/NsXLYtTWNsE6
SjA648/9qiL9U+YBd8ALH0B+Flr/+M8XcPnzL5OhCGC67pSALJEYyWo6D7B4tk1Et/Hl/RV+lTl/
vDtcw+9LXF2D0Y/SpzWfztRDC9e/i5zvXPPRSdcDsd3Q4nsiQPpaffCc/o916cQ8T1KAqatvA8yX
7MOin85pceyrL8QhroyLbU+dDJ8YpLexI27yo+Fuf32QXCy30WNAIHNOKGH/fGANVpYaTn8+G4RJ
tznWCL5JlCsHJ/rgm/zXSkzGtug2mZDB3JA/V/LrINBDWJtnJyR6nUipINmTG45Q6oMB1h8tdH0f
VTGmTpiZ5450gSM5vwZwJcm5fLjZvp2Uv3r/hfnnep4An//VzPhXZ/QEuEBHPJpn0aSLrH1U1E+k
49f5/v11/joQhXvBCBwhgEc9Ia4elQzRJqF7MTHAe6dWptu2fgprTaSSAz0jzn1pPr6/ovh772BJ
j9oGVIKm43pDy/G2N84wmWevJFc1c4y3JnD9T/kM1ZOT93UrHbu8aaDtbpxmtr6D9tU7BxR0RVZs
c8wTKK3Zwh+8CMIkvx1bVO6kt8kbkkQWXVu9tjhesGbLdtcTTLFooT6WxmAcc18mezI9oy9YzKMP
vrR/3UgbFwyBWLzxQl69iYhpSgwowjxbw2PxJUnZB5dzv2r1sfrgVfzHN01vS0YkOAvboXU9hxU6
xiibSvF5kRqeVtamct11PN/Y/risSNcZ8egMM7lO87R+/9n9/egu2wgjzX02SY/C7s/PrWxSwdSO
cT57rrEh/YD0D2PT5zcR+rXGfn1/sV+zEP/cM/9c7eqWYvO3OPn6+ay/IUxvv8zfrUfzRm2STbBy
9mLfhyQgLtTX/C586p6qG715/wf8mnbz1w8QtN/0rVK6v+bL/VbyOwbRPYhR5/NwEz5AJ9wyK9I4
ygd3NW+r52N8zhntqvbNLjmgyPpg8b+qDcHVO7bPRHHJX8Rlh/ht8ZRYJBTC3nwOG8Kb8FbdRq7c
OUn+2crhfsl5JhuufStxSuMZW7X2/Pm/+QUKoJX3WtiABH/+glFI1PDkjpybxuDj0s/gtvtgXA2J
3GNUf8UmjRbf9dNFR137/uL/etOoeJi8La1LKuvVvtTF4Zw0sP5nu2ie/JvGW6qieMznn361/X+t
9Ost/O0+R7DuGFfcX+90uXDwzMPH3+RztjcGHE5+8fz+en/v7BfYiFodoFNyPF4918JG9qTS0Dxz
hTedG2wIgSYTonrw+w9W+udGAfyL35fDmMP/ailA52h2zJw96VS7JcaPb0nzxFi4BLObEVSLOjPX
del9tD/98wp/W/bqvSFb0M5TzbKG12x0v41bvTTc6pAlwVMQCDTl6yhsDmGlyYhekfLVGcNNrNJ1
BTqvP5o+fqnKrz9iThsQSk8SzuZevUmjKPuSfFbzXAxZvFX9+JNpQ8NuTAkIeP/J/uudpQOSprKY
YySv36RcFBI1K9ftwL+lMwHNO4ST1fBJ4l5+f6lfUOb1Vf2+1hXaNeuxqp0sNc+D7PB7MVNmCf28
c4ziE6KK4yBsY5k4491c63tIrdt8dh7zbL5LSLNakjCdrJscMbQkXn/hKdK6CsvGzGWeQmKio7m9
D2OL/EJDz6sSBJFsC4iZwPoe+XIrkDcuaxGs3X5AlC2aDzZ+6++CH6qW1AtfmQL0U11dnFcnMfJT
TVEiJInGdnvs0u7FlHOyzLOCKU928UYU8r6snVe4wUPsRzeZLgUOYnuHLnv+4Gz/5++xOQEAS5kh
rK6KMUpPEPCgM88ttcRikCJZoq11PljlH5+rT4EgmXtj0+6BVf6531adYtxWaljnckGi682wLYd1
ckIPnNQbQu/ef4P+/kj/XOyqmdV4+A3bDsXZ1/gnKnGXe8eZCWsot83d+0v9+8IYGeDCC9mmUFcb
gk0IpF1h6DnjCxncTbLyXqMjQVxY5T+N/9WFSVsJYVI8K/PqwhBEz3EHIs2XQT9KmmJEcipCA6w4
71/W3xsLd5ASlp1cwXhdV3yECmWzO7HQ3DXktYh63rbMtdqGpR1+UKX/cynXhDhXBKa44lJ8/nZG
GdaUVx0N0FnDf//EMhYvw3govrmx++39i/p7D+OiLu0AUj+hTP/6URFILVXISgWCDCQby6y/QU6R
k6FVZh9QA9algPtzE2MxRUqzcn2LRuRqa04zJ20YWCIQTVSEAaO68z4xVmrneE+t95ojIoj/h7Tv
Wm4dZ7p9IlYxh1swKMuSLTnsG5Yjc858+n/Rc2pGgljCmfnmxlXj2m4CaHRC91rBM+YfAbW6jDDh
KfkMdvbbi41ncxVZCMy1jidCSldSHxOERQeKEH1AKztCnASv7Yn6HxQFWZwmI5QR0LtJSQG4mYCn
6U48IKjn0Rkjo59QTE3x8f7Rzd3oSzGUt5dLjOKDuVk8ZDGM4JoLjsBzRS/YfSnCbVyKPZtCGKwI
ek+/8ebVmHMuwOgOofQ9oDeSi041oFTTZBnF32hYInICcnX0eB/vC567A5dyqV0cctTfJW0QDx4e
cOVE3mjdUshr574UQZzRyUsx1C5Kai51YyKIhzQDpoHuSlYGFjK7KlH9n7pCweVRtytkQeUeMN7B
GtCTyS7SomA7AJyA8TWTMOqCgLHekGX4HrgFlbqNcp1i4L/ztMOAzh3UGpD5Al+HeKUm2QAfbuz7
i5/uGyXO0JCbG3A/OFlanItnFDWSAf/Xhn8k4ImjVmZ6/VHMobE1Jnu8ZuMXFeMO3go1eIzaK7Ku
oryHNAMfdWHbMErTYowt0g5BISy5lIxPsXToBmEbhY+6ujZUhryZEwZWhWwgFJSQyIK19Vqg5IY9
eio74yAKjV0A+6MKjkW0AoQ7wOhKUrRoO2nOsiSYGmZ+YTwYuzyT16JJWcdI5mT5EJdOKnixYgMj
NHooD/4xad4V4wEjq0QOFwJa4qLebNDe0wN/EVsOfgMuOaJ/cRx2GqamAAVVADasURNQUn4ZSmHd
P/65ndF0ZCWGBB5R5LyU7meYnEYrj+AeIozcoJWKrxA/rtGY3qIx3gexKgpDGDZ+VZ2AxdZ8060y
OQLAgQtTpo14iuZqb0epRuet5x27RnzOy1UemXXjoMAI/Pud1vS2AWjWkgP8lDEusmSnBAeBW3pB
xbhyM04JDRwI4pGcIWRBEn59Opi+wZCUEHlHzExakvLMj6iqlE/Zp4jejR0aePnMM4GyY3X5m+Yx
3O9tFelaOOXo81SpW6BmeMco1Z1iAMA54BYM+Q/g3s0cXX+CyyL9nbT9+s5jswGzL8E/8cAap25D
ABoTjJNJ3hHgTRg8DNDVBiBJYwm4FNY7zcxNn4ILXDt0Fsoa/U4D5q5x0AbNO6o7wErKwSrt91pn
kFiN7Kx443TGRWPJo5Ymh2BRAUmbd8yb6TEKuDLptgFFH6b5LYCI3r88t2VNCY0n6DVCsQb5NqLc
a71BL5+oAgElPI7D3lvG8mrwdnL40+IAo/DUyHhlByJ+7gyqt487lJBNof8MLaAycabILQxuUwEO
2QWCapFzZtEtMCnoA8s8DgNWonFz5tefKlH5DMgUgcwfNeExe/bfcOD6ofguzr3drOI1utHOLlrV
GdtzE2lRIikr34E2FryFXXisujcJjN7N9/3tv/GU1N+nbCpg5bRKdfH35RZwI3phYlC4CN7b5u3f
y9FFFVVeFf5RokNWvS3rdBiH8Fh3L3JZ7fUcJilRh2PgdRzjnG5icaxJl3FfEDjCL/PUMaWF0tVc
5GJNWpIu+D6LAT5aIAce82xZDU27wtwnI8q6zdUktAMh2oA5gDVGif5ajfkBiSmg48ZdY4LFxO4W
0M4VZh8CZtvazfWEJBRXpSmhRoGGDosTBYOKQevxO1SsrX7F7QNTd/hlwPBqt5pxLYZyaoOh+UnI
gey6WfdWtETzqsjKb2+VexJh4FEDXRVT/HS9Z0agJTwnB/yuXqE6bWF4iVTWp3cw1wCb2n79Ww28
Eka/DKFeCca8EdsWLX3LMMWtsLov4FbtrgVQVzWe4qOB/z2XzgbozBbtA4wzEW8t0LUM6roWvAFw
pM7nd9oT5kISDLVg/uax32L7XtyHwHSxss4KDih677tP4+iSboUZFEfbNoxLduNxf7Xw77PTpeuz
q0H6WyRdyO8q28C7gmEa68DSGOu9TZooKZMGXYR8HaZrKkCMQkOszgZenaNb8icRCWpZjPXM36p/
1kM5PUCeJU0bYj2YP9uEFmdqR3HJWSwxs3biQud16loBvBjTxilOsLLRzWOhIAg7kb63C5Y6CqwT
oiwScDGAItxCkns0lo09XWLMlxyjc74x9uJKMgtHfAHrl2FJDKfFuglUNAb+eiCoiZAsmr6ZbyTb
Y+8ja3WU7RiLNiowz8XvRsdwkn4pfSD8NtONTAQTQKWmujcOgGo1Gstjrm9eLVHRRECGZlZELddq
WaShHCh+PKllY7vr2BJXhYU+EgesTwyrcptcTFfgQhZlVkTRBQUhqBp20yEOdrTUlq6VLv2lZGdW
bN+3YbP25UIYZV9SRZfGaXBqt3pcsjzk9G+vImZqIZTFKFG0KiS0AuxaaGJgJ9D7zuptE3m5Fbzc
X8f8NVNVDd0jKALgJez6hICHk3BcWvDoIY+WQGyx8010yHeuGTLsBlMSZaJkDlj0vgRJ0wWriGsB
/2udrl2TdauYkigTJQDmmC+mNXV2u6pIYCMetORtucgYDa6ztvBi8ygblYOVJvaGfLJRvSWbk7vU
1vX/vnW0hUqbIdMVLAi4iKt+FVo1EX5MAHo9/o/aQBkk4IEYQihhQaUDHAdSEWMfmYIJXimGNrB2
jrJKDejuUzfCihp4xRhDI4gBzfrIMxY0a/z+OSD6YcXNuUZSDayntybnK67wiG+yLM+MFUdXIAJ2
AUYOb9nU6aBVH8+jGHCGEN8MIWTYJv/hml7JoA5mDGVQj+m/Kg2cIYvUhGQrbsXyujP7dSWGOpbc
APUVBk2mYwFnr8nD+YGNgnH2t89vaLS72DCV8goeMBCCMQB3d0Ewvm/WWzCMWiFsdQDgcQyTxKbO
Eind2tQrkZRzAD2XDLgpLEx6UI+TXeXMFBjypLF4a/3Dsgtzfg/PwQayG9Q80DVG7aMAbMAwa7XJ
7/Wr/C3f9LhF2ntgga+PsbTbat+0m//IorutO7COann9KyvZt8BsfuxgjSqUI8AithWf3AfBzL5E
Eq/5jfvINLaT2aa81ZV4amdBzldiNvJX/GTWYwvto7+3uXDAymD6yPMYRmr6izcS0eyITk3sL1qD
8fuLWFcUVCEGRB82NyCYL9/ktkx6E2TvJtCNGRZ+VleRraIvFAVERVYoR19XKL/XVSTskgRD1j6e
9dWjghTsdeyOireukqOIDiXpBHJc0mHkW+NU1npnEswpYf77Eybdvliv4BdBBJRZAe5MNGPL2Kcf
GLDu3twl3lVNfc9tXTP74HmG3N8RQnqfL+VSDnvsFQ6QGJBb2dwDMMVLK7B0c9x2e/jVrfgcmAnA
s0FbZ7kP9TswqayK9YA34ybwcGaoyHvxFHpTDQH2C/YevZ7IrRWw+lr+KXgMHicrC64lJ9mCtQ2c
Y/5jui9JZLEM1ezVuhBPuw+uilFwA+nozt8qD7W1K7fyut4GS8cR9gvQ8r6Dz+1nhOqlC4aOz90q
xVBljHhiuAE/qTNXukzkhwpnfmxsZVntfPh8dzmZEZGIG3ae8FuTuzntC4mUyeLVdvCkoBZ2wNYD
Q7HdmdpTt5hCmnRZmYONxBIFG6BWbfpVt5gSWXc5mgag3D/BqRiTwmHnR+JMKIxWl7+3QaE8RcgF
GC4esQ3GUnnQj3jdPzbr0QH/C4ItENSnH9UnSOgXuQlGCyT0BRILxknMRPpXn0DZt84NQmCj4RN6
K7bASmBlO/cgrkYzXKY7UFKb3IkVUMylMlcyKaODdK1SOTBj4xjynERL6TfRxsy8hXaV7slYMtY4
beOds6c7DbRSUjpJL4XdH2njIy7voWS5aVhMQazzpExKDZb4JOaxMAnXKdtXJmcCE9YEOEpngUV7
xVgX4xYpVCJQAozFHad1dfaU17sIMpJ1i+UlBxf2wvtPSejVyVEZAfIsrUzC6eRwWaY0tN9WpvaY
LgcLvemsKJqpKFToOTHDyJwL5fS3rZXsQWX0e3qdBSyidc5yCKztpIxSX0948RpMRANH1K4wpgYe
Nqu2gFVliyt36cIIcEcFIXZualAesIOj1sU81VmncGEUKEule4AxKFWcKrh4f+tCQJky24fJWMkW
QK/N6jDZAcPimMU8afK1d24KHbqq4CwE6xPOVz+662IPU2iDY3PvvdQW2qSx6w8o8z2g5W1pgFGW
tOv4WS2t0QRLfUu0dWPF+3gP6tb/WAO81D2VslQgSNcNpYUyZPZzZVeocR4WypEnLLc4G92ia9gQ
VMx7IKymlBxT9lHYRJ2wU3fjp/ZrMcBTbIMdZMks5M4Fe5eyKA0vuaZTK6Cf/JYBhafe6RbtCjy6
sP/p0jvURFvE+8kthrjQgIwh903IpNK35/3PUimVB3Z4A44DiG/WwME0UTiG0wtZDa2sRVIaHaqS
GwDkHXbKRORupg/BcTKLIDB4+E+Z0MWG0i4Vtl4A0jxk4dUdddX25Frt5D1xfCKR/1uyhzZLjCyg
RRbNZZRWxlKMAtMg/HVbw62+A2w87AUOb9XiPuiOb98/stmoDSGjCjwGGZiWKnVmSad5SQpKxx1o
E396S3yW6tWpsIRFseUGG3BLy3yXOf4uQ6LJLRRWzDp3mLBOgIbQRADz0RvcDIBBSsCktjNwM3Ro
KPpeTWBlWYjSWdnJnOO+lEVtbtHofFwDe2o3LJCx7wyzf6xJuv7/yIOme0ZfhEtJVEgCUMC+kkOs
SnsAWPx7e9KWIRyqvq1/yvd0XzgyHgFcc3i8f5i3bRvTUN7FblLJD+wMQHNbrBC0oMds3yImVTau
Vf5oa8+UvnlSA2mEIXP2BNFHN3VFgdCTNvKu6wpRqTQi/BxH2ods7dk4xQXmpPnNfzEwxoUs6gQF
QMgExVhDW5bTY2jwXa3Q0M4IYuc85qUQ6vBaRSmFCICEv3d+Mp0I6xcKArz7G8cSQ52VUlbdxAUz
7VuE2nu7Bho8QRc344LP+p/L5UxxykVCXA65iAfrVsTDbvtQHaWNZ2eoVLUL+SVgzMuzlkRFkLXY
idoI+u7fN2SQalcWmJKh7awTYq6J8qkBfJyO53gRPnWK9z17Msu96RJhV7zcP6a5+jhmrP7Rb8qn
RmDJzAQPiyotDNvsA9vH84K/RPD2PyoEZYmzdATS0qTcgOvfTjWpye5jUSwzOJ3CjXG6WBDlP7NM
qNSJSxJeevJp0VJ+H/ZTkgowRQvI+taYLYyv/20XNSo3lVpXqCsfQqcnVx6FmcQc10DwM12GPfod
A6OWB6gWXkKpWgctAN0zrSVAQI7lQcQzYbePlmhm2ErWZ40ugM7CbPj7GRfNLp6ePOt4ZG3tTAB0
JZs6wgrAmgkGI8Td5jU/iHa0GQkwuc3WhGDFBHqtnTjxgrW3k6W4t2LqQGutkHKxx4rHLZ59gZeL
4j0IcLbJod+rCDKlE+MwZ2psl8ukKz0VgO1EJcYyNbITLG+TOw+rg53vq8N5+cXY0xmbciWLMvnh
iP5nOcTiGhtssUjYom1ImqXCuHxzcdCVHMrqG30fAI8Xa3oFePgbb3JoCxhXq280+pK3N9EB2iZo
/aCurFY1eeb0hN8mH1VDpz/d5lkFUS0afYHNlJt9UpTnKI4WjAOb8dGigO4lGdMKmHaTp2+48AEB
+n4EaaimK//Xs0u0yzf1fnqlZzZXzK/nH1mUEwDCtwSY5UmW+VuC9Qmgr6fIbio94U3WMjhmkjWn
kOhVnRqlDfT78dT6mmAom0YoxV2oVhiBtDn+TUt+VI0JOjEnSOTRGouuSWmCVbveyCZpokQIZXEn
L1pk8njFRHFt9YjuWFt0UGu0eLhwxuHNGZVLmdTilEgGA0wMmcKDe0wem+d0xduSdQJhklna6XO8
T071XrK75X3Bcwd5KZc6SKQiGQemIXEHlFEQNjiV8n1fwFy4irmgf3aTcuNgjPE0OYIEDliMEx6y
Zrn5hndBzZLZabuv2kWZfzQpt8qVF72wSpD/svrP5+zL5TdQ7h0AmkJaY8Jgx5vuOtp8RLZn87vJ
PwG8E2a0s/CMAcJNdJuwbv5cL83V+il30YoN6ORaSdyBKtaO9u1K2goYaW5JS2ICDOHBUh3JLk2Y
uxNj61lKRfkMWchFDBFMnupj9wFgWnJ6XCwOeBjoF08dYb1Czb2OXK701/peGKAkgyKBWwapl6ku
RuujIA9/YmsFTBQ4RxWeuZzy6U1Hvv7XTf79tAvRfg1kamHAJoPMCe+0HBlXD6fFYaqCvIM/CcXb
I6tswNCp30L9hUi5FLUez6eTue0gMnQALIpqOyuDuAV0Ag4p0DYmDACMGkk00qFWcgF4opRJf8Ak
EW5b58F5CMj3d2mXNqia3j3zh6E3kxukY41LkZSblGrgoAcedhNvtWivyNYFyjz1unxUl7nJfNGa
NUEXC6TMLQjR6sYvsEDfR0Xa2Z2836shvvKfypqzcuv+6ljipt9fnJsoc1qQBBCnRBkZ+b2chQwJ
v9783v5RRtVoQ7BOuP9PG2VTtgM7M3Fe0w2Il6X5Ax4ihszZq44pVgN0azKGCygLx6HEAtwAVdyl
rx54CVsrf0HbbSHZIA++v3+UJIxGoUFaUcTpGR9TmAplz0QRoLBGKqZnB6D4ZwEW9QHMccv7QuhI
7S8pE8oMnrQx+EYXVDs+zoUol9PzM9puwgcfb+hAKAMhgrkGriYBgceyWz6ZHRFSVm5BxVE3oqmt
NDjN82JNSs8by2m+fWtEu1TqjERvVylQpk3zJ95lH11ue05UmYxzpAEwbqRT26s2XRelNRZeflZ2
HmCUNiHNyZSe0ZVhNHbpHDtynB5qlizJ8vWt/0syut7wwI0BcEmlbn0gcT4IooPkHEufYKvqgT2v
Fj4JxwB9wrr+XPlAk4wBbrwCoHU5sYOzoPh+h2ovLs7vJ8DGAVlIFfHES5eZNDnuACZeJucefF76
ogJNNUALbNEegJFuDt9J5AzgkIkWo7wyFtGufCgLvDTLjgp6963wPSa2uKzqTRgsU+VwXyWpqPCv
b8MEpq4rwJsxZEotutBrQZ7IJ2dDAEc4l+kipoVSiA5zE1SDrDedyUbcbAVG0xHHYy6fpyF7hlKQ
C9VQknPSD6BjiFMil2DO0YXF/WX9gqfSgmAycKUhC+OlVHwmDVEmt2qdnlU8UX2A4S7jDhjdAZYO
/wyctYLw31UOTPwOdEvraFX6Dlc6I/zBZ98vMNajhVbs2mMCYP21F4Axah29iFv5ESO+oKJ38XD6
4yX2GFl+d7z/6fTc2O+RXH46dSRgW4ngOpr0rKtW1yeY4AFrJomBHI9wasOFq7Qg2bJ7YBWZf4Fg
bvZMm8ZxJQxs3KDUBBFYoTwNNtBVTQ0cAeQUoXmztQ4AwTOBuzUsapDWk+IrWFTniXEHHJg1igOf
gMWutoG8ahTGMdJ9AX/txcUnUT4HHX++3/b4pNqxBlu2h29npR4WKXzpZ/4jL+G5EwfjTQtMnD3e
PwdpznJgou3v7aBUyBdqzS+EMT2HK/UYvb/KPw/Bo7ZRV8k2MMuNFy5q+weFQnOdPAWOstpjxvUB
PSL4/45osQqUdOHwdytgvwzM0mOM9wZgi+eyoR6KJDvLAMIsVqD7AmA/6CGT17YV+Oc6AF2nJQEi
HZm+GKRPzZjwz8CZT14zyYg9hj+ZsxsoUikSZt2Rg9Bx4uDjd2BgyM5N7Y8OX2UpKOmTz6rmlae2
5FnD4pPOU6oJPGag+MgSypkYs8fvL8Ibo9dAeF5p2RkT5fJKDwTRyflCsDQO3E1SAY7HuIxlhvbR
Sc605UBdR7aMjk8ZMOxUAUcchEjImzo7i7GlKqQMbVzJMltKjyWadBbC8Chbxa5UN5Kw1NC/UeJx
hBWQ05HyXx+B9y0ZMK6aBByj66VLgz+ISt5kZ26pCjsR7MQyKbYFwBgHgl1HY+Oqku0UFEqNAzjQ
/FNb3b8Ic5oHI4ppJOBG4kWRBuuSfU/UfKXIzh9IMQsz+ZOdasxKBB8MOTM6BTkTkKwMot8b55Cn
ojTyPlbqok8EC63GU+GDkx7aVETgwgVpBsjpBAVArxxpSs8cR1t5jgA6Uyj/drTxd9vRiSYAzGGC
PbpZNKg6Y09OcfalU2fr8/qJs9by1icIUr6eGZXCOZuPCWGA1PASrwKtb7JFF/pdtn7Qe8qQnSOC
wAQhwKYE6UlqKntQyDZES52cI6zQiHpU/GuJMCeA/QYEOcalr4WCf4ETGjCBnjs+7yyuGDQiNoK8
zMEXSLgsHYjWggYs9vVTZ3juYmx51hOcOHOxcblw2Ag9dP4GWb8VitDFzcc3uC7/0gce95X2kiFZ
KagXgZNQZsCaRwDVncAziSddI9Mrbe9GigGeUreNIivCaC6o8frYA9H50DThFoNtVWTxQyS+pLkk
v4AqFfPwvF91mI/XAgE+Q8uErdfFvEEMsfOf3VxUnsu0atFrqHHyWWrTnDVEPOfLMOcJfkxgMWJM
mm71i0GEWrrGRBeLvkbVBp+b1gIUKSJguDG54kN8w+dwa1Ei2aErQHIkmOpH91o4qmvqggmwNKLy
NSPvofteJyUAWAK+BwPqCANpgHgRxJdl4wveeeLg0dD3F4loelS1RQ8OsbWHiZQOZGxxb4/S/v59
/83ero065jUVYNOj6ROwzr+W70Lpi8aT9Qj80mfr9c9gpyt0DNQrjvzJyB9sBHmoMApWmBmeMfUV
/D0h5pP1czyaawzxWdstzCCezmLyZprLI/5bDuTpKTWfchOk6uhMWq/X5hMrn7i1UbgwEnpi0KOK
b6f9HlAhk0IyXPckFG/gjiNVvYr8g98zXM/ttbgWQ1UPfDdT9AYA0yeU2Wwv3leAEAGAECZ2NxKo
3O8fBD1ECR24lkZZHy8r4HgiSPM6azDzlUbQePOTb3e7nQMWitX352CQft2bZDv+RAdWJ8XMzbiW
Txkioa3LDnhV7slSF+j13jkflQniIbKSD4cX3smJioAKbEcmMP8ZccxtQnItmgrydDHStWgSDdpC
Of8RoocIZKr39/c2kLyWMR32hZ6D0sZLYFbckx+fi6YgQc24SXRp5q8DVKQJTgelEqCrXEvgwGrW
jVLGnZKle/he9Ot2vQeg5RdeszeKNTD05bZWgvUoiIwhbuJkoPaML1SvlcqGOwE6i/T1aqJeG0Ai
WnzU6kunMF7mZ08ItmlyUxpoMMTrtbliKY/c0EKagqmDapFozxLawe8f0UyMY/CA+IIRxOXmEdZe
SxlGvP/rKcedMjuyk4W+1cn6x0PXL6uoO2dAsC8y+twBYYFE61qQiuY9repd7tR7idPn67CSSFXt
ivrfh8xY0YUgat+kSs5ADQtBRtohd0MLhcyDR1YjAf8ZxyNrA+cs1qU4ymJVVSNXbmlwpw04JDGZ
Ih7RLUqQX38Kpp3a5lrdMBLluWuFkBTAO4iXADBG7WQpFVI8ylhgbLS2CrI8BXn7fbWY0T0EgMJU
G8QLJ3C9rw8rj6saLLqJd47V8qUMyi1YaxviB4l9X87MjcI7KshTsBykHL/tvxcWQtfCLmzHyjun
VbYGcM6Dq0SvRhp8SMVAiqR1BJFnXKuZqpRxJZM6sF7ufV/SM++8cx6AtQ+wAfzoUYFfkcWKwNma
66W7j5HTPjGi3d9JJcrxX4mmzJVQKmpVdxD9+sqbz6r93Jnge1wqxHKclWHjEz5QLvcI6g0l+N82
sqVigMusF6gSVstNblk/jMrsjPZefdGkCBcHoHGSESp14Z2DwFiqI7jGFX5b9IKVlLVZVSJj82fF
wchMWRVIpVRKr0Ih110x8bxzBFJl0Q4aBZhcy6je5FnCuJhzzhXvy4IsYVQZ5c9f53+xNLGNqrqX
de/crAvdrDxsqERSnWC89KE+pJbimpVLaoxsEw+zoC6R3RPga9+7oiTZm1sxvoduZZ981dX3UN4D
bL2A1+ZE74xJceF1F6I1wgFt3k+IriHTZXhG6jnrRhjlesGwq0QtaO3P1bgoHtstL2zeFRSSlN3w
b4Gn/pIFsFHMcOENAVXHax3i+ppPiij2z5uE7EYiCPbw9bV5jlGb+uqWEgueci5qw0PCP/Komnro
+krLo0/93IWrtt4A8jDa+K2jgXGZJ4G7RH0gGIFlH1uxL1mSvGmDB4F/TYyVWG/QycSTnFtrqQ2G
bKtPt5GrMeKe3wSSvueXX0hVbQY/Hl2+Df0zZqbBcejg0QNIsQTh5Ze3NvfCH3GacK7t79PDg/O4
5dDhbT4drdfdZvkkfwQPgZWaS9f+0qyOdGTJ6o+bvxr/7CDdwZtKWj7KfuSfRWUTiqR+qUAAizly
1Qy1NbCps/UAkGOxXIlWfBzUXXGqBNK/149cag7aMfcZxfiZghPuxsUHUXYBtZEg6CocqQK6A/dN
4ARbMZaSm1tdbZyVzMmAGiuh9sSXwOxeV7kFfl3ju9R3YKonsct6FZvJDvFBgCkAYQiqEoDbv9Zp
gPj0BYAs/TNv6mvZrhbji3gITP61sxLLdTGIyTNu7JwrvJRIuaUhFY2k9jP/rJVLtTCHClPj6fAH
pXmfVcOc3248REggtJjACqkb1KDC2yoDtruQHQnwC4klP5V7H/OOht3tY5Jamv9Q8XgMWIygjSYx
5uBO9z3/vDlU1IkHDuR3CAmvd7iZmMfBAYojrxejWqL/R1qH3nvnmYWI+m4arhI9WoiuBrb4ylRY
T5JzgS9eqQFkCMg2Ca6IslpKq4KiOoX8YaGQ4gcE9SEBc7RgmpHD8Pt008yvhcRmo9YDsgGAA1Lq
3Y4gxi3SwT9j1tbxqmcwhieub7X8UQw2oTrxXZsB+DzFtyInHmfxmqloz4wNn4vpLj+CUukxNyag
utE/N9pTo5uGvhQwrdATPbOGY+Qfh6GyhCwAsJszrESk+GopMnzgb+MGbRjR3wnKCphvwLlR3xDl
oxCPNb4BT6FOEltCTd4wXLpP9+fzOXEiC2ML5Acm7/hfFj9VkoGfDDpPeoa8rxS99ngVFs9MbA0Q
UxwGXRatbb8r5lf2oTBKx7M+CkHO3/KoEw8qTS56BfKaNZpZy1N6iOx6qy2znWr57+VS2o9rbrEH
6wNYs9Y+aT4wS2ayjnzaTnq70UAAdBrkqwrAca/vWOmVjZjEVQAO1yfwXgdHrbRB7iZ6a83YJ9HW
++LWEotJazbKvZRKeb/AV4Ab2EKqL5nO65+d/9ksKrMizuQHX5GZp6vB1NDZowb2QSUqGQI8pu3P
e/B6kZKcn4aXTcPQvDnrqmO+HXwQULwbbEEDxMZGorn+OcgXfn0qm00qvmkYBu0zwtr1yVLTuz4Z
FdT2NAHEE1RMDerJfIwlHuW9zg6Itx52AdHBULsXiQaeuP/iO2FYJr5YzHMACfb6kI0SDahSxAXn
rPFsRf70NCKJdt4D28RwGvXAZ2aAAffspwZG4TYJLRB4m6psJuUiNljJ9ySMWjt2F8x4so73wxsg
NzyDFUXgieHZqBdqvBT4Y+cuQoURYM2kERgaRyUGAiagUUrDeimUJPBlh+e2XnOSWUtWZA/+QR+/
7puN6e9Qq0G7iiZDaRAJIL693lpRbnS9Vrj4HDW5hW5joMwSuVkFu1JaBqJH0OXMSLxn9k/Co6KM
UTIAQCA1u5YYCK3qR70Rw0491OvBYY4bzSjnlQDKApdVOLhpAwHZftyklvidb9D7gXgPfcXGqfvg
nPtbOL8gVLoRSaEVhAb1LFKEALUMefJA2upF0fbpuA7T9/tSZp5TUJhWJRW2HTgKNyxdQpKUYlWE
yRmDoVlJaksj4anetluAsW6RU4/ksSW5fUiBKpOmdv0soEz+tLz/FVP6TqvL5UdQF99Hg5PXNvgI
MMbbMqapMu/jvoSZ3cQbIboHecSmEizMtXp0YqMJXVWgUauH4x5XARBRu+LoMbRwZiFwGjJiFcCw
grBl+oyL1LlM3TgfMiykbJNnja91RyjL3L6/lrkI7EoKtRggMcm+DM7zc2w8tO1a2rpBbIKdJxZ2
Q/YqjYuqBwMjKxa7ffzDy8/F2iif2JSgUh5zP0FkH2lPyvhTjcew2KfeSaiQD63CjhELzBgRRLgy
jAggLtFcQlVYyyww2jSKknOnkKaOSBg9Dv1bWTu9iMZB/8jKx290BAYRggBKjKIxMhfq8FpNBK+g
mqXnYAiBkBvneDZegCYpMONIZCjKjSGmZFFHKOtl0gthlJ6FSrNCEPP5vJOgBTwAyVHDf95XmBut
hDAE0VNZEjBUWNy1VmapNlRagP4gcCUZXvvRltXXfQm3ad8kYmp8wJwAav30U2U+4e4IQos+RTRW
+HgTal9fBUDFKY53EDcbjqWMNzE55h5wvdBiATo6sMlSZyXlIGoBiUOO528YLIx9c4Ak88i3iqnv
EXAfCIbvr/A29ackUieGd3i1jzgpP2/yfvMBfohFi27g79BpCcjOzGNDvpZm9GllrNs+c3pT0Q9O
DaiCPDoCqdML3CAKvaA4I7ux/hgbQAm5DvFE671eGKHFbCK/uXZYKJopgBAPR6og2biW5wWZqrt9
V5zlRYbHbtt3wMUxRiT/7hlFzZvYkpI0udwLaxkmBsqMGiQ1wVesWk8NT56GgXHTWMuZtvdCiBJy
YtpOQhIiD2YqL1WDnHXXYiRKLDG0C1O5SCxdoTgX9tR4HKIQbdiRT4Q35RQEzn1lvO3+mHYOWPF4
ZNBhsH69+sWiECcqIL9VC6i/+kf/4yR/jGrfrICB+tSRuGWp4E3sA3Ey3vt5DD3LYDCgFqfWflXn
6Ls8o+9VI5vgvcicSrZe1JRgtFBNmDNOt4WWSeJE2yyKCCRhWK5PjXflvAKudXnG69pARmR74OwB
oc6DhqoVhgzkE0YMM0tzzTZ+qrnH+HtkRZS3hRbqGyjNaQMwsVVgEDtjmqKZgMOtPCG1bwKjY73u
FYaeTnt4FQNR0qg9zjWtdQujL8+lAwz3DQuWdM5CX+0oZTH5ytelTK3KcxGscK+JtXP0gvDVWx9Z
S+mgnZgchlPIfW9FlMXEcFwkZl5TnlNjp6iL9pUToT1hcizctVGhbZawSoFMtaFilFDLlaiWoDZS
thM4a0zQfvoi23nihJ85hm4wsg8Q/kREtzQaA4nARab0hlYZhXllbqIlHOc0oTcxKKISqlA+t+4i
dCBySXUWvMcEAFF6SjRhPbpmDdjE7jjarDf22455eEGwNf/yJ+Hu/9bSLmwCYvihCSK3Ovfla4R2
uHP8oqAkmUxt6uFeJ9ou3YA0bVzrjoRC0X2LNBPPgCQK9gj0czLw6am7wvOtFMaGUZ3z5jVszNZS
26ckJ7rMkDPjMkCFNrUSaIhoMORB2QW/SXQhS+pzGD6O0lI7e+UOitQRv2egdUjThaDUF7QwAt5l
DLzOgPP0WhRqIgXYAaX6zNsNajAf6DPSHG8dnE+7sMSE9ftaRPUF6DIAG1t4D6lp2o9P5fcGM7WY
nmMNKM7FH/gc1KLABAfIFLqHYiwGQ3E7tT7HjemD/dNJCjvdBhut/8HJLgFYuRiNTVSvlHEp+qRD
vZ2z5L3+E7+WEcMh3JYjoWuXH0NdbW8MwrYr9RpOtf3CICFg/9DmSgAkjTAMLx6EROhL822NdECk
27BKN5M20UejiNABBJpgweGpoxGqXG25fGjOpQrWJ9eQRjPJQWh9X6fFGbenotMRWfHUaYgA71oD
yi6R3AZoa+dyLAkYgsTnuFxNRI6kSuwQsJ1LH9BNGvFGW+4WBZqpK/C/h6R917sXX9+E8qZpzMx/
u/9dv1Xv6+ULaGjGvP+UYuIn5SqQzIeNloj9uRSI+uiCD3rRlrb0CZijJdj6Rm/hy2TIza7YjqLV
/R9p17XcurVkvwhVyOF1IxHMIgVR0gtKETlnfP0s6M6MSRBD1NzrY7tcln0aO/Xu3b16rVRnuEMU
kJheSYnWhhuAwWuzZ7Ss/HY0yEnzCnQ5dWf4DtlBffytM3N4+62TOYyjMA0Zl+7skuywK5FgeEfV
YEQOjHQBvv6cbLK9oJ4jFZHE94Lx+6Ds1vhkmyLL6MtpPnR4sr5H6q7XkbMMIfnwOSZPn3cKeb/4
5O1DMBnVVveXjwX790jsUXZtVGbA42h8fk2SUpTCd4mcCx3CNKgMhPqwigE/DAstgaCAqwmkRY+9
oy6YvXdct1YnpyPmlErmBaWzq27fC4jPohJKmquYWUImcffn8NbSJEpjoUTJ+yXGZ8TEOGjvvdoZ
tT6gVawC/EJXt8hSf4KSkcQm2rfRMV4Qld6o8NZkKU9934symevxW6+uPyWJOzFnnM6OX5Itd+FB
Iz6sThFMefBHuVphw7nfSkC0J5QNwIqxcDNNuVPAoHY7GZNTOTCAHTE1PsDNv5lqk3ik4rdhzRM2
eQuDbAR+ghKcLGzxex8FqwzyMqPwN2iFJ0kSyndBB8pQGDZhvgzvfHy3qK/KCgyRZB8fnAQ0rHNw
9hyJTNolIyvlwgfc38j4AAilIh2Jax8e6XbeBddX2EF2exvm+4js0JP7HK5dcvrhv82TFZ1N9Aqi
8/iT33+vfkHFu1SUv+/cGice0CSoDaO3BNCr2y+gqCjgnTju7ZfN62Hnbz6hv7M/oFTlk1O2MU1z
r597sl5/lNbeXke6RwD6fVq9PJ6IcXmnTvn6KybLz0QVmzpshHkAA2JxkcqQgCFuYbnnDhyWEys+
clsAF347VEAPMqkos972B90pJT1iFP3xMOaW89rC5EgXpZOKXpH3dhmDck6ICMfh4Iamy0iaEOK5
2S+qJN/HjmP5/p9BTdaP6YMOHMtpb2fay26HYkFKNv3T6+vu3VMPz/nuGVe8ljDqqSPWQCzHcskz
t7Fi1SRE1+2UIbYHSkvAV4+rc0DWerJHc6z9m6jf2uPJmfOs3KjOhpZMtIdOM4Q8NRZoYxy2Nh7F
eJ+C4T1DV3MsLyzzrB1ArPF2AFwW+mi3yxw4wxDE45nKkAsfU58ygitaBICi+n08orldOxbW0UID
oBcEH28tZQ6XNb0S9jb+o5YIAhoGRbYlDTKg/5GhOxqdFnMXjYdUid8cdlPRNse8PjYxO2v/jOVO
u7nNS0jVBj1kqMH87G5jPAyY8OJmS7W6hUmbAoybWnAV3Ka9XfMdHlgJzmECOdI89KzHI5o77ler
o0wOo1ClPdVLMOS0eFMpqPOn1b+xLtC/RIgL1zl2FN1ugFpm+ZSOit5uwlpjIoBH3b0QLKRrpxTS
f3fjtZXJJdFK0KDNE1hBqmgbj4+T192B1g/GMVs15NRtTifwRjX62wfPkg+aaOjPeDyVf/WyqX++
/oSJ6wR2onH4Ahsw0143KZEUuJmdYRxOuKrMYX/knhKy/YAgzHkFHEWkLriOuaX8a5zh0BcIfMPk
SPcsOgf/9n/dASSeJkQO3x+PcG5XXlsYPftVAFRmgegGHQZYhsAseJrovmTMEkLv/1hJdLP89zim
DkOIWamMYMUPVjF52aUjOuFgnQRkxO1Te/ziSYvYowHJAwhW1HEu0YOx4B8XhvoXil0NVWoDCLvK
+Ihq9I/Kj2BHrvH/n00U8fD2QwMl6CQm54JpuryW3B7nAt3bZSIYTi5bubKEF595SaNYCEwP2KqQ
1kCj0O2qRWHAczXbDMC7gPcae7Kz0HyuWeGO6JA/c9ViLX1k6mqpuWwmu3ljeFpdg5hbIkLyc7A5
Unim+OGHm/KdPuYNcdAox6+UY/r5eErnQgsEiVDcxfWJmt5kg9JMEVRcWg52DBBTn+g8QAFBfcI7
+T0MFrI347RNTzvsoJcfLag0Hsm305r0UPkpW3aw5T4hdXSumUzLOEK/UsGTwmXrOF/q2Zl97F2b
nKxkUCVpGpfcgMfepgfHN+BCqrt6B3mV4dokrtUEuIclzNDsqwNZN3DZQkIVbdXjUbk6Ci2bhIHc
yIM9hIYSGXlHky5MtZi7+BRp6W1d6+hWtR6v5Ez9gUHI8I/V8Sq+surWSpcouTPYDUQeRJI0OkDE
Eq829S+jKvERCrmgAIhfHXb12PLsul4ZnrjRImpyms1gmFWO/pqBdkn4RqdvHmcW63iJAW0uML0e
5WQTpZIjSEoyGnOfWkjCCz9Zakbd0xK2ZMod/nc9jsg+Gl5AQgw5uedDNNa6MScM9m5XqhsDWaRV
85zblG6ii1H1DVqzGfWrN/SPpxguol5l5m+g15unhUtqdsDgJubRw4yD+vfSulpWJnc4v1WUwUam
npONasV5KjSglyors4t4ZWY6r2Va80oPM0m2aw59Tlo4ggQMb7LyUkHA5PGWmU1BiaB9BjIIATXY
AG43a1kzkDXOPNpmiGVR+snVnw+f7wKaRg+flnWyQK5iuNQiLvn+xpcAZkPJDDk6lFGn+ml5XSd1
XVGNTQ+sTQmZKnBLXo67vwhHG2grBasCAkV6snHSwvXyog5aGxENbmJRVT6ZDW5ikhysn2T1dYGo
OfBz67Ii55XtEG/1sV6BOEfS3MvCLN9H37efMpllIAwyKXLD1n7hCHcA+QdhDDzgACGKzVGojrbM
yxt65Pbl4fyUL+FU73FMOIrXMzHxgzIF3t8+hHnZfu1/0fuvHhhijMYR34nbrwt/ALflfl+pPfHe
f1Gtfzz++dX+ZyUmHnEI+VIMK6xE1l/i6pBLC7XymV18O8CJ56vaNpJcHgPMNPCzG68Grw5j91Xl
kqOeoMyzXaur1besL0pzjJvo9i69tTw5rnJNt1KRRi0CyxLUUzRepJriarESqhGIXKRypUSmxxwK
4Rglmzhb7DZe+oDJzTpUMj20IeaWI6/h/h3FGE975laWRXjN1Gljna3P8IhLUeZMbHYz8GkMKHlD
FzKj3U2D0Aw8X5Hx/HMKLiDEX6uevqKOKzTLPt5HM8n9W6OTp1JMSUHMpjDaqkJNQDz3vvtszs/h
03O6tixT0C8RktcJoY03BIekZsYSfEsW+eFmLqXbD5k8mHqhTVL/z7fk+nicW/39vXpWSDMmaHai
+hxoJzPZkHi7fUsFfQ8fTs5j2w1Ifxdu/aXT/RePXF1MrFLnaZpg81Orl1fwXeSIrUTVsMDjDCr9
04+kb3UJXf4sYez1k6I9LZzuxQ8Yj//VB9Rd08exh1UZyQDBRIboDvcHJsEnIHY0s9WRktSLrq8x
A9HuyTMXXtD3N/PtYkzcW9/LQtxQsO+hvdBpN3JmM6A2cRI1yBfekfecc7eu9K93/GqsgazUnTK6
0lyPUdLb8frBgorLUWfWe5XFRaItbfrF6Z04N67MsrrOYBKoBMFgNMs7u6QZ4wK8K0+AO223sQbH
vUZH/+X7ifsWT0t9/TNp5Nspnrg5KXQoSO6Opx2kBpsRqAC0Ar0utljokdy624SqpB4vF0hTgEJC
53qiQycwIc4hI4CoY+lXq4VlnxJ8IzK8/aiJ6wuTOHeLZvwoKBUdkGvE3Y7058n8InB8/hE+H9ze
35z12Av9PRse+Py/PXK1BwbFo+JwtBsSfhcTrdruDAm9to52OnWnLaGesBWAssO7dOGoLez0P6d8
ZdkBs44T0rDM5bmFfJXRZ+nGr1w1CAcjbVj98UhnYBM3MzyFuxVFmXpxBnuF9pp/7Lgt4kFitgZK
dEcM8ewa2sKizrzZbk1OozbFY6kwgslMc3aOKRj+2lnxB2fTL/nNhfjwb3tdTWYU/88NNvZq7XbN
dkjJ4ZCA8NclztY8IuWWiAR8ymdso0UFi6WlnDitSunKVBlPlBibVWk66LiPIcU4WFS4mEcZT+ej
DTuJv0LZybJCga3e1AKfvOKKyomB8hMGap2Okvoln99S+DHN/n0CvcFmYdtysx8ggZAIQjajuudk
UeU+KoMgQZTEgxC/RmozV41TuDvJz36rQoDKCp8sz6g23AlVixRHxzfU5Gm8rFbyMGL2FoGcM5AR
7LOrT5pcWrnry0UV4JP6Jz4EEcoOrpxY0gD8qGN8kT1SdGcVb4GFqZhd9iuzk2VHa2CcxxyWAvRU
mqhm8lvsZ6qTmzGjPj68fyiqu1W/MjVZ9VQSlKhRcG+A7/ip+RofxzSCf1b9TNAFiqXHX8zmucAu
sHCq93tWQ/E3RQUQXbpG8bK9cIDx0iALashPUZETa11q4y3YC2sdJEHaE9oEwNi9FfulSRrn/tGX
T248NvLYjufj1q4ddl+HtE0x3FJ9fqYmPm4AoHkBYaLHGult1JI7Se4r8hg2ISMljRELslEOTr+k
D3sg0tDVoaOHZZWgeLZxP1f5YvvY/V6QaZZWRIlDDnVsWL39giFny0aqULCs6UgLqsqqHapQaSfe
s7JEElqKtMdbghnHdDuxNxanhaY8aZg28JLe1iiWhD9BADVsfvNEadiMC6buveutqcn09uCpCgcP
g2tV2hQOm42sbnbgwkLM4mn5wqm6f1/DGIqk8DBj/muKsGOatCqaDuNyPNXPCfpdtYXTNIOeHE2I
qANhtUBjOMl5+yW6/foBhVjQa4xN9+/v7gq0BAO59Ae5Jnv1aUiMx3M446OAnAeJGJjx0V+Idsvb
DaKgZtcFlTtgDqEsCsDY5+E0rEStNIDzTS2i2oHekt9gUR155hYGmp5HYwRogtC2MO1jdkK8KKha
6O2gXvetnkkiqIn2ZQVIF3hfpeoLhA0kyZaSivf3xK3Z8edXV3LDsh7r5zCLzKmO351CkLkNXJVa
COHuuRSEW0OToxfkhdR46Fa3X5BkS7QD8iHh5hk8eej5Uzal+lmaBx9igAyyjaM288Ha6uwG8oM2
6IZNOzXEVWOu140JUaNzpeLPdWqcaUKTHr23S0CWue0NiiOky8YuY5CP3E6LWAVDlAneYDP9Odnk
ua34Rth6C1t85qGBSbkyM7rlq9ln+DJXihbbjV3XTzmPLo6viJi6vh8LVb/nSFdXlbE6rz5CLTIf
b/U5V4h8IFwxL6PcI092OptncRZzyWC7jqtWysHhgEcLNhQXox1SXjA283AYBYIVFhzNKIlLwuT1
rjgBqpAp6gLJltpkIMnDFqDweDhJ6idqdBcZqwhRyh2yJ4W5hIUat9bUB18bnywm65RFUUdI8LrR
SnzJRAQ7ErK87G8Jt1XkCECqReKJOb9/bXOyso3iKY0bY8DMtkMLb7aSJNWnwH9ccKRHNfSSS0+P
F3TOg6ABSYScH1AaeIpMAh2mTaKGi5jGli5w+aA0To2c13hl19hObOFOf2xvZlZvzE2CnbqAOpfb
0Y3NrwMNPXHg3GRilSqPrmc61QKrxsxuvTE2/vzqoPDRIFRRibHxqkQZfaLlxWt+qNyFOt3sHCIy
GJG8KNmiMfnWjtJUIlQCqtbu6Cg6ikK4k9s0J57TC3qdF5TVBjFDeDBYx7WnmALfL0mRMePOmOxW
HBTw+INfbUTUTq5xIFQhM80pje13Gh2YQjYyWVLr+MKe0s/8k2tJ/Pl4JcWZyOHG5GTUsS8yWePA
JE+bWfFWf1LMJ++rmb+hE8Lkmh8Sn7G87o3GMneakO3y5CkDj21idsoucl7i/lABTimA8/YnVKB1
mqxlyIL2u9Q58fi/lUgXEZVg8YSn/h3UBWJneIMWp2oJEQvZjBKzhlL8eVhzqEpW3wFYc9cJrebV
xYu+ROEraU9irXKtJZSlGjtbMdM7yfLXedCA46RSQewq9kv6NDOXAKYFzgpNTejtEyZ+o+lq1EgK
lEz4bDOcS0aljJo/hP3YUpV667oDkbPOyeBmPyZowb50S1i0mcv55gMmTgSJhz7iEh9pj1bjexL/
9t4vStRxY9biws6f6S8ArwLEQMfmEARdf3vk6oRxdFaxFS4jm80NgWSQac4g3mYEh8YojMSMrI3s
qZ4xbGLbMYYIaUVOdYwYT9iz9P6njA0eDGrh3piLAW++auJkoqyjoCCDrwK95avgkB1gsyN8ltJf
KRD1lf6m9kw1sxd86Yy7AacOLYugKxegdzEJVmIxE0EnHHV2MojYorSaQOA8QUo5R9te8Pr4+M0c
eI6R0A2LotxIFjAJwVCAlaO0zTtbqij/pcHrlPBi5yzs5pnygcwxMjj6QHgJFpFpr4qgpB7ryIDp
SxCsgY6BETma0nkaqJqyhhSSPaC8iiq9gwg31nwOoIhWjVpJ5fuzWKzLEtx1BbXKPJ3hjMczcM//
CW43CTq4QP3hAgPI5dbtBrLL9OEgdXaALqjOKOItL2TkKfd+WHBhoFgJRmG8pUvNodQ8N12aPP6A
mafp7QdMj3oc+HDIgI7HL2D4Mt5b/VVzP0Py9LtCZWUFXtfcVdm3hiZxv8G/WcrBzZx0sACMgOlR
ihc937cTwOYNHlsFnlMFsOvIFjmtBnlN4zAQ+iAe2q1/LK1gvVoY9cwVfmN1svOqdgCfEwvg0qYy
IiAmSLjPCQclo+dTbP5UZNsa2y9JBay1tdbdzlYXPmDudXzzAZNzhrlAeMqPr2PcA4wBSp9G6z5Y
FxCts/Z4sHMzjMI3D9IAtNODFPN2hvuUpkS3pxGBov9MQKGie0mG5yFe9YolyUuHbeZG5dBrByAx
lDCwpyeeW0SokJQdM9herHKv9UcIGAWSb0cial+Xy77R0R4L6sSfcxFipEvTumR9/PmVL5c8Kpdb
CdarfAcOTvhNDo0/RHEG0nNqjlAGxC7hSvJU9tnL90vC1jN4HDAzAUMNyRoJFLFTiEMUhmKYVT2g
VZKR7zyGyO4vgAAbDy/ZyNm6wmFoVi5kCWn9/73IN4anAy9aCXxNHd5TwYpl1q5IWHkr8Q1JWdVL
F15vM+EBOmmgNQJQKjrTlcndpORZTckFnhUVt20+eeW36J4VaWFEwsxVxLNjWkCWBFCGTN9pOV6I
TKXgduDISw9ZR+E1+BZ/uy1jgO1eFYycvA9Go9HqsJXN9oOBUpcJaMOgZh+4pfNto2/f0Oaw1s3t
Vv/oLUbnIdtkXQZ1+7Ze/y7psM4cM56XQMbPgtwBrmziSKWkodsgZXs7yp5AV6nkmhKi06aC4AyC
5serPVMWgpTIlbHJKSvQ1EpLPoxtdgfxI9JAt24T6VStvkxTR1c0CCQpcK6zl3bRYc+4zhvTk53W
KFwNCCbT26yZIyzyyaex+X7Zlegii14Uc/1BWcKCB5vzljc2JxuuLbPEqQTYjEn+IpHXwNox++wl
WHAfc491HghsSQT1CFIE040d8VVJDQ2mNUUCLNFSVcSbA5TStIUHbIn4yzEqXX6NtfxAWdLxW3gG
7cXzkpzPTCkMq3v1GZM7sXECp/dafAYI4xnw+O4rTC67Hl51/kDZzSd6LTs074Hz1Toz6CcUFrbX
uHsmDzFA0PFLRIsF6AYmS8w7ZYpZwMnr058y2Jfy6fH2/QPT3hvA44JFd/Y9AnUIBhRTu7KzAed4
hwKlNmz5F3kN7L4IOEEE1XrXLPTQygtNMu0zSiOK9juKBIBcjTo2aGCsoB4ErUqydIrnh/7Pl03u
ZTyBczruqs72JbrchK4g7wU5Oj8e/zh/D4b/h+2+uqWqVqk4JitgxGHfWNatX/IE0SW6lpLdY0uz
w0G7G6DuoGG/y626PRoX6hwT7QXeOZfRa88tXfhLJka/eDUYTiiFJnDqzn6pezWGAASW9JAZf5ig
bWyh/VDk1Lf1GTXqx2ObPa3C1eCma8V21MD8WX5l1ztjFBRNzZNvInDXck1/Y7E/Vr+KFaGqspRZ
m13Cf2xP0+ViwslNXjed3YjCqqVfaOWTFgf98Qjn7tmrAUqTyI2uqA78RNiMbvpTOZrUXRjfCLxY
+zfMoOVkpBZBB+GU/rgrQeDTcF1nZ5mrytWnyxlNdi7x9H5sZ+6xg3jhH0OTrRIPIXhU2L6zZabU
4wTd2oJTEOyglCRo3PYAHA59JNMC9pcLJDUD817ToDzlCLyRS53lsvyL0sULO3i0encar75qso04
AWB4hcZSDihiPrOlHBpeVAAoWQF/4nl5+NQ3/GdBydwClHAuwBEEVD3QQ4i+TWE8WVcnJ4Y0iCNQ
6Ious+qpZX09z5/64UVI2A2tLGXcZ2DxqO6g1YDFCxjtodNEdJdQePXnyMs6JcAyviYWJFGAGCcl
RPSGb75Ca986ulRgcgFdR/crxurAgflwIZ85e5cj3YJegD9FxenJEYRGgXANUMD5b+y+OgyvRZye
NruA+5B4I+ggogNVnUF5Xdh8Y1p/uswjidlYVJN51O9uZ9vz2AYizy4NsAetpkgT76h9RuKjc/EW
cihzuVTQWCJvJkLiABiESbiS9F3jJmw82BpzYUBq8mnWKHYnpLzUCz5wJhjDDQohHhQJBcTJE0tc
KA6Fk6CWEVhVrXZaCQQcNJyj09LLBsTR9/MH9DQ6XgWwMPBItN/OXx2WfBVmCPoVKJbslG5wRL2s
kAw2QG/MyCTKK9ZT88HhOyNiJeoz73jntU+7hjJpOelE4o4PQxJ6OBJqynkCaGQbkUp/Os6rwuc6
gbAheiRk3iW0C/C7ChnwMDlJolsCdFTkyEP4UZpFW7mSfFEXM15J9TRG9vYb6vUObUBNjpKRYJVT
X5V5ge61gm/o5NB5sTBKjqFjWR9bShMjqYFkJSyEhSldgSgER9yw732ta91AtNqhVZ64uIm4Qyql
XbTh+5R1d4XnF5QmepTDEWh3Z7Q5pKijbECswAaHOKmE4lVKpSY9NoFfKFZXAS1pFmXEZbjaRR8Y
0aGNeEPpIo7ZpFnfF2s2Fp2xhsA64o5l6BzNKa3DMUYSle4zfKDXnePej8qdJwiepBbg/IaanZCD
cDYt/ACvPIUH6bki8n51DOM2C4wBiLHajFNFLjR+yHq0ZvQx1O98hwrBxMNGdK0LDst5K6aQOx+0
Tjkd2ikfNcmXIMRAshNvQJbsM2YzFlpmoZNS3h71AT57EuNW4VdSB2L+JymvPfSU9QVHEbZi81SP
SinqMfVF5w+q3MZp/J6AsUrUfSQMyq9KZt3iiy/r2AV71VBSyapOeaVduxQlBC9gtPEC3UMXbPSc
hgEb5qQo0UkHRYM4EPdNIwm+DfkFF21sqAGhiV4Juwz1nqJRkJR33VqCrncpJszJTdt60CL8c16R
XKjx90xJEjtUoOGrt5nbuJuyQGLkN3IZP2rXZRMJ3p6qa1F4w2+TAR4RS23zXnFVVUG+LlGeoyHq
e9JBzJDV8zqOUs3JQciss5hpfJESSN2+KihoRtd9wIqmm0Z+sK1ZxYNOGMs7obBFgobyN07h0MmO
ipAQM+FAZPym6DDfcANfUyRumrTTez9NIAifOmUeq2WRCqEq5+gHBv1VmfTFswt1Qy6AcorSJucs
y6Rhm0g5BEcitosolafQHrXikpCF3LKESWJIhmRFq+FbKteqoK+agK07SRi9pgou3uQpnWDyvLYS
oJaKqIZB61sVyh1Bs6RCkaZs49yK45bJj2AgiCTAe/u871eOT5X0WZA7QGYGRSzkd7eVpOBzSItM
MN2eEksUPkS/0RsnUnqVZf3GMxjRDTksFdfx+0EESxLORp2vGa8XQVqRQaDejMoiSsDYkjPKF5XE
EESg3doVtAF6bz8KUjyeARVL1zt4ReZRe6ZImFCPYjevdEr2u9RgfJbOCtLQVDRoLppR5N82SSgd
dC3DpQO1jwvVo7b7WbhkZq500CWj4guuNPSCTLmf+KEJcQung+1X0NgOlE0T2DRtSb6NGiVRhF2X
vDfycx5+Ao9Dcs//7bpMU5wfPwbPq/K78Dkzd96/mK84MLih4D25Hop4SAA0GUvdrkFVBKJ1jIl0
skwYQZNz87G18TebXLCoqiP5h5oRRj9tkk4UxqHAu0rbiSjHBkfJL4LsGwldB1pA97Hx2NrMswNX
HmSsELWA0UOYxMZcMQbgDZoY+0DItaTyXR24mbfHRuZKkqDTQvkAgBhQtfyBDa9CNK6q5YD20L4Y
UWgwx3O8zvZMjemrkJwXnoUBjRgVwcOr0iMXlBpKoaWyrImL/amTix7pJDDwXempT0LnsE5bhcuh
p84xJB5UUcAb2Wc1+qv+9peQMZOFvLM1CYhpsSgKNpHZHWLxYHtqMyCrH8/rJOSeWpjGgGXpDrzo
YzQZghY80wBu/pYVsDWSbAl7tzBx0zeU4LuRIHkSuxN3foygb4B4Sk84V+1XyLY/HtY08PvXuMai
KTKAyFhOGVA4KEWWqRBwuzhwjMbbcoUG6lzDGVL43m/F38t0pXFgwVuwO+YWr47end0xdrvapmLZ
Jkoswy6KCcNWRI0eIhQ+WlNk/GJ25aG9LAF9p33L/7IJeBqKaiBBu6sRC3QbZUzocbu21+NVKxKo
2ypq+YUrC9wBzE55WzI5u5Q8xCfwVAIf3JTKrwSSiq+DkNshtypHhOa1RCD+d/8c2F2wtJSj/7ib
UrwKwfaKoJe94+r1SzmqIUK6q39BHLhqVtSe23cv4XNoAI72eP1mB/a/tsCjdrt8bVMPQqskmEqB
ACLAPIsISJ/d71STPx9bmtxP/1q0K0sTr0m5UIqRWliSZVVoDJA//mY5woalDTl5LNzZYW9HFPKF
yIajHYrQO/9dDkZxErB2Nmp47FeFXX5KVisR0X48vKWJnOTgy4J25IGLuV0Tq4Gf6Dn3E0OaFIQB
3pYKEOdc/jN7kxe8BzBL5kQYJhjbkcmgM0MqSHgMTsWaOv5npiZHnPaVKO8C7EfqHJ7A66Q7YIJ/
7mmyxHO8NIfj7XDlSxyqoRm3Sv/GJL8wF9Ac+z76TBhXZbiFjX9/D0CbAFTYf6oPiJYmG99rhzAC
2bKy6yoZfSU0iaJMZ7NDBGAtBbV6N1/amPeeEjS9SAKAjWB8mf9lJ65GF+ZBJgPC6+wED9LDRaXn
jmwlDPgR+1pLcO4A4AmLhlBBCAnjYw0tm57il+ij7o/H7VdMjkdGBbWbDrGzk9ifPjTTBH2qC9HY
konJUaBYkO9QfeTsap41gsjCO6vll3q1Zo0gfwXib8RiYCK43SuMovSILxtnV7olabJjlW9rZQEh
cL8fAUbDH2C65JGAmDpHXugpSO4M3l4O18Irc8g4nQ6+S+UQoWOmLBaSgZOwEo7r1trEQfYpRO4A
E/L2Lucqah0nDKFKvlAfH+YpugdmZNTHRQgUgFAfqbC7je/FQSb5wb4aEitOzz6P8rCaRgTPKi3I
XvAMJ9DR0JWBFIPVcgDiSRkB0/ohaDI9EBvd6ZcY5MbFur3xbr9pMvSczagqRAJkH/DKOk/OXKtY
bvTUJEu7f1ol/xs9FEdBbgDWbCB/JtsmqkfyODQS72W/0nLpkiWQikaQ6Xqa8kQTb8/6pPtRhAUX
OuXMGe1CiBbQBFD0AVl/92YYfMi7pHW0r8HUiWKFjpJpogWGa7o6o1F6qckaAF2kMGNUbgGWNUUo
OlWGzXzLC2nQKers7lsmLmBQggp8IU20j1jSeEf0g/kVGoq5hiT1pmE+mTBRk29OMANZUmUoEvQV
oaIVQIAs9VpBaf7djzW53lCU3uZECC5Rco49jQkC4h6KXAvyQy+Q6J0rrBDpA/qiLCrH3p8VaAwg
AoQcJoTR79oUgiHs2bwQo30epd9gA0Zg1J0fH5R7B3NrYrInvQxkK1UkRXsXeMy0sTpRQ9bssY25
7XgzjslS8FLjgpoTRtA8AqWnoSJ0oHfJitsNuiKodUXYTO+Xgr6loU0cNNf4Qs/2sAoRx5DelL7O
sgvPrGmufdxkkHEaeYoBFkDSduJm6NZ1Bacs0z1V5EYpHZnizIe12gKYmvRaJFgKGJTbMjS9esH0
faB5a3mycE7b1dyQVuk+ls/vXFrocqSO27ddUmSbeXPdWpqsXqmwYpK5dbrPQkNiNFfW8wDoB9LK
ZrXrSesthBCzI4P2qyyjRWd0Jbd3XsbFcaBUKUbGv1EVUkwS8p/ZG3KExGeXAqQZnwwyjX+MTTwl
3fGxz8QZBlc3ahAcuPpDSs0CvG0LZ2CcpYnzhyEgfiHchNLF1CVLQT4UYY318tpcLRlL9NYI2iW0
B1DBjnHOnXgEYMsbD+GCJ5xfQBlJFhbqskDPTFIbypDUTErl6d4ZrMKjNMjp0KRI0alqS/SxcLZd
sHARTGth47kAsgGc0qiuQmhmmhcDJ2jWyp6Y7f2PwUiOn5TaHnnIF+oy/D67UetVZEvLCiL34e6t
2XFrXQWfdOnLSA5L2b6vP/ifuAE0y4kQX+glhYbgldjqzhcbmLy8aw99qNiNrHbdmwSNbNHVHy/4
tHh+NwWTWa86Fwl9kcv21IpWOSMwQpsFp3a3gVpGpFYBNFUGFUQ1egE6iZb0KMpASVRPL/yirvB9
hHc7LePPr6Zl6DPAEzOsRmANYIwFCgQ5LjVZoSH0Vdnl22D1i85I6ijrjPV4FmYXBMXXkcEb/ez0
ZBICNpdpKUmyfZqlai/gddq7atgZAYvkEIQsQS3wbxgUR1U9EAqgG2hisO0r10PaONuXwiuI9VW6
3QWOq6G+UaaAGi2he2fcBziv8daBCjrS0tMe/lwaKKev2Wwf994+dBKTcnKS4m1cK0sR7XiVTByI
wMMhjjILyNHcNZhydMz4hZ+PtDCOFppIzhDbPbALgJa5GO7azjRydkXOY4YAdhojeq6eB7D8MyQ4
UHquNZAbp3QEcztUBzTH6NSPnrhnT5dXMYD8UKg8K9aSusZMEITvUaCMKnCyBPzC7ealxSSA84rz
fZEFapoGalsuTO2cBTx8IDwEF8ndKcOxWR10Apfk+9KPmU0nyZ4eSP9F2pXtxo0s2S8iwDWTfE0u
tUlUqbT7hbBkmfua3L9+DjUz91axOEXcHhhtd7cBBXOLjIw4cQ7Krrd35rwB9MchAMs5abJNSk5z
bRkjL1qpKuvSLXayOYGh461oq7Z26Nmdb5LtaCenwnzpJkRWYq7l9pYH+W/rs4suNwRU/eUG1nVe
ARtSSEc5CIcVr/dTf5nv0vNBzlZL1bq0aioMUt5nz8J7uMXzTmSRBeJ59U53Qijofqy8XxdHJsuY
X4odAqT/5QapshYCpiiyuvEIxqj0gKrlilOZVyn+e+nOTMxCEs3XSr2O+9I1tvI++gKRm/dBrMrm
d5LtHQiUWdcapxZvUHA6/mtUs/UauaSGOceogp32pbxjQl8jq/rMDuEOtWljH510J7AnRcbb23Qp
WkD6FxAO5H/JlH2+nM7Qj0IeGDj/WpYzhZtIFnmWCAWuTebfS3gl6FG5cgD/D5vgmdbQsapL85BP
y6DZEyP97NaQQ5dt55iAUnW/RnO1PKcEUTrGZxiooF0OLenRk68MXQmSeLKJt4kj2IiEAs/kdwrk
TZqD8mdi7P8brQnSL72ANLjt/7X8MwFnN3AFyrZUGmFZe+itCkRK2gmoh4fR/G1YzYGurOG0HS8O
oQpWQ6gYQ5cHERjyf5fj1Iq8KTgIdVz0BuVmRYNmSyDmbVd4iVm3t8ucrQ0Ktpe2Zhdu4ElGlPlx
6ab9cxr9+R5+BdDmtoT6MBg+09UHjlJJ8eiBiqVmWv0Q/cKfw2fV79sXf8cHJ/Hlte20Nv7ZOndV
40uljm8iyjtIiCW6C6QnIfgox8AUAxbv2ngTgRkQPaXDZuxMKq34+ut34cWsIHl3uQKKofRUVvAF
dffX23re3xSKbOXDqHQWHx0od+fjq1SuUdpP63qx7lPWBWVRdJgiFAFKfma1EOuwJU3jAhtiF+Sx
lfYyzcwECsa1/+f2wl/NMdTRKK5lGU4Cegxz0seQKk1ZElK5ZZq8F7HvZAX0L5rm9baZyc3NhoSy
Osg9oOWLx+C83p/1WqclEH93+eDbufIUomm1y1ESW2u5WBrPuaGZv405pjZtYAhYoecoL0w9Ne5H
NV+ZtoXxoKFjSo5N3BaQZL5cIqryAhCgEOMp3ALipXrwQgsnN9ZKzAtbARsBcQaCXKSP515cClXw
LXdD5Q6vasJUszqWqt0Yzu3VWZi0Cyuzw1+QrtVzdaxcKmYmj46hPSJnfNvG9VnSsKdBZ4p0oghB
+LkGEnh9CqATIu5KREDbb1sq4PqUqtbCu8bKI42YMfdis2jj0jRkv2Q9F2K7reO1KvDSnBIcMPTL
TL+RmVsR07bqCk0pXZG2LNHUjRh+xWpmejREL/xaEvfas2LcuDLAa4RmJwAQZ1slyqJOTnS/csfi
Y/S/8lJGjdtSZBTaUINWunwrFMckD176wjF+dbW/qUEdJ7mBuNXk1kQtgtAGWE9QLj0YPWgJbq/L
nD0PuYzp+5CeBHMwikzzrRxXcZuJnV66TWVs6ywzyVegTDIav6R9xM34uaAsULaCuE/i0NGVXdHf
84BudM8e1PsKSrDJ6+1PUq+dBToqkCoF8QXIqXT58nA1zRjXvU4R4w7lW2mEZh2rK8Hmwo6nMkBZ
qJUoBpTRZnsA3VRBn3Vl7RbSaMnhvkcjWExWnMTCRkOvtA7yDIgpTWf4chxhw2k5xrx283gvjX9L
w7CiyDDlYGRUSVayswse6cLY7AwnuS+RjFS1q1W6KTcPQfHVFt8h+XV7baYfM3PkWBNcS4qK+g5u
qMsxocLSt1WQNy6pPwWg2XQDrTc+hOXke1l80VCKuW3v+rmFxwA4SJBGVFCRwIa4NKh0fqGopGvc
QN8odYT6g59aGn+va5kphst3wIuF1B6+8mfxEO/yZ5AUGPEeO9UlB65ub3/O9b5RkXxD4AmVEwnY
2GnrngWASZoMQqKGjZtmx5p86+ldRPOVE7lkA+lF6HChdxC1vNn2D9Q8EcC70rgVMJ0hhPpy5Jna
/zTvjCFM+Q4s4tTNP2/ALDKR8KgpGnd0arwPQB4Irkbwka49l6/3y6WdabBnE4Z2cw14aNjRB2TP
RFuPNlG6aUcoxKwc6WuvMVnCmcbbHDCUn410ZilQOrVAsahxG4UEZi31DzL4YFfWZmE4SGVLIsJl
MJSBoftyOLz0/RGNA62bWU5sItXM1JU077SfLw8YxDbOLMxWvyGlEQHE3LqAuICSD5JzO915XMuX
z9vZ4fWh0TyxCYjyJBQ4d4AhNfKqUaLWTdT0vnsmHSL4emdUaFUMX9LgcWyKd7FPdwP39gnEP8H7
2KsOJ6oJxXv/OQA8GP3/yX2emUr5lIf5HRkTBz1Ngne6feQW1hVfShGgytD8uWpv1YdGwuOkbF1P
58KuTtrQbvnwfdvIvOXmf+bj31ZmC1tUVV8VA2/ddLxvfMgum0mA+1n9HRzVtDe1B79Dd6qRH3sx
ey3+ksCJRtuXkxX/sjDYHwUlSHgAJSD9kC2fbeI2J16hZ3xwAY1mRtuAwv/2QOckD9NAYQE+FREl
6MTmeK02UzqxSNsBCQn0uSvv8Sl6bl77u/oI2pQNsRLQiIZHPbCC0eY7mf0h9u0vmE78bINrIoJm
wH4RBqLN6fIICUHcxQKXB5dDX4KkgSnlh4TX1m0r19chhom2TBUdQ7h6f6Kys4kkSZ7mY+8NrpT1
WwLSCA08FVn2Jq8l5K4hCphQGWOZYB0Qf1anJT2z1NUZEWteje5gjla/Uw7Fkw/24d7srMweDugw
Pvrm32gzPt0e4dI8ntud/v7MbpiGTSYK5ei+W8e1l/e02+drdP6zp9k9+9mqHNUyOklG12Dq5rM9
1OC208zH2FlDnS5Ex5ezN4uRhooKoGOApcH8TDeRld/rO3WXbccNf+fWb74dNoJDXGSloT1ZWZ6d
r5y4hQOBsBwNtqg2oO0LDuZyrKM+0qzsctnthy42ge9nnvAWiSFTvzXRhgwKipcm9UCTfcrl14o7
eRU4cdY9hB645JGkLMi4bfO7cbDlNV216+sGGKxJJxDVCTwzf95UZ+tQBSBekn0J8H/A8818RBPY
KJNgm/QFCFnUlDgCERuU4RWyub27li0jRgZ7AejY5jkIqufI0CJ56VbAmHTAXmR6ysR+4+9y/h5C
gfq2uWu/B4CLAoE6YH0Q+8+9kk7FSBijSHXDitxrQuGA6GYl4lmIJMGyISKdhoBc1zRlttWkgaao
KRqqWwd2cYw8VG13o870TfqduOld4coCi2XW3VWppahODfFA6Sg5oSWZ7Wom8do/XX7MbNdFHvQ/
Y09X3eFRBCkBOUigvkIUFpphv+PNVodc8vP4Crm2od7KjtHsbk/4dRIVIk6AVaEKJU69AfN0e66X
3QBOCdUtVQGAT1ORHtFzQ7OXIpIZafZJcC83+1jfaxKjo27qiRNpn+CW6j5vf8l1pernS3D1QscF
6ep51ljQSlqSEQ2U9EtPgPpman2K/QfBDI9a+JCCi0TYpOV9eZD3wV51o0fyUO2T0/gtebbM5DeJ
bgG9MraKboIGaFy5SK7jMTAuaTqK4AYuZVB/XrqHuOJyXkT4uqH+akB/WRuPqfL3rwr96FLAs/zt
9mxc1ygwG+f2Zu8dAcxxHUlhr283dN/duQZkAl5+u09/VgamTBftpZOHJfAJYc4Bwb9CeflpMokx
xZqrPEDsV0eHxrEfHf+EVjfNQddrsul01vUn4PuqnPmH8tWQHPm+/Rh/0fZecEbVlmtnpI8a2WZC
bxaQlS4dYROqa4Ia11fd5ZfOQoY6ruqWklQDSKZlpIQm/LjX1DWww/WlByvIhgDaDTeB1tfLlZYD
qfcp7zTXG8y4Gpmh4hVxCtFN1gcVUwOmqmhhiWNnLSK6bhGY1hwxLvi9pKnleGbZQGP3kAqt5obl
l3YQJvFQK+NWC6LNYVuHDwNA4Y14GsOVIS/O65ndWeiiDZ7UaLzW4Pleq/A5w4oX/2jt9Kknh+pT
0DlLGFR1JwxxPmpuE9buSONtq9cbRetXXn+T877azGdmZvE7ioUBMfpec7VE22hdQkw6FF8VkrKJ
0aZ2mDTFypW1cENOFxVy5lg7GYnty+0ipaUHNVtRc5PiI67A+O/wWDuhVZ11QrgNesG+7RmWRgh1
JrRsTpyskC++tJeTmCqjTzS36zOm+m+a3G0i7ylD22RfpSuDW7qPJ8AtUnAIniESe2ksDdGbCrpW
zQXPJGHCCNaiPMvoigtaiP4Aav0h+0a5EK+72ZUcNIKGdmZZdQnIxTIdLM7xKU1eVQ09OapNsFF6
24BAnN2B95+Cm+ozzpzSmHq40TJnKB8RwFY1OCeb1F5NKCwGDESXwDeHRzK6aWaToDXh2MgxUd0s
SvZ1qTOINlsC1hcNGgGRGbqOTQ18c57n5eb4G+IF6DudSOMV5dk3toX2ZkDV+wkS3m1zl4RrqbHr
Ij3cBhpfJ6ryqb9vjkSohrFWOh1XOPgPmaaYMjR+K771LDBl/vYsQKMb7RQeoWRrDeILX+viWtyQ
Z+Zn09OrSNhhuyM47dGUWQfgpA6jsrS4jwYyzCawEcagrJyCpY0J5DlE5yjAM8BFX25McFDSjg64
tDyZ8w0SXBF4L6EjuHLWpm+fuxNoY+HexysSsPqZO6GFgobgTkGs+IwI37ZVdjLMu5PPnF8Gc742
IbsXTeg6O9QVLNO27/Zv9jf7fff75ak5gGv6TwCW+icwan1st4/b7fvz38cn8AZaB8t33w97zzw8
rkGmlpbj/JNnl2Shd23NB+zWeqzNPnqhw6GjpdNKDxLgGrfnZzFKOTc2u7G81B+5PqiqqwBiX1R7
AB5l+qJmjvQplI6q2umLstfvouLggYj9tvGlW+vc9uzWmvSueZRhbZTkQ0XysqssdLHftvGj7Xlr
A8y8u++JRVH3VHUP4FrsnYmxBwRqoGGSQXRKJz0nO7Z7pltQ2PHR17/nd3geQ3LcWnsiLwWgOgWH
GcD4yAjPT3msNoqSxLhn/OFX3m/b6Z72WT0+hPwgak6VpSvzu3TEUBMBrxW8PwKi2d4va70UJs4E
t/REpqGFKlipIfy8LeaTiyQtfJeEFwbeIJeHGIiCDDCuhLgO9A3N3fPIvomlsi9qU/Pbs76PoVla
hNkRUBxPW7pL3l9TBsWM05+1Rrilc37+JTMfpg+9Ko/tNFbtMLie0uEF9gtAiJXt9LNIt0Y8u+jA
zxAMGcWIUzbswd/5bkA34JMzg1V375/O8063vn80bizDPH517xBpYgVDghmseM7vicYrdh4POSQ0
XxtzjTZu6UCB8FKC+AjIpJFovVyOsQz0LCwacEeAsaMZ9q2yzdN2ZVctzvSZkdkMCFpdQUaIE7eH
r9CBsAQVSgNG0fz37ZO7uHvP7MwuCE6RLa5rDKbxe4hvUY5GkTIeVuKj5SlDr/t0EaFjYPqKs8SM
WOmZMbY9ccEjhIfCXTtsJfB73B7KUoRpYEmAu6bIi6jypREQg7R+kGXEHXRAJl/Rk1C80B6dokhO
5J+3bS0uz5mtmUOXRXBHVVFKXN84jF9iZBVlZUp8LWhecmYgbP0pOeP2/tGAOJs3qW26igQlcQuQ
eUfKjnPRHILS6vtHBFM9iomGcbo9soV7EeuE5y2ucQP4g9nu1sHK7BeJQlxDG4aDLgWlXYfSZizI
PUeWCEw84YrFhS0IsVjoY6ugRJjwxJfrZgwqBDkEOBWlAq9RhAxPy59vD2phuS5MzLIENMxlEEbA
n0ixyhTAelWkTUYnTdc0YxY2OkW/AR4B4vSPMdvoyRj6dSzBUFn+ATIkQLf80K/0Eq7ZmP7+bFOM
tUh9WsFGHf/CWBq6lfoVOPTifCGZqWpIdGgI3i5NGGRok3rA9u4TkoHfY3gmBE98VQDHV4w2jtur
s7Tl0OwF4J4GPgw8HS6tyX6WQja8I64g54HdBjk4q0c9Zh4P0DqVhsGmyYOVA/yjfz67YpAmphS0
ceiVxHJdGm0KL2ikVMQQQRB9T8HV/BptXiurg/RjCSGN0nzwGYQnN6fj8eOoWyc2QDPuToJmnNkx
GQyAHVuLXRYn4uybZhORCgAVgusBu8eon+uw181YbyDNgEIMBJVZqxUquz31S3vpfBbky1mIKrCg
oBuOQC3qSalOkbxLwpUK7aIJuBNQAeFcYI0vTXRZn4JRSCKuOj50/tOINqpOXznfSy4EALN/2Zg5
LcMHkXpYq/CTY/fVS/WXkHP79kyRaSquNsyZjdmZqBWxapDJR0vFfti/chtvarPG3sFrGr9iVr1D
H6rZvyuschAEP3/npjBtLFC5MjQv5Obpe3fC8dkRNASFJrRpIDfpBazHv06kpKCqQgzz1pqQRhLZ
VrMe/8n2IgoSIqCfABhlfqpbrg79kFMstuarjuwnoJNK8/diIDu5kdMHgp4pa2XWFiYNOVOIPwH4
BxK02aQhTo+ljibU1ejLkOzwAsqh2CXn8X8eYKDdn07q6ujrB8n55SZLh2boKimkCGPQwiBmSm4l
LarvHde7lSOzdEj/bQrF0ktTSaZVpaYJ2M+8eorU9lXt5TcaSjUDHbpmBtCSdW5P4lzVCEXoqQUE
SBogvH5ynpcm/USHzTCl7nsNweAKD6pXpHOsxIzwzkK3l5k8cAY+Lae2dLsz32Ub2tik2qIYcPtL
ls4ygivorCPre93YlGla2SdqRV1D2AvkURS/DcQ+t20szi9gKQQt3Ijk5lIRAo21ofVz6pbBGJmo
gR2hJ4/UjIacsnIco81tc4tDgsoPat6TNtWcXxvApVEOvZq6oINjGvrRcv13Pb7cNiIvXaiomiJP
jkYYAAhnnp0OgSqEQ0PdCqo+QXfowJqFe3v429dHMWGt7hg6miPFY0mQoVM3YOxLvEM2cpZtQ+HU
tzFDnYP1gs8Gr7v3A5AnQdSrOYpr0OPrroRps+EQAXYKwB+6xi43W9fXFa/qgbpekAIqrjhBfejw
0PN3cm1pkknQnmFy2fgH60CxCOrU64V648yFV52ig7VDoa7UQYGa0vpRAEPbxkOycaWy+VOZmHvy
c1PTDjwLoKoOfQJCBFON2To9fmkolg/g80e6Ai1KQJGdsl0PGWgDkcADwoCexaYP4vcRvYsJO/qb
b99mdyFmgQWGGewfHxvT+AdRHgXsA4hOYI/E+bWJBHqmJWAQccORPCMIeiYVLU2vl8WV8/YTXl1N
B4J9yLIAPQqJwMvpCCDMBipHAz4aN1Wyi1lrSc5gc/aAMtZWsh5C9t2yr4Td5bsCJG8giUDVV7Lh
6xgGfvuk/Lwvbn3N7GUlTZTVhY+vScjA1MYywPX5R+g2Wr3xsgNJ3SjgpkKQszPQnwNhJcDvIb/C
d0Nuq50MltneAckSVJYAyxYOhrIDbtkqyGHgWyU66BGe07FZ1zEIgt+lYJ/2IWviB944XAA1MF6/
JtGZ6IZQNVNTbnUEYg/+TisGk7Rrg8XM3hrrFNacbUQhAiP42FN4hRbNhiDqRevm7elc8jsoFaNe
Pb3pkJ+9tMDjuMAZ93WX9sd6BGdn+KwrYEBsVq6opYwNmrZA6j6BhwDAmJ0pFC38MMiwbBXOTc7e
wclkUcRGqMkx3EqgxTDQ+0dMbKYTBCvs7y+dfX2pjPwoKtS2KX5N4c/AdPsxtpCJYFZkrhVQFjIE
0IKBisak1kMUMntptqVcUyWIdFfxf4vD76znYDT7XWa/Da20VT1duS2vyTjgSs/tzaKSqOxLpS5g
j+qfon/vKU4JwTzeuTTArV2UTCzNtGNqYhmHMOpMo3e8bBcgKCTDYy3H4KHpzUSylUHBBoQoPFD3
yJqmT7y0EuljkMwRWoOpwIrylLSvevsUe0wb420srHVWLF4L07xNTRzAhMyhnH3T5X6ppbqb7PT+
wwOnXoBi007dthBPV91+pda6lDKn5/bmXonGxAhK2GtBlTrm6ZtmvIlNYJIHLTd947HQ4alBjjCG
NokfQV/oaeNKpDcXTPiJu86/Ye6LAhAVTN0Ibu89iIHpZU+gGWchdGYkyzA26P6Q1UdEMKZCnTEF
0WlvU/G3GFanKoCuk8ek1a7dacvMXQbqtqBGQrkIQOTZNVmLgViFMbZUh/V3lRIZoPyrKExC9om/
LaMV/7HQhjLV2VFCRfQOGUR5toVLSGQIuV/oLtQgFG5rRw3YM9fvP0qzTjkbwf+R7277rKVC4rnN
eQ0cWfbCI36OaQcCGhQ+TmD2W8EGeQ876uwtg58AHZoFgUsXjdhWulIbv25bxLE9G/M8HzGQkgd8
sq/1Ts3JoS16IC9bqOVZhG+CgZs1fwBRbpodVNni+Vpj6OQrr9f4X3P+g0Q5uxaa3o9qrYP90ij2
ivCuKyYVd6KC/skgWNnji/sJkS8kwlAfRHXh8oKI1EAbdK/CsR4kBvYo0+BWgog0ogeBHGWlNOO1
YtGyKzmzObv2QFwNmlUAd11FsdVNR6FXjclFIRjIB0bqt+JF8v7e3lNLUT5q73geglEIfRGzYepa
VII5ttPdUBOtOnsXgcbJ4+fbRhbXDblacBWDvRIgh8u5HKpGUvNKp24UpWYob70usahn1yo3hTVh
zZ+X89UmwR4BYzoydHj1XhojQgu8OocjQPe3Fe2inQhZdBxI5jMVVSKfPRu4hwOwQKEKN1oC+0QV
bEvujvldZ31MGCmPpbu7l479ScwMoRzIUVBFkZ2XP7dnZXGH4S2HxAMm5uq9HAhE5lkHR64Fmat7
2MFDfIgbC68QJx76X3FVgsL9/bbRpZsesiRAGQMOCkTGLBwRpbxBPRxGda6wLEY0cpduGgPUazli
Emnlebe4u86szdairKs4KjVsaAKXWMifqvxnwGvt9pAW35CIJ9DeCDVT7OPZHh6MNM5kIYDrF17T
hrOEfLZ813TPvv+e1NukZg2AfWKI2+g+ytxU2vYaBflHDizIZ2TcDxNRQAMaqqGwK6V4q/16U4Wb
Qt8U3fb2ty6cBEQIYP0B2zg4UH6Sr2ceLFaVMehAD+/6fABz/ofqndA5yOLuWEVrhFcLvQiA4wFO
DnAeSkvG/KUUG3TIjWRyYQj0EZeU2yDYjHQ7VCqLIPWaUTbWsRUjSdeyfsT/lEEJ/Kx1K8d/0a9N
2EBwlklIss31gn1prMtCaHVX8u1As/N8k56aytSQWAgAjZZOfO16Xtrm5xZn0QBNVT+KgsmthXir
+6Pw4WexnXs1ery+qrh77xCS3F7aNZOzk9V4eRMlA0wOcWyPKuL6+rlPHnJ0KftJZ6uCttKpt2Zw
+vuzvZRieCNv+8ng3tunPLyLvT+lf4JYg5WF7fb28Ja81SSRCMeKO/GqUqk1ssIrZHDcFEIlQnWQ
9G0nMAIUIwh09fdGWAmwFnN76MCeWNSmpr2fOPhseF3VZUBPAKcmAyKj73u8mvxtcVQcMAeyX6pd
MrKfahISe45BntSyZ26OFE9fO0tWlnbaLbMrRUeKysCw0d8KwpbLmZb8doDgOPLD2Mg29T/lgm9r
qrO8W+NmWvIP55Zma5oIRQKuDVhKvF+1WLHpLSTpjZXEyI4JK0u6OCwVOq3o3sPlP59hvw18qBoH
1EXxCRFU5KgyZFpIbkriWm74B+h0NYU/LRrAn6CkOd0UZ6sZF+3ol2VIJ/RJGO3QCDDSHcm/RqsV
PuLejoPCil+gyFB/DtJdyAcTPBCAwzQ7pX8eyEaO1yqSS14JeoqAviGXBKc8x2aVsVFlQorkcdpB
a3d8qaSTqtsB+VUI6Y7mR8XPXxXl7fYxWlzgM6Oz11uM2gLpMxht4XOF/hvIRavOvxv0iaB+uXIz
TnHV1aTjQkTBFTc+MseXky4KCslCKGu4YpjKZpIAQSgk5Rrnx+I2OrMyOx3NGCZiOxZIyEn7IUUl
DtWgFl3wHbS8hzXAxNK7C7wwuNcm+U0gPWeXfaeADBBXN9Jg77VofY5Q8fZAuhPd6Sf/NVlBGC0O
DVOHM4IXPjQBLidwlMooySKOtH70oddw4uon52+ysAZqWVoogogMwJmpF/oqQKZhorTpQN1efw5H
V69XQs2lXTchbH/iYSjOz8ZR0dar0R1BXXAxM6386EECYWSvJaR/Ou337R0+uaj5pkOfzTRdaMW5
aokvlS6KIrS5oSPUHuWK5fJTMqIG88iRvl7zzEvpNUBH/2WNzIpOqIckMvDT1M24vlPyezEHs1T0
UQk7KfsdgFTLMysNni1IDlESWEUlgeNn3PdJZUOQnY3xW8+hF893evBK+5R5xoPXPQY5BFRMAWz3
PZLc4SGGWoq4m9qAR74H78QOXOd6i4N7Qosw2EFYJqBzJLsDiXUzMCE9UT9k8mDdntmFK/hirLOc
JaifvRDkF9TlcnDq6o1OBBOQeHRSHdDy0+1qaa3ktLQvIc2JPk+kLuFHZrPbIXqE5BXWMqWRGWXi
vS4Uu9uDWjpiEG5AwxxONRIp06DPLgbDa5oBNJXUjXNVZW0iGyZVQAQgpsgoFb5PVy49ZXIQV/vT
QOEVSgMg+pyjoagYxGlTe9S9f9eYBawLoJivU4b//df9Z2R9QpWbveN3n6EkbU55fRW/NiQx25fb
Q19o+USAjp4pPMZQeAav9+XYg6BDt7mMT1F7W2lYSq2UHOJgS5qdOO7aPjY7t+Zg+t6LALuNAd4t
DmJ3sCTWa/QdSyDwi8fC7FsMPVR8SS91Vyi3pA63QmkTPE6GUw52V2ODfEcW/fUUs8L76htkIsNa
pXopu3TxBbN7pJR6CHUNeK4Eya+cOpw3uzYEX5zmUI213ePU+zF+F0nM0nzXr6Exll6R6MTX0R+J
9CE25CxC0ZukFfK21kGGjX7mSnaadHxSgbupk6dIeZC9eyjE+9FXnf7VlOeo2w1fI1jYNVQbow8x
HMy+YJLCWSVDKhaBoST/qT/Sp35Np3npWYfaF0reKE2JBGDLy13TqAL0tEquu57xjnesn3pWi1ZD
PavutSE1dTVmRnRIazM4KkZmFt52GC30z1jS2pwtuAcDHAMUNWKETygcXH5J60tpWHQSHt4jqEiy
fbKm97B028MCfjLIEAwwAM92ZeAreUE4RGFrfdNAlXYr1I+Sdj/xyZSPBVFZyQ/hGgPEtNIzD3Fh
dLYRuybkpZepumtkz5rxORW6asVZOfsLbsiYkmEgsoKaElCZl3OHXdIWei4gEyBGACmnYJ5XU7UE
OiF/yeCezDboI6cH6Bg13z7agqaxuhejRn8kVCBMKox/kF2FMwJ8FwtKwYExe3twucxSqcZq1sK9
VG68o6AdEqTw09PtoS8ECMgDAtJIkQ0AndFsenldRmoZY3pjJIVExP1yfGj4FiULH9FcsJZ9WFrN
c3OzYQ1SPngc6lUgv7+v5d9FeK+Bjvv/N6TZkTSEuGjGAUOKGmT/IfhVOFKlMLm06V30D+JtNJhj
mSRl4lkSZztHl+skbtTccFO0E8fSs9KgQCi8N/LahljqJ7ywNHOJKuit8jjLwI4jF28JeoAGKJlW
6oZ7Du34ITcYLX/zBk85q14DLS+6OSgPUbhjZHKAkbs8IFKucKMJS8OVN+q4ieNjAvEArzEV+SGW
DFT2dlpzqo19oTwLYPSNXhQ0Wq/pfU7+Ze4KJgeHvLUsgkx0trDqoCoh17jhtujpr0HoMWook1e+
yfWVbM5CiA6gAcCeGqJmMPrOLGW5HNbRKBhoSMoszb8b0obV0U4KH/Xu9fZuXToR/zZ1xUaYQQmh
N1rfc1Nxzz0QFKBlHMCA20YWghv4NRlZR/Rrojd8DqrLvTAahAibJ0yeSs3KElNr3iWOB0F473e7
BEiEcNelv6gAyE5pG+BFbDbAv9XClq5ARq5XESkOCVEW/sBFMk90JADa1S3BiUkK8SOXyneAXKBG
QzsnUfjao3shr4AOb/T/Itk56Qz/JLbOIlqxlIC47CSspKSZYJcqqinpqiFE18PCHBJHZGph357t
6yWFTbTa4AUJfWP5B6N5ZrOLkevv68hza0SGfu00kIbtVuBBywM7MzK77nktD2KoB57Lk79RdDKc
LGMgzCSQM/4SFNHKxrV38fVVAS0FqNqAOQJFC30+lWikH0QPJRQ3UADB9T7ykLiVr27a4E+S3QGX
8p/P4rRqoH8CnPCKgqVViwCkD5HhiujTHMZ9uRPLaK2IOr2ZLl0KxnRmZOZUuQIWhEoJDFfVGltS
7nKoNFADrV/yJosee+ONeH8GoVg58wuRFMziviBQSEYyc14kyXAf83jEGegyN5ejvQdRN2hisGrX
TDAh6nRBu6n80FrFIC88LS5Nzy4sI81rQxcqw61Qxuzjl8ceenXb3oIilBdtMkv/Y9QgDmgdmtuC
9nx7Tf+PgSONDGAAxj33Q1SFCEASTPMtZQ3Luu8IiKZ7Rd5mI26zEclOU/H9Fz6qK7tpgRgBWSoJ
kFAVzIC4qWdZF6IVdRVmuDwgH3N6BkERsM5f1CRQvRHMHhVJiNzZPvs1MvwnUtib6mQNB8MC1gpq
iYC4O7enYuk0nX/P7PxGZapAJxvfQ160DvSfvikTu0XyU5I/1FU+nGl0832ugrEaHPUAZCDOvby/
/RDwM6LXOEw6dBZCPIhCbVOK751nOFUVQLbY8VQ4K0k3Kw/1KOjyKve0H/G807gJcWix+SNWDk2Q
OwLdJd/QNdqCad9dfyEokdGXC1EKcbo2zpymLimxT4LRcKGEfQyEANLGlX+6PefX1zr2gALvC65+
QIPnCpW5lNS8G3AZGKCW5mD6iPoTzyFFi7ftKtHx4gKjsjjVaNANSWchExr+cx0KNDhoXDFjaYcX
oQ9Ara7njMsZi9DPrQgPYrwJhZ4Jcm/qZJMXI1qmYpvrlKn6sw/R5dszsHD5outMMUCLhGZQwFgv
Z1lNqkCloYfrEDA37eAhsSZB+YLXK8dtzc7sWdHIFR9LEQGU0Kj3PMy2aBPcq3i6RSt9G2uGZg+K
sApAP1vB0NDbmsHqdBME5hrWZnFvns3aLBwMpTwtDI67lrTxbz2IgfGBPsvtlVm80M+WRpul91Q8
WUCSj5GMnukBZadufOybly8aWX5zHKhz294CTQMOg44mBPyBkHCOH9JoJCbSkHpuzIQnEcDH4Lm3
JnDGMyjQa2TZ6IaAIeyO7t0WRDW3rS+dRDDWTV1NKthRfsBVZ6c9UXt1wul5LtUCliH2Q9eokr2J
HFjldqVNbCkcO7c187Ton5eENs0QjnUbqv4q08dSWzGxdNYn/juKeA94gjlwPuRe4qES4rmQrKeg
Ao4k1vQHT9lJyp6srdy02+ae8r84+67dOHZg2y8i0Dm8dpgkzYyCJVl6IbZtuSM7suPXn0Xde8+d
oRrT2BuwAcMCVM1ULFatWgvNKrCEygvEuqXdaNUFmqHmFrAyptwjOPHRuRKQmHxaSIQ3jnavDb+b
YeVFtGJUpojlkPSurKmip24qgFpGWtS9axS8/MCOzeccHdA2MOZavBZ0LtqF8CHyw6AzRz/QtcOi
OBJl1jQUACLjwCsccG+efKoG7cFce18ubpQLW9Il2RlFxVIFExsVf6vsh2P8qcl/CThR3/3f8UgO
mNE2IkaK8ZgWYL0Hbd+E0F4ap480O4J8sozMFY+/kDfAs+/CouSKdZ2DFlSDRYuO554fDWBbFCdC
NeUYlU8Vcsqg2LXU+3Fgm0aLd7cP+kIiWZgHAxh4wAXcRNqtJbOqeWIw76AS5alWOLFflfqPHj26
1bPKdi7XPUX38uyQTXpQ/Icb/8L6l9O98DPzLFAgFadAI6leDZCROdo7ewgYNICtlTtv6ZYA2z7+
gKwCcZa0VdPGKDI1wrMPpS0oGMTb2zO5eBLQA48OQkjMA7N0fRImOAKzM+HGEkRzvs3bYExM2y97
uu37cPzJSx8yTytGFxI/WD7xq9HigSmRA4Z2qF2nYip2T8L9ElyiwEeR3TgHOUSjjPondzZV7CfR
R4LOsk1a+nX91qmrkqGLc3vxGdImVlBjzqwBn5F1OjScvM56nqswCqeNuR0DMN1RYE9A9VdjVsjK
Hlpy7jY625CsMBwRyV1PfOsk0VgmcO5TuuPZO7StgDH2qrzxWtUvzTWmjsUT86VCZItYGDm/a3tp
bINdXsFCA7rhjxZ76Y197foGtfyyuOc88RWw9DZKFlaoxSgg1uz+w3Ummtw1tF+CdFmGNhfVlCpk
hrNH06Svphu32qI1hdaBpt071crNsuR1L41JcbKj9d1gqsLY/CI6uJojZML+ixO8NKJdz6mTz1PE
CFw7wg3aNEGmfeQ6yLjVt4QyXx2iHUODsdcN86YqgmLM186RWDT50sbmwXwqkGUB9+b1B9BOb/OY
2fSUIneZGz4AOAF6IIBaQsKN3fF+0+W/nOpYJJAxSjY2ef333uPCvnx/g0sUnZK5RSGGGeYtHptj
/lT7k7KpzP5ZweM/We3FWDqzgDfg6ACrBcy2tLCTkqak11ycm8Hasuxkar/n5q2hd0qZb6kxwHXZ
AeT2VP6rjtIQ1JxHy13NXAsr8sQjxkXoAGoKZACkC1fjCq/AeU3gNtEJMj3H3d6pQToG0sGIg1py
7D0bfAG1np7KUn2+PesLvRmiJgBCHIgtgujHku4EzRnqFj6dnNJ7obY4bsCljXQLFgB6GKds6+yT
kLBQGzaFX+/W3i1LbwoHoQYS2GhHwLtXWoK4G9om0wwitr2VZ0GcbJjx1IfZ2UUDXUi1h5XxLuTT
YBDksugGdCG8J/nKkdosz3KNnFpb8XlNQkBcugmK9K3n0K1d/VXcwddXT9fCIl+ZlV6BKlONCqtH
TmX+PKoPWgdSY9sBMtIDy8UGNJaIW9ugideY45cnGMA14IdV8JDIyWw1TmJ9rjrc+WDUVRMPfVJs
DrkD9LjH7zoDrKtrLH5iw0obGhJCEF0BPElIj0iuLMFRG50GJicC7nJoY8XQ9YjMO7BP7G+v5sLF
5yBmAxkCyOQtsLVf+yxedoOVEly6fensHWQpnOSOMWfnWImv6m82mERvG1w8LoIaB9wkaBjQ5apn
lY5tPRka3DRBGQSFJdDPoUFptPaJw9BG9gi9dR9iDaFaggfPBoUzcG0GMjiIqoNU+1lEz1r0oq9F
AEsxNEg8BaEukO2CQO56JuLITDS9SMmpz6FURUKzwN/7VIfjwptPLbx26rZRu9XYENblGhxEHBp5
xS+tS+tgqlHUtV1MTjadmde2gBeZJ6vy6t4EUdoaFHNx1cEgYaBeArS6XOVP8kaDcEwFa5ACjVNs
a9btJj1BmIEOhbyCLpK6modfuCvQwgbiAFQWRMJMenoVvCMd1pMA7wEFPU3rguLs8k1JzwWtPLRJ
gMoWebMYDKrlnVafC3ZXjitX5OLALUGOaaEBBIpW14usZ0PekaQgp9HaOjXf2HUS2CgZ4zQ3+h+I
da3s9oXAB0QckLUEFSdEegwpJGgt8H+PyPhAu9lSArdCASchahH0drlGoLLop1RMLsTKcY6RZroe
Gx8VGmVRC1vIVfjYyzsSK+O+B/wqcPLyGLno2c/y0jwMZTz5sWqtXcSLs4taB54uKOCiQHb9BWSK
86mLFXKi2LlujqxBjJLVXQfGmJS/x/nbiitZuolgTYXSELpbUfa8tje7wzRShtVs2R1Ns6D9a1i+
yc0zFB9sM/Pw/FbWqo1LB/XSprSiGeijOl2FTdZ41lx5VdihlyP/Rf3bg1uaS0hFCwJrFIwNeWxD
0/ecmC45NRZ9L+pyU+WgzAT1Uf6B5g2DRysl2yV7KIaj8o63Jy476elZZqrWsQxr19l+ypMtObdb
tdN8pf4xst3tsS15gktb0j7JkkShpdgnwzh7SQfE/Zo7XbpALy1I57wuuF3waiKn15hroeW3CQkJ
wKK3xyHWWnbaAEvgtkCCE5k66cRZjcVV5iL0smrrODq7aPzh0H1Vg39erXGBhPHjbYOLwwIKTfC/
o8D2BbW8SHWYRpm2ArRwKmZIUhHX5xRCMLqyVdbkf5YcFwrqaL1AmkOHAtr10ao7tdIKhiCvMl8H
676wf8ZrnZCLN+6lDeko1Tl2Y4PE7YmCv5qG7evs7OzMxxQWnh0k+qf76ayV5FbGZUvbfHR4Tuce
Nl3tb979ddxz1b/fXqRFR3wxLtkNWjpBIsXC9tbhg5T8TgUBsn5S6A754uYzepubNWbVpQOFllkA
h4EnQ0+pFJK79cCTzlGis50PSjDr5uTNRbHGiLFUV0b8C0y7iYQBtGKlG5wlVIuaqgI4J6i92EeF
EfRkdliF7y8VeC6V3ZrFpf1+aVD8/GK/1y2tqKoD0lIXLviZw9791Tcq2N3dlYO1ODTwvQAXjKw7
MEHSDDpVzB0nsVCqdbsgQ5dVMv9TH9D1UAwA0VeHrDnG7mbGJTOpyMDTeyt9Z/PTys5Zulwuv0I6
dWYZuzOJbUCw2GcHmoYD/9m4L3h+APM+eqBDV6AbEozlaUx8qt3jS0h3P2driNelaRckiFD5sTQA
FKWDmSvgFR+0kZ7AIuRVGWCg6bGeXa/P+IoHXUqEIQn1v6bka8eKZoflzgyIC/RFHVCRAZdwKKx0
hzbW8+D2SEc9ZQWYxB31aBpPTbeCsVk6ORCIEFw/QrdJfsy2adWaRYH3T6scJxKDSmLFGywsKQ6m
QJkJjBku2Ost3Ft2aTtzEZ1bF3RjSQSHgDsv+4hrPOna1SBwYelcPOPQ7AoOeAT2krm8Utuo0/P4
zP4aBzRbn0GScWBhdhyf0ExBnyMQ1qboDN7c3rliR1zdhJA4FTobAA4poMqSKwDRlKd63dvxGXTw
ox4I1IHRQg/EM5P7yt7Uw0q0smLvywVfOoZpLgZewp6aFJCy/Ii13CPT2W1foYAYNMWhSR9uj/Db
OgoRVyT3MD7XBFxdOpqdyqNyoEZ07ts8rAtj1wzbPHusXeOFkuC2rW+LKGwBNwRUlGADk7uTWF39
X1tAYQEqs61BO8Ztsl3FjKwZkhy6M7IuSjMnOnf0oR508FxCqZhpXr1GSLBoCM8tbEiBQ5aJox1k
qBq8GKLz2OtBih4hx3hIZ3dfar9uT913hyLmDkfAwP0EmT9THPiLnZGnCqh3hzg+g6CpGSA7mU4B
khyBwcrDqCd3eQ5sG7gI0MqDPaKUH6tjXdqbl18gTapgASi7MYvPwF+MNNuT/tBaEAM0WJC10B7M
WaBGn7eHvTS/QnVSxRMT1Qu5cGTrVZvrLovPCh6XYJUwBpBH0f1qbXPZjg1yfQD2cBbEzy9mt2/R
dG2OVXw28p0SfQriFZBXxP+a+heLiOf5/5qRvFhao1XW4jDTR1NYJVDTy8CMlrV+W4OHZW1zfg/Y
hDkBNwZUAals+bxVNTSh8QqDOT75KnzYe5oMHo1PkdOH5stEfmapunLGv8PkhFGo6OHtgCfsNwRp
MU01zyd4arCFbclueEzv433cnvSttVZaE75J9s6O5SBFL4RBkCG/XrW64v0Yq0MMtmE0qdxHOAhH
mrwQbRuvbURXvHm+2RJ7AxwnApIrLV1ETKefeB+f735+2F4bns+qd3a9P5vNeb9B79d5c/aewidI
MHhPT2mw+fwBokMf4WTw4zN8+PHxcHr7BCWhdw9GncPJfz+FD7N/isM/fx9f3f3j3eTvbK/zDuC/
fd89P/4By/yj//zoh4eVBVpy+CKP8v8GIjn8vETjny0GEp2MB+41O8Ob1xImYuJvTZZwJRfHKdPn
RO/LETaiFLGP1VkI9KK1oOAriPpuBlcz4nYAxOUWXlAkWk0GOtKzaqaeVf7TG4kXZ0DfTb+hDj0b
ia+xcdtXIfJy9bDjc+ODQdRXsh+N9VRAgGcgJRrC9ACYr+1txyWc4a1Pk7YmWmCAtyINHNcB0kn/
rEAxFucX3J14LhvwjHK6zyJjnqTqHJ8zEPZlObr7VyL2JQNoW4WorAjwcGNfL2A3ZEY/lC5OVm7C
tddwVfHU1MHtSVrwukLyE5EARHcQo0qPVqvMAG+nDoK6J+/B9LWVIHxpf1z9fjkfQxPk87j4/eg6
nWMGmn81tPkZBQPP3n1W9g9HDazklbAcVN/eaATV5GXVXlH/xnmOqOE/QEVRMbscsnY9sT3vzNqZ
MLF9z4yzU5nqXqfDSrf5kuNHDQKVCIwPHAGuZCXuiz5BkQtXdRajeQgUgTuIx6b6IwSyMw+vrrVu
+u8QZTGuC4tSymiwdTtXKSzOvwFH9n44wY9f54fMz/zW/0nQA4tnnscPb/fv4eiHfxz/4P2z08eV
U/e991L6DOnYgciEZ7FO47Oe3SsOtCrQgjkjkSnqTXVuARt+NKY0yO3OszvnTtXj7QgpC/WOOH+4
Wvrm9KvS3uPoxzCiUXPbp0FngqorTnx4CXigleB74QK7mjXpmKVsGPrIItigNbgHlSAFlLADW4eb
v5V5jR7yMrx94hac/5VBKc7JWNQqzMD8oMT3ELs0aJU7l8YBKVe24EKwCEPQI0fFCcwYMqudPrRa
EncZpOKU97oHJLMIdBV8cm3AdEihme/m/PP20L7qlZLLFREHOnPw5EXrk+RNDKsp0qbMk7Pe/FQd
eHaVQw871rYaAVE4dfegJwtdMu6t5MUgxO/4w6wBGDSscTMtOE+0ealo9BJFIQCPrs94mzRKW0YY
+2irMWgkJ1BGsupfM7yIrX5hRdo7vFCmgkPa6tynH8Y2Nbdd/MqLEJTZt+d1aSVBJQFr6GMBbY0U
LyQd3iS8m9Izn9HldSqjA+0LEGf2vwoWey76TX28e27bXDoXlzal+IFaNCGMwKaL+BFNr6ERRt2x
jE0fogz/3hQQtujNgyAgWqHFibkIVax6SvBCLNOzyv1eaI6HQGrWxgPlR7KaFlp0k6aGPAZYtFCV
taSB9X2vgqiAwxpTQgIJxz4VtcHhB6m2NFKPSQ/tVSjpWo8k3tTAWDTojHKTH2OKKR+GU91/DkT/
zX4Z923rN+M/UPitk7cOhcYRwU/a7mNrZ4P3hu9T7SM11uh3lvwHQIKYL0TdeDpI/iOx5m4maZ2e
k5lvUQgDkM1i90wFV+VaBX/pFIFSR8WWQx89kEfXC0N5kuXEzdOzlvxBgjldS9Mv7WsLJVsgBL/S
ZNLvb+tkMt0MS+EiMCX9vE/nY53fQ3vIAyZx4JCg4P9aexKnCOkkNNujPo2AR7qXU7sFuxfknc6F
hZYhvffS9IDE6MrpWZy5CyvSXWzgRYSa0ICZs1LXY9z5g0z9mtjf4vRdGJGcHCatsFS3S89K+Xdk
R9MN1OJVcXaxlXlO+Z6udV8vxYqgPv6CcwD2//U+uzin6qBPCOcwdWoUxNl9rqSebYD5qFjjpF3a
4peGpIHx0WwhNAlDmv2smG2o2rj/z4ndbgojuO17Fk2hDIW4SaRQZawiuoTHhMwtThNvAq1/cjsU
eonvNq8p+bxtaulZDj4wgPd0oSmO9Pf1cVJA4gfFTryVtMh8YFOxcxrFE1pANJvCjM6BboLY2HfI
S5Ks4bgX1g62bbzREBMIitBr20ZuDDnRYLvXn6pqV0BoAC59TSF8YTavrEi+yYpG4iKTH587Ry29
CshTK73XIVg9ztZTZuxXJlR8tBRugMgGqH7UstGcJouUTVpi5MisJ+cu1ZQ7muV1oOQ2SO6rogsj
Jc9Dcxjm7ajWINOtbHpnt0l6jC2bbtBaVaDMWZav04CXJ7e7ZGVnLZxOiCQh+Q8fLd5XkqOBvJtK
EQoj/HKjbQuiC6TV/3CDeSNDK7hOA7XlH5BT/+f2pCzNyRdVEy5vASOXl4BAz9wYcZkOY/Ujy9hz
AUI4XV+LYpfeNyBCF4xzAtqly2lyU2sjntpZfgY5z7QFtX7tdXMKzdHoRAAi0HiEgK/0oHrUIfKs
1pRvF4YJ2UOcof9DtSXfgr2u6axmfX5uwHWfjb71PkOw+vZUfq8iW0Jb8f8bke6nbLZtwt0uPw+T
V0+geTeIB87R2kv/KQNwh23i8LbFhfMDg+iwRa8l6BnlbEqqFAml6Ic5N42ThdgsyrF1VBeQuSL+
aatt/RAZbI1bVDaK9CTQh4JqG+ATXI6SW4othbIEtBfnQeuB493a0ckECK227G2qr2RNvuXQhTG0
r4CwCc30Alp67Yd0Elsz12EsUt6rDtzXKvG0Cor2YLdxzq4d9Op7B4EqpnjUVv3MWinKyftG2Deh
/GGBFMjQkLy5tj9a1B2LhuZnneYestkjYCKZ+V+MCPYVLCPI5GXwBkPxw82AGD83ZutZ5tvYcI+s
Cq4uDuXCinRLRjPkLJQsYecJ9ZsB81cK7g4Qd9/ek98edWLK8BfQc/H4wPJJU2YMbTpwNT9nmbpp
HYgNxsULGpwMulMPtrpVzGKvMmdjEA6lkBaMd5CiXjuK8nPk6yPAeghcoWAQldHgqtqQvnMwpUAw
OgGnAVi2fO4D/e6Rw/OfP3/ZeQCy4/bQl06GUFJAeCooJ+QKMsqqEXNybJaSx09gmkOiE/uTbtQ8
LJU1xM/i0RDqOXg3I3mP6+x6nu1MixW9EUOcodRRBT3CKyT9RJE8R1KizcZ94o5ejTfJDImFKv7L
wHP8H0as4dksmEsA1ZK+AWIstG6giXNWcIf4zoBrNUJ4FE42eo9p1VIvL8dkd9voty4hLC7UNPDw
Q1YfncVykQRMEDMdHFg1wcZC6Ec577SxfM813x3A7QHW/yEAo6fu/lJMFngTh2oGSty6uZIx+bbe
oowO8JOQhHTwxhI/vwhwla6keQys6qOjEyVUqOJbUAz152mOkKAyQYRZsnZ7e/DilF7GMCBzRkgG
9Cpua6RqvvpsL2wSMyZjprvJY8mnOGhjTQWuXptXLpbvm0uYAfce7ksdtB8yjMdoBCGXATMgbuHD
J69qX5/UTcGTjVWBpmB4q/ldnPRgxzwl9YnnfMUnfssEfw304gtkzwtEmzlwJ3m0cjDV5AGZ7vrs
3jSqd1TDul71UF7MRwa9od8jmhrQ13voKpCdWR7XjoTu0F6jr32TeIZdTf5X2gE3LeIzG+hsabtX
MwjmWYcFH5ha7pMyHbZZrqoHnaJBu44a3ZvTVgWoVeXg9TatY1aVPOBtom0UKKM+GLEjenU5Hw4z
V2fPzWjukwqimAou76Bi/DU2jV+kgzp87SZpGMdIht3eQHJkLwhq8P2oL8JpmJq8shCDrfPJyvmx
U2kXFoZiBT1uoG06ppCNgIbs/ra9b6f1yyAAYXDDaEXCvrk+JeYcx4Twmh9jlK8K9uTwJw3RUd88
9c3o2f1HM6h7Ugxb+tbuh/iuM3/Bfc2xvXIxfeWFLldPfAh4QEDGoaKWBt9x/SGR2xfOULb8CGmP
faQe+PAG2R8of9exH0VJaNSg9KN3bg9tbgJ9lf4hikP6kHe/IrPfVNGxMKxd2byj9zDGf0To4+nb
8/RqEXU7rBF+fmuY//paaH/iY/BSAZfQ9deOCXJ2PB/5ESmdw1h6bmeAOtn2phwii/xHlHXQ1v20
0HSC9PBBL+aw5WYA7Q1m7YfqwBpBsn6KW9MvwCprus/mNApO0xX4y9eLV55V9Cp8AbQQ2MsaOErT
cDC+5t0xt1k1e81gVo+FKkR5tTnugKGKlMQI8sbKXa+L7PhOm/KEevUIUXclQaXbQcssaAuNRkt+
1BVg1J7VGc4hrelYhB1r1FOadejxrGlaABVFHPZ7TiPA16uoS3/XtTlE4MluquOIB8VHnDUKkrda
k46BUXBn3hR6pgMhMLM1MjY5xhArZCDfhdsePTnoobxeIcNIQDtlIuvYgr20oklg9n8L9YPHE8hE
7p21Tgn5tvkyBy4VAz2a6Mv9ctkXnl+dp86KbJgDXIvW2KnBxsNa3z6t38YEjnNchGjPA6oXjkIK
Ei11BBV1XJJjlNAjyyl2X3OwzfkuI0cj43g7UfXttslvDgkmUVFUEX2CFgJCWdfTGM+R3qCiS45W
ekCtdz/w44gnYmK83LYj35y4q3UsiBiZDaSDLKandlHfZ9g5p8z3nBXf8n0MyAehJwzxGJwqXvDX
Y+hGt7atCS8hMjde7jS7pj5AFyrsq2kl+JGjeHEtX1qSCqSsGoqmza3oNDuzr5FZ8cjA/xDurNS5
vu02yY7kfvK27iNUimDH6O4RaAZVEd2ZEUMrcPo7b9bKB+LmvPIicHAIIgXZH6I7sFVdT+BUGZkd
VZjA6h7BzHGkAbhVzBe8DXp1c3sffN/i16bEzy/OUa+Xehd3MBXn9DA86XVIu2PGPhDhIXpY2dxr
xqSIgailbaBsiWkskoMDsRFw4XsVM9FUDSxYO3sgMb09vIWFu5xJOUNpRd0MMjZYNNhzkqFC4tBg
Bv0Bmm/j6O9tWwvb/sqWtBl7qyNGVrnRSQEwIxl8o78v8NKYrJWH1cKmv7IjbcYxae3eyGFnLt+B
DgDztbZRq5V98S19g6N1ZUVyRIilR3AqwMpA3hLLeespey2odqf9yB9rIyBR8qQV6IEz5w4KiCt9
6d+907VxyfHOZeXqjUqxK+0Xd/ic2L98q3wNTgB/0dqHyPWLsvFi11slpQObSXTKXVA3jKqZPHeW
NviR2lSbvq7KU92Na1nkpXUDqQBQDYBbgrdUcos9I/M0JDw+DbkyeCmQ7QdmTwWuZGXN1JIDQfpE
BHfIoKDadX2qLatJ8Cho4xM36pSE4KZANFu2DLhfPKYe8pZFDfgl63Lc1nPdhVSJ+jUOwYXjIF5L
EHBG45uB1vvrb2A5XEs0JdkpGobkp564wOt3dAjVkRN/qpp2pRD6LamKRYU8rwv4Hrp+UHuQBl3a
uTuPLs9OYw/ZPY2C+xGpTegjRs0QZnO2TSn1Oys5aSBdu330l20DVIcuD0QKQB1dD7ZuJ8OcTTU7
gd84f03dUtlOeg31N1fP/BHob3BFqCSsXfKTq8MQ1HUZrdyFC84VYTyykciaQ8lErs1xu0o1MurZ
qXT7mm3GeTaf274BDshx47LexJah5L5e1EUS0CSL1zp4luzjmoSGCD4DnZXSenObFsQq5vSkTDo0
29I635pd278oWoQmFLzP75SY8K1tMW2tzWZhq6H5BTVdEXGDUEs6WfWsTGrWdQwc8Wp0LsHgtnV5
Q4OidDZ9Uxvb26u9ZA6vXhwucBuAgFzaaFPaaa3d1MUpmguwkeE5W7LOr+GK0V+0ps/6LYOIbY0e
SmiRYn1EO6WY9wtfVfSK0wzxXJ407gR21HlDbu1pkuwy7cii2Qet0EAcr1Mtn6nkbKDW3DL9rrPX
roSFBYZ0BrqLhMQJ3kjSLGdtzGPDqqtTjQxTZYNUIC63buYcqmbs/DTtnjSShLen+lvZD6P/YrEA
+4ugeJeziKnIDLRaV5+a0tn10T+kfqzZm03PLmR9gRgwU75LpudIW2PhX/DWwMPbyHdrWGmwoF5P
uzOVaDtXi/qkGsVfbkdhag7oLE3zlYt2yQ6QFKJiAaYmAG6u7QwZzXrquNUpy+AhjZxZnvVKc9Na
sSN+jxRTItsgOEFwRHS05l7bSVFwhtZsWZ+mNglZg05y5OXMIdkY+Q/dXImXF+5vBxkO9DpDUxiA
AXGCLvZslHSUoJ8aqbCIlY8qKYptBAbMlUBoaUhI/7ni5KMjUn7DlEC5U9tNmlOl+2Bg3jmTuq3T
6Ni3L4OyhhBcOIfYgUJmG9epuMalMWGjEndwIZsHHfau9Qja4g9ThzcgP5tbFlrVB53vC0i/Mvsj
dde24/ex4jUIEgSUmMRRkNsnFGUoJ0tPq1Peo4c6+lD0CDnIPS6DwE107/ap+75818ak26zLSjJl
VVadCg7llwYQ/zXioW99fWhIElyouDFBwosVlEyQJuHM7p3sBHm4TXlQ78Cz9GnuWr8E5BLI896D
8na9Vq0Ta3R9CIRV1CMMdNDh7St57syxBghawKqq5OEICqkMTV9pS++ZXT3ensPv5/ralBQ/dxC1
FEqEGcjz2jQJHPspy9fQTGs2pDCZNClpQCmaoxmyQE99XyU5OP2ZE1gl56+3x7OwAa+mTlowlHIG
ViludmJR7c3lvs6xAZ07RS/92VnhwFqzJR01pNvNIrGxTMpjaW3M8ZX/gtiun7O1hsqFV871Kokv
uXBUJqAVVcpgCZ2N5eyP4HNxc+QXJz1+juMmqMgzS+8HFLEjQNQGdS1oWhwpblVATAG21HVpBV1O
uxjFB2zIofCLqHlL22GjTLGXR3j0ly+31/D7swDpLNxm2HdIL6BJ9Hq03J5ma1Sy/JTX0P88dtXW
yAJu7kh2pO2jofy5bW5xdi/tSe99O9fKiZmwB5pTTwmL4Pz0u/LmkIFxacWUeFzLJ/vClCEFJ9rc
5m6ToYmMR6FS3rH478gh5zr5ILlGbzRaOrnnIj1cjf2K6aUlRJIQuDixgOhuu57UrJkcfdaBwG9G
EiReZJwcBznP4ne21vu/6DQvTUnnIs5q22hKmBrntxkdASrUeLV+Q0tow+/KbNrqdhDNAxiNKzDz
1H5CN1Y7ei3Umm9P9zcVQ+G+L79EOjcxNebOtEp4nn19GsI+AMUjD4aweyrOgGi9R8fhgYfgFYec
X1Z5fjH6QPHf/ojF3Xwx8dJuhrxPHUHBNz8Z0U/cH/NPMLyBbqr7wX4rxUpCYs2WtJNpjuhscKr8
ZEfbIq7QTAI4y6auPfYHHLNmv8Zm8r1OJCZYtAUB6YHeMJk9TFCrUNXu8tNMNvOmRf8B+cWAFWTz
Tp2fSPdHP/TzMbGg88uCuQmnbmOtpSEXXrXwSHhLAgxliqS0lNFqISQ/pRZmmNXgrdmOd+wnmlAZ
6hV/5tGL1nL6y/bgnqA8BS+F03R9lBpCMmbznEGeotFVD4/9MfKKFDISfpT2qkg02TVHlawr/zJU
PaDApShA8daNXf+H6w6dJwgbxZP6W0Nlm44jV2pscNNoNwrbaTjTU37HyvOYjysbeekav7QlHaZa
SVHKgLc7oVgUtS85eSDuSmFKnAXZPSLXAHSAiDqwpNczm+lW1XUtPLGbDQG0x5F+CGIHVGlgZhvf
nXQtAbVkD2SpmD9Q8IHGUgq0LK4Yc9HX+YnOx0jIbn5a1j7q7ybrY3B3t/3A4jUDuQ8b1Oo6oOny
wzSJE6ecFAJj7euUegxa3qAvS/sRtNaqpwB2Flk+qc1Qm39Pa6nKpZGCZFFHzQ983kiLX89sqTdF
EvcZOxEF5OcsPpJow2zISXaZT5wQStq3R7tkTzwWAXlA2GDKWJ4m0vVkVEc0USfKwSR3wPb4lD5F
RmAX4J3pwNpz2+CS6wP7kDgHmFroj1wP0Mh7pe6YwXCJV1bqcfr4OcX492vU/oj0NQzN0vAcIcyB
vYP3o9wSO9rdDL4Ul8HvUS8CYY8Vgeaj8M0EmY7iuYzpylP1G7QCa4f8J7TnwVGJVky5ic/OI+Cj
WlKc5hnwCiQou1I/TfWL3t1x/UfvDo+5Q4+D7lWmHqJnxdfuIxTDgS6s5h6Nz2YwJ79Jcujebs/7
F2RJOrPo50D/ERCwgsNBOrNuVM00onl5cop0n/TmXcPrX7pb/TEBfgap5IANZ6KX3WiVbU00v8FD
NPaiGOGrapQb2li+0swPJN0ix73ybQtBj2EDa4VEEDiwcNCvN4VuNYNujaQ82dbnSKfzrKWeA32K
cg4i8lSAjqV5tOYs6PrYG+nOcDqfIPtM+v1MIfiB/PftDxL25LmCshKqpiaQmJiv6+9JWWNQMkTs
RB3qmwZaYw27OCZDqgVV9Hzb1uLYL2xJ7rrpC8WisyFigYB0WxRC/RoT3+YBs9d4rdfGJR0+FiW5
g3QmrgY9DnU0AmvPROGbYlh5rS5dvdj+aHgDPBBJVLmxJ0XOyClduLFmgPxOZlQAUpTQuwSvTqb4
XaYEca5vZrTa2Wytz3/h/oNtKIACIIlygVwpAHvClLI+Yaeoa/wysffZ1Ly4q6xg32Bc4qQ7CqrS
yN+44NCSXLWa9cRuactOOoDsTTuGSjLcd9FzZ//KIzfgljdbRjDQZBe1wz+G8ZKvSguKMyvvUzDH
KQL7jbZkW3os1F2jzzMt4N4sI/c1p4TioWt93t6gSxciCseCQRrYHgtwlOvTAKBMFpsNBpoUf508
2rOYheZo/ZmK8WAC62ontm9Gxb05mEdHCdpuDG5/wdK2xYWISxFwQOMbFa1W9aZR5zVDtx2scWB1
ILAUoWeojaYV/720ebBnQdcgmoVRaroeq1boWKyBC3CPonpO5xJwLLtaqNJpLRW/aOrrloB+NNJH
cjiM7hQLTaHCVBGOEdRnp7a9T5A0WHGvy4bECkJSGCyz0pjwkq15Yg9YP90AU/JLMgCbnK3Uy5aM
oGkHgE004IMKU3ox6+jeY6WLQIKAczTsbe3P0JSKZ3FrDb21tOlRTdaQ5gYGGuj16yWirKyUiiKC
aMiAZNFjmYwrE7YQo5jiVKMRX4EWmixlbPa94451WZyauS/pgY0cdRiK4s22IhOn+5joeCsTOrlp
QFBB3OKiUlh4e9MvTCgy0ShXQOhKFAGlUwcW66mJeV8AofVkOMhqdp4LqeLbRpaiAhBBomytArvn
InV0PZmszGPHQvnwlLDgzQ177xMk2v7D6eUtRO+/99p5oJJYuV2Xct+XRuXsils5zEgZjGZtE4AP
HxokI/SRprINm3TPXX/swUUWUmNXZa9NciAgLL497oW4EJQsGl6hgBdrijy5fZmjk0n/H87Oq0du
ZMnCv4gAvXklWaa7xWqZljTSCyE39N7z1+/HXmC3i0UUoQEGM/dCgLIyGRkZ5sQ5SX4B0aYfjSj0
DzWjOpA+M4llKuWx1pFum5Vyr/C+9WoAkGKIcxkIAma9uoxZNBZyyL8uvFzlj0pshwe9GFUHXYTh
IWrNxaKk+FRO0ciYdKU7gwWSIJLi7AMThoKTKnlz/PvDoM9qYGV4Pn7YtQ2MqDamJcoil0pIzKe6
sKRDQ1z0KJeV+BhUVnCoh3JyNTUUP95fecvGGRpSFuUi+szy8udv6qViOPWwUOflRdDmo1/25zx2
pko83V9lI8Kia7RgrjhwsseVaxKtcB7buSgunX+oqh9yf/46aP/ulkO3lmFSABQhjpYiy+rL0rUd
m0KsOcYy4SumMaHjKD4Ms/Jc9LPmUoTYG3rfcFT0kIhylvQGV7G6vXMWjlmeFCV6SMqjlDNGDbFX
aniFIrlaeu5PIpo+9w9z6/K+XXONzMxLpYVoiL5tO3wyAy8Sv/fmxy4VHzKqcqnyrCIi3cjvZ4Cp
Wf5SB8Wp3Kuzb7wAS+tsmRuCP50n4NpsLMkXauaGS/Kq2RHG702xF7/K/A2rwAqREAgFaFATb6zf
GBFITZJXA83p5CzFBxFUfknSeOj7L0P6RZo6O0hf0uSwpwW6EekAHScWoGqF719PUfaTPvq+QvbY
pXJzyNT2h4JMipMYkWhnpVm69z/mlv3AarOMnFFpJuq5PkhRSIoum6aCwKqbK1uPxNIO4Oz9IPX0
f3rroUp0dI36uEIQWRB3Yq0NJ0zQSlwHDh6m8PX8WUFh24gjgSakBTi8CR10k5L0WCvnQcgXV7wz
YrBhNkwyEwcxUYLe6BrXofhT0itlTR+y+yp1rR3vKWttbIjqqrRM6TPcARDs+jjjFDBKD9rsEitq
fQ4mCNYLbZzeN0qaXKxCBjUlyAGM5IGx0+LacKRLpQohRJNO5M0cwKCMQ2PWc3mBKo96ldW+67vp
HM//oZWLr2EKE7wKmLP1gANo+k4apoS2/zw6YaDbgXK4b5Jb2QYwCeCqtJSW7vTqNYJMIytkC4hG
kAuPJk6mn1unMlzTr+2gLz6GRgNrj9G7Q2Xafpse22xPqH7LUGSyO5TAJZBH67ndSVcDJLIBa/hJ
RBvtpen+3N/k3gKrnL9vzJkZrLS6NPnTKH4dC3/PSy+mtnJgAL4XiA/nSJCzSk61UgiVzOdD5ekx
R4D2AXIb1S2as3xkbEuqbHOvf7Lx/BmEUoRTFMBATq1WzMMqi6MpqC7ZQlYdip4BW7t6KBSIbHcC
lq3jY2xqGdLCUMg6ru9ZNpeiWRZNdSmMWjoUzSw6QRrt9Gi29kNsIgEqUEnv10agi4lcNKVaXdSy
drpZdkWEKvQmtiGo+kBGvJNzbHh+Unjg56psAHdbo9zhsBzNqS9qRKBpfgXjo9GpJwUPbYc7G9vy
FZwdidNSZr5pw1BUFslqkvqSxGZ1UK3qeUi64pxHO0a+dYCL2tiC2llGg5Y39k1wNyMSMDadWhPc
pcdBCC9SeWJ2kTZ/+XGXyHzDJFA9IoUBYQWwQFrdKL2swyTW0wZpvOLLbI1OHlc7TY+tJYiygOzA
qUStfBVsJdkwDfQIwY41PXQlhh8f+i7da3Vs2IFJWMMuKCwReazcn+Xj/1IJYJVcm0+9EdvCDEWT
nrl9dLrvhDZWIlgFLcO43Wuz4/r7CPRbU4UZuguUKK4a/W6LLyL0hLtkorfnBhZtUQIBKkaZag0V
k4WszNUeELQ+i+bzqJnD96CivHl/N7ehDKvQ3gSPQ1EOv3C9GzGS40EKCGXysH+nDnkOgwjakkrQ
Wg9+DAPCOJolKsGNcDDbyTrcX/32LHG1xKQAlHEYgLKvV2eovCx4MYtLM5RIyKSx9kH1jdT1i5Ea
2WiEO7vdADIuvp3yKkgPKprrQHGUIUcP1bK8KEMAHHgWWuldI8amnUqC8W5s8vh5bggFzDoDpqw3
vv6P3pdIOOXMkB3vb/72ovNx8fj8IgyJz3C9+UjPhlD3yeIiafoCf+I7RfyGVlPXVI5h7LnljQSa
1WAqgmCYLgZh8vVqbZOEA7o2C8JRLjK3acrqGx5GG2y1T+UPY1FQ2xbyCgqeXIjUf6C5UuV3A/PT
oTMkNQyXSi9UqIXNRrnz6m5ZwTKxDKwVF075+fqnNVafGVEllhdIf6bgQxt/qCOnHnZiva3jRvwM
2Bn4bLLZ1XHHdaDFfeYT6zWNfp6Cwj9pfiQd0iTWXMGPPsFIJe+subkz6qFcYaD35jrp6ycxj9WY
cKKtw6MoCNmilvhoVHHpVHrz47493YbRS/GVjj3xF4G6svrCUtZqRS6zWFNM9tIPsSBoRCp28hO7
S6wDFe+dx3fLeRCuw55C5oXjXX24gvCZGACn2ySfZPF7KR1C41EJYGhs1N+xvufjb19gNvhmudUX
HLrGEmG+AuoSt++RSjqP+jdQRXuSZluGAunUQm1rMjWxrmWrcVBWRk6+wx+fhjQ4NuPkjT35gZwC
q493rH9zOd77heqY6cZ1Ta0bhagrJ6zfTKRTFIIln63uz6yYP8XpVwivyH0r2XSBpFt4AZAt1MpX
AedCOFirqlRe6ndJ8m/nysfadJNfTYeqlSN9/nx/ua1vRlN3abPQ1AVgfX23k6QTmr5RS7CeDFY3
oOMh1rCmPRLfrYsGARuUWrxifLqV7YeBX1lGN5F6oCyZN2LpTlrwbZzVT4Kqf7m/pQ1UEMPFDKwz
4sBYDaM913uSGsMPhURmMeqwqGKdw6E4jrLD4GOkOLNGilce5emLYX0SExWpMoK34Vk0vCk63v8p
W7aDV2EkexGYvCl25+1YKGllVpdqOsj6pYmemvrFCM6auLPQ5vPxdqWV1SRa6hd+aFRUfm3dcLpD
Yae/tMhm/PmhgA0c+czGnfdY1DYaohw1dBbUOsnLUFG4PuqonZOS8KG6zCjBShR9YXR8SOvhQfQ1
O7UkeqHj57hMP8/lXlViA+e3cI8TTC4NPKofK3dTZ3DTpfFcXXoAfiQXTOzUldfW3zJDtYvYS6WP
mvxDZMC89Z+SApLXTHiPwtdO3rHxjZdpNeIzCt8EC6ufIUdpRY+Ik8+YYZSOmSMP3FTF3QmNNi4q
ThwkwcIouGAwrk8aHY45DX2hunSycWkBDEbyE3qtL/cNdvle1/k1Tu7NKit3MBXVLEeMvV3iNH3U
dQfGUJvay6HNdwx2czuUITgwWtoEPNfbGYIi0rSoqi9m3x1EM4WIQ35olfH3/f1sLmPoos7YPRyt
67RD6IJq9Gf2kwqKxaiuDJi9SttTSG1hx3FvPLZLHvB/Sy128iYvFER0aqGDrS9hjwEknhYHThgL
n6IWktrKiu2kgj/J32vqbe+Q7qQBFRQ1stVBRr3h14oW1xeLIDU9R7/8PUDtpk2AN6SDAhkowIfr
jWl+QdhdhUvCG9tMWBwKol81tg5JsXOVtlaij4tmHBk8TnPZ65sj7Kqmmaa4ri8ByIoo1V0leWQI
+li1f+6bxZbfQrSA/ILBGGRK1iGt1SDFPQZDfZEKqfuQFFN9lMpp/plrcnuqywKRGUl96iNjPs6i
/NhGxZ6CwpbbWOCbrwAH4EHLWbzZawzHas2MY32B4M7VM3SWx5dAOEaCeqy6/3DZ3q61Mk1dyPwu
a3su26nX/5jPRv/z/nlufTj6XUjvkaUyX7h63oUC5kM/metLnnwOUpRevoPN9KXP91dZnM/aOb0+
MoxtEkCvh8CCVCuHRpHqC6y0RXlSlG/3//6NAJ3ZWBBbMpQzMEuvPLluNYLeJgQpUMhlzyH7/JYJ
xaMY8/8qMzIPaZuKNuqpfz+rTouS9gj4Aubo2Nu1LQR9I4z6wCBY2h1K65sWfjCbnabElnd6u8Tq
atV92uWhJhIfpHQ9critRLqx+fRRtdqDKL5PxYNcne6f55aJL6U4cjmDIv66eNU1VNz5s+rCDeq1
3u3V75Vlz33nqHWwQ2GweaPh4SaIJd0BDrK6T2IfRFJv6vWlLuUfQiRKx94wA6dWtcplokk6SgrM
BkUW5G4TAHjr0sH68ff7RfMYAAd5Mo3n1U+wsj6AEInKYNs8lpH1jgTmUxBFJymQnlt9p2y3fLD1
ZWDyknonOkGYzurKxTRL6j6KWsR9UwSyNNisUl/aedO27vXbRVauP2hygLNy2F5axNeH+DRb74XB
Luf/4PcRnqf1SXcJhMpqGYHJztDvSgJ2axQ9WcqcbDIem9hS3bBQYvf+Z9ralAVyVl80ehC6X3lD
v82Z+kDG+YIZVFCTwFvfSvXgplp19vW23Vlu40PR9Vz6cq94l3VVX4wNetmp31zqtsX2dLNyaAUl
IOjCPeWtrSyAJr3FDDRGgfL2OvNR/MQK6669GGFZMnjxbx4D7I4CVXGncbYuLZNNR3MW1HPaicqx
kbP8eQiN/BhmoQkOtux3vuzG5mk0QHCz8OeAil65nSoyp8YY44ZXDthZYNpK37m6suNoti4/DRqm
v5fKCpnIqtBhyWPVhXXYXfSTVT365iGqnlqjobH2UBTFUTYibv7DX5sRa8JRTZ5O5rVm4GwMI2ZQ
OO0uEI+Z9JgvafHj702HuqJIGouoI2nWyqHkfjbiZpr+NaTstI+lpNhxJzp/v5G3q6zuQ5MGlVLP
dX8ZZrucvnStW0jvBzrl95fZMAWN+HGBlpKV85WuHzl5jP20zaPhohe/h/AxlByl/XV/iY2b/Uqn
C/U+iD1z7RPhQilEegvDJZu9OPpcAqv2E/lgQdV8f6HXi7TyvpTDQd9Qml8SslXU3UziCP16M1y6
GPj9FJbv6uorhXH4FZUhYzqSoRvK1Ip1LjLpY21AcfGtD5xORpDo56B/n/XnIo/tig9aq9Qp3qf5
s95/1iPdiQZQYm1y1uPqw/1fvXU8wP5oIyECiHjG6kdHGYwYsy8NFyOK3dxykaixG+1zpEc7dru9
EEYLc/NSyV0FUtOUlqludMOlKbMTbDh9pXwMouL9FKTJzlKL1dx8CNJhaCep4MLUfW1V4yyOY5Io
w2U6BfHDoGsnqqixPtj17rz3bXiIJh/3UIOdhIbmOpyJ+nQcxRgOAr0HJ8N70T7FbhT+qqR/S+Hf
+59KvdkWBBKILyyfis7zOtRVUFif6f2Qh2ujPeLDxz3ygdvriA4u+CqT0iZl1LUx1HOlB022VKPT
WnYpotmDinyppP6t2CW2xoQe8lIwOQKvWD+3cTPrBH8x9ZFUb20xbIAfmycxghcxyZw5FS/Dc5+k
O/HgxgFSFdKWpgWzgcSF13bhj0bazBNJq6RWHkyC3yUr33ECG5Va4ByLPKqynOINl8soNqaeRISc
HTQybjpLhlMY2bPehqlrVTDIolRWu0lNp0oOzcYd58zxoczYuQJbW30F1DIGwxNora51V6alWYiU
UlBBPyRCflD9n/etcfkbri8ZfVtm4iiCY/ugAK8Pk8aJ34cNJa6yLO0sUjL6FT2Frtr3SlVq3cBU
//VlMJ1itfM23V5vQnkaY8vGKG6sRXaEXtOo8xn1JQrSs0ZhRQ+9YAGvJcE7Rf10f5u3bgvsHZwt
cI7S7qSgcr1NWQURzahsf5kANz6UCkoQshnGbti204OhFOLOh9vYHMcJxBGMI6GLtorWkEoopKwv
WK9oz2DGvpY+pD8CykK2OvWPaqIe72/w1oOxwTcLriylTqYsKOWqv+SWcZaZ2Qor1wBdNWOhiS+f
mCY73V9xdaQ89mDgSGhJqKGwuMlSJDVQhtFsCq+KJXhI9TF/0IbUdFQpnp/SVttrWK+82ut6VIKZ
j5F4/pnruP6EyESami8WpWcw4afSPI0o8FfG9/u7WoO5XpeBvZPZzaXkC9bvehlDbcyUxiHLxMym
IMOoPcKMC9t7XJbObAzKr3ZKk4/9ADelNE3Gky+poyvnw/A4RX62kwqu7Gj5NYCFQFUiNkTUsy4N
WyX9ykiWG09Qp+YozdHn3IhfdA3yFSvI1AfBh9rr/glsnDPPLagAOmKc87pikWdNgPij0ngKFszw
sRBCjRsOhDlzuGNCayz/6/Z4AakSIyDAO7I6bLXIFFiaZZSaQikxjuj5+GBvOwZYrSQSCPIjPYHb
tKnrr2GR9OZBkBDnsAtFCH75SK/+0zW98CHpptq0s26uIYtF0lqB+Twt6kMN9xdT2nkuhjYTxuVO
3WXdjHr99WhnKYsaLO/tTUw68G4Yldl4tZSWg50EcXUOjDlzi8JAjbDpB4H+RJAfm04vTokwij+A
PLayHXaVcBSqGOo7Uege4wh5aNWHrrov/Xrnc64TqNdfufRRFlY0Kjbr75kkcziFudF4BrweEF/E
9YdGCACHjensBGZaHYWmSx1NDy3aPDpSf4gs7nzo11vz5pnhRyxJMvWM1ylaUqvrW1VMPmyeFMO8
2U+QbMxkXwtceZyXAWHfGMmziqj5wv32u2MI2LA71mBDWzufxuDn0PsKALOhrYjMpL56NrNJc2pN
ix8hZckD+iXmVJKDjtAAm2Go5z+jaexbJ4eQnjyhD5QXeHQJtUTFn+dDOnZ+A1/YKL787dWRwA3B
wadQwVzgyde7rKN50pNhar1ClopDXjcSY8mkDr1m7Za5l0B7faK8K8THeGC6H6sT7aolSRVF1oKF
3PWDVEbRoIlRArR80y0C3/88GgUQSiGczrXScRHk+RtazPGOgS0LrX8I3gICl4VAHBqq600HRR2V
goZ9FcZoIZkTvfh6mpzzIaLUE6MdGzd/97i+GhMFaWZdF2lkdJGvVzQaVasTdW49fS5hwjYIu9pZ
hdUfRuQDdjacgMK1D/e/7SpQ+t9FwTmSHOgwQazrEFEfoPoZS62HMmf9gbZhBK1RXrhG1U0HosHm
1EmhegqnKXT8Wc//y/KE29zjZT51jYwQoVDKuo7PrZeoMKtaNnxDbEFCMkP9nWRN9qCrQuMkfS07
1Gb30Cbrhuyye9opxGq8iAsafZX2aSLtbtMXek8Xm+hTqjdIIqkifLXmqJ8iGBUPyhhNh7ErOicg
ej82bSU4hDkfFYA/TlvJlVvkQ/DV6Nu97twq9Hn9bWTqoFCB7MnUZ6/NQexGRrOkofSCgMqD2TLF
0auGQ3Yi2RWFuw8mjbT3ZWopOxHs7UvJG0lBmLFa5t5umOvoJZU9rcHa6xH3G+06aBj2tAS9E0++
ysXfMYHbgIt5IIglKYRR1OZTXO9zNrpwiJkj8QoAEB9SlZkvVW8mx9RKpjuSUou+3jf55S9c3WzG
LPCMr/IaEIpeLxgFcRjPkVV7ghzPR2ExPGrfe92yzW0txSNqLdRt18PPNG0GYGhB43Wjr2dOK/VK
nTiUrUrhfeSnM5Ge4CvDvJNFbixLMxy69oV4CjaZ1Wnq0QwGcNmcPH2XNGBogL8zAR6foN1JsTbs
kzBKW6wTuOGNSLJRSlZNNtl4FSJxbao5ht4edERsO/BapVGcmnyPDWAjiiUoocJAE4YhNYon15+u
HOo86buu9/BM1tdAS7+OelocyjTT3FBDMM4aldTpCVvtBB0zh3oYjdFI1ZCh7P096sUNQ0IPhSFl
Umn89Xp6coyL0m+gofYY51U/hmMwH9O+2avGb3hoSoNwc6KYDEJyPfRd0mCookjuvUTNnjvLPyaG
6E4C7ETzQ1FDKWYoL4Ma7kToG3ZE1YhJZRCenPbaMY/SnOfGUPdeHXS9HQLIkdrsu9iE50o937+P
G+EyoxELbxm6ULy1aw7ErCALb3yt90SpjT4pvtDp50yIe8uJWz9+1uMu/5j4ZmnZoYKfdsWyATfa
1lX2WwnU5DiIhWEnPGPPQRmN7yl+f6uSRjoT4zYPdSJI73sFidb7v3rrgNDopKSKOM8ynnBtigH4
sG4sg8FrmYoZNKsHddL/UMaqdMo6Pd1fbOOuUelc9DGIyZdy3vVipT4oWZ0v79RY985Uz4adpunv
NpC/h33rNiWgTLXdi/u2VoUiinFU5kg0Mv7rVeNO74yujAav1rVPTfZurn716SnxiUPag4aoxf1N
bhg6Pmspub1O/K2TQnOIS2Fsi8Frev08BgbUol9yeFnL5GAp+Sn/7aM4d3/JdftpeWRpVLy+dzRh
Kftdb9GcmPhJxHTwjNmE+yabzIc+1ZE9gSz31Kpif4KMtjgH0ZS4mWb+Q5zZHiRqnXZmhSdtMvfm
wDfMankEcXPLPzfoeQntiyDOmsFD+il+gh+1PU1Upk8yjuFBSOe9CZ6t9SB0BdTB/eNNXGzgDahj
7kZJ6HjmPUmd3QKUvM3N+xEoxT/Eou3f3xnQjUQzlOQW4NnKoLLWanXkEEevC+JvFSUca/631KbP
gV7twKRfiahWjzy1NzCpNKHI+NcEjDGPUCxaUedNujy9wKf5uWvib2LVl64Yz/NTIKeWG9aK8cKc
SuGkQ1M/I+qVHAwxipCPjrQ4s6cy/6N3+lQxs2CVnxo2dvSp4Nph7Mt2XCTjCfYU+ThQddi58et+
DZbJG0eTbpksIAtZxw9NIRhm3SSDF6tGDOOA0KUPpA7mpyBQjknfx+cga+sPaWQG59CAoFmSQZ0P
ek6mG2XGsQyVEbpLXXFbuianuoqtY2dp7bno8wn9NKlFm073bTE1P4ZZLLih1ZHnMMnmZHghNynT
x6jvQZ/27R4PxsbXQYOcXotJ9AXeYo3hHZnnsuqsHbwqQdMNYFH0Ke6b4CWi53YYhr7O7LBRPjNa
PDntrAzH3JjGgzzVsdt3w3zoJuChY9O3j1Bo+48mDsqpaXCdLC3QT/mk+XYuRgjSKZV4iLtC3THk
25ef378Qdy8kG/isJYR+c2tqUU46X9MGz59Ln/FVoYSlCUnR+97p9m6yCgEkjz5uERb861VMZsrF
JMcXqK3Qunkize8CuRiOqSH2rjF28s6ubv095XgALkuNkHBmPR8k6Y3SzHM4enrWy05iGsM7CKxm
Ww2V/mAkRei2rVkgc6Dt0TBurQzbFFUUYOTgy1ZxXdLDkeyXeKFmLP1TJAef4xnK1qHXYIAW5eld
2yqnshn36tm3Tw4NF2UZEKZ2IzPwfX3CetbpgjnUs9e3JyIwF4ag8YOmN4+ScJpKp9ljQVuKBtde
aVkPfpLXQqRmLn/+xm4MmkpTHkezN5TDSY4iW5GQ7As+VJLqzPkevcfm7uiAIKNEiMIrd73a1C0H
rnWzB7tD59ZWBY7DEhRuumbZ0mRcBACU7lQtVSddn3esacN6KaQziLRk15QRV3sdqc0ARuRsB/k4
jQ9x6PX1d/M/LUKWxag3BFNrGF9bKmmRTzBm1lL7vZEyN0q/D/qfEHWz+3dx48uxGwsKMgjywTWs
AgUG1wxpEJvZY9wnrJ/F+KJ1n8VkcmAIu7/SRpKz4DzZDKe/4HPl688Wjr6gi6k1eUFN7qKANz5E
oRsnTkMRQnXar22b2rUMMFJzd5Ze7tnKPhfZbyDhWM0yJ3i9tO8XfSsH8+zRae0dynTt4PAGmUes
RXuyxrCyBS2iOKeFmTsZECSFVR/tpB7rLuXy9MGPRClM5wyIrVd+L1W7emwMfkUuu8pX/4XKh6vb
smvaDgjl+1ve+q5v11pF1kHThWalslYXza6a2jNVHelRS0OHN2bny254OdJkykTUNrkPa4rHWRrl
cSxU0aPu8o4GgDkQ12n8V4H0r/1HLuudiPq2kkNdBd+2QLw50jW4itr7WCTVJHmRlj4IZA0vCE9H
dpkLe2DN22NkJSRmEGkFrsGnuzYcvQzLphl8yWugspU/mNXvXn8UW7pZU7BzilubwllTMySqo5Wz
iljlWqkNK41kD53D9imvzRDxG0E5dmUrfLtvHLfPPGoz//sU0ma40WVuK6k2Am1SvLjPywPdns4Z
Z3NvQ7eOEpwZtXUCvuXSr6dCRiPPM3EQZa/r1U8y2htibdkRmvd1uqdwsnyG6/vNUrgU5rTIsoAD
X38mMgtdnyJD9mBRe6+IriS+Q2TlGEziCaKFU03Vhmn3nZLU7QdbIIukdhQVQdWaq2cI3qchsdpe
gcLeh9KUZoaAPEUPD+aOZWxkc6y0sOHyEBAKr6E1eT0HaZyxvVJvJU/r2+99yzBfl+vlMSuC95KK
qmslQN7UGygnJVI127if0J7n6rmK2r8kSMOR0cQAfkOPk8iGSuD1cVPq6wfFFxWvTHK7zv4o/pf7
BrpRwH5tkywxNEd8I6NiakFtzo2koM4oxrEtdUoDq4kPa7g64b/ERq6/RFU05C55BnmNotUpSGIQ
dK3TREI3HoauHQUnlLUidFIxhPfJ6tps5yJtdOugtiWfWXSrGNdZz0lY1RiW8agrnlE2qp0mqXHq
krp/KgKrcicGORxtxuoVxUfwszJ/dkI37ZjhxjWDZAwTpL20tHRWLmrQEqMb6k71YvOH0i10Wufc
yo6ZL+943Y1LBh8SmqZcasgD1uWsyUceK+4aFR7+CWhLj4Jqagi6XZdpcdLEMj6U1ZgehbQNT/2o
7LJ733otsgXKsvDQLHHXmmUrEMq4lvpR9RhYelKLyI7F+P3UNudRjJ6CBAID5UGNfkRSRB8BBm5N
QpP3fY/e233j3Lj3wM4IywhnGPVZg1MMXxs7Kg+qh7tmQkTKbERdnhgkf7m/ztaHXXTIluRhwWuu
4iVLTNo6lkvNsyDAtpr5NCECMvQBHPU7K23u6M1KK/cpR7VZBGaheUldA6b7GmXRYyP+uL+d26eU
fJKBazow9GCIbK+dRl2WNJHbUfNgKEdtdRgHB6XQzxDtwCnQMeE2SV39Hz4VFC7AnjXAwTdIVzX3
G94RU/PGgfLuMBlAP8xUPZZttaeLtPG16L3QaSSxZQhz3XJLQ0Vv+JfqBWX5XrfA04XiO63+XcGt
ff8gb8MtdYkRIAihPL8MDF8f5FRGoVWgnOshuvQoGI+lErmhCKu89FOp/+Ty8f5yG0UN1qPoBAck
fVKWvl4PyF1fdu2keZk2i53bEznImLw0naRuHmtnrELrKYCM9x8zyyEyb2lKngwhZ3R/UisYgQZp
0i6VZEWi3euouDqppiyCTowDwsKlteFvVc5CcPhGOhS2EMziu8kwSt1WYiP6eX83G1kIuyECZ0vE
4BSfV7vxJR0NcFnzUFySq8g2/MlOheRUMgRtik4sIaIiPneA5KdhtNn5ztfbyAIWX029kNX5H+ti
oaoQfS2FHc8IYkct/I9Dyoxb81UJ40v71RAfs26w2/aYhvIehm/ruaIiynckZsaDr5v/Y5UAuIMZ
ypPHH9GsOeAGvyfNe4h5aRUyda7Eji6PJePnp/vHvvF2kFVRAAZwTjy9RoNlyTJ7oFW65/dAbfwx
6A9h1grnvLcQiJDF4mDWpoTsSjnCn06363B//Q0Pp1MyJTRcANdAW66/egWLMfFVTywKo7EbjEXq
agCInSpSmp3M63Uvq2CUtwE6SCgmGCZbFwj8cNaUKSRai+f4AG2tG1vfqsh/ToBs+oozhQ3zmsji
Bf1Rr18CdaEZP0/5udQuZfAnnU5WGNkStOMNRRTYUymmHI0Wjgrl4f6hbJnDUsWgTgmMGsamxWW/
Kdv4BtUjRU8VT5W++VXkVo31m06ka8rvlppDV/bHelTOTbJHCLqBxVo6jK8Dx0gCcFSrledCMGMC
JyLa4Cwrwcn3z3y1f8xydPwUWNg7sUrPaqKdDKV1/e4cRu3Zz8djrYXnNNQ/3j+J27dp+TlEmrzq
/KjXcPTNQURMp2ZhOunMKhwG0xUuF3n6WuxJIWyuwl2i/kGz67a6aiSzFkIH66HMXDjlDAl/Etfq
geSVXAXUL5UQ86+f9oUxGRDmIjmHD18lKZMSm6XvRzB2NvNw8hu/dGNZzuysn+Lz/UO8veMLbxWx
ughtGinsKoqoxVLX61bViSIsp0wVuGkaZ8iKyzwqRzPoyPt0oov2/f1lbx9ellUYCFiiX2746mqX
oRaCZNN1T8hfpvp9OP5KA+qte6/u5u7eLLN6N2QhTycxMHVPiYsjdf4/EngVJe+e44GxESJRyArd
QdiZ2trb3OqGcnHzrCME8HhXk/NoeMajudcS3zBLDhA2e2JWxhzWLaU+7OrK0CF1reqlcBPqwVM4
ltVDmuaZawplezBLuDPvf7Vbh7x8tf9fdPXV2nDWjTCBprJnGtGlTUQ5vi/+CSq/PdxfacPLsRSj
G+TN1ABvysV560/akGCXufUjQnrEsM54JkdOxXMuPyX1Yx+ew3LPXjY3+GZV+drDVWWvAWJnVZw5
oGFi3d4O9lAxi5u8fmqWrS3zynw5fPjqFEtJF8Ig03Q6G640n3clq7Y38f9//8ro9VIFsdTz95Pi
2Wn7EkhfdH+P1mdvkZWNy2nd5EK33KxRcmtDt/1Ye1eqf50KcFTg8ejRSkDg15W8wIp1COksnK8V
BIeG6qHTZflvqn/98b7BbX4Uog0CTMyOlPX6ywd9OVayEBperAGs1KW4ckrAGv9hFbgVl24jxQeG
8K9XMSuxThYmIW/IpeLBHCQawCbx2/293OYaUNnSsCfyX2CMysrAEn0GaOy3ppeLGdzpWSU6qZWa
qHtZzSNUO7M9FNXPFLqbnTB5a2Ego3RRlwfZWlc1UCaZJkEcTc8fZrTL9Ew/MlOYISgczYcxNtKz
1MrNSUvy4nB/y2utOKpby3QZVGSEBIRGa9IiRRlAoAuD6Wnlyyx+QUX4mEXDec7gZIy+jyByE+ms
asKh1x77pa5Dg5RxdztWJ9tqijMDRo8mhFiRGD0azQJq3O0zL6/26t6jYfMaslFbhRnv+uMHWRqX
RiRw79s0/gOFS/nSCaJP4OZXz6qgFo5ZKYlLGUU9lfpMMRShEMg4QwfKQsE1Q6U7VtKgPdMHFZ06
Vs3PsTXoYEH1yu0k4eeYzcnHSBSGHavdeEWZCYE/k+SHNGgt+l12pWqmE17RmCUnnjRXzN2i/xqK
D3Pxq63eS9q3+19z4zISkRAC0axjOGONA56iySonP4dRShO6g5Qa3/0WUN39RTZADeTiXPVFa5p7
sqYUNqq+gC3W1710qrzCOmTGE4X8Fh0TO5ntwAqP8/RT9//kcWhn4XPAoJHfPgX6RaHtJuXDMTKH
p4Z0qLaT4VCbL515ruR3RcNw6CEJaaj2er0TN70KYa2MiEMBRQL0kKnANcm5oNLa8PGKnjhLBbad
1v4nSa+tl6jV28wZE0U8yZ3RZwiwqVxwVQ6tAGxwPv3bqRGTlxV9vvkIXVkErCGsim9+bUWBbci+
CNW3keagnAfooEIjkVv3f0g7r97GmWQN/yICzOGWpCTLQbLHYTxzQ0xkzpm//jz0wcFalCBi9ny7
2B1gsVPqZofqqjfIKZJJgZY2v4ZJmzA56+NQcaV4Un9FADgCV1bCTHRq8vAaLVKvg7CXN22yETSU
Ud0iiNoUnGk0W/tko/VdK2vDtDUhLR9mP+oYQK+HioCcaGh3NIU8JTSEx/qWnNH7ghWi9K4GsUcJ
opapX+RaLLWcZZ5g2G0ixZGDLKq1S8xe/epPStXb1qBVr02QipFddXX2NcEXprH9Ovd5tGhWixCm
X8Qu2E0AHZ4s+I5ghVyOdTrWrTv26OHd6p3B+7KqKNJutDbXwx2KTnqxr5u6/S52giRvBBRt1J2u
jeX3nFr4N93v0mzLFHm+Y7TZ1N9gJWsodjLJWrFBTzV7FltaRSvn7Qdn9vNqgLBLVY42MCh92hlL
lBpdNEUQOFiwBY2mxtZjv0psrwat7MhyJA123FJJVZBQGmxBoEWrBlbyaAi4E9vBZI13eQnfV5xM
eat0QN5sqZP631aV+G9pmtcrvdRlzgpxAxMYFBa40WeO4CIxCWvDaqZaoLAXisUul9BglYohcq28
8+7CXm42XiD+a6L8v0EBxlI8wgHaWDxwxEoKxbwL9YcxvmnfzFx1p3wj1dsm/NdyxRwJSWMud64i
eECL4VViAKNOKXjTWIrtBfqbVbZ76kL/+LqgG87RyLsJ7uzMp17kEGlYqIWYipSDBDas5soeOmP9
TlHWKCBnRa85EkcM1wlvUZjAi2w4yQpv6rpGexij30NdH5Wo3PXdfZildtNpx8FUdmL21MTWj7hf
U6lc3jnEBnIGyHReK4x0EVsrrUmYPDI/b5zlxqItnVY7y7RbI6psCYqnhFBfu5I4zV/odDudBl2s
FQW8VpxAFHxQgh9B8ipgfRf+6xtqHhirn2lFO5Q/LGIkll7HgAH1h7aM7KCJ3ApOiY/JzMrttsw2
iIPME3BSyiDUEJbAjbYNPEmuJPNByjNzl9QmRHHQ4w60NGkrt43s+onuO0h/1MBhzOm91utia3bW
e2zI7d2Y9tLD6JEpJRXSwKPWKA+CjjWj0MTRXu1Q1/e0TN96UrCmYrw0S4SFiQ4WHWHU7dBZYO2d
JkrhhDmiWkfeQ5j4thJPmR0I6Wvni1vRu/fMXaneWZXhiLNCiSfc92O1yYoRkF3rFKmrCc9G728q
X7IrMCGRufb7zqrRlH8pE6LLyE8DsyQvfl9Txb5IPd17kKQ/AR8xKrdS/RRv1NJ3M3HCF4dimMLd
JtX3ebX2ZZfJ0RwdsB9GQHPhRltC8OUGwx+lTryHFMqbnYeCaAeevpKBXRwjopv0DuY9eOYUIEiB
USApTJ7Rl38VA8BBJN94fwTPUYSH0KtfNL/far60RXQY39w1tPfyeckgsR9RsCajMoUY+eIJE+Qy
zR9S2QdTzWxfTLciRPIazsr1XbIWZnFkK7oX+GY3Cg9yONqNthOK3xK2ddeDnNUy5sHM3AVcEHjN
knSeruc6wTki9izhoTLjndx3NmK7eg/8QPtWdQiDJ7XnmEXjJGOycuOesRnm0LOTEg9BaAFwrk9D
p1EjQECJ/IMnoctnuIJq3BBd0x89qUE6ubInRfuZKN2z0DaPOLD+6tE3blRStOFWznQK2I9h4pjj
l+tzcpZ8f/wwYF0U8JkcesSnPyygRB7rZeofunqD/AjuHY6CCFCZbxNtb8B1hybkZ19STMbxCWjQ
f5TzL7OJEC5srpTeSKBy2+g1yjeW9aWttnKUbYrhJoo66tCVExa3Zq2umNmd30k8F3hkcisyl2cK
JsDRIsWTC36zsB3BcxOJ1lcbIukYGY4pMnWFCZEKovT12Tq/l+bAs1wOaQXt6+VkBZGqweD2D1Yo
H3qjt0fEJDBl3MRpsP/XUB99XkTYZEr8AG9Pv0siGb6UYDV8KD3TdBsj2taqNG387DtEj+0/x2JE
QHwhXM6V4EWPMqFyIaXqlGCNBSyB/t6Nn3m39Ppm7uXKgjv/dqiofIq1KKkbclKUkJqwOh+TmcHu
9W4+jq6FFME2C8z3SFCnbSDG4d4Xo/rmvxioRbIGnpj2zDLxLT2WE5WL5CBE96K/1fP7pApdq13r
Yl3I2ED0zsUyCdIGqL7FeUY1u0qtNEoPvM2c1kfHt3ot1L8UHjYTnd6ks/tgV2aCq+XGSlp6fi1p
eEZ80GXmN/VS51sxh8SzGsxx+WXNM6K+0l2qxcrT9ZlcVph48KCiz5sHpgyiwUsWUInUhmkMOMhq
nRfeDnToHOC1BYCiQQ4ZnKi8ptQRcbKvKm9luV6KPesls//w/6EjudgaqGNlg4DhqYdYYI/9l1rG
TiCgU4NkVSwrT4VSvP/7cAETU9Zi7cwGUqchS6mVBatVMK3FXTmcWLPKzojemedtXDdQkd+uxzt/
oYFZoeMKgYf9j8j+aTxTHvNMGbT0kHUQ3yl79IEvuEU+9NljNeSRvLNic6puQBvF5u/rsS8toFnu
CitZVi8VxNPYzZgnZV1PuNam8AinsaF7qqiZ++9RZhAqFCMOBCgTp1FkvM3AJIkYjTdZytkmSker
kMaVcuSF9AnsCsBauIqAzrkrTsP4aS+mceOlBzqLtqEFTtNDnepuRDgEQTBsBc3fNLodpOaz4LUP
ibmW2VxIouH+AO4lSZ11h5erVTRoMVjaiL0rNA1b1KNmWxrpQTTSH7LWeltElwI7zg2Oo6HxnEyd
fhhlcxNV4rj1sJDYZU3ygjhY6sQ8xuwZo+j4jdxuDCVVtyGt13+/eUDHUILnoQ7ae8lhLCc87mMk
dg6NJWwRhjoO3PB19VitKjJfugsQuGcbQ2kDmrlYA6VoxVapzlNTbXXptt75m7C/jWD1bfCmvb7e
5hP39EmpwbAwZ34w+jLgGE4XAlwquRXFLj3IrRe/4RzsubiMDo99YqmsPE1eWXmXdjCvZfYw0kEy
6oqn8YxWsTI9ZReJyR/Lim2wPymXeX+b+WtOxR8OoGdjA77Lc4237Jlego7yJWh1gXnEru8p7hCw
kX1JvNF8K70P4Ou7XQOdTUyFamOlAqc0KroueLNoF+lVvlWU1Lon048cAMeKY/Rh5yZ+JTylvg/Z
XqrNm9FqDLeuA+3O18p4R/v26JeFsFGjrNj1keLfikoPHL8puz+qGYw8T/PEwW+zRGZVqfajXPPQ
zQ1zS1XPgzoZNyt3+6VbgRIc7HbOE1LZxQfuEvCslBTxZhSmPyT/L4Ho2ZIUb9lDjlr7ziiC6f0v
FhWt35lHg2Lnsj6eCqYnV0OVHVAKuKukEaOfezXIHozm2/VA56uJE4zzmLcm5FTW7+lqipsmFLAG
wmKbpAlL+FRK3IbDI56MY9pNL9ejne9LLnWkXuEIUfJB9ec0mjfxprT0Ijso+q/OuJkZQmllV/1f
1U/uwKp/wS39esQPjPnpEiYk+mGAH8DIYmNzGtIfmrAXJcxQtAD3MyDLY5PbsRBavxvEkCY7h17L
Q02xqtyh5gCHoMeJ7agEQ/5VjHPtVUacaLSNrpha28h1pbULMVb2U5PJ3/LWK56tQCt/+KBIOldM
Ux8apFZo32scPbcqAM6VAV36YFADQN184FWW11vnZyW4uD47CA0crkK0qYeDUxtfYrN3tDZaUyW9
9Ml4xdHrYwr5Z3HcDIFfxzy9csAU+n6Em/3gZ+M2wV828MQbS4mhea55zZ7vOA5NcKFIseEZwZ47
/WZjp+MlPvrZQUcyrLC2mf69NPNbYAl1EGwsHtPXF8mFrJqAM+sc7soM3lxk1WYqhwYIbSzZRaGh
F4E+wHsKQP/W7wvvFb6L2TmpEpvPAWhznRwtoRw6dDnycIE2gHm+/nsujh8xDzYI1C/oBafjn6bE
os5fZlwpceyoEV3CIOswVOzijBailT/5Kupe2OFaK5Hns2y5W6jJ8lrB0nHOg08jt3RJRDFmg5qD
6na64MTxTgnEf35mM80k+jSimDruldMonjTgEOiN2aGXblBTsJPoS0erp88nxxB7eCHxhrLGCiD/
PPucg6KcgdwRUKhlwUm24i4Rx4mzp0enRD3yOl7JPC9NHlKFM/8RZju1zdNhlZlveb4128cjEpGT
+8UPyWrr/9L+V2a0NgADoIHLJ3VgeJJCzpYdfDyQYzgWpfBl8J49kEj+9OX6OjxPbWaFBDSLZhIF
T/hFjtv4Q6mMg8KUKclm6lQS3NZRsmkjd/WaYuD8zZcrDzwYKlw8H+d9uJi8cKyaYDakj4X8zvOf
xeJVVG3Vx8eF1ObHaH6vrTVVt0tLAnQaixAOILYai5jQjmvQkBiE08n0trWhTW6EOMj2+ixeqA5S
GEQMkS2F7AE5++nQxg56oSLX+UEKCtxV6Bo/BlnpeONLdoMZvFuYmh2vZRCXFiO8TrYw5BOu28WR
1ilNbEwy/GnVuCvSl0S7rcS1asSlc+pzjMXdQB0n64IOA/k6GhGu3U8FZHg0xZGPUyA0rqzGSyv/
c7T513xCgyKTWxlK5WNrpiWbNpadzChspXiL6uZGU9asVi6tDeA1gIVQieduWGxmsW+jSOh432ka
YJGoIc9Dnn2tA3dhh8GPQzzYIkkBTrcYUzJIZTNlcXHw9Szb1JOhlEDfW3k3Dml4kyFPtTKJF4bF
mHgdQzCEu7Kk5E1WlBRZ0hYHLEmCrU/f20bt5x/tounv0I8CPjy/G0xQDIuNNZhmGI0mfirqIHvH
rkWqySwEw13ZWBdWxMylh8SPMg6RFmEEQO0xTgWzqwpV2f6lGIL7WHxRq54HbvGY0HlulHE//zca
XBsFdZMA+xocKOw87baU8l0vUFfKZB9AspOTjCoj1RzqffwoqPCLb8q7s9NqxnzojHb4loxxGDlF
BNPZ7Uc1v2lKJRSdlrZA5CphLLhdpOk7VYFC50ptWmo2VvDGjxhsxI9m9HAG8ctGtlmFVe2M0ag+
ISdWwVGorGDjYTdkbNQm6AenrGAxk3yWDQQJRIN/C62s+lsBMrnu0Pjs/0StOQzbRPf69kue6U1/
UxVVrNgl+kW1bfSWHG58o5srl5kX80d/1MFTFIjurny5+cg7myNKbJS7WfRnZl1ybBW9VQQ6WWyp
7PW02HtiStW77sV9BqrRMabGGO0wCGrZris0SDpLnI0F+/DexFRgRb/lPAHk1p7ZSEBuANZRNjk9
W3Bv4i0K6ubAZ2rsPFH2edq4irWTEgX5Wv8W8ertBNnLj6OnqfdWEqKzw/ojPMUunpcgYpdCx2GW
SGZrJPqhr/1tVuoS75TQCbw8XMl0z07sORBVg9nPk87bUlegLKM26qZCP+RmBhgGzZmk4gWR2lUD
6b65772VPboS0FhsUau0FGBeuX6A6WG36HlaaALXhStpqm3EfwTrbWVlzTnJYmVxoYPABnLOZbts
O4WmETS9yO4DGN5tOKnyOyVU/04tvA7IBJg3hvmkvtQljIUuU/Jt0ff6Tpidf67/kkvfFNQ2H5Wz
kDiLJYXdttrhmwWYrJLc1tqp0oZi3cr3vBwE6AsflaR2mVqQoKU6opL6oQHYWNPhpCfOub+yXdei
LF4FqUXJxvcyotS3DUVNI9up2koCeL5QWPoUwmkUUu/gj6c7EIFXtB1yVTl4UEbhAsrSjRfv0TZz
lORNCs2VdfnRkTldJ+w06CV0UebdsCx8BCKOPZUWqQdSqNQBBzyhTD1q4iYNn+T4cVS/ifKbSIla
VDOnoW5VdeMWJ+sHX4U+lKzdmJeG/+nnLJ9Eje4Pil/zcxTlXvWQ+dTvG+utkbdDdNdnKz2W84wU
mBJJBzCC2e6C2T6dbNZ+HBmaYGABLur3Q5wZtl8Ah/TI5ragTauDnPrcBVwpT51WjE6J6/n2+v44
y0T4DXgwoXFCFxBBu0VhRlaCGGSoYRwS7kc6XW6cvv97BDoA3MFg0ZAAm+f8U8JozlJW1lSbh0IU
VCdms7tiUqy5w1z4cpQogJdSj0GjaXmk1nnd5pjdcqS2/VZQ/gAAvhfCB3WP8aXLM/2fjxUqInRQ
AG4AdVOWmj5diHFrJ8RMmyneajIl9Ay/VjXX1xxpzzc9XT4eLvwnyFkwtKezhxFzIcmYGuAY3N1l
dRPSnw+fJM9a2YlnKTDY/89xlhtfrmlUiMSJ+8k2UUKJwzfAyJtizT/7wiU/RwJyQvOBP320dD6t
h5AlbnazEFHGobA121qxRd9P7BYssuslnrDvmsm7QZQYZTNvELZtm2kcP5m5ub4wz3QUeE6r2Ojx
vtCUOQlf3IoiQpOC4XsY3o6C3WO7lqZvgbzJUvXFg25a7ozJLYvhGGnZczEML/QHZ8BrEpcrv+Ss
ujczw7gs59SDQ3BJitD9EkRsLVsH3ij0k6Ws3peJ0d+MShZvSLw7yKeetC0b39h7oyztr0/EpfAQ
wVH+5YsolBlO11igl0VkZYQXegtJVb92C4M0MIsMvOSt/YTYuJ7hXautDPvs4fCBq+IIpLA5I9AW
519d5aIWoVpyaH+UsQ0CxbsbVDtdqThdHB1z+n9RFtdmyOYP/TmK+CQ63WP72kUOfZI/5VqfZt6K
i7sMmNh/As1H7aeFjdBPo6YTgZTcplT4lvy5/pnOp4vmAM9gChhAbJH2Of37Iy5m6B5ae1DHoxe+
axQlw+mPme09beXxdD5lKvU5pG2AviHGtATeeaMQoyBWDYfJQk5XaPFRGRzB+0qJtexVap+Cg3b2
SnpzfgIRdEZu4XeHCfyS1DL2StBrvjwcJO0LeDGyD1T+HzN9XEnWLkwjb+E5Fp5FaDTO//unz1S3
IrZYgTEcStiXqP3YrZlB0weaLz1LYbmSUH0cIqerQqW2RaGTgif96WW7HfksL6ZVMR46l9P0m1na
g8kZ7pSq3ap2rDvo0ti7b6/P7ddqJ9wm30HhN7twGwx28Wf4UzwVt5mz9vI7X6r8KBYSsijU+c7K
KoUvtrXXR+MBgtJ9D6KjEDCmytak1i9NNbVL+DwqnZKz99xgRpVAa3I81DXs9f4xCMDuZ3aD9va/
SwfM7/3PwRY3WGtCwMC4ZTwYU8DydMS8ci3Rf1CS9G+m/qjq+04o7vPiJhRWVtSl2STpmDU0Zvjf
kkYsCqLaeXEzHgJ9HxrCPottHQTSP+9+sBT/CbLY/VOWwyEWy/FA9XZnqKGd9ONde+8Hm0lY+24X
tiLoa/5NPWzmfS9StgFeo2XE1XRQIkCv4Tellh1R/GkoK0nHhQwY3QyyADxHQGsBEzndi5XBvsv0
djoIFfQIY2e+iw18Njcnx0defJMlK3nbOWAEQe3PERd3XdzLMRohRDTaaWuq+Zf2cUKMzaEehXfy
kN8PZnGTDbbcrUT+eAQuDoJZXR+sP9K7549EuDhtKMr9dHh/fwjt7cPTXW5/P4b20bJTu7RD+2Fw
SfHtwCkdf7OPN/H8BzvY/vxZ2rUt2XClNo9fvt6/5O+OaXebb579GtijLdvVjgf0LthQ17ZDV7af
bthuruE+b+wvu/v7279Pd4H99/ff6yvyg994bUSLm7WyzMGoe0ak2bl93N7ddVt5M24AEDvWFnuU
O2AuR2vj3euu9b2+R21Tc8Jj8+Tc9PYt0Hf7RrFXLvvL3/fTLC8u4SiuBl3359909LJ0UxW7lFLW
ltq+Hv+onoDl1dOXtRRj/ksXE4GzkTqTWtEROMvfUJ3vx1LCIi6KqImHwiYu4pUr+WPPLWOgRgGP
GVgeNJHFwKCZirGn5eJBsnPnJ6ZC/AtfPyexv77+CGzRPqhfVr7vhWMAZuB/Qs7n3qebMg3Vbuot
QqrKN92JbxJXcBo7dV7e5wX7HR0Ou96m7wpTfHD+mgdlD17P1jctso3iFn0OPbe5W+Ttt35NU/VC
hnLy0xaHvTRGcWhI/DQxUTaaUPDsw/U9rJqaPCXc1GN4UGp0U1Rx5Ri+OCfAknF6UqB9LNFTEl1/
aVQq8WB07WOX32TpvjZ/xmr77frknw/ww8QRLuh8POIDcDr3wC6rsYp86YDqb93cW0VnpwWO3+4o
d04mKRuj/n094oXDGC6zomAJwxkJvWqxndNJTRop1qUD6mzqlNpRLTly9LdP0PDK7vT2Nu76PTLT
jytx56GcruyZQw1Hhyr0LJG5WNmK1pq8mzXpkN0L5s2kShTksV8Zf6GuDwO2yZ5LPdtIxuZ63PPk
ZA5L/gNgjObcsjUXJS1ndWtKh6jm5RHfxcL3Bo/l8BgKKxWQ89rEaaRFxtkVciNFg8G3bCK7/SH6
L7L4lpWxG9x6KHNeH9blzwgWjmwI1BIMttOVI3ZGg44546rHzXS0yBTQjPE0rEYjCRVQDyms3z7X
7PWwl8bIfNGgpnWs8qw+jRpaaK9paiYfTANOp7UNmkcD61zPacMfgrgyoZfGyBKl9z47gqCRsziZ
KjGMp8jM5UMKA7Pv3bC2VUiVpblJuUnLB6GL7QQbretjPN/7M99/Vi2iMKpwhZ+OsWgCfZyiRD6U
4gM40zauN9n44rf9Sj55YS6JMw+PjIiu8eJwK71ECUu9kg9DUTtm/iPAkzAKC9B3HPiWdovtyvWB
nVmaUQE5ibj4ekk2dJNm1Hy9PLbjBOuP3M66d4A1guKUQ7nrBFetLfxBDZtKny0EFlwRN+ePzfCr
1so7z9o1qd2X+DaxzOrQ2GW+vktkw9EUSC7B9vovvrgCQHlyXMzCkqy602+RR6nc6m0pHwphG3lU
D6LKzbYA0qUSZdPS9gxo/mtavhdqV6jAkKpSI+GoBBp1GjUYpQJUS8e6C7Tf+JQ5gxVuRMUteCOL
v3m84iFQ2a2BRH1q3Vwf8vx3L45JrgRWO+0xCA5LPqqkVf3UVq1MUm5qSAjV+XbyknhlYi/cO1i+
kaCigYbejbW4d/qqnMw08FgJUfbsDdOhnBQnD1tX0DOkEUQ+p0I1vF45jC/N7KxATUkOCCSfc/E9
9aDqK4FK+SHvfiFN2hNhFPC6txWyYtMOM1v5Uwuye31OL4ad9aY+thmIIXnxQbtSLupKoP8AR3us
trUwuoOe2uaw16X3Ii5edWErh/fITa5kqpc+5+fIi9s2h0IRG7GvHfKhrOD/92QuDS5k1wd46XNy
DaAUgssb3riLaVWSUMkiL9AOkUcHPoa43/wdy72AOYLfdZv+qYyM3fWQl7YmcJdZPdAiRwPVczqn
4qTRJWbLHvzaFjfN+CyjO1tGuz5/FRNj20+xLa3kEOeTyeORZG4ux896s4vJHFFBEPBymQ6JHCmb
tg31fS0Y1f76yC5FAYtCajSLPZ7twDFQJyUPiukgT+T3Y4g1HKLx/2owRT7CNUrJhOYC/I5l5ld5
2D/EZTkddGFKt2aIWJc5KOHKaXJ+l51GWSz8PLV0wC68kzr8wu8N/NE2WL6S3cumsLc8tV+Zuwvx
uDcpOYESgSu5BMwO1iQnXhxLBy9S9O+5Zo1bqTNJDzQvqGxQRdHK1p5TgNPjkjz2Q9n0fzPaxUE2
W4BWPMtIuoDJQLLwmgDCJTqOQl423co2m7fRaTAU+00sp6FUs82W7aAgG0CK4l15qFLRNkZe7QPv
8uiL5v+ZzDslWtli55N5Gm6xq4dS6FMLbDgQx8jRktFhwzm19lr9OyDjNNB8vHx6Acp0ntTGFw3g
a/mvpEjugzCa7Fa2ZSOwBeNOELRZOro9qt63HhO26/ttzjrOZnXuhyBlwVNrKeRjmIVuxeS5hxT+
/O/R3+vfiuRPjGjk9Tjn+5rK2kz+gn4NF2u5NpM6DEoBL9fDVPk/U/gxXHReunLDna9HgkD1BAvB
650K9OlUSjiKDmaemgcrSUMHYC9jotcMNajp/5vxfAq1yOb0NDP1AiEq2sdmZhtqkW3CAS3q/2LW
PkVZLMLen6IuHxmQ6aXbppmwvV2Tibu0AD7P2WL5IfNfZ53Ph0kNNxOKzElBArTGi6kn6DJFr9cH
dGlXfYq2bAfOckC57jFtkpbUW6v1WtefmufR8u/japxW1sOFxgALgp41OhWUBc/kZtWprsJOKc3D
OGaujD6i19QPtSVtxMh0p+7WatodHqh7VW4d8TYeEztspZ2Ut9+tyHsvvsSd8ceKPVuZdorE44dW
YRBLx1TR7dFzDSTPWAW7ETJOrtpd3JGSfrk+YeefZ17HMuUoEgtuxMUdMlUhevOg6dCwHCaws9zt
stsMrurtM9VcO2MvlPZMgzuRHiV5KQ/2xbJWh6SwNEgfJN9fI+sGBnqaY88l2EGFOG7Yjo43NH8V
4TFIZbtNhX8WhIBVPIsDk9SQatDQOd3BtTBDzoVCOXSozbr0yBVbjcQ1bNiF9AnGhUkscodZPX+R
y/ilIMDRC/VDqRR2VmN6vOHNZ7zhQ1u99McsqFaO2fN1Tx8MNTkTFRPk1D/oZ58OeSuH8eV7FRCp
DmsIwSy/FilFJzH+JpRWt5L2nkspAcvnaYHqBJ13ZnFxbKhtjKBWqIM5jOVNmU109uVsB/CL960l
/wQ8GWF5biKy1CX71GNfNE280+iFeeFekQsFoZSkulWlbrwdK+3n9SV9AZAEawAzHDIv0LPkk6cf
2WwlSHVeYBx8U7rrBf2+arxnFBTs3HqTeQbhye7qdXvj1ckWneJUvdeU21oyN1J3lNfQ4x956+kN
OP+amSgMAn5GCZ3+ml4YesvzgJnIbwOJhYkUwjcL8XQHqqnW/gx/Sb1jPRrtzfVZONvYSCcCy2K+
uV2RiFmcu60eyzVaYtZh6rLNGLxjbe8I+aMxvSB/fT3U+XI/jbU8dUtgnLRjiKUgrvfm/a2OQ+7W
biDvStNeoxjNi+tkPudg0LZo94M8AfVxOp+QKNQ0ixqCKfqmzp9xwbAFTNcTeiv5+1oB/WxjLaIt
rnxF6vyC09s6ZPrfZqxtGJ4oInybXYCvT+JZbkEgDE6h9M68fdbt6bCkSh+FxAq8Q6KPdsk1LAff
rXZNBe3ScOaqFxGYOcKcRtF7P8J7IvQOhuzGlgsUPw3uzGIlebm4IEDHgqr60MBeQv4rhtcnBmEm
0AZP001T2X7qRLS0usTxn/995qjoAbACIQ6qYrHSxahVo0KIPJ4lFfI6rpT9VNKVM2We/cWig6TO
eMBYz5SuxXtYhv+hi4UvHDQ9rd1eywVb6eV0f30kHxoFZ2FmcIiMWBI4nsXnaaJEjdsgEQ7ea/Uo
vagSTS+n/TP59jhub/UvWreBEIyu/Urc+ecv4oLwper3gWZGYGSxLAytEjJFFA5idR/R4R81za7j
79hfd01mq54rFwDwpJUlf35E8YY0Oah5YEOkWKqz42snhFqh+EdY7nY3/baa2u7an4b0jlXZSqzz
U4P+CzVfDgwml7VyOsIy6qJYyKbg2Gd/hlB6MdsHMW5d0HjIOapuv+aN/AH8PJ1SYlEN4/8NEB4G
4GnAtgrqasK066hyPqX1j9aJxSOea5CwEFaZ7hvtV48oZdt+gS2FKS3sEaG5Q2tsF85tondsl4wC
GXOLDVPRRVkT6Lkw+cAeKfDM2Rjv3cVSm8ZJ96ywD4+mdx8XPgUybSvUfwrvHcPSlfPgTHGWjIsK
L+sKZj/bZ0l/6zRazB42Hsese46yb17/Oo33I4LRnl5veokV/bsU7JD3B4T07FdWHWXkONWvXaEg
NTWJtoIJTTPzK/w1RPb5ziYbZN3PUrzcGOpiYYgNjKsxVaKjFAKXrjMq58ngWSs77MwzgRlgiWNz
Q6cDiPmy1j2NHoVeRFCOmsxmbho3EeP9/IosEOfzhccmL/dtIbrGV2/IbSopcgACBZxt6tO6S77C
h3YE3hdjsRmjbfMB5h7QU9LcNFzbl/OBuVi6IMdn6w6UEdCcWuRPoDY9IxjF+NgGTp09q3m1LWc/
B/1nK/c3Xord08rBd2Exgr/lIUrjiX7sktsQZLKUTIYZHyvrNqhepPYx9G+b+h5Q/so5cP4Coe8z
/wNYERNbEonTfYmaeInIs5cdg7zbApu2w3i0K0bay5pd+NWRIgLL0HPj8U3ysody6P55sMwt4ge0
oEBtwyI5/QVtGBtF75XaQRAsJxwBW9TImdH1kJOduYJYOZ9YZHvnfhc8qvldsPiUvj7GlWyG3FuZ
1mzDVABsMmjyvZdLMLnUWj2q7apByOWgqG6SAYCkOLOmToIpDc1YOISFhB2IGvSmk1m+tJkSkP/i
WNdOA53p7foldn7CA4Kj1gq0gu18tsOkXO+kQh4EKkBmNTlZEWq6w/PdrDjh89qz69Gz6J6GYi1u
wHulay68F5YWYqZwnigiggLGUOj0w1KfSlWpn/gFnh/k9pCgAAPwN7jPaA04XcZG7ZI0cwXkfO0s
jdGN1asbUll5pzWooV2fj/OE0gSAiXUCeEXakMtHWh+EWWaYYnIMxEHaZII8OMQEElC0a/nDhVAU
TaHHAjqg5r3kfGU9Fe4qsOJjPSiKG8/Y0qGC6lYO45pA4LlWD2NC1QqgNX4AHKrz4vv00s0FQKZh
G6XHAv/IBk6ZWdYoyFZOd6eTq3BuyMMr+/ieQ6Qb3awybpok3RX11tByu6qG7ZiWP2tYw/LKXjt/
6c2eOOQWqN6R+p7NuKR0SRA0aXoUPQszbK56adeNqesV8GC+S1XrGNpWwbmw2TXGXZIK//zFUb0z
ZzoqDlCcL4vNzumqNnJupEdPvFUzlT2XuOlaa+hsc0MwQSwVDRtzdjn/SP0/zb+vtuwBzK/Ia9Tb
QJWdtn6ykKVptSMd6O31NXz+kFhEWwxJU4W29Uc/P05mtzfL3ha9fTG4rxF6pwjYaAdZWcsUz5Pw
OSaCUPMDiY9oLGKSjtWdNVT5sUatxg6kLt9EcvYEz/RHpY71lssqvIu6EIX5Nh1dZayjWwQgUGQW
rdwtvEj4EWTCWt/60rxTRUeFC/07ZEsW95bfKWMzdmN+pHPGKgoNSOJNZ8B5iL4HfVJuJnVdElNm
M51kAkwFzxFEVCmYkaQvglZmpNd9refHrMegSatVee+rcMXLPvUpZdX+jen73F6CILh6nHp3uNh/
yyWj3PdlY/5dWQxzSnr2ayijzKAtJF2Xj1fR7HsIj3J+1J6NG+UuKigr2Z09/FXQcrfDfd7YcC/X
gLTn/eV5Ehi8TjmP1uRHNezTii9EhOKNUs2Pw5TflJJu+0/VWLh1V9sWVoyxfttamJm5GNZdH/DF
Tz6/j9CLEXHcWtwnVjgibDL5xVFsm9e6HaONV6KCIWuTuosy0UAYdcp+Xo95dpQzWNQX2eEUQs0z
/qwmgJkTpik/hlSGIWFFWIwWreBUMMA210OdZd5zKBrMwPDI/XiEnJ7k+jTW5FpScTS874r8qluv
1//+s4Rg8fcv9rEkBJqeRWpxlA3Xe4safCzsqnSyZMdCuR5q3geLlQk7biYA8cqk3bb4Uglu6ZGX
GMUx/lvsi8c4tk23bJ32JVD/n5Hm7/c/nJ3XbtxasG2/iABzeCU7KnW3JTm9ELa3zZwzv/4M+gD3
qNlEE757GzBgASquVKtW1aw5P2zGTkIfLLaU/KRZJ8M8Zu2mjpy++jS8CtpGqlf878IOvBrXdCI/
WAvkUe/iaVxq/KoFW0m7+D+85G01AbGwVFPjHxESN/r097WdAiG5SDMHlgpZezh3uz8FEZPovUJF
6kR9sbm/XAs778rcNOwPwzItYSAIxNyIomz41qxBGZa2A6g9YDTQFhCEKde/3xJMMw1I/Z9iubSF
6k0fHiL3j1scpcLR0Ydu4WK5P6Lb2IO0Bs95Xpik96BMn5mEqbGtvYjNTuvymD8HSPLAq/REsvk/
9w0qkcw8hjAQrDX8LM0k6kkwbpLqgw9zZlYmaUnDIRvETB99wduqiNndH9mahennH9aq8kUI40ws
0FEobJPIg3NsIIl/38rSBvxfIiBQG0RvM19BtASsRcEKXJPSW6welYoewUM47Jtm5UxNe3nuKyiF
6xC2Ez+RkroekB7GgxUFWXHy9J0P5Xx8kZPU7o0VkPPSvH00M1uZFta7rKomM2yEOn3w5cP9KVsy
QOsVnSVwKKFjPU3ph4Xpa33IefAUJ9OsHCl5Ttdj/WkqZlPFCQKNYfKKBG00cwsxYqsaearyZDQP
SKHQa6Ufu01EiK8YOzE4S/KhHZx+2x+s6j3w1a1sh5HdOWWz0aQdZZVkrelqYfGuvmjuOdKwSKre
oMAh1AcxEqe9aKf+n1b853oAeTJoFxg+3BL0dc72vSdkBHqSUZ36XWi+x91TvlYzXHDuVxZmV0mY
NDUyJlhQusER2z+6+RgQz0qhh3TN5f5mmX7XbCVpTuVZTokSbsS55FQv6nGRJ3l9ahBYccg1+rwb
wvgQh2Ao/t0Um5IuTsiGKIfOwopOb4kc/ao+jZ3kqPKzFJJ4GPb3jSzsA6gopkicqj+HeLb5sTuY
o1HXpwRy7CiBDSeKfhjZ8FB0+UoUeJtWmDKm1iRjRLaKPOrMN4VdhYtFheKEUNejVO0Hg82vvirG
q0HrYaKGuwgacFdQD5Wg7/14jcv5dqzwC5CdpwkQUCccl9cHXYWaGjGRojrxIeBxf8fymytsegTr
78/p7R7h3Qwy9y8lK1t+th9R4QhCFJ+rkyQgRZFmEHLLeyFbywDeunqQeQyI7N+ktD4n+61RapDT
dqxPqRranfSWhUd9dAYFfYghpaXzeH9UC+bIgNE2Cp6e/+Z12L5WlLqLlJqAWv8sNDtAem3liM1b
6YyFuFaKvT3T8PL9n7WbSmwP3NcPpfpU/PEukPob/u69jeO1aGNa8uvjfG1mtiUlCKjRDBnqk57+
GkK6Yo3HsvgmIXbpboKAUMNV7Tr87/5MLuxDBZkNcln8xZmYxv7hwumyqreERK1P6h4moU/N0xp4
6DZsY1QfDMwONYydVhOFGIA0zNEdydY3yj7bBLv741jY51dmps/4MA43isukRBX5FCCSq7aPUy7K
zVcO08JGmDDYvJQhZKELfDYWKU7yfMjc+hTn0GdANtORAHVT0P0X18hXvPvCykwiK2hOgkEh/TMz
Vrfkec2ga05DmP43wrcUAoorR2mjdWtv4oVAFzK0v7BaEERTduJ69upB1DvVk5uTf/Re8mP7S3xA
Y3pfP0RP9R/3a7syjwsZqGt7M68kJq7Qh6LUnOpdfSTyeFOP+ZZ+tSP8tv+8L65GNs3yh30hdWKY
14qIJfXd8oqfoxV9771/x6OQPQLnRY6cBBe52pmZRtPjjDCmOXXhsxueNMV7LbWtIDzo5R+9g7rH
o+RoSYdwTCCVzz6l3uH+OP929sy8B6nbiQKa+xM9ttkXjKILB3aTNSfLjCECtjtRsX3vUc52rnYe
x80Yp05p2IMPCfa5JgeXW09ruNRpS977hpkzkeXMHca+bbgFSNXWT40SP5l1dajKgu6Y8dsorunL
LBx7mBh0kmmgcrgIZj4za+SqA63dnOTh4A+/09y382y3MrULjvnKyOxx0abw55tR35zi7rE1QFhK
Tq9BBiN+Uvp97B1L/Uvwet/mtFo3Mwnolj0FIOwmSM/kMNETeGjZtoGjoM6JuF/6xdXWyiuLdiAX
hkeSbCRQ3+vjMeqWn8S60pyC0PrRIaFo+sLPJPwyqGsMUos+BtGM/2dq5mOa0Yg7UNPNKd8RFtSb
2rTzcpdlu6az/XhDe1BZb/pva9InC5EeR1NXppYdgKoousyG2IbSKOYM0QqzpyB6rpt0W0DYQSln
A55m242Uw/kGqXUhW+vfxbQ63V/MaWQ3i/nhC2b7R6j6Ug8QTz3FbXkO5fpd89fWcfEcfDAxW8cm
NK0uBVJ1QmthW0m+bbVPqr4yjr8B+L2BzJYwaYoBRkisKIfgewXD/X8/fckOtjJE84WdAER6bA8x
6WOyqF8pyVeH/Hf2M+0dnf4JNC6pAfdO+HsVh7I2wbPrRHH9IPMattYgp5tW2hrd2vwu715oM2lx
A9CLbsP1LpLgBzQQhUO4XbbViBbz3t+Ux19yv2taO/wRHeVP9zfN4sn8YHD6+YeLK1BgOwr0aUwP
8bHfiU6nrLzpbqt+06X1wcTMXTddIKKJbE1XhvoWF8+BB+WLg+BgXj+Quj9qsf6QBo5KXxS9Ui+R
qT15umdrfXUUc+r6amurwmBrCD+a3UqmZSFsvPq2WfQTF8Rzncnwi21eF6QnLvpFit7pn7R7/TyU
8sqLYtFNgPYl5WIAWJHE2d72q6ipFMFrT039SRwAxljBsxtMCC35eew/pSTuR3KAiVjtS0089H6+
RvqxtOLED8Ba6esgaJk9CXW43wZdHruT0JW24u0rubOV8pe6psyy5CsmqVbkYWg40uY4wrSCAiiy
pI4ohTQLqfWfYzGshF1LkQBijjC/wJQ08fhd714FHZVSNsL+VIzFNhSfDHnb1+e+dzd5v10TUl7a
K7QF03bKI42S2sy/JlYjuLKe9Cchap3OD/ca/bl49KJOH9vQsAtY4sVhc/98Lr0FPhqdedxSoAwf
J1HPa+23H+0MA0zVVz078nC7b+hvnWPmdQkqESmb0IRAP2c7s2th1M90LBmZ55RB5aRmeWjE+o32
+Y0b/VTTb2ltF0F1Cmh9RZV7r0vf8uBHJrTf9cDcj5C46WW67aXYyRV3VyCw27zWBcI6YrIW2S9s
YjDiJANA4hjGzUtC0nwfTR/WIhEPTbbRvyIR6fVba4idJP5Zb5NfAT3wv+Gs691ffmG3K4mdaTLm
k/XR/sxPw4HdV4DO2AuhfCwM4dXss7VQe9q8NzbgGxFxnxSo5hlUowykWCuK/jRyCaBQ+t1UXnSt
fk6ykz+adkW/V9b8AS6/NUZtbYKnzTw3Din8VLAGrk027vpkxY3WqIrbDae4sTpHNoeDiIIqneSK
+yYE7U9RgbzKq4V9UMjF1hfRw26McNOPUrcyDwtnXIPUCbg4WXfy/LMbqhV49dRJyJeo4rci+y1a
zRllYqcT6Hz7LlprDRILfgu0I1V6aiOkfeavbwiQNbWr24HSY+5IXn9Q821rdE7vx/boQ4zqPQDt
G/IfifqlLKxT+aPx3Ic4XGMuu22FYMjAvZE3mKqSN5ojZlqZsVeNw6lOTyFccI1vy8qj0e5NYzvU
u9aw9jkcVDCQH6eeXjHYiXDTSr9TzVvZ7Uu3Fs2j4EaooaNcJc5cX2vKhteIw3CqsscmJ7bKN1Zr
jwAvX+R2azyP5lfDW2PcWdqC1G2oHhDPAxmYnTFXGAdIIZPxlCPL2qMc7Ddo5aD0NFIqAFxpkmCU
7cgb7RwxeNew1hJyCytAA8bE04ZIKyswz+PrQdaXhqaMpyL8Aq/pU/WDKXosQqtwig6mKDd3BNHJ
B5t2mVI4eA00Ud5/bZr+50c/77vnW4cD6yD5Y1hPWQdaZq/Po6kMKJzL4nhqeuC0ejEeYRZZqwje
etVrI7NITYpSzUf+YTzF9UMGc1NOhWu7Soa9ZAWsOsQRcM1wac+uNL/tNKWsS/GkhZ6TGbINwc2f
uH379wmj1Zl1AyPMfT25lQ+BrRmiH6oJhXjSh+Gxk43AVhLzct/GQoKJtnduTd6b9G1Z83MhlEAo
6YkUT37z4PYHRNYC4bkOX2K3opKrbBTLc3x1rS14aS+gp0eFGiDdlA+/Hpqchwj1uFhFBnOw4aSM
tgZA8ZW4fWmZIImF7IJusYmv8dqKHxlajGcSTxm/v4zcPfC9VwS9f+R+sL0/j4sD+mBqNqDRSmOx
jjXxJKnjth2ekTNYGcyahennH3cD+sdKUahYEAeghUVmW0q8EtvfXhzkUP4C5alcsedmgbUfBrJR
aok4YWIixPzE4jmTxpWBLCCaJiv/28ZMN+Q8KgiyNmlyg9OTtlDVWbyJGlt5kDfpQ/2cfs9XzN3O
GykplZQGnFQgfuY4H8OvWolByScPXYa63MeoEt9f+9tZ41cTZ5DRBG0BDPV6ZaxKEKqwipWTOILV
i8ttR4dfAj7rvpnb3UwkxYNrKnhzg80LEH1JijarR/U05DDsiMea7qZRewiiNTztgiF8Af1GE38E
z5KZDzWERG67SFJPaV3sQj045675R6noJamTL/fHtLA4POIQhIMilkaVebWU91uaIJtinLgpbV/8
nuNI71tY2G0A2MBEUz6k9ouYwPXq1IOqpWOdmScDnF7yVBfDpXIlvHZn2VXYpDSBCD+0oANx0T9b
6AetfMDtbIJOwQPR7jL5onkFLqANsh/VwDr51XPTiKh7POslKbxgBf+7Ymdee+uH1qv81rdOgh86
bhDaLVhf2Tq28c/7M3obzU4DQvuT2aScPo8u+0GUy6GNrFNuPQ/yA4kC24Vwt0l/SJ50pCH90317
t/2+0/aYHuA0adAjZsxWMNO1NIJgRzhpfg3frXyopAcx686lKdKk3ToQ4cAXRs/4szVexti3K+G/
vFMIZGCPAUIb/HtYd/1B01J8cMWWWctGLJrCSb4UsS181Wr76NaO95Y+tM/ls7C7PwELEw6aCwYe
qvBIYswnXIFffCqO+2cjEzaj8CNqlEMpFNvARVilA4K3CuW+2UsYoqORkIDQEf3VKY/wYYCm1nmu
7BWT2MerNSCgIniknFtD+NOhnH5/dMu2Jp/G04gNJV/bqsumTHyz018aUxsegqp6NyvUAsuiNHah
psQrkzk5r6tX4UTpQpMAWHniYl4D1+bKHE3cutRgw283eYOkgL5vy/ZV1d3PehutWbtJuEy9wlNP
CKVJ4KzizJV6ea7WFSw1L43xVTe+tIX3qJV2bRRQo5O6Uk1HbdYm9HaE2CS24oRSX2Mdr0cYl25G
OgbKi7Id4cEt6jOx5b5sXRLP8aA5mkWT2f01vD2i0zg5FFODGbWluR/volTKm6g2X4oSCmhsHjJD
r/aZJ0oHsB2PSuOGT34k1PsoS79lpBwcaOhyW/NH/TWzCmQhqzNoJPfk6mO8KdpVerCbS1ql1Mdd
Nq07vIZzyIzRCVYA+475Ego13cBQknlNAk1B8royFcrNBsMQLOREtrgr6CSupz8RpBYRVA8m/mfG
+3ms9/BVtyjq1u+0xNjBq/JnOJJTVOu1jMfNZcoQJ941Hrh0CsPIcG25Ki3Vb5scEv4w7nZSSeMi
XX/mSox426CAGZ7ShIe8G5jOWbijWV7ulrFqvRhiqX8fvIa7RvJV66shj9XPok5w0kPnWV9HGCoK
u3GDyLMFfE2+64cOZpIm8I344I9Zu09Ks1vT8ViaBgR0kPNGK4R04PTzj87Lq8SkmaSdytEbn9C+
ymxfHrr9yjovmNG5AelLADRMoWM2DXoGD0UluzSZG3X+OBL8W7ZURuBq0JK19VHP9pExmFs16rQX
SQEqneq559Rd0mwFMzS2eSPHiC1Ha9yPNz4HYOdEhD1lFye+tpmHq4o+j8QwSk6JLMcXNfClvefG
9cX1pMrxA3od6QyCw9MsBvqyYMa4PzE3B+2vedROJ51J4Mfz6ffhqG5ynzYkI7E2aSsG22h0A5Ka
xT/DIXW8jUnkqFH8lZGGuV7poQhiqMBM/4w4TPdfnBDgt4FUHoYqFmmf8Zsf94d2+1jG4DS5U9vA
9GydvcgjPdWaOPCCs179Uvu3Do1lCDZ3wXsuI9jmFztXcAR1jYfs5oZE8hiXxSajGwMPO9tpno+Q
WxGZwTlV1PIgF7K3K8da3UZ6ldvBkK6pUNzEGzN7sxu5Q1Eu59nOKI3HovuELmlEE4hGjtZJEFW7
P6d/n/pXFzLWiGoAPdPbAbvB3GvVtR9XZKLPnYM43MHaxpt2A4HvxtzEG3hCITEXnF1HUfSb/Cs5
N5KjpU63BouerMy+YqLGFAln6cpFBP56KwkS4pMNDdLnRCMplyLPG7bQpKjaT7hUf0a+Z67EIQuL
SkhnTJ09UyPh/JjIjaoKRRPHZyV4kkYku8fz+1CtEQ4t7dgrMzNnIBWVitJQEiOc4O3pCjNS71Hy
gn0WbTPPdWKq341iHnLJXHl233ghwrmP45tFISiDxb0RCdFZRFxe6x/D+FT0MOmdqUHZkPLrYb69
v5OWlvCjxdlG6oSoVjmc8bkcXgSr3CAm6j0L+a5Ea/6+pYW1I6ONkjwpfYPH62xSDQEVSDmQk7Na
klBvg30SfFaS7mWUq819SwvrxyUDtehEJESMNSepMMvQqkc5ys5DZsBdpjnMY9A7SHyFSYjCkZPS
TaSFNMWtGJ42/PWBAMUMTouaBc1uuJ/rA9GVWSB3xghlT1V/L3pnGO2KtL21k/1tnRyluLBLcS8F
8UFfZdO7nd9r27OVtOIaNjBRwnb/6kMTGKeHpPGc4cvKGG/gSnT88ICdNqpGxXDOc52GWW2GUZGd
BelcaZDUVt6+d59C65GMMTlRmBLOmvDrvtW/D/Hbmf0/q9PJ+RCfDEPQG2mWZecWBxe9l6/az+gS
ntpHdQNLrZPtQVU/ZTvxkdbd0/CUv4TbeD+exU/yp2Ff77Tj2lG99fdX0/B3D374oGRKHdRNlZ2l
WtgI8PJoveok5VESEVoZSweV0W/35+DWOVxbnN1opd+Hnjgy8W118UTc/PicVrsi2ATdC/qEtFrs
7xu8CUqI0sCicIimhD00INdzXid52hKxZGe4gZxWEjaeKR+SdEWpZ8kKlwf/c6eRCZyeBh8m0qoK
0yqyMT8rrk2UJXxfxe/cZrOmcJP9ikgk6SwgjNcmXK9Pea77xVlwYU+iCNFuOgRVbUWplG1d8G9V
H4mbrEd6NVb65Av9PolTeUZ+vD+jC2eUiiYkFvR6/31UXX9IOrgBUYuWnwO14702qZ0+0EsCRfwa
YcXCrJIdoH4McTZ1cnO2dllOoZa0XH7OmsFOxf5cgkMLaRy5P6Bp5mbHkrcTSGHuY1Ie8x4RS00i
bWyT4mymcbsrfBGi6mZc0xBf2Pk0nFKUhbeOnODcSuWPRVQGQ3GmbL3T3O4BqopL+CgEwzdJMH8M
8bgvvJXTdlv7JMj4aHT6qA/70u+8ocnMqjgPQnaMws9FSVasfEiE1k7L3ja0BiD4sc+dVBDevTI4
35/ZpQWkyZYtS00BjPvsWLSy0ftJKxVnt9Z2TV87bdtsayFbuSsXzUw5FlLjFK3mN5Y7ktOycrU4
+wIF3QKcnVCbuyHX/7s/nAV3CXL5/+zMbifTD7QOvENx1oyjXJQ0w79JKZTtT1l8oi9/Bd41/bb5
tjQnqrmpOZV+t9naeU2TRL5Wlue+SuuLmoX65yaLLIeqIXJUmZxvQylcI7lbcjOAJnhwTJ2Ct/RR
RkyqtVCT8qyF/kGsOdyFrUm/yK1GyifYuXhfNWO6F+I17sqFyYXvm7IqACUqn9psciUgCmYOK9J5
1DJ0FM23tjCzTZ9GF42G1qA2DccSqITeX9Lbsz8VB2SM8g4hhzJtrQ8HJAKEkMRCVZ0HowQxIcX+
50rXw8t9KwvB3CSTSkCnkZ0glTvzZGmRiEKQqAwuGaJD5Q/6g1ZYwUYRNA8qHrH6lBVd/zkUGvq3
9UbYRbx/DysfMd2t1xuKjyA/hHAdGgBUxq7HqkdmHcWSVZ2VspBttM/JuZXWDwk64eM4gGw02ok/
xNUSJ4ubbBt7pUU2NvznBs4phUR2ktc0tRkgW9ffkVVQ1ZM0qc4NmYgt4JH6MIZJsXLxL63sRyuz
SKM1S4pWAclFKGi7LW8WSNeGqt7en9TbQzqNhYt30jyDqGFmxaWbuwoS5lRqikeldkOonPRfoezv
Pc/THF9vViA+t74OgxBiYBLENuflevLkIkgUwcKgJg5om/vSL1lyM1rWS2PFq97e8zyIdd4AMsCl
CY1wbYkMp0ELY1mfq/K/tv+sILSZvJfuik9dmMArK9Nr5MMBTMn89kqR1WdSdyiUwFBo+0gVw3II
EW+qRrSFpMYaYc18bxCOUBSmtMR9DKP8PIM3lHT8WY1WnsHNdE6eFyUJcl9deQjf+NK5mdnY5DpP
x74wAbSbFVxQkCGhi939dhERlauL4f8ehupIp0v2j3tkbnd27Y5d3sekisuzpX/uwn09vPfh5/v7
fvIVH33JXxPTHBKJUmqYOzRPpTIcV151NqLvcoX4PHBStNi3tLPA5U13jarZ6DaveOu/itJzs3gO
wCoTxwEp7+vdUoxJmefugLtWd+EpeJe/6W/Bc/vgPqV/DMd7yMgYoUrvVMfYewj7FZcy36syjRm4
LSrkJIumss619QG1Qdd1KasEsa39Sjv/GJr6ppC0ja5aK6HTDfJ8bmzmrfPYl/3Ek+qzFZNE2okw
BSDllw60nbWIbdmjEA0PfY93Oqhpb+hbQU4r36mbEo5QzdDcYO9KVjt1r+dyfHCLyjCdOArojtMD
BLs3eVuJ40HWY3A+Sq5XsVOM7fjn/j6ZOxFGAQCUlQLVSFVkzprFu9LT63hsz8rQhnuB8s8+GvxH
mpDCgzuU6dodt7BE08HmqiWZB4JhduSCPOuUJI67M52B8nOQ1MJ7NSTGUQ86f+sKbYV7yUcSi2LV
OkqUC5s8V+Dx1cPW4XknO9koH8I8J9coCPIxxBihV7LacTNPQDAvEyGjTpc9URau/HorecKg9lAX
d+ewcS1bl7NHzSqrb/EolU+xEip2T5pwW+hZcKRpR3ooEShZAUbeHuEJ/TWV14F/ccvO/HvapUqe
ZXJ3Djq1eyDt8yJApfBVLfN6Gwh9dmoC993wlBcpb9f42P+WIq8P8lRCwvOTTedVOwe/x/IQU0dX
+nPoycWpjN1+p8nKQPnIHx1iFHEXKbQENpLQPlkjYrt60voHYN75NvHy7kcYh+lLVCuyE3YC9Jyx
1pHAQPFN6SvDjjrkG2O/wM/mpfGASF4Ba1MbvUB/2Dm1pbo2DyJIZjNXc3Rx+KQHo7VrxdY7CK3+
WmZF69DwuRWID+0uqVGhStNs5dm5cD1QjYW+F+rmKcafA/BSLypjXwz6s2/9bDJ54w2IsfqfkdE6
mJF87l3QWPKOQPCVL7x/LBeOyZXp2Q1BkRg9mgFV3VTWXrTIfS116WtvRS9V+xAJpNzvm7uJf6ft
Tul96nunIg43/fV2r3K473ox7s9SGKJKpm5CSH1ByDqxrNiZUDtKnR2FHNiKp+5WbN9e9te2Z/tc
TdvGKI20P7fGgLpYQWPOKG/aeN8IPxLXcGTL3Qwp/B1qFe27YGeIpgNkWonXoI9Lk/73dQMbLZ0l
89DNCsWxLfqS9Q4bmy5UkTigpadvqP6AuFgJPpZGzRXFx5IBoCg9m3FjsCqlakcOWChQe3Q16aCV
Vvnv+wiaxylHo/B+olfmel1NxU8sMzT7s55ol9ZHeVelQfA/1YL65X1lHRemjyKcCqgTf4XvnH7+
IVLMDK+miKQP56AuDoGv2aX5uRiOKo05QyfYkjU+aJV1StEQ9Kk7M9bB8u3MOFTGrxTgd1rG+/uf
NI/F8d08VEk6UMQiMTef46EvXS0vgvHsuSqv06avYM0FfhwMXMT3Td0u54SXpJ+CwXN5z1/HFnKe
Sjom4xkd184OCP63bqakm/tWFoIOriLcEdw3AOVJAszmuNVSwQtK6Rx5bb2N46A+5qKa2bmpdvtu
EOTLQOEeUmjP23mFYmzoiTc2sOuaG60d270Uu8ZTZGXpzvOT4rnOYmlviJ3h+GWDeqQvNcrFgsh3
JeBdiAtJlOBaNFK9dFnMuTXaPB7M1gyV8+AlGzIW6tbfNNYftbH1fKdBvzY4oY3GIDQYwQaCxfTr
OJ270s7XkokLru76U6aV/LBNqYsbgpbwKfqD7qQ7f3Muf6AuuyvWQp0plLm+QtH6II4GlDFp3s/p
URSrizpJSZUz15+dbIsHaRPufikP7mPqRK/3N8bCTscWLz5cKVS383aGsclET5ewVRPfp/lnBFVL
aw2+dBsr/hUvmSC1bD/AQdczB0Vq61dhopzL6B3+vl04VNu4Q1DSX5u6yS3dTB3hnIZ2+FQUmFkK
FKUwaz1TzvE3XTgY22I/hPu03JFTEx7GzOkOmmQna2TTC2eYPKhMQxKYsCkdej2+sAvYpMGonUtN
fxiKQXU0LbK2/7xS+OFJ/XNC6ZhzxnNF7gK1j0rzXEttuTGiOraHsnwa62BNVH5hT7Dv/iraQHlE
JHs9HFVuY7n3ZPMcakKw0Yyg3qiNmmysDFqb+4NamDk6TkUA+1C90U42u8xEpaoTPzTMs1CoOlIm
solaZ7+mjLY4oMmXQ0EJgm5uxRAqpc57wTwnlVIeW6LQgFukCb/USJpc7o/oxhZx76TNAt6ANArl
jevJMwQvj/Mgts6VLGaXyPUyZSfIaKLbJc15q1Sit+YAy1DTVaAvnjbFLAYKaH8zc8MQiPVj20Iu
x3K/G0qHtO++axJbicbzUOxU+rT1srC90t3zT9tWoCzpraCVb9aS/c+5476kIwgU8Wwtpc7SgqqN
vcuQQXuBkNWfaPTWRAYWjMA6DikxL0D6DeZpObNAVV2wTP9y2q74jrXfPNv1omBJXPv8ZiIOZ+0a
u/GAEwzmw2dPfuvD3WHUTZbQ1+hfhuALnuSoqSfhawR/dgWnXDzuFPWoRW+5/5J6gyOXz54sPva6
U5rWStC89CG0GrBdeJmAPp5tT1FKqirEGV9qNTz4QUwTTVnntMYaqR0Fa132C9bIw/GHhyDl+HlT
leBKQgwzQ3gp2tHmYAIqbDeiD2379v6pWzSEVAtROBcIGLXr+cXn5lFTuuHFNIXHcewOVjL+DM3I
MbxVNoRpiq7uGOWv2A11BQUUBS/da1taEqsmTbbhJQj9c59/S8a92L428b7tf2oEiqJuhxKyT7Ry
jOTMQItSIrBLVOHD37oQn++P/IacAW9DAoa15BanGG7Nhp4mjTRUYhtdBoK/fVCFqWJbVpfbeec/
WKGVfup7VMZli6x1KGX0HmuRf+xarXtkKn3H06rVRuiba5hrQwKvPLUnTty/k9f6uN2tHFHkXo0u
bhe/Iet5isxmO4itLb9lpeIo2T6lrEz02JqiD9f6aMdrz6TbcG1i0SNBJVJzovQrzSJeRAliv0YV
7JLpjzxhX8LoUkR7Xz1mxrGS2YYCOBcxsu8vx4I/5g1Ihor+ZHKZf+u2H0YOE5dnklWJLsTPdjAp
BeR/Gn8NF7Xgq7ihCTeogxAMzMfW+p5YakAlL4Fk9k6Rijw7W1PY3B/LDQScrWVMlOVQ26L+DPT5
ehnz0FBdzeziiysnqHzvSo30vV8fU22vCClkQ4MTtzBmZL0t1cGmNB/b+D/QlpsSQJgqPCdutHLO
b+refz8JzjtiuynrqM5WVfe1XHNrQLCxH79arnlss/KX1u201PpV5K0zuK4tDIdB+Y1gZx0Nu/tT
sjTxhLETkfVUkp53nglCl+pt5ieXtAcHLPWIKGkeHLz3rSx4M/gpJngYqoYkEWdHOgzVtJOSOrkk
iFspRXAcxrcxCV+F5P9rPGBPaGIHAEvm7nqFW2qXra/qTGeaIXN9rL1+ZRMtHQhykNBtUExjLLNr
NZDGTpGDILmUdA44Vaf/cvsG3nEhXevZWzrxgC/pcWPyuAnmcWsUAz9qijy9DHsRIpdO30XDodcv
bvCpkc/C8FaI/37aocMDxMLwQCPNyYoBv45JAjz+ErWyhthkK9iWoBxF+f3+hrjJ6HLKkczmykaG
RJLnGyK3Mm/I1DC9qMpbDZOwI5JQtN5rGAvLT6VcrAxr4Ya7MjcLKt0yNMZ4SNOLqGWwewxKu2ny
+ncwQIoft1b5oJie8O97HpskQajBoIWrzmzqbSW50ojNUPo9NvFOU3NHGy/BP0Ohp+gcZTzOFcEC
ElJzp+a6iaDGVXrxAqcOrZ00bPt32s1Ssggij+D7K/eXG2kWLWCOPyjX8J43Z29DNzVD5GqS7BLG
o/ekBGqwdeuoPctV2m/E0az2nSf2m9qjiljmsrorSll2DEFHacSL+p1K8trJNOTSSkGpdkhXKTTa
q5bTh7l+LPpenFQi/I3c6Zod+mH2KCaVdLDcDso7D72vVK+bXYm/2gVWP2zzfIiOZZiHT1URaHZL
98B7LI2G4zIp4D87nLjnp5+iQor3ZYLOeNtQbBSKeuMJsv9Aajt/kElvn6qxRJDFaJr9/SmbXPh8
xhSK7gi/iKQLrMkHf7hCS5nbhh9ml0FNkr3iSumOmL93NIMUc5/E0q4tjfLdipu1fX+buGdvqCIl
LQJk4ql5dOyPllIlKu+2BtoGVXJaSd6b47ELLr22j8pwU4jTdZfvaHc+3h/1gs/nRqG5BdpLnnI3
d61gjmZRh9mlM03apz63QX4xJp+8cs6WXMlHO7MLVNYaOUNdPbu4xU6J3tOTqAq24X41J8rw9me9
xhq+5Es+2pvt/5r+dg/wTXYpg+9m+6mDqN56iGIyj+ye+1O4cNWQ+gFMOYkmTJDN642TGZEHmshK
L4UcqMfWDKi8mCgpd3H9+76lxUmEMZYcE1TaN+pzbptkcZowKLV9ynrNMSmU66EPvd4v0txfQI1V
a5lQeWl0pOPpgCLmgyZ9tnCC1RJ4tgIO0t9I+dELfNssfwTqWyc3thaHWy85mFq0MzMnc/1NR8Ad
2tqBV6kdCQ9e4xBly8Gmtp4GMX7QW7TeNOAl5tv9qbnh4pz8K2kWwn/WgkrgzJHXvmn5oYXDyzdT
s64DgDQrHQJtbyseq6/0t6D85pc2jb6v900vrcpHy/L1+hvNaAauFmWXtDadfNR3VR5tRmo/gtnt
crfYioX/mTa4lRO1tMNpSZuYYyli0O96bdYsEslXwjy7mLRFVG3i+OmfwPql/w9nX7bkNq5s+0WM
4Dy8cpJUk82qkl32C8NttzmBAziAIL/+LPres1uCeIToHf3QjqgIJQEkgETmWivJe+m93h/h3tF4
YUoMP6eubfpex9xavdHjaoA+nUbmZ9cG0NNY9T6COgZ6hJNapiQrGaOYduGoOTXK0OJM5s3bak/+
oj11tAt58UGqX/cHubuMBg7+7dW2Nf+6ns/KaKbVZn2b5Gnhd/RTCwZ49Ul1y0j3ipeZPKu9LD2z
Z9LG2gHBB4Azeldem8RLS+/sqeqSFfr4kE6jx8aqa18zqBmQnC+PHrMyH5V65ZDzlR/HPG9j6qEL
xmysUCe1i1/r7E3hQM3x6GqMHJu0Y0cdV3yq5XV4f4L2rgpIMKGMA5AC7knj+muZp6ZIKOKWSrnH
QMKr65NLwAvOWiWDNGMvAzjvnTzbcwsaPyBgggYr2HPXjqxK3SU8PvHg3zLvt/Pi8teFXbsSwo0i
xa8b7hBr81tVfyPWKU0hxAO9ycPU/mBuFnYumCrJ/Xn8Q8gSIw00OEE7OyDv0UpbeGdNXeMt2ERd
Mq5dlFaPEGt6Gw0vMAs3ovr0NlW/IJdj8wfev1Iy+d7nlTwuFgnwVEa0Pz/m6kGp0A1ufoAkOiS3
H7LSrxWZ5s3NrkdFGXCsLekPRMgNB0FdS7vNS6VLbGeBXD8NePrssqdBVY+0Ld+RXG8kN+neMxtj
QLoddRQUU0R9gtzkg+epHDPDMnbIe45HPwE1CW3L1qDsdfKQ497zuc7pcbSs5UUvl/pQGJMXohyo
y3xk87CbhcJhAM7Ull0XQTXmRLWpUrouMbssotpxoH6anRrnoVGC9dVwFnRAfKl+StxjW/4bq6Bl
6KhAQtDEEDwTGbJlXN2mS9RCiwGsbyFSkf0ieee7mfV33/E6oNz9XjVx1XBfcbPneZ6DuVtx+ysf
GWTZTJodO+X3YKB9k1Q8Zu/QAhkdmAu8diHKJnxeh85atsqnLpm7+TsiVS9QBshHmG49nvQOUihG
5QIexhQzUqZ2kGRC/sQb4uxgJVC7gfDXpv19fSqM7tQobkM7KJOukAylvEbOsXSz6ZuH987TTO10
Y7Os6E6J/XRkjEIszWPGcBrLUu/8xcm6R9Ucsq9dM6HMD4diT1w3u3mrnkE/vDaqb/dXdDe+/wNC
x+EJuoaoo2CXakY7U4Uf6ctDa/GTTVO/bBD2zllUvxn2Y54Ga28GkK+SRAl72Qk8LqDKhQgQcvOi
9JcG1by24jrm66N6JL6L/wzUrmUpif9jjP/YEa7PseKVU3qwY9e/nfQ5d7dOHq+k+7b2bgD8QuTZ
vuYOL54s0r+9JrBLNhn2TRoH0yucppQMtHFqbJcCcERo7jj5r1rKYpAZEe4ilxMP+WvcFnqSra3P
3of0OZtdn/VdWJbHmpyNb471VCHeBJAsbBGEKpJoYQsGrh0fr0PAfICPAf/lZiGpRVNzXGZchyaJ
jZq9M1Um2rXjLHgJou8BcoDAAGBzX28uCImrjPc1TbQlDyrwXkhr+qCSnIr6Kc8g8OcsAVW/tKlk
bLdx3rXd7e8Xb281r2bgK2HXth/X/oFrB9M7lE5gyIBje+uIrOAGIjVASBUhcnVruEqTNTQZLA9v
p3xKA8UyKPiwmRStfXuOY1C45nEcIuWDdnrXg+q5MkEit6dJgyauxWg+d2gL72xsvgzXFe2OXak8
6inka73ms+TE2WIx0Vkg2QmRI+gjbiima9s0XRfKQQ5LPMBloSyAQMNRcxvYw9L3wMnkdGnDwYZQ
bzkMJGp40QfuMg+nduihTowm3pKr/SaYwF2Gbre2ifIIUDViiiPFaWcts0oTo9HfgI59tVmD+Xd+
ttZyaszm6HDZybddROIcbBk9GIWOLzbP9RxYOoNWxdzShA1l5ORoAmF3p2VOkEbX6RLOCK1RiAkq
KPo2C1qBpqtkzHvOBgrZlqbdOGum8AHGBL4Iqk9wNntCZElsaO7biBzQGFA21tvYHDISF6a2T7nY
QOVYt2uloScKa9fvnJcIFX5nM/mdddrD6vRBb8xPhe0Fqrn4vKofB2YGWe4gflEPi3XknQz5tTd2
FIo01MJQebmRZZwq6tHKITSBdIqvEtVHJZZ1soBxb9jQhN2yt+jSjTfJ9bArk6BFBHI9iZ2yw9Dp
/qB6f3dmd4RaQSTZUjvbGTk6QNi2BTVByr22ZVLVKPjk9YmbKhFVu0BlbkLG3uc1snMrU97bVoFQ
NK2e7Ty+b3zn7Af23FOxfcDRAWLq2jaqDq0DYcgeWLf31v65OJIIZWcekeMBkUsHGBBX6Pb3C/fp
dLXh6jr1CRjUig5Ex/qsk+dMBljacYorM8KJmJvT1FkazPQfRmh+nt7vz9LuzwMDDyQDUnGoT1+P
oh8WY1qntU8ISDgqiRZIk6PB139hBKEnsvmoMEPX8NrIoDoF6YC6TVazD2iOFkEowc//ltK2kWAA
r/mPFcHZ6JS52jLBSh+avuRY2l3sf35brOqoBRvR4wCrUNYsdogSqMZvqv9w8//GqS7siDFTphaU
zLCzjic3hXBT1vteeegq2Tm7g0XYZgsoP7QvwFkvpu6VZirnstWxNQnQDxDPMRjqB7VfKIAg+R6U
mqGr2xwQfeZnxtzDfY/Yn89/rAtuR4qmmikapCbowxMYBlKMNkSQGZQBIER939S27MKVBooF7nVQ
hpAyEh8/DTeLtB3IAOez1digCjkoOoMqN+AmZNY6aEHq6ta3vn62AWiL7lvf218GtJiAQMF1iqZc
164PvFertSAFJUv/Cq5NTFjpr0srsbKTBNholoB0/WmrBETgtRlFa4ZJt7shoYUG+iNlcWvoMfp2
PVr6FHuZ8tTVR0gknTx7CsvViC1LOd4f6Z+X/c1EQ+sTHR5BlEb97PobdAdyVprbDwn0w7917rMF
XL+qqNHiER/tJSckXLpGCa1Z93VnaHyq0SdlNY55n8XMetdyWTJmd+7xwEHICqEwAG+uPyhPbbfl
0NROQBVbrcJnIFDnqyThsY3qZtQXRoSZz9oFXFCNDYmirIfFpr67vBj9Dzd71VTotEgWWjakLYa9
uHTcvNQVAsxeoowd6JlT5S92UuutbNPs7c/tbfi/UyeGYURVSsTiQzKmvtm8e+7qj/pHIz2Gttvr
dvZAbUVrLKjEivE+Uzszn0C9TvBKQncjPcryEySf/EEzo8WSTN7+oP4xJjhoUbdWbWUw1ti/Pe9b
5p5RtTaQPL6/EfYOnK1YDX0OYGVt0e04bRE08GVMKN5HavOTWR8MUMGZH9TqXc8eq/bjvsHb3b8B
LPHOBNYGiWZXfM4XBlt1C01jEbXToJibcLCoT0G8AMDeU4/VUznRg1UVvgWkzb8lQ0M5eAOkbGw/
oMd0kaLsLllWVC1yW8Q7I6Ar+9EfmP5v5xR5VQjXg2aHcBJCl8LSZeNiqattI2ExvfJTdprs2EkP
mvJoEBbmMuTqzS4TrAmRBKmUqVpUqwNOL9HSKZjNwqe6DFB9W37bzOAFsnEmsHqecD45jZeWqed2
CVWQh3FmmwbEoQ88UxUfbzDz82yUIFHgoXms3aY96IquRC6ZjLhfxkfcltRHimcO863aft+ldmcA
aLLt1Q88nhixeRAErXKWdkkemNWvfn23ZcpzNzt/G/yFBWGOF1Kiy1sJC0OB92TXxAbOS2L56DP7
bGSS4dxm2q6tifHbRK2snwZYIx0oqJDvNssxQDOyoGrdZ7Vlfo/s4ljmPk4H6mjH+7N58xQRrAsL
rYzzSsbV6RJLSSGHaa9pUDidDC6w7YGrsxRWAN1C8QdHjwVhLeFuQJDjshRjdOvD2h1L68gUMCdP
NUp/jmQ/7k4ornk0gLIRdtyQwI1uKSePVzSxIKMB4vkvp3+jsxZ1Ffp/hr2jRcMyj1vNLYJ4RXJ/
Pm9zbttQ0WYItwaUbwHDuB5qs0BYrO4xobmJnibtb3AewtYc33OrTXipPDPHfIDuzqu9yuQ9b+6Q
P5Y3nhM4w0gsCvHc2ra1ZlUZTUaqHkbIZik/+sE7QJDudH+MezsQoBoNHbbQyg2Sr9dDLPMeakQ9
EiEqQUfzjLpGkLs9YBKoJkp2x617Ym+BDAOlu61ZiVidYNPCTLfVaEJWsgbcoTaiilHWC1lmRQhd
2kax2FjYNOF6mCo+peH9CdtxSaQn/0gQ4gmIOqXg/wohNu43hyb5+zCVfstdfyYHSL8vuRHYacxp
7NYvRPly3+5Nt0HUnND+EjH3pgoGrQ7hJOOj6ZTaUOAt0+vAyuQIey2OgKlQO+UAsRcd1Wi7BO2/
msMZ8iXg2qIbEogRiA4YOQO4C0nGrO9eDTPnUd+o7yvkqY8LuqQGszrXca3QmKYqoiJTfW3NLH+u
FseAyBKZoRRjsrjoXUh1OkovcYzty69PlG1k2OAouEJTTeQxrStlrkFypFCMPir7PAK5JW4hRf4Z
+b8Jna19fWLR/em8PcUubdoiyRIto9CDa836RPlan6vv3pfJr/FmkJxfe86IgrxnQ9AVhVPxrWKB
5FC5dYe0B/olBkyFGsG4qlTyNrhRV91cAyruYBgBb4J30fYZF+G60vQthI3aPtGtxywnX/kyBEBj
b9L4SB4dxq4MbcWDnNocqugHnWXrS76CJInWVG7x07Br+ApIcG3QIdtbkU/dDCUCFLI7+nF/1m+P
te1DQW9FxwnE4uL9WBl1h9J+3Sd19bbyx+ycgpenScj2t1c+jCAi2ZRmIaYpEtABV+Cr5yIjp6ef
6bg+lQULptx8QMY59HKJssLt+QljmwogpHM0G407rqe+ST3ovlQ90nMOgE0VPaplitBK1l9i1wzK
hKBfb8UfsTiSj9ig+qD2yQiZo3Bt3QIFH0M9QltBJu28O314x6K2DqwlEnbXI+oNCEVxU+uTQX8o
PBWyXMccTDKSfc1GyeTtbXxUfKAaAvI6CjHCUVoUlGYl1LiSqVB+1VsfB7ycZ1/tAe3QkClXu68q
lYFJd42i+AMSEpDTYIxdj69d2wwUB+SEnOmQptCsZYUPcbc2MBDD1M6hmn7dd/pbxjK2J27W/2/R
Ft9N6qq2utLYcMiDdiJK+NUIzHiJq5D5adgGPECzgKg/GG9ukEqOub3FvDQtuGc622NXrwoWU0mV
N8ujP3JtDLue1r5Tzw0ENgxXUuDaNYk2FsgS4ShCqHg9v71Ds6bc8jO0OpkRwRE+auBkHLJaSnW8
yftjYqExCklnSN9sznptCv1WNJQNkRRZ+PcCwXZQmrFe2aFmnXLXiqn66vWyvjk3yvjbYYu+C5u2
Kc4XhDTXRrtsQMazyIfE0sL2Oz235+VcfkpPSuBEUND90JXQkalj7t0jAE/i9YvAGz1ZBJturo+G
1tIhAeoCYJsx1P6tWOufUeHIhEINUucgSF2Pqu6ztjE1PiDUfS2b73w4EnAjvDwCEzzKsyYwc1mS
ae8KhoQjUEywishmc6SLW8tVqtJcegN5s8x6cD7KdjporwSazhCi+YInoyTKkJnb/n5hbsjI5KSp
OSTqsPgpOscwCqmlqvnRG8+a/tghj3F/3+8aRGkV5T+QNG4QUyRrHWXqtAFVKWuNM7dCh280Tj9U
TVMfvZmPUTuiLpaiM6DkXN27LRAhboka1FbxuL4eqtsbJZQNbczsMG0BaT7EmVPWYZuNJLw/yD3P
3EhXm+wISrmiGi7LKV/6tBgTsrQ0Gme98Z0Mt8Z9K3txw6WV7Ssu1s7QVq1SvXJMbJL6RWlFZv6a
ZWeT9pI12zWES3bDdkGGVqy22SOzvDGdxqRXaaAreWiwc6F9HT2ZoZ15QwtbbyOMAQsPhbHrERWd
11ejk7NEr8s1UqupeXHSrJKAN3YcAUEWXutoFLqhkYUDkpF0zjOGthA458/AACVrju6bVn64vzw7
ZpCU20hwEP8Bn154c9Wk8Xqjc8aEFY2PsrqPWTM0mZDUzsUCDDCorWjCBmcQKaRMNdPFK+opyW00
jFempgy6efjNAK+Ma5AQn7rZHiSHxu7IkDhD9Lalp0TuflXWukaVHDaLv8b8k1G/KIXkYbfjcrhE
UNuFrCTUTFzhGIR07cBdAN6SQUUhjMyWHiod8KMTGhuGAyBpEhff8TwDIA8891GNhcSt4BOAD3mL
nltT0gwejZfRXqGSBBnW+y6xt1jYQ5A/Rr0UdWvBJax0dVK7midkiSDylfZP7WoFxqtGu9glzet9
Y3tvcpDEcKRhIyE1LF4lQ8fUPCusOfFqjb/kY22FntLrCdiY1lHBezbIqQdlUKroMVEL/YHpNov7
Ckpc979kb9ioSYHhjOBn03663tbULFHndso50Ua7OZgKcPG9xkN7bN51u/q0wL0lHrqTlQfEDrk4
UL3BKYOo7rVJb+iGwTMVlthrgbsTCNWw14oi9rpqRK2za1+msVFDxBbKC+6b7rHOPKQsVJBGVEeR
dVPfia6vvka4ehQkkzibbZbwUe1Co03HiNmeEkA8qgl5ZRQPU2eAxzcN04PGMhmyaOfOBaoIwQSw
ypvgp2Deo2PR1nU9Jw0uWqd3vzvD81jbwTr+Xul6zFNV1qZ+d8AXFoWDHERMD022YZHkaIXFvtFz
lfbHjUkFYT/nacm/3vewneMCaVewr5EVRKVXvHBbMA6a1G55skLOt0lmj/vpgtyPrKH7zslnIkcH
WjNI+7ecO8NhloW+FDwpIY8+oQMeqnIPjfZxfzQ7VlDKNcFdskA7gtbntfO6wN31RJ+XpLecJ0MB
1zgzSaSMg0wrZ+fUw22L9rrAUIIQLCZU1XnMVqjDrUnJbOUBfTaGkHY6lQRet1Y2oIMH78Oti/8L
e5Ha80IhNssSpWgB0Ox9UwYnu50wWACeFo9XUFOQy7ieMJpnSpalcLdhoZFHwYxwnDJA/2DZsbK9
DK+TcpshxECAFSC2UwVDFcJSpvFxTtTlWTHyJ9pCmHEtX7dCn+5367cm/zudf06zTKb71sFRpdre
IS76juFCFN46ZkF0MyUDT/jPwosYUE9TqBmSS3BvGjc2kY3UNxbMEnatkbFcA62WJ/1C0aF7BIm5
DUb3933v3nEHAPFRJEFLJ+g3i62rBqagHzlaoydq9qnrSn9a/7pv4Pa4gyuAqYJfR4saPDOuvUFj
rOztJlOT3mnnqCtVEzkUm38Gui9s6q35IRqBRXy2asmNu2fYRVYTrzeg7nDxXBt2Bksj1VqogPq7
fr/ENkczNCXgalAwYBOITHt7Z71Q/8VKgQ+LTKfIACvctJpNlq8J5ZOvzke7Yj5fDvdnc9udgsuD
zYScIQ6KjWsm7N4KKSqcCfWatMuxHv7KDTOo0JcbLyirlZjacfKt/xTCPmivQ5BcyMssXcNnw+tX
MDXcmBP2us52OKNZoKOsp/uj2nFCE40wkX7GBEILWwhJkA/u3UJlasJq4gXOpOZh31NZA+adBUJ9
DjRp7Fk86sUcfuoQNGbxuJpk9Rw0JFkzGjgy1a7NnYUFAgIeir/weYiQiZ2rq6JXxlQx1ITW0bJ+
Uio3QCsodC4/GAZUXOs00tUf92dvZ6EgNAj9eoiSQa9IXChgwdOqshQ1mbiFdkxDDT3hcl79yqan
sfJUyWLtuCBKqtBzgzYZ+qGIghWpRk2T2lRL6pceHdCo48Sp9ugCz8QbmdLHni2I8egWjkDkCkRQ
TDvpXjektpYgE18UPBx4ERRV/qnTH+e3+7N4qxsDwQ+IHaAZgemhmCvq4RmLNpU9GfSkU8xDyp9z
JYPeX+/bEOrs1L+WwYeGPgRitNhs2mfC0kjNm2idu9OUay9dxmI19b7e/6idM+zym0RJz8kCebbl
nZ5UXRGtRcjTWLEfRvNQu+fJHGUX6m2yckuvIbuGpCFWV+Ro8txdUdat1ESxjySr/dR4L3oSQovN
qV8q5YwiL5ia8f0x7mx+XA9oKrZ1br3ti120vTmPTqMlY73k/uwwDspsakhOsx1PurKybaKL9IxT
m8xZh1JLtnG1Fphb2oimM2uQ6YtvlBJVuT1rSKhjHnW8fMAVvbZWI+WVV5RpyaBBjL4L9PQZtGA+
hvUg8ZCdzb+9q4ztWbWJumyH3sW4dKvq1DQztaToncgqWYV+BSWDyjogrA2RpbN3/BGpEx2njbeB
vcVSErXmZraWVEu8eQhTO3uBXkdpvWvsu6agx92c3HeNnYcj4kdwiiBLiJorIq7r0c29U5GGADWh
I6FG2fva/jaaMWi05WRZEW+V2E0hVl09eZX3xFKZwv5OWWSLX5HIxWWLiFm8MkpnJLabUey/+tdS
Zl8XSD2iecpJGe2HzjH8BTCkqjcOiJziUlN/DHwJMpudaJtA3vBcxPlT9wrG+f1pudXFxbGLOdnU
tNBLCOt/PS0TQXso6iB50I59aBDYND/3bqLNMXG/lWUeIfXvolBV/T15fgbqRA+YNjkzKFoP6t8Q
WH8qwTFLPdmH7aBRtg8DyBfQQg8CTcJ6ESAbMkDGMF94vCzo7lRmS1gWne84U5RNrr+YEHghy2GQ
dlbbOUYchCrI86JID1CKEK5odCbm6M56Mk1ogMsURoFMV2RVjr3tBkIWRKEg9rKRSK9nfp4trQF8
SU9M+oXPZWgNK1IZRpw2MrW0nSNk+30Aw4ENuz2Lh7Iwcteo9aRZjbCqsxBoF0j9ZH4B8Z3Oje67
1L41RMmujpAZj93rcdUZN6B3goWrS9eJqYVnTQYqbMwhQOpzpCx+K3Pe/PtIAt1kIeSFQtUf5P21
0cK2q9xxFh2gii9W44SAR0eT8jyP08FuZFmfHYwhbhc8SRE+b+8dUYrE7PNpRAd7PdGUNWrRRnKC
hoydGdGqLiGEFILU7o528ZIVP7yufJjmX512nA1IkCyzZAPveRESI5AmwPsb5FNhtrk9a3TVVz1x
l5M3fJ3Ze+m8LbLuE7tWTKQsHJDwceMIp4TGFs/hI0Sy1ZJ81hh/Nvq6PVju+Ffq2TKwyi3mHWfS
xmyC5B7qEjeUrcUu67bCiZXUAzLf/cGrYiDCY2uoHrg6vGXFa8N+dl40Tqa/emqkkzEktYN/O6FD
ZUzNnbFjh0KNGsRlpAbE9nZrM/OmbIiZtPXB4zNEgmrf4u/Qsbq/b27JI8CJXRoSJjlLLaMhvIIh
81GZgVDJqnCZ0Nrd409GU70t7it0TXrt1OhoZrWSL/WgSDqz7bxrQNFGoIF7Ga8b8eFZOmztIKdg
JmuTZlExtuyYlr0atCboBPeHu3PIXpoSwTFoK16otORmUrfqk8LJewUVxfsm9lZu46YA7wf4Jt6d
wqEAAf2uLkwzUZvReh10lHjruVVOHD3bY1NeBdizhyVEJgmvQvBLBXsN+q1ZM3ZPwpYm6q0xtJ1z
Z5lhNkoKXXtzd2lo+5CLSE2b1KrEeYC5o1CIaQp/dpP7U7fnCNjqwErihAOJYPuCCwvu1BPG9cFK
UAyiaEbuADYtAS7tbXMUAP6xIUwXWkR1jlr3FgzwaOmCfDh5SvWopUO8qKdOB5Z47V48Ek78s2ex
h6n/1E3nWY17kF7uD3dv5S4/RZhQdZMvr4GewA1JolYfgm1SC7Rk8WS3/u7E4pJCII/uCsDJXU/s
Yg0L3oyYWEKgBdZACOqsl5K87F6si0Q2ojpUqjdtCsGIZ1MKAQDHStJ6JMSvtAFxZmchten0LGxT
I3vSNfbKzNohQLsXJyMFJaWdnO7JNXMZzWB3cnExgxkLheIbgV7La4y2YamV8OnQTI9seLLOUoeV
GRHuQSjXpQuF3GHS6miTtT6m+WeSlsF/t34XgxFSgcUEjJ3KPCvpq86vy+8mFBOZIolmdp3kwoiQ
xEImrS4qtOCAhMVB52gJ8ooOP/c9fu8IQQn2P4sibPB2ypos7zEOzNVg/pzdf82Ixm2GFUc3Mw9C
I5p4laQeIDaq19tJ7v3stRVw0G+rMeHV+vv+QHYWHoWUP8c7hDNvJE1SiGWxwmxgJ4d01YBuRhH6
P/ZRWxX0GdQx2bj2kjtbthS1KFA9geQTPMDphrEv1cJOZvWbPqC5jvPizI/N0LyQPAtsiOFWi/25
sA+l7deWc3THEzubFfSSokYm8rw7eOSXtugE3XfFFOFktmvZQPMtSfF6q9tXpU9Dp3/xFhnXY8dd
0L33H0PC9pr6ye0A8IC72JmPyivkvP996AFHQdIGGCJk2sUSeoUCvrqm2zrq3O9KpNWBOUtf/wtn
uTAieL214UnzjNpJrz8tzpNTP0I6Zf7X7HKICQNTg4wtquJApAhWoJA8umk32dv2RZnex/6Fdrnk
ytpBAcDK9gpRUXEBpHt7h11c0awbc2tBriOhpFyeZis9K9AvCxkF2MshjQoNfQ8yg3gtdSeNue6h
WiuIjQOTVcX3Z3XnuMK7UgdcBVfNBjS9/hIDaN2lZcRJNO/sWGjcbcdUWijbNbK1v4PsDAB7YnC1
FDOfqTM6SLmfoPdk6I/p8Pn+OPZ2EwgH/zEhjmPKukprYcIzkGHLtR9T9zERcF80CYRdZkhYulzL
Ocg01EmM/luVu+HKztmUsElWBpbZEeMAJbVVd5pgZzits/VWZ8tLVxR/M1USkMoWR3i6WI1LWJ+2
Djwe1FbuD7mL5ja/7y+PxIj4YijmmaRa2zlJqaLUDPoxKx7qNLxvZJuS66ILcp8oAOMBhBIO3Pna
l51pTG2yeEhLor9qhHNPD+xqMaK+Xb2gAGsjL7L8mLujLB/6p9J7aRmxICoGeGCiHockoVi5Iuh/
2/IxXc/Wp3Xy0zRy0bDHJ2/kiR3XD4Uehi/uCWjfx9oN7OfhuTQPnIeOBSU4CAo8jJBY66IveVxD
BjmZjv9uWv58HJAEG8TZQaZQ8KSs5apDCqaeU2r3wcxQUWu1yva7Lld8naedX62T6hdcodF9yzc6
a5tp4HVRbQMTCPlT4b710F0eavCzes5LX09W95VDROHH8pfz0FcHT4sLiAj95khkBQaahL4U73kh
iZVEx/vzBUDYICEIRRKwdq59wkRH9KoqHPVMLDJjs9aLr1PNCbqU5ZLI7wZvvdnCQYrEI1CMOFKF
u0O16JTzoVXPYet/p/73jyn6Pnx0/kN3uD+vNwwr0ZLg6cMEYrCh1uq59llo+ZXf+tu/pgiolKN9
8HwwqQLqG2FcMP+h8T9bh6nwp/cllOzr3RW+HLMwvwVxoNFt4Us+2j8f8az5p8Nnfw2G8OmhDBpp
N5rtOBK32qVB4fztxoyOjfH/DI6h44eM+SENtvGxKAuCAJwy2XW950SXNoUdVA6ZbmToNnZ+fI7/
+st7OTxkYaD6b0fJUXyTRhLXVTiLi9mZpo0uf35kcbg+drF5CuqQPYeSFMGuq6KkCAjixm2yRPF/
q6w7l6HWem59SMl/z/uo/7q+Vq1vp36w+PkU/ir/vu+04um8jW3TK8UxgBo10pHXO5GUKcRVBq6e
Y0sJtFdlDR4SXabiIjMirJStM+xCAiPk5Pn8CfJsDIoDvie5aW4eEuJghIUiaMvF8QxXz9SM26/k
m3lyvwC0nH+CzIATkce29Z0igLD16Ea545v/jaPY6HwHUbCNvyJedXMLGHO9zNo5rH08/yvTp6a/
kNj9eDkHlSwo3g4ucc9BK9BBGRNgXBQGrpcOKQnXBa9yOSutBnG3R61W4/vOcaMQvk3opQnhRKMO
enWuirGc17e08r9UP77Hmh+f+kfmr68APfneM1R4Gv8lOh4BUvJ/SexvN9G9IQrnWFspYNCC5XGG
BkYf1X74/b2I2oMbFodqfrBhGYfLUcHZkkbWL5n6u2yChb2hanyuiWst547wF9duj5MyyLo5bCO4
N0Jha0DYzNZRSV3Oehbnwxip6sntaDyk9P3+XO4a+sNnBAgK2BBhb1h9bpmrUa5nLT+jZ7Q3/m7X
2JSxp/8o2IrjQaUB6hcboREd0K+dEt3Ced266XL+Yvi4B7SPJfjoP8KPT5r/zv060DL/df5WBFHU
+UHuL49v5+FzIDuy966Gy68QVg7ydHXZl8py3rj31rNiP84y6Ym9+bw0ISwcKbSa1g0WDs0d/Ari
mca8+P30tOqylmc379JtF26qvOj4Ydqb3uH1nI6Fobe8KdZzebI+6qP2CO2S8q/6VHc+QUuov+47
ym7YfGFOVKSz6OzmVYXJY5M/BY/PPA95GDfhqQ0OTvAUzWF0/pZ++voTAVsU/XhLoMMlcdabWrUw
ZFEdfq6LrDbXfD3ryzN1GBqxJ6oLOfLVnyfNt4YfyP0oVSHD2OwsKuQacP3iOPU2ttz1TEPiN6sq
zV3P9Yv9BQg0LZ4enP6xjcv1hJa0L6WvoLveU4WGsJkknLmRDseQ0eEMHXkgjgUhQBG36hAIA5R0
Us8s+8H1t5Z8hbAo9qlvrj/qYjys8+cc9bq8Mt/Ggp1KJT1Q5Bidj8nyh3oEE/tI07Aef9C8Da3s
t7Wuvvr9vm/8eRoI2xthAgpWyD9uPELBFdfVJnoFfvTZfH7+0BBQP+Je4D95jPcKQazS9mHzkgW6
H7xlYfLlvvU9r7i0/ufvFwmaJYMWy9As65kPD9Pr7Pi181VVYm6AqBZi9ymSNblJ+29rgssVhS51
e0WKeZimdRljmr2eUw51afSKybwoLVLID75A/IaZORol2A/qe61HuiETaLopiv+xrqECj4gQHaFE
UbbSVospH5X1PD0M0QePw3Y5ECWCxHPwFrLZl8mz7a6ucWFQODbXBVx0F9JTZ04tvwOcYZyDlrUQ
hgj5XxNUtVwS9A300djPLAOu5kXRPimbnH2Y2YfZPPRF5E3IVngQIJVszc206HhIfKOVAiTbwWEX
IhEbuhyjUo/4NM3/7kKp7cdQSfKluyaA3d3W3EHmVTDRj2np9QwbsPYhdrAevTP/Qs73XXjvjWjj
8v2PEeF+rIDjGG0dRtCTPNSDNkDG5YCD1Q7CeI27p+ZkPcWzDeRbCIcaDzgC6Fv+oD42z0Usy0Hs
+zfocEi/A1QIxuL1eWdoHdMzp1PPmWP+LKci0odTP1eRQn6b6bs9x6Xy94Q299rsN1Z4fyr2nlVI
tUJFHlEJgDQiH89pG14aK1XPM1d8Pn0UvjqpAXpdVuRh4ujuSWY/b7S4RZsZpftCSklycu+5ABLE
JnoIgC7wSYK7T2SFXlWOtUjLt8n+6LrEPkxf3CzI89h8N98MDu37QYXE+WGASBm6/02fwDGRHDLb
kSl6NrjuW4cyHKs30gw4BDq7+B/Svms5duxa8lc69A5deDNxpYjZG6Ysq4pF0L0gaOG9x9dPgldS
V4GIwkxP94uO2IcL2y+TKzOSWRuyNgJ7zB8LTffXpaeLhV70C3nSGccIMGTkm8A3jr7eaWevopaD
2EYuZ3Mq6ic4R4JI6nIhDpp7RS+NTB6JPs/5LmhgRCutTn4MCgJm7Lh5Xtg/U0DseD1emJk+mGGT
l7zIMNg/vUIV7aVqHuNg63knVdpHndG0KeHWt23OTh/ACKClhwstTImC006B/OzgcbbAG9pd4y78
+l/Sbj9D+vP3T4dUAZba1WzK24Lrgmm0ZEX/BERwxpsuK0cJFJYHKMQAPDO8cW0Rg20b+U/iNqA9
1wOEih0RtQYvk+j6vma2fRYZgeR0EWk1xN9GUgOJ2QlpiRcMXECgj6hqRDSQqIHWIKvm0HnNnAoq
E3HLhJ8QRqtfPVQ8gdApBrwISCmB8RnqnY1Ak6HSeApt4RCC9WXLJRYnNW1Fgc5AjnVgEAnTJIul
A9vAOTFiIRIfUy5RRb0Hcr1EHQ9YGCvrB4Di5UGKIC+dM89FW3SdeXvNZr2GEUHyr0UTJpdc2aSx
FgMGbusV8BBEWcVWjLTUQIFoTqzbxuYiZmQZ/zTGX9+obCv0OdMEnF3sON0saaNH68H0V+qXydPq
MNzzpLrrd6rJ6t62fghItABV+IU/ne6hSam7Bg+4LOXjHmWPKmMw4OcuD5KwyyMjG44ua3TZSoVU
ZlSYbP6MJkG9kRNddE69Z4ZVYyTqUYuWiDrHaOjXJXcxLWOofeG5eZAbzFMZV0JUGrh52IFGzhNP
8tXt6Z97wi9nf/KE9yVkd/oMZtyeBMJO8YxGswSkmuJy4ajOuutoNANZOPxhcBJNplmDoBT0a7DQ
EpEa6iOtu/Ufm3VtxbhRA5Lv2J24AuvbKtoEp/Y9o1E+ppwXs6Dj7v09s39+x2Rmw8xLUtaJOTtu
9OpYQUBrq+6SgRhULZ5uz+6sQzoiD8bGbw6k5RNbrBd1dZ8mnM32hmy50YqDkCSnayf3eeN8lIds
oPF5YUlnfZRLo5M1dYY87ns55WxvDbcMjFTyOMWAL5e6emjsIjMhOX57oLMPGCDl6LMYO2m0iZPG
ux5EiquMQ9qL36TgIi0N/v+V3ePnmF7YmDgfrpuVccbBBiNQ9iQnBpvYqZ4Chd0v+LWzjxbAeniu
ELChO+j67GHNEqlEP7+tRpYTvUvylk0X3IrxRf+1CcEbxqIpDT2R0wmrUkjydogX7TQ10OqLulLg
7jKZsEco4vjSwtlbsjaZut5z60hIYa1wrE4h/MEZ8yBhRc9LXWmz98nFuMZr7eLaYocqdPkGltRI
r+ADe8c8MJrmHWCK2ztu7n5ER9rInAOmVXQYXxvii971KvhNtv8dusSUK59wwUvKQgZb/ivv4aWt
yaBSpMbapC54eziw8CY0nzDchwDpdA06j4diky2lVeY24KXBcT0vZlGufUnpNRgMxQbaSCtBeo6+
bs/f3Ja4MDHNWakD16QgHuPtmoqxMexem23yqHK6t5AAmb2NLg1NnIms7ZoeJK28LeXDmnFVaGA+
OjxAxG8D1ix37zrxXJ9zryadLy/s+1lP5tL4xLlQuxRkLGnC2562GRxImwCdhQ1CklNC/WzhTC8O
dfLCOVpXgiEZQy3BB1/RNFq72ZEpN9nOT+8HtqNRZfr1qlxqrph9ZlBGgSz12DeFttPr/SKWYh7z
aPazY4hvjOkdXVXQ178qskP3AB3nZN1VrqFmOlhOZHNYagCYK8OhHRpAIwFUzpBknRwQvkwZB2cU
mbiKFtU5yWivQyzYENINF1isvCvFdSfq2lHzFyKnufT5lenJUWH4vqgqRKy29GGGK8kc1jiexY4h
gx6ZJkMd9HSChpg6a+UkrlKPRBt+y7OEx7+MxVjibgBXIfIGt4/X3IP454wALnS9IoFUxi2y06yN
wgFB/vWkLCQD5s7viFSD0DpaFYALuDbgMnnWOW3B2ejp7K0MYrMZ8ELUfUDWdcFBns07QDcJDRFI
w6CDbLK8fSpVkSt28EV17t3R7yq6QQnp5NAlabG5QeHxQHkO3CoQ1JscIBBbRaHbcpwN6EkbAviv
pTog4EbbhGMLNfGrY5Qt8rmMUzV9iwEvBxMQoJSQCZ84L5mjsE2fqYi+VzEUMwBdNMqj9OiQ+GiE
5226XfLt5+oTEC0D3yM8Jg0ln4nFBs3TQx9qnB2SbbHbt1akkNykri7e396GszcD6pES5HIwOLQe
Xm8TaLOEnpc7nO33ry3zxSjr1v2Uy3ViZFYRUB6UNKxRFNR/Cdptzi080rPreWF9Mk5GLHvNSUfr
8rZOLfEtd59CdV24Bwlp4SXZvbkIQxk7COG6IYoHwfL1YDu/xI96n7d7AA0pDzy/RvLhWUgMkL2T
MkSiyCj2SbiKP8rcOIP3JEXGLM1W0ppDv7f7nbhAegwvt9dgZnsBszMikVENARHU5AEsB6ivpSrX
2xA2J0MOniDImN42MXdCr2xM3rm6jxuZRx+pDeols2ViU2TEnVzabb3qin3g7jtG96A9mKWtmeYH
rvj//oLJ0U2Knq+HEIXvtDf8srEK0N1GpWh08M5A51857rbJBQJ6IlK2nSlq8TovF0BSszPN8UhF
A1GAWGSy3dCVXXZ1x/Z2LzSvHeiamSBYWMxfzL+IQlSkYP9jY+J3qgrQf/mAme6t3gp23tpbl8br
wSX416pId4/s0lo8yORlc4YmuH57oecKDjAPITGgF37O9fUWD2qJ66IOFfbn/eu7S1LK0NiqViG1
UNm38e6SlpQrzzotKWyPcze5JC8NTwt9fQWgBsSGerserFK+U+q3NnmO5IXIa8nK5Kyo4IptmwK7
CGpx0KjL62MZq6shQM6NrRnzL02mhpQ2aPRwEU9OTeb9ezJrWun7/SExSwvEBOSeYDZfVFKvc/N8
+lzqK57bpgj8AEvS8Hz/EisPOlbqIQAIYIG8Cd17Xl7qD/i56KaLdWFh6txzQoeOOREWYtL2VN3L
FlpuyOEBmzMiwaO21/YdrchHTDvsW58kOm90a48+oK7y9USYTWVJlKNIr1NGIO1SAv8n63vr+ybL
zESV5CY+vg9oO+QXkfWLzMBMrXTvHJ11TC3jzg6M0Cys2IR0GUloSxgzoXA6bm+BuZcY0eN/1mJK
/xGrrQbcwzDYAByKFJjrVwiW7oe7Pvgrm+3S0uSClJWCK3MNheAYQy7HSceQ1bUHTmKgcl5cFCnP
8BLRxmFF9PYof5zBW/M97siLeDLEbRJr8o/t1wcQ2JMcOEtvDUpi/C8sekeOH7WZGQ2pVl+7J0hn
kTNSvRSyd3q5XYQJzT5XqOAA3ozKPZpzJt8jiqUgON7QYy6KhzRcpSdVb4s7UTjHHKf7ZoLe+rCn
yvr2PMyFg6A9+9PuxBtKZKlWqwh2eQvK8s/ll6MRGpurhVt60c54zV3Md+O3QutCkhn+XWWyGx0N
CdRuyefCcOZuS7A4gAsPhUjEXZPhNI7g82BAY2FG+jgcHnJrDX3JQB8e0wTvwMq5W4i2Zo/LpcXJ
wAYXNQOuhcU8OyZSBbQebSOkE9eS3uy8vSbdoeFtYZQzVStwVSBJjarn2NU6eXEZVpQhWw0s5L7R
kfp79UPLhdwZqUO6xBswu3CXtiaRjo+8sMqHPcK2muyfWxVk4cqw1w1pqcH8p4YyPZIj8xU4L+AS
wlu53iKq1zta3nIAWbMqra1c2YFX8Mht4rVF7tHfRMzSpN/JXnVJZJ22wsOjePeo6WmJq3BpVcfj
9vtbkIeERgBYSaZve1AOQ8KJGPU+eHZPCuU2tLJAXkO+cfgXNu0Pp9ctY5O7v1VAkesW43JuB/P9
1XytrdZSNya27v29RhsSbY8PX8aT8ZbTp8Lq7IiuIkPT3fNyvPmLEWX05pCAZdEFi15paQqSaDs1
jDQGtYCqEZNtH8Z6oUWQbAJsxygBrd9AZc/TtaFLDyzj4rFyemUbJnL66MsJu5ZQmrMCdlDumtSP
8Ney1hIGUTmU+Afddq62cIPN+n+j2iZiY0g347Ovtw0z+F42QKgWeQXdsRSWiC11WD1Y6XgbtfUp
ff9m9NVWWtdEpUtwl/GkTZcOlOggUBv9319o6zzJVK9NkYEvB2Pg3gXuoWdMj6Crd+HMLxkaN+zF
/akGYBd2kOy3G8V+FesMHHenDBOacQuGZt35yyFN5jOQhRRDQhpFSYj+vIU/UqP2axQv6B6SDORU
JLQlHNUt5L4Z8rl6XLjb5k7e2Do61kwgwz1dzrhoNDeKYT4rXGiE7SXhSwxCUvs+FZlvB8IvLEPF
JkfFkZTZhnONUBwebn/E7J5CfgDdcyhbAz07udSrJHMiNaw4O3GtcDsQ7e2pNK3KJUfLMNyXu83m
pLzg1oGk5m3L3MwDpo1nDwVs8ExjT03WOWYEZSiAHqw3Idkj7dIaQ4/5LpBgOgnHmiy4e3PLrSHp
grTLOOm/6Lm7UI1EqKFw9lbwICREnorvBE0eGbkjKIUkVNPzbUKF9eNqdXuo40gmR2ek0EagAXwb
6CAm133e4f4RCp61k9bUktfc/ajaHZSgawDshUBv+KX6yLhxbxmcHCGJTyS1Q6LNDj64dK9whS6r
S2i/mWOKQBtdsZCSE2VcSNfLF/MsI6c5bMTNvm+MgfqDnlRLHA1LVibbU5TTMvN8WBlK6m4O/ilc
sYZAuA9eA4GdLq/wJq7i9pHNjIXtMpfXHjMJSNGBvAi9tJO3ypc9KF40uG1VcDG46lnjdmlsxKEB
ZEne1XoBpb7uS4GsFkOj0k7fb2+aGbwVLgfuhzNp9Fqn3LN+JnJxM1Q8wKP8SfkYoRihYXHKHfsM
ArYVUAil4RjD8bbZGUDEtdnJug6ixyRqCrOQ9JF7V+cToOr2mqm2q6IhKtoeM8XUdHxC7L1J9yzy
HJIu7ppHLdTzYsE7+X1H4GP4kUMCXIZIeUxOTuO2ZYhYlof7t/aJt10q2ox///qgXP/+yUFBCl1o
o3rAYEFzIytr0fcoUotUGrZJcRahUc+Wey3Q836dDvuqWdpjvw/qtf3JZCMJATafcXxg7kufumMp
PTih7sT3ofM2vIXyQWmp8pmSngDAenuhZ9zda9uTo5UpfSPkEsYeRRQ1q6bMCJMeu6e8XBUAShti
uVRKGB3oX7MNPhww+6PDFNIq11dGzVd9KOXItQthFQGuyTYgTVLqCB2USiuL59Dh2XNd+o0OJS8Q
2LeJJwkkKkJZJlCdB7awiSWhh8SG6m+HOMwy0ntt9x4Obf+WsvHwmSouyEpvT9TvKwjzdPHVk7Bg
6EGRrMlACBWQJWRLeSUAuB16W6krITa5JNMysyPQtTACd0ew5y+9G46rMjVFt5TtS09ivlaDh7g2
bw/o93OErvxRvAxgTnARTHEpdaS2QtI3IwYmBpwxon1erhkv1JXsUYj0Noppmi6lQH47O0h3Ab0K
Ig7pR7f5eu0VrdbqGtTk9hAWgeXF0VvXeEtimTM+BaxA224kaYaeyJRTOGnF2HV8j7flEvj+aFMW
xBf3NShlwsgxmwbkXGUx6Gpt+vEzyFDr+BQnOZGCjyVs1UzxBZ8igBAETwiER6Zk0W4Z1qBNjnnb
2WcPOc11yVj7m2xb6oZKBiMRibDgy82UoGESOwfvMaR7UXa4nmPGU/ualVCq608pKZEbjqmoc3cd
vQt16S/4b8hCoyMbFUh0rGNhr60haFIUv40AIojwEgHGmH2ybzyNqU9VjjgeqZ9l/J/37dMSMfFM
5IZqJGYWiCMejYPTufV7GfpacD5sLyWoY/XEXznraqvcVUjebitj85Wvgbu3ETouxGAzV9il5Z/X
8yI4QV9mHLl8JthcA2rizGJbUHoBumkMke54CzfP0jj5iQvC8APowhiMk/3O9PxO0NfuJqZoB3UO
hSGiP8xBArGyQo/kS/W02aN0Mcc/gcPFSCt1EGMnhO3s2FUEzEm6uxXQdEdZz6CQoK23mF8aP/2F
lM/V4k695QoePMRYYFjJ9PBNpNFB6nYSZR/gYETBgoMx9woirwTqQqQG0S02VQZKKiTXVK0DQqXb
dg1tNPLpSmam6QBHt97bUC5BYuYu+AuDU8ocfuC0wWsaPLtA8Pek4wkPP3aHHndp0+7enKdNhBhk
KXpfsjrZSUh0d1XewWoX79iElrVVy39pZOCNAKcHLvlfDLdMy9dVGAjA2/CPFSOuoSOlV1xAJN7O
BaIy65hVX7nku3TMiDf5YMU4q3ZJQmjmcZNAHgyoKV5RkAiOP7/YtpEXphnrJ4Ld0m4dvddr18R8
LvlOPH7LxJO5tDJdxCztIjQgwoq4j4n42ukQU3vNn9M1yvhLCfyZuBXvPQLXsc8dNJvTEL2v8MxE
8s+Q9HglVnDJaXevPny0H+qHzRONI/KW3w8HdPx6ppAR8T5ZivZm7r2rb5i4bl05SGEq4RtC9N+A
iMQ/ChuoXrfv3pJu8UzcdT3cybviR2yg1ONwDwORPy3XIk9E2HynhrYql4pRM8cCLSQATY1TO6Zj
r3cLU/RO0I229pLxubhL5n87YjioogKo+ANZuNiLNS+7qSakgl2YECSiZry6961SZ00jfcE20W+7
ddxMMIPB/Glu/JwLc0WoQPpOHdeIFGb53VoAVuM5ZA/17lyvmiXOwjl3A5fmiOcGfgYca+MhubAn
qVyehUkt2E4ckHbTCAav7oN3/wQOFyIem+KeHXZlki6Nc3YvashW46IBtEKc7MU6QDKtDVve1p/5
zYBQJaB3Huns9ozE0WkJrzMDMhtzVHgFwMoD5idx9GwvhlmpYd17VQZgSWxkrB5q1Kl9PWIjNDGG
hhupeuJEmINdloEIM4MUvHDiFDhgXms0vc1FW2/YRClPy3RVAQSS7UJeV7xzy1GxoPKr4CG81Nnm
M0IdJbIWNsXcZI1UQqCwRhIDnPjXX+9lQE23Us3bj/rAk2a1DmmzYnE5IsLL0X56z2/1UkG+GIw6
t03PNO9h4i5MTw5y0OYSyJ7x5vQnUOmiga/SnVOja0TyifDEFobxgtwbFX3y8mLdNftVstjZPrtH
EQiATWkUd0docD38zkVXl8bjeRdIgCxOSh2OVBQNoadFgve5035pajLTsuMDJzzA1KOuP4ub3CUh
Q7g9CwdttRIX0C4/rL/TFwjUBNBhA/cg2k4m1pB9U9wixNMqPZdv7KOy7fTmQbgLjQeFWjsOHDKg
WjsV9vks2HZBiPGUrHYE+dzzyTUXTuRMlgbM139+y2Shla4XEoFRAcdGpyk4mUxJxHKLSxmLua0M
KXa09gM7x/6Sum2kXAl7dRDsSroPNBInlmt0cA0Tww/t23t3zvOWLm1NHoae6XinT1lc3TqaY7Sz
SId332aM3twlbyrZbFYZ/aYLVudyb1dWJzdqg2pHGbS8YI8lgJ5wO2cjb5oHIutHY7crCG++DQP1
VhItP28PeG7zgtAGWQEZXCxA816fE9+pkqEOZUQaKm0al7TnoH25bWJulwg/vas8oC/ST8B8cY8W
g8/5fInBRT1AuZD4FOpdEG+8BY9+pqdsDFvApjEKcSDLNNmNfOWqSsxgKC3ayfpH9wm9w8cSjAzN
ipB494ENipD4oyFfjPEulMTrLW5hNuW56bz8hokXWkqi53K+KtiplDJoawrLSLISYdCetNzL7SpM
+wcXohtfMvjLaz2tHbSLi4yn7Dt3QC+gljdVDH3XPuHQIZL3ApFCuBhEzkL2nY9FAHPSBkUlkudM
CaVHl/Fw3AMnQeMtF0TIU7lS8hHJYhyZshMrRsHU7wNaTu56r84a0hZD/QI8fr0euK6GJpfGSLbC
l/JDmiXRkU8LaA7kFZ/lNOlB5kSFRBZcowSiycX/9vqXIFUK5Eq5LFsxYgzHrFI0AM69QN2HkhCt
skiBAGAmu5+8hJovrUUppVFSJRwZ4qbaqAnPrKMsUXwScZnS0IyPaggqJBHbGkmBPkwCLgFApxOv
eGMhXsMSuW1rh6JTN3yPMVUlGVU3l2RPZ1+MP5ful3x46zfo7ATXvx085FAIp9JZ68G3lhJm7W0d
Q3NN11tIyM26vJc2p7eNKpd9gpKr7e1k6p0Pge6eOIsDMURkRJa0cBBnan44Iaggo4Map/1XxwBa
UhMtSBzsTsPb6Y2534erHMCklDxLB1CgvaUZFXNdjihlUktfeC3mRysjt4maysjfMTkckug7vdzF
oi02esOchvQUPopoFCoIu8aeUgQwFpX7urvrl7Bx42+ePppQhvu35WnDsJvycTZIvmhrz3xGQyIU
Fp/u0sYqm+Pp9m03ewPAtwB5Oe5UqHlcX6joCYXId5eICLiftX5fNwANLFQv5m+6CxvitY0463lf
YmGjMPdbsIuANMjT778c0901lBib1fl7pawf1cX4d3ZwgEyKHDDViJ3Gn19c5YwwMD3nDqK99WHm
9sSNjsuvNbr43ROPrZbRYyiMv7u3jY3tAQB4+/fPH/ALAxPPSZG6QNYyGFCDlWN5ABY+pw1KeiLK
eUpGBuGU1jLR0l1bLThtP97mrbFNnqZcibEBc5hOjf3+9WACrUXaHHgf0A3udvn67m7DE/2sBMTV
l57FOe9phLn+e80mp65zgyxwPVYc2w72/fcr4hEiGmgQWt9HWyv7fnqJH+42NhAkpxVyCH/p0P9p
fopKZbiMFdoAQ2+eud1hDAAc/V6h/eFcAf1oBQu7aPaSQcAGvx/hKUD2k6nuhrTkOB9Xagi0476n
0CiujP5hA6KdT2eJ0HFubi+NTeYWqhyBO/QS0giiEW4UGt2vuJeFbTu+AdO9g7XDjTKyU4Pu8PrM
JU3oQio9EpGqMLMta9LV6XNVL8VsczkEhPTIV0A7DjzvUw8U50KVFNyQfkGdb/M9JwmI+cm7tj2s
XxrDu1cL/Y4KIbEbO9TPt8c45yGO2vbQJIJGKL7geoiRUsdC3vCiHcjvef/Wpw8x89YvaWXPAGIR
Q1yYmYyRESBzIpcCbq/n8db0aHMMgJjKyfuDSzycB5GQHXMCMfeOVmDfBXulb/aE0TUd5F01Kg63
hz27e4ANATqVGyV0Jrsn8/ic5XtFtNlX5hC1llyvoZSNDgp5obY/b2gUGNYQNmJ5r+dX4XNOS1VP
sitdlU3hnXVWSWI04SrTvm8PSZjdR6h7gZN9FHKcogqhmstkcQxTqVEaCmHOgzkINFq/7k0ohpzR
tPvljskpyD+com8jIeEDuDTjI7qSfR3cfvbt75mrZqDeDCKkUWgMSJzxey9eLCdmNM71sLX0fUv3
0EcnKOvT4inaxjtp48m0pksnlp97yS5tTp5nVXI8poK8Lq4gAdkP8G+NjLrd2cQ2I9YH2RlVTo3V
yMF60h8XBjy3AGg6AnwFaCfAZyfXRVmJI9MB7lvmnEWaKUTPqncvgCeoSwwQnwVdRtXcgvvFYHcv
JeFn39hL65M3VvSbIRXVfhz6Xi+O2pMCTXgQYgX0G/R3q4Wx/gYJ47pAOnDECSM/Ps3QDarTcYwv
i3aMdphqnVtuQRNP0cOgQV+4qneBXnkft43OvuWXRic+UO33SZnBvYXP/vjs7AHlIvtDSdZf7fF4
fEp3O4He0dWKPi5dFzPbCpwBwAfAfwfRmjw5xWEeOIFcxpLNf4OkpEWaVwdZTcdYtwc44+NdmZmc
mFR0o7DqMlwW0pBZQ6BiThk/oL2DCsRtU3PZFkC74cmCRxDsutOQ3ZXDTBqaXLKRiyQjZeq9dbRo
QTxyBp514WiMx+7qIcXjBms4FyPLOjKU11dBOLDQ15Pc1gZpvKt7NQZWt15tLIzp12U7moFKBzTo
xud02o/WIhMvFa7a2N0hvON0YRXvkRb/Al+X5VNp/1QZol7qWnNaGN4PDf2v8V0Ynpw9yZeCBIw2
re3Kd06xZc7VWojXvmcC1dpUbwr/GffUo/IOTTepGXrmu/YWiUaM8FyDoEhJIO15n+v+Prf7eh36
T+CniHga7TyrcEjZoDuj1Eu4zYb7kB7SiDY7zeaCJzWmnh67pIgOXWZJOS198IGtsrOcHwsolEI7
tGdIsErecnCglJrp8ohzxVWGNt+NDxBosIs5veX1mIaoUZIECD9JNVoBcBS+IuFdN3bv73MpJmgM
QrG9Yp7AZoK8gGh4e/E9KBdb28ejdGsqxzW+eDU0x0cxWlUaW0JD/2OZU6ECH/KOA5sfPkY5SYxR
eoZ6f3vrzO8c1KQ4FMKh1Tl9N0Kvb5RxATnTOyjIVTkuWeKyW7Ixub2aFMX9IoONrWih+y3b8ktn
+tel/LP//xzF5AHquqxXcxfHDGz1enKoAFV4DLFFSL513m5P2G+szcTWZMu3fZ5IDTfaImgWlNKV
EBnS6c4hGeFobrZbjp61eKFdcXYKAYFBDAznDaT515sj7uW8rNgQRquyNmsHQlc9F3ZG2q6LGIij
ruoeE49dYqz6jQsdB4tixqhFP8qvTCY2ToNYSRosXRC8sgP61Xh0w9wlPjfiiUuWCKCc7Cz50+d3
2Rd7KFQdugJErBecydEr/XU2Lj5jMufATfYJmwTtWO1PTAZl8AJDdgwf9Zz8ECuCeXuRf6qltwxO
DmMgpYPYVZhvMTcrj0gaJAP8YF2IevWRStDcgoJACs43Kh9V34jXobJKP7ivptU9hNgG+8kBRZg+
3f6qxdWYOO+l59ep4kfj1kujVVjfSxz13t3sQaNxSsR1/dz6uxBTkpBS1kNm6/cL18XvOtv4vICd
Aa4elDtQXL3eiAkfl3WcSa1dyltfRo74mBw1gVYprtwXyUlIt5ISEq1zCeIKaBkJiHbP+U+dYPYq
bnajQ/OLhFxuC/FoS2j3sriWFnE2c1fp+A6ODJZwwqfZ/x7VMZFPZHwkZMg3QYcFlE+JuJYry+2s
yN+E0mupHSXhvLBAc889KBBGpgxBYRH5XM+OgKiyZOSqg3zHjvPvy6GjA6SNhdw/BsJrJ7Og9NkU
vMk5gcFAWErWXot6Afk6DQXQ5AiBAhW9ehyCL4S3k70bMo5SSjWarJ5F6xk7RA2I+oLA0kotSDTV
FEi1fgWVUTRdOvdAVunyPgGURPr59/aEjNfDxTH69SmT+WAAKQOaf2BtFrB2IWxJyN4BzO3EC2Oe
xgBTQ9zkfhRAwdCEDAwVYDj0uc/OOap5BsFy3pAKyaxiGm+FugJZzmtfJwu3xeR2+mV84uS5/tCI
acmydpU+pG9OfB7Yjd+sfE7nKlNmFpJrk6fgl7Vx81/4CRzLqBXTY3lDFHPkBygFQTcHWnPFIQ6X
ejsW53Vy3J1IY7tUQhtmsmYNtzRzdpXUtAPhToC2biFZQU18kV7jZ7Wm2wZ4CxArcDK4Un4C/ssh
+kWvQOcX3LfAoqsW9FnMAHzakIsA+pJ7X2K4mR3lSGmEqwLKO4B5Xk9pHbBgRQUU3w5EQ4qoVK2C
tSas8v4IJ9KLvkvNKvDics7H7eMxFYP5WUs8ryzShmCjAX732vAQ5krg9Gg/E2rPeZTrvrU6HhW1
NHF5IsRe/9r7TfzIqEKw5lilX8VMjza8KH2Jh+I75OLWKhUxPUXAwh2GlAduiZXesj5IV7e/dO4g
oxCOTiaBl0WoL19/aBezXho5+FC/NEedcI+zUl1QF3WhJhfoz4SMngYQJPKIlZq4o03jlC3KGSAE
LXTUiWhwBEvnMT7JRvDZWhV47hlDMnaK6a8lq9XjNWvmKJWB3PQU6toaqgXw132TWXIwxyM83ZGX
3zXdISnHO4KA71L4LzmOVo1Zlb7RIa3juq9KizBGSKj0P1b/66P7X+5Xevyf31/+87/x54806wuI
aVWTP/7zf9dQWHyL/LfkD1IXX2/1H+n3H+fqrfLLyv8o/3v8Zf/5y/+8/iN+179s6W/V29UfjKTy
q/5UfxX9/VdZR9XPV+Crxv/y//aHf3z9/JaHPvv6x98+0jqpxt/m+mnyt3/9aP35j7/xI8jpvy5/
/79+ePcW4+89pG766z//eiurf/yN+zuYxlA0HOFEKpitJFy87df4E4b9O3qZEbOM/6iQBQAPz9/+
SNKi8vDXuL8DgDPCqCDPh3z8iGQu03r8kfx3Dn0OqLMilYFWQAmpu39/2NVy/Lk8fyR1fEz9pCox
kh9v589tgfy4gto/7g2kvJAlQbL8+lhkLBLxSvCt+KEoW0kbMTslSERU4OpULmmhaMXwlilpfyck
MVq6vLILItr6mnfH8Fz8rUD+Efm6SHaObtw5jwHa6F69NsxsfJEHrW++FtBnL+UCtHNdlk8MWUNU
nTJ8LkDugAEPMctD4hGozBxqh6HU1IesYhyISWlepVBPVZKCOKKYHkHyW9QriHuhea0HyvuFa0ux
/0icvuCeuDpwEHCXjeZZbuB73V5WQ38NNbKY1duAk3M74bJUcynjcrItMHwYGhnHqKbYhy16RqMU
sUijVHIOBSv07QqG0mY9ushSj6nXcs81mRXkWsqZAEBywX0pZoVIKxeemVMzorxjXTfeu1kQFmag
pJWoh02vyuAZK4t3JuiG3FTlColzN0zDQ4p2E6stFQBDG04MIETaO1wB/H3VCfFgtn7R9IeiLkEi
PMY1Ba3yodH0ofZ8cHjmoeTsej9LUN7Plfoh4iSoVWh8omrmkPcsePv4NG7KzxSJXJdyjJzZUtlJ
d37S+bVkwguX4eMLPFQMkfjhPjXXdyCaJLbJt1glYB+Kla4kATBJRo4Gm4jmYtimZgaEQUzU2P0U
HUfr/w97X7JjK7It+SvvB0iB0zhMakCzu+j7ZoKixXEHHG8Ah68v2zdvvfsypafSHZRUJZVycqSI
yIgN3qxlZssME2DIeEfmcuRDm913QbpbJVZxvgxcP6QCle0+brJ5LbVCiDHy/0SNKQACQfcxq1FT
7VfO1aXdejbDZnoU8EjwhYfba62b36k2zYhWzWIV6LWrof2LvdnlCc+4yaXa1DfAFcP2C0ZIMadi
eYskYZ/RKd98w9E/KJM98U4jD0qurQc0tV+3fOPNkpTNqOpX041zW5CORx80Ti/azA3jHjsymsHi
TOJBzRIfzIhIqGIJO4xsiJh211ns+S8klQZmZ91swIfEpnM5gcnlUxJOiyiWFdoQ2F9ThsJZN/13
ohIzl2Qj61aarAaYTFLddJVNxuR6a1X7s7Upp4UZWnlH2r4NK2k2+dmlzXLRMJaJqs481sO1P7am
WlU3vLqY2E/eYMa5kKynP2RuW3Nct4x/Nhlnt6sY+rZo6cK9QokQo9qEeR40jWOyImZ0nlyT8zFq
w1ywpDmCL2sJnIMGDiF/2zI/D2K9eQUTg3eDAdloKjPHl7XkoV2OfCPzrms0BkpwrzIMPHjOLfnY
rmExhtb3cjsZvFVlk+49REz4m2ettIVrBbCpsIn0Z7eGcNqN+tSW3JeUIAKjp/UhlWTuIRtxCN9N
W5J5JRQ6+FOtR5KHkEe1XyTbaD/1lmaqohHcsHcIk9b7DANScYHPQON9uviaFCvmqU1R15Y1aLWt
92RVrbximdv6pwMVoHZryBt9uW1+1OVDENoxzwbX322TB4SsG72h5FvHfxyLxBPrMmQnjlj3Orcg
a+6b1SCPwoxrAriXzAD2tN99TBNT71gxzq98IVJ5GHCiZPjI9Xiipo9QFLkmeSIZV0u+ydQlRRQP
Ccn7YPAuIuRu/yywRAGu28zJpQwmmD9HXTcSGKGzoanGbtDmQDeKflXSeZ5woOpoP2SsQyxgLeI9
QzS6d0gkrAnyf1xr/9ZtftV+aSztX/vXi/qvJcD/uBl/hgerf37s1cf49+/8y4X/f8kNfx4X/u9v
eNzz7Wf78ZdL/vwTf17yJP6DwKAQUS4osDPMUKC0/POSxz1OMQ+N2TLM10VwNEJ1/M8r3guSP+Cm
hQ6fhDATgSb1X3e8R1J8LYvONhuAyhL04v/OJX+u7P51xadw+Tv/B/9LTOacdeB/v+LBbwYrdH55
Muvgzjj7boJYVolIyf+mjUS0xd9/F0JHUbjAqgiD7iRK8JD+a2tnlA5W3WDN+p1Oc29aACf6+NW8
651X2KF2cDTvMMaioim59ueOVWPilgfa18PHaMPhWvrw0EKqZn9M+1gcMDYnck6AinaM/GReAgR8
dC8tJgVOBlDFbYs52RKKX3KLmcXoLVwxey5Tec0CGHrHDuaJJp5/Vo2kmWVowq/WCwAo1M1rnWFv
A/5BfQLhH6z3LIRW2Gxe2iZFPSfzDbIFbmei7E8d1khlggDxM40ZfM+yCAYbxoMixPFTN+PQqyVu
i2KjfVboSUcVcs6H7zXtgS8h7KHoZz2G5bq26kEruvJyhH0Pq6YVQEee9Lb52eCB5EqcDe2OwSO2
FGFsfWz6HmJF2MSCkPVEUNG+8Tr/IWNJyIL0IPtW1kkZTnHUqZOfYQLO7mYnV7qcqEu95XUlneY5
g+BizrMFhO+NzsLsdhbB9NW5BpelN/URYgv9IfwwTgWuavwpOvopqpIiknZNcmms9wY3l+Ru62v5
PSWyvQ+mNYNFYt3OiLBG2IMtcDfE73ZTSQadYo8GK2MEzzxAbmFzillIX2HuniGLxfINF+ziu9Pk
6aTZBTqpD1s9mycjl0BAbJlA+xVtRokSRSFHTArTG2aXM4tIEbjItC9EGm5PnoH7UN50M5Yb5php
dsIsU5TkNM0EZjq6aYqrphcAWDP8YlkOOlYqt30Yo5RRDTvRaUQkpbfyGrDOpofnOJGrRQmV2Efu
xwsyVbMVEHHrT8lv6lK5lls3w2q/sYtwRZAyVLV11C84rTeKGM3INwSDqquPgk4KGr4YPmPiJwta
aJSmfvB+0B2iINGYkf5OR8A9+4ya7MWGFMkvKJjYAFCRZR4G61JvziXT8GJeWkyH9jSCL2c4tzEM
4LzzypUIbvvifdDdRH6N2QRuUqd2dKG9yvWCmwPfbdX3JpKA5TOthay8gaqkXEQ3IR5IR2rezTpb
bXNnoJ3FuYBDaR3Nj9BpBLNTy5a3qPMIuKXecycoTsVWhQnLzmHvGOcqmNcFqhq8aWAnFa9aHqi1
/UfCQ/G6aqa7sgsDZ3convFweuh0FPIZTJPlaS0wCuolratLXdPmLox5+oU10UbH0dSwfw66GViQ
TzlMneLOrZ+aeSyqLBEE/nfRgDQoMaU4TbB8+jewlN4D4VTAGw1ZzTdbEK0ttmgIg6IIxTfZZxJr
Jl/WZrnr5zahedsmCOqwnfZ5vkahfeZymp7MMBB6tFLYGJP0aWxyQ711zt0St7jKF5giI1vZ/AxJ
gPGVtUVS3DBk03qwcBVVcASIYlWF/kz4rT+75ZuGRruCyRnFLZMD8sxQhHm3TaDaV9/VU/Ma8iz8
dkE8fQWd7e51zfqwlEu08YJ6c7vlo08xhYHZ6CbabQAIPZTm6xitQc8rtSbmth6X7Wx5g8qjQoHe
bgc5Nfr+3JJiqjfAuH4usrH5FWHftBXvvWg8bRqeyOVU81lU2nYhq/zeyekG7hEb9kvvLM3noU6Q
Uh0iJ2ynWatlRRbFoEyoZ0pOmdyQVK/CAItihudIcMhsLFUZcE4Qw54iqXAh2Qy4Gm5ZhaeG80Yi
kd9crmoF+0KzZU2qbfCtyzfiK++RoFb+sqJeSA4UB/Rr4rL5QrQ9aBLZhMtr2iqCWAihQaq6dEMz
0RJIZ/Kl7036YkS89kh4SpPLeJI4Bxj+WAy0+938PKDaJkXjB6u96rK4b96la2L7k+pg6H/VjGiy
T1kT3peCKBVDSBwgAuceY6BRemdk7MFegcRDB2kzm9MwrtZu9JeHzFuaFrrbNsC42EJrBNgMvSHc
5hCzDDM0IxilFUmujPTC/aRXvtzgOQeY7Uw92UJ3nswjzUP8/+sDaz0xodpfI3wkh5pvpnlNmjr8
5Z4Y+4OFObJAwWlnLz3XfvFK4U8besuQ83UY2qL3pmBTZYP2GSeST5V5WjJ/NW2xCb9Pn+m6coPD
ueHqflTRAufzlZDtMKyxjPa1CSn0EVCU4SixNcHhp0Tfnpo2GJNDDGEOvfUs71ScL0TiDsVFO732
ASZI9/6ARPB9PXERFDAUiLCjFERrRSL5BNi8HxYV3QuD3XEYhJ7o0esAJqB3WEXAv8MlUNnLahLr
Q8qexXVXjlIr/rXNltjHcUpmcrWiJe2v4ngMVAkx9KpBny2SssvR4IXu63ns6ydfkA0TU340sz0B
A9bjr4eBQSW8frlZljVMKpZ2LbvC+bssP3bze/gJiaaP7xbhh5eO4Xy9WDa1zKURLCR4Qokb7kWW
efbEWJ18jUHUrKUnMz7Bu7cbaGk3w6bbaQ3JZxwszfSrV1WzD5g39NNVNHWquZQJp+Qo/KHnfi79
zLJiwTHq03wdVgXcZR6RaVUBUdBrXLAIet4TgJlvF6NFAjUs8oy3SI30PJQLqFJ6Uup1zDjO1C0+
TN3IpoL3posQ4gfNiTo7qqkOL3Kt4+YQR+6Rwzn1bREKY1aoBbxyXuqxstmiAONs7jeWmM9bLY6t
HKvT7KLB37CTU2CR2g03WvRsRyYFFfg4w+Ur8MYISRWLOsJaoduHJvJhLWL4JfF69EGz3J4HwRko
ViDVZWoVK4hB4v0a23bImyj2robApXtNoAtI2mwpMWpzTbm+s2FcQ4gUq/sgMAtcVuj3uMLdnFmb
FNTHSSLQSe3UpJodt+4brZrdJ6QDqVsLBjsyOb0o7sDoOQHqjrLgoJOIvw4Lq98cROawf5Q+S8o5
HTK8ZHiVAF7aCC45sqLI9Lp4yRtK1S7h8SGCeUEV0cSupeknggUNWa6f66lJyjrKup1PN+8rq5NP
LBNz66LAK0JL1Rk6ma40wIDCEQ9YgEs7XbFw2m5X2YkSJ994UomKATdY76uJosuUOVsqD656/RZ6
N3VCWDEqJU6crvphTibZoJmfPB+nGBxBAHz8TsO5KQ8ziXtyiCAOydr42jrtFSTqnoXu6hzhd9Bl
msW/H2tvLsH60aPSMOfjbOgfxtqtV3WQqitruT4OXYzip/eTkq+Nv2N+tuA4RflkJZrX1XQtbrZI
h3nS+e1lYMmDs1lTBZKNZdig+cbrbHcowNWrRmCE9u2jqAdeYLzJfHYTdEznmRQLO6qlxgE+xPeC
DtO1iUV8Hc2w1Yln74yPbaU3DqAWUy2nPW399bmrz/gZy6L3GAVtPk+JOw5DCNgw8ju7lOmGLVxa
L00+pqymt6HDJU4zE18lG+n3Y7A8U6f7N1gJY/2LKTx1joJl7pX8VhmZi9BYeSJb1x0H1j1kKoDk
ZxlQ79maaUzgLEPFwz4DQtNG3lLAGe4pa5WFYmdk8ieQQ8LBJyX6FxNb7VFGpC7JFMusBIADbY4R
EOe4KGzLbPTsVMK0UAhsMm5/kBI4lcNgvErNKEbhhP/KATOho8F8qydEfIwtgJfchgvQVLtOv1yx
uSn+f2dv1zN2j3iEswvqf9/bPwAZ/4+rjw9tf/4C+v/zB/9s8TH/9scZjI8pumlw0uGZgPsnkI8v
gXODjzqczjHWCTud/2zyg/QPjAydbXR9AtoJP/afOP75S6ADQBCdUf4EhN2/AeP/TdETn7MKYZsD
OxvYSWRnluuvbbeVknEoDcNy6Zsu10GCbi9Wz5gcjuT4bBtP5LUcHqdhXUrMNUSF6ODBOU79VHgJ
f7EtTqooYeuf9M9f2J//Si/8zcD0H39XCllfCinBmQD5e3jD0gEHg9YoLEcBkteaGXSr9i+mbv1k
avQqv6vfgQwGoCi323HUt2JASxp18nnd/PVIuz3tYq/UY/oUBJhpW0ZYtnfNVdZs3SVtoGYLpzpG
0ZXeblttSnQ/kDIJTONpHfJdCXi0K7IU3SMVkSyMQ11gAFynAjGs47ZWAG0uxo11f37w/xNI2fyj
LWgxLMHR/McOqACIMTn8P4CZnWdI/vtt9Q/W76+Q2fkH/kmL0T+Q54J1CrQMziMJBAJ/bqbsD0BV
iIyFNBkrBgQqsKp/AmZRhh0IkgzEFxSi/9gx/4sTi5I/Qppik/0jGN5HAP2/s5nOA+HYLv9CzCgg
OUBiSRIgAwSOjdj3f91OvGktSzfHCx+OhoCZYK/frZVb6GvdMLoLqTpl2uz9cB+O/qF1EdSp7p22
fCpm0iVFFwzsMYvXaQWcxMTTwtF7K4WS2eULe1wJQx/IULWGAAeA8BRBGydFJtBSdsTt2vbRrCG8
qCJ7nIO50hHuXAkUO8CNkzbIAcRVSsSrNbG8DLNPrafTSlIkiKG/jBBjUkamLWUjypaeBLshU3Z0
yQwGgJArNLiFFe7eEFcM0YsXQMGarcAUUBn0aDo7f7uJEgEXGA6gpSbgPhw8zyjCHvXVAkwNrEDZ
C37yu/XNBQvS4rXYqwBFmYcRgQHKNlO/zqt3IAK6M3euk1HTabRcA6aHl1MwvlubgStIXxNRRShu
p/AN+wLWC/ngXlADkHIVJDzQrC9nQwSUYOakJ/8JblL7wSxPk4i+EN8+oq0VT3I7kTUt20zAdFHY
yw59ZsgH0Oyhu8iEd6DzUGDEYTdFojktRG8F6JFDtEDeX58WNrhnuCcVJn2k2Q1VGp8zhst0HxRO
uhvNGaJGUcnvxXlYGAXlneIJ2mH/AD/WvSLwB3LvbObZXYdO+1mOqXqEun668mv5bC2Ck7R9h2K7
grrmNQDD0PnqjaADx1BzLvUDh0VUb1q4WDcLcmyZbcqkAR1RA02BC0ZFs88t9a6E2S5s5+ZydGNl
tgVmy1FaijU8zgCHMIPbPoMuLBRa4S3nMIvwU3kLu5bnJeLqc1PT8pOOL/XUAxJdP7RAtVintxPv
bjVZkB55h0I992qNArhGTemasu9HWfQjBXxI++0SxRG84KJHKOvMM0L/ntZOoK7th/7QSiQAQGY/
wKLQ7yCrDPYuDAro70ooL4t4eIophMnBVbt1dyQZLxLUokW/ycKmUcF4dl0HPhRV8M+f2kPP47sx
q5+lxCMFHivEKUJ5bwQO+wxB4LI/ng1UkuZqTI51wouw93OfRQcHiK9BAalJ/5Riccf0mzdnb74L
QXtgueCqwrFM44uYTLt1ni8I/NayzDwSlj203dfWXDQrfyLjBb4V4nMxVQToZjK/b/1nZu7QRpxC
NpVO7qdsLFmAPAhxkZEA8dISf3+wXiye/QxqmvtOuSJidzBozGskbXOl60JDyrc1A/xPTTGo9glE
7S2SX17QR19j8mS3obINkiJcM1yHThUpPXXp0F1mwIBUBlO8pLkb6TF03ZHWM3TfcXDojUSat8Mw
FuFqzMncTPkYuoNnvF/X0vYiTvktAJOrUE2/oPXeez0x+AbzV9lsdM/A0Ks5vM7OkMXktaoceLx+
AUVoXrdxTO8WBMLtu3qwpY9zoxrC4JFF83xCkru56bds2mkFaz54J2JraWRqcS8FuJvpW2LiBx3K
e5EuV3Av2POOD7+w+Y+fO7os6AwbTOOT+jHGcNwZFsYLG1tzDxZyFxt2anxzgOHh1ST8EqbHuabm
fZtTVtg+gdE0+Qw6fehqe6FX76G2mJSh/A1IbMGbwVYunZvd0BlUN+kaVM2ULiVSflihmqpRH7VD
myEHivh5cjOEv4vqoRFI3OsUXUg4RnTjNL+kIWLg5qRh30u9OGA0AcjTTa/ZenBirfw6NUVI9TDm
/ea/L/Bguww0qwsGO1ggA9ZWVPjZ3gxYpipFVSMMKhmjbgQ3YFEbIGGgiBuICtVrT9JHhvpmzzPP
4KbY/K9ZpfA1kF1UGFD6Feq/SqkXQtUrR0mU1/Wr7k+eztJ71X4DA8F+7miBaZd8xSbjhxmbY3TI
My09etP6pwgkzJTtbfgloSZosDVg0x2qi7WTR7jOvCe8Z2Wd1oeuCU/C+DtEbuWAYSAT+GgZDu5m
qMJ2LUAM5GKBex9acemiq25pc3cGvmjA9v76anCeEeq9+RsvqcJ8AzhPsY83SauOSgAe6XIf1GnF
F31J0u1y7Pk9i0HtBn7TFn4nu4uxT6/p2L6bM6XMJneZ4uPNGn2ffoBK20CXCzgZi4QApNjSuzRq
3voWc3DLUGAEoZzMZRQ9KJyvigCt9Jv3iJuSiDn3LPIQpCuWLLvJEohK5dHoSwMuyKp3z2BTK/gy
UQDOCnC9zueAVlnflYxCy+U117CZ2FPpXcWue2upO0JV0nf6NR2BC+IUvID1IiCIJlyrwadoYGsJ
ADbp0Llaep2MDRgVeMWyWUN9YQOUsst86S3ijuB3HyPQ2kXfNNthdIi6pddDs+wpg3tYw647aNLl
jLe8Zt8Av3aNAjaVgmLjMQaCWQdvzrm9cFwdJ4TJNiMKDQz3FbGc52M2GATXdHwF6yTepCcf62X4
BL994TTItaWv4d4HJ0qsYG9LdtLK+WEaME0h0m+oe5KSNNG3TUBTBNmIj2dBzoD5bgyBnKLXyW4l
SK2qvajOB9BjYFvSAsAIrpI3l3g48NwWVj3Qd4TDvwbN6o5OQTahSOpgc4fsqx4fxp8fleNHmWW2
sF67A81acapf47B/9IL6LkCQ1A5ilB0S2jJISdRajFvX7iMcVcxuuwA3vIDVmt3CCzCKu9rtJyg8
JQzxeTI922Q+0j7Cwx8VBCLt5qA7QmWyyUqkwYWUw83Ej1Bi8dxfiI+MCTwdhU5hEKeBzodOAIyN
lot22KM6kFPYHnGJkULAnY93dL/1WZm49kZqIFE+eJ5Q52NGy2xt74JePYxhf7d60w1J3L3HZOXC
un+DNUfeTcmDUPbN93/7Hhix/A3W8LSYi6D5aOKpAMV0XHwIVr3lQFW3F1bjRLgcgWw3wxUbr+b0
vSYnf34OsKPrISraHl78p3h9GTLMLvoQSvNDBrX/EAzFypALkj2HK/JAlg/kRUFb7HZEQBkUFbNr
CrxOvLuodH78yLsYUih3WAKG66J/5+cCzwLrfdHAJkgdFzJMkdgO9//UrQeygKpBsX0RbIh3mCEJ
8ibY4qRJ1WqwJjX/9RF0yyZx0UQLUj4BYlM9X3N2ROTHhevWckh6/9o5DFNN0ZeeVJE5P6pSSEED
6+18OKr49QirlGwoyNiWKoY7SirvEoHh/NR9DqM6LNs05Hr2QM6RE0FIaod+GIOdbgduDxYGprIp
sEVzRRDrtjFyN7W/1BcQmQictv7JMHIKN8CHAWlLYDMs11bgnJ+eVROg/rBV3YKNCXVdDfGyG9vs
OZr1sUXpdO117dgXpg4KI3BwAuUEKupqmJ7NvQMRDB8fSJFzh3fBU5nurD/lvTmF8dXUOx+HTvib
1NuTXPARgjAqGjZRUBBhfUjWBU0FJ7dSOUyl9XfxqD+T1LfQ5OCdJE5etNy7h0/Ju1st8iYg2dHB
Dfyjj4v8PrMyNZBXVJeRPMEwBn2AK0zMH6btaYiaPNN4oNIcQ5GVbCMhRG/pld+ZU6D1s422Q5ut
LzFbngUlV10bXOCeALmDukb6F/C0L1vCroiUB2CdyBTepgtnFCnGaF5wZjvwfLTfgSLYMcYJDmIy
ViNnFyrxqzGa2nyDChDCAUyATI8IWDmA6obuvH1c8ci9pQf2ikOFb8PlPBB4nVgImZPZPqU95nP5
BINVOCXseTRCS9jEwDfsh2nRBSyT/4XSVb8lA85/4QL/uumTCIfHPOzBDZpinoJoKL2GJGUSiEAX
HoU7LixkL2g9toeGrHsFKeAB1snxseNN2dr6oUu25rZz3lDMRo9PetM4cZnsF3rjrU7cuI1DpRaM
/i6ah77MYCV8Vhihlt7XwYyvJGmZDNkOTt4o/YGpV2zwXsAu17ceQbM3h6CfNut2ax0e4W40HugU
PzrPu05TBepUpliRsNRMd9qDKV4MDiknA0i/FI2fhCAopcx7YSnaAT5Q4CtJdst9T+ckRsUeEHGz
crrtyCJABgmb5iMUiQV8A6tRypPI6nuqAXJLOV6zFtY2wzDc6hlk2zx8tzyuOm1JmURjWKlWeOAd
ho8g4fy25Y35DuLNHNIOkkHM60EnitJNheFWLJR7+1R65tLSaCgSgDi5gW2XaqfsMrG4yHQDiZ7z
vVM8R4/E61gJSQuGLNFpxcNQUkc+ZmLCnRwmdWgj4pWLAkO/mQTRXLMOj6h/gPRqHH4jxm79EbBr
tsGey+zGQcPzc7uxShxbqu+Mn930KP9YW+eBmL/ppnIQrlOe6KaEbP8nHARS7mEnP8Hs+rxZyEQL
0qN6tBBT7rSEQmSD3foN6nivbNHs7q3Fa6s3qNbGuDe7VYekCEBIoicy76MmrzDPvw9HclgNvZRK
VdC63DisbBCcvypK37Q/HZaM/g4tL8UgfvQcg8CuP6DnOZD+K82ekfb6HAbmQXfRY+x6dqpX9uXR
5CPW5l325o16030b4tN7Ebnpwb9Xeks+xgZbwW+rNWMomZ09GgK8HqRB2373aOIvGAQdZVoHDSyk
wiSPTYyQhgnjYYLj8aKQ4NP2ov242UkPGku1diVPx2vw2FtutjsyOoYJwvcxmJDr6EPz0cb2RkJp
gEmEriuTyVx5sRdfEwOr9D6VuwyNwib9e4PrI+rEibjx1LfTJ3PDktNhG3HIJK5UXYZDD6iFsyfZ
NC/dwB7k0F3XsbkeCTy6OxRT4/Y9t5A64OItmA7qXAkYRFpc1y5B0bYu1Zr6pd/xPbryeyg+dxaC
TuAZ68fizYdpM1A8p81vizInaPhFp+bbAe6SGZTApYQIJt8oYqW24TXd6M5PGIJSaYiifQBXmb5q
3uMB+anNhzMfR2hTUFI2PHhvub1tWX2Iwc2H54uEJKrqUt5BtHhuVuF8S2B0GWEww8RY+cEJCsQL
f5kgnZqeYtJjbqOn+9rR3YyscREsZduKnLZhEaOUzDOcVCJZDxr8OW2AEE0heTmrW2HhDngjMGiz
EU632CObMHtA6UfUykOfmtPU4ia043GCMxlqd6/LswlaizXrLhuUqOtcB7das+u4XQobes+AK+dC
eqPCjctTP2coWw8N9AaX0IUzlKLuOHerQdfKrX1BRTRdZop8RbjrrAcacUHpl4IdLPy5ia/ndXEN
OnEXHFm4ttcLPRcnXsgS6CHH1N3RpcGg+RInyx03MzujGQ+hGjn+Ea6vcBY9LSM0tg6OKLmdYUg0
cfOpkrjK3Df4+lL09pG17npuwx85RBYnJmjOJhy9sYhBsD41dbIgI7kBo1cq3LxRhVGzFcEcnW52
lCt54J7x71U9XODPhrLJNw/DijcI54QALnOey13obmZpq3kwhTzLkvDNNx3evJf1xSLVFfPbnegT
UOM2HUo4biZlZM/PHMbn6aIK8NIV69hzDSFeGgGWmZY4vowB5lzDC8IvArTIIV9fxw4RwOMa7YbI
wBN/XKJTYuS9nkR7Oa1urWg77BZM0u17606QdPe5cNTl8cDFo9KjLvt1hpZ3QV6BN4oUu2rCCund
Vy9NFQejhZnLuqNnlGKgETqRw2JpWc/zLuj9ZufXjVBV67Ds7YwJeRzy4iUlAPY4egGc12/Tavsc
LFce26Tf6xiqBgxrrNcTFOfwgG3XDyjWID4ZAHdO16r3Di0SfUJi230zhjUU3nC6S8GyzThMT92o
c+HBxbF7jgP00bIuGszF5ekUP0yUFb51B4Exl/0cHo2LfsMW2IdYvaqP2zsnh13It91cN2jIMrVd
wb3vxQv9Y+/p+wWbOJ8Vuzf+XOdNHf9apvfnGiVMFiQsXzJ+4QV+KZMIklyzhx7/MQ2/QjsXIEsq
iGTuswFi9l6F/5O689qNXIm686v4BWgwh0t3NzsHpVG6IUYjiZnFXMV6en9tw4Z/AwbsS+Ocm4M5
MxqpGXat9a21L8Ekv4FheIt24jD35SkPiNTYOnkq3O7S2dbOVEhTy3wP2oxc+tX955JV+VNfmxdQ
NbU109ldEWPI36rkYyjU2R6fIpoE/GafSm9L85p1Q5jyPSj4stq1BawTvrT1qYdlWA8FPZ4z+wvb
rrqyyveSJ1+t85xrAIFSo8n1zvvSxr33bqPLoekpXa/DubjmYJia15IxZsbGaJLY7YaZWUS/I3oc
yWLuLQsJJHCsYyB4/VUWhwGre54TgwNc7n0YZj2tmhIyyGdCR6hfhWX4lLfeqhj9z0V5BIn8KPZ7
O19bY82WzqI7Fd7LkAYbj4fZyDt2Qkxo0vxUCesY+qg9OQrQYBb71FzWBtOeDVOHy+oeUo49S2Sv
bTkvq3EJ31RS9NA1uNr0KHKUZmWCMVO7NH4Mxm1AlV7SVdjasc+bZ/HUjgF85Q/Fxg00zyOdROnG
TJV8z9LH2vhkcU8smwGNJP2932A+zI7ZdDujN9/HimfxIEvk+uUq02cVhMch8A5+Zq4ML18X826O
3kquH/KDj1MtPkvX9KAfkthuq0OE0T3J8VnwuEiWl8JPNhBTZAMYm9V4mWd315n3B3S0a9Q/ZVXk
ebONTt59hIlp3sol/Ck45eABH8vpjgVQQrGYOz+g+wGoLqvjZopL+zlTP3b9twrfl2pmj8T3GNan
qJ9ja7JpY/oY8j+oGmad71pUaNNl7VQqrxRsbgcSDLllXd3I2JZzhazWDKc6/W0FbxarvvSJWonU
3IVTxHcA9p517gZUfp110doyw1XSFuHWyN4Cv9xy0OUn56ZHO/vMbAeYoD4Y8wNllWJNzHPf1+4e
wGnVef6D1zyHzt9qcmAusngW9lNdcajvXWM32fNINL68DXl5Sji3rYrGiS2/2iiH+mWNSt0Z06Ov
5Vftpt/C4k2ohvYB3gzxxn3wavOseep1TX6oQo05UWcNKIL91kJB+t1bN18bnJBEvlpOvoWKU/gJ
XQm78NbACIH9RfWrWBQ/3AFLVNcP2pjMo3Sbg6Geyhk7Qg3+zldjXJXhkeqes9lTySHSzey853o8
5K18qezPSi6rYg6e5sHdwWcBs2UbKzml3oebh/umhRgbo+APlIBcLbI6N0Oxy7vqJMZbEk3ixcoz
NCdj3xXBymL9Wj1EmyB5zovkRD5s3dBg49jLtvDSWIO6lDawsBuCWD90WbBm7yEvwifpvlCyvApt
mzqVPE7Hz8k+Lgi+48GYMs7f47qUxXo2j/g8Vn/mLOVap7q9aJMfHQJldizDw5Drg5EeqbzlFR+X
DIs51ONrpW+VX289erh4jRfnVhwhivfU5q0z9UIy4yLzuDIXXiIJ184xap1VXqabsOs2FZfM/Wjo
GmKf6+/EURtgu8dK1CwLewvdZZ2CzcwV66SmrZB36VlfgRu3jXS2ZpM+UFMdV5azK5w9i8eufXfx
2IJ7T3GtC5dRCXUtD+cNrV6HoPNucE9R8sYrYJUETWx2J685edXFN18HYy9G5KKtA5Qo2h/VvDoD
xlecE3Gx2uCpq/lf2QuX5Egi8IfV7G8NzRKR2njtrSIeYR/ZtERngWvHod4trbMXEvaP1fWiv/Y2
12266yL54RSPetgsbBtAYlm5RXtuml1Inh2JeHR4sOQ8pmz2veuNq6wvS4fPWdBQEVM/ECFkc0GE
BRKCX0XBybANUL+6xgh068tckTHJouBtWSTZIT3t2d7HnCjjUuiDTZUDbsFmYLtExodoZtdWJWy3
rs0gzuy8fJmz0OaQMAF9oot42SFJKos0Vlgf3GXggFadWwvRtprOgx4JtRjtbcySv9IXn47BAXec
3iiR696KuWqOESDzNrXK9rJE/Uep3rWpARKH4Z+o8nNf67Uzlag90zqf2jjMNqMZbmvjVt4X3iOS
0yC76wODpzDlw8stMfmWl0+j6TgJu+upE/kffHskjr3rTsZeDUSOwX0XXNu75PtScr7o9ODFdUGz
Bcmnur1Dp2xhj+vodbFeu+Lq2Al1GONKG10suD4Xp9om9rl25gdr+Ccd45CL/mCHf6MxfwLJXtv5
Q2KOuDJ9HOiFWabb9ijJpThk1WGZ4ix5t1lI7T2jcl/72mH+HjXQqA2/bCJCDd34DLadrY3R+Yg8
uaE+KJzbc+s7UEG4bB21AkFH/RYOV1Hpi7k430365SIebyZ0SnrZu1WWBPm2C5oreoGDFtWqdenO
59nkLzmY+bqR3r4mlXdrkr788HXib8vFfrjvM4kLfJJYZ7sQRSIyPjhnczsFuEDDBEANzl1qis+c
x7TOWsjU/CcZOmgL+xLNqT7mNKGNZbrvBqdHmGNKCY12UxRcyZ2FOn3ny4wl2M+BEWEslzi8vfEl
jOjaaHxcVhNfqzIKT2E+zi+zdv+Snh6wftSThTqkov53GrsDLL6xWuhuxPZC8Y+QJ9c9kTfiZY9R
VJh/R8/w94OewqPPESXQ47rz/i5Y7avItRRSERILyaka/Gu5DJMDEh1A6zVJ+t+A/e7R8JInPXH6
mLzsT2SnzholsgVqZllBSjPzHqTeeaytbRJBRQf5TWYd15YBv0Iu72+U6RwZNV04cir31vE8WoXj
IveCsjWeWmaevHEwjLiEIn0qrHQkjRYZx7qbLC9mQ2C5DZDeN27d79tAvaWKT6OTrord/k3KcG9k
3t/I8bYl4aGV49qvqak5gtnboSKlYOubP3cHHOJtGnIFDtmhtc3zGJnXgLxdVRjkNWyljoU2V+0U
ZWdV9uam0oa5i7iSHgJ/OVkihaCumjQ9NKUHxdgGS7uai6p6s6eWbmEblWQ3DK5NCgCqfuKY5NgG
z5P0JS+n1l4FQ4Z4WWZ8XWDBYif9Kh5ah0yG4/lQPcI5TS7f04DrgEYL1M1C4jD3tknSit1gNk/s
x2iehIVBGhGCubWp3e2o4hnj0s/tP8HQXkpZOzFHzXusRpK+aTnbzK2pNrVAqtCZOT53qC4xir71
IKt75kIt/si+uQqvelJwlCvfzpfHbobHXd05rG1rczYmphWuasdigV77bwonizqgxHYQG1LhfMg6
6H6JCFqr1LbkupUoTVXZ9b86N+FwUz39cA/OvEicicKCPoidkjDCUheYwa3RXWp+HyTDMnOs0gZ/
BG4MkVIMChVjZX7P7TIQZqrsh94PXgl6UGXeJvsCeGObTY3zgeWOMS3a6TbZ2ojJkPH0aKS1MVuz
2no6j95TSq9QJUb5yQLkn6zp3PGeTvDO3SCdvwCe4pTCO/y0NA7VwNhM9ibRmkwa+ygZa4oodIfS
5mfT2eXW30vTbc6+gegkkj2fxcizUXnHput/xtlqb16UcXLEjuR9q4J1y6sJrceYXeY6aR4yg7nM
HOR0tarFe5+biA50axiiXzNXDr0+pjHvSCJtkT2kF+cFZGXGiWbXZga6b5J1Q8DO0JBoDGhY9dMT
+nqexqR9mhs1YKBoscml/hyTpt6yuLD6iQqR95sBsQgrdm7ZUFvnTfE4TCntmZrR7b7riA/53tIz
hyWDQW1TEy/tD6uZ7FtnJvbHyLnm0JZefbFBvnd279nXmvMDEw642poUlWtvnALUfSw7l7eiTPA/
q6Tzua8tcS4KkjCezMJd26k8dsOG6paox1BJyhao27yUIUF1LkU3/G49Yq042ibLZaFbbiZhqK+q
N6xdoY0gntveuyRsq9uazAd0rzQMUbxLb8NsqLdgpoLH7m3/YbCWYetXc4NY2Xr+CcwtuoalE2zm
doSEcThSkLdF01EdsXae//NXJVOv3+WGwZklqcx17/SNeeyH0D0vdmo9WWNarxjOAkHKGDuXA9iy
EbkhQqiLEaPPGYcLSAiNVUIs6cOEABxPrjU/lL7i+xtDA1faCtjWS4XBxbNwg1MHvJZbmaMcid9d
6aQe0fvWfAuTRPfbrs7Vnrb98JNgTEr0vKxJLvAWM57sEuwnCIxv9ssTrgdr/K57YrM1ePLGcywr
zsGpGiSKJLpGKapJX0XTZiyCkI8l9w7W4D2opKt5azZWHict0T4a6okbtCKw3twqcR4QeOC+B7+t
rKtflhNFe0lScz5ga3YJRBIbRlhY3LP0naNtoH8X3h2fBma3hbFxliJ8DNp02alEFieA7JkeM5Ch
NPCDfUjJw1NSqfyx5XzR2UF9LRgkgT5k8pu3/SJXSZeGl1bkDypqlx0Z67XV9OZ2ChyMXHD0/dLa
Npu82/RdloF7LKT3JkXT3YjnqwfbHjWPa5uOAjph+Fkn5KbdaTx1ZWK93x+FWy/iDGW3zfJHmjMf
AtfEU1ra3m7pW36vogTFd3vzQLHC8uJPPqqLqq04dIBocvSJR7O3p0eUqpasQL/kchWac+RvSBL2
waowXK/dVGP9J8NJSELJcr2qlqekXMZjKIeOO4KQgQqt8MfNC1waLxy3osX15R7CVOlcLg9WCC3f
hcxg0H35JSYc8yFsd5GecZLHEjmmUrq5BiLi+FQQ9uM+rN1D1pfm3lc2l7B0dksEOTNE4SEIBIp/
GHRrYXbHjnP2Ywsgf8G0dLdWB+nuLMMSUzHLPVb0DZGDyH9SSeNf7FBON9hwta9FV76GglQU7q3t
TmAKarqyfxWVKclNimD5pQeq6khp3tXY0c6elrp3bguf7bRiOHFi7KRgX2XqNWfd6SONv9OZEGvy
JozFRHEr3y3UBcI6g7XRSol9L+otHQpya819u0mYGv9E3vQOOhzGrbyLo2Kpple2kGYBvQepr1YE
FJGTdDC2+75T3tpTpX0pChfnPxXmlvEHH6nClQhdjEqNQXqjNAgsq0YFwkk+EY5wrkNHsURf6k+E
HvQZIdVXkjjm2q0U7IX0JyR024pV2xPYHHHSOTEsiR23qkbwNMwEt7gWYBlspaAto2o2DAwjLw0G
kaYc2u0yzYcaNa9ajcSgEV8+7bS0XB7YPtBQxBlkw8av8q/V8NERdRqPMPaeuSrzO3/RKdmCecGc
jF2d/DSpFZ7ZwXvoYGs2ZCQgeYpqY0YiWJumNI9coOU+smXwVZcRcCam5A2Iw+EL9cGu0hn5PGnZ
xtW0M75vUe4TwFwUmFT5B1POmEDKSTk6L2Ny42rjXJ4PLEXVKsmfRsBGRsxwFnHR2vl+ZP5Y8WXD
t6rqh30HWbew7XnmY0mpQCRZMtiZv0IWVDe7nEYkIyi2a2BWaOuyUYfCppZ2zZJXvXaDoXhrOSPA
fHW5vWmtVP3KustvbqX9tfBnjmRlRuwvkZE6wr/i6GT8eQT16IG1zmHYdg+luyRfgwr40Ql/Mm9L
ZXTfyyj0b1lV4hjBU5dxkBo4Bc58d2BV+gmB4d0MnuRbGwHqaM9zLoBjvOzRIFEW69QaT3JCJpfZ
aO21moePMdUpSROPadqp2qdo6vILGpaIa0k6KMvUR8X5gTuRTZwoHEAeLxPpjd+qLOpLlCTzVlQ6
qle2bdCt4VF0PJmQf1qoPl4WJIvI9qBjq4yqjF53cKy1DPubSqO9KijEbHklHfywsY5sWqPTUKrm
0g1ts8mLZbkpAc7T58FTgj+5VayL/8jCsvPXHsfW02RMYmMon/Uumf7s6OF4GcYIPKsQWK6BGl/N
gYtqpXKzR6Abg5Mf4ioV8tHx03cUeGAEc+mvVVc4u7Gxp5syE/zpvAyiP70/tXvhU0g+16RiDTEN
j45xfzGoueItxJKdzTxqDcsWUhI/6CW86gboinvGOGeO5X71KT9MUmfk/9K0w2ZvkPFCrKFVkmr5
qAuKT5zZNzWAj180a0VzXlx6hfXGw+RrwlU8YAsT3ENaoOnYWLZNropLQplWQCtqwb0gPS3/kvKN
HsP0Ql4+nrJT5D0kdVYf/TTtv+vG4e2UnLtS79CzV4SfGAH6RG8D6/4218aJ6PRGu1OD4XLyZqjD
flyZlgtSW5/cJh83IyE+jpMJ273wTJyUwgwa/fYMKN4/PAn3gzdHsoNVrHLMksD7F3VG8ko+OttX
CBm451j0ivytaTDYFz6bli3X3VRVI1am2/W0p2S72ur3aZm/msh/0zrUVvoQOsfA7fd9grzeEoFm
6uv1oSISMOZpvyEcfio1cciJFJBR6nMSTq+G4FecjK9mo+R7y89/g97/n4IAL6Lm3/+d6P8PrVf/
d60aux9xb5z6/6Iy607u/5/TAc/UAGX/6b/89vm//9iqcf9t/z0j4NwDMo4D2O9TksGo/T8TNzRn
0JbBzmbY2jCg7eJ/VGrY9n8mg2NDFtxXctFiCbc/3L8SdVtkBKgfj3igmCal9vc/7v8pcGMS3flf
MgIeFXIhDZUmxbJEWxxCCf8xI+Dmgxd681119S3ymKkp76xANQQsFA3G6cNWLljLbDT4/ZljUpRH
iaYKqItKvaG9Opb23bNfT7Cnfdsrdka57gLM41SZvnIHT+Gj7JwopcRCj2nyVLpuP5+bwqzuAfM2
6ve69otd6REXPtqytUbw4WbKog3V7nJ+9rVpM9LyHAd0CUh5TiSDu2X4S7Q5IGJd1cz+qE2JkT6i
dVM+wcy4+J8mD9g2WhPSsNNdWajQ81a6SxZ1Y12KYl+jbtxkjmVfl+MfGbR+AMnnRmqtwkVXt1pA
RALLd2HxbNqGVz7ZuW7rL9oyKIBOG9989Ca6Q46+6IZ74YUIGpx3Vc/bem7xXomtzrwzlkB4A2hF
KGjFm2VTfdXp2Bb7MYykdjf2mNxlMj+fowtGbM9BbdZBwJDHFVOwSJdGXWRDVWmZXkk4TiEFWf0i
lg/idIY+SgVL+OOEpHCZTmYx5H+rTJRUbetadpxY2TuMfe7RWm/vy6yzykcMhKL/zFj3MVxz3wgN
fMNWEuVunSL8BbcZp701CT38LGWAxMI0UeZoOMOMmmizATO08LUrf2ycDlRBUVK2GX0tNIo5H8mv
Mivf2+QN9NY2EZbgY+tq13UU01MbpTe2tdMks6azyPf5BjHkOB4xoYucH0ReJRx6u7qvhls1zcK5
zpRe6HdjQr901oreL5Vg0/vW8Im2TEJD20Dmr90ohXgIoBlkFXU7no4vFNPxnJRO+ZpSyXVIJWdo
eIp3l9DqtyXKRK2NeX43w5RpNQWqvl+4j1lZCvwSggOZkFLDdKYgR+CsmP1KqeqhSAWFGFQ/JdNH
Z5eVhMPnxeGZTi7NzZCbjAsh6tMUboJpbhgwCHbXLxWmLta/W4htMWv9mBgwoHyotGMYmanMVWCw
2n7j0H/EOFHy11EWJsM6ygv/o0scix5ML+9BBmvOtua1vOthD+RYkhRrOfSNfoPUmWNnpu2Y8PKn
6ZZdcL5rJdQOMFgjCpQFZQe3ym5L+y3gpfFRVqxZ6VxiHrj/C9imiKp5y82VfPC/2ruindgJNLo2
xlKX8s8lqrLeP5oWvTVMq/08PhE/K3084TGjgWxlipJ7lkyIa7zDEw3z11JHkfwO3fvZxvRrw9sb
LbD1pVtaYf/2plmKrWVMOTsPZVcUcQbCANKoaPoab/3QinGvjaF+ch23KNcjmXSalnuawBhwMaTd
aeipqJoDl6RCMNfleloM8WHMtCZsihKKCPSap8aV4LA+0tcP+UPPlmOtZGiAEVCxEu6RX7xgSywR
lUrUjFkRtVRRnIaCuoRoYqDtJ6M4U9OComWVQ+mcEj3Wej9a4n5YIZNIB0KbhjbVEqJ+n+tJUm7R
R+XJcPr5QSy1USHBQPCuvNat0M0cr3mf7Fr/JML1T5afayi+XH4LO5zjVEj/qc7Cd514y1PCXkGH
Jv++oz4jS4yttIdydz+Q4PZr4F1F4fqRvwgZaR2YAqMot3ZazDLOfdoLMXiG4UNFyofEqo38X5pI
461x5/Q28mduSp8CTWrMlieP3Qi71vSdHQeB5dzYVf2SFrV8HJrSsY+U/PyyW24kaQ5nS05Ktx+t
jsSfIpAhktJo2b+zbeHA9my1WxlLGJCyorotph3NekkdrWFsmzn9NWmKeQ8qm11zanLHdb7cp9mx
LqojZ3iGvDz0Xl1fKr3TiYVdUFdkh21hl+dxroNsM9tJB1aA4uQTwi5jy+wxgprBUT9TP/8Zex/i
JpBz804FQPfCzW8jvbrgrXFdG+VhCkP3O6zm6JoPLlae16T0htrLhVNQ8imzTFvnSowynqeqnzEe
ZUGoqgge+THDy9dR+cm4hhVriXACbOKbWjUpqfJN2qS08SkTbq7pLAvO1/ZRxHnPp5tW2X63C2bX
faoIefNADLJ3EPv5gpBt7MzEcl98ihaB6OS0JR7rb6UK8qfWdQYWQirz7kocQXjyVea0L2apuqt0
I5nclsEo9z0i9dppazmvZe8tp5EOEf573Of2aMuVmfTdflrQzMhge396K/9yu7Y5Wio9lxltWKtK
euOr1bYuV73pXgJ3urF6tXppGfc3tN+wMqPXGc4OFXhIy+dR2BxJprF/nKpJnCJ9nwKAA+uPPBmC
o237xpMclnIzNkLcTJoNoGaN9CPK535H09EM1+0ZvxW9KQpVs8DiainXeFQm+sWhXbCLFwo/fQKv
BGEMs8jPlZ5+07y4RUF+aLou+Ugs+yGAAX12WYoZF3nvvnVG3qydvL0G1XjprW46FFmbG7Ta1OZv
QgPNCizs5PYDfFLnZq+Gwal+TIeNatBlohRiUQ/DsYsAn2tz5sHiuKZYd+pOyEZaJi8qElRZ+/rb
dqiOWvsAZKuWcF1UFuLUymbbsMsSIRA8ocXY6EuEhtacV1M+3prBVSfmm3DPAzU6k1U0dnWdeq9M
QIb/2bGEM/1WNHVGEHRN90RgDFm4rTq9iXKjQWHAAOO43iDjUDEVgVOFYrhbU8nUthv2A0ewYh6D
2r5OGUieLG3K4KOKrPkrC4kdbYYlW/aEPJuNHH0Tnsr6bVM222x5ytU/Ja/7azj5b5Uwio+absSt
RU0lrQ1mvb63WXYnp51zVIfIukudCDuKuMSHmgobgdLsLkDFJSZL3m6DaBxXCpr4zNbC8J1bw1ji
AnNlJxxnsimGqqAxGTNfFfVX982g98f2ZKE/ricrpyY86Jfln6K7FGmXU/14c93kvumn7f55iigX
8vmy1pasPl0x1x4ssU1F9RAMcbG4LefV9mYXlC8hawfUjGbwDUZ377/pLbc+J2POXyIt2PMh9ZmN
pdRx1G3TnCkcUQRAlmZHjyO2mm8E1hYTZI4TYAZ7xaiMQOEOPEUpg0jllm6mKR5mR56dhNUyba5a
F0mmlN9RUTbPTZk3H2HpUSiF2/Cukmx8UpEncGegdrezCRIU9sO4n+ey2RLE+9Y1DFNXUD6VFiYi
KwU/F+HLYRuEuvpGpSBkAaizz0pJMU80wUULp771s5ltPL+YNkM65E8zwMd6yAxsQFnXf2wv1EQu
PestC9o/FZ1CzMShuRN0mf3YHsvAVRX8CC4BmCCwbjb30BWZQY7O5fzEcABLz5q4et11kQf93IUP
dpNkhwK49NIDlDLJIbDTXJpcSjH85JVHbSdXfbShj7R76vkI6buDdSYjOdVvroOaIBqz2s2iyr4k
o+M+W0Jus8G2yj8DVUU7d6hp05OT+4lyXL0MRe3CBQ6tqlaGMoId24qYR4NmyW6uxPWvrILIVBKM
XrluxtIDKTEjwOtJzXLtFTZksjcdKs1UsRoU5ABNY3a/LvMAO86jMGttEwwjNNlKH1tFMyo0fcOk
YMBx9U7dFzE5feLGXdonxjEMdUFgRYXTbqBu6E9dZGXEFdmOGxGmUwJVZbvvBq7Mr+cv1ZcNuHjJ
6YCD0Hb7z8VubAIaQyLWfWGCTI0k7f46dlgfZ2q6gL+0S9+7k7Sbzui7+bGugizbSOB9ZrjhgQIg
90ouo99ZZhnFyNfjU0AI9jqaFpf1QCkS1XL3TZcuuxhWkz11mrBOkx99at37VQX1c8+BBDQAUWk3
lZeusKf11NZ4T0oGEEXGDNGe1aWHLgqNlgSZPtMwEZgXwWVdbZrFZttIsNCmuDI7+BaXi1Veoyko
X5SWPKaMBVv6pLwi2GfkAZ8QXZd9J0qSqDMqV7IZPZeSJ4QNEO9C0clEI7K3ngIrIzGblZZ6o0P4
0tuNgHQ3yipjqDaz/ZIBVTGzeA9OMhu7LnX9f54tTWdVlWJ6IEhQwX2wYQjBOP2itjQcDqmJrg1O
IvpYut5CVzNmK3uGcoFRAV+ATE3Zrj55wqOPzxnyeRsFE8WvRcjUV/n9S6oG7kLBoLjKcLp+3ZCl
zX6SFAeDp9pbOnn514yFE4uxmN97MZDJcpEKLZ+8HMxTzfsHavE26Sm9hTzS3XVii+iNpUD3kVWS
SFw4C9wMwfacrAi8uPAyTKzRcsxr7pTBNRKu/GsxQ1Kh67v/ZiHQO4m8mgnOedLfKrIUhz7pqONx
/eaFPuXmAzic+bl1R/aTqHZsn9o2orK9qarTYo7mp1+mQ9wUCRry2IPC8L5Jvt12pAmtTiSgWy8f
TV0R9WJ70TJulO2l3JZeHqMKuztYHV5SEHV/yllw+jdmuXfHYHpzy7DfckW0n545mYfFTcp/SxMU
5y4Pw+OIXL9rjcVd0S/j0SUU6mVDD8lbZlnJoR/n5XmB2PyhcprwfuRMp05wOU7mmPzzUp/MPynb
q1+r8okKfvxeDohyFXE6eszsqOIiU8NfEbXRY56YCfJwNMS+FR4835zOUF/QYJFXYu3zIyAhUnXP
ISuSCPZ3uKkYBkcpp/yc1TkvbxoQlqvHlYxLTGa3SXh+5E6hSKp5zqeH8XbyCUCeCydlfbcjngfN
pLJSeKzbiBYCf8vjm90rXbHkO1kl+dFCOlxTjev1jLF99UpZpHTWqealHDSV2AQ1Z0Ae37X1GMGR
vTVdMPi0kS2Y6OWUlu7aQlHld0g/ekxTX7S8XFtNE1tD72iBWsIkTUs8vU2mvx8Zlci2254Lgder
+W/XC/d9UjQRYITX3tpVHls6UGzDV6vR7swlpaLDOHltdFp0lxdfWlDfsi86BnsZ1aWD70ZF8Nbk
YDfsmI+/q2GGusZCf5gb1yM21YW/ZljM4JuVOZyUDqfiJiwP/ShkujcpLlyqVYDkP3a+sbzUxn0v
rLKp1yo7mb4ZfdMeS+bYB4SOZNflyqf52E5N7+B4XYll0qfLXqrec6nu9nJjXZsOxqudUsoXFkvf
HA3PxZaRgGtnykzNItYobuWu146zjZKBygXRed9+anY7uiULGVOCzIswGklh04VnQC9W5o+vF0QP
YbI3Jwr4lcGaqT7iTKpl3NcM7ofWlzO3RWgvZ4QcGhKMtENQ5W1ZremOoRhzQV1ezWbb/VE98CSP
YRKZWnkL0khYWa/TaHnHqaiLdc5ZctNP0vhnEvjnpMtOAzgQ9ZzRDn5mJHU2iFHBWtW2eTWKvHi0
oMJ3tnSgePomuFDlrp6DsSmvfJscvYwaiopn/bDB7cU1GuoacyIf7ZMhdLoTFFtueKeCSoYhXVja
W5ZLN3YEnYkn4JCJIifQLvriyRdJtv6v7J3XktxG2qZvZS9goQCQCSRw2mXQ1b6bTacTBEVR8N7j
6vcBpT+mC11TFdQe7k5MzEwER8xC2s+8Jmry1N0h8QcxmSQrfbK1KGk2o19Y+r2hfMqAIG8nQSAw
CnXToXKhv9Df7imyVe2U3lLa4AsTelt87NhZ9KSU0MSHumyK4Enzy45MjW01gEc0k1DaP2QGJfKP
LkBXYZ9YddWm29apURqp7WouPoGft53rLqHdiqmrn4z+l9bqnFpnC6LT4JlZH3Yugnx5GHgpCpvW
U0P6LQ++ihO4Ef1A6oKQnOvfovc6zXRIIkYNW0vdWWPp/DXEbez+jl6AbyEv3nIzoW0u7Pqu9zP1
RK4g44+JO9jAfqcYBXNZOKCKw67wnaUvPPrPFvK7xR5R2W44zOCB4v0MIIO2S5BZIOQEyIHZiRFE
NXiaryKMCuJ+Yyhy2fGqjGXgAgQ3YW74SvHnvaDk9BxmcZlexwZqIzvGxuRGze6iFNC3t5JuV7Qf
Mt6Zl2pQ/byPEpOGBaoOrXXfN04739ZJMslrK/FFeE1FKFNg2aXReViGUn68mrvZ8F80B/n7baPh
d7N1+NDAoyw49YfAXZSFJ62lZygcoDxe7CgdEHaIQuB125gohMZR6WbeTAADimlqzOLalaPt36U6
LunIIRST/tHWDZs7N49BUpM3SfBhirzwyZ1pl23ndqYq+78bNTmVPiogjnMDhCNIVHDwQ1MhAuX2
QHuQapw2qPsm2tWcSOfTgKOxu7dyfbyjihX/XugOCILImGhqEqzvaaDJrZamcFPx8trEJSeGwA++
Xq9ovBXjBCJhRHq+6JtNZ5oPQdw8m4X6RI1yoLIZlC9UkFENaByxRaSX8G8q0Xmi/7+DetBcd4EP
1gma40saZTmMnATuFZhewwroxsGbuHZmUX/NrbY7UAa2P2UNSg8uWfKCJ0ZGH5ymsU8RYNyMbf4n
fb6Po5NB1oGvxSZsriBhcTra1r/qbYhPlktXlyiMTnaYu6BeE9pWiRlvQu5WuPXhZzieFYALpDrh
QDebodXqPbzYbFeFQejRmV1UZmpyYUlIliNukyTY2iAatrCN6VnSdNv7QItA7rZgS3g4n6ym8je9
RL5/m41BSNSMtMTBanqQyhHycJRWEkEWL90dzc7oWyNCZ28xZ9skAQTkboD7Cf1+RkHkOkzBA/cL
dFEU2Q7FoWmPUOpL41jfIjtVOTgoq3oOYC95vR4kB3uQzSEEYvLaJnb5FzYV4UNDkobYQ5mlT+ns
8JhVNMmcsujuja6rvgJCazeoG6cHYn4Uc0uG+32QOnmUlYttxjm7DaJq/AtZxQIZgIbDbkdJ7/ml
Yf8RxkBU5zH9lPZt8LkvNXtL9qG+Cz9Wf0BNoHDJ7H5RDYEIjgrRh2lCGMMYjf7BAFEGbM5GQnYu
we+KnoJT37sbRwvqPbtEAl8MP9uARGKvNSocG+oKSPtkusGL1tnldQOSVSa5fUAz4FFQVrxKevUR
haZyayRaubOqCMxD1yOZNvp/yX7AqCjMnD8KtFOgJBdPiPz8CagbnW1Xltt5tj53toiv8FQxwMMQ
wmsYC9z2qi6faPd/I87XNnkKbnEp0mDglQRPkYNEkQ0XogXa1D0TlP2RcZAXOwFepDF+SunfYAEQ
gQKZw/zLXCR1vkul0e7KqKw+JG2EzCuYvPRlLqZno6Mzq42dvpu1oTxkHWAbmebQNXzd2E5QtDe5
SNAWgkToV25db32owl4SNuW3PtFf5la8TO30cUqSa9xMaHe0xRdN1cVtnNm4funAfFENCGMxfEWo
c76PuunGH/t5ZwuwOTIs0Ys18va2H+viPsud8cZY2O4Dwe6hMjWSoZLDCBrLAM6TBw/R0MITdIwf
ldsS3+FtuxSCHezjKuy7lai/R6gQc/T85EZVYHgcgDFFSqPEbBeZzYoALIYq2dNV2wY9QF+UWdBh
bOwv3Kv9164cUAnq/UOU1P1GdLHd77pKKtoDcXPdusXNlILjtMKSlvOYicVTxrCgN5q9eHSUSuQ2
FK1F7ljL/IZ0LoeswXkZEL+xo1sAVvaDsNm25QxwzRUZSuB9+rnUY97Z2jc+gusAnapN2Zb+Un6j
QpRPpqyGrYL8UR3YX4KanZlE7bhNBS12WxmfM3OWGxZrSeNi0B1RilUWIQLsCjLaz0ZqfC/ssILH
YZO3Sdh1xAeACKPcupN5p/2Jk4h2BUQtAqWqgMmGxccyYUnHjn4Xti8Eg1XamDd2HzvUXKrg84xG
vleNXbOPFLjMOYmrTRTa2deeBiKwiGlkdjOE3WO6bWSTaDGJpsG2KtLqGROLn8okU/An2SnxhwlH
YER1NeQyRN5+5mq/GagAX/lOftclfvXJqAHUqYDydewjp8ZLlF+DIwDgIJQ27qDr21z3nddHNcpm
YYttDh1CSLs5NpBdZnc3lAgfxxZ92xE9n2cMY6xb1jD/gT62T8EhJ2vRo/Cj7LrmbojT5DXEtIVC
CtwHcAL58H2pEP+ltYTXRdMVH81Jj7ZAYx1qKLSOtlkaDptZFx2fa2iDvK9LduwBqN/vI4Xkg+aW
hdxoQ9rUu3Yc9fsevdX9IoK+zYzxj9DUYGsgZI8dot8Pkdh2iQYG08wl5M9BmeJmjOv2s08l9bZA
rXsTOWH5TGM73yRapIjWKapt9Agquwgj7RulDOJpLfHIfox7U7Tpx9mPpz2iFGxXtH6cyYJqNMhn
I3efWy1xuIj8xUVkRjg1rkDnGFKnkJ1IgCBx2PZQzJKciGQRWSmd75AetKuMdoS/ayK7AnpDug8E
Xaax2JhlifPwFFAQtvG4tGii7SQIvp0vjWLb03ulHiSbPZRrikSjWHBhNgR8UIXDfppNrqA4hTeD
IM60x8wVrz3pjHQ4tPwvHbV0Su/6dBs1hvbIVW1708S7TOyqoYgAD5C6hLatkBh+fgMu+Mf26q0O
5bEDhrWoCUpXSFtBC5GoiaxM6pAhGjSRY2WQmP012RqciM6guTupvx1S/qvg5bFwoGM4AqsP4N2G
LvHvMNcu1v5gAddEngyMbS6rmwws+4hb6Ayt9PwXrSwU+Qwb0VFDAnjVLWUvCopvfTZ8ZxriMstR
5KWTqnZFr1o00TLX/9oXhJJbl0kFJgRu+9UIbKv3zg9vLDP2H4VEZxnfpK5iClNZNh4nK4XEoXJc
Ii832kU5QLQraMykaFYEaEGGSuR7R1Nu+QXsRNzf6x2gN30uqTrICilAmulaeBe4pe7eG23XWP9C
zBbADf/+fwtz457VufW6b9lbA5vl//2PGqeUv7ngUKlfUL6x2Ln/I8cJquo3qjqSPb1I3v4HamOI
32yap8p1JPKdVDf4y/5B2vBHpiXYHTZ/tnjA/BLQRq42Gqkqfo+o6/LjDEPyNx9v9ADUhG4OQfY4
WGX76mRdd+0j7foHTTVEQwLR559xcwjda2CR6WGYB0yhCnCcO5enAiuydqpp491HU1iMmJklwQt9
de1FcBs9xplrfp5GLXo1LLqXdI/hzqEwW0IIfTAKfer3Y4Ap4pTIjwHh1m1LSfdFMyuxjUayCiAC
5HoOOI+7sFbVd3wrkKDs2+doTMgrcNjo1c6UfQHs2Zqdm8wsx2ZftJQ08Dyt7izbNJ3/79EU/a3k
vADA/jui7DX88b+uvoXfsm/N212+/EP/SDgr8zdlsh+pUtmGyyOISPI/Es6O/psATMYm51ZFp/jN
TjfVb5SW2cyoKy//zPJH/+x0U/+Nv8bALFlJ5GdNnpVfgJQdPx2WpfPm61iLC06MgYjzCk9m1dQ4
hWGBf4fUvrHEgKxxbZf7N5Ny4iXkXL65t/9nFMe0HWA8Fu6Pq+NkdR2IIlF6AYysvoV17etIViQa
xQN8g3LSVyA058c8+WXSUPCqbBcz3JWz8VyE8zxJu/RwPyPRrht0lvSyufAiLgvx7tOAGnHOdaJn
a/0kdkHRNrRZS69AcC3YSqAW9lYP3WK7OC5k24ATDTYPKOjdlOI/jBinlt4InDPofhqVdaj0CsBq
l2Z/ROYAtQcB+E58iO1WdJ5ZKoTwQ+ACd0uQYj7B5gvMPc3fKb7lrXbuO4nvTGkg+NA0rfZr7tDL
upmgu5QrHV5ewIera3AoUNzrqFN4zaxJdKKo017JPES1zwnNj51Nv2waoNqDZ0aQrtYJc2QZ7ycQ
gTkqE2q4MNvGsmj/CQD+/kESzhrmpdz11gLDfBuA2G6BFaWqCm8GkHEjDXP8GtEopHBZTJ8mzU2f
tJluKDgtPDAdSgSaPsoLPtLvN5ZpEQNhNubyaLnLgX77G3AtQackV7mn/HTgGWggQqtouhDTvdtX
AqypAIPKf4GZsFdfqkV6rgdo0nhR2U/I5hXpjQ78jyow2LHzJ+Xd6eTyIZoyuGwYSLpcXm8/SFqt
aUCODD2Z5dVtBs/kM7JSRo6ETf5RH0ftTyOo+/hXzyejks8IaXFITbCsx6NS2gC5hpODF1hU1650
qgw3XdJkFwyY380j0YJtGJTNuUTx4FrNI93DvjKo0GCfhpJGGLUJckicnjatnF/9op9DYcyhLPbn
O69nv3QTSXsGHQ+0V15DX942VDcezy/WsruOTgCDsE4ImROdWPzH8bTFoLwGEZelF/mofiLDlFyb
7dg/ZrVb36cdwLjz473bHLSIuAQYygEOaq2TmIjHy7WnsfIKZ3gyRXQ3L7KmndbvsNZbQB3lhY3/
7ngxIKkT4r22i4O5XL0VPrcgemYO97ZjowwJNXubC2w+zn/W6VFcwc+XNoDv1TSqLjczWyicV3M8
hygwNztamNm/GYXvwaLRIaA0FzT3Gz92FbXMaCpLb6grf4cP0x+joZoLgxgrTLilLzPGCSYswPZR
d8XxKKjI9hSdeOn4czTvDARpTQMRkno2PmXGZN85fownuImUi5l2EPlNHD2LAceVX59TRRoKp4tG
ujKXOX/ztSYKJ3Q8WLmhbMoFRyv2c275FzbkO9eJ5XOVYGuQ7hKarz83qmgwNgaf6/oIYjst1ds4
7HeI93yYsv41rOgyRXTWhF54FIcRJDZ+HwMAiUGNR31hQPV3KeL+i2/nImP+jSU3WF0z0goS3zLM
0ptE96r5praXQGb/xSAO6T0PAzR88HjHEywsSicwJEuPeknuaRoS89Qe/nFl+a/VhBM35pJggTXg
iTMNd5XkN41DX7Ua0Y2EsEuProxeE261m7FR8YXLefmrVpfZ8pDrJqbipiACPv6gicXou7orwRNR
HvJzJ6ORZ+Xb0gSk0430hqwMGepan8pfPjSODmFDt6UCG8nrtxratwM/lmVRenT5+69xZ+U3CBZr
XtkhyCyIzm47NRQ/Gnbw/ZAlKZp5wt/YvhVdWNRl0Y7mwNGpqSggmgRYBPurH6KB30X72C08M6j+
0sGj78ppoW61tOCSrk8uHNJ39/mSMliofer64h2zfuwb3wmaLNVyL5ZoB2zqvApwZ2b7PoBTHK6T
rPCnXdbL6eMvHhDGXdwtdBJ0ju6SIb29HNqlMhqjMesNZEv3tuLUpvCoL7yO8t1duAxDHL5UACSX
4urGHak0qLGbMi/Foutj5TjTwYXHSvaeabdTWfWbRTbjEGZh6LUavtqKfiAgY4IBu8vmr0zcdJBO
ZpWIpw2gLyUIp10wFe4rJcgvmUyn50TjGSR36T3bbFgk/M0ObjyAJqgpRQutQ5ZRH7utplnds1Cy
3yUBDmA0Z/RbdJFCFKbqdusA5N+JVsC4d/LIa1vupAQEmgd4Onkos9kGTMa99svLIHQMTgyyR/61
Dl41Fz0PUwGUDKeJMrROiF6B9zg/yMqPd4kVdEZRhFs44BqkmMeLPdBKTqdkzD1g3t+DMnocbTvf
RBGAD3CtESb1+VMotA/4ve1i7FeuBt/2wi7Ym4KisZGXdxAzsdorUfs7/9Pe3TjLLyNtxszFWC7R
VXTRgf8tnArwRWyO3WE2aFLNpXAhhsbIKRkBJ8DkFpAR7I7zI7+7Vlcjr+bEqtzY6YBNedkAIKXr
gdvkyaS29CGLf7PIjmTyLZj47ruYt59NVJUGVJ7q0dphBY4wkR1aF6Zyec5XF5dgIznUInSHoHQ1
lZA1aKTiwuoNTWd4An/TrZj9T+dn7dQgpuK5l9jzEPSurg1dW/qko4bEI3Sq7dyZkNEH8FTnRzm1
K6hLmDxFVBwNsVobGwtQpJdj1obgAmUBmXwJqapvp2YoYLgP9g3683Rwaw0t9/NDn/pAm3hJLsG8
TnP++Kj0CWau9FAzL8xl9EniiLzV6sG6Pj/KiUeGbFWJJXcgmMeq6Oj2nRuMEywnygDWoCOSpwA+
uRVD3HoiuamhU307P96JCWXBKL4woLVUD47HM0eYbibmDh4AAc2zBHLb4OTRTYN/cdV2ebc1e8U7
k6Pvd37kJXBf7UpsdaiMUbjF6WwhY759Z1xEoPsBzwIPuckakJSAedTNkG2TOv5gs6i7QOXwPhrg
okVZGnfnhz+xnEfDL7fAmxi4YxOVWteknlZBcVqEHTYoAo8XopcTywlWi9eUT6SqZq1GAS5llvCM
GMWV1vVI5Lmw+SA7hSBlLFG3Fy6U95PKZcmFIuHZKLwdV7n6DOevKkH/wwNAeimPiy8Dt8JXx/kp
JgB5KClC+aiFtIOzsXcO5+f0/WYyHIuziUcXlw2WdsdzOohF3tnWSy+ukkfuaHcrO6U9Vl1dY5qS
ZxADG4SogJWfH1e8n2Z6rZT0CCl4yRy1unwMAaYxgi6GckiEGA0+nuC+ixjiGcYBlfhhsrxkILVW
Nc9jFzb3pAEWQJ3J11EmCEb3M0xQXJ3UyLVhT7X9tQaIqLamlNo32sbYcxvTNEJUjx2a9nrXUgVF
5q190RNN0V/vuoVHBTAJkSngisbexEvg008IkkiC4nd0h1BLLp2yLBHDbRwEC8atWWm281UgbBTC
oRnC3xMnq3+cn5r329wAWUj+xfNuKCGXDfNmmw9tNsY+4BlPwbr52vBi42NfF1/Pj/I+VjWwayKZ
gmFKNcBYvTB5P0M4qNrC0yhwIKV2ZwxYkPkif3Vo/V6ZDaoD50d8X2Ckj7qkJIwnlMV9efxhAHma
0Knx26Bj1cEcG/ybSS/GLecjQGHQj6/8BEG/MSshsNW1GT828NYuHLf33738CJ5vgpQlR1lt+Gxs
isRs/AxWxxKdA8SsbiACOAe4XzPmuCowbnECmv/89Y/nAWSjK65sQodV8GzbfhjMlswAXqhkH5eF
/sDTD8gHbbDtOLTtQxTGGH+0yP0qgPL7uMIC4fyPeH/VwKQnJxOmy0tMl+N4AVwtrDM9nHk5cjhz
qYA4FkSLrdFQxZsuCFGHp5Yf34IxGPYySdSF8U/tgKMfsNoBoEQzlNvwb+1giT9X7Rw/j9JKdlE/
aNvYssrbAJPBvZYIPIdloV1Frmlf2Ibvj9fxJKyOl99OuK9PIgNB3X0L2tx5sQCbX3ijTw2CyaD9
s7rHf68u9bahvN2b+rLLRPjU9LA5DDMT1+fX8/QoANZ/rigb63g9QzhVHUIDGdVyqW9bmFhPtT85
F07M+6IQYrImQscmnp8GTdvVthG9i00cqEcvjDO8sQDTfhgbeA90EbT71oJhWMEoesp90nmIA/Aj
mzH54chU7OZRsx/y0kquA/wHtjJp418OCo5/3GoOOjssYtdoWE6nQN8kzadnlEm67fmZtpjJ48iH
URYiDxZL1DXkaj3DcBCoPTIFuSzTj0JU+d1cJaC6ZHghy37/LjKSDWnIssCecEMfr6lfwpTrJLaI
0wzmDwS7gFrjhoAG699blV/KAS4Nt7qWcHcJRh4XhkMGbyMKMJFYZvgHPHCh2fuadmEiT45Hh0cq
ml6UVpct/eZxa9pgqKI+yzwU24OPmcBZUGsw7w4r1VKVRhz+/MKdHs8RhK08I/REjscb/Mx2gonx
fOB1d+jmQXiCDblxnWbyTB9+8C+PhwoFPWRBVEUTbXW7YPush8NEaylE9mFj23jzOVbxbTbm5lbN
WbE/P9zPKvdqY+JFgXIYiiXwD6zl+9/MpxZABPeLBVxm6fAv4+SvtnQ2AfD3IsgfNR0bStwHwG0m
d7FW3UQ+9LSs2NZGskcn566g1wd/Jt5Hdg6no0QttvAIxbYhpLILS79cE+ufavDgkj3oS/NhtRS9
T+8BXcfEkykoTofygxCPdOrRVZ5gRWa14V5YjOXsvxsR5RHeXZuDu764VBAY6JnaiSf0evAABy4V
KmhEehPfB8DTbmCc6pRO7ObClbns4ncDOzTfbCIM612K1gfFnGvFmHjT0OH5XUKAboqwvfCSrSBb
SymIOpwgkloOk+J/rBZf6fMAByXx2gSDNqhuWBDlYQO60lXXA3oDN6av5m8peiFb1+j0B+gyINJT
XIVK2TsPUVpbF758WcTVl4PB5fJaCpJUG1f7EQ3G3IfHnWCqZ+kHkbdEOHpkbAU+KRdW9+RQ3CTg
P2xBW2s1VJWiJNMWfH3SyghtToi+CM5lhzZxP58/ZSeWk/uKdirB61L6WT2AmVnp0mmcmFzFz7aF
qOAKJE58YeqW37uaOgu6F+1oUkGy7NX3NPokJxxaYy/r2TlOb7gfurjXtx36ml5e9eHr+a86MX+u
5KGxOY1soLXcEX31nnxQxJ4bGBLPsmbcKyjkN06XFxeO/smhFkwjw9DHWUf+HXIDI8oLsRdmPVLh
Bd4gELnMg93F8sL7+XOHrabRtbGNBnljygXKeHwossYouq53I4rwxvDqVqHcuH1SeFbZ19s6yZrr
Wq/16xmW9B6suryfNTs/oP853CIe5D+HkZRwR5zqT6ECqwKUb/0AP9tv87GOMDVEV8WGJHQlUi2+
xVUZ/Z7c7x+T2YQ35o/uppnq9FdhEQ6Fd6FAo1JZpVqwzO+bW77TIbU0M9800uzY2n2JnZMFXvf8
hnh/QVNzxNIdEAhiWmqdHkBuhZrYl5GHxgGiflZp73oLMveIVI9n25q/r7iT9ucHfb816DXyOi9f
RWNMrQIQMYFnBrEdeVRbEjDsrrWrCvA6SvUX9vuJ7IOshzDu7/4+BJPjWcRXL9SBsoZeVxeaN3QQ
TQzRmjfI7IndgGr+piqq9tEa6CAMyKRs7ABR0fOfK98dcvozAMJowgC1fQc96UntKvBIkVcDOYJG
mLY7a8Qu5/woiw/76i5hGNDKdKN4Hojbjz+16zTwEq4beinYOEKAQIMLEC/889kfadb64hp/pxav
1iI/hH4dPE5u/nvgl9YdfDxYSmziWwHT1bvww5ayzvHpRPaQhr0Q1gJCFavlNui9gDQ1lzXQ/IMW
DSNiIkFzbWWzuSibjQ+52bfI/PfZ4qalrueyQIOkjuYdehu/DATiB1B0g/623O3kNsfTZNnjICsY
GV7Q2NZXdGxRWiUZ2oaIRD2c//L3sQirznDUo4nX3h1hC5a+DR8l8XS2NxXTpsTokM7VFODbhniq
QHYF+hAFkEultlP7ntzFlK7SgQVR2zz+SrNro34SVeKZmBHvxhFHVC5QzOgFzPR2Lu9Qqbv3rUVa
rpxMzwlF/eH8x5845OQ0CPs4vKKExqv7S6E42oUoxRKFV8VO0KO7FsXUbWrHsC4csBOXmMlDAzQR
vDLls1U+KKI4tKefr5ppNjdaaAPS7XPkLB20kRoLY6GuLX4ZiwLGkxMNmtRc1AjXwCFl5+WEwlbs
TabQkIkwkCAbaVWen8UTiTjg/KW9TJ0Y1oNafxsSfPlcydjj4XuAY+Y8TpmjH9zQCRBwT9riKi7b
YYt4EoG8rkUHuxHTtoskrgx+UNH4dLQ7Wge3BiIEn87/uFNLrAC4UVei9cfNdrzJQhGktoNRpjen
00PiyOouxgvjCrCmvDk/0om7zeStWFrQDmpDavnzN4+hTIwWB+Ys9kRlA9ZGRMK5UrJrwgvTvfzi
1VVlLh0W5YCkB+S62rQEYxraJTmhmEBMypd2gFtW8yM29UfurfTCaKf27dLpgwAieRnWvZW2NvXQ
AkvkkUH66F/DRBRRhdWyzKo9sjP4ZXdYh5+fylOLBlCBFAUoqoWK8fFUxqnrVsPoEnLmBdZJpR3s
bZfoVvTiUt/0Z196PZ3kBDoxJ08Tap7HY+luZIQooLBBNOND2KKkXLcPBKB3PkoLfYjLkFUdGpQE
Yh8VFmyW9Ar55qJ5cKIGux2q7kP9IMHoq7K/Pj8NP7Ew734bhFcKdqA2XGt1sGAL4nMSWDF0+BD/
pEiqjT2WxhXEtmFro/eyRyS9fJgtFGX5xGCHonvvKciowGkQu7/wc8SJnUcCsKCdCJZpBBxPFVba
bZ9AA/biHse3SLeN2zGrsdcqk6egGV4G9E2grlo0BoCtYsaFUWDaI50hqrbB5JvG2PlftAz4bn7Q
GiGjXRBxcnW4c3AfUDa4eCBMo/yTaS7mmHqFObVuHspM0D0OXftzYYb99QSp98KdfurEuzQqXJ2d
s6CKjucDEnoR6j3L4+IT6QmUyjZw1OwLscnJj1RUKEBAw4Mxl1V5c6+gXEj0q8E55vKFlU7F85Pu
TMaWarSFmAz6DpOD8WI8yOyhKaS4MMc/v+LdJJNm0lm1FR2S1SYcIWhqbtGTZaZYSMjwucOSpKvs
w2CgVoMuNEIqG4sFtjv3UeTcQOjEPVITfK2H0kOdYF/qats2BqxjoBYRLqxOetPK5LYBkyLz+Hub
lHcq6O8ALsJkTp71cvjLmvCsMml0mdHOsoLXoBifJh2F1VxswMhsQM24VzZmq6ObbGbXfBrH5HNW
Fd+XqFXV1Z7k+AbI7p5UDqlWzsfUHhINbYUBVXsAOQMGulPuHJKq3A/CuobIiyaYf4ugwQ1i3PdD
2+27zDxkmvFU4vKDXcd3LRluw0HucDRDa30ykVUruATTLW/3BoeqL60mrnsH/8kxP/gGzraoph60
pvpwft+fvB8RHV/azkAv3dW+V6ILKqRPyVtz+qGRGPV91uLp1bWu+3p+qJN73FnQapTxBC2D4903
RkgGusnyfmqG44WY710hiXMJ5H96FMk4lBiIJFahYJUgwZYVeuzlgVvdDOykK1szi3/xQqOlTMS5
MAmAwh1/SzWK1EztIfZkZ8zbwMfUUsvG9HB+xk4sDgfR5EWhqEDxazVj5WglaU4T1wMnJUEaYRbu
JLm/T8pLHdnlb1qdTEaiQ09Lx2XIJal5czNYfS3DGC0Tb0KU6a7XUBtCq9U5CPyUkakqiwu5wolV
Ir4TpKrAyAQVvuPxEDq22s7ky1Kq8Lfd0MUPk+1fwjafHoV7kmr10pld3XcUEboMO0Ye/w6XnjTD
5inoeXPPr9LJUWzkyv4O/Nd7QRGlDukyd7k9VbeINPZb8r3sQtXn5F6g7gjXCwQOZLDjGePFnk0R
drHXxUawR9lr2g5BjhKEKoPd+Q/6Wax6txvIrB0aNLCQ18SdHqHHQWuhdMQT1wNySlGGugEa0sN1
bZQ4VGhZMeM1qBJccWxkcyCj29ZwU8vMia9qRPRvFd5p1RXnBJtuXtbkcx2a1Wsyu39a/jxjjdZa
n8bIrtJdojTAejlOzvcGhsz9VVWqXt4gRGUiYWvjQBcgkIqxNIKMg4dbFoYCuTKmYCPJ7L4r0Kj7
JHKhnumBRMaAE18Zz75Zu3LX91n/xa6Rv9ykmD61XmX1+AVGkK2GTW70tpcW4Is3fl2YX3XydlxM
C5kdMGRD9pGF+A4gBXFIkdFRyFWB5GI17VHxMxQypV00XxX0054GBzgGwEMTQ/HWXRzi1DRe28HM
T21dq0fWCy3OL2mp6y+tXUDKctq2/oxCd/PHPNOh3YRdWLpb3uwE/jEOsnOMWZKVWhLZ9NRCMKm0
EPhzzd7+KpJYvNSkQRYoqCGB0t7bAx6CiUpQUFV28VyD/rzuMqOMEb/pjDvmrJtvagSfPlaJg18d
5d4n9BnqXQfDlF78bN5Xg9HtdWvKrt1IoS0SQAJ3r1BCoJqpEF36LJrRobnga2G2Pb/dTuQFS/Nq
IexCziapPd7ZmGn5VaFbkZdZlIZL1/nRiQYdlzp+0uuyuykaR14IhE4dWQJvxdUDwpE23fGQdQix
PnOoqasWTUqkcOZdGNnhhZrmqUuVU6Q7iqIfD9LqkuuClvmke+wN5HrEMiaU9rm0xr1p+NP9PBjV
/vxMnrojKKEi1Ml/EE6uExAcZQb0oyNPtFTDnITtJ5Fy8YbM+Xh+pFNrRr6IvBpFaLB6qwnM+2ym
WDVGXmTH7V4LhPOi5RPl9WwavIpM748UH8cL99Kp+YQMA6yGGjDh6/Kj3jxSaWf2mEeCds6H0bxh
f/YHkY0Fgqbjd/pr+oVNcmI2KRJbYFp4o0Ahr6LV2u+UkWPD7IkyzDZuYhXbsoz+nKEfXfiwU9kZ
Q9HkoTIN2GHdM3bMuW6SgoTfxk7u1U95THSnNrYVUJpNJCvcdIEB7EQTowbqB1iomWWzC2aCz6DX
L7FRTizu0a9ZJubNPDtZXCkdmrg3jsMGvcl2Y2USzWEM/DZVomUHV3Ldnd9QJydbAJ1ZmrwEbqsx
25Z7Ei2f2Gs6xOYkojfbrpys/awKceG+ObGNJJ1rh9iQEhO3zvHnce3jAooAmReiLHMNDF3fBzHO
NG0lm52OHv+FU/meYUUR5+2AqzBkcOJuNAEIe2oGpxfEI9CjQFIlRLVzi381wieFrx2KOM/3Zoko
ZJsqzMin8ULQtRzK1bNOwRzABSUl6mvO6tAOFmzUxCDRWcgdOKThxGVl+e8mWuO7GKHDXdvIytPr
RLs2y+7ScTKX22c9PJV6i8orRQhYHMfzDuxpzGNlcmfoeULTqdgVroPmS3XX2t2PGeExOUV7O6k/
4U93AI9yRwC3YTugVVV+HY3iizL9AzqejwqtmDHtXs3OnS4c+hMvg4Q+SHNtqUKCBzr+kT3UqKBa
OkSD3aSo9ObuLulw1Tq/20+MgsQ680CJ012okcejJEDe9VwL6JFMDjq9nVl4iZMYF77lxMZbeMZc
z87CNOZcHQ+jpwLOekTaXOO5sKhiIl2btMl1hj3YgX6wunO1uHxBadnf6XVo7Uy71r2sif46/7nv
T9zSqCTpU9yNdEZWhxuXuWZSGDTt5xBvwsRqiutKE6ZHSlh8qyqhrv/vxlt+z5sLTO9MlKvAeOzV
FE9bGS8KtnMSoHyH0DAK7dUFpvtP4vjx1pb0HXQw4xTkKW2srhTTZdPQUJF7WFHhC86es4VGQQIJ
2ndaoXBqiIbuoSn78hWcRkQtu7GKV3TzRXslCr8T+8pQWIYod0LqDVNAcduGjYNgF5jKRcbTHpxd
2McgSTDCUNmmEVaG2iXWiS9+yXG5ShtcszZuWsTmnVNPVUWBtUPhM+xqvUF/exTfOiTI8arO8hr/
CrDIf7p5MnyD4Jx9iVTREvCCpyhwtI/rftvOzXyoQ2lWCKzPlNxzfOPSjUxIe1Fl1ub9NKb6C1xL
XcexpmqdGxzCkuwaVZ3K3URM1V0ftSkGPraWkaVo1nxlpBILRnvELXFjVQGC146FWuOuzEY7QZA/
Sp/HRHXRbpqiz4mFvu4OG/Yx3aDMqn+Z/F4+j05UlVdljjvLLS2z0dnSyh9U3yCeKGw929rubIMG
QiX7nl8f3/U1TpybZMoTf5N0uriEtj3RsiBkXTCnNqBT5/9wdh5LUmNdu76hTxHyZioplVmOgsI1
THbQdCPvva7+f8SIVOmkTvWE6AH0Tm27zGs4b9ebTZWyBFwe6pNJo96lWq/hPaA3DuLepYZlyTw3
CFCjLEXHAD3rNrVcflfFoY/jZ7sWw32Mt0/oF21fI/pwhEb7XeDebE3AFvTFLMiua/Xl+ucl+Bh0
McpHQWu1MzLmyAaOBP1aYfhlZKG+ndsvq/cUDbNRAo2XYlrS8wXIkc0v5gxiWbQPlVV8ZGee3nxM
ITXTTUJegxfJWG/JP46pVdWzIniLAquLHsdFs2a3keQPRVzqX/GbPKL+vnr+iFUpciky8bFKcWjz
/IVdnURRvcRnPUSWjB1loz6H1JOtUwicEizVGtGe4lT5NlVLdxB0rNN8tQzr4HwifZZVlGhb4F3Q
7+uHqI3PcPoxadHC9+ZYfFHSNHervvpl6MP725O7OyBtX0JllI7oyF5Pbiwtdj1i3XAeh0qcs7To
Ppoz1BVnps6KpJXp9nb35oILoH6ag7zyTDIR+uYeLCS4cdHAV8q9SQSDPZNXiPloT796TtZRiGF4
SzQAaNtCIoLf8AYwXkEDXqnuQkOmbCtl0SlqsbQfRZoevNbrVG3WjuIOTQoaoDzbW9JrMdGyzKJ6
zeOsd3UJ65ei0ir0W8wujV/LG9TKWNsWR12bV2HC+qF/DLy5WuohbKbeIuFBsRF3kiUcAjG0R8jf
nenkZSbsBrsP+GuLsUMZtx2wHAewUBb9WVpSK+gWvKFNeZ6eUuOQ+fc6LIGsrDMeh3HFJWxhYFIY
Smoi6gidVVW9mH2mvVThpN1XITsVJcnqrpv77DwPhnjAHaT0RYzXROIk0qfbZ2Rnfg3an8S9MDbo
a2/CsGpCGTcqUMOV5flnYWhofhqKfHd7EHVn+1yNsjkUiBYZjWTDGBYRgpGwYRJPldp/qdLAzuH5
cOnD3DkoqychDQlKfP5czoln0dF0HbEq+trNiV6a7o+pfBLoxRfJHJ3mmI4DJinuJMsfxjZ53+U0
TQA8unGNKzHwhweKKuap7br24EDs7RigB2svEaQHZ/D6bqn7ahAWSt3ntpUQ8yeFOaWm/BlY2uCr
unFEynudHrNh0FcxYa1R3kCj9nq8CRvSZOms8BwN9T9WnKk+fi/a+xTKuZ8L48XQsIkFMxY9cgHj
hwNvOJhNeFaDZrwZ47v+FhvoOkgIrjhjU2MpNLsrYfqHZwcLvZOkjXjMyO2Cq8NI+SMz9cDG4ujg
pdzZQmsHAM2BFbwGu+Z6AsgYwxzH8+gct92HIkzUT07Y5x8VMAKflEivPfzhOSJZZYmj3bvzjjA0
JRfOKR0iY7N7Kf4sCiKYEbqg5UOI0K+bClGD4snoY6N+3Xe4YhfZ9Ndk9dxT4kNmWXeaWf+knvEP
yoleOtYDtffhlxmltHMzwj1p+EHX4xI6NiZ6Tf8EhSJB8Kn+YRlle8JTtTuFleTdPoc7hx0CMNnv
ijNc+5/Xc9j3pWnMDnOIk1CHzUeHCRxivwc1v91RSB5ZJ0AV1rZMT5EzjmEXhOeRNNJnR6vwC/GB
uP0tu4sC5o2WEAQKjsXmWxDMpYGI+hFgmMVDjkD2ozRT7nKTT+uWNZOggnawFXY/Dd7GqjIB/mXb
WUvlOEfTXwvPre78rDtM7Y0wzg92+usqAYE0pxz8C0XhtVd4/WllI/TEBnKA0kNSPeu1qbgtplan
sIj6AOH8zKeakp6A/0mfparuvLrJ5BPYzfgj4DRcHIZJp+KtG8/DgjIv3UCFGLaxloekKjKkf3v+
lLJDkbrd2QHNgGABVWzKr9e/O8EzQXSSzJL0eE+aKhJH2NL9ur3u+4MgBkhAvt68m8NYpaVoEMYP
z7LZdmctyY2TiWmG//ZRiJJhXABfpBS3GUWzunSkp8VCLwhUFLOFFdwaFdwe5XXixEqvUJlV7AfK
5DZCzfvU0YXVcZOGcvKlxiH1LkMW/dlcYiR4qNH44MOgToygmpdq+oCOiwVCAChlChIeH5B5cJEc
B81SFPXl4MetT9gm5qNoLzOKatmIVG3mQA1p1IewzwPekv4HaDLNDSF+eXK+1Pey0SYk0rwtkAx0
dzYzqIa9GSRJ1R7N0jrQqx8C/WWVaKKRua1CL0sZF33aScGcl85zGE+PmJTal0XO9cBIMAErqjH3
Ikf8oimV/xI6ztXxMkwfKuRtP9yelZ3th5wfkT0dk1Vwco0L/kjYsIAYm9YupaDK5tpHYEtxIwG1
5q2jrPhJom0gVKvo4+axa0sFhsWC8pOZqZMrd0lzF2XpkaDG6yuUUZjP9QblPG2ZhbqMeUShLCIA
8Kf6DeLPlxhlPk9VEUtXwZd4cqFOByeLEt+r5WRYWhe8qfQV0LO5nsI2nrXGmDoRZNiwKrHyWGl5
9ZNekI2xqY4DQwUu2XErp2w0r8/b7MUQ1oQedm5gqT7KC49wZckvAO3mD+DEJB5h+dlMHOdjiDPD
9wkHAP3kALKlC7So+acIb/aftWbOi1dZ/Wx6yxDL31E3zie/1u1ZoorU4YQ4NWjK4iaglZknRKr2
fqYtyaekmTMBqzF2ZvxEIxG6lgZm0G8VPM/92ChD4YvBkFZvA7VJwL5k4dMwd/Fjk/fi2zRK0Vrw
qX7EYY/5T5pAZHRVsLIfhr7SPyvjlP8qOrX4O6nCOkbeUjZG2pLGwHZ2MMMMpfjvVO+w7kTgyPTb
QmYoQZl7YpebExGYNVZAVkwI78uQRj8TG6s27gXMkaXRQeAe+YH4a6iW/Rdzmfs7DfLHF6VcKjzt
NfbAOYnUAo3+rgchBK7154QlyjNWqg7AS8NsLjP46g+5Qp8X1JEqPSrY+YiTBnjnEvUaPWpVkrPv
+LGOX4tKbz9ggLC4NbZIH2y6R15k5I9pj9WR29i9jLj9UlFwKfCVNIfawGSstz5l1EY/4IcrTjnl
otZvCmd+KGl7O5cOwx/dTZFDk/zGbiv578pKO5TxRyeOPXIio0FOMyVVQK8Nk7tcEs4YwPMOv2Pr
NNT4Kyr9u2SI0vncGJWke//LugRxnVoFRxJbEVzsSnc+SKlZvBuw5fqcoVKSu6hvCmyYnO4lBH+F
36mdgp5WcsmmQCSn4Wc7M6UPY5znX26f/vV0X9931Kggj9MOQxzmFX0AQ0trEmkighA7YE9ECDT0
paKerdb8/PaRQO6sDNRVDXqrc0NkUatNmFMdR2zkoWqjX12f1u9kp40PQs+9bwIgpsoGQTzo9E1s
UCZhGA1TxEikBkEd5s3DUgnDa3vpr9vf9BoJD7z2t5U8RT9aaVvKU2pXti2xQYMqbJFp0pb8k2TR
6edu0C48JLMf6S2dfgDGfhQO8CTT/Ohq/f09mzXkR/ADZGJgWj2bS26sNKB0o3CCPDSXIJsQ2zew
JA5KvcDLoH+AKI2LhrCxaBTtjyKxKW70TvnQSN2/ofM9kcYHjG6+xbb5YEaa+auvlvDSJlp18Mrv
rAuFJLiFZLIyV/JmXaYaV0a5ZK91Ujucm8jG0izvT/CjhXt7XXZeG52+LjAtmCG03jYZsx3iW1xo
mQiEYeJJkBu0+3rL8ilkY8vZZBim6yBB3r7vaP6salWrnhZ4tevHJsQEMmEYStNWKP81dAouR2oy
Xvi75n+YSlhO1I84uEg+r1P9R2hgKZ3uRAVDORhCYX2b4vlmxTV6kt1y8FW7e5yolP1tw7GBfHo9
Fh5+/YiWhxMMzQhMpsST6+RIRnvC6sk5ZcAs7kYeXzyLlMGv7aq4q4kkDp7yde62exwJHXI8tG9V
SmfXP8IM43CmUuEES6JkAUVDGuTRZAfxQsMaTdzmU431FjJwxdGq7o5MWwW5Jy4U9u71yIacRwku
dU7QQe4+YT6MNy1Om/fSgLRqGo/h57lMmpOKC/zBIr+O/wDSWVBPfrtTKNv4zw6RU8EXxgl6UO6n
ucInRZ+dI7WpvVOpEHyzuBa7aYsSHmvaNHExOUEhidhvE1P8gO31CLrOOmiI734PWQiIGYoqrwSq
dYKgOkvxENZjs35H17Bk58ZHYKN1PV7tFIdCLo+MQqlx/RV/HA0DxIRDwMEoBVJOQ6O1gaZM2ZNc
Jc1TQeX14K5Zb63teOqqWw4yh9rcKxZ6k0QTKCMnkIqofnZmRG/CqqtOJZ7J3DKD6g+dluN2qkXP
RTMe9fn3rjpuU/IE9goew5tLNTaWLJJzhheaNd5Z0eS8VxMLG08VWRb6XZDB5Hj6evt+3TsTfwy6
lZjCCEiAdGPQlq7kz9YUyYNm5XEADy//MDtYtZdagwOcZX66PfDu11IJBZcJNYis/HpxO3NaGnBJ
LC79M0RDmtK3tSy7yF3deHMXlR+R4Pp5e8ydijIlGBWo7tpLIpPY3AC9aSQCKSdOiBL9KDPyF9Lz
6J9Bxy+z13CAQChlaVxcOVWc6MLiHjPd0A2lNg9EZ3BHz3kLplGaaZ5YXw2sht+3Rme+UxcECnK2
SABZ17zUuM17A/3hgPa9epdRXAOWuRogz3LBP9X6n02Rhy+3v253+yInjt4tuxfo8/WM6slURuXI
jBqFlLauDN7qoW+x1F1wSvgZZ+iopkoYPchWqLmKI5ojuZWd+4fqLo+LvhrjQMq4/gFRs1hkWzwv
Xdl0T7IcZ08xjs9PjYUX9qIV5ZNsDPmj3VmO2yJd79ZRPb6XyOP8Qkll30wtHOf6yb6MSIu5cz+I
U5bDok7n2vAGGURlt9jjgyphiToiuSUQ77ygsoWO5JKbT3GmhCf0LeTPhj1Mblu1lu8g8ofzVBv5
sgoaZeK3eOaiKg9IDKKapmi0lqd4ocN96jWaKPodinXktrgBnu18KZ50VP//UhSM9G6v1s4VivIh
cr/AHih8bYNobHLwd27YU0aXD0+VPTgnrK20gytt53ivUu90qFC8pp+52RMRZq9CtWsCSkOyTiEO
2GDglcQPm5ZS0Zxmvpp3eVDymAS3v28vll1xK+h+cnuTmGxu7zJWhnEweG3B5OZ3VaTVwwNEdWyz
bXPCg7lIq/k7zufKXRVyINQoRZctm3Aal8U0e+A+9G9F3PQfuwoXBA/JJ/nRliNcamOtbZFgjpX4
Llqs8c2MppVlsTKZuJeIwreNinRObSmT1jkrFO0ihVnnWepUAc+uS39R9d43DQ25ORKKQMJS/mDi
9k6RBqKX926t8m2xqCFYj2luSoK0HIjtrArd7ao2uxiKOLiC97YggC1KRVxAgHm16/OK95yFDB4f
qsRDGMQ2Gnr4fssHW/C1FAnzSfC+BkAG0OGt2vQU53HeLg0RXjOOcaC0MVaA4G0R4JsI1TIvHpLh
Y9s04YfWMTCTFlmcXWIpi2l/gO0kByrnLnW7yYk/3t6kv5Gvmyd/LZiBraKiRGFpfaX+CDFKx5IS
YWVOMHYm1vFY1yYgDeU+PxWhcanK9GEos3eOoEYS6i/5KP+dDstTNef3YVN96OvxNFaxZ8jFx4HC
eNVpXmpNF0kpTypSxpIDrT5kw/Ta4MPhaVwVaZmD+d15SCn6rbAByJrU4zYJRJyZPb6iKn6hZgnS
tQefkle97rW68ag4HR6UKzD0YN7WrbGdN/rr4BXIlQnkN/dKNstpvyymHcxW334ScWI8O8AmCore
U8rn1tiikr03f0NcV/8CcY3daNs7P6SGkpRbD/H8PEM2x0TJmhpfn6anhOp87kaY0H1TJQWByxml
1K9ZanSR25RoqHqzEOpfqUiUIzbvzsPJDNI6QVURqNM2L5h6NOyjYraDzvmRZfnygPRtfldUIMrs
AaXmRk5NN6qb9KSFMB9uT+VOj3bVZjKA64CohVC8eTUzoQirgk8SJPSDcbCsHxTRnqWk+SSHNq1v
pQikPvtYOMpLZEq/dKgyKp56/u2fsbuLLFpH5Ee/n+/rg6AghxymgNGCJXTeKWO01u8X3ssixlxL
1J1riX9vj7h3+4C2BwKyRoHAma5HHHtMhde8OKiUEQ2i3La8MuIKuj3Kb+TMdqdyw+HBAL0YJvP2
hMcySi49z1sXzt8h7dpBkTcQUwCI+2qKoWeV0gyvaKjcTWnRXEAcYy+sRMZnW0yQV2NLP5tKWJ+X
ZW3cxsV4oZUdPc4oNj4gRqjhVU35djKj7B2q7m9vWK6i6ismaAWZ4C10PUvtoklFW2l2UA9q+kCL
Tw1kdWzdKFQb3FYT6SmUpOngStldGmJkGM8wzEC4XA9KPXxBmWWxAyozCRXM2gRsWRsHD93esaNQ
CVuKdiVZnno9irk0VaOJ0Q4yxS4DWEsmZdHRCTAqTz4bRtw+xkvsPOTFYH9ssjo7GH6vGkIRZBWY
QZlgJQ9fjy+aoXYyifHTOUFqhXCMWDKN70qQEV4nIuejlWHRmxfj4spWSvXc7NWDH7E70yvsCyQf
r+O2+SlVMdCrgeqHHemKOwtLv3RIbvi3D8HtURx5c9QM8IoTlXM7kLSmfeyxpfcHR+r+y7eAl1MA
mAHbtzfzSdVmpsDSslWVHquBXrH80EbE5T98C1gW9I4IaYGyXa9ahlF2rvcDezOOQi5k82OBGuLB
pby3NQHhwReE57RqoF8PotpFh2Qwt+EUFepzZi/xu8UhEJNmO7lomYVmyNQi/FCX6skBbXbwjXt5
Kr0ufgH+THBLtyx/YWlpqaO2zNGILHSmkmaB5532mBvUtv29M53kL11Lp9LFVEle3Bjv6ZR2bljr
92Sc6Wova1Q40BeF+NXjnkyDSioH2wdoZNHrKAyUR5WZ7wjrUkFtr3Fg+poJrspeWlvV84JPXIi1
Mn+6UlqvnRTLyV+4PsMXzcna77cXdS9NIdamb0wMBrJ/8waCyoiqoc6IYUro4UDcDaIHXgUomuMl
Iac+dVpveJNszR9vj7z37q0kYTqK3EEwLK5XOlXV2qShziu0hNH7BjsIvzbTv5Sm+Wj39ktkLUeg
SJP/4/ZB+nPEzQbWMxuAi8w7hJayTxvlZ2apywXml7eMi3RwJveCb7w3wIAh6wuvbUvYq5se896e
VzYbpeKvvCmn2q3Q9T7VLVoVEZHH49KiPlvM0pfI7BwsnePCnzQ79Xq7/wd0/ZsNAiGX86yv7D6Q
EuCJr2e8cSS7l2iCBCGqb5ei0If7/4+sY2ddr0bZnOBliJowXC/WGVGCM2rieoAqoElXsW3fpyF+
oJL8H/IpNNhsEEwUtUi7tesvY++OkrNes1q5jCQCy+yZa3Hj9o59LeDFBKKjs2rc/Mb5bDaQiS+h
UgJVpLikDh+M3omIV/LanyIlOrWhYn9pkm4O5lY0fqvP2n2JPfEP+o/Ds2KI7D5KJclbemAXt3/Y
zqVJIrCiQsmeZYqK15+PWqzeDSUKNdFiNi6XZLt6TpIp9bLh5WlO80yTlGAwtK+23Ayfb4/+WkTG
QdJpnRMkEmDkby0rchKRhWaGCEgZh8ZzknB8ioQxVF4MfwOJPvwN/dRuwxelXrVTVlJ/5MaSZD0s
XW3g9Ahm2LULEhRfomt8wowJs/OkjLP1LHC63NTO9IOfvXPzQaYlN15JoQAjN/ePNamGlIxrxclR
x6e57/P7Wqr7L04WIS8yoJdiUfgK5FaYB9ybnaCAdgS9YqjqQEa2vdVUViic9YgiUDvq/1GSqfeS
YbEP2Pc7o/yGQHLSrVX51rjeFE6SJYO52FagzHi1uo5daa1r6FXu3l7+1+cduilAy5Wnxy23LSfL
mdVoZTtYgWidzJelNHqJkibxDH2yzhNpj4tddvry5kHXZgvoIqAwKyjm+uPYjlWVKliX6EJta3ex
nfl96Shfhak2j2W1FD8bC7P224PuXOmUDSFhrgULdMW2bR48jWLqT5EVIJ4d3lNwbV9mg9qCHSoa
2qrUS2ulEu8aB8zJNJnOO+RDqqA0aWK2Nt1r3arenjBQJuPoU8tcoa5bTFDU2yK0W80MMkdkFy2t
+zMOt/Xp9pe/fjkZBZ4renzguqDZXU93lelRjHeZGeB4l10a4gkfJREfRb2JJKU8EpE9Gm6zdVvN
aTt2lRnAAjK9Vq6akzOA4JWtXvhqPLw9Suf4k+zRUdMQovy97n/UouJMaqRFms1g0qrmPHX0YLNK
Gg+2z+sLh1HWAJ07GrPHbZepaU0NS4fWDEyhpr4m2unDoIUaEDyJ8bBEfrRAHHhLPB2RC9f5ug58
KDSCxebVpyhMw/t6+bKwcvJsrswABLTkzVmLHJ6e1Xdxag1HrYjXQ/F5wDmYUIhD28pmlSGPQwBp
BHE5qncw8sSdPKV1cnDp7HzRKgCETQbde2K6TShDzSAPIV0ZQRZJ4UMaJ+plAEYUlLVVHtzWO0PB
qqVRsyIZYWFtHle9jxCbKCJ43bFUIp231B7OI45flctRKWh3qFXYbvUqA561WaeojeK2GR09KIy4
DKQRCdxwVMezAo/wYDPu3Np4gpkyrhcrIGALx6aR1nTRousBLtjwbFOB+GMUGu/kJU6/Ko0inynZ
LQerttOZYBo5BTqMakhQW8q8rJA04U6toWNLElyPSNtNle2LzNLvhyxt0MEc9JcxVH8mjhZ/TDVg
hHjBxMG0OM45Sg3lfkFLxDczvQtCO82Cqm1kt0PM6NES45fbt97OHP0ukhEv4x6H0Nn1sSEjESSB
C72GXLe57LgbAk8HiXZpchFdbg+2c+eRd9J+Zm5WnPS6N/64g+jROTbyT3qAK7r2QOhhnKVZGtA5
xABllvLxzah/wizgPWS7SHOCsLweb8yqkSMMIlcswDYbBZZzbufxwVft7OjfbCUMnVdZiu3hsZIh
qassZhRz1l9MJ5tPYbZ0yP1znd+ewPUHby45ElkI6jSPgIBvYao4kmeFllhUBedGeRZOGyJKEB+F
2jtgf8SzuMUR4aaZTUv7et7q3JoMJFvVALNi6V5ybPHSpmFFVwodk9SNdak82XU13eE+Nv2bl80c
FJM+3TXoQzzTojEeHJN2qBHX5YLoTpahT6GkeK/Ekdtb0dJ6gCLN90YWzcFbJ4jmMOXMtebL4bM2
F1mn1WVnVrYapAZF9qwSP227Cf/LIKuUC2Kg6KJue2hKveQ9IspqgJ/3AESubL+bYV18uv0prw8L
NsmkeWhLUSSi7369CHoepgliBJSWUdhz6cNE3tJ1pAnAKFCJjo+c/3ZSnOsB1esBpRGSdzKZFmIX
Unc/Z01J7TLK/x3LNL6PHiO4fko/eKRnFlIvPZlYPEUBslDjtxynK9jglvPStmV9smJqnOSQxbmt
ENi7PS+vjxs/k7baWj6mobJt+GnxUgPas6xgjtPaq3sCwWqUexcsgHaw0DuUSMZCO4AiLvcVT8n1
lOBb5IDhwn47DpFChHrW+EpZKp5UJ1MgiopKOfLdd3JVtj5KTbM/pLrkmUVdHNwxrw8+PwRzg7WS
S0K3pfbpDhkajA8rwJFsuIwCbXltdo6KRztFa4aBSUA7AMLMK4xSWCxZK2hf03UIoftDVrqEIurd
2q7JrowK9ZcZycYMF7KHCjQ0CpGKcrC+e5+6umqu/UZwdFtcVplEpD30/IMotHQ8V6PS0+Ref/NN
SqC/goyBL5BabFuMcmUr5WrIFMTdaPliHudLUljF6fZeXUO06/uaUSDxIiG0Cn5s94/cNxMsGnWl
tFmAAG1luiiL9e8YWSTdqgLjaUzze5UY4CD02Tskq8z5WuJdtXvWH/bHS4ukbCeyWmcSl8p66FpD
nFqRYRWuFEdD7d1T3E6E3kBMESfRrofCU0GTqpn1Gvup8IeEjpaixAmuyh2PuqG/PZH5naLRIgJB
uxJwrsdTULpupWm0AlOdyzu1jzM3GyL7IHTY/Sru9/XUrxfw5qsGZV6B+xOVhcKyPbomFWl4XFzi
fPysTXX2/vZG+U0Re7VT1kYcpRrCx+0Bj6n7ReADOXmAmk5lUU+ecHoVDPIsAjXUwrtFG2ghUYkA
vBpP9yrekJA+quyST+jxEih2viJ3+p2caKhG5EPmd1L8D0xE9YlOngLk1ygvSqdU9106fFsy6BWO
AjZhEHn/XBSWdoL0ELpogYS+ghS73yngUMJEFCD9l+h8+4P35pcqGsHZSvWRt31pre61al6oqEhN
pgZZloqAsgPjwQmg/agpR5jSdcG2E8y1tnpr0gdA6v9626Q0AGUR2WYwd2WBzn7veBbz6Ed4anhh
qFVuCz3mguaueRmJvwKYJxgDjE30HOujfan7QXOlcJkDY8FQJ+v10ZtlmCRDmysuWvrDU4/pz2PI
+0jfxG7vHWFPF9scRr9fVrDnGM531uI0HhAwuXQd1IQvVSPwR8bZQ2tRrTVL22UU2ywnbLcS46zO
WvJQTmgL/K9Smi6Mm8YK0hwCZSUt7X2W8O4tNBm/3l6cvWvrz7nabP5KqSP2GA2i1lFrt+ly7YvR
GcpzLRLNq1GkPyMvZ3gOoCnv9sg7lz94LoTkHFJeigjrtvnj3prC0tFbK+ZaHoz6sZ/QVleytr3c
HmXndgQdx5OOnul6R25CK1CyU2rCbg6GrMP2MTOqS6yVj5MxtQfXyOv0CjuuP0ba7Lo815A6z0Ku
kTA0PE0tRiwxAGlLC5AjS8Iyt5Gl5r9MItwJYuA1SN06m0jwObq6TXh1jGI6F04l0TNIjvDMe5NI
NZ722NoAMraFwqiOwkqvKBSmTY9CjSwV6KWN6n0nGUeYud2huC1WAA1Y3q3RcSQ1cWgomUWwmdZ+
7agfYfsml7YEpXB7Z+y0P0h5/hhq3aB/bMAyz3owu6YZSKZhPTlWVAWtKNNHHQ5WMDmi+i6V2a/E
njrXHOroPraJ9fqisdw6k5uHvjB/ZgD+D2Ki/8fPov+BTtwOdacbCifu8pxzoRWyfLYUTDP92S5V
9RSXsunacL+QpYjH+bnKF71xhVG3D/aoV61f44BxMecS6Bk6R/VfaSdPR8XTnZSR6vva5AQejJfU
VjQIgSsWf2CJ9MhEeiIKqnJ6WBzru+Isz5EEqkpWSGB0mG9R8l7rp8ugRk/jinju0/j9XEl3plJ8
KY3OmzX5XWtJ3rggQHt7eV9fL0R7FO54eFYDlt+d8T9Wt6X92KmlsQQI6os7VN56T0YH8GATvX7b
1lHI0FefYZLEtZX1xyi2kI0eMbIlMNqoJhvInkQq3ilDa3qWDNXzrd/Ea0TJGhASvJZXFZyqF7EB
UUkNelWrA8iEGSTWVvp8e5TfYffm/VzTDxjuRERUHjYfRZHIWtqM8rgtSQJkQD/OD44RDqcu7lD+
wo8qyNW2uoQ4n7jVUo4X7O1qn7g4O82TNp4kLANOaT4nFynL9HdOnyyP5miCfed5PSXmonz9H3QM
BRS8gV17hem1XFjjCVyL7sKYOkI27kDj2LJU+9EHWxHEWxm+eann0Ep1M1g19n7OVVu66OsMfiLr
aLuLqfMkbVDPkpov7yOnAHTpxBQ/8ty40Ng/5N2/3pv8HIpUK7MdptfWhwP/3WlOEscMohXb0jY5
KkZqqJ8Noeduki0I/tpS7OWrPqGcmf82QzFAPM9Sl8h+cMdG7oMGGuvB9lrX9dW6U0wBSk7eyYN5
vZkdCVRPRrAQtJF4JCQqPpppWH/sBsSMK1n+14yt6pJD+Q20BYXK27tub07I0mjvodMFU2fzUKvj
kCZmIsyAVHH2lXhaMCuKj/yhX59X+GoogVIvIhpFlfH6E3tFjC3FbxptJe68hujHx2LOPuvwNE5J
57wdycRwuMSBx7TIz7YQhZWq0ceNZQZ9JKyTmLTYr1WUtG9P3U4jj2HwrNCpRZN5bkW/8jbSFGmk
wVSkae8io5R5lNy/Lmrt+DP//X2ckdxoGuNeC0t0p+0nWzL8qJ++3P4hr2cXi3lkJpFCgqGGsOv1
7DZqq5hhNqrBNGffSFZVz5AgQIdOZgNJK7qD/fo6VmA4OGOsJ2V/FNauh6uNQaeXWqiBvkhS71JA
6t0hy6MH1Sz1NzeCrsfabk/eVFQfUwqBQp4eTXP4x1KR0/wP84fhEGrVnD7M264/KCtFajQmyMx5
hqNq94580uaqPFlNR05qzUeVkb0JNCBfr5MIcF9fQ9o/Xi8seecVMKwEk1V1bole3TNhZHFqDWU6
3f60vaEo4MkUSKhp0324HqqQcxQl0PYCnlDIpz4GQiZ3NtZrlkgPhtrbheb6WVwiUCW37U90fSGQ
4wpBqqnrz1pZVffI/FanEBjgg6iK+mAbvk6heIspisBQWcmZW4wf1/WcRnHJpy0yJcGRst4pxvqV
jK/LT0Kuc1+ClehPmXN0Al5fmgyt0iOAiUv8sfWhBHAeq22YKQFG9825xMHELTC4OZjQ/VE4z8gc
ob63LfssnTTXih0ruPkqutf1VJjQPjjyN9vbIfRASQWRHYLcttkhVd9UyJeybKsrACyvecG6s8JE
Rq+bgw/a2yGAcnh5SZxArGwOM1LaCsyyWgnkpM3cJJxMv4l61Q/J/N0OEvFBargTfwAPVrBVQ8bL
QHJq/fY/DtqK0ltGCZnrTOni95KNYJAuh4ab4slwytlAkauhJ+6bjlAvci0vd7pa115TWK0nxqo4
2LGvv5+fQ+6DjMwq6rZtnYiWNJWmthxQSTJPc2n3oPhSTN2gjZ6gW/1469m/Hm7zLBRyqQxcQfge
tjYUKLmOg5H3MoBl/On2SK93KvE+B39VjCEu215oLUoKeV4w0qr3cXZqMZ4ypagPrGde71Raibw8
1FvJIGGmXa+m3RZI7JbOgthcW9wRkodBAfzzjtLbUYv5N0L+OiYDiYZ9AfqxwIJoQV2P5RR1HpJt
ykHft0LzRnkS35dCNTS/HlH+cQepFak/ZmIhKsNV/SEBaFoFYVNG/T1/ZQxPZatG0lkSaTUgTCg1
H+bJ1r4NeqLV3lJaix/h2feujsa+wEBlAQvcmV2DSm0R2+2LKvU/jWSoPuMVliiuqPrla7KIZnS7
pocSGQ2SSociGbPsObJH8oBcSWoF/V+JaUkboK+TVX6Ws1GB76aN+nej7bmDp7Xf4r91+U3yeaAo
1A1W5vrmCsHViZ6pOcjB1ObduZlimRw1ir7dHmVHNos7d61n0rGgKLJVP4gITqGioSEvJom+bzxG
74piaRDQQxUheTSqWUrgORRG4mNlVkMxtYfuvZP0GjVXoc2PsWSMD2kvuuduSQXMQHBWR4npeodd
bxz2DSWvtbGC3dMWfLFAesqaSumoKE9oy5tV5NH/sNEcHu1l8qdSlxbXkFRbPtdDhl2nEA6Q3jYz
jZE6yKh3vgMu9IGSiPhhtE2cr+ZYXXZXmULLL5bTESMkXa2BbYjbk9FayIRqdRX/oFE8OOcwNhgg
QkR2cVsN50goWTbEzBLsVeGSzBSKCwShqj29LcVF66gCwnxW1XfQfJbH2GqtF1mfcCCT665ofWHh
GOaiVhYVHmqT/UlRESvxFGE4k5uU8gC7a1DbxzmpMi+BrwpTOE+LH61RYO7aypLyLSZAeYpLHFcu
cz5TvUFhXj3ZaL+XQEZAqnvi/6g7j+bIkTRN/5W2uqMGWoxN9wGICEQENZn6AmNmMqEBhxa/fh+w
qmdIMIwxVWt72EMfqpmkAw4Xn3hFgh6x20S1Pm4y2+j6S83JGzIuLUIvJaIdSSWYsvz7C+ptAAES
hwAM1AKIJn0NbRzkNFbHIp122mgWFwundaMNUX5dtxKAltyJIIM3xY2ZjueEZ9+el4wMPoMKIonD
G6YFbqm0gR1a87Uh93sVWOpGs4v+zFo8MQpZo4a7CjefhQr96zOMIFOXhoQiSdslA1KyM9YH+mj+
ZYAophXL3l/YlwR+q1NZMSoLYb523oVlG1+YYMS82Mztv/EuL0dZhQ5pBVVcq+sZclHVbfJqKneO
Bp/r/RXx9obhXQB9ECswYShIvJ6xwU4HCeUrZiwtKresY83V02L2Qk64M8njs+Xg6qAASAdWkDNT
I29bJR1VVmt9NangOvSO4kI05tnnmqyqPmaSOnMiSFl12YxyWFxIaQ1rOtIGfGZCeSolN9Ek29y2
s94+ChH1l46tR4GvB1P10aHuHXm1kOC+CUiBaHlVjuQ69dxh2lcW6nUbwJnd9JWSnKsin9hRrLal
krAYL4B3ez1/aYpB1ER1dDfZqX2chjakjdMsxFpZLbzCbqStlE9U5KPI+st30IKqY2AwVgQxayJW
VgwJjjgJny7U5U2WQI+nhCz/nVEWxOACdrNJFV+/YAiu14one9qRCFFnNfJhI2nBufTibZy4EAPI
1/6NTHk9Si3XOSRGHQrApEWfZqNvfXCKmV8iAOTlDsJz7y/7ExxLKnw0apYqBnjBdWA6zGZWd/Ri
dznI54usVfvSU+L5c6gFCG+zud1REA07k2J8gi3l3OIiL3wLrKSr2X1xXxdzc5DLsMcKDO8GqZeR
f4tLME2DWu31uiICF8lPvZWjj9CHijNH0Nv5Wk4fTlMqIMAW1p1ksxFWJ1f6uKt1ZdgNdZFeRlNs
PgTGqGLs25lnAusToJWlswXnEGFKlB/01TlBcNMHKLuMaD45ILiTODzGURMcR1X+aI5askOkBAIJ
mod7co7cU0q9u4qF9vH973bqOWjYLEH30qmnqvl6oVRTkJjy2A4AVgvxBdhWBjmI7t9tKcL6lyRR
lAEkMOTFVquG6a5QrNrCD856LPQhPydV8fbwJLdbtN4IAxcu5CpkHrPYYGk8q3nTU9Rqq7s0EJrb
5FOm/uXbALgQJQ1u7QVRbqzuHCuJMI3KGKrvh/BbP0ndpgG+cybfODW9VK+pBxEbLNzy1fTig+WY
vZkNOwrcHxDVCbysp1s7zQjGjNnl3BrH0Rp0T1L7g9Em3yk3nAPCnUhhSRVJqkiriK0BRb/+xOpk
WH02RSzrFA0lg5WEx6Ia3mS6VrnU9kqaAI62G4su99phao5BgpdDGYetl8e9fuakWBb260uLp6Fi
RXeH7gtp9eunSQWlj14y+l0em9q9aMS8GboyPMMmPLGS0HhHTW3peVKtX10jSmVDj2gYRarUCiH+
sHloZ7NLXFnSmjNv9KbrslAWl2LbIklK6rqu5QwDlHDi6Qo6W17hNerk8edMaNMvU40jIuawnkvX
REK5I2QVHWr5+M+oed7pW7jPCblcVaY6wL1wzt0u1IZPddEr0hE3waRGKSEriGBhstyVtlzeWyj8
/Mz6EnunAkPcpJdZMjh/meeSpfVVvLwWNTiOp6XdATj39ZeSRSHp6IZhYgPYbEvWaX8dkWb+0RUa
NnxtZN9lgZF9s6U0POjlYF3pQhIuMs40j2JkroXe1xd1bqmTm6Syw0sp1h74LQjpCE75+wfZelkt
D0sZlAoNcKMFMPD6YWshJDMYu2o36IXlRfNsEbUM85nobn1NMAprCRETitbIR62b9oFVLwIBSbUD
NAZLtCPHySJRukE8fSsAkrz/Tm/Anstw1HchloHBX1Bwr1+KYMxuowXVhHzxDyM0291cEZooiiSO
Wj1me3s2GjCVlXanj5G+l2VMTZ08kfaNUX1P6oHbVA2brVPC82jG3LrIR/ngdNJ07pw7Mf0qXeUF
04uON/3/10+aAbCLeqLRXRmZ0bU1VfGllkXOndqa9UGRSppDrRbUGFHU5T10zOk+scql6D8BUUn0
RKje3JTa3ezo51TRTz0aBzD1MrILyjCrA6eYsEM3RF7tRlzaYfFp0S4tw3O2Dic2C+EPo8AroL60
LmBYlYwjTCDwoZ7q7Bp19uYKm6ne6+LCuBJBYV4hQ5tuI3R1z+Sgb/CgrBKcBHBRAm8OGHzNvApy
FfE9rE52mZF/ys3ScUNNRoelTuXuYcQh7Dpo4L/qTfBVpCbizOk4nPn+6+MWHUlq9rJNIR1KERWW
158fD2dDHSyt3/UzLuRxbTbHqqZ0hZLGOXXxk0MtjapFsWgBXr8eCglUKW5tZNbm1H5q0kk7TGX8
2czFOR7Em3ldXsokGSC5IiNAGvb1SEiFl7mw8n5XBfiQyhGuPFaaag/mVIfbKkWpZUQ1bxMMWf0h
lYt5q2t/mUvAM5AUL5GZQyivra8WM2S2ld7pdrMN6EKL85bLoj13eJ6Y0yX1tnWqrzI+yas5TYzZ
gTcZdDBdixQcZRN4ZEjdRU7yv3n/TDs1FJwsg3mlnk6H9fWkRg1oPKs0O6AnGSeZHmbHspyq4zic
08Jb78hl6oCEsi8olmOGsFqTs6GNQxTSb48sufBCiTZLZxvpvsY129VmrbnHvLfdARI6Z5L5xjds
GRo9KSrNXBW0zVYviV+bVg+i7nZhPHV4hmmKa4gOTr0T1q4SzQWF2qioHppoSb7l2Tc7gGedUouL
KXLEPlBJbtluxk7T8hR7Q33+UAVFcibpOfUtFgP2BWizQG2Wn7/sbdDCCCLwpDt5AJFgolDv16Ho
t2CFjTOffX0Ig5hYMNbEEhwRtPFXWS+h/NThLV/tnFbI3qQTEHVDcO7CfFb+eBlcMoxBXYy66QJ3
g5f7+o0oeIKPCEux0/QO0W+wqtO3AGD5DG87UY7016vCS1PDCb8Wk1orLrXsJEZTUxsCZHBNbRNV
6ZSjkqelWzmLVH8YQqV1jaqDSSJ6KOxuXmY9RDVq7CPwUFxXXCm3CgnubRN/bo2ArChB6P+2TCg0
U15vDbBWSR03XmYW9k/+hvxk6F37UehaGG6SvukL2qpw4FxWEwdNI8mfOqNtCSsSIwJsqo9SslXz
2sh3TmAg3mEXSndn9ArWuqo89oorKXF5UUlzvWuK3PAqvsJl3jUYBtIrCBMvhlYn3JztcNPqPaYe
72/qdVjEtCOYutz9C7Pz7fHvJPqgJ4bYZWU/bmQtFf7guPgwCSW2zoy1nEWrT0z4RfmeZB0glbn6
xGiETECzc7ED4lpvckcNNsj4pkBraFELSwo2aH6eu92f9b9ejwpFzcR7dakQEfetgohOQPEE2h3z
ho0EPDTWs3STm/ViPN7Pzo1RZU5HU3BIwPoG/BiFw1r+YVgRXtLzBC8lNqfgGyI887CdzHi6rrq0
NHy9bJtop6so3AZ1YKY0prJZbEc086eD6dTx/QRRt3elCBb3Nq7aQHULvB22gROhlaaRn4+elGgj
PkIkf+qGNi0ceytvQ1jRRIzdzhrCOEUoQpFRn2f9py7mYOO8HexYmw51Ok4/ZD3v6S2Z5UFfbC0n
GSsshtG7DxKbGif5uXdK7gUDlsn7K+e5f/pqYh0CM3YJAnxcsUSQr3dsUbVyLokmpd7B50ykhL5p
3nXzbTyLNIdUUqauKtdawR5Ko3bftkJrqZi10rc5Q5bqIM99+aR1cwy+jVKp2+U5Ok1TlFiWG1R9
d98BHb6Rlb7aOs3ctFtdCUzFR/GKecp7LR1gcy/2DUMxlfnt+6/3JvfmGGKxLFYwGgBAPsDr14ui
TmvTro53LX7YkJN6vZs3uiZVt8HkSBZekbEjvFSKuCcyWHP1ph+Fk3lihDy2LW1doVIdlH+EjP/x
Y/zP8ImTJZvCsmj+9V/8949STABvo3b1n/+6in/UZVP+av9r+bX//mevf+lfN/1T3Xb10z+uHkXz
j11X/Hxs47JY/86rP8FIfz7J5rF9fPUf2wKg4XTXPdXT/RM5afs8HM+8/Mv/7Q//8fT8Vz5M4umf
v/0oO4SY+Gshj/Xbnz86/PznbxAYX3yr5e//+cPrx5zfOz4WvNP09PZ3nh6b9p+/SdbvbHVqNiwE
yADo8RNfDE/PP3J+J0RSaCISXnDsPWvfF+jZRv/8zVJ+B1XKLy7VJUKpRUwInuzzj+TfAZNBN0ad
GxPcf7/5q6/1P1/vH1RbbrGnaRv+6HJbvtg0C7h6ybPAJSwF1zcxcKyHoqnwkeUEmgt0CcoppA6A
FmljWuk+ygILJkMfl/22luruugqNLr6QZ3mTA2xPwmwvSTHS2SEq04qL8Andzagd8pnlGNUB/ldO
/BlfEjPzytgavqFABdg/agOQfWOCpi+Br5yFbqKi6+JqFJddyCeyK1Sh3ZoIVP9SLqrZnUZYAa5G
eux00AV8JHfNyi10UTziSDdbHkLo3UMLZrC1JkCTadzIHweYLbnfx05+MUjyXG+0SJp2zVxRNZM4
nLRtXjfRcUDG+Yc6zAeCzCb3EnUMjwJ2a+9NpsCtBERHjkdDVflNjLccjGAlA2TffnCKOM928BE3
XZE6h6YzlVtdjlMObEOJ/BkU9COBAY4teYddx1Q16uMokpb0vhf7ctArF7Xe/I9M///FhhRPxUNb
Pz217Mj/D7bhUgn4j3+v9Te70H3K4vnp5bZd/v2fO9C2fgfkDz77WZyV0hob+s8daDu/qzQkwQws
ogvLdvrHnxtQsfklBFGoaJO3LdoP/70BFeN3eiug5Ug+IKVBt/v3c/0v9iAjvNyC4FT4A0Q7QEP5
W+ROrw924Fvh0nxp/FaKDnZkb+KiPobVuYLTOtp5HoYTxaHDbBBmreJm4M8gobCt9jtJuihbmiDT
90D7qY3Rbaan58BOSxTz4lz546VAHZCfLSVaZzVayispgTo3vl1b16hImfCDhy8xtruelecOWh2E
JqmMZ8Kk4KgT3Sa99E0J8ofCiq/EHGGEdK9jVbgLwua77Dgf2kb69GJ9/PkdXp59b2pizzMC1Rqx
JSb/jZ8lQqGBijpJ4wN6iF3aSZ4mNNsVRH2bJJMeIqX6UCnq3gileyiqSPLgdId83nirJ86lrI4H
btuGHgdOmKg5Y9c85rv3n/ENz2J5xqULzPFMSfiN4GikG+WcmlXjI3rZEYVMroJGdJ+AUOgS9Sjp
5RcdbootqtCbk/EqjHS8zKtFpSjfg2czPFnqvkZ19W0oioc5LPZlOY+uJQfnzDFPfXFECljB7DS8
WVZNcQkqi5VZzGao6rkv8gkT5xjRII2ub4o08p6OWUNcW/TuPPzVVujzNNEFQF3qWQpgFVTLHVJE
aSAaP6tj8EsB+0j6+v6nWG9TBLUUJLVYz1y8QGlWQ4DQivVISxo/l+2Lbmr2sZH6SmmewRi/rRUt
49DlWUiSNJXWIhYmpgFTUkSNXzv1U1jY4qpJYwI4LSs2Rm5l5PBJuImnLERONkzdKqnv339T800S
xiMQWdBUYUIB5S0/f5HNG/mi4ZBKtZ/qTnqJEs2wrXPRf7cHDNRb9B+kY0h753MsYnzLpED5GqaG
Dmyosy9lIwVlZOZZ/NSLLKWIbJW2Z+TaeJgnc9grBn+KjrXUfBvr4CqonGtRWfmVgWuNr6Q9ALpZ
4I6kkEqDpkp7ofhKZ950Qup8slx5M4TWTZ+WuxEE2seybIk7kvCS0oS25zEu0cHvt1MqGbtAGcMP
tHl1b7STyBuANrh6UN7ga2lt9TiRXSNNEm+oLTgVMt7nqZRt8VfF91jG5E2VXWr3Ica/qfQZMb50
R3uk2Ib6+F3PRegqZryB+yNhMLnX1EHdan3rXBpOtH3/c7wxq1tW3rMmN6j6hby+Wnkl4UPW503t
Z1UQbdUkQkEuGSKPo+EeoI1XDPF9GzkYcY82lGwwGJ1vFbV+iCpNfupi41PXacPN0GnIaLOyPX3O
Lb/Jy8lFFBrxpD68anrDDeuQA5lXlj6PNT8UdQgbtFLCb2GCx3aM2yOXiLEJNUKyULZ/vf+epzYY
TDLw0/oiXrcudU2hPBpQjmoOEOhMWRi3V+HcfKi67On9gd6U85b55OqGwc7/9LUF7QB+qCbQrn0h
Z+m+qGYJF4Exkya3kzm1oDq1277JviasgzNJ6ql3pNpMuE8it/SMX+8sWStrRbSI7jRxmT5VjX0V
maPyNZiL+MxI6+ueKVyAZOSenKs0flYjBTNWIpkcCH8urFujqyIXxbOHkDBDn/XbOBA///KkmuqC
uATfvwhxL2/+4sxQpD4oMMaufbmN9W2jWUeFGD82zHYTCOVKTxWka87p9J2YTgZdujHIDi5f8/Wg
Utkk2RhTjs1DLUXNKLnUh2hyVX0szkznqWMZIiYfDgwuUhlrKKUBctup0qr2VUs8hVP6qFnD7DtG
5/UODTxjGA9D1/6qZMwkmjz98f7snnxR+FhLLkgDdb1kzQrp+Nph3dQagruGcWVG7a6pzinvnVg0
1MOobVByRrJqDSVxaP22QVDAIphV3Gfm4lNcZ5tyEplrZsoHoRRnW05vyrl0RtTFTsRcUBqw/V9/
QkWp6nmspcpXW8f4DHPIU0VziGKH03fK7rGUiKjRmOJgIqG1pbKTfMV/cYvDAirfJmlbhAjcGfGA
0x8bVC/IkaURuV5XZicJG0N6PnYgU2/pMBmwp0fh/KhHOFTWPEpbXe5uYUs37tDa59xmT34GujQL
noTmxlq7wAo0/CQHp/KNIblvncEP8ukSs4frSQ2/J5RsNu+vrlPfAL4RhuYkNSRJq200mVLIiWlU
fjY7R7UqP1fJX9Vm4zj6A/y5kDrIzld3WGgmHfD0ofLDOtJ3SLsWniqhIzUo0xcEey+glL//Tm90
2VYjrolhIT54Y11MjFiKYJsEUn8japFsUIAHDyzUcVtbRULZFDi0NTR7g1CuM9OvfaNe40u9x9Nz
9AOreexz9SqspJx/r437xIqf3n/SU3sbEB83O9BjksBV4Iz+biEXfVf5qZR8srLxatCqayOJ7v7v
hlFfbzTkvqG5d33lm00lb6Q29cIMd41AHqIzZ+WJ8BE+zf+80Go5lVntxDMACj+e5x+x1m/zXrrJ
OvNTS4X5/Zc6uVOf7znEkkiUnn/+4toZLFmN9Kyp/ATHXCpCmLw6Jv1q5bqxjSvZzg5Sig1YrJe+
ZZzrC57aN+ClEftGpxhMxepFhzGOB1mwxHIVPlth2v33Jh/Fl/ff8dwoy89fvCJA5lGl3VL5k917
1Aq24H/PJB0nIiLQqvDkKVRSo5RXawOdgypoKk34dTde9eXw1Rnne6VJbq0oeIC7lm3oc52LUE5+
O9Tombmlwwno5vWLFRggjMgVCT+YR8WXijHcztN9QVh7GC0OP4xgPHq8CkpNmXYIFP3D+xP7BlK3
HBHc57w3pBoCz1Wek4xTMKpjzvcTyreyyj5LURp6Zjp4Sph/HKv0qy7iX62aFds2xcM4L/PN+4/w
bMz1sk7CI5Arg3elJUSKvwaslzHLKxWF8EujDvy5zp7iWbnvi9Fya0y23D6aJs+wsrtqqLUjDYnB
b3t1G8W6tR3JUzcUU9K7ZgoiX6mKY9iYiYdycYZ2hb3RhIm79Jimh0yfIJJFwqvL+doBGrlrewmX
pKi5UMLh0yThTlOMxsWIY6zftk25WQDZtDbwKlLoVm3aQTpkVTF/wZmRnC4EflhITeHmfDFTmqeN
KSl4aalB7FoiHd1JSx+GKMs2sHBvRW0dkqiMjpFjDBtIO4oXDflVgR8iQhtphuFavO3a8MPYYxkg
Uu041uNlSFfJTyMocFpoJ14+07zKJZzddGoLKIXNzTaJ4mzXS9UDbTAIs1JoHoJZu4lGJP8bSuLb
CAfurwo+Ya5cBhdVXg9+M0u529j2ZV8a2W6SJdOjzhu4KrZsrt60yjGtbWkpVPzKDet73KTXWjEd
YinJNmHjDK6CssZFB3LqUIb67v31cOLmhxkKABDosLxov73eEkFSwDWRJ+G3Q5F4SPhTTg+jO7mJ
b0Mnuee3zpzVpwYk4aL7SbCx5AqvB4SETEc4qoRfdM7kCewEvC6St4GSHkHGxN7QFmde8U1JiyVP
CwTIDVg/B2XQ1ZB6HWUTooYlQSaA3MqY0i2Fr+ShLHCQ6Iv4sav4odmnzlY4xl2e50+ibC95tOIq
VIUO/SzKDoqTqBsEnaYboy2K77qEAmu3tGsTG5+VM7N06qRACoNjglMKpu1zc+7FGTxh5TI5Tih8
BA4vbUscuxHNxDmPbmwNnczaxlkT3hCN0kr91Uv2g14P53g6J+IEuFxECJDcObGeoSIvnkEfwF+1
nVVy2+SekbUVoacBPpEOzfuLcFlkqzMJ+NVyHi4teErGr9eE1gjRDeVY+jgafTMTA7s/40yEvRzt
b4agor5YFtIKX0e4VCuqLqn70k8H9VMz1CD0i+JTVkZ76jKxu0Q/ZqjdWQ2gxPdf7tRVB5KGmOFZ
3uTNpZMi0KSNculDyjimtvGEaOgHo8lvp6i4NUpj8oqkPyO3vKzoN28LRAm5D9p2b6i2qV3bs9wq
vC3UfpzH5ofKyFHNTPErDYYzg52aWhoJ1IOXbseb6kY3ZUE52o7wM8O8lZKOVjFobGTOLoRVXki6
9aBV5kMSyWdw0qcmlu4FLHRaYgREq1VjDGZUSjocxh5On9JshRrgwFjG3UZUytaYVMQn0vTz+1/z
OSNdTS1FSjRhaKsuJtur9DFFjQ1yX8Sos5MedKm5VBTSNb0xvuNoE7rYQ6OWNObfY7PdU17aoI5x
oUxm70nNzLRYTrWlqJrvwmGCWlXDz3NbcHxbZJ/wtUx+6LqgFig1W2BfjVeYmuEpTf1gpcZ3J22/
WmLWNmJWPmppZ7id4lzPVir5jeTgvF1Gj0JTwVYkTUit0b6gTtO7nZ5Gm8RJo23d4PBlWbW6A2gg
bfq4enh/elT17cpbEnmaSmR1AMqXn784M4xMhwM3BqUPGZZgypJ0V10SMNHILlBy46hPyL6JQD5O
S3QQSWr1LZuKXdpk84Mc6Zu2i5qtVeYHAx+trWKVOpNR6V4S619NO8k3Cfos2AHgNv7+o5+4mKBt
YehCXxyntTVguQ2NGLql4JYwx9AbeR63K1AnH5oxvLQFX7XDvOjM3jmRNC6sI3pCDhgd2u6rXCzL
EEKuZ6P0a7ivu24cLU/NqEAI7mVKIELGWDzPPceQgh0a0BhvK2QWSVLIrhNoH3EI+z4O7Se8Zgd3
kOe7RJj6EfnIaiuXzlk7nuVpXi/+JUhAIYz6CcSb9ZYTTRtWVqcXvuwssn3JB60IWjcuy9rD/3Bc
/m8eE8tDJRM9jZgq3w/qcE7h/e2BA7ScWGWBUNGqWp+oY1Jh+2wPBdre6QVejteyHEE3mrYtpiPF
5FwOMSGsDQ3n/RXyNn8AxWIvGmRLg5E7ZDmRXi5uuN0GAKnSzwBVAVxzfBFhsDS1tieH3+sgemCV
uqPRXWXtmbj9zV28GnqVulRNDGJOzrgi22mfBiPIYfoHoj8TK50ZZl0St3s1i6wqZRM4/VWRdRRX
G18tz9Wb3lz4y9sgj7aY53FOrL3rQjk3Oy1hIodRrw+BWZUXmXIWPX/6ewF6W1rmaMeuod3qbHdA
UZKSPkUK60N/iEz92oyj773j3HZhHrk0tS6qutqrnb39O4tl0TMDb0PcucZziqxvSQZCBhfSsei0
uy5Ifk5p27mTeKza6hAmUebZ9QewW4czY7/Zp8v8vhh7FfEmYGSiKGTsMO6Qtsq2tbl0akn6JnNT
9P2HSk++jLb0YWzEJf63ZzbKm6N0GR5RGvqWVFjperzeJ2GxQAVTp/B7+3s0oTGbhxdDdaNmyR6F
uTODvYl1VoOtaiKzFEok0EiB50Xt9baKbGK3GQyVqvU51vK5odbJkkzzkNSw8Bu5cMsh90JOP6W/
VynKv/8FT49kIElD7A98c3XSAAEWlQkw1u9aS98K0yyWVtFIKjtP1whb939nEmk1U1jCTslalwRz
OpIGPe3Cnxyg37Gahm7dZwJgZ65uulHLzqzQk+/3YrzVCsH1use2lo8Wh+LWUoarpq4OFTotstru
/8ZULhp+i/odKJTVR0smqsMZIsO+EoMEEDbKgE3p1Vk+EB6ea6a/iUmXxbho7DGVJLnr79ZIahEg
M8R7TXpDNxdhm9q87px221TzIQFTlkp/mQcLgR6dQYq5S68IAupqB+i1LMltsHy8LvbKSZU2TRB9
b6t8q4TiIOn5JU71sRviG1G01kPW12eSqxO3xqsHWE1xpwsdiRj2exUDu8nMvU6HIrOH+/e/5Ilb
gyVDBkfJmubBc57/4vrNKnM28fVh+ylKdCQ2r9ww7c4tzT8cqF5FOfRoAS0RlxEJKs8wrJfXfNPO
HNspMaypSt/iWA7u9SQ3d0QEHtI722aQo7sJlOt20iZkHXFf7Sn5bVI1Rh9nlB9SqfpllwKNFlvt
fctO6kPbUV/LKvGQQmjYWXO9n9Tmoiq1q2RU76YCoGESm+MBXHy/w3pBcqO+Gly8VWW4FY7kBar4
SH0KpZEydPyWcjdqO4V+EeRFu0BeMG8w27RESjtgndMsx1FLaGnsN31u/yp7OdzXWWRcln287wvp
tu+0/CJlpE1pzo7nDPJR6TR7M/faRTCk7a5vnO52LqTt0Dvpvq8V1UcXqkBgc/4p2lS/rgL9S0h9
azPS862MOlyQ21it6NJHNImzSz7SNyMzx4eW7NgrnXB2VU3M+zFEJ3bGK3ZvCnQdVFjbh6GHwyxJ
bempVXLRzeO+FFnmOrlEupJ11V2U6LbfFVZwoyOj5YOSy9zUBGOhG2RNptJuQry33TiQv4qm+zBI
geRqeJ9agXJIFTEJenuqsasbYYI3UK2vEeN6sYF0S25psJNCabqaUnnYROkc3C3Ge14RJ/WRZrnt
VeywY1TLpmssxcMhStMnadaqo4new7VcE3p2beBOXYjHFqSJrRmqyaVthKUn5/qhliNjq5utfBiK
8FKBxbs38mw4xLrSbwtNedCm8DHIh8RNhodY0YZjrFjAXUUNcN1OfxR6Jq77uf5Omg0bxAS3T/3c
dfS59VE/TbaDXO4HsAVbHUAYd2A6IUwg23sEekCgJ8q+F7YH9dSBKDNp2zBJjA1tY20vmcUNlXe+
3RD0kR+PreXOXWl8QTyFrsYYJt0F4Bys7m0t2GVJOxfgVcsBICs4VnghHxVALlDCq951rFz1lTw0
N7j9lEe9a8Y9rI0o9BKk1JKw/FLaTbYLNXQ3BnsY7uy2x5NW1boDalJXwpzkz4MUGkf43eltHQhN
2pZdYrkNUjvSpAeXpi3pm0DXh28GRFa/YOKbrQwKQNv1hSlX+35UpCtTr9Ka8nENyU0JJtdRI1e1
wmjXa3Nz1xWd6ltzn3I4mymMdmP0qOcWrjELcZHTqjhI8oiwUJP4SVma/Hr5yZLbvZIP5aPRwTOA
2XJPHp1+orcpq24PAvJQ9Wb7GGki3yYw2QN85JvhyYgiVUfvfuiro6NWg73BjCjx0qT7EE/K3qJg
AZU6wqwZNXac0nINKdAsas0jtopfrWgEiixDeOlEZrkD8rg3gAJrbwilHb4PtTtrHRly1XSYhnRk
bG45Behuzk7vZ0qFz1YiDcOlGoaPrTyY26Dlfs01A+sntQ7nm1YAL/NDewJeSNpzbeVNwJlRd6kr
lAnnHy2fseueS8qeNjxwT6gNEKUwrNCstboBikw9WvLWSkpxI0lFf2XlTn9sFPbMTkm6YpubUvMQ
T5Jy0LNSh+eS6/GPsQxurMjGoqdvzG3Z67HXy4F8h2yGqblDyUk25WZxGSTDoR+aaxy1BqyKi59G
J42GJyIs3UXlzLUnxQY1ySALzIPSQJP3y7Qero3CuMdk2WtaMmiHKswF9ryDm4tA31TS6MmpfpN2
yS1QxbsB3HkUiM9YoP+skYh2LUe6MLLs2g7lvRUPR30WqOTG6GJaVhR5Xa18lmbshVh74aazEyrJ
WXacgNn4cIAvbDO7m2V09ey4LrYzIjYb8o8v4BFQ2SvgQGNb+dkyuDEqAh9vCrVbuyENGftO8ceo
vaVm9zO3WRdjMw0b5B0OSoQPAFfOJzXj/3Za6xcDQbgAytZWPcqS8cei0zeD9rlvZ5CYdfe5MfPP
kUxO3tsSSbIs7genfUht7UrKodCkbXlpx9Z2kHRAT9V93+rfdQs80GAO22CeaErH+5CZUSbnTmoD
ttgnp6sbVzLlbVYWO9vurgozPFp2geK3MyC7Ri1qM1UUUs06ugwKwwva/CnpmUDnU1Q6XiWcj0UR
Y1NiHtDi+hUkoZ/kzVWYRReR0W3x1nmSs+JjP+ibaFAGHMrUpVhKFG8CGku0B0uRLrj9PYWkdIoN
n+L5tRZ+VcY2Y5tHn3thXmmppXoszMob0uJW1ea9Y3IWjAi03UsKOz2d809aP7nDZPu4VdzQK/bM
vjVoRUk/UDXpOV3Dax38vR4rXyW9udNxqT5wzrgdxtXsqW9pP0EwTbftqBTfHQp+YZRfyHVt+6Fz
b6IkLCmj/ZiX6VWbm1d1q6AL1rMch1raT5l+/D/sncmS3Dq2Zb+I19g3U5LuHp2akELthKZQwxYE
QbD/+lq8Ny1T4QqTP+WbVJmVWV4NpAxBBEEA55x91h4yz7qiNTJZnEy+rvKiSZXrLWlg4tvgTYAQ
uUqg9q9Sd/WHxA23k6v0m7pdvsO3mG4UtfvhptFz7i+nwp9K/XEtlqm8x4as7eV9JoOlOKCR9Ong
rLcbMpg/fn8Ney6s3oXtzo7+D7n4neWssiULaMMnU1bhExpMBXpAdH7hJ3t+tdrmK9S473N3vhrD
8lJM/UxgSc2ddC8eqQh+z8MU1S6TwTKSJ62xyC3Cq2Yw6EB6K5v5ZZT5rx0o75lJRVUr1rn/3Sq9
m7UP7gcLl1z9xWyMdLikCPj18otKl675PSm0hxdnodrsSiPPQyiGOf6Cs00PnWgTAzXo72f918gC
UMfeJo+Wj7aZc6UUcKksysBpsPCHJCvtGEp6vGxvpp1VNxWphPj3+xF/fTAT6SeoPPAZhJTn3Yqu
WSi0wWRPZs+/Dq0p4bL9YrvYXvtMKEiwBADDpQIJP/dsNRVVabaUTuVp0uNNHnknURioIfujqewL
T/Tcyt0DMy4/OJ4BBD7LorkSw9UhYKxAQDXxs6O/frHb9y4kl8RpcYcpHDddSS134aW65/5XnwUV
Pw99Lo+Uos/acmA212a9zUvqB3gkc/R313DX4m3jQByL4GZywz8PtZ8MfDa/WBkZvZgLeXKy6MHq
9dFru+OoWiA+w5+iFPZAlNQ/XyjhE6L8p3mfZfPqpWtJOxktoaZj3ROiJHBeL/R+P7MLAFmmSQ5V
JO/xvAST25jobpT3T+M8xn70wW5mSk7OFVikQ20EF6Qqzy0amJa7daVP1png8+lTmf4Y2F0z8B3A
F/LN6UbIybjqw/px6ztSiExvnK3Ouxy3Dj+4pAN95ivckZqo5Vy6f4AhPR29Lpp6kkLy+jZBRWBY
62MV+GXSj9YlvNGvWwzgzr3zB6AWm8w5RA6DgqlceiVPxbR5t50HyU4Ie6L4MJdXtYeICyvahZ7g
wb9QNnomsv9pZHgOTx+yM1r2hoCHDHR4vVcPs9A9/X43e2ab2XNAvEacD9Aenb3FfPNVs5V8f946
3Lb+Vei8dAgnMMO8MNAzq3PHn5K320mtcBSfPoug87nIZvaYsO4/2upNv9bfpBEelM5vA+1f+Lqf
Wx57Fyf95BzI4KKejrYZ4dLX3K5PlMySfvCPvbTjfLk0e8+8oD0+BEoVgNqnsPx0mL5sttUu+OSQ
JHzud2mi597//gU9OwQlAZL1dGexkTwdYmnazeww4zst5frCF0LF9hA+/O/G2BfJTxmkHOCpX0Rs
UBWkAcqO8VBfQvY880Iw92YDhIyOsvnvAulPQ6B6mTvSGe1piMz3oSy/TZ17VZjrf3E68/fv/YAE
qmiGz6ZrWkJ4SD7jtMH2fhLV4+S0RYxq/PD7KXv+ef4zztmUBW4+Ka8jt4dUx4i3ekrnMHyAD32h
ge/51/+fcfbP6qd5M+bVQYPH89Didw8M6d4QxaVSwbNjQDf9u58q8s5bBsbV72Gd7+dTkB1GoOeq
v3TFeH4IKpMkEHe747NcbBeu4YIsgQTwYNxUQ3s3Te7V79/IMzsZqUZEHbQRejzL2WZpThHqxIh0
r9yaH242vlhF8ai0uNuiS+X8Z58moD7HtdYBp7b/+U8vxeqzxuf1t6eF+wkkYh5p+mOtCpbqqGNw
neLlA4I9HyOSdTTVfntCh/QyMqSKp3A6uqpMzCq8kKh+7nn2yx8tdQFtHOdIA38eGi+SJmMN5v2m
3+TZpR3muc9lB1oF2H6ibv3lmmf10s+9iZezirs9qsRdgxRjeUH78twwSFDg3wS4qDrnhfgGAUmY
ZxwyDnBrVy6kKIl6nEuM6L/RX2e3Vo7LgNs51ROLXpCnCwDmxBZmDQuAJPQruZJNBAttBXHXqTTo
vKNRoUCLgnTovWuPdI6Vg53Rn2ofpodvAX4HWfNVbPsdYotdJeLNjk617FLuwzft7L5t5XYwaPzv
nTG2nJeT5104IJ85jp88wdm5v5MUQx057akZHLLLj4NrnypTvrDd/uBetHd7djSYbPCukBhTCXo6
X3k0mmXQsZjLvkzN7ZWxrvBPVLzIH2V0qUj43CLgpvHvwc62ZrHQvheWDAbfK+Y8iIsxgMPz4ffb
zfOPBPxovxiiojy7YbRFPehwYQIXb8cuhMliFqcc3TtIXOlfQuQ8/0z/Ge3sujtN5Jw7yWh4BBwD
Zz15xvvCvnDdfH4QdBw7DxEJ9NnEZVOgGtEhYwmN9WC092Yk07q/5KX+3D7Njf3fo+wT+9Pm2Uyb
qSHBUZarstiMbrdhiUNSvZb7v3ycsyXeIY6eVqwfT5ODf4/42tifPGUn/8UyQKkEAYsImvvm06fh
rAsnMVr7PUCfjPmH46uTNAJMZoD4qOhC0PXs3P1ntPNeGrQL5ahnRstdfVjyKN3oB10p7hfjH4tP
OX/wsAksZCLUFc8Xg6/MzjH9lcVg2gmtCEcRBhfm7tn19tMQZytBj3loTsbCSoByRFY5lGNaALD9
/Rt6ds5o2OXyyeGGxv/pG6KeU2ZUN1ri1BdeYdK5IQ+dSVR8qQny+YFclAIYeBOWnj1O7q5B6wOm
Ow2U3JYALxdrSAa7jV3x8KePRG7NIvrddXn2Lymo1u4isyq56rSYpzmOutaaCokaX1UE3r8fap+d
pycdQ+EVgFTc+btT9+nsTXZXWCMtb6fMCI6hWt8jfzgVVvHSqIuTcO4o1wLKvTDorwuDQcmxwR1H
qItW5umg9RY1vmg3bgv1djCDD5FsXgo9X1h+v+7gjOJxHkH3IVY4Tx1G1ohmW/C+5mo70FJCAVAc
avNDifmgs/kX3tmzz0TYTEaUjuBflOuKpjIvV3xPg1GnFo0mjUG9cP5Tay/U4lhDAdFgFCBV59QC
qpBNXVSr4KJlJ9y4cUezYzW2FzaiX2+M5NupnWFEu3cPnIcM5obCt6xDccq1Wftp2JnDQ4hl4CWV
+DOzRos4OjXglDSBnmdB83ZqygGA7ElI960L/M6avdc0t/zxBXiX1zv0QhDHo0852yOsrW6cJsCE
sKrqHmwQGklsYS6cR8+sN5DSAGyQtaIHP5dJDiHGPcuwiZMdrQfPlnfCjO6mVR1sGCyt2z7+/su9
NNzZMxFaz8CgTHEC8n6kJPEKoHi8VwEiVaZwxD79F8NBHIHfQ7IakcjTb7YtpGlP/sRwXZ9A2Dll
3nYqWiduyjCuqA3+frhn9iUkL+yAPp0RxPtn16810gXOm0KcZgDbi5V/8TZ1QN6HufjLcl2vxjXA
yufSxf/XLd56Mqr99CFHv6u3VbbihBoh6coNldtyWHV5qoV/+PsB/4gfdfoud7SZPodCPaG7/c+o
bw9S8L/zv+j/QsjbLgj9DV1qbPIvffnlZ77U/hP/8KXs8K9dnATejf4gcgC7xec/eCnb/ssBibBb
kaEEJxvPn/wLL+W6f9EHTXS2J3f3Vhj+un/x3VzrL049iku7vJvYGJn6n/Cl/v7C/3OYEsPTarX/
4/avxAaRc7Zo3bnM5jGbZrQKefUKUCESAsNzN+SuEnNpRcGSrjtQb6mgq+R73YQyo2NkFFZamrr6
4IeoHw9T59Uve7fMNNTVsWpTpPBWhgBl2D5arlE6icfnXVJ9nmydhPx2AB+aDYfLyNJH112TqTeb
00ZRGpU51lIZIJYqLgorvB/BBxmxtdg+9k6wRzAwtZt8TZwot74pi5dDinB5XxVrdjdkG8NO+VJn
MbB2JCKB1wRrXGffbasu8ZfOobMEtSqO/dx+mIQ4orN8ZTviVeENH42NQt0cvjC84q6uAK8KneI7
e8ymMfGUcditsjJbHIpuucqoz9s0oPL/K9O6opWZBgETZWS+JQYok+H1wtb06Nnv+0iiAjUL+0UV
9hSMy6TL+gNXjCtt7vpiyNnGnLZhdYtY4p1ZL/dr6MN7RXuwWfzkGMyxkXcHDV+AinViLnNJC6Na
918OKg96wP2hOSPjX/kRd0uzwkDxEcXB6HzMA3lcW3HdK7fFN0UhPJiorYbIu0p3BSzvfbbVEn1q
ynI6UvZyVSz1sqA2ky6O1UaYfzCcOf9oKQkJq3Aa4/tso/GJLYSTL6ZeaLqIlsqIF+6Hfew4PdoG
UH7U27sOsnUcTWb9ruz7/mUVGhLlV+64d2vRBKeh7YLbpnZo8kRpc4PStJ9i2y9A1vhD8a7sinxN
63WecZHWqipwN5i6Y2/NPYVsBEtlWmqnfJNHu2rM0VZ527CYT5nv60MdDOKegtB6NDERP86roWOz
X96i8GlCSvjZ/MMsozqJ/Cm7qq0W36TGwIOXvbb9gY2FuGXlL1dDboIM9LIoDb12uh4Cqa+UphNV
t7r4ug6tCxbX2zNhtqhf5dW8HfKs+5q743yolmz80faoqiPlBnimiUzD8hVreBMs9NABliFPk5Sz
QgYYDKj3EtDC8tuw+MPHYh66DzbeJO3V3Gco8kCSRfdIyNBwDFLzgnG96L/1kdO/X7icfjC7oeni
jLTM62VSSFo3Jww+y0LoDz022o9ry9AxGM+1TNtKt3eeU5lFrOrBzmNhKu9VllUrqh1AHl8dMa+s
scKO3q2RmKwEv3m6bLKm0I8638YwKdYcdGiV9bY8FCqPYNYi8qMJvYvmO7ce4EIti1l/1y4AhcTu
lv5Oz25mosscefTJXFcRN509FXeyccV32DHz18BBgPfSEqXsH+sKNSC9wBqtqrlfh+vA6MZTEbqN
Oga9zMKrQKF9oY2kHtyU/7L+Fi2O85HFwzOyO9nxBlQdHxTSL+BlfZQZaTBPQt41YqzKa3Dqvr6W
Q1CHL6ydaNx6W23dN2M/sgMBikTkyAfgxkWgZ/qWh3o1rhw0BNbdVpHOoSdiwLTeyvpiBQUVmdlL
0nDSTwUqRJdguCqyNKMfekjtyu6IuvINidtoTVaUtLjLMY3aIbFNgy07DVl0x0ffMucFWDw+65Sp
UujJtHauMGPUzQ09dCbOjBIBISFSaR4Q/41tjLh/7E9lHYT9CewrzoPj7OfwfLMR02ehc6s7FK7Z
wUZxvWz5UBR6foVy0bUODU53u1jd8OUhQp/s4PZQjpJL7bCo26UNo6/WNvQT/5YO+ZO7Zo6dLBju
DZhKWtuSYOzjysRleak7FWHgeU3H9GAlUdNWxVEuUfAxklG0XRVkPrjlzWGmj0o1k3Vtg7PHoiSD
hh0bUet1MU1ShrjB2tWJboxdL3gn8rFtDpm3qzZGHY6vl0Y7L1e5agDfXT/khwaBlrzy59mcuXUh
PsL6fKgofloYxx/syckscq9Sk+MsTZjGGyo1K+Ua53V3yzCU3zfl75KpWnfrq8CXwkcpY1vFYQu7
6tqcWMaJNYkAFEiOJh2UF7hoSvMLXvRVX8/D9bx47Zeob6a7TM0T4tmoGW+w5UQkxxFQQdyGd24d
V8BRbbwtw3TbddKtkMr5fJIaKtKSDL1Q3rURmWOTGPUWuMipljWPCc3cz31buTnCzMlsUtNc+yht
2kWkTjX5t+PSoR8EQebfzdprqtSEtj7GHOouC8Aa6xql8OIucU73WhM7o6GGxGNv1UnEucPvCAe7
WbUEw3J0wtkOkrnoQ5jemzPJmISs/kwj4JTHUZfN89Eqq2BIwiqrg7R1Kwt3GXfdLMSVZRGli1NI
ESOuWmDhSBX0h7zZEMppNT2OzuKViRpHWiQcnXl35Fm771rlYJcnP6LHHNl/NqZurlJt2W8VbW0H
SxR+npr0pL6tPWdcY8AB4mpsiAHT3mnWuy2f5w9IjfOQKuSSbqApZKqr2X70OmkK8qBzOafdbJU3
U53r22bSujn4bYZPGRF2WaKD9oz71RZbeZxymX/ygve5hzVdIdzxm1j6FZEhdPR3HE8OgkyEcGUc
+nn01c0Cmsj8bVhfrasxiKQYaVmu2JezuKkCT8RGM+ZZzAT7b4POdb46cpBlYs/eMKatOXdfQ7zm
+kOmeumcBD43KC/NzEHdCCUMRtuit0QsYvgIi6ALknKdfZSSg+VDWg6dH142O9/cIA9gVavF+WzP
aEYPAzr6ETKTP7m4AhYzWx/eHiJt6Ln4kVPzdGOnmzD0izwPjbTaaKOMO/SKsCI91ZL5r2XwRmp3
seJoq/XXRbejHwfzyOsbFCq83U+Tl0QuiNPIREd9cOyVQCe0sByAD/jG6ZWiyN00mLFIFUmVFMGW
sZqCCHCfWqt6TGxkuk2q20Vp+k0t92bCzCiMsePM/QTR7nxcuyAsUf1lxoJqUqItz0pjiPOxKj7z
zUbfEDkg1fU2P8tibw37OUGlN3EJ8eepOnZ2sbxpTLe9H0rH+kJhVvJBbiDxDtuG3I8bS5ith43j
8gYwDXePpS0sI8GPY1niTFY9a1hMa48/qd7cw2ZK5cbgve3HsERTMvDrQGNRYOBVJvqyiCk1wmT/
86DrfxZPvfp/DNqLIdzv4qq7749f2jPa9v4T/8RVjv/XT6hex/sLRZpH+ifcm3NpIfx3LOW4f+2s
gl0nww+AmCKA/lcs5Th/meSLwPRQmEMGgjzyD2IparqE2j/HUgR3ZIWoJFN/QQF0rsrphymUuYBm
t/jlgJCe/eYbRAFklyII6xemwZ04qIb6kwjkSmV77at0BEf5mXPbDw8Nyvtv3EvwzgGP2bzDjjd7
rPFDd9MeJdfrLAsASLetkYHkbkX7Oa/NIbabHkdmszbqOxCsdUuzidiAr2hrBI5tAFDjlJrClr+z
QnNOB8bcpWbE/bcB2PiubaLqoZra+iFrpwLSy2YEb2UwowFH8N3d4R82P4h1KF8a07gOGEmU+R3i
avQrTd9kBZvAmKWWsZh9PHlr/3FwrCxLhqiP2tT3xvxlobegSwJf++/GCUBg2iMMXU5bNyLjJ1mB
JYa7IPAoxgYKf+iNHZCmda4/Ib371sx9XaW4qB54h3Z/UMZsNvEEZzVPXBXldWLns/nZ3VbnReAv
8oNTWC+pgnrFweBwoqaZ4ZsbOmNwaBUYmaNdSDbLcECxmDU2NJqd62rFrrdiKq8X07yhHbR1jvTm
FzTFmPkct820RnE4WoMRt6CQ6FcpwsYBBESaOeV3FTaFhpJJjs+ynxRWM7+dqrB6qbVnvnJMg+Co
gAqrQR5EtFS4A7fwtMAqIUNFNXtvSt2un8MwE1BOSUKz9xQbCWwVtaRjG+kUKPnH/DUSFvogsDkA
nlDWHaBcFTjFp2WUGWQKX9dFnC0zxyjZRMk2Fgh1NZIp/4pfRn0yNzpRjmtk1T8E7lLfyqKp1M3W
68ZK6tbwvzNfSqS9Gk3E66oYcGJfxbVjL0bL6TCKx37VnXH0zQrrCHfhvI67Ko/EsQd+W6WVD7Yg
yUlW3peaUzgestIBCMoe+2A6m/ohHem2eBMEuxDYq/WD223iLfVx4DlGZQvQEE6nbmixDz8u6+y5
JHJHs7/6/9vpsO5WBIi+fredPnxpty8Qcn5OU/39I//sp675F2xVBzUcbBCIizvR/F95qugvEsM0
uFJEQsHE5vrvvdUw/6JyDgsmiggmCRdQJf57dzUs66+AogKZULRV7Inknv5ge32a3seGgJ2bhhww
AhQRYAOdJXOnsrbzwWjwITcXpGBRpOQR0cKSn36aldf/bNc/o7+f5lP3cQg1fXZvkm9c5M8TYtks
txAuAL08ga7jSrX9e3Mp+/futskPNfeS4+/H+/W59qZz26e+7O+GQvuh8lPtmTYhrkeSjrKon/UR
rG6Btct4ieL23FPRcerRMYwIgZTj01EIM2FHRaTU6PGx7z2t2pF+qbJ4VYdb0cWhNi/hy0hR/nQY
Mo8064J8oHCB+A2BzdmIte3qUPUdU+hiQEXKvVyopFYuCaAqv2jJdGGws0lU5rqhSuN9KYsmqVNj
S+ddjT9dSVyTqz99Y1wv4H9yO0Y15LFWzuZywABx9OhLY7sywHgEbZrPXn9hlGfmDz9B+oTJ8u68
7/3Pf1oXpIn8wS7o8AJoUt3WpTOc+jrYEk2G6p8r5hOflp+X/C9LcDcY2MfykS5jGH0+VNkQWC1z
jT1HZ117PEzCRz1f+LCeGwV8GU3XFpctlEpPH4iUi9esK8KkvnOtUw24OrEyr7ogbHf2dfWfS9jf
647yM7K73TEB7d3Z27GNQFCIJK6p84IotteL34RMYldgTu1N4wCjdZj0i27y1Je8N6oVLmSraOpS
HeR8sYm+fwA+uMmk1ZFqj/h9ZmFcTm3zYm0tID3WkI3EuzLM82RY6Jk9ueXY6qssMHE872cr/zHr
0snSwdlkk3hTFX3xm4B87UbhfyPLJPSbqDKVui7BYIZpO8rgU45M7ZLv0f6s53PBEt0L80gCkU48
nXL2gZxMIVe5aK1DQqvVh0UTyOYem5n6jT+RV2+G0Tpy7/HG2DPK6IL+/5l3Tj0PbDclkL3v/ewf
MOiJmHP2akIt+oPtuee+5cyXeK7PfCoOohAswcA8A2A+22rybTMmbHLqeFTjmtiT7d06gzmlpqr9
r7/frX/ZR9nMdsJasJMw6fE522gq3xtKzyuAxQMB/BYsUz3EredsdC33Tvm29TL7Eg/tmTlE6sDZ
vLe4Q8Y7m0OjW0pQkAxpgV2EELWQpi/D9Y+q51jvAsvhAhm4SDhQ4Z0bXpZO2xMkZ/vXaVh1Sqiv
l7gnWxqmv5/B88fZEeA258F+FNn7sni6Jvva17IwKoERsV/cWBuX78DVy9s/H+Wf6wJYF5be/h5/
2j3l0qqiMJSIw2hx4nEE7gtfq/zDjZNngVmDJhbNLXK782YIQVPq0NqjiMnLiFt6kPN4mxrj9e+f
ZX/BP3/Fe7PVftAgU6W9BLn602eponJUeUm7CqmH7r60hEiN0V6/WeKbPWLM2xaX/DqoJ56PyYmA
+pZDbh8WTc/TMdsFaexMbx6NwD0UTCgquzu0aA3MpbHba69DWLof3GnKstTOlLATdpqhTaDcqdMm
utGNMW+ym6uCg2vcqQs6TJWPpQDRqBqBbbjOHAJoqIaJBhmxPurImoPEEnYPek329Y9NzY2b0q3d
22ko3b46+g42JnHkDLpPfZOSzY1Xu0WXOl01wd50NlrBlso2wNdsbUd7deAOyeo481svWtzPueYF
Hce1sFXc5PBS4iVy5qvehtwWSxKwM9zSntJcMyv9fbW6mUrebPtrQt5T9sCAAqdJImui/LZwXJrJ
klmgHzrKIh8b6qDbwYo6XCPcUHUybZTVjwcdFmKJq8LCNGG1Se1zz3MgaG5jjkdv03KCfW4Wi8BO
TkhWjmJaPMpuW1EcxzLrzRfh5gaPbrca6h3J4TCIq2F2c4f8VEsbTtJb5IYBK0DM3QBtrFLGyjNl
8IEeEL/gXwgulROvLTuyh5aHUKpVs4QwsswPGweRSFzhz3uWbZ2zJtYzCckUxlJowObvzSoFL7UE
V7l2ijaJYJ19dVgERGzh5D8OhSjm94YU2ZdATtT9sCkysD31wvUNeinj21JbwRJjlqceprFyjcfO
N7cHzKhtMol05osrST7ibR6Cnb3uqpncsVsVYsNRLFLGOxUCno1Do7Qo6ujiM62spky6yO4+qbwt
aQLWQ6Bxt5znoMbfcLcXUW2g8Qcnu+gmCpeP8EhdqqEj3Fajcm5oCiY16I7G9HloJ7P7HNRicA/G
5GbFsWoIDE7jRiLyiC+ZS3lMT45xNHSOZk7oDUiBUc2VfXILNVHXM43gsyEtTU3arzYSiEXOOo9q
xyHxWIBYaStfDd/c0rDXWy3I7F6TYi2nWOFsNiSk+4fmWKt6e828W9UHhFqW+ZW8SjO8W6mY66uR
CndF/cxorXTN1uBjvrSZn+Zkc94KYy2d6xYChPHYRo2arsWa7RbvYsrNo2fOtZOotaZsA9CyC374
whQ1c+a41VcdNIvxcpIm2Aa7lE55g4fBUN2Rns9B19Gu3D1qAzJgHrf9iLcHKfpiu/L44rtvCDEp
WXJR7P10HbcFFC0IpO5+jeaiPWSt2I0Od4wHKSF6xtPaQjxHlcvtrbhQo6vJ6Aj1DtdwV6Ve04n2
NlqmEKZBtAX5wXNKN4z7Kef2K8Esixc+EZR+UZRlLVrSRZhNuidNkdL3Uk04CyuAtlSTNR5NzbIe
sNF0Wyq2qq5v4MOJKs0J9HSSD5v8jKWJfS2qYBlfs+UU+miDTMEZAsihB6SAyobXf9KBMw7D974c
CWEs0CeVJ6Eq+1EeYn3Xt+VWv6/C2gI/COr71TQ1lYytrsJy1iR5X+V5RJK5VjMunlAVreF280W+
xEuzNV8yphVaCta90CQ6O3qIck6aGCEt6Jl5HdT7JZwUpA+x5ABYdnufo5ypmMWz6/d10gvX6Cm5
+QM0S8MBruxCiA7jqOiDLdaWYc5JWBMoXBlD5PXp2DT++G3eqGQkuKeP+naoSwqRLbdU87QuU569
cGmFqA5dXe4lYGUWYpdwEIuGU2W6V4tvmOXBnHT10lgkR7bnzB4VblCM3XUZ6qBNlAw7jGKpUuMZ
luPTowaLf33FrYXqgq7E22HxAA2ZEFf4MmWmlpPvZST/R9sl2bR2tVrALXfmvdGYW3bTtXPW8aF0
+evKb8SrsuIj4DadlW/5OyhZzONibqjBwTDfyiZkb4aFITMAKP4cJnMVFtb1ps2lPVqdBLtrkNPD
y3QWH3EyDLIEg6bm+6BUQAfEbHvEqFuGOINNpy1vHBlmj0aIoXDaEUM4gDoDH1XFZHSPhj3SyzFg
tvPgWBXmp0s5KfN6sNBIxJlnTC+MOWvt06BLirB1Hmb7xyKi5kiZtXlPocUkBVv19sOytESPnbVn
XnuVLyP+IKSpD9u6+V86jk7sdE3qvAn0TflZYGgkqetb6hrBHKIDWxMDxYExslsjN97eG0gWHfh5
RTFjBTvMt3wcFMArs+1euNgTlHE/mqN52OxMwwc2Ve7HeyWpTpZeaB5y8PJ3Y6U9LxHt3Cu0JjAg
vpeSb+Qd/0wPwoKYgoYFhHb041asfnc7CBMX71IPokuEhWD/QAG9hW/U2kX22eXHxtTSKuhgf1hz
nkBg2GYcWUbXS6ZiKDywM6advx0XrF8PDpW8Ngl6e5aJlzW1iceVAZSjnHwnTGRoTJoFWtvyJmxa
ib1jh8ftQdoKDyiSztI8bkWZbddrFUXTXVtLp7oN2XjKw2K7a3WQWbR6nz0bM0YTCymvnq9Fz5l8
BPe6lu9H01XZQQ02v85KeNnLTlDurhOnbnvzLtKBWjjD20WH94hnu/4xK6Tf/5irbBxOrVN74irn
dFhiycZcXm3aoqg11x1KR4O9xboic1W86+s8oyhm+POabDrM5KEpKwisKE0MaEf5WrKl4lczxNs6
4JKmXGyzYqPsPX1TIZvYBSN2NFNxLCkweq3fcqByd3IeStMZaZ9ZWsQddJ/Z1lWLd0zJ0TxtTiIA
4NnX1WyGzK5Rz1Oqink+hRLVADZ8RIN4FdScYYTHkjtMKfPphkYstnsajmuUMYa3AWSOqCoqsn8v
ezib1WHi2tLDOODcOuE4XJVJtQTyx8o2GyZhWeTvqMtTnivZKbJbWld7/8i3X1cxzBMZpZx00Yt8
8u08UaSIoIJYAgiMtfrVu8JE+pLipO6RU25qUR66ddznt1HGeyE2vpGwwTw0rrzG2HYjYoAzDVrZ
k9sP6g5eVEa6sFgn5yDnxcGUx3PW96PGeEIrFfqpHfX+j5CXhumX2hp5GOANmIcpQ9SbxRnpAqxG
qS19ygzTnx6WYlmME+IE/GiMIqRtaMq9vj/MXP0+OHXmfS09s2vpuhnZ5TezDdnWHGdZb5wZ0X/i
tkZ9Am+AKaDwypYyPPLcGmp34c3J2OnoHYXHoo2bqMBCTS+l+bEaAyNKAo5S7p9Lb4uj0Y4BQJ1M
Om9dIZz+Okf8P8a6t0SQNsiGrGMgGhxXNQ3iXjxQeA1jaYx86Z4svAfEOhKUTDZXJ5Vn0Kl6dlQz
Qdw+uNRgDD842FG4hPdBS0bniJhEB/B6Ks5Aq16agzOWZPvbxqaEUC4YNpPdtx78QSKvA7TafpmG
oGV+Blhz+0Hck/O39x5Ovbik6VCDUXohJoBlQx7G+TaqPkAHUzYuKKhCWE6sR9l97Ocapyi/2QRp
Q5xUkQiEPcI7qAI0NFjQuqyY8L+muhOE+n50WOSpTaHKTEJquVXaaAv+7cSatGM8XN333WjmiG/8
qrmdiG3Co6fBccWDOy1EL7Jc738fvDnnGQMCKUxCCQ739iXqk2dpL9PjcoqCBi3AwKXnxuXjKBIg
gNl6J3PMuI9lMRjRaQV6tKWAjMD/jSh6X2/WQF0PQJasjyuuxGtatM3mnQBWu5gR+N0gXzemZ7Vv
3ElPKImI2LZjmFNKuc6nyv400Ns6Ud1mN7wn1M7LRKxwLWJH+v4nGnqK4MHaAucaRr4fpOHY5e9d
u0JIuYGfeLVCMDZPVHNy/2RkmRHFJJL8Ohb9PE6ffj9Hv04RLQ/+35p60iqeeZZU+T/snUd33Eia
rv/KPbNHH3izhUnLpCdFaYNDygABGzAB9+vvk6qaO12q6eqp7T2z6UVLpSQzkRHf99q8y2WaNYSA
0ThvvGjulh5SIvwpEq8L/YV+CvX81y/4K2CEe+SaHg3UT3TgVU77x+12WgtPL1dkKEulV183YiFi
lg7m5HZDufS3X4twAVIMPDx+cCS/gFNp1kvCA0UbAhVZu03xPVR5N+/xiwZ/F1q51jQgmcd9YwC0
/tpyHjSpGJw6QwXoy7dAlOTkkW71b967PyMDeFPsnyzRlfP5NTSh6IIaCcjCYJKr4kddmPl9X8v5
+Nfv2n/3KoT7QUfxnbkWd/7xE6p9ZIoWS06YB9V0MERJ14iOyP2vX8X484Nw/feBVGDtTfJQfnkZ
x9XLwBl61KPTyME/AB0vjIiG2xJM1Dta5Ct96O4HCZbw4i6uqT8VrHIbWl9jbENzXW3zhpupc4+r
MlbvmBtZ6UWpVy9//8PlO2lctQpIC/if6zv2T4iWFUgS9L3r++6Nj5akYmTQWu83dvR/zASQHwSk
dRWl/9bw8AvWaEzBZMJOg2YOrCHMtbL341XilQ//+p3/0xtPMjn3Gi+E5NwkreKPv03ZeFOHeI/K
XHccd9pMkSYWZAonN7osfi+i/5e/1Z9fDGrzSrJdyQeUIL98BfNNAVw5Ww/BvPXJVmlDRB3pK9LV
f9c1+yeojvPL9oDMKFgk+enXgwWnsicgo1TIw6tCe21nUuHq4k7kbXZJXRGEowr05K/fyz99V66H
Jtp9UPYreeP88l5mfq/MwYc8ECTnEYdWtzuTnJHfXuVvmT/+/9QhXR++v7B3fG9E8wfSnL/+uwbp
H8DyPMJX9hsuwL/a9X7jzPV/eFe78tUlBoSK9ZIa8P80dxj4PjDlAn//LKWA9/1/lLl79Xbw/fbR
JMExcCr9HcachCW+Rf+FHHvXl4BnQ8BCugF+4OCXM8Ncy5RgwSKcZe4sYj85vX+dr6zOaBCwlt7O
pLi4YwlDAstQNROqxNg7t99nbauMsJyH5SshrjOqy3lYPYBWylEjZ0nLIRzo0kmjSqOAK56bLgB5
o7PHSXofWCRsamPRYhNQ65m1373NrV7LE0LWt+raJNSZZ2Ix3ZwdXpXNpZwpHg15YTSO+sw/edjy
dGVDmauuCLFwzO25dVqxhLbqM3X0BuCL+6LTsHTIsShJUnURQ0Ue87iMBk/PgT/JQIuGoHb90zDP
SxCyxiuEsmPvZKFGHP9iSAosF4MfHt2MvZ6XjATesDVdNDpGIcQPkIHiURXQZgDVs03sV2fSmp0Z
C8rmzrK7Z7sB8WU569OXNAdjC3tnCYywqxy7ZzvvhyczsCU1utm4whnJgSQ4ZKnzu+h6huEuNXor
QXTUNMgwt8qKhT0YP2A0QI4nX2UW4sai6va5VtttgssC/NhWavHvqCos7MhwuOpJhHUKtRuk19E7
YgK4NuVgrmFfrgUjODqr17GzauJ6lKHLqLKnzE6cbWpvGwY+PyLJLXdizZ40Wk5mvzEjrwJqTEzC
FM296a+l2BHAZHg76kK8L0Wn5osoTPV90nHinJ2+6MY70bXFEC1mXyk+BpheIAqkPgeFFX3cWRsR
tHGT6nqBxtvGElEQobbGhgKs2Te+Sn+sqDzN/cI7+raa6eg8iCmvv7QOiVYE6E5Fc21f77zlZV4G
2N2h8CyxH036naNNeGO5Q6+fUgU2CcTcjPP1vbN4KTVfaK4+E4k0TPh+IEKYviaWV4/Q0S+0l3rv
xZUBITbF6u6JmJ4QpEPpsk0GoBRhylhch6g+qHergSBu/MmRiLCHKQMvMsuqZ9iyuVoogAWMGLSs
umY8Eyx7l9XpOkWWt2vWZfRD1+z8r2yN9QsbgXpSJAAEu9UvM8Jg6xIOqVoW/1sxDfYncHCoB8wf
NKalcs0/dENpt102YZ8IFOYmxpVpMQE7jeZt2kzrrcQdk5Narfn6BcLQOoyGSH/M18xOe6qyb023
mo8jNvH3ET08IuOmST9GrbF+iEr2n026H0+D6O2XNHWbz7q1Dt0BdXlm8K3BhLNrnc4sEiR9y0l3
B23NImZQcp9sPVv9eAQR4rnk+zhHS9aKz17rrtrOTBfgKtGbUDSktJLj106TIiF4ppcu9PTClVFK
Sy8go+ZvJFa4nZoiAyB5RftWyL2XVV2EZsny4sIxqnuSWi1CjSyrpnWFleajzf3pzfLF+DJztDzl
KhA1gEYPwZP6q/ru/vyoR4J3b7N6Nu/5dPFQDcZ4rHOQm75wxjo2F7v/0IqOX6qnzhw6ckDiD4+v
sXMDbTpU+lpjE+d9yxcc61dANPwkjC8jau7zaBJgSRS1jR8hJ+jF4wdGB7grDYeZdfYUCcL6WKc4
qQYrJWemz/2QhPkpiI2icInGzYkhAsYdUZH740KS7w5aqQdEM6BCsojFW4j7xrGtvVa05d2gu0IR
tT2s3Q70uv/QbaxkmJDkYMday8a227KsvgSKfe1myPjHe1v2djS7jVE8CtTYxs5ZjUnuXYhYdbS6
jdOxbqVhJcXaEesdXZWYS2IPzdTFo2P7u34yCdBNM8N9qQFTA34s6Nvuxd+6Wo+RleRHTYh8ucCX
BPleCt/Hip+uhPBKzTTIXkdd9tnqel0mZsXpdghsu70PWgmtiGd78KJ2RNcaEaKn7nIJ/xWWIDSs
MrNGrGxD+ZAVOsE0vlPzbhLYC2jQ8Icp5iXub2rpMjC2F8FU9iVLi5QMXje951Hny5KaRv1j9lac
RZ4jqgjBt2fcmPn0O1P/vyPSf4BeIIwLMIf+60HpWTUf/+c4VO/Nt+Gf56X/+m9/m5ocBz0hgBf0
/zXX858csfwJww+ZTJjRWZW9647zuyPWZDSiRgDbKxMVCr1rduvvKu7rH1mk9wVIIxAHXksA/obM
8JeRyWLbZALTDYjvKzRg/ALXGNhAgs4hptnTx6iEqiLnOn8rrPKjVpQ+8+VZiLX4N+KLX/ZQxCS8
KoPgVYeOFosI7z+uQ/wfwl0LbmEDWCccfc+5Oi1PxSpqckbFLVwg/BkBiEVd3WdOzk1T1+Jc9vlL
0QQqDnRQWR0mePfzE/zfJ/o/rg1D//pZBjwW0y9aWf6D3x5g/Mb/sJGvXDuFGf51nr7/nPs1N/gH
/AwBMhT6XfW0Vy3S74+wxh8hSrsaA9gMbZ5U/sXfn2ENMzg7AlpCGhaI47j+d3/jIb7ii38Y/a+N
nWhskAyxZfN0oev54xPlzxMMCotjMhFAnyWpu2Fsw5DdK9qiMmHOz5pZrvrJq2bNwpzcuhsJDIa9
fpC6aX9kmWTUGw3Gq2QI6HuIiD1YKe1z0R6oSK5bCaoMwvg4tuDUO7yFpcrhxAKm62VbuHXaDbnc
HW7bMeDIRUwROr3ldDe63tpM6QT45/NzY0jnMhdz1xzSqcegk0ylsy12tEHMDck4wV/T/dh1FPh1
bV/v2LDnH3Mtxy9F1pvkv4zc6GIl2qaZcQpA4N0uurU8oylpIqgZLyFJ9E7ji0wfhpr5q+LVVar9
irID8njqyYvP1g9d+NaZ7vZTpmcpZiXGQCCJAsVe2YVS4N2UtWHvt0I764YvCap3hsjLaN8wXJke
1yk4O7jv7mCJqFXIPSvidKN7d8MbDgAY49zKkqkap9vt6nfmBHTj1ssf6JKgg7Dobx215McxX3sm
Q+km/pT5RzJiTDhNh/nZGb9fV6rY6Ly7zHV6agy0k/TbH4a2PlhOuQHrUzZA7dlLpSa1n6cMKmQt
2gejMj+Cgl2hD5DT2KnsXmQt+qQ0odILvfzQMv9Ls2CN4rmkSEXfvlpurt1BI3FXi4Ihr9+WuIQI
Ds1WTE9loN5WvgSPUvKr0oerwqrJ0peSdfMLBvLgIKQrE21wr65G/2dhcgWvjn9seRbGkutQ0V35
ak66wAvGiOQ+dY1Yj26AQOI0TNNofSM/2/d4IFtNiyD6ndm8LYRlBzspnHHcFwTc30hzs/0kIBif
9mCUMU8aRJ1RjbheoONjg2BCY46tCUmwuvgjmoZ7bx0Dv018etUd/4fUWcvWm8xTQ2De53amEYLA
hqjjFQT9kw0eSHCqPY2cVp5AaqvHDLpqPfutbvRxpvXG0ywd893boLm0kTIUrGndA2krwcM0D/1B
mA6apsVlup3GlOIXMbpvPLZWtEHaQpq4zhyOej0eKDTsLn1ayB9WZqEpzBpMcy5BxyeaSNZbBaxI
hQZ19aBXr4NI1znyipIohol9LcOLfWss1j1mf4ptXDLrR4hSQYCBS1FjmRY8xf6s5HSuOS/8Ez1L
rD77odOW7cBmLyM7W7TzbFT6wQ9IP7NTmmBsjdC1IDeZegVE/c0gu6w/DFQw6FffHmEMYVuuwUeQ
d+mhciapsI6m44jPOUsPKtWycO2GFwZn54vGNRr69ZS3oZw1vH1K5vekfK97T9OMJKCib9f6jU6c
ZD+GM+G1kZ/6Lq0bdhXmrXjbJFU76dh0R2N2tJilk4KVHKdl0IjyQRTbdhrs2kfsChVW+HdABOJM
N0lzlEDw59JBB+Xr/QxFYvdvbb1q53aEWJzb0UdkNRdMlrCc5cJjn60bb4aVIa9wrn9lg44DAKgI
Cp79/TAYeUYJtCfOPs6qPf0N/t43teFYAa9GhSJAESwguCE0yr9tG9tCRFXoB53+2vOczxp8tGW/
wBKO0ZDlQCkD4/66FcchX7onne9J+PMly3HtnnBc+3gsf/5UwWvWc2KFRAUIN+bj4HVxmr39/ARb
iKxDyx4b++b1X4Bb/g7I0tBgk7+XrSbOy2xrp77N52OWN8uzv/KWcPamd+NoDZHhDVWU91IcmwlM
drBdfj8ELLuZfsq9AykVejKwjuQl1uG8rOZd501z4lc8PUI6eSQX9zOGyuL95+u3gZt/mj232pcD
fwOpQXD78z1ss3Z51jG1Hv3eZmXIKif/pPPV+5YRAHlprNz6thSj/jBUXvGOTqmJh34r3ktl9W/s
rdvHUk9s416mTOQpVLM6y+B+LvGgHcdMC569YZmeegqRXnE5I/UrYb8Lg0S6rmr8m/mqtcMBNf8Q
dNhc4Lq9c0ANeGT0TSD9T7gMA807yrQgvuD6HrumyVcdJfd0shZX0mREAZuRtSEp+WZeEmKgxpON
wJEaJ88pj1rTls+DcKzT4uFFGGf3Lm31p7ErH6GcDktjbXHrzwl0796shmPjqZ2piAeyrA/pw8vr
RWazMA/NSUdMwcbp381Wx4OOB5B0kU+TCFrkCF0f0SBa7khaGfabNmqxPSEH5c5Zd6IfgSSyAVGc
cmSStr4VrSTDXrV0WUItqx7Wfm6fB6sdyKRsFPo/QlrcxmP9zRwaqCAMEQO6tRGtw/judQauf4VF
Np3XV9K3BO9/+0zTwRfVp18dlkoCxLQno5+7W+6SIFLz2hxIhqdmR8083R5HsdryIJk2vzoEY+m+
ICRaYjPfrrUYo0w85OjnXkw05LZ5njS9gUBoyI8QuCsHt+3/WPRhtxGipBu0va/VzJUltscBOf5Z
65f9kFr0sLh07q5GeWeiGrlIh4JWfx4zQEHhn9eq0aOyHJOa7G/iSfIXWHw0CDO6vrkbTgjgPnXj
tpeuucA6T+5+9K0NU0n5VdiCehkXR2HVmv2PEcV2SOuIHgcDMsSeMIWwMtbDhr0+UY5XJ3qwNLHn
BpFmz/4us9ujvU5mvKJluskqiSoHeVfcNqhgmyrnGCSD4TTpGwr5Xh35vhZ7bQF5VIY8jsH1rG4p
IcjW5p2tYOFSHK0H5GDUAs1TilKmC+5r9GuPxuDOoE6VTqJM5T+18Or7rFmtQ1mnEMpahQ8nqwcR
DyDQW1x5dnOYSEh/SDPryDToF7EIZvNY0oY08/DlglCLuroLKqNGv6RNVMaumv7Q+2n/qV9tl3rZ
SagjPTW0XVm2X4RZyzWC/G88eUH6TUz+essOPl+oQ6mQGNgG4WyyfhA6TM/WdTTncEknKb0LFVee
S/YGHQH7nliO0Len/DbVm26HFrV/rmUJsDprSFOU221fmqDR9p5C47Y4FIVvhAEcp6l2Tyvo1U4s
nXYWtV8enWYwzpZbeIeZ8+oblknJI1lod0XbQy9C2t0YQb/tOBeN4+Ta9AK5CPsimWtBHW8EHMCv
B9Ya0+kKuJQLz9wQ4so1zoQ2L9fQmuBGoF0katdTzIqtvKBI7OOiLKvdteiPXA+9f8J7XqJIZmJ0
ffAmWXrrl8nE015UpsjomPayR7aDOfacaUuIAsm/Izx0EoQjCDW6vHLZCx0eipWoHfRWTqgzqcfp
Nq/3cjaDB5kO1xF62Q1uqd2CI6Zf+YfL+4A85WTsOP8nfdxepmXdu6k9hq7QiuM2B2hTVjt2y3X9
npm1+80nO2mPCoQ6oKyMRWnZB1EQX+Ok6bxfjGLmQnQ9EectvZpScCehbfoRsJRSs+R5YDLl21jO
w8XoRUs1TxNEc9O+dqIvE5nry6npy/w5YGSModPE0b22q2PaaPfjqlxwKP4h32t+cKM/bmYP1MNV
ht7Wv50C9ZjqSHNnE7SKa9lUh77nNkmDvH6wYbxDphpOtW7xPlXB+EwqpXXKnOGbF6ivOqEc0eZo
FmXf0o4qYiGIiDA3d+S4bPodONcHzSNBrLLincgbbr8N4NJQ3V3PdwysyrbD1VHctNLG7mpzcWa+
S5VpqVcR5VhbgvLlUjeNecMuUu+bZSuiRa/yVx17B3RFUPnnjELYCKnMyKgMjMv0DSpNnunScI72
7HZhplH9IXTz3S8qfj8EfCC3PBEM8adVgvVq4NqH1EZ0i4QQ3ZBRdec6Lxs+JjON+4p6L6UvWyT0
9WltfIoeO2pnBCRpOA1zFaeVfUtU57tfDUAINu1hHsGWaM3oMC9dbTd0KW4GHb0VHYjyUfOYKf3M
v36o3y2BDF10rrrPUFQlY9l9nwdCEIwOTX0v0eeAoDZPZu6pB/L1r0S5cM3Tppkycjq/4GFT6evQ
SY2UEWd2dzPTEvL6rTuWgND7wMv7aKmCrzSPllHpKmzD0Jqom8z0OHHVHSpLe0bZd7Q0vzul9qwf
Rku4d1PZXSAqtr2W19mJ1ocspgUL77adB+GQBe5Oar0J+TtsRK8STMq1bVET2arsmDk2jzMTeExl
o/6Y5pb2aR6bIpxSArka9W5ssnpBFBnaoy0fB80qnjPbNPeT3Vuf2auG3eLrSKMD94StgLPQ6+70
RbsjNuL22p9Kk15612SajKQsmmPp1uvRaC0IhCD/KBdxo/O+fkoNF9Fs2fE5GnM4VCI4le5EQkY6
GBHqzBW9NPkltD+Xe2cESwqDSto3M0aUR/i7cdcBZUdrSrBMaZb6bgq28VCibE3sJgvOU5oxnpE4
0OTq4iHtj61am76nJJO9WlhLCCWms93WZufA+ZVxWcr0lWz75rYS+rzfUOxeZkPjCkt9PZ4Xv4ot
wcyT8ma6+pzdz57VxNs6OHeizUuJpKodyHUZ54szYlBvDMu5OAhxSVdR423B4YwK0lqQOdbdrTBJ
Ce3lQmevwRaPQHX71tjBFhdLPj0sa6XtUUYXIcOKG6726LB4d+rDzm3axnpzjSvDXcnYqvEqLNr4
kdMAzl1IBwvWB3PvCkchuiregYqNz85GLbDjF8ZJOJ3N878y64z22zpXVxUiwPHKmf2p0bx+P3ep
91xBLD5k02jfFBghIrz2GoN5sJE3t2Zn5GkPU7dpYTa61g5i7BO6R8pLbOkgpiSouBoR6OOnGkIf
/Q/Hhis6Wo2W9J7fTlA60t7aW13KUKGtftoK+3Pv2lu4uCXyOkXQ033TNFsiAnP4aN2aJAgUziET
GnyOozOJKGyMzGcuvVYwPwdn1HTqU4oUbRc7FNNG8GBb1fQ0+CbihKoozJj87vURbYJB/HBWHlpy
E5j/CnXDijomLckyxyk3hlghxHtug7p9tJqVa8DmnL10VrUd6mrsz1ZL/B8uyenbupSc43VnHryy
yp5qzMjIqv0mQUeskQ3h0hcaKBI4+0be1VrZfdY7W56E0nAhZ2Tp7YyOw2VECfw65MUD5XgXm+U/
y/UvFRTHC0FXlMOZXrWTM7NrQ6jBflucF7SrTlI6a/3WmeCz5Pz5oWXM4lMnveoGJWZ5NIztvTcn
mRRVuu5V72w3ttN816HRztmcbzfpbGIjstVysMplZJpQXgins8ZBkQ0HmEmsCZpNiFqafW0Xa0gg
Gj4mWh33VV9fetavgca/u95bmgfPXd0fqeuTr0R4ww3ZbM4D5iKx94TaRKhPtLM0jVPd8NaJ2Kto
0fFWMyDeKR8ePIbxe8WydSBtUT9LQAfU1COUvNMpN4YRgXvjPUpDD/c1JF26NR5fiMCICZh34i1H
yhyuRVc8QhEth0k03n4GzUNrWiM9azzi4/pOeyPSyY7Ajq+lZGn9tM3VEtEDKnlj8u4kGYeglcEY
w8KcgcMdx+QhJMYpNMpuypN6pTUXgXWeUKra3RLil94uQYm8Jl/ruFkaG4qVHwq2tICU1Tv3YMqu
ftwYq5Nr1s6LO7Ke5P0yxsr0yn1zRQn0TOnUFXDbUvMKjUylJz9XfgwWwCSwhuoCp9mTNz6KHxQF
QUh40tjRhFsdqNYZ9lNXr58HyeGD1JMMHw4++yv0qxVJvP3vvtOWSSEbddic0T+4Q0NAIrDNW6Wr
NSmEDccu1Gh8oyGgeR19OWC9FCp4NKSv33VboX+l9C9NnMnvo5HS7+8KOCnOyjWL28LH7rQWzS5Q
IDQmhQwAKIt8BYJKP1RTtLdpgdmBcuf2JpNjB+HezF8JwvpkZXZ5O2eCzI4Rbg+ya8Grsiz2o7mQ
bEbE4vLZF5K0scn2Pyax5Wep6dOh5OKmonBe3cfB0YqnaUg5hNtORnN9XbSbVTu1i7HFQ5eLyJZc
Qi1RbFuY1Y1u0Uhh+Jey9MVZFkp8WOUMpc21gzGASMPifuw3BMWTVVw1YcJneOi9W8vVyvU8bwHl
aLlrDSiP3EQzxzK2JewpCl7BpVMY01nh4zraKfZkvgddcNcshfcI2lZeDFlm7+iHpSB4EXlvjz8F
JYo/faqNTI/Tlfu/B3N7tjM3PeMW0OKK7IKdGWTzqRV4fdS1RqfTNO27ktAjpi7uCROb7s3aW05t
WoOfla3Y49HjbCy3C2kF2X4Cb7wpvDJ90PjYGErX4N5cSDMtfeL4VlXJi0z19MTZWt/mJZxo7XTL
HV8PjOPIOL4FDEKyzT4sM/jQHP3JBly9IdHm02ikT8KidWucrt5jZyFskMfEz81vhOiQd2UFX1xq
YAnF4rfF5nAGXKyeR3JtmILMWC+RGM5SRJhAkcGs2c4wRmpW0ZZCFaddYq1kszLIol6BF84rHAXZ
UuyaIqN7oZs44iXORNR7p6nNxqde83lshvIy5ZnJcVdtO1QUWAawUZ86y5zialxfs0a9kdCFF4Fu
TwjfXcs2SqShPl0QQ6A/SGuUAPkWCkOj+nccTaT4ZXMmVN47LAberdAkLy6y/CzOAogpsxiLI9qo
8bAuw7pfMR0RN1Se2j4dL6xJGMqMxf6YPPpI8oybXyjzgXCv+dAF2s6eLPLRUM/tZb/Z311d9k/4
EbRkK1E9zxaL1LZiiLN6wz3M+eIjq0au4+aOmbBbBUD3qrzMTQD2Wo/VHFKJwxZZFG9KL+vYIwXx
vihG7SI6jb7eYlN2wpUS3LlE6SSBmJ5rURnYVbyUJuMZ6ceIIrhzrGrXuWn+MI2gB/rsUdxuDZct
Y6IfKuBbhS7pGAxue2nAksinnNmjiDscKPnaK193ot41tJP18zfjcXheGiySDaOymHDsMXcy9XUd
WU1sVmaQTwkuTgLfnOWUKnOJ8U3I27loj2ZbfJJDdpmk9k1OhRZrwpwSffXErZ4ND/qqZyG6mzXK
9NQ7bIHjxjoGpASN2oePppVtpXkD4kH19bPE14S6X63MJ5P2OrfXJpGN4L9IJhMNjePDJC0egLkG
krb0aGCdiIpN6xB+TVpYBlbrXxNz73K+3JFtSpFMyLGOfu3djOOwG8z2bV51J1wrjzW486PSFp+G
QrQJ60Ma0vTm7zp7o+qwdDvYjU1HZtPjVWqfF4cyDq8Hk20s96YJSnLdEGjg08vnpLO8JdnqhQhS
X+6waoLu5XII23QxQ7MvrWdPGz4rCsRCk6a5KNOQRY22fk5bZGHF6s/EbfrD2fbnl2HF9QUkgPlW
4rXwrYyjpZwOrgqeW5eRqxut5WLm+MwidtF9YEnrJB316LkSdmSpptsKZNwCBdBkEhCTi7iOdD1z
+jLlwRMSLR60tthz0mOFHM2Us1f6R7WU+jPjY7EXwdcNWz74HTqwUg+emSM/ZWK5Y9HAqmu1+RMB
E99W+JxbDLX6Tulec7E145tHYq0eYCa75n73o9wH3UZgrKXyk+Uve27MijONR8IzxEyfJWsAuZy7
ypbfprE+5q35ktIOH7el/rildIEXWV3c9DRdZwHuCTNo3l3/6k2r2XsM9E9xntrDsbRwX6wp14fW
+A1hqMWJLSk7zZ4u96ZmfK0M+ZyV4n0SwjhlJAocyrmoDljgYJIYWM8ZzsG9xah2o9P7i9jDnw8D
VuNkpeP+brXMb1Y9VU+lbi7HVuvWyMmlfLD8bsIkkLd0yFM+zfLePxCpuu6bRn0WC9fIzZzNscif
OdLnY1XPKLsrte7NGmJnctvsi1ykEau24REnvjpi7jqOc1Hw22hFPDjT3iIruZq3zzSooJ5Ru81a
lrBb1Kkq1V2reABxPJU7XLmf19Z+4P0+LhZ6OoQsFs8dGcydnoC67odSPC1DGi8F1B91B+m9yPlL
k6rPfTessTbIR5i2R2vpd8rMj9IhY9vE9cBdQ+zlxE/YyfFskx7bqPxeBcarlvFVl8uxLMkE2zr1
rayWMk4142Oo9SMST9henUlPFRep+0fN9J8MF1/kZNenZchOjlUmnm2FGzLB+6VoDSxB0HcBCGVM
8cWpagfiJavOfcXi+kb5NeNvg9d60e6vgZi2MTzZHVm35HsdZ5jInG0xgeeVb/pW3OYp2q56jLmi
4qWSLzrmNBaXYIdw4dYy5JAY62oeVZCut1naHtoRAWmPAjURdZ3CzMJ1mZqI52z52LAznTSaO0+T
NivGrPTNuU4WjsYE5VYqdlWL815lAwm2y+c61+cE+9nFZG1xJl1P+i7lbOB7VAUYpZAs3aEHtagL
8U6ZnwfnjrhoNjyr8T4BiDkhayE20HSc73xPP3dkQIUuq2ZSu6PYATXIN7tfx/vFs4uThjj0Emgb
WkqMoKCpbh9W6BjBWcQxHzR3N5oV2akQi/LV7or5gz6tLhwWcBce8qZ6F67Dts5cbRP9GUpr1RId
G0JCshWCzfKb6052VIuMENJeV/ESbBhJXZKXd7U+wOcBPeWT7SUWnwwamyJpAovbm9HETo3YI1LU
wZZN9ilg7uQ9CV8vDxNpJWi61Fe7LEEeIKnALEKlxJFPMGIabAHVVRMTD9BzaDjOyZzrR6N2JygN
bZer9dVOm1PnEXmidP2ewIEyMT1ZRXXavVa5up8n8wUqtAxdCf+vuTbJfUbWHxucx3Hn+F9JtyIc
UdPVfirc9lm1k3fy7eJx3KgtTgOLslsrjazFWMk52R5MSdJc3U/tqcfW5VZIaLfG+DyNNPDOnSyQ
2sG02Xr54PCJUvXthrVwGFwzb79CjF6jk2IrD4aortIyXvz0tqyzR4xpsTV4Eww/wVTcPocpr/Qw
zdJdq5wvSOm/qGmpoh5OMZmkMMK+GF+zVn3Frh93aQCV4jrJZGeC59i6J/VV7toKW1tV6V/dUtQH
zfVJMvDg57wy9xgdTOS8W3d1Yp+JiYwzNdOu7hWftRYyoqxMRsXxttdm65osYOy2oXv0U4OV2yEL
3evvssVb4j5d3Ju+tVWcjsDbpNePIcendfIbL8L32MZw0PlpnIS92/AiH4KSsR36HDA9ZQm9hhtH
fea/GkEx3DaydC75KM5EmavEa7KDkS53hc1jqF8vmpQFo/+/1J3Jct1Keq1fxeGxUYFM9ANPNnbD
zU5sRFLUBCGJFPomEz2e3h9O2b5sdMl7HHEHroiKqjgqFTaARDb/v9a3UP2Vdbujc4lRL7c0FSA6
uLnMvowmvum6NZHyenMVjnjz9z0Ne0DTbBRyH385rfL0WPgUrZFarflTgHMjKMlOYd8Oy+DuJme8
VhaKEdMz79s2w4AZN5hg4zo5poP8YU2UMeryoourcjdLCExmDOwCOjReb5uDijdbnG5Kw4NaC0Si
hsE6ZtQ9rfvBaqaivKrjRljPi2witY0U3XtwveAQj1bde/nZNC2ICxvI2tYFPVmhEVQPuT62PnC7
c4X2FQViocFI4I80jGzvtMGot9TR9Q9yjQrq9F27PCSU6qbrllJSs0kpRo4H/nB0LjrOnxh7fXdO
rljfI/1FG/X8e8knX+9otTfU60sc2ydl6eh8TyYUaILNRKukDstY4U7JHG2Ic9QfbAjd2UseVTPG
1mXn2F5zI2mKsZtm3OfpOWjlur8ZNNHjhAUg4tz2aJSq0ypOgn4f0O6meO8EvRs2lhpMDKimptec
L3VunMXUXufLcYq4OTyllLQcy4bwDcSS0wLq60GgvdfdONnfwIcs5mkwi8ViWzPZotux73H9Lyni
CcbxWBruRhj+vB0R0UPLKv3gCjWFf4k/7ueknCtfY/UDHeOGBbblQ5e3440Pk2KjskadtBEceoZT
H38vs7G5MnID1JquukWG0mQtRecm/CNCj5tl8JyvZZx/i7W3Uj4ogJP+IMt+2Me5deWP5ZMFT9pA
gQNuaNb2NY3z+jQ2/MYPmQ375R5yl+//HhDjr9cHpx1U7d3YdC4TTLI34uhXYvfiUJJWEGT60Azs
gXVxPjup2EaZ6DZlRqTBCBqDJkxK1dGTe5oXxbEd+EP4oMtRlGCOtQqQ/XjddK8W56QB2XoWdZLD
G9vesxFj5qYMJnlWOkmy9daHhB3SovStD9qw6mM7BfNhtJqfleFfQuUHtJCq07Fhj8fpaGKCW3BE
53LFnsbMo64k8cZM+ELGzhN3UesxH5OgcVHYpr2lejkjZciiozFo+2GeMJgb4/LQdOQfs+nYdpM+
ZNBOTrwGNXDcBVWYLk72UDXBk5z97NjX/WXtaXzMw/g1mdLpbKDyda2UX+yc0dN7ouK/V12VhGnS
sspgqaMzsDTxPuOABut1yOofns+BNliWvT3RJ5+S9hh1ybSr0K5xqFI0IhSeaTezTtCEonGcJdxR
zCiHArQ6uwTvW59knJSrdrqOReRukKQTrSmDjPIx2H0UDcGF7+kbu/Kbr+hHYRH2i3u9GnpORhVj
esVb8SsaV+p2GsQ7hJ8TvRlCPTDUNmdat5wlMjq1KMpR9XP3G9ZZY9NrBQApE9Rdff8sRUzzpGgc
UNxfdlY1jgu5RjiQ8Ss7Kw5CYtDIH3OX82ebsrTVMrvNs2EKSwzWO9qwt8tUItjOI9q6gWI36PVd
sMX8Ot3XtlWymUEjdUrDG7pZ2vDsN5RFZzwMfrD8QB4mfxZB4dTXXcDhUFLVF/uqEBNqgRlTxr4z
E/PUycrmJ6pz6oGbgRs9t4sSxJ1R2A95ChyB7lxzh7LNOUP02IewMpZNv2gAsUxZ+Mej/ML2m4p2
WHUO2qYOlUnNpQkaElLWzY1ojeWEPUd2n60UHmRe46lso+mUCYyNNdGkcEsaxsGuivSYrKHo7Lra
amzMU4HwF2pQh6/liUMflvihd4KdP0XVuQ7yLUEk4ynGAvvGwMN96vel3E6wE66Ccpr39CSyy25O
qpukqX5JHcsLPmLIv2VhXNd5eU2cW3PU2rBvaYscKB0/Y1nxt4bOzt3BYSpcbPu66UU/bFMRGdvF
jbMIDVCydGdw3r9bRQ16CaT6nC67XpnGMYs4Iss0vZlyGnn4k40t6/CJDxv4uVJoDOoAhe5MeLWs
6nBSy3hkhtgDjmNPwkeyK8EO4tYvchgHTiRYmd38IvbMW9TzFEALcaDz1WykPZ41dieP0sKzGAHw
DId03C+rHYXOZ5teYUcc2M5X9CO7xNvgMI+3DgKBO9mQKxO7pUc+hW67EJo5/iiSdzAk5iTHJFLf
LVl+T4gki3evnjgAdTdI8FA51ONtwrS7oLuapmfcuV8pEKX7nn4LnfqbuDSTMNIB2bKwodmCQk00
mSfgcIz7vG8elgCSMQv1eBq1Jq9GdPTEsR+sp4tRjzhQieQIgA3FjgOc3hi9Oyt37YtidIo9Qob0
MAVyl6EDInyEQBVK+Vyb+pafLdTBe6IqSvS13bmXqMreS2H87HF+7qgT+UcJMOHS72ebr44RFgl0
KqP2kaZZsYltyHFPLNQB48bt5i4kZk1cLnX3PXfUeNHnIj8UWTvv4PbbQDd1e2lNQN/xjTzBcYi2
DdyDM6WRrW7KKsZgkqIUUruR7AQq+uez5EsL1O04YO6paVqclGo49wjfFMGQnJQWgg6rWwSbcYAd
tUW4DD1Okmm8AGmGW+8VjYYW5Q+t99OgFyc9LTk5d8W2bAFXaBQRbSZug7i79Erg3ISmUhmrh31T
xghsbe3k28L2+l28BM15loFdmFuCcxyUSltdKbqpMeEXbgKLX6V+dNLiDTnpKbxxvwi/0mC+L3E2
h4WXUM7nKeUwbJD1wuvrp+zGaI17gxgU+lv43gKcgJtunBeWeueqLof8rKgcelp0zNOobM8AjFR7
xKAntOqgvwq25HVNodLKzTVVyn8sEgxhNtnLlphvIYLLsKP8vsv1cD6OGeCtwVnqzbxwPMQ29rwW
n4/j4j1D3bH9ULhDh6cQOwyEheVY8bAuyNWsOIH8f5PBD8+66/Xzv1z8aNp/2VOV+dEBZ/hfEHLm
4oT4vwvij/p5NXa89HWsf+G/BPH/+GdwM2YOZ9W4r1DHfxphDWH+wxVAbGmku+Ch8bb+tyAeuwez
C/J0PO2rD8Tjb9Fq75J//1dH/MNG58I/tdaMs/WP/oYcHl39Cxss8EdvxRVIYa+5nRyHV8/HC+u8
iJHOtrNuQiXlo8vJdx80NRPMUhoHp/I+Ix+L1y7wf16PX766fk0CB7w3fvNc+gtQRq7XVjl1J3xN
tAxkLPdDIKt9x6g9BBHWOM9CuASmz/nGJgNsW4dIrIEFf8pG+2Zymvw0LXqxBfZIw6po0SK8eIVX
/zQCv+T+8nzfPheUirwykJ9kZzrrc3vxXIKgXpYKmlCYevo7DGpk1BZl3HRW6hMq7/s34IH3WMMy
aUh62H9eX0nQajGXlj0p65siNmlyDzhPPYrFfv3dm9gnfXxn79+Ah6GGgSMYXQKH2uvrpbJIS+z9
OpT5KMM5W+wQbUwaWqx9F/1IGS5FOrL9+KJ/uEkXm5SDSxSRBu2c1xeFY1+2hZ3qsLLorxrkVm+a
lvgd3c+4KWvj98eXWzMt3rw+xpbFhUgRtgNcU6+vBwUztoo0V6G9VJysCT8d7hKR44ur2RN/y7Bf
4QnthXFreY0IOKBo95aCu/PkmXXBUrxyMzcxJr1q5+IQ93bYAamqcA8I/qPMdr8WYrB+JWNlflep
U1Fwk4t/m5W1UCcf38yfnh0DBEMKFGpwKetQfTEUdQrmkBKvCqfB9M8r8ECHsp0W4p/yegc16T+j
LP8fkRDrJ+qv4apIZi0O2H/ZdF5ez8mwmpsJ5xrHTNWZUUfeURbZWjZs1ScAmPU1/B8T/l+Xgs+A
EweaCP9+C+4IRDH5LYLAcJwzysNBkJ34flx9chXx2vDDZZhi2ShbwGbwTkrzzegDC2EQBcJliJue
6G8H2Yauof9zGiyxow+qNw4HjG2VOMvOKWo4XXTDN3Qj3E+Ca999e5BnGFqgvnHpWWh5Xr/K2HO1
0Tuw4IwhshBoM0AblA5nxaQbDkCTtUVYLz7hxawf9KuHzEWtFf/Mv+AevE0H8EY9oC00YHYXFt1B
vv5NpAxgW11MV4voyAO6Rx+eGf3Vj0funx48OCEmUeyHMHP9N/cr5tKCnM39UvjyNqagPphlCfEi
RinPtQFNc8Tzd4nXV571Qz1x6vRi4uXp6n38S/704BljOCB56JzS1hHy4hsSGC462GsNJ5+0DY2U
NF9YU5ukbWnnxIFxupi+/uS7ff/ccSq5ME+Y200Wd+v1NV3oYFal2jgE0tAcEDgrnFumc0pTmjRD
UtdC0HKIZ4e4+uSN/+G5kyuxruYwtSRuujcDviP9W40JpJ7a9bIwKDF5dL1IaODE6f3U6Xw75+St
EaCW7FIXQFvcE4LVc5Q/fPzc3y2jPj+EiCGEZMJn8/Pmh0xoi0pdItwfAx1TqUI37KAKCrORIvDH
l3o3l3ApS8DoCWzcrs4aGfvyFQMmhs/jeHWYV3BIFVKCHQqrefd3r8Io4nOyRcA0yYr9+iqzSCh6
TSNMT9PUB5mWHHQN5X4yXN8/NpcZi7kqACcFafrNvXTUTHEzcFBvGhq0wB7yQ2JzNDVxNH1yQ++/
DNYUojVsz5aQWt5lemSIlXqLSxk6MfvdCDB336WcGMvMHcJgIQA3LGKkEh8/x/cfBwsadk9b4MaE
nfJm1wPjw2grOdRh6xlA3FAdn00FNY2BItZ526HdLNkOcxD9bDbEhMorejUfYp822W6z+8EuDe3s
9StcHLezVNHkECm89jSKs3qtPMj+Kk3NJqEHS0B0DQq02rT9FB9pElrf6I8GZ7WKCdkz7dLKLhH5
DcgSlgxKn00jcAil4aa0v2IXxq7H4XdDRtH8jN7P+QbW1yjBEMbJRdKWMVzynAiQQ5Po/DRv48za
6VlU93x/HbYCx08msjx9+tMx2cgXFZy7liZEJ08bS8fXWRQM3qZFuon210+Q0dWSmt5mrWjdTP3S
fGnawfyh/NlmVyIKbWzmQFOkTuc2oJ/kMIaANkDqkkTu0QE1J4lSwe7UfYAaVeOk4yS8ERga94r1
BCGlJgJvsyC0cU7svjF+Renk3LNjpwXPVgp5WLO0V3nfOtS+vNQ78ZRpX6MGG8FfjjHaP/YZZBpO
ZfFY112DNyk11c+o0P6dTbGEzK4kDrbQKyYDhldEZunUO1O/HcfI/IXBRz7a5WgUV0omAC+SuZ2o
8eCvMxApTVQiy2gB7h2TWMic7mokJQMcIegOwhHjrlaZUDuB4aneVM2YXHiVJ+8gs5F+bKQDCJ8a
B0caUlbO5908j20ZzgV+K0NmE8kUA30qXNGxn4JsaShYpOgS9c7OCIUFPO/1dyPSPfQ1FN6QqHap
/dhSyaGr3pgzqc8twFBixwf9vTQF2ZJkcrYcXyZ6k8ng1dF+8WyIpBRLWY3QJzaXDaRxnoTEtR4y
k4/mJq6oxO1xtnTjPutauseBDwNkJxvLSWgfuWkZKnar92OKv5V1lLLE1iWbiojFsbb477ZZPQRN
A14WpKvxWOCNTyhcxCNi0KpfkA96uXXeIcfqMQNm04NuRjsIa9jXPZ17c3wkv3NtdQTZ9MNrHA+4
TtWpq8RpId2SvNj4lEX9JU72tq2WyzlB7r0zu4TDRNZPxSHpXeI1VURrMxzI6aVRPeOFdDFlufs+
G1vgtY4iQNNOW3EliyBOd/mAaRahVTLHuz5JgetQkf49LGhKQksMxUOBS/TKXcwenR8QVx/9Sh5f
yqLqMZMwrsc97fSy3GD/Kb40pbTuzJGt/G72ZXNMSqvEE9ma4EaHMRj2Ac6WbEtfwP05VkN16dOC
LzZ9UwmgAxzSUJXpvm1xOVTpkzdQp91g5YP0vfB+bulN4XwyaerFWP+SWWF2NhqgKr6ajn28AAon
gcepsF37Bh1ogjvJnPTZdnVd4yxIw0fxe86T1Ay1NRjdruuLOdgu3qLrnZOTJodGVRhnSecjqiQx
OC63U2Uu5GAmqRNs5FDxxSfkLJ67To4ZaaAg2EIvInE07MoCnFUfm0a3JbPOjMPKwVi4q4wCn23b
NfPPzHLwjWlDpVedAW8FIFs7dpsUAQUlQb92v0n6TeiwQPtU26qW484rlLLDdFDBE0VifmwEmPVr
RRnsGoEJPhkM23Tqx6Y8aUwzulm/bfvgzpWi2Yad+dGwm+ChXfigNiJOUV30M0ag0GOOq7A9lMFz
4Hd0kHRvjmdqEjRE4cpKZGGJAjmDxYUCQhvH9W3a9cOAYg5fNMNVtud50TlISXp8LZvZ1e41FXVm
BncCARXqNqnvyFrP6X6ZpvPkdEv3veNcXB/GoXWwzPB5b1FbgmDurIETQ4dj0QqznFYirTkyFOKu
mvo9aZqV3ODIHuIQlpY5oHJQ0Re0XPAxhiYLROh4ianowKxTtUjAyiZeZHXoQGLrQVJ//dqgF+oO
ziz770DeVXG0ulHlOzEaSO4RIuFsymmD7kopiC9E36MuuhmPLYmEbf6ceElwwVfZfEe7Wv9yM9mO
W6etJWYr4aGrKGQ5nE3DaMxnHP6SL6avinxnuhWYLaZn5wnTj87C1Gjk9x7FEQLKNmi+ZJCx+s2A
xboKBcWsC0EuEcoAjvL5fnCdFiP/bE/+b17niMOiyx0af7ZLRH1e2rB/2y6WT1lEyi02uHz1oZXe
XWsYxfcl8cCTJ4aYoGvTuzFPayphHT6ABPxRR3PzG+dALNzKW5wvS6UTi5nbK2tICAg2CG2dB0QI
idWaLLN6OqdgimNBNBCGBz/ISEWe+Rg2OcJEucVIBAR29CdO6dhjEe77Za2hx2dGDpHBnI2jGuoZ
w6+i6b1ROE/qMAHOQ2hgRk8nc8fW3FEqA5CjkEmuKsIF2SdJYYZxkDbkIZVPEToOnRYGgUJRdDdT
g4H5VYH+ghlsFQ8sYACV3BFNd0M5JAkzlOk/yd1ukx0jdL4tezJ5wgmnH9ZwEEQx3ZsaDSi9brw6
fVcEGH9Kt+42Q5kj2M67ElngXHnpkfB0FwdymXs/fS/KLdaDkXQxzD9M8SLRy4IuVsrz2qW1EbbF
egvUR/S9AhyRbNOCNvkmRaNUh4Ex81Hi5PBpbNXLN8tdGr4nuzARbcye9bscqF6HMmlyg1rKwtTa
GwVcLFcaWZgXtf8LKXGSnC+j13wfMIfhEYxn+8ZeuIUNabPZOfssjAoyGsQvT3nmswtsawvzask2
ZjtEv+PBrz0Ie1T59q5e6ivNqRpDkmXhFxnLPDpP/d56spax2xUVsQVlPxPRnkyBIp/X0ldFbsgL
o54yslDs4hE4/XTlpwbOF4fAcbVJJ7PbMcHk+zLTLDKmlexzL66PaZ3R0vfqbAyVhdUbu6bRP9dN
ujzSoLK/GjVdJ+mRqk29tNU4ceEjPML/IyBd4drZQmlw3Avbquz2JFuc8WFcBKdOHpx5UdMAn6Hn
+f3DwIbpx9QHrTgmaiFftK4k86pkuQlHs5jJjcYSc64cL/uGlYHKBWlbpDGonA4BxPUi3cQDe95N
H6d8WER69ae68Zo4rHvqUFvIHzmGdTJPfkckjLBBElYjwgz5P3WNbKCtWpNWvsUNsDyo2jWIhZ6c
+TJD7kzCaI4gDpdyk2Nu6KZA30w2PVDcXrX3VY0NM7OcWhedI9htnLctUVrBPkMhNm2pj0U/emnp
p3Zs869rZCEyEdEDSjCzur0rk7XIEyF6+Mag9b4mzdicss7FHtYkDy6imPyywoKnVbC1Qf/QuCvq
VCGe8IklNqXqkj0oiCbaZaKIHYIdijQ5NQu/PioCDVJIYIaVEv0q5Tdj9lgQ3dJoCPswQGGzosgE
vJVpoY9xcvmTYkHTb4Sp0wD3UJn9VP7UOlsQu+jFlOsICsClSs/s2YTsTWhzcGP2yg1ObOS7Mbp6
p73tIv5iGATJeEffNjvpzWHO0F5lJSpIR95w+gmemtKcvwrEx8t2QAAAh9BMc7ZijYfArCXP/RH1
zwDokdQThTDTkPEJXuPquk0J78CKXK5OfTOxvqiktUUY+RGSIFxlzO/+EI93KSk3NSErOF3CLiMV
aYN3lBW/xrJ/pbOY7ZqrZHVE/86UZBlG/mTnJpu/pZub61lEcnVpy+G00c1MTkc/+GgCELMGh8nL
1i1bOdLNw+3qB1toAMtVZkQ4SMDWN08gsgjhqgVU+BDQMkiPJibE3o9d98RF/nWgGSyhhMyEBQyQ
6+nI9lj4gM0MV9NMGM8mGgAJb+qptfOtKdv5C4iGYQhnSXHmGtIoarZoSRCdI3cTzzbbxec2MTR9
VshBK1UDRRLTY1QC47fHvN062GXGkzrHhNnihpnw3ha0Hbxe9Y9aI44KzcHkmUZMps/KR/Ew2L1A
DpnlC1h2r0yNXV2K1N27Q594pAhF9CucvJpxtkggvZtZR/UPJN1FhAMRmmgYWMzMIeb8Eci+TryL
TLU54QnDNDEP4LDbaM+c5tAQepWmwrTMQmM2zWsbZgmSBTiRGHB9rDCbYu7wHI9KdReeNS89mmNM
CnQcycwADsRGktosgRraGcHwG9bw7OK3xV5eQj1nZ1zyCie96JOpHiF5JtrCWOEMnjCR+g7T18wv
x3Mffrq1mdj3H3PRkD44cGg+KqJ/Uj7Axr5B6jeerqinh0GYBJ70fJrEhHdq+h5JAkNgmJpqD7Cm
QBWZNXLfOqrTHOZYqncwmafrNQCcPqibe19n1zVIAap9UVP46pFbC9oqbQgrMXBDuqdUKE2kHzf2
XDGzLakt8NAuzjPeLLb4KiKBEGtI+XsNufqVJ7E/XSLEaR5B7xOplXjkmx+4zU6HhIY25XXflta3
Xs+pF2JytQ3yzgQxXKkOBBsqc3X6xrVJQEbCmptsKyszEcK1zfLQdtqeziRwKG4pm6xLQe8WC7NF
aZz2r6FOFj1zspsY9i5SBc+Odi17XsH6Vpb70dd4cwPczYh+p1nfG7jXhi0vX3wptJjJGRg0FpO+
zZZtY7bOKa0/18YeMpC1s1RBQpZGXAsc5C6aLv7vCAQYRV19zZ3ERQndTfkvVYjgYsqq7rwDmkpq
ktLugpShKR4RGU3XYxwZz5mvECfOBqrsU2vICREby0GCpmHnikNjnVPGCK4jjoMoIIAACzdQDdX4
B6m89jFADtqemKDxj1BQpidyjS3UUbPGaIcOMI23SyMoL4Cfi3/CJTB5YTXpJiAKFwtth1904VCI
EWV1tPBAlTA8js3KJAcsB1cT8ptia8+KGJhbioioCAnl8U8SckZqNsx2/mPhK3a2s9GX5wWEV14c
xtVLaQ/27wzCwjMoG30GX8EbTti8cZqbxiC9l4vn3MkqZr5wo5LM7SapMrj9FSwTXlzRhkhRkqOm
P400KnPt3ypvs35ro0KLH2eIkpSipZBkrLUa7bem0LrRdbzoDY10to5Tns3HWk34U+LWNR3sQ6pZ
k5Zgdh5YWYti2405Oudk8VN/l3vaOJvsFLs3x6GMuQe/AElcPsslW7jmF3GmGXFPdTxe5la+fJ+6
rjtvCaT9rqbS+F5QZfZDe6olq/ocVJj2lbLYFbByEpU1Nlqd4jDEF8WJsfmBIjDy1u9/liHQPMI4
ekQQqAxFZd5WaebNSG4BH+NN0+ZTN/kYNxGycWQmUDu6KdoWe3MhCqQpuRbZndON9jeoCd50LBF4
Ps/puNwoSIVxCDgryThNxQBL60yQFFRj6qAWoziBwJcBJZQzCfOP89q/s0wH+UuK27/eIjNlSoFp
iTiY1mHB2IQCkh9Ha/DPgyrHUKeHJDlaWrqkbqH9ZUta9dZPz81oYcgaBucRMogzbD3EuKdtXvUE
2+kaD25Vr+QdFU2mt606zG37NRYLagv+pkNfBG4Z9pnbE+mNOueSRlhi0NorZ+cA4qS9j1CJf1Gp
RaHaRLEVUQ1yEdOgV6G8XBEl85QCecMrwGYPgc9k9tflEhvJFtJy/o3uDyfTdOwAAsHNWYW9tTQp
hfTEOJ0mWctWEjkK58uN0wrcRjOLDQQYzjDdF3xMzs9U0LKB3jwbLIbgLSA2d1VAU97W3tYtI7xb
cTwbNUPSqPODoOj3mw6af76wtW+RS6YkknNcPW+RqAN5oTyJvdwcARFVigyv1TPn7GKQ6WC8uroM
EPIK8Kypa0dXShfsbOJMgg+glpKdcaCYMdb1HChDBfpoOTfSZQSag02GKNmhQUIVNEHK9n4ayFC/
nbg31HC9AYR5QGSl8TZzOLLwWoexNWBRAoAy/GT9BX8ceDK5mPIodo5lnXnVMasLZIU0FGB7JFjw
8hAsTPylqLPp2785ZSVApQAKUFQUrxrcQDejj+Tn3yrC7MkRG2n5FjjMtyaL9glpcXG5/7hy/a5g
DsBQWBYcQ0fCN3LX2v2LVpKrdAtTBAJZkhs2xYK+OjcMq99CXc4vVWlEt1Hmtp80N/5ia74pWvsW
SHWTjrZrmd6bejkmCbgQJfiCwO6KldY1j8i5sfpqTBQ70yiio5AI0QrKwtu0muRet8H8d9sS3Dqd
S5N2lk3LwH3T0TIcv62t2GlgFvbyNFWofxPanJeFM1V/Kx137QxzKZ8GAbBTmtFvG0ey166hbaY4
m6LemZ2jrFdJ33zSKHvXM1qvEqCAscgfAVW/vusX77J1khZqIJt8KxYEVwBtvIVQpT9ReLy/CnvQ
gKOE7fPimJFeX0X3qG4bvtRwGIb0UFnRyvoos/xvd41QrfNe1gBe25Wkor6+TpUUkUVaBKpK/kcn
ar2ROrapDnZz+slI+MNHwG4F3he1Mdpu8k0/FXg+BQ+1tq9NNz5dlnYMwXtnZwLp3RFxaLDrPe19
0k5+1zNaubfUqQW9ZFpvb+NiyDRMGsE6QKGb81sP6GI/Zso9oJn/CS5+3rZ0WsMo94pPemQrmfRd
ywgxhOdakHYFcoXXT9Y0orWiyNdnDXIkVqkYMQLTVe2OXcaWn8OYd4KGnBKZi6tEN7o/q2nQmCFm
qWa7GBD7Pp6E3sQX/PV9IGG2BJ+hgzT1bRPLaUtaN5pngcW9uUHnXmyBRqI2nJbnfhiH89IAv9Mi
Y90AhRmOkFhAi9ktgIhkPcANabMH3/E7mJLmbIZ1QJcnAu5RW5X7yYT5bvj7fF7rx+VJFG1y1ca9
/MhEMZqR3/V16Mlp+lpwxe1sYbr6+In86So+TUxUBitE9q9X+OJTdqKpRU1Z1qENwO6C9LtvRAI0
1/+Di3hivQtEW4A+Xt/KgPRamBDAQ9/K7ZNRqOJqWGr/s+G2DqdXkz1PzEe35PquHZBT8eZD7rE9
DmUVVTRHe/vSGgfqrcww52yxST2jE7CByGXu3dZOrntTZsTk9VAsSeKU2yQjIqIkw+/MbyfjrgbF
8OPjhyD+9KgDINCSz9E2kYi/fgpymFIZcRYKm9L5baaxeuwbdeOOS31mBezE4K8DL3NgPWw8kAIX
PskaO+H146WLcnxTI2o9SDhZDx//rnfTA08tCJBcoJRC8GO+AUVrsBI2pXb8QQ04Nlj7FLUGEW8B
fZIprIbnuKjKvZiDp4+v+4e3Za9DYtVrUub030wOHEB86QsGRe6y9Rwin71jRMl1NMvPZvj32wBG
hCDJBmUiTCwaaK8fPcVdkijItwxVXtJbbUDZlcUMiKGgidzN5HwMcRpc1m1FJF2wkJwQLMYn37Nc
R/mb4QlnC1nHKiNcd0Ovf0QRzOy0O7oCgy2jEAWm3MH3KzeeSfg0luLsKNCwn1LSmX40Rie/W8H0
W3euQPJDxUhJI/mS+y35E0p5V+hPsWNKkrNuk5kSVtxgi9iOZI/gh4R6vhfkTpM5pczPxKh/GDAO
2lcSYHwT0cjbF0ctdTYbAUFLYet4duLUv1m5ZDunc6qbxYuMB0F/5WKyONt8PGTW1/TmCTqeWHcE
iCEd660+B9JC15gUU0LAyf3P0Y/MAymfxFBEhnmjiAr+5NP4wxfrIsNCSOKgIUQM9vqNVTRepZlA
lioQE96ga+u/zLBXP7mrP3wIQBulxbbARyDzdl5A0wGYK6ATW/Fib83KUsxYcfrFByn1yfZQ/GEM
sp5YvDzUg4iq34zBCZsfMwx56LoTWGqskvTHZu7PxGDQvuogV3ajKSjoE4qtUtkc9FjeE/xxzlYl
OpOD+ttPmBBZVCVS/LXzstff+2L5aQqFhxrXKWBgkR3sFmFXg9Tjk0/v/bhBpYNwhU0k0wACoddX
CWQ8g3fTCEOKKX2oIGNsBx2MJxWSXWi6FE0+Hqfv3yjXcxBVIT9FhC7fTKm2kZvou7ieLat039r0
IKjCR/sEc+vfHjxcao2EWv+Dofrm1oilLQo14Zj2+l4fnVWRtOT+dHRSP/vkUu+/Bq5BrprNFyhZ
sN+MnSCnm+UVjJiBDNe9Q6rwIRmE8clV/viuAsy7aC7xAblvbsgXiZlPIzcU0VzkNTn6DA+8H3YT
HObIBaLxP3hXL673ZhnCGQmoXSvuSvfLrcKhv0FZnu2TCdrP37+UxVrHQms5gnCG18NQw3UdDcGt
MVf7AM88EbZdoc8MnDKfnND+NAJZ6DALIrijMLs+5RffVSzHZhIDzays6ewjiJloY4EkuqxNoL4f
39WaMfBmVkYPz7EChhAlJdtcDz0vrlU6FV3jDj1BJaT4qUBiADDM/KuGMIxsX9faDfvS7qG5L7S4
Wz3v1+3+lQviO8ycRhFDoSIifxCb0xfpQNvjrBCffJLvB+/6IxlUAhFb4FjW6x9pduwbm55J1p3y
hoiuKNrHlJf3Hz+L94/dl2ykXZIc2FQT1vb6KhTsEWsTXRRKNBiHJMK1qxQxCDZesE8utT7V12sh
zhfJfpd1eD23vhlMddq7hEWNBb1ZEgW2tFO8+8mn9Yg3bqow/HkkyQ/+/Nku9g+3aNOfY130oVHj
D3x9i0RdL7PNZjoc5tGNoMrHsNk80Z1MMj/z0ATd8PLbU4b6cikHezibc68GfxxFW6rWJmWpuqqf
TJoqXwW+709e8/tfh/DZdfmFFCeoNL/5dTGg+cbsEBxo6fe3hhnXF71JCSGBfvrJ1/x+GxRwKGM8
ofnnBXhv3vW0ALOs65xjrAfwt/Wscq+69ppFV1/CXIFrRvt62o6m/dkX934sE/mBzwCLHVUe6kqv
X0HW0KaBQZjRsLHbO3+05htfLwQ/fTyY1xt4PcLY3VmCacRjpBGj8/oyjRM5tZ9PaN+pt55iKEbP
1lP2RGgGygThGm3EAQQpUBjThfFCj/zjH/CH+6Quw3bZ9hyTU/D65y8mlhwmTCBLkYXspQMoSJDO
8mSKbz++yh+GDNtJakDrQcT/yzL28ipMlBpRQofZNMKJ2s3DNYaI8j/YO5MluW1ta7/LP+cNkgAB
cpodq1OpK3WeMCTZAtiABBuQBJ/+rtQ511ZCKmUY4z88K9tIEMBGu/a3PoIo8d+cv2czRH71PRmy
USIk8mClZs5EaXsRABA/Q+8RZsWp0Gr+wsNMP/3+e35xzoRgHHkLkO3jvifmzvAwTQq2IMcHDVC5
NxC8pMDG2TO3pUZGOhsbe+CESNxZFOywsuXrlIxprqFuOuFGBrLB6pzFCuba4fcV+9V4wog6H8BS
ej48ON0ZLXijwOPdvgeN4GGEYgr57HjR2EbAinHVT3EUZ8U5u/Ps0Zb1/ZXf/6n50SQYMJiVkeOE
TnDmBkyOQ2HAzNhV1Vy/A4a7fsHHQl2Jmp+bH1tr7I9wC3HO3cCG0/nMYGlGLMhw5IaKwUKKLWUO
RwRo9NoGt/oMZMSbrEohkkHatDoquX2mkZzzGkq8YwBM5HEIGv5O4v3lPw3w/62X/l90Puj8JtW0
/fPSeen7f/+fTNMMzkswIsPhCycizOIMw/Y/iaYs/R94dkXIuMTNGNZ1gp5su+GcTEqS/0HiIYKY
4xYXM/r5X/03z5T9Dy4o8Uds+9H3GGz/ynbpcswGOOmeJz9kGFwOIlAOQJUrM3Yjo0OWvBznf3W3
/k+550Xthyk1i/GAOjYrP06JxF3stln7QcZsvZKw9Vy1nRmuQlKCXdYWaX8D3EjfLFAYiyexbt23
H7rv1X8WoR/TTC+3nP9U//z3H6uvcLYxdcGOWDXG7TUurDK4KpEqiZBfEEKwRUk/FVd2Ws99zHnh
+OHH8D7NwIZpwRQaAVfH2xERw66zLP3j9x9zuZP752POv/tD+TzrQ+hc/+PHQIHGXKh6u4RVyB4s
hGhrHnCs6QBo9frN73/wuQ9CzPz4gzoN9czPPziDYAaeqTSF2dMRAvHj73/gcqb/54ucGTbF+2Y4
GQJzARi0LHfM4s0GSfkjxGOAvVUxpLA1HiaRENla5LU1NOpPYSvnaylkzwwP94ClsnmBbS1QXaqB
mPgNV6o372FGmYV3UyAz/toK+CPd/v5jncvFf77Wmegh1hlh2WWToxFi7ve4zcw5ib7pmvRLvevF
AutfY3nw0C0iqo8GIum0BUkpjdUVs7/nOtRZURthQTRMFrQ39jYAmHbfeLKUVw7IzxTu7m87TAtL
aiekYNiRfwQdBrqp2VRXbqSeK92ZiJq0KtlIBgC2SVn+FXZj99AGJUCav++c54p3JqIOtHndyyTB
4ySf30cLcuHXYuN+05z7qjw0S6V13CdHvHwC6AYk/wzJrO5g1+tXfWfqiVcBh7GmwtQDNFu1hwZs
pZAqIW4Pfj9wbrcf5h74XMBTaNRB3naWs1djOcrpvZqmaxnlz7W/M9WMaYjEgzVJ862LwFkTNBh2
a4nD/5UGuty8/x17Lg8hg+VLY2Jb5B18fiEdGyI9H5vFRuWhLyW0nL9vpud+xglxQrsCgp+A59Nk
4ummZV0bHgEMbNajLoFU8Aw1J477bsbZY1XYhMf19lQPVr5scbvw5PUR5w3Oj329gA0XIYMjy+MA
OM8GwBPyIKjt+g91gvPdlaZ6psfd50qZCghxOCRwQ0PtbaC28GUmYDr8r86Ef3e4e3bqitKGaByW
G97DSQmJVvQTDCj1lZXrudo7GwsDhRKAI4zlc4MemBqhjtQEEP/+vgueK96JZ1PC46CB0gg33HON
PrApMvbGEPQnzx84//AP8VxnQdJnK1o/ixRIYjoCWuE4VHxbXvl9gRPQkOADYhYAspGNsnzP03F8
teIJ03rW3wk0bgcCHEXCc02gOr6ZNrJm5+ydJfQLMeaE2AoCCZvigcM6Tmh6Cyr1nILdRodry+V5
4frn1uTvAZo4UWZFJUK1oIv7wmq4NAk87L9SAZiUd2KCWvoIVaxtPzYqJX8YSCyvJq+fv+BXP+yu
pCscwrttwVQILqa+k8FYAM231VDQHVOAiCmggVO1zeDm4aH/VK8bRNuMLqR7C4ABM34NnDgrri1Y
wNM6KHLFAwMHl4XnKW/IlfHhpOj/07xOgCbztJZ93Gc5Cc9pfVtUANSU4L24uYGpBbcvBYAY3yCe
XtQNhTtI8rgSErcv8AyfVh9TcAyvAWGeieXEieW0xZ11t5Q01xzOWBDtZn/pdYWAzivQEieSmwFK
NrtWHJRGveQCLP8GSUep+NOveCeOTTQwJLkKmgu9pp8SrG6PYxgov2nUlVL1RLRVEHB4O0K9AtP3
KMWloCkHO14ZZc9FmTNPjGVvk3gd0nyyMGq/TekwhF9WHSHiJPJTkKhcGpA5441p8VWrbYw9u8WZ
P8jSNhhEA8tZWuAiVOPKUO0sEtQ9Z3BXubfRre4NGzhwgEkEpSeykZHI9u+ujv8OH5deBJk6rLyh
9M5HI6Yc1i5wPBp0deUo9ExIUCf2gWKQwYpzFuCEyKeOJ+AZCwsclteQpU7o4yCC5Iey2/IY58Zd
KKMPcF+5tpF8rupONEdMt8Dtiy0XMPJ9gSzaEMtzL3Hp7Fd5J5xlZSZNBgv/sEJlt9AAIYMFgtXc
r3QnmomeExBWUfpUxHS/ENwvjki+8ax7fLmpSFugmWaOboUYBRalxAAYXnN6ZUp/ruWdUK7CYAiX
ArZpfVQ2pzFr8VwFdcLp9y1z7r9frIrUide2SOS2RcGSL0HyF06C9XyiU61bmKdy5vcF7gMJmfnc
wjB5yQkC9002ddUxOme1/v4Lnmkf4qzrU4utENKflryjCbuF5tccKtt6TjeuhDeCBr1It8rkAoCx
+7JRcDZdG8+qOxGLhbqo4XMz5UjjLaL9kMRwNpdrLQ9+TeMEbVIArBJsuHnRbbne1ZOYHkxRNH5B
5dK1cD8aIAG3mk6DEcv4loBJ0bxMhhTpdn7Vd6K2husFTIXiFVtCs+1rnXyy0IZdGfjPDRsnaBMk
ZyNzsoDbSyOjHRkNbEyyzHhW3Qla4N2gXavSGS0ffBpi7O/aDAxTv3ZxYrbWIAMHI/tv1Wncx8i9
g/ecV+mxs0EHW7EwqYzmY7bg0jg+lz56N4wrLAZ9FD7qI0pfq0zuTVqbHWNx5Vl3Z4GVsNrpwjhE
6TT+qy9pcxKl8Lxsip1orYGXSUuBwkEtUnnDswEnL7b67Q1iJ1bXifCigXUC5IHFsoMoJd6BNzD5
LVHuEzFSJoFDJgAwtTMQD4ss/zLV9u+0I39vmr4LOn84VI8b7G+QR2dgpyDpjtHkUzCDmuM3HOPL
xTUskoFYCVoJoD+wI1/Lz6PZruW/PDMJuHkG/ZghxbE05lixDAr16kxjGWLuWXUnTjmpAngUZ6g6
eMIvwIonrwpAdfyeqFyR52ogmqMoOd8iAJyQ1wlZH1wognT0GzPfcwR+6Na4XzNlkGidW6qA7QyA
R8jhdDx99erY7yjXH4qHWDIeOoglclGMzR1sMWBWiLTHo1/pTrDCGl0TYROTI03uj6iKX4+UvPYr
2o3U0VbK2mDKSxk8Ynr8ZAE29xsy3x/Nf2iUrCwVj1o+4SVcpgcjk6euLjrPDiWXoQQuTTBkqTF5
UE7lvqn4A4/hTOzXKk6c4ll40eOaBrBUX5G/GH2IE3XvV7SzmKawtwiwXtscxY4AhcUjEnXtSITf
1Pv94eqHRp9FYmRNB6CBQXv7SCfMA0C6bpHfTsPFg5q+icOm6EwOKsx2AKbjiyx14dfsLpawSMse
lqWDAd5nsHul4OmINOsrL6/PTI+uYjFrGVyuAzXleO2Hn8MoohcN/IY/eHVr6IRoPMXTMA0lhqNE
ehDSrz5ymDj5le3E6Ea7rCpkbZC8NSOdJV0/NX36yq/sc2v9MFzoQtelJCg7qMYnauyLhI5X8IXP
NbgTofCML8REBHwOiwAc4woomi30vB8InQiNItAeYQQeHKHHfqks/wQMSeM3tbia50Binw7cA+x4
Zfsaer9ToaTfTO6q+KheLFlxpw63s/lmWOJ7mnitoJGrQtU2mVgH79WcKfGQdmsOxbvXyye0MZdj
pGymVRqDSmv1bpthe8jf+ww+iJYvC25ghaO3Gp1IZf1lgK90uv27hLr/28ZBtXNZtOnneoVWdcrh
WxA9bXaK88qQ8eBXcSciSVusbVVmUw6nCAB+2vomK7KPfmU7EQle0Yh8mDA4njW+uyBknyk0bl4z
LJJDL5sFA7vvIeifclmyFSn1kKkCtD57BQ5kd5elpyMcQ2kyB0BkvB26wxmQ4dcmzqIphQR9S1rw
CFLoKxYy6l3Usye/wp2dLYy+hLVtAVtBqeEQjef2nlST30hxNV2DgV8sEs5HQA6TV8ToryW1g1+r
pE5cQqJmwz7NxuOgyKsEZa9m9i3bCU04nkMuuka4No5J+GBSUd31dL2Wo3ceyz9f1EGxejlQQGVC
PlliMFASQOS2sHrXMOm1wULy32XZa2bANMoQ+Sux0MOGtGDdIcYOqDx5jZfUCVC9KFrgrWaCNY3+
HCzzBzw+vPMr2gnPGYkkAyNoF2NEcoARTrmD9QX32kdELmF8kDPHffSKiq/rK/jU3q1z7xmhbp5j
paBZ52AMwg+MvGggODymyMvwbHEnQo0YoLk0sLsIdfOaBkhwGaTXJgVgg8vRMiRBawWB2zvysWMQ
f87efbT65tWdbpKfxYvCmKoJVvIN+yTG9a7kyVu/op34XIepACYsGHKLnPFd0/H+1KrKTxmBrKXL
VukSOF/PkO/keELaDsAGPnIy+j37Ry7iAdC9sZbgfuUgNgKKMhrwfoI5tG/8WsYJzyUAf7enBj06
2z9H7ODWMf3iV7QTnhMWHqlZN+Y1E29WrW9D+K35FR1ftjgyoWtWNRTGmHMvjyCNxgegIr/6Fe4s
n+VGARFc6zHPJKj+1D6q9Nq28zyr/mImd/MOlgD3wbPmQy7VnBhA21j1oodvK4ArMWzmvOrvipkA
kgOHtkuGvCnJH8D2fIC37ZNf0c4aukKE2DBeAE8fz+MNCFbRLpqB3fUr3YlSEQMwPBB4fUP1+kHN
AfwqA/3er2wnRuXa63oI5ZiDX0CX40bOXmUtWMr1we8HnIWUSiFSUGwxJNfgdanip7L3O4vD5ONy
tDcl2HcxsiDzwmavp7B8WRDm9QwF/o9TdGoL1c92AN5OxXkAp7rXkVhKL/Et8pcvS4/5jCS2EiOx
CAFutEOfwyzATzAWMSdM1QrjjXWUQ94Chr4LZxj+LgDg+/Wms4aC0mcMzdDkmB7vZxvfA0TkF0Ou
CipbRGOqXgw5L0S7A6TzHgh9v3ezKHECNMMoCZFlOORRN78iUf8whJNnvZ3oHEq8TrAl6PORpR/A
EXvd1L3fIc61xCpWqmqh4fTK0DK7DLrwHTwVU7/50FUjTaTqg6rLerzbgGoDgOJrE2R+W1BXihSC
XQmmX9jnoiSqgnPANh+RTck8G8YJz6rKoEqrLOIms2qfGsbeNGW4efaoE54zXBkLaO36fMuGeB+N
9BErqd/rORIxL2PfBG3aJWuH4dJlMAvHXGvrUYKUOdd+dzju6z8IwzwFvVHnBMaifwBsst6YWl1L
fj9Prr9YqhNnBoD4N8wEKNu5EBJ0yxZXc3lR0N7vlSJyxUy2NiYdVKHzNBhBu5oBsv9mMlgq+c1g
rpwpUsgWXLIAeAqYWhyUAE4Q7Z+cvOZHV87E+bqmoOxpIA9ZvA8ZVOsEZ2vPujuL9dRA3zfC+Tcf
KRfTLtri+nNt11Z4lu+s1Ws5sGFZ0TadrGCaOal3a3ONI/LMuKHnv/9wRdzEHby4uUG7w//4xo7h
eFqaTt74tbszIcxkJlY3i86BWdw+hF0hbsDvBJHdr/j4svIEszASMtGtWVv044kbOITvQAlnvecP
OLMCnvrqDsxItDwZl9sBLi2yb/xu/oFZuKw9r1UMBfOgc06nt6UYXy/19NarYVwdkyjsAvKq6HPe
Zn+0HUhtktJryt1nhowrNJpCoHwB/OxyxFK2Y5C+7AILnq1f1Z1gGmyAN3oYVefJDPfjJNJ3dXtN
xfT94PKLWZI4kdSXK+R1adzlM6tFscNrcYXpgJdwXwADWNQ3StvlrYFF4y0ZScBypPr2yRNS3Hj/
imbJOLzNuGI3Nd4lu5uqbinb8abEZbxY+zRcdhugvsO7BWQnsw9t39afOymDfs+wsYwPUYK79iPX
Bo4+cE1s7J7hlRqWKH2QVjCdXiW9LcDcBxw/xG3CxwDKXrA1SDXyAwETHv7ETTltJ9FncOgOm3gz
JxXH6wa+lyLtHysQasWribKg+nIGqvZ5ugG4nA8rvveg4Xh0rMI5Sfew/YnqPbNcmBsRdSJ7YGmL
VK2w3+K3yF1ddsCsDbe6HIctD7sstadFNTMowAMVyXHmC8UVdiNncEwbsOawnwUSeZ8OJdztFHwE
o/ulLarstiHRRPMNrb3sE1LPt9sWqMcBZG16oOE8b7uqGIrtbRNVANV5jaDY3fkpAbyknru8ToV5
P6T9hjvUFunZfsU7A7Rvywnq/KzLM9zl7ZK4epCb8Mu5iVxtTYiWg1Gp7nLb6UIdOhhH5d95Nn6b
S1ddE7VltAWk0jkDIH09xiMMj3Y8SOp/l5r/99OMq7CZVL8UAdCbOd4Hvi2a3iXBvzTL/KdsZ7rX
5mzgaMEegZ8D5DvTyGHnQ7Iq/ubXs85sPyf9BpwBEFlNn20pLM5h1b7HITP2ewKPQmc5XDhcoFs1
tHk5rMEXmLuQr0MAazCv6rsqR7VSw2pDuhwGO/AZVMEuFiTzG/UubYfQwuIABftGydRfBa3fFrz0
i1fXC3TGC+TaxKh3Yop8zJq7IrnmdffcUuX0aDJDkRXh5jQH3WGFPQA8dWBwdg0O9lzpzgI+hIKw
Go/VuYirCiT0/hurhievznS1jRXSuueWh11urNGPSEwsbzoyKb99mattlKyEq1/MxlwMNX2gOLch
48VMn/zq7rTLotsmCleBk04Y0Z3hGOFlWXqedFw1meYA9W8CGwS8AA176NVgoBUsod+lnislW0Lk
Ridl2yGNtmnuGJkBcgfpmvllDwBTcbnpG6sWbk4dzLWS1vA72ZLwD5yYrd9F83ew1w+7eQ7C2aZG
7FdxUbbCuaswOQco6+DVr5Gze4pJY7LyPAdUpRL7cYG1ipnge+RX+jnKfqh7NIDevuIUnge2JX9J
aNn/2pRRfrrS77iQH4uHQ3ZbyarWOaCic3BbZ6BqhsWyJFdeJp+BB8Bm+bL+SGYtCtakbb41ERme
dF3C1LPgbawPy9gFT0hnewyCrKkO2CPWGYxMcBg9ySBJOr/ed2UzY0XbjraRygclHvm83YPF6KWv
+okUKFa8urCha/NxjeUdrDTTHUzqFs+gc6ZppC+z0FTYli+2l+k+UBW4HEq2ujn5jS1nRoLL94bD
1nnnUIDaeK9KgXQ828P9z29f5SrnYLs4IBE4bnPgt8qz90a1UNgD0tlz/XXVc2zcsG+I8QPWwCBL
buYDkhq+erWOK55rJtggZmZrcz208HIR5Ns2wUXRr3Bnuyz6LRrHmqscW/4T+HZ3cTz6vQa4fvAq
AA0OZljIAKLzuIcJAV5glu2NX72d6WiSzSCiZW7zwgwpLDdjsVNJ6ZcT+hOiealZCdNzonJSpzCZ
qFJ4TEhuWuk1HkNXMEaztSOsDVXOYQq077P0pqaR9erSn0yZBw1EIPjAbZ5RuTyMg4I3K7zUXv++
4c+ryc9ndGBQL+fRbKntvERYgZuNwgF2CkeRHZsw6rojw+629drs/wSQTi0rAAgWXR4aMmmYhU7V
eQyFWee1WoJQefkdKijHfgZFGcLO+K2ZwjciKrx2+kA2XxYNuMSUhgPqjvuv5FAOuMrfTNR6dq9z
SmkxGIMaqkCQyofizWwD/baViV8200+0yaZsI5Dax+Y82aSvtSJJPpVJ6tnozkqicbsQwvqswWM4
biW6Pn0dUFF6NoyzihgLr2hjywYKASCc9kg+7D9tTdbNfuW7cjIwYopCT0OTbwP/grujF4rLD78P
qvPI+EVQuWoyOod4rUaGIJJWu6La9aOZ/4KdtN/jZpg6MVviHqGVxbnZdVrgbWNMbxVLjN9wdwVl
XQzX5G1A5Qshce0UwUIRlBO/qRis18tgytjGLXCJVR4tE6wz4Gi7tvuqbavZS5kFUuLlD6TzUmjs
PZscHmn2kIowfNUhn++NX8860WpZiZP+0gcHEYm1u6vgBwBYqU7Mldp/vxv91dCJL6vPYHqyMmYw
dJhJ1Ms+ilpzA7JvP5xwVDLxCSRhNh76pFm7h8Bi3/4AkmmvPgFASk+GxdstpwFs/bKtMKArwMup
fqnaZI33qu9tuYdRNgxgu8KW5tRq7DL3JqnWr0RReg/f4OnOlnI+kcIsKAIMDLkLVUm3Jxkhv+V1
feZUPLVlqscDjlR0w78dFlh+Qvn5WGkZwFMdDsTlCxIX3Xxlx3QeG79oE+50aVhkXMDpvD6OK4F7
jZz6oS9384CrzNtyQb7QlUPFc2HrTGfQT8KpEonPR1FE1eOc1dlDXIJ97jnhOBNaF9RJh1vYOo9X
mM/G/essEq+8hqUrvcOp0yo4V9Y5gVv4ronpbdyN14Ad573jr5o/vRySxgRKgDFa57CaI/AWG7dm
OWQW6orDgi23uGUZa6TXbUbInbkt6rOE0Tmp80AH7EgBaD5tuhHv/NrJ2R5LWxicFkmdzx2FfX2x
fZiq+Fo7PTdMnaktCkUJG2tT56wx5Vuot+nLVIr181pFwZWbpOe6wpl+IE8QZoYt2VGUU12fTLJG
UIcFzbFUWxrvoej2u/cBPfiy04XE7QZ8VvExbRxA6MY+YCLyXMC4E2gBgCM4qrewkMOD2USW00Si
KxP0c53gBBkn0HJuyME91KLn023WjMmpSzO8zDMxN6GXuiD8SUWHsllZ8gCYDrD9kOsuPmY990tt
DV0U2GizviztUOWcJ9MJmut0V0jYTXjFgEsCm+ECLIiJJPwQU3rSs1WHNCu9bi4A/LocNiHTUdPw
Bhb2c3kXFmRHO+bZ5k54WRI2Yzeh6G2jxyLrT6qMc78mcRYYCxBaOWZ1cajL+J4nwX3P/O7Z4F1w
2SCQFWKOY2Vx0NXS31XjOOVBQt761dsJ0gK2Q7MlAQY7rLCPWg90Z+GMefIr3YnSMAPvOQmDMufl
qO+hev3QC+sHhw1dnphgXARzbMq8sXFzMtnU3oR94ydFBZvvstUDu+JhTw1lXlbwN9UyfQj4MB69
2sWV0a3w6zUj6bLDpGi5nuJ4eaeHuva7PQOz7bLusoPRcUPbs1la/whn+7waOr/F1ZXSWbmuQgls
cJrJlLvWtOF+a5IrM+8zuydXSTdDnb8hww9BNMKAFqqxvWYgCvu1uROhGyA94zzpEllLyu5bobse
LtRt5idICxMnTDMYV1NeJxkSrbot3qVNMdx3aw0jBL/6O5FqGGzVeE+yg1o2vF29hgrgSss43PT/
e6cNXS0djFEjwKlgQh1ZGHLfh6VKkGAkwPJ8Aimpy0sYcpEd72eVHBnuk5d9P9XJDEKmZvbUwwO5
P8JPWcSfFU/iOS9SUnKvO3IgpC/H8pbIpZ/MPB7bljV74GnBmKDwCPZqVFd302QTgUtnMh5Lvg6n
pJgAEQ7g1OJXurPtJUtMtqaexiNZFEj7fHpCwubqWbgT5GbpAeHhdjxaHsFfPayHPa89Zz/iLMJJ
bVhAerT6pgCAWCb7LRykX3YSjHguuzTY4J1RNMQcBfT4h2yRAPXHSA7za3Q3ziGsLsoZUzXX8RcY
qb9VMvZL2Axd0eYa9BEgMPDvAVZ1ErclCVNzlGM9tgevyruqzbYsJwb/JX5YB8mwWtoKJm8yYRH5
6vcDzpAcptpsc6HN0XRSH1VKl4POqNf9Pqa7y47F+SEhmihzjM4QuiXpgQ2g3EvsD++Oy8I1n+lY
TCh8NmB7NyO8Krom9pOEhtQZk1QaoBlMa45xdTbVraNqh+uxL36N7gzJroYTR0iK6TjHUu3SIEA2
4UpDv02Wa+AmIHyGwQ2Zjh1kXnArH8Rjw8n03q/u8WWz00VrEsGF7xhkeGui9SaOpU08G8bZH5bD
EsGKqJmOAKbGr1q11l9YuHG/PbkrgZEKV8qdpuZYhkO4W3VcHIsCMrrfN8x5ZPziTsNVwTRR3cd1
R9IT3GeT+ZU0qlQny+JmONFBYxX8/c+cx8ivfsZpomImBY0qfAQsKoLDHCdi364wm/Qr3Vld4RDP
p4mhdCHa8pBCDrPPOvunV+GuJKausHhDzzgc9artvlR9dRhV4TfXuIqYTMOJUiXJcJzhXnhSMo13
ABhvfpONK0m0ijC2DctwnOTWnKKxfrdFVeLXpS7ta5OKbh1uI486lXyvGvg7QZLqJ8wPXUViyy2f
eFroY6CCYV9tut0Rbf3ITaGrRywobYaoYvpYTr2EVS68CFOQ6/2WP1eMaCKLK+dBpCdYAW9PW6jX
91XYXkPJPxNKrvsQLMaXyECsfEyGCPko5zlex9G1u7vnSncCFQ43uK62WXaiAa7O5+Br17RPfoHk
RGkNU78Clhb8BM5X0ezmDTLZSa7jR6/iXYEWDIBJt4VDdkq0aiFErFYmH1jUtKlfrLoaLT2mBhsn
nZ2yMdpVWXzXhJ6LnyvPAoirn2yMohXFZvX88N/6KWNDV5sFf4aykLzPTtsZfVQvEd1TmS5+M6+r
zarCRk6b7egBFK6bdtCvQuZHE4Rk73LJxrYVhxql6IFB8FO1wQNty9d+Q4VcFp0AIyQH0tJDzIyK
cqob5F3LRZl3fuU7u41WR33VmI6faBetQKjTkd6dU/Wu8QTPO9FfrKbf2eY/aNbKoNY0XQp2UjoY
b6ZintXjyEMhjshT5cWtUNsiX0xbcfVw/cy04AqNmKWt6tqxOYbZx4o+sdlv1+fqi5KGzOs4olxS
voGv/K5MPC8aXHVRB21vVpScn1i7hvNJZ3P4Yhyy+hpA/BnhXejSuSDIjyfELT8hMUXsetmV071a
gg6K2XHQfb7Ec4Xkabgzxa/WMZ7aPaCnQbjvgrW7hiL9Hmc/jQQKU/jLkcwrS9gMV5STSjPJwSFt
7bJbIvzzF+w72XvatRn+0tKoZXmpq6dqK58i05DkphhLI79kg5BHYK7+XGcCBuZu4tt07TQSwTHw
mZHqzPncxkU7V32D4+W6tOs+asom1se6xlTdnGSx1vAj7xRsh3awq8aGcK3s0PLbrtFMqhNuY6oa
JupbPdtbWdig+EzIAjVlG0KQX+9IZbdl2WFnrPuHmkWpfjHDMDRit2tAeV/vhq2BV+IuJFlJxG6Y
uMbuuWOI912S9Z34rAepTLSjNS/VLdlqMMIPFrdAXBxsPy/DvrakWt+CO7jM5S6pYdUENrwt17Hd
wWs7YHSXWfgJ1DeRrhn8EhQuuie1QzJKY1DBkXftOx0rHDgqXqXflFb482B6Oh8YkhXIzqCFYII6
L3GZb9assOqqQ9gvf+5w08/Nbh2gi1x2ScqE/NSWtM6+KmFg2ITs360b1A6IuMp+PEsYb/Sm7Lpr
QRob98tSjlF94Mi2LY4b3t/iYxAX67gvUkxP2X5mi03UIZ63JLyP0pllpzIxm0K6X9/ZG1hLtHvO
9MxeVKEp00NYkoXsJWc9tu6pSg+pAjV5t/aC9S1kuVUnxWHKcC7ne1yrraJDzfp24Ls0ZhzJRnOZ
F5TjrIEFiClzh97qZLkbUhwHdlkUNOpgVBv/0U+KHRa7rfyrKTdLTnrokvpxgxMrey97WJk+kqkg
5GErZGrEodmQ2ERP2WIiYDQ2xk3zAmk9KfpLl6VG5US4ZcKcQqCwsYVXYbfVN5aRdfnSpwruq/tu
xgvCLUeGbPYUrXwd7b5pKeznRBqc2aGNadolQOrTBm0rsEvczOZo0ZdddxsnuH2Nb1ndpnJXszo7
sVq2+46tixpw62GDcT4fR+bxPjRjfVwGLGyPMDc21dO6xqJNMRy62Jwq2KOu+05IGgMtLG1zwNWV
TD+lE2m7+2zdcLcnk9Csw27RE16AdrCb5zG23dNECNmfzYqr11GdDuwEKk+93rfxEuEpJJwA5Nug
TZhmgZS80I5sgs6VgcwXNuZL3ARItBpmTvVbnqgoPchiTKovuN5KGwSNot18GKukGx9rEwr2BE1f
r06V5cgty2DwntxtSRDXD5Fc6u3Psm06gzSrIejoY4+glcdWSxvfajiw9h9koOAmijWxFizZcQU3
5cdwmuroC62KIrW7QmRK5Msyz8ldOJS0+1gtzCZ7GCWEQBiIhUQZeOAJa74W0yJqsav7Ov2SENbr
D0ASbHKPJ0lseJAk0dkXyH4ZU/zPXUC/dtUwb7cq1tY+1VsYRXstEUlfK4phfiPgK/04ZaE4hXGf
Vi/TwXB2DNNSyzc9/GK3VwuyI+IAsgLAJtLDGV/NbsdlattvNZ775H3FemLzrquaIu/hfD7cmz7j
8b6icPr8lLKYZn9GS108gjsQ3OHtcfuKvBC1q5ZEHASoUsFhLbd0uYPxyLzdgDhFPjZZSbODbpDA
+ppb2bSPkSjK6HaBcbM9Br2s1pvMDiHLORypww8hK+rijewzoffaTgFAmlWYjchAUQzuj/M2JsOL
Mdym8JZoppt3cHspupcGntfyFMq644dprWbMnUuSDvIEWXw0vOizmX1tAJJo9wWu9paXcg0HTCWy
W5cjS7ppEIcQT5zzfV2Bin0qhNHITQn4LJ5kOmb0Vmmt2W4qgoF9kTKr9F60Yz1Vu7SNihCGVZSs
t2OjxukwLXEYHKaxjc9Wp9uiP5Ep+1/OvqtJbhzN9q9s9DtnSYBwN7bngWRmZWZZlZN5YciU6EAL
kAD56+9J3bm7rVJP185ET3SMulRJJgngc8fgDjIWFhE0MD3uogoKMyW1D0y36846TglUELfmZnRg
M+7YMLlPJFwdh01e0UHMFf4h/Bo5dvGSYwuLtNYlgYd361j/fh1h6glVrLaFTl5Cm22rjs6C/Py4
wtRwypNytAJW2NE2uL5PaovcziUYkyzmq5sXyp7h2zIhIDSQOFL3Gp9yfpGDnacdUxzj8V3nSMsS
UHo7dqFVpJrdshRUr/ButXK7dN4UaEx72JGpQ5ivKCxAfyzLo4FbXpBsU1UFD5w1E8nKmM9BZsIl
UplYt61+nsKN1gcYpzt1Mbd9kGejI/l6RWFXeBdGpq4eMBwga5NUWlu1h9VAYU+qQdl7s6J1Jfdx
UyHe2TxnI1Dwcemv2iKsm7TfpsimMfyZA9BRJpNXDpTLzUT3NmxacGy62Nq7ygM1ceiBM6hvesgj
VmOyrDFclyBGn4xuUtERntDG3jIzBt1nUnmpr7imBmusK1tdfqNablgJLXT+zK4vZLXs8c18vWNt
A2Nq3ixlfjJFVdMjuNFcX88TgVHbDseR5hn8tWj+skFfG0L4pqzZwfRVAe94GMdVWCMS4lunsrbr
cBjqlgJRTYCwDndmgFVmsti1Iw+4pnxeotL6TxpOA5AaUKTs43SEZmeRBjif8tTng3+oCbf0INUA
ph7rOiCc22WSQboOs4U14NQ7D17QIqIUUyhZ3uF2Gbv1bi2qQ9CRGOPGKm+C+bFtt747geFQbsiK
us1/RdQwXQNhXfgxvzuP92iY0nIU2/UGLG5rcBJva36UNV491Ik5XOquHA7k8RaWKWY6hrZUcE+3
XLFz5PYlhCQKPEZjEquwy0OIHBbbXKRj5db1HVVeqwTud5LvRdzifEsa6urpNrSRHD9vkxniOtF2
8ey4wo3Z38RY/eWH2nj4FuFL0j6/bTDxcPeywUM8baSefNbRmdkD4n8wFHi4pF12bhPCFUiebL/h
ZU7Fsl9cE7RPIlpte7fgmS2nsQaW+LZeqrJK47rszQc/CMI+tkSssk38AnXzAU+K6uJbB6Hd8A5W
B7H63MdcNZ9GPTYERTlUNGna1qQWh1ZYsyJ/K0PJ+2QM5hWhUHuED2R70BnmAazjMwNlj34FsFME
X2BFsMZpiKBeH7d5bB7FjPW9a0KneVr5DWO1VnTxe0YApknpKvM6RQMjFnC27MV8QbRgfEmoD9vx
ZijHEjz1CJqvKD5q3V/TdnCBTjj4o5/rfrR+z6IqXm6jLpwg2ozhvHqMZefK/aJhr3Q3kpJ+kAbW
QJmJc/SPZBVYfrN2Q46iY6oducXQknb3uhFmu4zqbjx7Q8fYGyANAN0oLxoo707XeavV4FMZx8Xd
CrhUkHpetcu92dwIFj3I0sSl0L7Mm1SoqBpuG4PGZFK2hR53dAUZW+9BsI12Mqddl01hTvAmqlJH
1/E8nO1/uTknPxJ43LJIlVwYydp5DKM5aTa/vq+lhtRWsrWg/D0OoObS58Lw/mrqZmRcaVnUAXzC
ISW4wqHdL4lwnNr3ZIaaxaHgbkC8Fz5Emk7B+h5sstI4sMcKtxC+m/vOipQwPmbNWs7dBYzm7fqR
hZNb9kQ0OoKdzQSdvCiuqMyoBqY8MTTa9grByNlkYnltbmbg4FSXtrwV+qox+Xor17Nr7jZt9NJI
2YQ7Cdsj2NW3SDmyaYtx7Du9BMWx4R2zj7POo+W+m+YoxSxjJJ9WnbslzV0ZH5Cuwf20AceoxzA1
mXxdHko7QC8lBhkfwZam22bVkPRw0OKZnUJyKJAPvHetoJcF9LfahKt6NGkZEV5A6BeVWt/HNT9J
V6zfYpC66muCrdNebLXZ1PUYkOkudNAFRglE7VXBJdmQO0XxdLcEA7De1ouUQ3vgGnMXMPxhQksh
YQ8O7/U6SfLUu6DYNaTmTdK23l4ujVa3hYPtQtZgGafMzy4lZV4d4jhWVzMv1lMRef1pLZb6QVE9
pVXI32k2tU+sVp1KinAwwCrNumnGxIeVciYpkO2u+xWWg+uBL6R45pEfTrZepcqwnHnabvPm991U
s9MKLGr85AIpHgrtKLT8UVOL4JC3YnE6ybFyJbQV1jL8Vtl8tU+Mcb4mS9V6CfxvtLg1q84iEke9
+g1aO3KK1gF2zONoCOqYivZ1VvAlCk5LFIPKDFK8C09TGeXqxgTe2P0CcYjweeOa8FSt8WIv53hg
xSdkru24Y5YE5DBUQxVf1X7RMO0tukWjHB8m+UxnPYS3I53psIP6xtpBx8Lw8tgHi9IfgxIG1HXK
1opVWWjq0iYzq5CKKjuLKp00chSX5DSgVCcrW+fqq5eMjleL75ftC5zMHNKh0kqG1a2xt9iQ1KBT
1TtIL+XkYpK6qt/5CA2jXd/FtN1bgXMnQ0VTiON4RhXvRtESegvKUc0uAbqmURYpz9QxAqnMf6+A
4G9vZ2PlEKarKpbyZEZDQ55AJ0ZijLnVRK/vUBoLgioY+NvtEo0dg3Oh7ISLrocWW/KhQbHqPjas
Uce4BwqCmtaJj5GhTfCpxSAUZbLvGZwzMbkoU6wOJEtJPi843c00+2xpi0m+5xCCsM/S4Wz/YMyo
SJ0xMQaIV3nHguWBu61GUyYgRNDE2nxqU5VTTW7MJv36PYZGhP42VeD67WQN+8n7VZdeQaWC9dMd
jMFZ43fdAkngC1UFpL/j2GU4EUM6jRLHU+kFOsxlhx7QoaZh6Q60KZuwzeJtQgqQaM55Ae+AHvUH
Mr56TNdlOOci8P6x7l1tp6lwF6opmulZm6Bf9n0dWHU0Rs0Mb2xTbspGov3yqVEMnH1eNsp8sq4Z
0ckqwjZIVTNHl9VY5DwdMbC2V2tdxwVeiajA8TQYzaTTsIxISkcOlaDneYuVhLzDmF/1BUF3Kvfy
fqRkRbfHsm0bbletdTLB4zUBZa6YKUzpZN3vVyfZmhawxZ2PGzUo0Eo1o9NkXR8MiZ2tM+9E5ET5
fYEfjtxtTRiWGXfnuJoUBsYkh4237MsKd8WqTmgfqPwED++Yx6nRWx0gH13D4MJvWMEXiPiROFkc
9vVntVVlhhgf57c9MdOuCsZtBmwmyIMj8ltq0xDNZ5ME0o55Ck0u+kQXC9Di4spiOKryHDHwtGwE
SeC+r1JEpKF9Zpj7hPu6LDubDQGr3G7xYL+g6AvQgNxEGVU3snYhCuZqbW5AHpiPOq94hx2Zz6c+
RKPjWpHCkuOcW/1JIllxN13jzMmOotNlJtfVp4zh4EArpsg/QSulrrKixdlZ1VNzbW2IBG6DeI07
aiHLdNhWmNmAMhQeKjFRfT1aavT1lM/mch6Gvv5MJi+bXS+b6RFFJ921AQXRCPfD5XHdBFzstI/d
M4OCzctEeAgze2i2VFjEyDMS7US7p3APn9MR6X2fSmBXFvgpSo+RAM5Nk47j5FM9o2JEYjMon4Im
tRZJVGLxjmtDdDoAXQXmAURpyHWvOov2ig021Z6EW1j5wbtl3K622K/1E7RhenLV8mquTGrpMlSX
vQT2Crp73mchr9EAzZf4lsD3Mlt64WuoXuSwXO4Q58W7qKQoXnOD0ijh8Es8bXUeeGBSR71lDebU
rEhyC+bZ17yDn8uRNEidkxzKIvKlt2hCIGYh54efow8BKtosjrfrQKrePmCiRaYrBza/vp0cfEZv
4hkiS6mU0+BuWwwcv8RbF0C9qGC2fF/2BQhpjR0GDaxdGz+2RNkqgetumbgGPiSomOG3iLNvGd6X
FWpEdOTMvjHzGiU4I3xeJRs6dyxrBC9Lfbk6gTIzAYcr+oQEu6Npj0J0uV2HYnPvwmEMxAeXj918
Oy+Vqk6yVEVb7do5b6rjUpQ+KnHeEva9ccgmPzVr4ZBgb2qAEnXTj9sT+qwtMD0LCvLWJx6xfDr4
2jjsbDI+E1rSPeYo0SUkBhBIJIOMeNI5Posn7Aend6q0JdR1ZNT5KyfnrvnoWhSwyTShx3YdBYR3
L0OtVJM1fT6Rx4Bs7XKzhqhKbvIeLmrvJBpQ5EfZPd8MhtLuO+uMEgcfFTpM4xhi1FcIZAWCdeEZ
cVnOhZdDCh8qQGvTLQIc7GGBclB44lBBCi+xsERzmjmNB9jihb67VgPaUQkfqIOW+FBOL8AxVuUN
2fIOCLs8bLoDRN0DcgdOoeB9CoekzWE20q3D3lGox+0BvBnaFM1jNn/pXGsCmAduVh4DjarxQ6jb
Eak7R36XRZMaahA1kWe2NzPaJE0K7oE1cwLBnIhchpww5NDMBt2hAgZh+eLIqgy+Fc/thSsq6bKJ
DUOz05TKMSNwa7FNMk7tWu6R9Gp1mccQDwMwUZ+ts+Ak1md1WSl/ym0oZAqWT6FYBh2B0EBzPG8x
68WYsC9OfPF0w9Fsh/iAc7LHJHtECEvQboqaBGTKrc7Gtpv1PvZzNL6IijU6QIoUxZbCCxZKM9+H
ptXgOjWYHlmTLi3CYZwGelIXnAxk9ccmklQ+Q0+5tVfnNecHfPEqruO0jjztb5motH8f4NuoICkj
S/t5f1Z6Rt69yG2Jb+ZzoXCZB33jEWOAJYX40poXxe3aRgY52TRTHi6oyVCaixQtZYakPDSt6r5W
K45sQI1W0YYvk12CcT9D+xl5IbY52uZwcumnk1H9LG9ZWS8FIqKst29Niabrp7p2fbOPi7gLHJ7u
QDv4FPOpehcjq0FoIErEbD/gaB9fyiFmTiY2UlAydiKe5WOENkQFaxS0OS3GJPHcPA/B3Ad3fYG+
9rvlnI+Dtr5KTVKxjND8BaVsmPSxbNHexyKJB7qfBPI7voPH4Dxegh1XMJduaJX3SOirSVQiCxm3
8tINaJhfIYmQ/KqZ49g8dLpuppMoqOuPwQwf8U+YuuRhinEWB+Glb4M50YK44KoPoWDzLpjNXH0I
Nnj2pQoJQLdb51ZON5WxIIG0LBTL46aBsEplaNDLrqjuIJAyFYH9KrkZ8kfqTJmSDtr/9bKdgg3W
1hPqpb7URzcUdE2QZtRoVghv58OKwRI9TGgmugvd8C18RvOEsVPVYOCRDmGL4fgOXNtwkucYvqGE
PzcOgv04ETKnlLd1kGDPXfPBrDFGKgwaCfswAux43FdBhLY279DJXhMN+zGZrKMfWDaVgsUH62e1
HYbYB2EHuTPiZoXWRQEfsX5WUX3FosmYZ2agOP4iinhur0K0AMVes3JWD86hA53pQtYFmHuAVt5V
Xaf5ZV7ornlwEg/mciWyMadwht3M9YJ7JXD7Xjd2V8+iLU6+xhzxCflslS9pOPO1GrO6ly26czH0
y6ownbGZhyCFAARfhwzjDiHVvgGw9SzvKz5Cfy80UaoU5BvbXYuOt5mPonUTHqwV9TDd+QkPDaMh
rAQYfhOh1geKxw7ikWJlsz2hSZz7/YKdvFfbJq5QK/DgkgS5wmSLh1B2I+dphSQXYc35cNHUYmRX
m+7BSo7I2tuPrpoVlAuaGfoRewsT57VMIseZwCiHAJAUjkYuKUf9Zj61SyzJXQ8RDkP2ZxnUCKWb
ZzA+l9OmljpVrXNNtrbT2W3NGn7DpjzujjFYru4wdsNMs2JZh+6KGKisoBMUYqzUr5OY9xV6lVES
mCgK9hjF2CrTslDIrofRDCLhtK3oZy/gsH6Zb0Xt7yFXEFu0GMt82r7RjtHiy9D0oT6GFPS8Y4jm
1ngNRv1kHzXkmsunvmOxv4riwKzf15HVw9W6FoFBH8MTmSKDQXMcbbQZLeTKGADhRhtfz2FrXGpX
mGoeJ9xCnc0bIU0K3DjHaDCOz2i/Re4VgJY3eoFr7lPomsJcT3aLupOAJRzyAnzDHDwAZVe4phsR
11/QzQhoVjMZDAZSo0jEUtNhtbc79N4bNAdwkJ6rGXfOR1QwLTRdgyCasFnkOIFKMLDzE1QDqvIi
CSembo1YdAAqfiWqb/M5Pn4TM6QFwLNmxXHsFVKREOedfqDTRCz2XsHa0SaDNGAco5KGiZIowyrM
KGEBoCe0GPMbUgrr9jhGoRO46K5aXmztB3/Vb6Jl75EM8Ngn9VjPp3UVm38vRTsst4jaBT0YpCtJ
C8WTMYFRTnHuCQ5+QczFnOYOybESJ1MChX+DfnALMjisATZU8GOD4pzB1DFm9jPIlqNMQLohbuf5
0KA5MY3lPabBUZEtCwyL72ug/hAX4T8BXUO1yFw9iyFUAL52Idr2y0WXT2NvkwpcuDjpJcalNMWI
b5pfUC8X6FGhLg3tZxRlWxUk3GJgXCcMp6xFq0T3YEIkEHAfXLH3oDTCOKfzMS8/gn28zlMyOxi8
jBctSo6qTt0IbW13Qj3sWZRNtMTEOvtrNMkZGvzLjB+XfzXjL9B49FUwiX0PY0edVYBUXwNHNaYI
z2iqo8Ms3yBd/xNcSfgKcjONZjUxpXwPbvQoHuza53M2FEhrQHBF5p+GYMJrJCF+7d4gcv4zYMkr
KE4NqAwOD8L2XMKewEKBYzeig/LGF/pnn/4KiDPA3MyIUjHMQ9svzRQ9OznkbyBn/9lnv0LKISsb
26HI2X6FA0JSTuuxAq7i3/zwV7gJG0W262fO9uis7DAeqJI8Qj391wvqT+8coJFXpLDcL5VlquL7
IgwMjvAlR52Hw/7f+/RX2HzSDBQzbzwXVAaQKbUKhntb//DXH/6nKxS3fv7vf0A+8Slq3eBrLJdS
KPLNdFXr0pCvBBYrkrRDMswAph4AsWfDv+NUhkuet+UfLlnKwgnIV7A9nCHZ+3iczE0doRvw4wv9
51f/f4qX/u7/7WPz9//Cn7/2wzpVRWlf/fHvj32L//3X+Xf+++/8/Bt/v3jpbz63L+b1X/rpd/C5
/7hu9tl+/ukPOyQ6dn03v0zr/YuZtf3x+bjD89/83/7wP15+fMrjOrz8/ttXdOns+dMgvNX99o8f
Hb/9/ttZ/fY///jx//jZ+f5//21nLKrBz69/4eWzsb//RuTfSBTChzjkDBgXfsZDupcfP4n+JgTS
BoUfK0ais2B3B3PF8vffmPobl4yjjQURc4LfwWY3/fzjR+JvLFQUPyJQXJRnSsf/v7Gf3sz/vKn/
6Ob2rq86a37/7RXBTICoSiioDooxgqJTqFebc0NhdMbcREgfQ9BkN/NhKCBqGEQbuwIaUp2qqO0u
FVXqQkZaQHl9bZtECI1YV27IxhnO1VPXFfUbeMOfI8SPG8MQh+DGFMyLiHx1YyKvg9rpOAQvYxgv
Ozu3mHUahxsFgzVFcP/XuE/nC6LoEBEPBYsYQ7n0896IQzdVBki7DLgqRAc0G04TRWf2DyvjHy/g
jw/8fGL8T+ATIQ0ZwbWYZFIg1Y1fneLxnLeFHFBIVHQOr3yOgUaixyqsYLlLniBPVjwVM1B2EFF+
ixse0V+uzYmAIzOjJD5/01ffEBzA8dygKnYUasKfirbXJwPoWVIsnmO2oml30Vru9orXLbJY2WGS
V87koo1DDgKL4bdA78g3aKuv4H7nJwKNa0YZjSQQvfFrhLkYMPGheZFnuafBnuHVHABNNjbpYD2V
DGpDpuTdbQV+7uWwigaz+Kg8cL6E75uuwQKMFArGNi+RqYj2Lcz+D83Bn18Ybo9TSQFuwfDwtSah
3ITciqnLM18oubeNollYx9NnAB/9QaxN9D5uAZRECdyHF1FU21RNrLzIPe8vB1PYN2RMXm8LPC0G
PzgVYa8yCf2Xn1cp3ziKGzOVO1ZLbMQaiD+UpqUEty4MPpRMrW8gxP9s1TCBUVwkEYV4/HpfEJR/
dVWO1Q4YQ+h2+BmSCGhVhA/TtEIkpqsw2uic+z7iFSRlbezNOjD0dwl0x4O8DFBLYBz/17vo55D5
Y81gKRMM+hhOBuTyPz8FwAAYRgq82uWCi3fw+vI7zBmXLC5yf0CCb1IxteqNR/9zioGLQm0Ym5bh
VML+wYH580XJPNAZMNx618PH5UJSs1xsTPdvPO8/uQqmjABUMVDQFIbsP1+l47BtrpoclTImt5hG
25qjl03b+3/xCUIYWxB4zFGBpAml8KvLVDgmmrrmGYS49HVPIJvegTaFIfds84ttrvhFjfnt3V9f
9YeGxk+7CZdFvMNXiyNK6WvKoAUFno1hBYx9uwX5IShZ8D0Grrzb9wB97lsXmSJdqWZhBuusddrl
Xd+adNocxvoQVYNrZoDYuACvOtmHBpCx8qKncOuQa1+z1KAHWyZTvA73kwA3O4GYkb+vawbLVzAh
b2tXR+9GRg3bDVaEErDT3Fxh2hL5tJ7ZqhN0QvLrEigyf4GpIbkwIUQ1b/AYGUuWpfQ7iwJwj5bE
4jH7Jn2dnBse6IChXfhcDp7fYOztuv0C8O0J66QuEi8wHobaSknRSasawK3ILPSDkZUOE+BXUSt0
bh6WoyYLhx3b0hUHuKhpeUGjlVVpsy36E/pRgL4quupnr9A5TWUTBOjo1hjxZHloaZvSwIkvAYAr
UwYJtzrh83g0g8ofoKY0Puu4FmB8QZ4y++t3+ste/PFK0YbFISkiHE4/ryRt6o3kaBxngrRB1lfA
CzLAVHZ8nNsMbOvlpoSk6+6vL3re4L+sIxIDZQhCL5eviYToZWGqB+m+DJN+vttIq3ZozQwZCTr+
r541OPtCHH34hviHvCadGAMsJafoWmN+X11GgCfu87Js0oFCmh3rfN1zDsvFv/5+f/JQOQR2eQgc
sOLyNZdAF8WS+w26WBGUI66BHbkF8UVncZRPWSiQn3AAK/71Z8ojnO+EIxOE9e2rQ7WPaRkUa4wv
WlVoxeGFp0Mluz0FxvDw11/vlygW4fSmSEE4xRWRCP28ZiCz2/bR3LPMcN9miFpAfIFpjaG12q4j
tIPeuN4P0tGr9SIjAVQqroe8+rUUBMBMYz83YHG3GFrvFRgG3yX6NF+qEhyCuWnJB6CVZgejhimC
2tk0bvdhLvxwETaMinQboLnAXbPAKbWewrsRM+QyizuzHk2Hme0bW+pPVjdsVjggz9DPROw9x4g/
lGk5IEsusECvYioPPMoM6vY4nPvlg/H/xqWQj0oVRRyn8mtZAdg8GDV2hciisoWOgwyqYx0EMoUh
31sv4U/WtBTsvGMhjoOz/1VGj14gJAKXGji1jeVX84Zp3YbsEEqEpuJQNND1JY3pW1pXf/IsFQtj
FSoQ1Bn+9fOz7JWqPBTsRDaLpts1ZQwECjq3wLP4t5SGfl3VqCCogMKSUhGVr8UngToUGoomHD1C
GWd1DHo5pvzTRVzrMIsaq/8lAY5zQnJWfxcx5RC+wf9/lQvmJW1axQGyglsP25tgtVcKEfaNFfJn
3wp9shhXwunOX9N6xwq4axUbiKTyVaVBVM0XtC3nG8rR2ebNKN+4Hj7yl8MdZwuHgsL5fZFf3I91
A6cBTYDosXw5N5gxi7ZpF0GWbh9Zr9C77GmZZ2Yth5Px4wYNdUCctwRT9nVJpBzqe5FLNe2M5KHO
IL2IXkW11F0GMRUAA50GNhgTAKQRYbvlh6aol2dk7SMG7/Ba+gp40AoDcOq+GzAqbtFN12Q/ijNQ
WlNAc/dABs/oB0sGlppoxurGQ1r6EzSEkLYEwJ/e9cOkCsyBjP441t7zJEZPHhrFIfq1JeAbU7IM
ha7Q1ybuC7TsSQlMTy8sSup6vESRFn4FY917zJai9snM8/jU4G1/b0qT3+TEow8F45f8jPuy4ZhU
wCK3aQPQE4CLBnABdH59/4X1sc1PSmh2foj5eseCSnRpzLXO96YBIiRZ23K6gZGt10kdzCLCNH8D
2CvAiOmSzg1oScoX/oUADYJ6v+DtZz7Ysd15uNQ+olhY3usGE4i00S4qrtAzRCNfATLyJV8mDu/a
ATMwoHa2Jk4W19n3wEV2w95uFHUccBWt3gMJYTCIK9etuag8tJb3mARjpIubwoHkJ91+3VYT3A+N
qusMmB/ciGMNHuE8rTze57rAf0FKyL62U15+5wR43GRtKpBkpsoV9xrgxSEloxtuJx4Mz0jdrE2C
vGJbUi0bKCumHQEoHNvAFEBCBCBXVRBM9WkRw2AI0DNjA6B/Pe0wwelCcaU3n89HwFXsk+5bXqaQ
qsAAl44ADlvSUfiubVLdA846Au3pubsM0fbszkCOck0HjMrwWDGeAXy67vJLvEEfpcg+XZ+sW9t0
CUY60I3Au8VfFIBDbGmd0/lmlj1GHhikiEdwsIMhq846FtdOthirsq78Rnqimou6p/lxsyCa7Jp6
7KCJ0nWwm6Nh8W7hG3nEhUKdejP1z8532z3WddVDjG5YXsb+PPVqeo+7JS2CHKha+XiLOaDQb2Qb
58bszxEZm1xhCCrRPZDx68OywmhBR1FEsrEM2cXYwYQcIZhcQ+bG7ZB2tAkNnctEDn+8ScdvNNF/
rWqRzCkhZYTOnEJp+6rjDTrGOJK2JxmA0gDcRO02ZhPcoAB4wtClRct1DzxkgQQl6LIBZMtbFffi
luCFZ5LN7mqIgrc0RH8NVdjOHGUtshRkYuxVqLKY5WKeG/EMwDyfxHHU3AUS4I2xVPoNtvAvfT/E
DqRd5y+vIgGn8VfXUk1P51hYmqH96I4AXq7ZWvfdlQCW7XLl3nwumeiypV7iJJqqYIcCpE9XKXJs
57xMxbzioJLxW5rWvyYJMUMz9Fz+hkiBXisCVJo7A/Q3sARTb68wtYaRFuVDAL1HgKVz4JOfA7u4
Nxbjr12eKEa8wUVxZsGc63WQ2+ohrKBrxbM2X4qbAcTOPdqAw7GbAZHiOZ/3G0Vs4UEj7oChEEcQ
9Uyb5GFlPgVgKn746/yY/hD4+ml7oGEsJHqRiPLoAb+uzyOAyyD8RQtkEMt8iku9sX3DURYmI82H
Kg39CqVEDJ3nm6KoUY6QAcsnyZFRnYDZjr4tK3qmqdpAQPVNFGJNw/kYm2pjcbgbJ+SXaQ4SznBE
yYyzrlO5PxWDVHM2RRj4p0BJsGeQUsID4Y0jiL8jnBhaE00HUgOTCOpHr/tkriOE0ZzgkEzBweTv
S1Z0HEiGNTIZwxA4x2aaqxtNCPzWFnLWSGuBQIdwDcRtvw6dxyFztrzyR8r1hCELUBhPgLD1AG3G
oGKkQ+yKY4T38IEOVAPS54oeA++xBXxTsMq0X8eij/WuXedQnoCH1md2UCAjEBCFh5RCvIf2GbmF
EBLoN5vb7D7a6HgLPXlg1XPLo2IfA7a5ZRX4qo9GoJWwm4lvowOovNA+tiy8bvuJd3cLzhSbeC9o
lPZlqJ/HuQCN1McSNne+Q8OrHAyUp+BFF1PQZjFXA6hmbUGwmEd753vLvgFc0QUXiIu6fWkBwbaP
1YZU7wmyzIwcxrUHPr5YpzrcwQ5TzCcEbnPcgKO78Wbgy9UoahWnDc03gBSgFx0fawft5Iu1tE21
F/Brit6RRs77oIzpmM2TDHMAwuErl7J5GAeA9Ex5C8dBxZMBhJfHEOgHYBNLDBzwNkGAzTARBkeq
rzDPzAhwOmQ/0dB8LfPcAc+4Fl8FFhHAgE3FviDp5Rjhg6sNFH8cDB+AeUWg7MrQfEQ9OaN5VU/g
loBSPoLvs7oK7CsDQmQGB2B0CgBBrJOqMUG8c2NpH83/Ze68dhxXznZ9RWUws3hKSR3EnulJPemE
mMicM6/+f9jL2GhRsoheRxswbNizPKUqVvjCGxprufrHKb2lZSubw5Bn9qeiGuxy39TpeAMNtoh3
ha13HcgqP0kOrRg75WbO2aZu1NCyw6mxtx/jKUI9NzHjbHJrHyglANa2Af2FQ6crYieQbgFsetrP
nD71pk6j7AnEl8gOi6UN4Z3oyz/D5ODkWRolDIEMbEO3i6wEbHHa1VhFVxAwHuK5dlJXiQKpPQAl
ZRwbqMEd/fUQ88Vi0iau8sa6Lf0W3W2YbX23ZxOO5cPY+MpTqOZsQCrkIKOH2LbdHBCHDSmjMZO7
wkjCr4E5DncicyQ6T74zKnsb5tDXOZ+sb13bTcJtOx8AspbQTNjDcCEspMkOcoesFd/EacJFkS2V
j98HQSFxr4/p+HUWs1ZhoMNOA2NjFLdgZpfIJpBfRSGA0kLvdfI9ZK2qI1htlCfg8kGzi9hUxxGP
xj+m3Yj3AeQ9ivRp1P9UrbBWdoOdKt+SyhGf+hEQxxJVivdZC93ajSjTfOSo++1+sPr0WxJL62uv
Od0nU42Tv0Nv9W9qTKEBXDYl1G+AgfOT5pTBz7S1gW12StdluziBAQwKcnET4Zx12WHKhyI9pJWK
PyEVOCTOSKzb2pXWOGIf5E+26Q743C0oSEc7aEaQJHvNT9WIY4kLbEpQnUIkg7t/mxP2f++zMLF3
eLVNR5Tnoad0ZhBr90JUfX7o2hyaLshH+QsMWDAcsByFnmynttHfzGSW7/yxGr6OWQ6dHoSpfEpA
ygFmr1R9r6U9+GBA8cEbtfdjEHkJvLFdlQ4y3ZdDoxmI4GR2dWzyCVkDHpY63A0QbfL7IIVncl+C
xhKHpM+it1leV8OubskAd7pMpXqorWDO9rlq+e/LsihAsYULpcExovmggf74rQvBfSahKD3inJkE
lPTzrt+1LCxo6jqO6UKNifJ5aIUjIY82or51Zgqcu0gzws9wpfSUJ6WGv1UgIHVbREpR7QcloX0V
yAJRenxYcwvp4Xac8Jh2gr/6VCXW3VB04gtfuq7oC8AdYwng77lmkFr9LuwXv59eqs7XjhzBLSuE
Eg6xjCkNpFlshQcIAtZTvwCkd0FXpL9xYAQtpws7+dLCGXxfKTQa9mqX5w+o4YOMKf3ZMF3oZqO/
aw0jhIditKI+DGDUepgLxfgzsDRcJ8DJ51+BI8w/61D4/V0IMhboZK8n+Z6P2T2MBqgjCBkmtdq2
EJN98OkzDCDbI1e2S3TWFZ36NUPEqL7DiwxAlQJP0N/HEEwX9KnwqQBnNA/+qRC+qsn+JvoFY7/4
265b6Cdd98fyT/6xrf/8ad/8KNf/5P+HzXZNIRj/3932d2GURmUZ5X+alx335//XPy13Crb/MR1J
5VSnyKgvLfL/ttwpcv3HobZJF9GyyDuWxtF/W+6a+h+6eyqh1nODFDbN/2u5G/8hLFc1mvFUt+kC
oYL7ipb7Elm/iOwkPwogwNK/s+m8q8oSAb8o7iUmd0Td58pDHSbiRrNRXwiWAuiLNXn3z9/3ss98
PgqBLC1e1bRp7jvOqlmlxhmP1pjNDyTG+gFUZ7Vrwux1bmMAPXV6VTYDUfWiBWKvav9T38rU6Z3p
IadjspvhUOxkY245ua5SxWUU/mrLpvW7rNw6V5GOkIVlA9gDP9xQYfFDTd/rgdITeMgm+FFEFjUg
yw+kuUdKQY33qApprzOwfp6rCTx86VVbAJnX3fPOaHiItZC5Kn2zhyhVQePTi61MZEk8T7cHGZZG
BkLlX7FIz063h1VloyC8Hh6ouyXpniCLUpM602OCQD2XMDIpGvluP+YpgN1GZp/nueusvV4lRbgv
hDZs9OxWWSmrv+BNFANbF74BJazTH5QD1SRyafqHaC5+QhlObtS6+N2Lubq5vmVXhcZlIBUEAOVh
jgidndVAYYmJVKRV/cMUhMUvOiDRIYVudagCfXxbyMLZGE89X2qT824wKctc7oJV/TRIO/QEFGbW
2z1xMXoU+zgZxm8QrJovIvfT2BVZb//1YZ39Vqn4/00jJMEEKkThRpPp7Lga3DD0RXXuHea/Nrhp
qLhMaDLaXsytsc+CduLdso1/3owTXNbVS2E5qegPwhTRSXLXbXM1LmktAyH0hKFoOF9ZfxHPtTZ6
LedT4eMxAyxrwDadu4Lpucq2LMsHiGr1rrXV6imyC/XL9c2y3JInx8Sgg8RAIKp0TSIYcrora+Dj
RVX46YOuAme9oXkRV4fOrntYexWsTBDB1Ndm35TGxqda1wokoB2b7Ul2jo6IYzzrQ724wBUqZerc
N8WDXZdFuRNEKxDJK6l76AsQ/puz3XyY07LW7szQlsTXFtQctDAtfd47ELvf0zES7YdXLwjFC5p3
wNeXIs1qQdIeyD52t/VDLOeu2OlVOeluWSv53xS5fHmDbJPxt4rbRm7cWGfH1qApihwP7yoQNtVe
/vzFcoS2Tm0VKawHxw+NWzzXc/jykvI82lEPVWIEG8f2fH8t49HzpWslaROsXjaUX+oAS58UXQ/K
EsMIqNqxC31/fTmX5TrdXzB0+MZQcCQX3/oyMpw2LhEuTB+KJta1t4liz6FrzwZKB6kfFNLrnWr8
RDUp/tPYbb4l/H5hksC0eLnpLC//Wr0CRZ6OaY14wwMFWd7UBNZPX07qxn2wrgKylXVeMhXnVg48
fKDVlYvAYRYUlYTLgOtb5iLpkNCrgDT4PYe9M4OBV0CTB01RPfWOnX1xrArkdDDZzefMKmVCKi+K
EbS7j19UEmfQtq5/hku/kBqtqizbmpO+xsup9ohSRK7mD6gPFb+QPQ9vtZosxx5CPCycvP9cBsP8
VApMYcPQ/KPHc3JPQzD6gkKWf6fPJWdOMY0fG79rWZmT/UH/GuMP0wSISaNqrdA5DX08OLB9vVzG
0RuNCvoOnFIOp4V6/TFj8byA4s7dYMXWnTEP1iGcouT39V9xtkuef4TlcMsCR3LWcr4VzGtVq5zR
w9mn+2SbfnZUYshq10c5v/AYxmSSSwQG0HMdAYyhVBLobaPnD1FguWmvI/1hw4YMdoMxOJ8g/qXf
OiXXP5bJZOCKAn2j3mlKLG+KZI47t8OdfOuEnIUloJeIPcFjOZKAbG1K09YJpZVxHD0xmtTgGqe5
nyhlglZAl/D6AlwYCrSDAiqUVxrEwurG0TK9HLq26rzY1MP9qE2w1ZF0o/wdWX+vD3Xhizo6bQma
yA4UyvVQJnuqDETWeZjJ6kfdrI2900T/zR3/ZxxwdmWTFJkKnXiAMyBU1vtGmWMl0w2UMLoEllba
04yjxD7ddINRvq9q3d9w97k4HnAvCyS0xpj66ROhoByhzXC+PHjp7X4cIZDiPB7vBGzRPcphye31
VTwLDoDN4UFNRgJ+AvjMssovniRaXz7O2nblIUk073VZvu9m9XOry4+jGN752LZv7JDzCVqAA7ml
QPXy0dZWbWqd5A509ZoT0hs3iR4374E3+N+yLipuojHJNx775y90ev0scFQiZh4oemjWaoZBPWF0
aeazJ6CS0iuK1MJ2AdUk6n6oK2VCnGWa0SWGQhjd2+PYaViwq7LaEY/oKDpSgPyEXgLiJ2EXO92u
KbQU0DPyb+EN0k2Cjq7pqyZabSlin4qZW+pDrQQ5pK2msuSOABUOUYwyUrKLhZzpHqHekbmmOVWZ
G3XaRBM5V4cAhmZpfLv+ec8PCZMHo0RyJGlhWatXa3AWHSjhKF6sNeUdRLn0timaV8cZS4IOZoQz
z39SLTjdRIuwMLB2Q/Wcohr/AP4yEEDUzafrczm/WxhFBVjB4QCBvo6eDLinojRmFSumbHiTUt/d
Bx00eD9tt9LoS8tGJk3sr4PBJBE4ndAcWCmyJ5PiWdMY7vQoqoEXRFvOKisNWfLkZd3I4kCZk8Q6
6yssI1vzFVUoXqS3KB3mBbodrWVO2FjNoXmwhyn9xk/p3rYC4nVb+sXebrr8VQyXf34FkBWTRJpD
Qi3kdLJqbSF2nxSqZydDcZPMYDeSQg4b5/7C0wix2tAUSf4Iv2Ptj6SFM9qvRa56umzL+0GOlFNj
2UyPvlXHtVu1GvqQA/zRJ+mYSJwbs1DQ7IqrFOxMBrv0vZ7GIEOub6pLX5oqltTIB2iwr0kdWslb
PrS+6pXhnO+QMrHoKvhb7epLo3DtGbDoQA0aa8fayaz1Mm011ZNBvciy2f7jMOv661DXy3biRqXy
QtrF47HUBl/e5X6H2qkxytazUSX9IqgSHAe6hhsf8uwCR6dzQRxpUMpNhXLW6SgWvdMGqtPkGUUS
/lByzfwOMcXZJfy+D+3QFa99oehuq3AdKCtq4BLt1YsYR/3QU2sZPJFGlOQd367pA6b516jT64dC
n6hb11G1cSjOt6tUGY1n31wqAaazGlZBfg4Vy1b1smgevLzMK2Xv1I3yvk4nNGUbFRmcEoGX95oT
jMda1bvPKnAZ3dWDrLxDmzG7v75Tz28LomcCEPI49ukS4Z8ufK+ljmGmqe45g2GVbt4bzT7LKuM9
Ahr2sVKs7I0VV8Eb5KmV+xmlCccdFGHfXP8ZZ9ne8isMAgVCXBZnHRA1WRxzkArdE1mouOD7DYfu
WV+i/emHh0oFHiRC3fxJnyG5uz702SlahgbuAA4Wqhef5XQBdAcOix/0umfTwPzuj2P4E9/zjXjh
wiAUasloAXtwYs/c7RwZTbnVat6MsXftBr6CdrdevM40hktXqhTSQNnyWjo69cvTuRTkCDNlMs2j
t5V+S4tI3PMYicOrV8w2bfYLDyexzxoaMdoNjOso1zyridPPMUiAG4UM63WM0ufJ2AC/OTEKhQAW
73QyGsL0OSw3zYv9BM5woCO82kXp/vWTAeuzlDOox50ZvQF0UkEMxJpXSQQYwINHB5EW88b1duH7
LyWrJVE0dIdg5nQuiV0VGpRwRokNeSRbbGkwS2XjMJ+F3QvEmrdweXeJyp5B2C/CbtQ82izLOt3r
Yr/8EMNFQi5KMeFLUb7QUDt7kwK/fX99Ac9vbu4PcKmsoAHMd50H1vY4Rxp6254aRpXXdYn1mctK
3LWAs28DW2hbPMELlyjQVuqOcDkp2pJhnC6mnpghrrNh7tlNPOzQSS7epEYANlTttTtHlgkNRLTv
ju2M+7Yjq+Yxq0V/F6PEep8hCN1uvPZrcDvHjh9EHXThSmqkPssSvVj3Mc3DSeZVhsNpn6WuHMri
g1Xn1kPRKf0fqQ3WI33yND9YHcIgdE5QaXGTXml+1AibBnsRjdC7Golo/m3idMg4LKHbx6HB5NgV
Bp6+W794uQhO0pflDXJo2aGvzD3x/Cq8+MU1Tfm58a3MS8eqwcww8h+0ug8+0rcxvaCMesS5ENn/
K1Ugx37WC3UPxDfcipOWKtrqZ5BlPxepEfwCpXO6cAl1XqtIstIzB//ZE13aN0hX5ve+1cfSjS10
ZXaFo9RvCn9GCjiEkN1t3GZnCQDXpEmfB7wXTBaKGae/oQtUFE7o0R0rxN7vaRo76D/YittNir9x
Ps9vgeU+47Rw2cD6Wt9oIzayPDaldhQoZSE7l6puQUj0L0aheeVQmEEKhpFOJ5Q0mQibMtSP7Hf7
tgr76t6Pg2zjRru0bMsLoMMoINdYV4FRSwQGNAF2i2r7raI6v0SPAgwyHeNGaHBhII2nk6qFZQNH
XS+aphMQqnXmH4086I7gE0y3lSI7Rn3w9/pNduHzgPUz6ZootE+oJ5wunJOC88TMyTlCwqhv1Q5F
kwjG/sbCXR4FfgLpJiVffbXfsJSPcCzjFQh7q74zG3DqbUbv5PpcLqwaUQ1kDy5mbqV1PF2YVYUv
hy6P+DZoboUMxl2UOyjjSl9uTOjyULQmlxuQl3S1bPQ16lpMjjwWvl7+Ak3+02aJKUIYo71//ayI
2Hk/bb4TUdvpF2oL2icijOWxo2v/y6gM+wbiRPygJnhfXB/q/C19xieAzdWXyvcaHo3mZYCy1cS2
S0zVRQgveVvoosz2qNiIe+BnHdQ3M1A3ZrhAI1ZXIuMCB0ZEnTeFWZ5OURR6Is2w8I9DFaEWzv1b
IBQ0a86PpO2H6F7NIuOH0xbZd0REDTAxXSL+FIVT3kexRPU1Igb8XFGe+SozR71DeavzPaigGLfE
TVL9tGoUV3YGE4JslQVBiyhZXj+0ttbXLlxLxH9a+mT8z4E2/K5jIPgusR0eWwgX437C3+o8tXM2
m1ibSJrS6KXJHS9EeJskHZ4lo0ksuC8rp/lQaYpR7vDwCN7yz4fdzpBcEoeqLZUP4O+06YCUnfmD
X6t/iUMUfbwiEHONPlfpO//ie5JWErZSsiazW22dqkTDcC59ecRj+ikti08OZvCIzot3Wey/E2F7
e33/XDjm4FwcgCsgJthEq++ojzR6F9Gso1USV/YTRgyZX0cbhd1Lo5BIUn8HTE/gt/z5i3ccgZ9p
YZfI4wCxdZ/70tzFdbblL3rhhJMq2wYnT6X/YK9G0UYzD9qeufiOad8LQx/eGTl7z9D+1bHjuqdo
9Lx0z+2oFxMq67q0hn6QR3yv271ljPlbahxKB3Swie6oiZooF5X/ahmJnG1eTAryazIC6m21L1Ku
MD+BZ5hEIKXrCB3561viPNpZgCXLu0z2zzIuy/xibnM8h/q8YKSljVEguujdzYTU/3051P27YC5U
To0+HDWArHdtF08b9/SFVH8B13NJY3++aM+sPmOdm0NRj7lzbHtIyD2l5dvaD7D965fMZ57KY4GK
2z4eskPZNdEjqhDyv9I0/7PzcWnDGtAB2U+wPjgYp2vQdgW0eCVxjoR9CMwjxYvwqIlM/fWlvrRj
6YVTZqNTTRNidfrSFlGUxTfiWMwgBAESZxgS2JH+YAtjS5bg0mdF4+I5FZEQ5laf1UyxpQLz6Bw1
7DK+pWo7vO9pGv/pxmS803EXelN23c+wTLVHEczWr+szvbCgdEEp9pJ6LG3Q1Uct4zxIjUGI49g3
KRDwstUOAaJGWx2Wi+NIojAuNJL/dcFMR+fZ1DE2ONZlPb1VOsXG1V01P7x+NnTCoV0gRwKaYVnr
F0ck0lr+egdRZy0uS8/CHGU/duCw/8UogFcIwrjUaIqdjoLaQeYMaLwdOxX1xk6b633ej+bh+ijL
HjtNbkiJgROBxEFuhlbJ6SgGWviZ2Vn2EYUO/TjbufonqqXzrsqb8FOjo+2+ccAvbHqallQA0Mdg
cmuhkFzJ7C5IWiLLcenIUNk6Imuw6NCLrZb0hd0AdoEDhmoSZbO15kCvwsCPtUoee7017uiqyHvS
2a0i7YUJORB6qf/QZT4/WWGgTVo2mfKYm7O8r6rSelu1oeNFRZE8vfpjOYs2ECk8G+KsYzn1XdB1
NmsnZ2hWWpiWHxUihdsJa8fA1f2u2tiDz2z+1fZwgPRBbUBlhExAO90eaU+XnmqnfUT8Pz+OuSbe
LOilv0WjqQ+JrNDz7ls7+WijUotFQtL0DtByf/QUOjqL74NmfaW7D8xSTCCS3KYZ5m9jCwjcpTfr
q7u2S5XPSE4tBO+ya/E2S/yWN5WSABjv1sT6C8C6ad2SF8gHlB1REkaYHSq4muTWN33My3cyzMfP
QreSrxpXKKL1fZDdmkZR4YUwBsqWKuFyJNZrAgzwufNOHrZ2AA3HqfNrvFCOLYJCt1LK4r4ztOw+
D2txqyWOekziFgREVkTm67jc1HDgHpjEaZASQViciS9kY1pheSKPUz4rLiLR8jimQ/v6dwmUCFvM
pMlBdXN1WyeoR0poDUShZgYnFiy9u1gGgDWEn3F9R186PMv1RgMOgRnEM07311gVeZnAYDrm3Tjf
BWqCB30Z6TA3bPNVltBLpRakN+pEZOiknI6xurXxiVJk7nf2Uaa+/dhXWPCN8JVfH1EzDdZsAUwQ
767yTEMUmE2R5BwDXOvu6jp2DoZsvr9+1QCZswHodEFMXX+gxonsIQ7sY2Fj/YVLiHmP0lGGEYym
vr8+1Dn8lWUD7A4BlHYw9aDVDcDVTDgIme3otNCS84YtAKjtIbIQrMfKWIMzBFmvNvI76Av7eZ68
sSw+/4sfYaE/R3EFoCCpxOk2KbOgEeVAwA0ongyiiuMDXhr+Huu3dG9bbedRBNJ21dgrd3xZcW/6
QXLryx4S1/WfcmnDAgKmo0CZnAO4Wg5pgGUSc0Ryj+Lhrdn36V0nBnNn6da8vz7UhaeZ8JfqC81G
YLhnk8aFZS5BAx91NuyO5mrwMRwy3NIIBTwDXav76+NdeC6d5Z6HvUCcxqCni4y/Af4FOVt3ts32
xkGVee+o4Bn/zSggClH44Mivq6m4FNltHJg2jhiKfVf2pnrUkN3euMIuzWW5I4kyOOw0bU/nEpl6
HxY0u47w85QdrZmIBMLc6jFdKIMwAyJa2sJLvrIKnkSsYXKmCONoy0q91TQfgw9DxrtgJi+q0fg9
5FnebEh/ne9AsDwk0hxFekGgv06nBkpYjYoptI52o3a73q7DvZ0ljcvZ2bqdnyOk06eOsbjKlobd
oqm32u2iHWwhtcSEsdoXPny2wEEO269tOFEpxQO3LJzkU52gguyqdgesOdORykKdXbFdLUipy2tK
mN0GxqDocC8qTHdkgnC/2zc5msOzInqTh79SN/AA52cHNizXLzEtwA65viGFLkUIaN84mlpAvzSb
yjcD+tR3Q2KZblKbYqtJcL7hGJBKBq2zpTS7SIG+zAmQbC/B5lfGcVoggC2yU/djYMqNbX0hO7Zp
zFqUTEkYFzmX02FiZKNlzl13bBEPvjODyqxdx+q0vYWJ8D7WkvB+tIRzMGVmH9MgGf462PJu/IpL
c6WCSvEDRCVsqOXPX+Q/jo8ehRPrxlHH2PR2rMxf02Jr8Np7Yql/SfQH0F3gOlrdRr2iVE5Hinjs
MYzZFaaEYo3T6cYol/YJwRSPNdEnXe/VKD6QH4FFrHUMhoAAp0F/mBsSGjzx9w255Fa7+NLhRUgV
PAdD8m+rygLyb2qjGz7+sXixUbBNquOQCfkI7CHdiN0vfCWa0tRoqeuBgFtfgUZldWNQEiTQWep6
t62Gymuhe21Zsl8eZ0nsuWBI6FZb0tdqDLd63zpm9GDeNAaQkFgkH67vhvOblr8c+gB9QIpSyDme
brl8wo0YpVHrCD3fxs+roynhK9ZDm/o61HstPE5zbWzEcuc1EzYECRfnmfMGieN0ULsUzqBYlXME
bjFD/emV7vNcV5RJRrwwYIU6w6MYEBjaG3XofE8nTavfXZ/3pcVdCDL0lBatqPW8LelHtdPMznGY
euNjFarOo9ltvmMXduVyqRATExzTcV3tyjiuC0ftHApRg/FRCjzREJsJDgrc+v2r5wNLj8O2yGhw
Q6+uSdowZpMZuX+siCt3EDPVfYCl3caHu7BqjMKyLQwxXrDVliy1AgJ5jINqTD76LoMjBuVfzTZC
40ujAOsDkbkoAqvrhCKN8PhIfbYHElf+W31yMrdJ42IjbTnPNkF5Ay7F5oOCKE/M6SasRNJXw2TJ
YzJPFqb3ZnrLbZt4loMNst5X44OVY3GjdkOxe/23AqiMugpRGtXQ1a4YZjlTMEwoc5VSfYuLX411
+YB/ykZEuPw9qyCDCxhFm4UtRdK53NEvnpOIbnOWpnPpSUQbPDS7DM11kkpLMEPI1T0WMc2hwvcr
eP1eZCciZkeGI0H0rcY1UYnxkYItvBTJhkMoFECZ0FQ3ruFngfb19EgFAYI87xRrHa8hTyL60Y+9
dJ5mcVvnEY40S30/dKHjl7dtNuiKmwe69rdGEeSDMuoxTmXDMHulCaUVJ708jfahQOjCpbmlYe2o
VGWEikHfJndBOodofMTT/F0YSRvsoqpU9Ju+S/HlTRJLIpYx6soBSQ70QEfZwcJvdb9Vb1rs7OMd
LWYtPAyYIH6e/XlUkHiyUFXpuA7/CmAqmB/Y0hQunliRwhcJk+FdRbcbsbA0KJJ7UiUk2JAVVoF4
iznYpYWCF0dVp13wpRkN5U6JFf3RSDXnncAzioosuqPdnSLwMLlvkbPCpo4nCgS+FfbtAUx3Zh/K
FurBTh8rHL9tFDAQmpqj6Htgdmq6L7C/w+TCD8bvU1vaPdM0enVnj0Px0e+x5t5L31YezRLjOxcL
b/0uwuE6dyMkRR5Fq6BQE+Rq/KWJ6iHdxZSmqYhnqC4ceJmt4dGwc/NrbOMB8ybwF5dqqK9K9GCk
TaLv0FAr/4aqfG+DLZN4/xa7xBHqxGOO2fRdgc0z+h1q6Vi7lkTNuZEYV9+WAVJvOzUAz4mHXZr+
xRNNeDNOrOMe1EjmwxqL/C/XD/BzILbaeguWC9wD+lnAn1bhO06pWRfGVuf1fZ1/KMowfFsiHfwx
7hpMpoKwa++tOR7ubERibyycxW/0Tlhv9RZ/Z9dMA9/VcT77qCoo/v6Ln8YVTcwMz553Z3VFI+vZ
svr56DWZmbyb5g5fsaqfxU4UUDbBPnd+87cGITDdKwn/Bfk1zJQf0R7Gl1a10/wnNsjqb7zBitrV
nb4Rr779FtLE8u6T3AHsWG7/F7eSPvCGFRBIvSTzlXrXUeB/a2IDvZUPn7+9jINoIjJWXLUk36fj
KF0ZOEOsd15XIcKETqj6Xi017YYqkvX5+qI/Y/dP9wNjWVTZgH0jUL3GoZcybDBzVBoPy8dE36tW
1H9y+iBFYrNIS6zwJqeODj0ekw8kn7TCh6Y3H3T27pMmi3ByaVbhmFUjlvBnzLvCcpu8w/NmJAtG
NhET4E9pbzrjYcIE9Yh3UY4+napFj7paqgZd+cyBBohVgLEb+Wb4yuUJejOdhRgAjbagPspm7p1d
mva1ubHjzl8ZGgAL+s1e+qewb07X2UKSPLbGtPMGLoS9hoDe3zJqo9thnvKbAbrKzs6H8XB9xS99
3AV4B2Bn4cevCZq6hmkCwUPnTUmuHW0zix5A9Iw3cRSIjYz3PBqhSgTJj8SQ7hcp7+n8sDjktlTD
xmNL17sGteX7stf6V9eIGAU8FTrYCFzArTsdZYaiB7FdraG7qMV+KNVy7xvxFq32wrJBUuZZWSIf
SC+rM9EZaoHZRFR7yF/2hwl4N764GWpaUbiVZl4cCgIt00HnnB1yOqHURlymrfLaE4WFuxRWrjg1
w0usclFv3CgXSqlksotACOEUFbZ1WxnJiiqylkAH8qDujmksD+aINFgp+vADZm/te3oazQN8TdSu
AKT0M0LjlDqDEjXM6xvzPLWhSwpfk6gHdDQUnNNp89yKNnaqGmilqI4m7lxvBbzUxcY4hSMWTFV9
U2ZTcJdyXxyUrhUbb9OlHwABfanlcuedFTc11Ev7wFErrx7U4SZvbGvcN4k25XtMK7sfQthMXm2c
m5xzdRMC+N/AOZyfl6U4tLRRCABpMK0eIFFa41zACvNkaaRunnXzYcBidmOdL4yyNDnRcdFhiYEJ
O13neIxFU2sAt5E1UsFsmPVdbintq0/lguil+0iziYt9jZlwpNNrE+mnVyidOFhUvXcKSrUbN+iF
uYBTowsAeJt257pVDPMCE+PJ0r3YaIsFg9odeEfERrx8cRRuMlqpNKVJ4U5XjCYkZe8wMTzMJNr7
OVKHDzGR3daze2mYRZJmUTCncrsu3aat05o1DtkeQl3NY92HwZt5jO2NWu2lUejfs8P5+DqRxGoy
RWmj6yV0b0oF7SYzzR87Maofrx/m57fr9F3HWmeBITObC2DatHIqMsHI8Eolj7sDJjXivWaGzj6y
W2UnrMZ5N41Zt5dDNh4anLl/G2JwCjerouIQJGl203WZetDjsief6HCNxz3xUOd5fiC8FDujH4pD
ikLWzVD7mLmDnYPMXg1uueCBVKUKsYTJAmQx52jj0jy/n2l2k8FjQEGYiNDl6Qr2tk6UbieaRy8B
ibzMdnYN7s1oIiNXfH0ZLwyFqgpSSJTWQXatiQkd4s9cQyqMJ1y9vzux5e9KrvEnLYjExlDnwQhT
oTJN9Z5i4BkhcAao2YzkPuw+DNkJedXHEr7ap6TCZhk1OOvPnFXzxi1xaX6AISgncN3BvViu5BcR
rY8n9lRgzksVcErv5r4y35hQ2DJ36lVlo2rxDHg+2ZKLaC+VEVquz5pAq52vl5rIEOocvCwsrd/M
aJ7vu8TXGtY0z5Vd21a65RZoH7cH3xq4SxIp7ENUzUa074d59gCH6d+1VrVir3EQ8nDqGY/fxqG2
7+q8sp6SGLBtgJP4f9swqdQ9AWDlOQlOmG5pFk11QMGYDLDMNVhh8URa53Zapzk7JDf1Fv3+Noh2
+dDUCJabva7d9PUwfbi+qc5uAFIcSkNQnthZFBtW+7dVqJbbiRg9XBujd0BCZqLbzYr82aeFlwD9
GEItLhAL22T1aYUSNzk8BM+sDBWPZUg0FaSFm8IyNrl4SyC5+rJU7qiJgqvhnl6X8EJbaR1HGJFn
5OgGgpNq9mg0R7dRZWjRzurK4Z1SD/19nMX6QZhdjlNgWewKlBM2nvBzjg1PONBxWruLqthZbzqM
EBnUxij2KsVu3pPea3iQA/31MlvF2DIUMshvi7wxf9VSHZ9kgWCLi38KhPO4ksY7UaLX9doLi9/0
jJ4geqVBss4z2rADUyvtxKvVKTikLV6z6YjvMOKEymtD/mWo5XKErUX3Ym0NGPVTZ+epZKh+7t24
m6IdRtjRxl11YQcDZ4BIz0ov+fDy5y+uDfhtNhGZmSCTkNrUGdNk19jZfLh+Ts6DY0pkyE3xkIG7
XESdT4cB2ELWWk2xx8McRwet17s3bdOiftlJPrHrO+mMgY/hBN+cYTZj7Kal+DUlU/kR3sBkvDZw
4+eAh6PDCsRdt9Yq2wkeQ7ojROJNFRCOcmiz27GttjoMl9Z2+XCAehZYg7FK2pQMH3bplwlGv1V/
IMce7itUMDcu42XpVieWlANrMjBweAGuUd6Up3xj1PzKA1Qf7R3y+QPg/eYehZZ8l5vIm1//lhdu
I8jKAL2B1BHjrwvHU6Qr9WwhrKFgwnbvIz1xqMc5x0FAK18bLUKxWxJsugkLkX1dpRlm0clhVqD0
aVjU1b5THFNUKzYu8UubE1Lsgvg0TBgra8qqNoykQEjsedwYaJ7GjZE9BYsn1t6enOC35hTprRnU
HcwGrXHetjUFKbdzxrLeGUOiRu71BT4LH6jqsTHp/wIL4VVbveRF0VpplY6Z14LAOfRQ8uRuSor2
tlKdDFFexgT4oBtbGeylcXlhFrUE8LXw0U7PqJQtoGhHpJ7SlPa91INkL4ZO2WFBCgsEvdXqQRXk
Ihv76fkYrDYwvH5uhkU+bOnJnY6LiHVTaV2ae4FWK4lLZgwqO/VV9SO7GiXsWDbtu56qpvgcVGH6
C7WIMnWH0LB+iazK04OZ5Lmn5tYM4acGZrjTkzD9rqWZ+GTSe0DBfC5vfS0c7V1L0xkYA5qVNkpX
kfoNdH/0o240tCFo8KV7UShJdocCI+yhtizmDLHaMZ5cUOnDvCfISn41maSmBmE4x1W7R5BKbZRj
Xwnzqc9zX+H3wppx8YWWj2CN/HulHNTXmdEuryFyT3TP8VEjJUCz+HTNUjXAInYYcrQKTH9nU2HF
kQ497us7cflbTr8MEiG8P0C76R4a6x2BUDFNei2PvSiB6xRBDHoCMhJ9bIrMqG7aUUlDV1TJ/DvJ
jMW9J6w+X/8BS6Fi/QPYGgsdiSRbWQe1yBLUKt5KMSov/8fZme3GjWtr+IkEaB5upRpsVxwnsRMn
uREytUZKFDVST38++dzEZcOFbKDRF703zKJEkYv/+oeMI9/2uywnNmNuftMpG24ERoY3eT/oLF6J
9biw+7z8Hth2KOxIXuXIeqExt5wWzdNKIhHeFnW85OWVa/fWYUWVGecTYiaBC92F+uLlkcH6Zyxw
Qsxg4MGev9eO09fjnKyqwf/glC1yJ5Gn+ePbz/Ul9YcLEDZWdPQx1GB/3X7HX8d+6/urJAtLnbqh
iPZhqaIGE8Np/C2BatZdt/ijOHiGSWpKSGCIwGZdEy9XrlOYHY1WpxQ/GAlm8YQh6a8wj/LxwGHR
jOhjsfDnP5vqx+TCkrqwW7w8fTD+Q3MNZwSmAG4dz394GnG1tSVNj4IlcUij/ndUOJ+oi+wLJcKr
A1EmhHxkNC7PUUpnWEA/IgW4ixZ/jMl8kbvQIapFyDD8VyCBSoQXgWECa40iZzvi/3obnpRuLvDY
OOVTaJ7mOjevrcIcxIXP+WWlgPyfuh4SAARAqsvnw5Btm0ZOH4lTjiM7UnVkcnFqLOVeCoiWRWkQ
afD2OnvlIW7dH/gtCDFg650dKaqsR6kWT5yqEoeTKfImuhCLvV89c7kwuZdfDpP7a6izYmteJ0/q
Fjm56XVqt7rSiPX478aTcA7/HsV+/ggJWGgsJw/ESXARTcw1HHeBcdHx8NUXxZ5H6DP6ZsD456Pg
qWMOqeaxWXPvHLrKcndF1jgJMtf/+vait/Krjw48HmtluIdIX54PB5uWYs9lONt0uuvAEGqPaDK8
8OW+3Mt5dH+NcvaCXD3WIwi6OAVjYB7KqPUPLTbvuw6M4WNlR+UOakl/jZron6kclFMbxwF+uAe4
6Zyt+6JE8iWmqD0FEaGftVX7O1vn3/55qfO6NltYbs+UUWfTy4WqHAAmpjdFZqJrVV71uhK71rTL
/dtDvfK+sCqiTMNNEjuk8GwRCk8Zi4SwcZrtrP9ZU/GfCO1b/vn+ScuENw60zZpAl/B8Vcxd26dE
MaiTbkZOIWgcW5HVBg//Phl2I77czaQPQtvzYQKBEjAnyZMIrNCKZy+Yd5gd1tdvj/LKRgShG2gb
R20UuOdGbsLLwy1uZTzVasy/WFO07gUZZfdYSv/7jRorI6roTYsONnR+b3c6z+g9g9tEm4b2cRxC
Amwx/LjwNb0sTjiWePvgA6DpSLyePzZJOZSjrpenuW28xzEc5UH0Q0VggWjps87iNhDjcEGZ8MrC
44ZJWeKipoK0drbwJhVKU0e+PE3Z6L7zha2TQLTlhQvtq6Ow6P6/5YEnzvOp5Y1REran5Yk0dHnI
e2iaoTmP/8MD5Fh6WuLk0ZwrYWs/ZDddqIBCAv4+VvNKizsfdVLWwXDX82yPk3HRke6Vq+amuoVW
xn66Seu3dfrXSa+9bGn9NYINxQK68Yld6uJUkDFmjd50l/kZMUdw2kkGMbtjRj/oNpi7/qHs0ksM
iFfOGKoAyntv0/qzlzz/JYFO8efrU3nqUwuFV+vmx64ci+9idNUB3kV4qfp4Bc/jXcJWYUxsz8CP
n4+I6m0rfZf2ZNbyFBiDt7cDXez04st9ZdShivF4M+7yMYz2onKW2JlleTTDhcSdRWQXNtHz9DeA
KJw0iNfe3NBprZ9jQL5FgPOiMu/UYaBLQLNLFqndwnwihyh7163ETG0B4vdltrj3/kxoTtXh7JcX
4fIA8cwnpzEy/q0QfPpNnME0q7d1CU72/BGVtjfz+ifvZJlcdKoC8Vdvj8bhnzbDp1FwWeMGCXsY
ls7ZKFLYpa8I5j0R2aM394bwUOOTuEsHx7qw7z4JPv+6wW1j0RxlM4QSSkfknDkvStMaVp26J/Tt
+d08NjZ3NUpgleSdWzwUA/lHMT6N4c/J6SGAd64iO7H0py02a1yLwxwOeZEYxhLOsQpE96ttzCaP
6YH0NQGRefBBTzaepE06RPkOHKe/MTxV/9G2YT5kyvLqRBPIpHeVbrwsgYurg0MftIIuBUffnHTS
jq7DYMH0bXbshRQ1nMvXGGGwmBMXOworlqOggdb0jlUlNGDa72INFUkUxDPfzPXazLuqwr7Tm3L1
0XbH3t8Pg0MDrYAgcumGeC4SABVmzwfn2yJmebDnFjFChKWrBZ5kbrOQzWmKOroltTArY24R855w
zezal7rbUscgFuIK1R7WOrpEN9qKpmcvlp8B14ieNE2urRf0fKmCdmbYpkbWqVE2dDPpFiRSzFa7
xfSBpOAQLnzweAJYIDN6bm/9ROPv/CPL8+lhwHEAHuRMh3BwtpSxKSBUDArEKdez+6Fy8u7DiHvD
hVbE9lfO58pVE/oNMARaxrMaBZbGMJSGSQd+CeUhsFGCLmZbHt/+LM83yKfJ8D5ZdfyLwJazw6GB
Rjo5wrZPxqyX4hiVs+Udp9npf8ErUY8hsa6fNa9FEVGr8h8oHgl0G4lTe2TjbO65Gndl/PZvotly
Pne2Sdrym7UH7Rga0M/fc44zYQjbdD3100TOIS/hN9rl8n6G/BCBdaU91sMEB+597CJFXLdhJmJB
pFJzTBtB0pLpZ0W2J7pcrkBuvTMdKoOGNohCDhO1zkAdyS2bjDY2u9Wkz2e46RL7breyRzjBEhwt
Vc/lzvQW+Kg6WL+so8CydrKH+iqolvmjP+ZQC1WFc3Xiofi4k8LsKsBaE317xSodk6BYZkJ/86jI
92ou0/fQrMhOUU7f3+UqX7/7asmsw+SWBdydvsOHDDmTgfR/XceSNLyMYOCh7Yx7vfJn46p2aX3N
Thf+ST0Qm71SGcyavrfCX200YxAlUmF/JIw2cPcORh5tDLmCDDyni+S8U1sDbsebLB+JbPC+iiVj
hzLbLfeOVK1Zo6Zyy69h2I0bYy8gfDY1wv5WmLD8YLL4IF7SIzXNaMBOY24ew0HAuZBJlBuNsy+I
piOwKxXi3pmDfN4JS/GAu8FVY+KwHaoYVQBJ5i1ePGMSFgNIlmcSpRHVkfW+t5f0h9W2f0gjsz/n
eUGfdW7hl5rO3B9WbXYHsdBtiAtycO7dMmjed5WaHlL63Y8dznLOEXNT6xregWJ1+Glxpfx+/I/o
Hqc9+N46uHEU1fkKuXZQdxmBXs6uKR28qWtiHwHajKq3bsKlbLE58uzy2IgcrHGeO70cyUicfoXa
VSoh+Ll7NKc1usqDXv0m+2yxY4WsHW7r0KgfXqglqzEdm/taTcM14WX971yRH5f4UR1CV/RW81ez
Wsatgo1mJ+2i9O1AK/HbYJXdkRYpexsIPDH1G3ucmF+za3/SUQdeMIouOAErz8MRJrD5oXYMjA4F
cYbfiEQrf3aZXu/KUa4/ZgwEPmnCTNaY2HvYzSsPOPZ03uDDKYppXxR+cy3dynroin5ocQtJ/c8h
38EaD7051CwH2zvZWs9hMs9TfSsyv72PBsetklx0E3lyLihSMiyrvJur0ixjgs+C+xqh07g3jCI1
qKHbzL0aai//ElnN/NAJM/2BT1t4L2YkNocpCqp1VxJ3+TgMo6njRqp2TmxjctqEhWzPHzUtnk/C
84MsadOiksnKlKpj2DvjcpvlEBd3TTuPt6JS7uPa2lB9l75xqWTgr/xZ/AxWikR31V9llbLEfe0K
a7idiSz+SazA9ODBUSt2lu5wFAiszMzI5M1z9WEaXPMeh+dhI7kY0deeLpqX0LULrcSeFkXGQzGv
eaKDNmreVwSUkgYdznUTe+Wiu1udu8OHvBT8vnES7FJLNQTsKE1r3OrabHA9x4CAKmMuhB8PnkRb
wrmqEkRC8970ymjFFLFeO2yoVvUZnxxgQVV599onvxRD4crkrHeCh2rK2t9V57IOimUkNsOq5UjX
egZmvRnaovhdTSl51FkvrQdzCd1i72Uoq+LKwvPhxuoXn+J76MQtBkUdJSYZoFOsh7AibdciJzOZ
8W/5acNf1jFbn/0DXuOafSw8S1T7dGqHKNaG28PdKkT9brHgFn7YnITNoyX6dExU3xPIKMus+q9p
+iiNc+Et+b5qy/APx/zcsSonfdWPXC0T02/WNMnYyP6zpnlcDsE0GhCJEE21v5bUw6TYS+dvlWWU
xW4sva6NIybGjcZO5Y8BvTlUVRSAO8T50Z+qr2iDCKcQBDLKZZ7jdPB6L46I/ESch1u3iAPdR/7O
kE0+xXJpOQecgki+xMFI4MoNOhIdWZSsRzGazpXjKTnAZG/Cr/lK0iupjqlKZjMzbuqwmb4i4A0+
9+a8foGZYoTvtR0Z30yzrsrDsthDfoCrQqq8UXbRSjCoGldUrR0bfbZU6eO6QoeO51GwMw9pBZ9Z
o8z9nAIyfC+7Yb2ts5UzpZ9LDogcK0DujsuQygeftNf6inRDq7ltCtgoO7uslvcj4Zo5SYFG+RW1
S/qlgJt+cjOvR/+S4ZIfwzC2vtmFiG6kMjiGDLUWn0h9Mcj8hMQDGNiZDlT1YXF3+O5h35xMXSOL
05jnknRQVMrqlu+beJrJyhfvXdWPOiL3tSrJYMJnIyIStwm/rfUULknrrh318pqGV00RZh+HxlHq
bsXBv937FXQW9P8ym3ijW7r5YJCVGEvkO3zBmWrCHYSChpVdUeUdw7HcMh0Kjqe90Td98T60crgw
WdSM5X5gTjYvUlZLEupy/ZR5iCYo5nuXTNjStLFBLwb9rs4dAWkcCm2522x+yliUVvkfMbxakyHa
FKjJutWiYg8HP+LbTOXjGlSqO+o5NZoDfFNOeqFIfUgIJlmvopTO7vsGcVcdt2FpOfcu+ZEd1Ubd
FdeR7MwrATB96EI/z3f81xQD14GO/bFfgs6EfNRPv1urK28z4lUroirRsCQjxfDABTVjvU7VXPWJ
1Xp42BHg582JoVz7UblLF4H8yfXWhXDbcBhFq3/E4rR9L/pJtZ/yHjAKQ2Ebe3wrVUYeT7ymnuzm
CYYU/YDqLo9mAlOCyTEe9DQV37s8K+/QBDskK2MVQzqDyP06mXJX3Teuo8wd/ZY84ldaq7FlWFsh
mhh7usLi2+0SOtvOf2hWB3c/BoQ2HJdWyzDOAre96omoJcGVCuVdQ4LmYwR6To5D4658b1ng30aV
W/KXJRfinQq7/Kdj+O5/bmDQ8GFHM8xPE69q4XkUht47VGIUWytxXInUFeGXKRtTFLfT9hTbtI2c
BCHP9KcpxPRf6rmqj+XWoY+hCc40fP1w2RWm6j8uBOtUsYjW+rt0jWzZi6IkybVqo0VfCZL3vmgu
iUsyj6mXf0/9vplvSd4trHiJar42PHMk4Am3QLJJK/dhTYsUX4k5MPMYG2yp9m5EQuKOLlb+ca6i
6qeG/YMmIp/etRAtf1QZGi5sRZUitbcoP6WrJ/OkKWaH1km6jG2cTtL7mrsVPIvUGwyCa+vBejcW
Y6bIsMVcbdcPxRYAUOnxGlhETbibFa1zWPPN+bCjZOljt5mqLh5MK/N2PrFhX+o+qoZr3TT6F7VR
Ve4nkv1umjKzuBxvxAwyhobyDqeFkTBqWTsVcap6thAztfrPinEBMa40ddtdMeqaQo1mwxA3vZ/d
kwqZl7uyzIzj6C9OuAdI9E5e03Ok4kC1yGQph+W6NhURIqZfke4xdrnaT8QYNQmiI9XuTGKg31ck
B1d7/tr8ZUZQ2n2MSkFh1w44QCVzabCc3UFgMEvUakrxVk8ZvqmG10JGD9NvuRvZBbZGmOzFaZG5
H/sxmt5liyz6GLUeaAxHau/GeUscLnGsovyDMF+oXals6yYf4S3t0tpJ+Vz0QMFgGBKfSHTD03fo
KwNhyMQRfbDdib9PG0XiqNNUfGhNQVLTvSNoaCYEbMxGDDNE4XSSLbO4knVIZLOKivC77xReEOOZ
rnF6mHXxw/KNtocP0BG+nbvkIcWuwpc+CZxJ9CdPuNOHatFcxCuOEoCVTEX3dbeu6lBz7VN77Pya
381Cu3vnzEXUXuN8pB61VbZyV+dEDP3Uw9q6R6fPOUSzLiSCXeU4kMXREgqyqw2fcCkcKWhANwsX
85gj17PZfvvmj3Ca8SO2SDrd17nMHzzqH3kU9WQs94NVRT+aIcr+cB2vvlme4IvTi8brPsuCz3k5
p798NUXHMkI5tM/zkDwZsfBCbpep0uRW5fhD7/rOd3Vc5wX7HISn1EyWql+RFzU85N3qTLO3z9Bq
wUUA5uv2EkuIbEfKsC/vRhsMM+E+ON0Cd25GkaOvP7vkYcnrFM/w+R2h2NPdNAcb06dz+IR9TroP
XtgHc7xow8qgGqg8/eOGFTMvzXV5nxlVR+Q8hacVOyWGJAQXePlndnA61nwNJOFM5GSTNr5Y/u8x
tcSRqj+dd5nWxpdgdsLyHSYtBC3UXT/e2enMNmiAV30iqD6Ijj3M8i35u7U/kwXnvndU5PV/Aihd
9q4yevznmrJoPjdkVUMJQCLo7Oc8LVNKpFT+MZoWTHNWLYKoFkYyPwnirr83cD9S1xgf+O1uULgk
f6gD4X9Dwa+nRFINpzHXn/BR1zz2OAPF/BK0ffDglVlpxlET6sc8C1crySvaCnO0VKSgGys1v9Gl
SmDVYXY/oNKY72RoDsVu1Zb5I+ib7pecK4VBsq29957ykZpGtt6E2tRzadIFfvOTwOXyPVQfikQk
PBOJqk2XZlcr4o2rfrDDPmntdfhv2bLPiI8RaXltDMA6e4fgCnPnYcoxIB1tBucCXHvWPdywEQhg
yAnhKG6MjA3O/gs4N8gzSEclndPK/++mkZPcgHMNHDOLtVr2kVt3RHyPQ1SwcAp9yUlvw17OICAy
JjfTSDBsCwLy8/EBYDDSayEu+76SSYnNcCIyc/g9r7L+RxuJba5gQNAGn4jF2GM8HyvrRUNYXGue
TOU5n/BL8PBZ8fwrvqlLJpVnXYBtKCzPmRVcX7IbX5AHN1SmhuN8GqTzQdlL8w7sotjD4bS+j1Fz
Ad5+dTTkkFub3gMhPMMMXRjYvcw865RK+65etigqDUAqwV6OSurHt7Er6+VweAPBijSBn2n7nef/
DN3gd8tQLCfidO1q540iMw5LN1UHlNNmuTOGLKMJbfQ1xUTgjyox2HMf89p1vlqUsXM8pn5t3qow
zyDjdev81fLJaYrzJksviQZeLjA4IDR00WyZeJac5/WIUC+Ekk0rLx2dvObSlizpAvY8Gfa/Ndh4
6dilg+8D58EtoNFwtr5Cw8m3TtQJbz9rvxhLu/PC0fnw9uM/61A+jUIChM8qZkrQ4Z6PkqdB2WpD
6ZOP+vRGd6FzN7ltG3uGrR6IYbJ2Qz9fslh+idTizk6AC/IEyE2wDZ4PipzA6oWU+tRr00pSaxqT
CNhj9/bUXhsFUhygqEcbD13W81HCtAlXoGZ9moKwpYSM3CuRr9/eHuSVBcEugNvPtutBwDibyriZ
trlFr08cBuYJr4Z8PyGgeCRmYjz8D0PhQYKWDcEUvbDn8+m02ZeCW9YJw9D8ymvX+SH0SdkZHdqC
FxDl16a12QuxBun2Y3D2fKx17IICe6H1NHDj3JEFCMQl12bPUOWFaT0t5OebNtIBWlCsBXquyECf
j6XCInBEPlqneUoP5li+W1T7bQjlbVYbO5VW+yU1AFn8aWes+WEM7Hf+ID5MXBS9yf4oneKD9sqP
gLX0m3q8mAI135squvCiX34ofI0m9HjeM0zL8wytZfJKZJmFPoFPRB/Mta8fMtimX+CRut9y0/Qf
ZDhx33j7nb86Kk0N3KywRuKwf/5srLXJiU8P5lONtx2G66vZfxmx3/nuqUZ8LwPZXK26hIn79rAv
Px3YqlDV6fQyYSg5z4clRSv3+nka2ZNJIbYGieJLqEsNm5c7P50pDsaNdr8xyLemxl/VwhzOeE+n
A1J4iNP7jhsgdwruSg8ATu6nOU3/0TTrqaVKKxUCC0pNHujZkW1XKZVHRtaLVYj+WA+AkZHqrAtb
6ouHt/ViUPbCv4eEgbT3+bR6d8lhSkc0U2uRHywxdQnleXWBtPfaKPhlwfcllgXj4LNRyNBp2mob
Zc6Jz8ktqWKhyvF/GcUN4QNw7sHo3NbnX68ozMIhkK3nnnpr6fZ1LU3iXfz2+h+XG0AYamwyDKBd
wP05m4tHlV45qxWcCqjbO7+qRDLVUX1hLue0ju31QxWGWQR704RNcHaiuiJcIlpCwWlqPPuTowSp
mXKNKL3d9uiFmMXnK5KMZnbtfVQX4bEj/uaoS7jnb8/35VcNWxpgFdYyKnTCsZ8/VUX93wQNhnuU
7ZqUtAUjWfQC6XtplrTo2FtwgFmmCzvYixXDl/b3qGer3wzLALxPELSIZd1DY3cPUZ91P9+e2msH
Bw1eTsItt/IF+YiOezqAI5DFGer5yvY6cUx7I/2ul3X87+2hXp3P5hmHOzIal6ee6F9rU/eF0wDr
WifbsCbu6p6XpOm0XijDXm5SPDXMIzb7RbQP5+8KbUnV6IAgYTWZYr8OXnZd0n4rki27Z4o7W5N4
8T9MjHrCs+AP0DQ/W6ezKNXQYzt6snxS67th+mIHfbr7HwbZ7klUfk8CludrsEpF22VEXJ46QhsS
sHAjzoOquTDKq8uBdYfPKHPhKT4fRTdtTQ/Msk5GZwKf0FXaceXI9n7htRfqiNdeFCckC4KIaWqx
s6Eq0qRtZ+WjmoygvjdTR99UCCHvmGSYx1kRkGv69iPcPtPzwgWKx9ZvZ4pcXp5Pzm752vqZaN+w
sny88NR8BBWPuFqrOh1jby7qL429NnbSWFyNL4z+yiYCW5sCN3Iw86c4eD46gZB5kSLpPVlZ2X/P
8Pp2D/YyZgcT2kyRKCXMOpGu310Y96nOPJs24RBspnx6Nsq8s+UplUX0htVPJzJV64dC5bgoFjIt
iv1iOZ15bMa++yawrVm4gecV4pNobD+6XoOPlqE3xXPpZygy86gRV1hMejA2HFdiyuRF+iueO5i4
TaE15Lvedfv7GhLy97Kw/Z+YZdBD1Y1uy1iVU5bedm2ORVkW0lbeuaNZY+HUaf3FNrr6ZiyBt3Yr
OmadOCJ1f5rZ7M23sGEkPu3E6+nYmUz1CHRvFLvanOZviCcAJugL2O5OZRo4dM1yXAbTCjZyYio9
vBPtohco5UH+DX8rIEEvzPHKbiYHN0S3A0KuwSWWHb3M7Ftg1UN9SIk9wiG0L53P+dSOdDaYrh9P
84xpp+P23/vJza9CsemlsMhrbmy5pMFuhfxwW7NwjJMOR7u67SYj+rUYqXMrMQoKkj41ps+YlSj/
UKzcnlAxevKGixBZcBo/5OJWjtL9GnUFGKA9VtajYwsxXNs0Z9Nkbiz5UVShKGOTEJ2fVe8E4mi1
LuBlaJJIE0tpzZ+pYcJPJOIM5W2oG2nRRhHz3awrae1HA6uDPcwIx4kHWsOXckhe2eA5RjyQCHS8
5EWdXQyKoaY97iCWL1kSh6Kf1cOse5bA25/xax8SzzLa4iTYP86JdmFmYGw3Cn2SywQsi/7jiFFY
/UG0k7o1mwASC6b7F46V12AP1nOAiBCGH5z7s8/XqS266vm0nGrk2dd6juqDLFX3y5ltue/HvkqQ
VJn7UDn6li53eMAHM7uKnMb72PRixlRN4hQRmpbE3Hxtd64/Gb/ffjBPzqtnXzq7C+U/Eis6wOe+
WIGZydqtuuUEHU9+Mw1tv9c6y34a9qCSdSp+lc5iJCnNrhNLL9svszu+j0QaXY8kUNHeC316q2aT
ZFlrH9/+ca9s96iLQBqpoSi3z11d+iKgnCsALiANWXfVLO1PmWlvdhjm8DV3Ivn1n8fbKGzENFEK
41lztuvNC1RFQ9pUT7ImctZuIge+zpy+gzkxtRAOs+wCtf+VsxMQlVoKw7DNVORsRHYUrwcksU5u
OvyuqrCBr1h3OxE05T8jfjYLEV3EJuDbJPPPjxLTFj2v2XJP9miFKMSqNHbbZbkRazvEAeyoC+O9
ZPVy/QLw21BNkAzoic8H9MYMMIO20cmzobdIPH9+SGmC+BugfdziDesgrcwNaP+VwTtCCesbE8+K
n3m3qEdYki0dKeOiq8J2mT5b7hBgkTHieAzSf66Znk2oQt4UuFQQNg87H6q9TxrYf1HZL9+iMXQ+
GZPVHfpsDq8JPhvIZug9aEKt01yHs6Ped+laVv9eQfH24ZJuoaFQUs4eVTt1ioi+3DtVE7cE1dA+
CaxiiaEOXNL/v7LgNqdnLLgQAZJ0v+3HfxXUzNwZOePcU5c6v0yv9q/GyHt0+6W/cN975dvFaXSD
N5kaCMPZnKIlC8sKD9rTWqz211Lq5ta2q30BnXq/1lZ64dN9ZV5PKowNst2u5mfzkni1OxO6yVO4
gNfmgq4rVjkrHWzzH50nNjiVCcHCZM80Kc3OitAsdQWy4mY+jRquhegXj17llO97K72Em22/+vlq
dSh0uSVgnuRuYo/nb6sYt+eWEfOCyad3UrShdkU3qgvb7Mtn5+AJy/oDmuN9nTtYZ5Ol2YSW6RTA
ujq2wxJdISvpD9Ei2gv309eG4gUBdpN48nKlDwXEH8YbTmLFBtatsOz0iLFJUvigF6jCLxfgxnZn
LPi7T2Hez5/d0kKxVE21nta8tz557hIdsCQpjqVLfu26Ssjtb58er8ztyT5p03CAQJy7BegWDUvZ
hvpErnKuYlAV8ygcob/JHBbF22O9sjAIWAZb51a8/bNtc399xvhNWUaBVe1Jijl7sMpJ30yFDC98
w68w3LcZMQqyDBDKc+XZ0nojTWNH05SabbgZXfnRHFGfRXljJQt9Iy5DpnfYonRvMhutWG+m/xhe
ugGxG6GcmzL9N0LGzzaSCS9JvzaW9TSBoF7rIDB3WmBlnUN0//enSq0ZkYcHoR6S+dmX7USZFcww
WU/p0Bqfmmm6p6hRF3aqp0Cxs48aucvmJEbNi/Lo7CSO5iKjzPf1Keun9qhNWdzXEC5u+jCsPngK
ot+64CcQhIsBQzr1dksrbRxZ6vFqoWM9xTlenzcSNi6euk701ZbVfDU7pvqYSrr/uqwxbdlyr+vW
zi7ozl451fHlQIJInYTNMqrY5wtPyGLFC7ia0cUsdPzJr8cPG6Jx+RvhObp0BEcwONoyNee7ScFb
O6Ihs/6zVJaF1yAFaX+ScwndxA5nf7p/+6t45ZP3fMB7KiqKYuzmnv+4ySc9pFxdjXzWx93KL7qj
M0GUKgJsFss0sC9Ub68Uz1uTZjMDZHEy5NmAuBKjZnRq2jVDK3G98n2IayX6mytEGKNIxjEkR2tV
VdR90PRAMpRLc3t00mpu3/V5av004Kf8oW8PCVMvc/R1CGYukv/+WDiLkdCzG+KQerZZQMByAfoj
jfNvEcX2lBWxtegHPVZqb+fWJT/zV97CBkGGJBmBXWCC9vwtkFVk+jl8qZO9uh1W95hxd1la3DpR
aX6yGntO3p7eK/suukv8E4hg2MzQtv/9r70wm9UIqarUJ2tZRGIHi941WdHCop8uRfe8MhRNWs79
DSukVDqbWlAa7tLn2j2RrCgpY4IOmrWaro1mzi/M6pUdHiIAWzs6KHSy56rI2UxtqVLbPYVd9aNf
8VigXxvZP99+dq+O8qSVBjnH3upsASP58tPcpUi3pD1eOVyEbwelnIe3R3n52PjT4dZ+3piz7tNn
9NcbQkggSsizzokUoQqSS4Zka2M4O2kdXrhzv5wQaUMwVJDIPFkZnk3IlIM3kqFmn5q2QPtA6xZH
c9W9f3tCG4z+fAunh7l9+psDxqbde77kfG1O7riE1kmU8jHM81sEuO/JuulBlnAHq3Ug48G+JGx/
ZW6UFUBLnPdb0+7sePKa1VhqHJ5PTZ22O7X0ejdPvrl7e27bbz+bm4/nNle3TdfGOfh8bi4crqKx
aHSni1tyE5U3he/MWHPZNXiAtS/D8F/BcPpn7J7QUTgU2brPaTZzSdlgV1V0LYtovgUzJE4bQ8IL
X9T5S9tGibj9QkWBbcGLez6xDGJ7adlkR4qlWmFp+qX6YaNjvGtsuweZNFb/rrXL5tqFtAnkNVyS
YL44PPkFLH+cwVFwbWfU2S8gw9ttGqNOr4PWL0cYXQ4y1kwL9xoLd/iyfbYcQ9RWt8M4Nw8WwZ0V
AJzlf4EhPCM3GYM7hUrowgunKD575U+/i/pu84H1ua+fVSStbxR4VlrpdSpH495DJTbEE43yNC6t
dXSSAAsWdRMIF/emmtA91CB9Rdx6OI4dQrPGQhFa9xmpkhCG3Xw3DG6BSdYyyopzfvCGJDNs4e8a
jE9+VFEe3RvlvETHFS/fG6v26J6OsMplXObgyiiaIuM23zgziQdJs4vRhJgoOkb/R+1Zfo3BeRH6
CYbCY3pFRWFeI2dxo4OZBaWNhBW6w1XqBMbt0mcppNyAAgoOrm4/k0MQ2fFYrinUYTNHGjNhabUz
F8PKoUSWa51UaRjsLKfs251jRB5qNlNL61qUXn1VdE7+SXWj9VG6cnxv1z6KosWtwqRvZfVHWuAd
YL6rKuOixjBon0qjdnd1hFUIiIfykGUUY0QjUBbVvXRTCJFrN7RRLOyC3RG9zbghhMN8E+BhXJFA
YmHJj3QkMB98URbTu3AtMOO0e3f+nBedVyVCuraOi0wW34y+GIs4qG3rR+j1za2ToY9BGGATzTaF
Qlk0+Dt/QWev1z9eVju3TV5J/GZIU/mvQ24A07z1ptvOXq06aX3ZnPraaCrIucSvJEM5EOxFSlmY
RI0uv0K4lJ9XT6ffZTrmCP4yoz7YyDTSQy25kSRp7zQ5GRFZ6MRViFxOupk1YnpN73CHG7T+FqyO
95u0Kc12mU6Lm/j1DKe5COzl8H+cnceS08wahq9IVcphKzmMNZE4wEYF/KCcs67+PD0rLLusmrOB
BVW0u9XhC29whiIYXGgZMAwoxWcfsgjIZNppzkubYqa+nwxV+lXKgTO4sGM06CNDlH1pO7jhrtZ3
c+tNZai0rg2QLt0pUKaem65K/pvoX37TnR6GnxaMjbErJxmP786R+uDQLTrqi3bf1YOn9PLyA90c
lDdBhTe/FAiViPlW8fQlBz6GQJron+yCyVp+zGjaJa6TtVlOhEXwjNuaQ52rjgZ1PJBtahnIDil8
IVpcaJApOFjumzLPIq/X0vKxt9Py86RPBgzJYF6gVgRSPHhSVLQ/w36CMtimQ/ZSz80C17NRov+M
sleMPZhyLfC0Zmz+y5BcUXbWqGt/QKeX01FRpOI+wj2v2MdO2/xJ8zz824ap8BDAcbh0lURSXhM9
KH8YlZN/KnidI68tMvVpyovxG/yy7nM30DqA85ikguQHcombIU0qQnxjgi7XcCY4OVPeuHE5jp86
3VYfEoAZjWvMLSzYarakZW/xJQbPzsNEOyhtLS2uNpXANSW4BV/1OM7+jqk+9XsA4fJT7eRz4bW2
Xn4Lg7qoXcordnPCi9r+ZdeW/aTrWfCJHhJUHYomGmzRaerbnabVKWznahoTrK/rNKRgDjjsAbNF
bCtC8MtPsjxO0k6uHPUZhxeuuThqrO9WIM3DPpeU9LlvlGDZl4M2pHhgRdW042vCyJecwnwM6DB8
Xwbt9wjuvGLJCndJDSGBx776CVBnSrxZLcLWbfEIeInlPPxCgj4ATJdLVXLxRijDgwTovngw6jB+
gacQwlPog7x2gThT86zRcP3WZLL6ZxicpNk3QRl+mmPBEOq0vA9hRM3hK5QGMpq5jBR4Y7ok6W7f
O2yXXLGTZymSUEKMzS78YlSxUUFKjZFfLbMmfA31qH1RUjbNrogdLBRzp8++9UHsnDou4G4/5Fxq
rmJC1izNyYK+IsVV6WZGVn+5HWesg0Lx6IDUMNgyBFCciPPnOA+gikxygiof5jmgyC3HjQaIX3KS
bGUk68BpPdQqXKOnkecpQKSTWS7zLhN9aUXLtixLL7AnYhhENQQ7m1yLPsL5jMIqVfIYE52TmdGT
dWWALo9TOse9yycR8nHUSmKvnMmc3Uxv2L1za7Qg6JUOgiXY1yrfCHmuTNwCwqoiuUTwA1rh/Bdx
98il7YTOKYaPerJnW/mQlYW0kV++pbn/hoxMnGYJ3XHhBAnGT3zqf+J7yhlKJVmddXKWji5tgEp+
fMjmGLcbvUnlXVE0+semK4DZG7mJYDSvm/asyaBiyNfS8FcJbCXwZN3A+hbTXQ25hxpuNe11sP0n
JdOnjQB+naOKT0WxHZ1oWiLU3MXC/fOLowiVSKFGcjIbYz6OUtT/6OK8+F1TL35qojT5e3uzr4Nq
MZ5Qp+ZvSKg0e87HG3O9h3GtIG8B1fVXbnXtEWZE+WjA5NHcuWtQjBwBOm9M88r354AByxBVLVQi
1PNhHXVcEO7snJORcP1oUjL9iNiQ70wimZQwZyWyfqtqvYWX/ywm/FMtwtzGPkl1ru+UcbZ2cwc5
7PYSXs6FrhWxOxITpCVcGudzial6ccNWxmkp49HDzCz24koNNk7M5cagdgFi8a2CQTNhdYYbKKs5
zuNQ3u3lYXYy82trRuUh0tT+VCiRdXd7Upf7goFAbDEfrOcuEH5TP6paGMCwV2AvPGNlHzxkjR58
Tqkc7lCy1l2LPHarpHq5lIyKroEjpEvYl6vzmijzSKVQU3xrUTq/hq566BEtePcHo+vHliBhFbnF
utWE53jZylKm+FIVIJWQFLxSSpptJPyXzwijgFURhT8Uyt+kPP7ZfEmm28jQTHwwqBr3kaMuHlEe
WPAOhN/tj3VRDueR4oLjTzQUFbCFq/wN9YLAsJtU9TO43k+aLMX3EIH1L2llkRvHYeiHjgFfi+D7
Tg2HejegmLvRV70yX3qqIBlQJwEVtIbtpoiCNqIC6vcFxJvEmYP/2jgPvdGQ8o1K9ZV8lUY4u5Js
WXQb1uqHqZyg5TrPsm+kMq8VdrTzE27LujtaAeCbbgjupCpODqpi5X6KcvjDZKqFhzxK8ezUaflk
aaX95/ZHuHJAaYY5CmsAu+AiVy2wKEFqqJF9te6nk1xnYFSsxtk5QUU5WoXWenu8K+sNO5OiH1EK
F52xekJNJAt7CQI46rY5CvxOrrvdvCR7QoqtOu2Vd5TSgICAUysz2NOrV6Lox1RScGHxK0Oufjl1
jehaoDpHdWKnAdGNvXlO8j39/fnRRMPnMcCtHbWKdvwc4jWxaxaDpHoMk89l3+qIiTgameW4paZ+
JdChLklCQ8mGniGV5fOruEsiKYNL0vlknfBcJ30/VNknqVf+SmiN2Bi9GM30pYzgS0qd8ihhMrhx
FK/cYAQbGr1Rul9Cnvf8FxQRULMuMka/yhAFsCzYglMAKu/2t7+y194qlkjCUhq9wPAClZySRasn
f9GD/kXXluoDMbLiNVMZH9J5mTbusmuzEvUhbMV0EbStvj/grBCsnDb5ZZJKn1VYi7B00/dKm4n7
i+cTgDTtEIpQYsf/c2MuSlJVxqRTYzCX/tQZ9XBoqrb/dHvtrswFeVbayaTAoJ/WX6hHfUidnGXy
DacwdvAyLa+Et/z+fcAookMOSl6UD8/nImt4PyYBXygvzd4z0646tEr5XnwG0t7U6+gHWuJgAok8
H6VERTLBuaj3a5R5duj3yEcr1guvp3Kycd1cLhvwFMExEt01/lht7DwrEyE5ofpBHxb+DHPVzXsj
2thol5caICAhCMdTAhhoDTtCeWaMU6vX/Iqg8RHAS3ic9Lo/1th1Hd+7DxgKa3Fqr/QAoMierx3m
r62DtInmq0Nk7ga1LDzEw7fILJcnlVFUlXK8gDGgqHc+iqZPgT3MjJI1ijkhPDTFz7GlFB5GcLXb
N2X8eHtaFxJh7AmOKrLdaASKduNq5+lqPbfBzIeyqMU912Ob3dtdX79g2jg9Ig0j4aqRxs81IuV/
hnymZIhWwA957NN7Y8ySj7d/zgXBSvwcnn1aYACxL0u4ycxlOM+t6rdFZLwUtPYeIrnpcEsQ9TGr
ss19U9fTjucArzelsyjA1MYJA6DK0ws1iXaZpiEuJXfK+FRJTfUtHCL1KS609JOmTZaLYm+7a+Rs
i84rwvbz3JEfDj7MEC1xlnMV1ltS6kwTYo9+aoThru+05jvvnv0CQdM8qolheq0kQM5SuYW9u7Zn
ACbQh4fqRfS92pmtboxlh7KpT0pq2S5xX+Inmdq4SHroj1k9lB9uf6TrAwp3cRqjdIxXW6ayF9DL
sa36YzjKp0ySJFdWg/41pYh20NCc+3J7vGt3Cb0i8goiJQwKVhOsZxzve21Q/RntxechcJSD7sRb
J+HKXcJVRSRKUsaDvK7jNHqB3pKZa34S8V7lXRMd4JJRVR6ddz8p4r4CdyD+AuyxCr9NbDFydH5V
HxGjzM8kauh5MmwBF6+smqCCMAxMbFgGqw1pVHnVBTLCFkZt5ocoLhPfQarq7va3ubIXSPcBDtBN
5ha5QPY7ZRQUtNN8cjz9nrJRhmhJZd4VyNchvVZ3G2ioK1/pbLzVEzbWxRIaHXltmXfdPgn12VMk
hBD6HquN21O7toCCRoMtBlUntJ7P72I00hP87iLFp9Y4eZGtDh6o8i1PiGsTIlCWEYKELYst1fko
E/VT4spc8ac8jwEkDwMBWjcci6R6b9+VuxVPFJjglNIINNZheYK2xxxDfvHHrmt2MsonblIiVXZ7
2d5wCqubkDMkWOCiIkDN5nxGDST51G5l2Zfx2TZ3MnL2P8mu29bjyq8PZofXt9egjfI9r6vUIJk2
JaS7sBBVPerc8hNpNtRYqR3D2VWVbEadEmj55KHhZ5/6MKvrXRfb+W99yaXfgl+DXklQCazpqPEf
4U4q7UhtaAxg0r30749sROhEKAU5jwxudRuNVR/BsTZsP9V7e9fNA4QdXMk3RrlyrjgxYtuJ9IRi
7Pki6nqlLXKqOb4kzchC0pLiendqb64MhBmrINmIA65sQ8iGpOLcCHQ11pAxs5T0ChSx5U9cKge5
lYbjaEayN7amtnFlXBtKAMcI3kGfElKfTy2m1T8aemz7UYMXwUhnw9Vp+B0CI/97eyteGYnvBNsO
nDDImjWYFvD5NIydo/kIecFB6ZHz5U2WHhbF7k/vHwrNb9ERp0xJjnU+KStM5sqhDejLY9H9KFrZ
cQMYNj+SMrY2tsa1WQklD/DoQgxhje6vTVVqjCiz/Ab1jn3UFslpKmi/zJP2TnNVqhMgkIktiHwJ
Sskez2eFFdJS1WYt+xAHO69vUR40gDBu3BhXJiQkKiwR79K2X4t4dO1oLrqM5VEKxMvXFSndZ3Gl
H8Nq6fbv/ky4ptPYEDUQG0zm+YScDHYVdGjZ77I8vXPoMe4HJ3cOejB/vz2SeIjOb0GbVE4YYHBF
cKpWkXyn5qpUWm1JbaEYDsAP0tOoyuG+lGT6wFzSE7pe1ERuj3q5lDAwQNSAuAJeAwHkfH6p8IxI
aDX6hW6W+0DW668F2N1XC62zjaEun0fhXELuxSxphq6TfGdUWzqEVe53ZK4EvBV90Ral3tsTuhiF
AAZpB6EHzevIJjyfkKEuRtvP5uJXwdLDK8q6e6Nttopjl6MQ8lHeRXyDOdnr0zuldUGnsw78wIIx
B0W3QEZt1jc2n7gDzraEkMMBO0ZwiecBkzqfi6YmmN4mjePXJVy02Jmb2LUT09hB2s32DSKhmavJ
Rf5oxpq5kSlfvCeMDQKPZBk4GVnKKmYPhOShUeaBP8cIvuWh07im0ryqqvF56pSPtz/axS58GwgG
iIVYBhNdfbR5aut+1ibbt5ChepZRJntBpz05IMHYbLxbV74cEncEGQh/UNtV1fM1xTYWF1FIUH4A
jNptYqnzdLhVG1/u2oQIBKnK04cXIiPno6AczVUcGI6fpsF0arjpH9DkbHajUQwbAe7by77aJdAk
dGBB4oNdtFLGJTHHAfl6X5mj6a4OURLtZyV76FQz/ItUu3mHGESGYINqPqBtJnRiHeejFWEmaKtp
/hx0jnEqjBRxP2GuAcu0Dv8EKGRHYB2K5vDuT03XkUqPqCrTF1ztK+BDBY7PluVLtjTfGUpd+Rq/
55vdjMv/MRStEYMdbIoG3eqJndoGub+m5iNABd+F+Wjdgd/BN9GOtmgJWGlenFXhnyXqEFSwNXu9
r/AkiYBL6IHfyaNVvqRINSFDKQsAQqenyS8cdA3txNsJJ3WsmsZC869Uf09pM76a05BpbmXORXJM
giAqvA7HQ8ddpNj4GCRtTrcYMvDoSmCHXiME5h5gZmsFweQcBL4SSSm48iAKuh2i3cbiGR1PNLK0
kfVlglT1wZxw9BK0t/KZC21GGnyq809qZ1M/L8oodidg9E9SFCoAmeTKBDal5g1xKpIifwHjVd+C
qombHaUfA6DXFKpPSjQUz/oidQ967qTfu15RUldBpwDB5aI2wp0Uh8NXcyT3RxGxG19pIVUfTMkq
flR2o+dcZ6H1Nw7zOtmPtHbUz5WjlMUOdqpcelkyd3d01to/hWN3DrhmR8IkDHBLRuwy650vWiHP
Y2m01i5DCCB0c9wzKq+tq54B9aGQXZgDUXg3gY1BXAZDhr9WrEkQCLJkAiBbxtTHZqgPbjkO9nAw
5bm50820VRFWbjXNi+NJ+rCooPZdVZeMHdjWeDxodW+8anLWf47oVIEVDbVXDS22GJRT0+UHM4mV
ehc2BhrPdqJ2M+RnR37MAb+AwCicTnUdvBJa1+nKxd6FiYFQqVmE6UdEY4N2r/ecRGT0tBbBc7nF
QLqv8YnxsKMJlger1tLvZreABZTSpfxsJnr8JSEq+zPqiNiAGivU/ywEwupdJOEpCJHWtA6WVndP
JU6CArNYm7bfaVUNEHDQnHofFmbl7EHuavIHyciEVMIYyb8nVWLDOUaAUHlKcKAd6wI5bc8qdGiB
RqZBzdAipRg2bk6S2IuTJLhf6L5AROU1WD8GAFRAZs9oEDd2api7nm7cvOsD2/xVOmZaevYkS/dS
n8GCmVNTCk4UPS35QQ+RHkQxXNEGV82HYtrTIiMttNoMDQiZ5yU5aHas/ownXIBh2hfRzwaLleao
Rnb/FUxl/yvNRg3O71ym0V6Nm+xXPXQJooZhG76gxIkSFZrzqf2xKBEQbxd0oHlBFiX3B5CVrzWp
VnCfhYGckDsY9Z9cd2pAm8B8pGMsl1qyR3lTTvfDaIOESZscmn4tpaXta0mavFh4+w0uZTTzmA9t
m+yyIHR+y1R6QrdfrPJbbSp5DyUTkeFdalj1S6wU9Y8smtFN0qBQH+U5Hn6q5jwCAUxUFoIHN3P2
i4ZKqztnWZu6WiFLwdG0UxZrTJxmukPzX4dzWqO56Sp2bj/MBg5VrtobAHhQbgXmFZVBgiZmSqjt
EVd1yQn12+Jr1U+YNROGoJHaR1msuQVWyRag17YvPdTqEWmm8im9NEpuhrvKHstpV86lHWGPHeu/
BypoIfrsE6R+ZiEVd+HE/eq2RtY4bh0kdflIJobNdd5IoC/NxJnSo4Maw8skTKC8SbELyKxaLX2Z
Jmwfd04n2a8d3/MH7gBR5IVmvLR8/KT5HM4WNxhpQu9TOezrxzBsBtq4YVjjb6DJv1JnGGffiYOw
OxZ2UfWCZdQVp0GRFgChKXXZjcT28s14g30LSI4pus2rbAmfuViaSGHuFauwcYvQFuChMXnIRr70
9tKdhwhUDx2CbhHNgRdYFcGUFLdDCVfye62vtJ/K0IXLnR7U/eiFihGFOyONE/3TaKrht2BsQ821
EfZA83Rp+q+lkQ2vIfYXSIz34/KIiG5je/EYTrpbIKkw3zkKZsF8erv63GVz4CBtTjHR7QcT3wxk
Y91ezgWsbpmm36iM9ZGHpbL9HSFT7VvC2zB4aqSPn6hLJo8mNIY/pWIRUPcoAXzGHA0rUoXq8eR2
qdQBjXLw7XOVtBqrhzBql25XdGHyYwkHs90ZvFUD+2dy8qewMuJxV9Y9au96YZuhZwYkO95khV22
S8p0+FX2+WLuUIZWnxq1tj/NUd3aO3nu58+TnMJlmNiJCB1PSph7Ojw1hOuDFOcPDbRvt69BWRW7
nKKB89hbdRZzbh3lQxlK8eto5MqLDPvIPKCZnNzJehE/pFVYOXcOyvCW23WxEbuD3GfavnCKBc9g
p2Q2va5kv+UWI1+gsLbR3MczljYu57AYMfzpw2feyfJXP5cSKE4nVhUXiWjsYWc9MzVXLeIlcs2y
6XsBjZhfzCkLn4yp05/4SS22HpUDVVE2x/pPV4cIYvQjOuRfIz7E7JldJb/eDvjE3jrbe+RgoucK
bB6F1AuVrUrrQrm3q9DP4049jpmtCv1gSD1Wjr5/5nQfwyyxNnb8xaDU5RmW7AVxRGwZVplTF6cN
sUhZ3rddqIPKDtuvpAL6XQNonKsxpSTGH8W7c09Gxbfaxl2Nhty69Tt1bTWkjlHinhMPh4Kr9yNS
19XGC3nlfWQUUSEgzrRAhZ3nFrS4tKAw2hImv1AyoUolP0+x1R+AOQ4PPZjKjWldJjM0OVBLpMwH
Dshad4EN9MZl/qG4x4QC3XmTSDRz08rG/JY3Zt4Y7RJkAVKQChyfA1kU6i5i/v+06SfQ/bLl5M39
0lXqZ418PttzN/RoeaNL8J3bmPK9upCR7uyFIMhNCFaTvTGkEll4maOwc3sHX5k/xrEkLVS1NNnQ
Vz8oK/qpNuWovkdibL4HcJ/fh9riPLdpL2+8CFeHEnJxFJzEi6Cez12TJ9Q9OI7IRRoWxW38O5ZE
BujRYQD8f8wKIAQ+3pSLDWM1VJNXKO+YS30PYxarMqP0FrnE2noGbXN7pCvPHJAeLgE6xnSNtdXr
s2gw37Mpru5rwxhOublYWJaZ0nsLqmwb0e4TFTQi2zU+DI3tyYKTyrFIUKNu6Au4CkZJuxRC/MbS
XZuQaDejI6GZkGpWiaWiyk0wBHZ1P/eK5E+xbj+Wsvnt9qq9feuzi5Mkk2xevNekhdTmzveCnKnI
QKVtdC8vqfqhgONjeEj9LJ/MCAMTqDQUSHmijeS+TtsAUW2tiT6nWqdU9MKLUb6bHKdAO6fUB3mP
tyFcJRXXKjDIY5X5Nb71yPHj4EbmaTX2CW55eZ8F5vijhsOSbzCGr1xaBsBw0fMDPnChaNMgPdKq
4xzd4x7V/dbkSHOtJcs/arAGTnMMNPr26l35RCjMCVs2pKNpLK1297Q47WIORoQKR9K53dgr3yjb
Oj/fPwrauw4VRypkFBnOP5GNgaBgXcX3RSJF+3nM8LmT0Y2/PcqVxww1JRjMXPt4+61bO0rXyUMa
dYyCoY+/KOQbqpnqqN7PQ3VQgXt8pUu3pW53uYL0JgRCQIhjaAglnc9tiRZ7SaowuUdquD8kQ708
cFtvsX0vLzyqcQhjCrQ+mpHrcm1s0I5Qylr1ncoJ922A+VAX6CNJhWVuLOPlFuQSR/yF0wS/81KY
JQlD9MRazW+jUP+dW7P81BlEi3B/cyzWzfHr7c/2BjM4P8CImrMDEapAdsha94OTEqMKCa1pX+PB
vqPITmkEeutJrjh5Ru6UB7VV6mONvcaTFJvzR8cogl2OCcqzEujkamlefk76chNuKaKf8x8m2qxg
yrmQQZCtH7SA7F3QC5P7Ccr+1yUITIXNS6TiZpquZV4/Ih63j5cEl8vE7PW9ZQ126U6K1L9srJE4
IaufQlgBvIxbFCiztdplOYX8xaoLMpMsNplxFMxfaUrbf41uyn/nua6+wpEoHrEb1Ad4WyN+R5aM
mYZryb32q9VGQloHkP9dMFjL7yxBwm2XOompeWWX6dxwstLZ6Dwtg/X79m+/PCCgJGQKiwJ+hCzo
6lnDa3ChErYEflok7CLZrHegvrV3P55c4wSwokdDkriOKRHHz7mZi8C3gxwBtzz4LYfmO514KRuD
jKSlBqaAS9pZn0IbxkqMcYrt2xEGfpUWPNO6i90ldl6zotx4Ci4RZOA/aEcyDOkANf/V85nyc+Sk
hS4052VGQSBoEq9s8vw5CfvkL3q1mUuDMdiX1E1OHcT2Xdsb8rPqzGXoZjjXpId3fkkafNxyLDSk
dpZ49dLChw4mZ+6NU5RNkBP1xbpvxiLYuH8u9gvzpWXJcyG4QoitnF+ovRQFptODHw/UTD4ukQrv
YZC2hICvjQJsW2hXCuWLdfQ81lW4dKymrwX2jLpYEHrBqPQb3aG3HXF2bkVWR3giynRcp/JqMlNE
edBQm9CPwWqr3fQlmhxPH6sXKK5+5+hH6qYPZTIes6n6b0AI3wpxBtfap6hfnhpD9xYtPXW9cUD9
69SgOrYvU/wMK2sjDrh4X8TvtEAUI4tNO3Dd+8Y+Xux99hGxvXOoljjd6xIV16ZUgw+3d9HF+8JQ
DpeYSn9DJU9Y3QetAQ9u6YPQHyIUHS1couAHJDkoUz3+Gut45W3M7SIuEAMSdfA6E1iB1D/fUEGg
0lgK6Nv0qMYBedEdV57lA1Ti1MUsxM/r4L0y/W9d/X+GXH12s0QBdkT21I/j/FuTK+p+TqEipXa4
9Vpf7mPUKtFnpHBFAAc2/Hxys9Nrcl1MrOaiLKcsCH4MbdVvcEouc02U2sAHCrUWLlkeoPNR+roZ
ZduoUz8ZuXLcWo9oPoyRXXPbKP2fQHGyca9ORM+ebQVWA/V90E4jOchXOQNzs7u9ha7sVnSlBTSZ
WgmP4Wp5O4WgP0yGxKc0FFKjsZxHCnR0eDoz+3N7qCvrS9Aqni3wOQLQez7zWYfEk2lL4hdFjiwY
5O99VydbpYOro5iwVmj7EwCtXy86Yto0ZVbiG2067/RxKnCY75T3sv2Q20NBhVRMJ7ukmHo+l7Ey
lSA3isSnvobXrdWisBaOxsZLfOV802aFHMkbwXMsr2tKeoz5Y2qnfhjrPI7yFEp3s97WpFVlU51G
4RB8+xtdG1EExTZAfwZeU7zo+0HxktPcB2yFtO0gG9yQyPqBg+7BzSbD4fZ4V74WFRdas7zKkNfW
nZcW0UonLtXIL7s48eIF9bY5SfX3ryOQCcGM4JiIRs/516rKts7nWBQERyU+SK16SnU12gdl/WFI
aGHentMbenD1UhkCPwEW3+QqWTMlokEaTA2lXz+q1Cy6C5uxfsa4LvgaRsvgL73g6oOzUX4bjZTR
8Gja8T8809F1cIqwjDzJyQr1IErH+X2xzOh+4F3aKneM1H4QdmhQ01tTjj1avjUG7ENde0Fa9bTv
DEEeK3GhAd89d9Oxlyc5u+/1WDY82qeTuYNjU+80vBvNfTsrVu9GSZD/GFAY/WioWTZvvBhXNpTI
wcGtmCjzk5ycL33Nvk5Gc0p8SXeSYxxplTsWKvdeMQfHIdvix17yBqGtvgGKIU2pguJ1Pl5U1qXc
op7t2wkxlV45zSuA/eF3UCNjkWuZuteaMsU+L5Ck1KUuHv4EA5VvICREPLnaAfwKQKyEKYQra5a2
k2N2ZjTcqghlxhEdsMH4UU1m9ourSTnwzGQ/OoruOEBik70BN7lccdF1AQMC6h055PUFSL867hIr
UPwx7S1PslpQpwUIUBJRBLiR9t44wpfdU74q5VFCeWpBIFBW9/oSRx1mm87ix6VU6V43mPmPuA7q
0qtCbZxc1Rorw22lclB2saZXOh7Eqaod+q53QgC3kSU6rGr9olaJFhxSGWNWS01od6cRTZzbh/Py
wuHHigwK+ArFLnNVP4nTviIj5sc2SCo+9Hby2BbBtPH5rw5CnESRRoDr1nmaqnYdgjDS4tMFS3am
hiG80lvTxq12+XQLaK8gsXG6eCNWRytQSyRrakP106TXdxijVndIwQ7PAoDzXospQaLg/aGlQkWD
UH8VacZKibbI3Ov+iJGRGxtmvlMRDHr/jLg4UQRHsJ368Hrr9n2SU92qWr9xRnOfhmnmUp020LVJ
tswGLgm3MG0pCsLJg2sGVnW1ehEMQB2cBKp5efRStwku00VMph9OeFEMwUNrIcOjl/eJmX1FjF3x
Ei2P98hFYgOOFtK7dyXsSvFakBOK8vj5rUWWkipzrzZw0037tSHu9KYweTdJhSlzJfAQ0lwBj6ae
j4LA92w2qdn4yTzJd2aOxBSpVv5/zAWSgOOQBJkIja2uA7o5UaNJQe3n8DzdKaHN3Lbtlj3FlYse
DXXq4WBxAdVxls8n46hRZ+RS0fhdaAQnVPTLR9ytzWMEoORJytv4qEy9mbjI7YSHhVz8URqnre92
5QhaFCyBUPCOEdKvNpE1NHON30Ht4zBgeKYa5ScJYcoHRR2SjWbDlcTBIDyH3k8Kxra1Vi9braml
akdW7YfGjIxWke/on+meFiRPuLhKUMYTEJqSQkO/1jPo01MFEnrsvtzeqlemjAYA9w1sU1iTzvoC
zewe2Rq58dsJMDfwn9jw7G4M9jx0m2p1l+8ox0JI5gvGEzH9arBFswdDB1Dry3EwvACQUPCJQSTe
LOvcN4ZO+1wFNfgvp7HNl9vzvHKHA1/n7RYSduYF6TAoLOSForontx40LJjL/ENemMbx9ijXVlOo
NgDt5fBzj5/v4pHHMy4zs/edzukeq0lfdro9Q6ew9Horm3hjG59HJQaBmM47TU8EDu9qB1FZyXRj
yAfQiZW6y/CbuO9T2nSo18rWo5AWP1G1tBFaGkDjoNGGbBcgcOlLiBzHnyKdcDg2Us5UR+msOOg4
pb3/AXgDlGLDxetJVnq+HNADWKx0GPymm+h76ml+HEzgzpjOZB9vr/yV7wtrCpgAIGfigHUpQy/7
clInufcRKiz21WJXrgUidH97lMtg7K1Jg6C4RouVis/5hHocsBY11BofIc0PAZbASdEG7tJohyxH
zev2YNemRDmVMJsbghtxNZhe2b2Ngkrj48ClP3dSYB+rKG/+n1EQmge8L96TtTgMLvLoF6pK49vL
PH9czBKzKL3vNqLKKwcD2D6n3kJmkMqHuBn+acnH+rJ0QA4YpXYmL7WmV5T0kl1jzZ9uL9rlQCZ3
mQZOBKoFodRqIAhv2GYj8eUDTM5OybwMR4R95QPe3lusmMvNwJYmrEHEGO40up/nc5LoewkgcOOH
U1gc0PCbXFNLQYgpS7Z3+mgLHHJtav+Ot3rvUUtrpgUtRB/j0earjtyB29dJ8Hkwza1m61vscH63
mIJuRmld7HRaT+dzS5ZZntUpaeHGlHLzIwU99WRqWe2cUHlzCpC1+FaDQG15ldIoW/4roJ7qCNkt
QXpMyWAjfLUTrKN7XZIXig5B1IFGUtLkwSpRM953aMYJwT69eTHAJx67sXAiL+r0+WtIKUNYX/fO
BwUVK1DMuTF/U+si8jNIfpm7mOb4PYgLOcaBuypecQVWJ+EsFCnvPhzkfQIbL/omFkig82WAVVDn
5cx5b2wtPGZNX+8kRdo6gpfP4pu2qQDG0KfnrjwfxarjHG8BCgxGE0qgy0zsbNDJfezs6KUfexzs
h344hUsbb5zKyxuGuFy4CdCgZdg1AVmLR0kOhxH0aRSzlqh37aZBt3a3j+SVUchmcOgQqklwI8W/
/3P2wbjQGZKk3O/zLPDspUIZtANZfHuUK6dDZWVEPCwEYteVCQVfs1zJ1MIH51M8x0us7hMTC+0I
R/ONou+1CYEsViGIUxVCdeJ8QnXUZgt9xtznWrCPRRaNu4hnbWPZLovzMO2oO1H1pNtzwRCqRzXM
iqgq/FyZtU8zRdAXYQoeusFgysfelrPfFajvr7eX8cqlBvcYk0lojPQi1nJr2DC02hJLhU+rG6P2
AXHIBej2QLjqtqWz1ckTd+TqnuGSgQX6JmjIITtfyjBTK6cuzYKkN8weyCTxOgbQ+mI4Unbss6GE
a4IiqJRAm+u6qPdTnN9pTpRZsXHUr06cHAcRbIskZM3cJHooOvL8gjZpjaZgqsfaxxQQ5b7PotIC
wCzJG9tIHOv13MWrS0NPIJvW77s04LFhBFpKoYXFjdPie9ZNH5rCACHdf28R/3BVRz+M2vL+AqrA
m3BUROdc0AXPVz2QcRMxlijzTWOIjsWC4RnyScWuR1Rvj0BsuHE2r1xwwqpRxMUCyrC2siVbo7WE
uwKKH0qReA3tJpQDZ/NHQFW/9JQijVAfxvLm46TM2caOvnJaRWWIrhrmReKxPp/sNCUBNEgt8zXE
Wl5DCAAPSp69W7KNvMKg/kAaTt5PKnw+SiFZS6Q3Se5LgxrvmqasHht9nDe6ptfmwr2jY7MBWegC
7FLZZWaPcH38Fhz/vgsU7SGO9Pru/XcAvAnIseRKYJ9WKxaagz0NbZL6wFyso6xP+UlpIuWQUJ+9
c7rU2bjprlzdbIz/cXYey20j7Rq+IlQhhy1AUiIpWZacvUHZHhs5A90Arv480NmYIEso/xvPYjzT
RMcvvGHBu1KS0lE+uJy73ujmGAcvisqvkjO2yGu/cMBRT2Fkf/z3bwMRSjN3kXBitMuxZBUS7EAF
OjWNAnS5BrVyiIqwHLndrOmIlhsirm8PeWPRFl4ijxP1SYLN1XR6FDT6GXbuCdCft3ONztvF6OP+
+ygkJBRqaFEvW3FVcxJJDNMEIMLJHErlvTBi62TW+Y+3P+XGm/Qav1OL5zsgP17OXuTMqkxbUhLV
6Iqn2NCU46D20+OM3/Y7vVGTBxXpj+Pbg97YHuyNpelgssEoU1wOiusxr6ComhOoD3FPakcFcazb
XRmaWy/7raEgdgLjYEMiTrDKHsqOPm2UWdUp81oaKmb5y65lt0uSegukfHMkPmsx+uDtW99KKS1h
NN2j+oQ2ebEX6Abc5dDN7oq03yJE3RwK0UrCeZqbuB9czh96oq50e6Pm7WzC7w5KVbCQsiqLfFH3
6sYNdWuHwCTFOIpZ5H1ZDaZ5kQ6Prq9Oy0HfKW0eBYnTvu9lqgAnVaeDqlX/zAtH8I3nhe9jZHSE
lwn4K8CsRpSd1WyqTpWePedoJwfxMLkbl9SN+IAXDBAyNdfF32F1cVhTj15eZtYnRbbFsU0m+nCu
oj7g/JX/zpI+3mhJ36iI0mRbXI4oZiOM7K4ONHxuAl36widbljmkWq7qZyMR6hMUpyjfKfWkJPdZ
C1Or5BbTj8JNxsrPBm8LsnHj/nqFdEFFpvt1BQiCG2eNibTr09AY2gPy784DuvP/TIhfhEgXE79F
LWGBX18uol6lkyLw6OCUd959Ywzlvd321f7tu+TW9vx7lOVb/9oqU1UbiVfr9cmZInvyYeV0e1tN
KYyVuXmMJyjNEtrzVoZ36wgSaEH1h+G7XGOXwwrQF6EOmPMULfkEUk+QkUoByqA2x3irJ3ZrpzoU
lxfDGIqt61BERTBbTVS6D0kK8X6E/0CKLms/bvCQbIjmNyLnG/uD40B/DHwU9+Y6HWrhTWJYWMlT
OXom3zY1O1dJttrwN76KAi6pCbOI/rSxegV0o3XaWNTiRHTU3qcxyNLELvJ92iUog8+biMYbS0Zn
ZREcozgPFm51/KzeLPu0bgUgA6JzgYXAfWcmxcHtbevw9qa8msDlecNIcHG7X9C0q63vuiLtjUIx
jzmSfzkn3bAOsQqv+l9DhNU4q82f0x7vptZlnzdNdrYLgBlh2ocbR2y54S/SGkZZeEWkxvTLr0Qy
S6PElZPI8ag6ZWE91JmtPvf22GGcrJXdgzB7A/By1LafJqtLN/bircEXRe1F5AeJgHVNHP5jIWaR
mUc3Usuv1jDizdi0dq7thlR43r1Ide1+FKM33BdtMdQf/n0l2TEoXi16CqQDl+dcRaldoKFkHOMh
Ru5SnRTfMqL/ZR2hdNCoItmg1bDamo0LfZ1r1DiS5MWBmWTWHrFSY2O3XF2VnDMYSwsuEA414KH1
t1ih49VOeLRqNb6botR5MtwR0nfRvvrXxIHI0+Hl7Qm8OnXLoBAiFms42FJrpIUe6UZIdyA8elY8
flAqpQioYMVHyNpbvZprdD3XMYEKlRUA7ATMqw/sWiNvjbF0jsKG04q5oLgDK5V90kpLQYcyKt6F
bRY/okpf3eV1q9ylsW3f5V5RHzJPVT4LoSXDnUzsbuMEXd8H/DB2EL+PyiViUpczHw5T4ogEU4Aa
z3Kc4NP6/TzZW8KXN6YaRNMCAFgQxVTNL0eRutkNrkicY0wZ6Fs8a/3DQE/o95wN+kYsc61t8fry
ofGFnvVCZFjtWEM47sLFY6wYO2rSS9imWLDLPpA1Jq2+VEq991UQJ9+rSG2fLLyyxwDRrNAK6LDo
Dn8jjR4xgGnEDsPj+DPDFE/wKGuY4JOX/MJkpGuCXndQl5uVFiU2r9RH1G6qMB6e58nx9kpPMWuK
KCMdRsvIUp+dbIZByeNhIdCgh1+o9ESGHxfF0PoYhFALSiE6+D1oj63mwXV4x5Qs+ElwTaSGgBZW
0295bJzMsI+zMqD27FAf+TT0U536g2X0B9fLinseOfNRi+X4c9b0Zt5JXY92bx+4W3uNrACA80IO
IPC6/BmpMcAhLzAQizEJWnQ2UgjkMt4Y5Rqxz9cudWa0onTEm65e06YbqJCY3tGR3rSvWpQCKEsZ
g18VTYv5SlIe4rwbP4bw8YEc1d4T+tHZRKFYyN8TUtVf/v2zF0Uk1IKXa3Rdd8zzVNVkju2rngCg
B36p71v57x0bvtpdFIl5spGPWWPcRZ7HiWdN2HcCRA6MuUFXr3H7IB28rfD55n7i0UM7hoYwvd1V
TW+yZig/JVahbQ5Tzi8q6F2TnKxTL1RsvrrICjQxlZCFXM8fMhflCGdwuvu35/XGpbJI6BN9ws+g
0rf6FUqr2HUTlrSJnMb8iuuEeHEmD+kHcGLJxhpeRYQL92iRe2ZEjC3WY015iGEYnUDCprZH78zV
9mgmm5kf94YVmHMuxo0n8dbXLW4JELKQcgN0c3lYDF1GnYdI5Kl2UcOJrGa477PwKxZG/6xYyLfB
1gNEhKglaJTVSChqRC72ZspRjn2l+UhjKDBrhaFgPjRr/8OiLYVvejQk7BzPy88iLnKmOdeVI+pu
xlMflnJfGsJ8zpBw2Xjabs3g8tbwxEM50NdwE7OwY6Uxveg04gN5dhQzuZOks/sw7LuNO+fGUISB
XK3UIXjk15W+fgFEFEUendKFYj4qSDbpqITu2mpo/n1fLJVSnA7AIlKhWn7KX1mlISVESm+OT+qk
1feTO5sPbjx7jy5g3o0AdzlAl9H1UmhegiNU/LlQVxsjca1aT+0oOQ0CY2e3jZ07ZFca3a9VRX7o
1ar6AVA0FkE4DuJTHHtbxZbrCJsfAPnIovO9CJOvkpVhMVOYQzs5TXMfHpxFGyM2EQxDlGs3KQxH
rBEQ2tgbO2d5D9cfTkS9cCHZq6gFXM4xWUMEtQz6qta5s7czjd5r7mfPK1DQyQ39Y+W184BtyJx9
e/tKe32Jr0YGlIYQ2xK6rJ1e47Z3QkmsdxrtTN9JMN77WRsQzqtEuMtT/Vc+hM/ccmgrTU/Qq/eO
q+wRWgTcpMXlYbaSEsPKSBwiHdVir/SSjfDq1p6ghKgtKhksyOvT8Nf2I92qTEMaXEteq53yKDZ/
lNLIv9iDUO8i4TW+i07OGc2M8LlOEAB6e4Ju3MPgxujhAPJZugWrQLJgsxhqU4XHrlPrgL2Tv2BX
1z2gd5N9qawi/vzP4zk0CTgFFMbQWV29MYWLIRTJUXgsVJzISsSz90jNZE+pK8u7t4dabr7V0v89
1BoQ2GGomkEPD+Fm4Mjl1hPaW6jg/ftNxSikrWQiVJ7X4BivGrmmUkZxtD56HgvV3c2KUr2fRkxj
3/6ga9AYNUysK6AqsWY808sx+2uvlJ2TlL1ehsd0Vmq8OcF++cTT3pHfl5Nmld7vxKLgoSZtc18V
7nyHkXuPFejgxMck0/VzWGemn6L+9NmJWu/57d9343YBdoJ6IgWX5YFY7SU1tmWrKmN4zIf0YFbg
QGRVPTujPKkYAtEPDZ+qPt7Ad994KQBC8yoRBCPbuw4kBqYpagwy3SnGvXMwSvslAUzy4KSt+b8M
RWkCYDDBNitxOf0dFSUP3o1ypCf5ybYyHMyAQh56Pdy6p28FhNxWC0oNSUzK46tXfZaq6HHMC4+I
vs77RBbzo1YC6SydAvaiGfVPqlv192HcjAdXptN9JyEcvr2ct87PIqKwUJ4w5VhzSUcvqusGpbBj
46ACx7sV7iDLb5kg37iAIKBB4VpIeKAXVk+SWuXwMzLXO+bOBFyIbnB939EE3FcGR2iHYma1sYw3
R2RWccx4fRZWj5FVUl0aFK68Ou/SH2nUmg+aiOSnaY6Vu9DN2o9vz+OtHQo9DcwJtj3gylZfOGhi
UMJ+UFhL47ueNAn22X1MaSRV/ocbD5VxUBBLNMhglxt0CEUKsLyB7goaeoc/GNZQsbLF/r01f6jC
LukvClcQxS5HgT1VTjN476MM4WLTb84eVEdkx7Fokg+pLbZUpW/NHxAn3lxeKKpmq/lD13JMayCD
R5QN5dcoo9RTlbP+LJE22ZjAW0PBml4ko4B0MI+Xn5Y0VesqtqMcG3OqHuw6K786+IvsMJHYGurW
6eIJhOjJc0h2ufqqDuFS1ECzCP2AxD4NcdKdrLzcwiHdHIXYgsAWth2J7OUH4UFUGyVSFCeJkQ9k
CSP+AcUm29jhy7uzemnheDKEStCO3MoqrlVL5AnxirCPZunMD53ieXsHEUHE9StTPiPEoAcEOcXW
1XG1WiSqPLrwd5exr9hVYdPHmVmMaKQBQtyNTWTcp0rt7kvoFBsb42oel5yYfcH1A42CW/lyHslQ
0rCKlfbs5qPzaHjIwjW1lBv916tYcHFAoGVBVgwAFlzf5Si2RI84E1F7DnNNo8iGql0dTLHeJDhJ
FflIJ6M23tVaquYHQtlUg+iqtFsV6qvV5FcQiy7MLB6gq9pxT2new0mZX2FbctgR1Y+YWGmZ85RO
bTzeGanjgTVMbBQW374pb3w/wl/kfawqUc6aYuBVtT6Gs9qdwf2hhZmkqo7gpSO1vTvp+n3nduHB
Ugv7j5l1inPoCtfcwLRdrzPNSw+sKA8Rsfi66FMnQxu2ZlWetbL2fgFBND9kMDo2cvbrQI5y2lK6
onaL6ARaLJcLnRCx1FEzlmej6tv3XhUa+1aVzRdwNoZvF3HqEblNgpiJGv6PyXZJCT0NI6lpcPqD
PVQgJTOlfYAcUByTJnc2puGa4MIPhNiyxOncUOh1XP5AQ+Zap1pRdY5hoyLfgIv8Dip+9qGO+RWZ
MVlnUZvKTtDLfDcqjv0w6bG8A8L1z1G8w0O9gB8WNSzig+U1+ivmzVxs5d24rs59189PVja4p6FN
rI2Td2PdGeXV7e6VJbh+05BUr6a+h2KmOM2u7ZTisY2NLUb3rWkl6rDokXPtL4Ijlx+TDChRyVhW
58zSphc3TuNgEolyqivpHoy5Ene56KIny4Mg25im/FhEg7wXpM7/fJ8twkuk4jzhUMPs1U3T15pe
TMLKzlTwbRSTUZ37rll1/+XtA31jWpFYANkBEg140zUxjLQJdZX87OQ9pX278RDJ2TSvvX4HiB9f
kZigIukgr56flJitdpMyP2cldrw+TEztKR8nC/Z1mY/f3/6kW4Mh0ceuXDwYuSUulzDP1N6aZmRx
ykl3PoFoVR6Jxrx7Wc9i4xTemj2uB7ohxMbw11eHMATFL2vpVWcPCW5j6ptAcdsti4uraG7RRqF9
AItkKZGs4Z3CLTOnsov63FEY/mVGtnbox3L8k85ztFNNtuTG/F1f8og9Uf+C68mBZuTLCZwi18E5
Js7PIUZkCiwPTxuhoBOlBNlkZKWP/ivqfWZSOg91qHt4uuczbkCFlB0SWnHcORgrFdo5MtFC8+eJ
RiCsN0TAg1Zm1n9TKgbwEn3jfW0otp+aVlr3opV9stO0pjXBjYRO5pvNGJ5ooDSqH3cyfRrcgf5o
HptUbKdqNn6klYCHhM9XSFUwVxvEP+gwopWReY4PIj6Jdi1ad6mfCSs1d1E/VMdGNn0DxjupYf71
8zDtKtmMH+zO0KM7Q4ruu7EIrfoxsLLWVwfpZniUx6o8IsMKrDVHarJGdruVg+8Ktdb8sYkTSGGh
bCIu4KL8WUgRQn/DOHzvFHq9z0yaZ4eNNWIJLuI5hxNL6RpW52L5u5bPM1sk3uMEhcOaOxO1eHQM
HCcraKsVW/jKG8fpVTIHyDoMSSBEl7tBIc2IJaT0szqkzt6rIaZYvQqH1NziS7zmCVdfRZcFZXHi
7it8YIPamJw7hrJIvXcdtNh7Meb2PmwHHGuM2j01yhz9codYe7G8sN3rlWm+RKgVfK/dTguKSugd
shBpdI+gZfaEslgRlGnh+ANiY4S5c/wArWU4zYh27k0nM/5DecJ8//ba3LgU6OdTu8USnEazvfz7
v97DsEpcMw69+uwmdhhEkZbtwL5useZvLQvIflaE1rrDNrgcpc0VDYKyyi2nI7k2Grnwq8ZVD0pY
bdHZr0u0Dsg0RN1gsXIFQQS/HMsgbZ2ttu1QiCAA8N3ImbJd15feSzTPWrd3q7qvji4X4eDX3uje
qV48SZ/0VN3pTRVT78rDzAl6ZwhfPPSPfnWojNdHfdba/WClzbB7ewluXJkImsK/X5RgeM9XT0AV
Fg7gy7Y9p5U7/qFhZ9i+LtAQ5OpS58eodDYDh9dbcbV5uZuhNsAVpSOyTuQQRWzL0s7VcxznWDM0
fQLCiBtQnx+iPDaaXW3j1nqXMSt3ThmHLFrkWiGCrgbmbUXT88rPQJnZwN0oLV+A8vKgYljJf2jC
ZceibKbRN+04fKfY6ZjeqaU9fZl1LNH8cKSU1tgYSlBTQGnAn9SifOZ+m1+irBhe0FYfoLN1kOQN
K6npJ2CqxpRIRxFc22730bSKCRzWuPz0XJfi2Rae+K82olkLcmhMH6yYwqLfzJX8mut5+t1Jw3h+
kbaSZlzBYfahBJ79dZJm/A5xHvdj0+n9Tzsy6zSoM5k+llqUKvt2CL2fc1bbSWCIKEIduRzF7zZy
OukX6Li8TFkBMMU2ww+w4jvcAazZ/BlBTOK9UTXlrKZJ+CNWh3LwRTwB3NTCqEDOP5Wi8MeckpRP
C9j6VHtJXezqNhIfjXhARB/MQu4PSczkAM4HB9AmEH98rWGqkD5v8X2YNadDobjw3Mh3aSnrQdK2
81NfOMNvsj6n8cu27J8cVYnCvW1VcrjLZBh3h6Ec3SFos6Jj2arOk76A2NfvnDjU7nhk0OUoRgd5
yTQ16Bg3nZyDlB8k0fCROA2EnZD/KYWgq8NNXrSPVlRk4xOGBFV7Fw74AgSDmua8RKHpzgGZpqrz
wA1eeRcLQJa+jSUMuwrd2yKAWph/dyXqwb6Rac67PJNo3YDG4vu10e5Q7J/dZJ9amfadt7qYdqWZ
2n3Ak9ZXwdDUSR1obp1p+0K4abMbDWEVAQTC4qHLDbvahfg1IPau98qfPhV8bJeEig2xrtKTIA5H
8xcEyqLwlVBXw4d4loobCP4x+GVndz8XPkzs10OqD3uwQLnuh0la2j4FKuXRGbMpOSBeJsJDqmjR
T0vv7X4hKE1qwOIhVq8aIf9zZFP69G5ypybBTM8Un1NkwmQwEPqxYTWBpURSofbth/UUpkeQIP0L
IrD598x1sv/ELC3hE2UM+f7tm+fG5U9uTGUA9UQoEOv+XbPAflRtUM8tRK+g8eL0Iaw2b5sblz9M
BIzmCTkp9K1l0ZC7BOchzPlMJaTakwnOuxwRyl3taP9DpLEw1cDVEsDTK189/5VhzFM3F+rZ5R5/
LCoEoLysm+4jD/X2t+duiStXNyhFDRIRmm1oe6wl5ZARjTvC2fms60VzyukU7EJXFfuwzMVPJ3Oh
Mk1W8+PtQW9MJRgS6pZ0uuwFK3T5ttUVZfyZy+2cqmr9XCqAYH0KOtWXaKJ38/ZYNwJr4ItEa3wk
rfM1iXIm9uimplTP0dhqe+QBcZKRYhK/tRFk1K6ALfOQQzI5JpMjT5odds1G3HhrimlwkxrxltNj
Xj2MIdoNohh4pKze2RlGpx7cuHufmtkfq8yzA2CxrVrVKz55taqUi1CloELA07gWbXB4F/uiU6cz
nj8hGvG8klzrOJA4/jwX7RSAV1OeZs1K8J1w52j2E4hYfxRb1yZfMF8feq69P2belcrGbFwfVvCQ
C3QIeOKr08fl2osGQ1g40PO5AKX2kyQsvMc/hpvh7WW/jkbg8iwfzylawJCrWtLkOnkURe5w7nCE
D0yT/npVFSWy3pm7q2MerrfHu/FZjEf4jL7U0vVcLbKawf9tKcyd1ZBntYmNeI8czxYQmcr+1Xnl
u9Cio0qG2gg76nL6cNqIJzrF7bmmOz4Fui6VE7V4HLU0Jc2r/UQgQx9femn3mOlxdOodBG7gl4fW
sLPaMCkCoMJ5vfOsfhwP1qjpZ9MaRXoAnup8LM1C/9Qhlers1LzuZt9K0xA4Qtfr3S4CI9r6hrDj
F0xHWg5PndCcGjNtVHeR2oR1kHhm9cuOmlr1hRzcbN9USvwzDAW1us5w64+6M4V6oKi1Nx0ax1E0
v+6HsQ5szD67IBsVd9z3GGN/H7JIjQmfCp1ubmIDXxxLgcR7r1nti5Nr8qUkxyXPnAbDOJTt2KV8
ZWa8KwgvRryBgGfvdCyRfrhR0n3P9bjL9sOMUYMvUtPFIcn0snzX06mZgp7IrPSt0bVfGhyusqAv
QHKeo0mhzBfmiZv5gl+WwOjEn/Qp8+ZW/8CkQ3dQMrv/b4w9Xbnr4rj5NRV98iOq26Hy7TZqASqM
RU/cGTZoDYG7QE/aWRJ3KOSR3GWNUVUBBPXyWdagewJ6IkMeZJhZwCsfauUca+b0SQEF81Nqlrw3
6ymKfF7g4dtIjKgf4gF3wKHslfzgJRZLELczCmqKVNUBVW0PVUZt7j11H7OhnLtEih4doEjR5vOY
ZUvy0KMSvZOgFn+FuZ50iEjPqaTemnf3qjEM7Q7MZvVfabWJ8HO7JxkZEjN/IZYY2r0qquljndjG
D3ZVo+9QcFH0AGpxVga2MZMja8h482cmPBR4FEEU+PbJu+qvL2Z21E6gUCz1Q3P1WA7mqPWaF8tz
GyfjLqZuciSbShs/ElG1i/Nwfi/DNsH78n+owgLSA2OqwYNhYdYKXa2TSw0/JnmWZaP5IF2jQG36
LQLAjasMuQfym+Uquy54iayYvUx3+3NphMkDBIX22ViKIGkx5TvQzv1GSHDjKqOEB5SCKAe0/Lpw
ONjKNJvErudZSgXViqzX7oVSb6kA3hiGQiHuxaSvS+VrlUwrWSREbaQMgy/ueTYWRIaJ1PTbu+NV
ye7yKaRwwbbQUcylNrnGaTeu06LtFQ9n9IswcizCXvuMvxgeXagbOq0P2Xg8u8rQflersiXSHnWC
Hk5AEfmKk9vfutwJv9IeNwffVJoWjsAUm5+1gjA+mC00h/yZLKwMTLVyEkj1c/pLD9u4O5rYLH4v
9SZN9nhZzflO9grZcBdO5GCFoiKSOpRTOgZhB8ab+tjQDvvckZgy9WmDbrsioqfILNwnqWb9ryGf
wz/m0GQHNmLT+RCLk+kQC4wr/ChJvHznqmj1+vowY1nCEzd4GDNRDggImwd8qeCibTF0r0ObBd0D
FOOVwUQkd/kaNRiQdXms9ue48ZCfdwelw1sjSY9drOt7hDOKP6XZuh/eXtPr8JFRAXcT3yzQsLV4
YYujciNagwNhZuHHeHK6BzzlrUf4lONGtHLzAxfuMd1UWgLr3huOLJntzWN/JrW204NO1PZs4tlE
qdHyqHF61ZLJbRXlbn0grDrwxswrGIlViTvNDJmFodKfa8o0ox+qdfg460b+SYks/e7tybwVURAc
U/mD+0xOb67PYdTm9HF57VyjtsZgdEPTFxT6g8EulAA3rKn2FWPo/FSNmgPPh/q+n8bscSBrCPRU
9Q5hI5r7bEjU75SzFOovefEkozL/EXo5cOLIa941GBY+O3ZcPHA2tFNTm8XGSt2YM8L7RTITcRt0
BFYBmGGLxB3mXpxNDNnO5OLZPWnoiL93FN+/PWU3NsWCwF2AxQTY1AMvd73aYhIp9UGcO12jIWup
SeH65MCURFQKdnYWKrvC1BB3//dxwRizH8DjQihaHoq/ipxWQ8E89BhX07iX+6lyDlZLEcQNu+Js
V6r4VClltrE/XhHgqwvU87z/v6TB2K3rej1NiMTNTXGOqk79qafWzI2nVHYaaJU0H1qQ/z8Ss+9e
8nqekahM78SUub+WUgvlnQqBMT+jovBfLI3urk3GZHpsbVG/w+cdC+oG4O/nIg6Hej+GdnOSs1Y9
9YmifGz7LnzXa3H/uTCy/FdiO63ua63y2U4oj5Dma0V1mEpolcHb03z9MHEpLq0z8OpkKmslUdcZ
49ycM3muFM/BkrWMaTPrW1Yy16/6AuUG97RAxkHWrBYzsodeNQo3O+eFONDir2E1yO5z1Fv6saL9
sPFR13sWjTJaTCC6AQ0h3HC5dziNtQXYPj0PYTzyvoyHVA1rAL957qeh9gn8wBYQ5Zoh4xBHIP6/
FGchG60bJlGGH09lO/m5RqU7D1CVL3+X4zzjqV6qYriXg0hUPMIjOlgmAtBfYVQhNa+XEhYV5p/K
sKc/MvyzUxXUILDzcL9pwy9azJdT4WbgCCme9zjSCWo40LKWEuu/H9bLUVZNbS3Ht1CduFZ5wN27
oVCmlPwrys46uQKgt0EcpDcUG6f1RubPK0UjHVgA6801cflxxTwVdTOk/bkTxpes0Vp8GQcg5rYZ
lxj8pvJo9I5237jJ9EUdNDsQQu3vOnWwzrmXee+nHO/ht8/T9c28/CQycTBQrwSQy5/k8ZWj48T9
OQOaBLxet9AaVoe9l7dbBgk3hwLyBEiGxB+HocuhYsO10zKv+nNSQ7OsiIcodtc9DO5W3ThQN3Y3
n0Vr+BXUuxyry7HK0tC7qCQsN8k3dxRewy8lHU78S8YKgYgUgdzQ6/c0Q3T6aCLdK50cP7WdnaFp
azcbC3/ry/VF8IxfstQHln//19vQRQpSKaVGzhrPyhnymXiP81t7GBGr3nhpr+9HOuPAmcGK4qdC
aHQ5VNuS9EdTzvnpjN7nb3WBU41bu+b6woIWAQSWtuQS5q3rdrqbtkWo8Z7HQs3v+qbdS1uY/tyT
RndNLA5NN3cbqeT1nXw55urMLkJEadbwwCKN0f+EXzMgHFk84X2aPmZjom285zeAL2wfWAaUdHgL
aP1fzqTAUrmrHW84w8JBMQXX2cp3Yr24r7s6/hyW3UjVIx6du07a5cMwOuUZWfI2UPth2GLb3dhA
AMWpkwLzWoQWVhvIaVvoKLM1nMcWA3Qlnx/Q2C339hRPW599YwMtmHQL+UxKdGg/XX5233qi6t2w
P4dK43zMoNMnQde1+LU7bW9Tnh1G+aGzRzMNlGEqPiuOKz4jT4IcaWZQUArGWqmK/US2g68trY0t
M7DrmjHrwnVFkY2SP6yCyx9YFs5oDDPFQzuygFskpnqSXeI81RIt88JoBLmj1t5pmtcGltDmD29f
mLfmZxmWG4xSInqGl8MTFpR4ItWCBNwSuygsjLuphuj79ii3FnyhVkLnpFsL2XA1ygy+TBSeONsz
Ngx1VkscgXPNH6BsbJyrG0OBiKYIv4Akoc6sFhwnhbwMSffPVo4MqxGl38ypdXYWHa+NW/nG1DES
WQyqUfDk1sKMoRNp0qRveJYz5gqlrMWux8V7Y5Tre8KlckECyh8A1taXbYPpDZbxPLJxOdf7slDC
fTuaGl26PjkZpdJuLNX1XcgXLaIdyJfBB1jXmXoK9GmdkoUqgJ8O3TDFwE2repeMkzwZsrBf2kxR
NwgB14sGEwnNC4AhXE1XEp5g7JoUehYOr8r4oa9RaGv06isOHcnGQFenjfuPQdDR5OsQ1V/dglU9
TVNe6BZ2EK34Fva1gW4UUB5fzzvlY5I3YXaoi9x5lyKX8hB3SrMxvVdfCq13KSOAQAS2cNUraBTK
p7DGm3PXZK7fZsa8a/XOCFKi6Y2dc7U/GUpfQBIGQCLGXH1rqCoerPGoOfeezINodLRgljjX/+PR
pkVJPxSPDf5Ajms1iqRFKz2lTM6O2tsH6HIvDj7z+z6OPr490DVKhZFYM2oHS/8VreXLS0QUWDOF
Zhqd9QyoEJ7lsVPjIzYifVCNU1UGmHXnFM/nKYsObptkz+1UWR+zyDQ/eJE07QU/kDrgzgqnwIFj
iP6zKjEt5MvKMWGxI5Lxr9n7sq3p0QKr4fjCy7r8yRmek4kZucppAoPxAx2qTsEa3E7OsdnLJ6z1
Ejuo1UZsmJ5cbzLK06BpOb8MTZf6cljbk0iTVFFyzg2rRCmpHYI6KTEdr+J8AwzFK8H/7O+cfWl1
wpKiqMO1CxdltSxjGI2xNGcDkd80/5HAtHiey5FMXI8svLe9XMvT+2meolMIYUoEwGvn4msn5uZF
61pdeTbQ1THfD0mUHLNEKWpf1Se73FlmYUlUcJTGoFDqKV6QIvTZo6eqOr0fZmr3G8nL8ElaKfgH
tYBs6KfKNIFQLBAVAxzRYdirqE7kBklWpOpurkVtP/RepS1IjZZcDAHlOjv1VpQ9R63jlEEmqhD/
FTs12kOH3DJ6xdUsdmMkG+vsTd302SOo1nZKY4d/OqFPL2YHSjnQelKerp9wtvNCbUT2CBfD72Ut
FPUYF0igcCBSsw2cJLJyX2hDMgSxbudWgIl1dS9DNcTAKGp2nBvjZ2GmxaLtkbUPeBVGehDlRR0G
MIKsEc1FPMoOAmoWLjZzAmqlGIV7wjI0+kkjxrMOkS3rhKQW4lqQd5MV3mezAjoloU70rnQSWm3E
HE23a6zZfrLCZu7vPby958AywVDs7WRIv7gV1iP3wLBt9TBpeY0tZTf05Ys5pHW3V9Dl+ayoA5DE
FvVlPilTB3WnGnTCmPO2SzhssfUz9GTIAYNthV5Cbqaa73ZV1fAu6/GvHDYB3k94qaDppcz4i4ZF
L7/lRdHFO+F1OPRMo6V8MYrMPehzp31t0BORhymHZ6+2SqEc8qTIP2BQ1x2mxHIP2VSo8U6iQPue
mTa/a0mnn5qhcY66J729GLT22ZOy/ESebB68Li2ey34EWO84kM/qkp+HcsznydZFFyC+x9aBVYPk
/2T+RvCIi0ad+28O0mPfawcEcottUXbA5plSZKWXw7dSt+P5oKAYKCmLJ/GXIu7TX5TNR8/XUy64
XVk7LcTroc4DG3l1YFGxa4zBpLexiZFqAUC7QaCi2ull5xbYNxp252dSb383S30KjnD/p+aADzvq
RtW32Y3jLzRgK/7jDK7R3qjCMPEVTLjfd14r9mM3N9/oqOo/TLwKvzFhUUZjfrY+GGnilvtMryRw
2Lwwih2opPT/mDuv5bixLF2/SkfdowfenJjuC5h0JJNJT+oGQYoivNkbHk9/vlRXT0usntLM3URF
qIJKMZEJs/da//qNHaRCMy/GNU+8IIt1fastidbgbSLnmos1LbFvdh5DbeIa+vymnVDt+aIw1d5v
XeRaolvane20ahlVZBa8Vl57vuxNU8yoGOTg+nauCK51AwM/KF23XvYxIjlYToMqXxVblE9y9fom
pO+jSVkU0M6tgfbyRMlTSl8scIYCIeOOge6aV3OQa/P5fM/9kO9rqBZ64NZu8jUrMq2PVpKUk4B6
Z3zQWEwqkmLj8ZgoZv1iDULWG2RRyV2WrbUbJHAVvWMLOfjoJWK50CtDm/wUhpZObJU3237tkQTt
uxahMZGVVsYFHSVGGV2cFFcTldGKwnliKj6aDSwmYY7FYzrjTBlUeLoVB5rZLst9aNGYKliLYUYt
D+EQ9Fo57Au9s3MEVLN+K12s6YO+1PuvJDFaA65mKTY+iaQm2nR8JW/rKb2YI/qmsg+11knveBAH
dbcyqD52dlaxJiZYGfjNUA0nc4mXKaz4Up7fdUtnBmKJXfJo0mnctHRIqW+J3BXRnFs4tbcIT/yG
nPI5cnpjFX5Pt4qLc+wmuu/C07ajhdURH+2+c01/tlJthOyVtzwGA6uv73oS6iMC7OR+avNC9/MB
QlCwziywgbpWbhMllQHVOM0xVKvSQjMDT7Gtt8TM3TvBLhBfjWM+fp24hW7MVVlxP7aYgAaxkctj
0S5azdArm4+qdBquaW/Yd0U79iLE+qMAp7aVctnqEs5s6CxOPFy1JXYzV32+wClXYo2dFw58e/Rq
rX6etHa1wzxr25de0WGhAwdghyDhCnZ+T0gI4hoE3+gn4q4MwTCXKjCqvO2Z5kuC1QojTqOe9TlM
9DVJg0H3oMQ7pN49j64Gf1eZrQE143l+Zlfo1bdVmam3NsvqhUFEWR32QKVH6PVmRQACkMuhWXS1
YL0xxbMdr80+42lnvE6AR+krabOQO1LitBVAk+N5H/QkvjbdVFd9FdRiqy6UHUE6LRoPWjcZN03d
cFnSsk37kNjY0vZhF/a3oi2MYUOdrXc+T5/1je27PQHgruZOY+2RPqdmeodglcvNEAOWXpuD15q+
7eV9EnplzPMsXWdtQql23Qejd5sXldltz2mzEAKyYS0ntlsYT5fu4DArt6y+UEK4+I27zXOH3Ddn
mZUPJ174az3nvw2YiCbCepXDwNC0zNJTmuOhuZlisoS2S62t+TnlZviGJZ6ab8TgNVaA92Fv7dCP
sR0lo1CdiNzBWkaS2v6LtNTiNhvM6UNTOoYZK7yMJTAyBT6C0+MWIJK5fR30svmK7iInd7vGQ8Dv
hV5sKp3tjnOXGHakWelSR3rV5FmYay3tnidMxfBVHLjg+rbzfG2qSbZEYBGxtjNormk+SyG3JHcs
LJHMKIQ/gn+Yftu0mGlra3Gt2MZQhpZROV+7Nfeecwy2vjTTKuxQYwhVb3pUCfci86BMVS3WGCkT
XZSQuL5HHrEWm9YYgTQKJYEfW+YLAbTDWsVKQHKE0YcMbqsT6sxcD9YMZrHeicUMBpKpumCCI5kG
dmvgolVa0rCwPWqdZ0OvzSMMnTy/kbBjilBQBeLuaSrrHFaWiKED2HkLHxlDgyOKELY2Yp9YCttW
EzA9Uga5wRoLPAgywbpuTe5YI/QQ3knFRPS57z3lwSo7S/it0mkznCBTz31Fs9uPAR+kJ7VzSwMS
sD1dZpbGyZ27XjmKQcVfvfQW5VUrdPVaMyptCo15WOLA0CGa2HIt7vRFx7ajGwwYwF7frnrIQDL5
KEap3a+DWrwpauZ6kSGJ8vN7VzYfNsiq4Tc0hKUvnYLpPYRmohZS8ma/ZVB0CF8bsyXz63gQSUDe
bksYWr9UEcEyrhHWFp1JMA0GN7jRaOcir2QpDrsqi2f8AkpAtHHRi+d61Jo7ZZFDEjjl2a8yaTTl
rUpKqDjlGNu7Lna6tyq3nZeFTYb7vxuYkppZV4tgkJYW80QssvVxq7IRKYJ+AYy6w/QtHWVT7SZG
Zx8oR0pu3rgf9Z3MPCJErMXrpa9B6r1TqmmJiD7gPVY1q9vAqRJ4AN5UN+hbKwMDdq1tTIqdUmbX
HoIDZmcT8XNNlM/jekD9giULhn/V5Zga2rOrLHpCSTFae3URvRNYZa/c1+osyDzop/JrFU9kSzeq
VzVbSSd0a/WdagRtWbMJxr0DSWjKCbfYlfic3ZiDPhjB0BXps9U3U++TstBKv8BC8MCcNP9aD2vq
hBl2JS956o4X0soLsLEVaM93EKRap3qcCDiY49Yq/AQz1y9uZ1Q3M9RlxZ9nBohBpydCCTqH8jxf
FoX0MMICtR3gqxLklj6boel2ub61iRZ7axycS6IBlcSXYigpi9h+44tqbOziRsQma0DarX0XqMgE
v8zgD/dLWg3ul9LOuo+mrvss0GKMGaHvQq8JlhKPMd/h7sywHcqsRzl6zoveO6XYpfFEK4piwFoj
syy6Y5e7i4vHLjsnTKq1e0MQgQGF03spai24ZSdncRWIXmNrNYSJFum9nmS5Ai86z2/LgTxZ3xzz
duRaq9o9WLvxPmBu0m6E7iRW5KQLqnBwce9Xtix/MIg8N4ZY2mhnbzGGnJ+9rAsFpF5lfzlk6ZRu
1TjpH0FCtStTyvI0VeTY+JPpCJKmsmQ9R9HMO0Ct9tUx8/Gc9mzdSEamjAxra/kF7eg7l+Jz0wrZ
AZ4uPTI416emtanGcc3s0TgAJSRBMloDsbIzO3zcF9TylpZYGxm7xKUXptiKHllA2WrJplgXL1Dn
XLsZhnG4FU4/HXIzk9tExUvUVWlz/VXIeSNABaLvAMh/fJ3/X/KtOf3j43V//09+/goQJbMk7T/9
+Pfr9lt918tv3/qr1/Y/z7/6X//051/8+1X2VTZd89F//lc//RLv//vxw9f+9acfIu7LfrkZvsnl
9ls3lP33A/BJz//yf/riX759f5f7pf32t9++NoBb53dLsqb+7feX9u9/++18ef7jx7f//bXja8Wv
sep202v9+vk3vr12/d9+072/AqQh4z5TYRknqOAT07fzK5r31zP4AVB0HgWywPNK3cg+/dtviub8
9cyqOHsJQNjCHpwboGuG76/p9l/RXHHH80sOxlCW99s/P9tPF+lfF+0v9VCdGpx/Oo6KN81PCAn2
hYh3USvhAgu+zsc8v/7DvAz3eEw5e4ANS64YqkhDduxAaXHWQEIuVQNiPpMu5I433Gtlwb3OQ4HY
ucOJ2plkIUvQAoUNApsyTDgJ6lVWKewngFpJvBmJoSWnB5nQcJkM8GYPao8RP1zQsesfnBnof2+s
MnnKBm3udva69PGVNyXlK2I8gX5uTDWP/nt0Xw2DmDs/9YZTTM/y6uQwi4u4K54zp7E29sS8RBRp
8QLT2wKgias3j22Aqj5zQ0jQ+VFJvOw5nmPNV1X1Q2aTtjOHNMWipHY+sq6sI1MM5UlS8QbobvvI
VOeKs7BgaGrIPD25ywgQsnBZM3+xFSXgyhUgQg5WwMOgmPf63IprCQpehaVokpsBkdVFBRt1u9rr
fKQph/y75hQz+dA5kZaOxlGbesizrpjtd8hsL56eoKfHmsWPJ6mdumRyGIVhpbJpzLWOkJM0rJmD
mLdrX1Rj0BO8dVCtoR/91m7c686JszetVjU/dsp7q63TfZ3Oyf3ZrYfaXLjJzrAnN1qWzH3IGHmP
YCRdHllu/CHd9qWSRREswzr5XN7h0OF4HkzAOb6RehaJmRrdQdIWD7YxQa2FVtqYU+cba6JtGqVU
CEuqrU1DGXLRY0e25aIp51q7eyh6oV0jSbrKmuIhM9j8+sWVXoiRa/K4LpI9K+lNnUTssXqXhFad
AwbWHSUUbGMFct2VPSlUHLotG5oXyuiUz1YFaEfaa/jH86HD/AhgZ11Nv2k9fIVjqTCV1ZU7zx4p
hTvNDDUzL6K2tputl4KFiHSgbllU6wDjt/dzd1w2RqFH5Zh5HK872skMQmSkIEZFvk2cVtt3xuKE
7mhc1XJVQrvwlktP2EdL1PTbKTSovFwozUAPt7TIyVWMSvu+zh0sh5s+f1/NFU3R0uHMAGIwbmdj
yaLYTMWjXZfq7VqLNhCem37tukqE3Wrk27purLCv1fwobI0bUNEvJKftlBlut4cX7gSpsopDvRTZ
Bu3T5VpU7a5OABKJgs9VP5lIhcj1IglEobdchApcztWBbnJrGSJbEmKZeulZh+dqt0KZdFqfRGz1
bHnQMy/xYZrZACMNE9DSrcn6srSLVUnbsNa1L8C5+b6vjOQ2zj3QGlhvVtC0dhFiwjpfu8CtkXE2
S1CV0QpKT92uq1qReUjnMIrcuLJWEV/n5joe8UYYrtZMBbNpK898bxLTQFLWTftOzNmFyFJng0zu
WZNaEjXnGcXiLPVVriU96I39mGC6OV8kiUcyBcT/3t3MXHWM+RWqGU8s7X5JzPs6FtSMXorVdTwk
83O/NuQ80hVVi+Bqp1mMhG3WSwzU+bVe1pLbZu4xomcf9WcUtbFqXbvpTPOA+T7ZamjLYzK1XF+R
Mt/H0qbRj5PyabIH4yAmECv4/PBs8QQ+NCizVUe+62PxlgGNnMQypJtKsRj9tmdTgq5uuse5IqZv
i5/YKqnosAtWpjpJsCsulGl4A/xNx/OzRQ2K56XTwLrL8BMOcYIlxWdU69fCXJKg7E0vELlpX8Xj
WKphXqpGyhcU2q0Df5+IHM6aLCLkhdrlaiUsNbrRYS6bVFy1m7lLZhc9fJmgo9AgeI7lxmiGK8Dd
Xdeo7U6X7b4s6RBXLBNj7rWdnizaVquMsMiWxzYZD0LTA5tjXKrZGHmx82YSs5Gb6aZ1zE3eq3qA
l9JOLdMj4SJxMDblXW/0s4/RS9CUIiR/Hf1uuu00dVNNMT83u9KefddZvprZnYrhmOJaLwKl6Jyo
G03i/jTqV64uN3W+Bm5ZRYRB+03uwiHFOtcsL+giLpAabRtqy3iV2zUV+yVvt2lXH12odY5ENTp6
UZUgp4jX68WgI5kILyPEcFhGRBsmYsa+ayjKQJ5BFg6KRaeoGe25y41vjXxmJdB3JCuGQx1fTmUT
KuZy6hVYDL1q3rOaeRrd5Bj7bFs47k06+iMHCrUVOIO93BjVZPhQAQ2a+fRGTHUd4cRwLQzjskny
u6IqNrKUW6nkMhToMXeWWprHsrTSd0Unj/OQFZN2o0l211QpurB2Y/tB6In0okIrHkgOS3clkks/
dwytRi6y9Di+r+tG0jht8BdRoh46QoA21oqs3vvQa0G+a+XRNdfaZW0mX1ub9cMGBqALjk244Ouw
9+bpLZ7z/ipO1S6YB2nsC5HG1/bc1KEAXw1qoznMLiTxOe0H8EHyFrzcPLAGpr49CR35VTeFqmxD
rUl3CV7RjYNKa+iHNCwUgGdhJG3UxI6IJvf87PbjOwDUlZbNewdo7W2tDZ4I77oyVn0XT57cJGZz
Z6nxnUXSdEC18go/KPErOQL2lDYjEUIzWDDxqIbUmytHNDzrVek4S5CX083IJuhZtRHM0H/35Zw8
5eOYhPPoHIalOyRxd6MmxiWJfqyI5Ei4gxH7rlSrJ5qILKRkmHa9KOorZv/O64TFwaH0RL2N+7PA
2PPmbAPGNvhTP2DUbubs4qzYnZElcP4qj9pnbN2PTmv1S7uqqsgSWfGcDqryMjnrFdtGCb7m1h6I
tWd+y/hIdq3q+14MdcSqNwU17YIPX/hLPOpulKiDFlmTCuo10OFvp9R90Wb8oxUnvptKDywUVCqE
cY7X8oIuIWxkl9AKNdXJ1pHyqPAWcoNdCCH3U+xVU+DJ8rpYV78dLeULCnJWPZA5rv0lFs45sZ5y
P07Ki5ZlG3j5TJbcbpPOogzyzrix1ko/VrlxWSGl8StdU7ZKvrJS6MpH107mVbJOtyvo2GB5LSUJ
NtBae9GX9kYZmhC1UfGRY54WKKtih6BJtNTZus2ho++KEfQspS7FW3mxqeB6D8RMXR46fNz8oqTq
ImZnQkdlvLha9WHFYHuiyt3dAvDJjMALpko82Tmp2cnY4PWROyPa9UpucH4zsnA0VcF3SmV71WJi
c1jLWQuddbrXdeoluzJfYxfvkgx+1r4Y1Tl0RixaRu027dzrHBSN0FShLZf4/HanznHkpuhTLaIE
LkOBqHlbuEXzDmYry0BT0+VBUxmWB7aMk1erQ8c4gkEhWCTnxkDUsFw289zfNJwx38tMoYLrqo86
00mfkCgjzFd93ZPDw8/DJFZlpxVgHr6SmBDEO0sJcShxWmi+1aT66AoW9VDaYglEVaUIrVJhN3S7
jXFTd0b5xVQSDqiv7nUMwHHVW2brC1Lbj4k9r6e+LVdjh2nAOoGk2PVVt+jiizpPKbKMRNsXjjqw
G83jXqQAyYseW36sKe6lojiWL/WVe9tRCmNbua3YUGU7h9nJnxk8jpkPkKZtO0TueNIk5jMiTaqb
EtA46y2xmTNif9w0O63peTA0z2/zNGi7Ip/n+kRAgNqGVirhUTGWwREB0ZfDoq3Y02GVspu36pg3
R7kMy8WgaYplI1tf1DEJuqZ2um0+N6v2Pltrt1O8LJ2vkFypdlg17m1Mgsy087JyqUJzmOUDOjMe
GKuvtVd8etPH0ohXZHLlbF0yEVEmhv1jP20rJ0nkO+MG2/aBorj4CwalZVQvZm4c1KHK7KumAam5
YK0mqYJlPFNCJauLHhsBrEX8xTX7MlgRJPSZr2IL2m+lbebqRnc6YflNhrHSUz0LF2o6orgpINh4
Vm4RCsp2d2aQFh2aQj0beNhtmzFL0inOYR2yVn8u5lYzd63tZiS7khpihYQfd1/mGc8TAK0qk2Ex
YjJ7dl9c9ROy8J7FFdU2HgnmQkMGpdjOcVW2kfXzwCapGsQkmb+ZalzdC12R4962WWnuxFjF+pHO
km3aEXYxXdYLaKaPgXkB0Uzt5PhaY22GWXo8mNlNWpHWcTBSxWr2qzRcuRszWFu4dWfzocAKb7iY
YmprQ1Z8L+Rd/ioXJmxGwmxA1gpdS95k35Z6TKACa8Vbmdak9636eIPixNq7S22f0spVg2ZYsw3X
B/TN6dyAjNZ09pXGI/APauRp1sfyPkvcsHTQRJna3rWUNSzS1Wbk36lh4SgPdalcG/DbdRw49rHR
OTtRoIFmNHrNtoGnT037WqXyOS/dNrIHIaIG0wS/IPHL6TRxO2QZBglm4x2Laayem8Z9jbvO3Zn2
+FjPhmCE58hwwJ7opMcivYtV+66s+JyyrR7WAR9lBF/IKcXBqwAJ82E69ZkZTgDiG6OEKFtAkM4V
4x4pR5CbbeVrXfk42W3L8HouotUTWqA25s3SGC+y8g60BAgzsXskALrZ6kX/rW/saG6Wx2nyjtOS
P5F1Ypo+uh0gYCt/5FK/9IJhCaYioaKI1xLYqS/2Vt1/zdVmV9nLJZpsixyf7sXOuQCzxwBpDc3U
CUZ70vykFftctCxDqfKo1+qtQEKOB8X1gDe231f1gYn+N9Vrbb/FIeCoK92dWa61X6rVKTGn22IV
V5rQ56AbCXqGcXE1x91F7OinflawA1P7D9w5GDYWhyKel0vDSKlCMbMvmjnKFMZQiRhv1qZ8Xjz3
C634tDMwwLWFsQSOTTvEY2ir7fa8CdbZrhIfeczk2I5P5P9dJYYR4XO2YfEd0QDYX8p+vWB8C+ve
I/lk7Uz8c/ItNnphUrpv/cL5ILbS1Y2XhbxYcOPsZUk7ZHJTtl/W+KV086+YEeoXmlp/AfDYLxKx
J4skYv5kxZ+oesSpSY0GjFAH1XlV4pRsuRU1sbSzaTOqk+kvRrOT7IJt0h+d1hznYNTX1x6nFz+r
cz73WCFlGcz9MOs8y6qNGmo1QnxGxlDnnfSufoGJzSScLpXpa/kuM2WDj7PqGyzoga7lF3OpXrqO
EuZYU/rK2rq1X2Gp66vG7eTkDyTl3nT5uBWWJW+yUae9dznLrr13vGyPncHOZQi98vdFS2ap25d3
DGV2PQpdeA5bBkd3KqW7OifHvJgfZzHFD+VQRWUWh46+Hg2veDDUEcct9wCHet+0yjZb5c5Z7Z2U
ogxlN/izU0bJ1NVbVZ8uxj7eyXg5uENPI188lLoa2G4ZaWayr736TnfbDnymPGiSccRoIkZVtUPf
als1M/dGpzzEoI0BjvbfZrMzo0KsBlmr/SFmPJfo3q2xxN2ORLrGZ58XUJ3NSGiFBclABOUiT+6q
uNejLa4BTfbgM88kob3HFIYrW3ToEkxxzAxzuFSnUfPZxV9kuhgXhN/VO7DuUKasGPlYa2GeMlnP
peKdIJa0CL7rBFi/syP6qMd51owASTHZ7tNchEbcVzdleh6i6+1FBv1vK3tMbgq1vC4r9c7uROQC
3ufYuLhZfG8V1madPO92SFJACqUY/aVVg1kTgBrethoZMgPpHNbWPGhOAkG4iMyiV3agOSrzGz3S
TeuuX7lvTbzlNZmEQhEXq4D9ghFLtQXjuImN4QCSRd8NJLlbFYCYWIlwdN1ZdUXiieps9KmK/b6x
3lYzfcZd9uAUbQS4xIOSQSs0i/po5EYgVW+PUY1PP9T7ie0cHFwU3cqjqGn3OQO3xC135qySDyWP
jOYvq0kwWmKqVvTkaUJLDQvPC2ozfq8z4astFjft7FJN9Azdl/GRxM/QI4a4awzu2G7bsWU39IzI
tk+s134tZAgfjIkudXzlGMqVbhW3cextyhrKQo9uzNlL4T6o+no2c7tlEhqZntwPOt0a0dGKRknK
yNd2mDyrqwow2BieP8aWSW++ThtacMYshXgloSJKluReTrTiWZnbGy1RBt9SihZpHsZmjf4Ntu4O
ctIHZMSAAWDm59IueaYhmdoOcvh+Hu8zZ7xKND56J6igS/s2ZTTgu7kbdbUFAKhiZwfJ630UNaTV
6UuRp1flFG96bQ7tcn2SbfmieUWAHJ9ipbWBYmpsfpTp5CZGVFv9xVKLq4mag7AJRs7m44wLlV9o
2VNeFdejJgNz6C5qYR4ZGzlXVsXaQa42KxhxMDDkEnj51ssizevCkkc8F2cfGqDDil/2gey1PYXE
Y9u4G7WhFB+aF8Cz/WxXGBsxNC3ixNjH8UQ4eacGwgbX1RVawnnQH5K4CfsKeyM8FTXfLuarfMU1
xK2zO1etXtzC9KAdq5tu6vCBytQKSj72SlatbTQ9Mba5qF5LDe20NcJemIfB3WtpDo6qmS/mTEEp
2mTalAyx/TqjFVzGVh7aiiz0GpuBACzvbeAShJk3OdvJ7nbUgy/42qqBlsoIzXMcUpK2MBa9myov
Hxj9etMzLgfY8xwyc/HWfrOW5VQK3jUjGjmcO0dwMXcEOCilegePrSq1SHHbeRkUyH8MtIJhTOti
s7pYB4Y6FL91MylafNul7mJsMrfJmguTGI50W8a5+bBWDOu4HngAR+Zka/dVWyIGJyJQpLRwTfsi
qdXLTcYKC0+MO+O9OedtbIqitz4YWTi3EBinW6G6BWwbT5l5zqmeHL9jRgxwWZoDcGarrCR5JrJ9
wepDK4JWLkpDJ+XW7HTVVBwRqSu3YrLaZ2u1nAlyXCNEoKPYePawt6LP7lKcnYoEGD7IU9aJIDPd
7AE7YbuAHtUZrd8bk2NDRK5XGIlCcBm9Occzx29NS4ptna5Ot8+9xtZ8LrsxR0PRDaD3tatsIfhW
X5BE9zeTi2eXNhfQbOCB2L+LF3+fcv00wPmv0dnnKdt/Ozv7ad72p7O4/4NTNtviuWRQxg2DKyZE
IRfu/38/djs28qMpi7/su/K1fv9x+PZv3+gf0zhEagzd4J0TaIJ3tXdOS/59Gnd+hfBgaBxERKBm
5pV/TuN0l19iPgZZWmVE9n1C1v1zGuf9FY9SrNgxiWCKhpj0fzGMO491/zX2ZQxtf38nxn4ItxHZ
f+Jjl27imhO1+9NwYJHFne55/YXA4FNuxB8P8Yl7DdTR80RyiNB9SF7H5/J6ZK30wbD/d8adfzjS
Z9dG8LOm8FyO1ERydyp/oR7491/E088W5Gf3n+/qzx+mlkk91IXJ5P6Jhx0A7AgWtVHv2+OvDAi+
O1n/4aL8cKBP41ETlCDHdjx9qs2AgSMGp86GZsN7Szd7FvMDS/6hvYhPwBn+sF9CeTSiBSwzhO+7
t8NmU3mMLP4xbP9p1v7T2PZnDv3vZ/eHT3V+/YevX+ZzYq/lkj5Jd7fS1u02zTcvGjZ9NIXydX4c
YXpATfnVWT/fgX92Mj4RE1IZ66ZwOKx60EJ5P+/Xy5yK/ql7QIp/iH1grBGGil8fDs79D4/37wvf
L78yGhwE+Jj6ozg6S4N++MqKUHIwjT590r7WI5uy33yhkniBG2reS8qz62KT6UCbfvH250f+WXP0
j3P944E/PZaeLnVJoCC32hI5+PdIf3382uz+/CCfRLR/PMqnJ7MzxtQx+ePJxp+MTedFZaBQ+ZRl
HNBsfLiyIDDjr4JgjbNG9fMlPZvpI0qHi6B//1w/nNYxYzJS4xr0ZFaRrLt+kyTLCrYO2tpauueb
k6EGsFRuKisvg2Xe00kxRpF2f+FoxCsOZ45/Mg5oMdO5uSo18+j1RREWs3OXK/KLUruPReXmwA9U
6Zk2b6GjfzQLAwincTxfG5VsMxt6WNTd07qw0Wtr+6sgzE9sn3+e3X99S8gWP948tZY6y6zq6ZO+
Va77U3I130J7Oib++Li8aS9w637F4Tm/45+d10/rBi7AYFr6mj4Zd6aLQYSv+GZURXh7XitwcZ5d
/RfSwu9EjT874qc1IYa5NUpo+E8iql7FLo4WNxiieVNeqoED/wuFwWn1y7CKqJFhl5ZMCyMPDUGx
Y/iCP9W0o6zbd7tyy88M9UL94le2bf9uAcElivxinZUb/dfP12F1RzWtsbJ4kpfrhXeswvwX9uvf
rT8+nwV0WN+dqL67Hf18hKVvhAH1OnvCrymwt3L0r4rb5la+9xAKffD36OsExf3BfQF7CZfr/onx
CA3lF1qR4YqJsb1fTgAKLOdkazwlYQzr3I8ZoeyVjXY3n8QOVmb8LQ+8l8m33qUZYlZ6o4biNLwX
JzA0f7pY/JZZhp+cXiEX/2IRNv7d2v/jN/x0L5coINQ+VdInyx+idD+G9bXiQ2VgXOqvoRpNt6rp
F4f0zt2Dvi2bNYh9Paw25htGrEH6RfVj/i/u0mjwvXD4xcf7RF77x6P248f7dImRMK61qcXp07LN
L5eDmgbdY7EbtuOOWTWkIrffzgcoK5fpwTh5l631iw/wPfvqz+6AT89BPbakY8XcAYXfXpqH9KUM
110TyIvpVAT3zi4PsbkKi+BJHrqQ4To3hTgQL3zortKNvJhv6rfT69f5poyyDUOq4HkIxpARUcXZ
Ak/Nr5on/ba7YEjSXk0Xvwrc+56C9oePj9cRdahJXfNZuJvqyMyA2rKnPuzDei/10N56X62NFtab
fONErMkAxHdrNFxn71D8H5Lw4xd70fkO+sNHoKzFP4FK+Q8KeMwSlQWVWfaUPeqP+jfl1nwHDuwP
dRUVwLGVD+F8+pVvpHbWYv7ZUT8VF2uXFJZRV3T+m/ba2in+qbv8/9Sd13LkSpZlf6U+YFAGLR4H
IhQjglq+wJKZSWit8fW9wKquTgY5DMt+G7sP99pNywDgcLgfP2eftdt1uBsuzn1CZy91EkvUJcU9
H0T/Y3JEaJUdWBH8VbTNPf/IwnmOvPbus/zdk51EEJViFZgo5NGjuvZ3o4t+5Ej7jDvuR5cF6Ti+
Ct70LG4xsHZpadg2t4mLhPjxzFtdIojv7uIkwjCQ0s5LweaRj3I9rMvNvE5fw8vw1ToGO81TvPLQ
x0xv/yiydq6/v/pJI+a/lwUNoSHcJKb2+5//EWfkeFdJmc8YUApy6VK5TF06QN3QFZzIKd+G58rt
XN8ud/IF1ZnWPZiOGJzZIv9Fv/80BjqKSuz5UF6esjSmDhlcoTIGT9tX1Dv20+3h9WEVHYFru8y4
xukvCvt1e3g17IvGJjpxM8eTbW+3xjLCvtqqTuZcyo7oZLvMftLXL0ioVtn6jjUkXN14ibPZh+4q
sen5cbdXnsrz9fbrQ7C6zexLTDT5m6sLJ3eQ3tuKfaC4ZTf2y/XBWF0U65frxL6c+buavTJszVXX
on09uul+XB0ue3fwGsd3ndR21pN79Xt19Xzz05sucZiQvXkV2YdL0cHr3Cnsi97Vd5cH1Xu5Cx3F
fkt40sPDi1vZdw/k6+yftTs5l4fZprnJ3hT2XWpzfZtCkP20wlPQy94HQFrRheTyq/gMsUz+vnwx
uLnrws3s2+Nk/zq8zDyCeyG43s2lXdv71OG2t+7qevdAGtI+8Dy/4Aqu7je/6Hnm5lKntDf3neM7
v5587+HF36LMca40tq/UuaWhyCmcS8ZymR3jxSvvI7CpFfDMpHvsrWZfH27d3j1sW/tuPdov0/rl
wvk1ugr/62XkoZCnsGqyl1vcebO+fOGkRsxlOavMWc88YXJo7Rvqtc50pfMrmaO6fHcrfr+1PdUm
9bj8x09P87y1aTvjTnGcW2931O1kvb1ajfbz5p5bVZx172wb+yqyVebt/vF4e5E6R/tqPzOd95ud
5UCMc73dfufd7E17Z7lPlX2x6ezb2ttq3p6LOERatuMzvd5+mG7jEJHOjM/6mX4KZtxV4LU702Z5
P3T2Mbe9jUYsgUDL6ZzjrWxvvND+Na80BlTZ/QzdNenYnbKz5dUP+3g/ucldYL/QK7bWGTjvhn+V
9i5Y3l1sP1i24dJ77aCzs/e/DcfblWv/wttJznJnvwtn5VKmdXtHvzzuuRD36ZTO4TJyvTfP3a1/
L4GOd/x16Jwd/CL7ngVNtIcrL/fWv0mxbSrv0O2uJ+fQu/2qdzGNcTeJvTko3L+8e+DrnphWh8u7
3l1NzuTV7v3D4VKznzbk/uzexcVh7W2A2NsPh4tr7jxxici80sntyb7ovMuHxLUL902xb59+MZOX
z8iw3zLX29w/ON7VbmICHtfPDF9mvz1sngab0Z3c+PhjTwLbPj4HzvO0Gr2d115PLlxgr/eENXpW
O77wbfZ2/lnTUmoHqw2DXe7wBHf51eX3kIK5mks9y/buvXvurvV2vnN7/fQ62Bej2zAgtCM6yqqx
6+3dg8gb09fUjZ1rw03vEVdsymO9y51dc+YU+e4A9936dsI7kAVTR/nB+mawvDwJF0+z+3pomDUP
vCk+2G3oHIAJMPSF83q3br1s+5O0QbV9NO39Erv2Hu3Pzu3/LirEl4KDNF0NximpsqQrUROEOiJz
kG9FL4gcf11ug8ROb+NVSwJquNQ3ZmHnnuLkTLjvdx/pqzP8Yovx35c/2YEt1K26mjdLTChfvxRH
xGKsg2vEAUd/o1/qq3KXXFZn3sbyo6cvA4W/rIFIWfgyJ1GGGGJFaSpD9NjUUemFmn9lyTGHDan6
kYOLs0GmFCSca+Nclu+r+A3GAlxEzvOLPRs39sdem9HAOkgCFx68eSu+mW/q8/AkP3EiKQ/GlXBn
/ivk/qus9P/tmrb+kUY/8n+g7fr9o/tH8faP2/YHVdg2+tn8/9DnIfIC/98ZZ2AdPMzHPo/lb/w7
tWz9kxcs63CCLVzp5eVc+u/UsvJP0sMkiIGnUtuBAvaf1LKq/xMgO38KxFWjucjgRf07s6zK/1Qx
j+GsjGux+O6x9BeZ5eXM9T8zETTg4ijPD5E1o+8JktjHCdFpNDZ0ORLTHGWaU+hC7uIaLq7+GI+r
f/3enym6k5Ppvy6ji6A9yOLDg9NPTl7pICsQKlR6ByOpu9HlRnygpiaIsB2q+qajm4oG4ArAPh3R
eU87n2ihiI3NEb18NBviY9hMLAkockyRFEWN4EyX0aZoOHbehQlsHIzx9JHADBrp0cKzNLbpMKcm
XHRjXNDV2puDDclZeKZFWkLPGMUPfZKM3XoajCp2w6y1biNIjPi5BJoIpiiPLyoUsYKjNol5aXa0
xJ45jy7HlpOxx8ECsjAOMSqguNPzsA/4IC3oDZ9RNNe5Be7TvFXz+0Bjrv1nOn4x/B/j+/fR/3Ch
k9GfwySRhoYLVUH3OJXFsaLPRqfDFR6DR/GFnptx16Il/P6yH5dW5hOSVQn2jUVvAJzQ08UG4HLX
K1AL7GbKcvTb1uDRClR4tBb7K7WnsUjWWuPcgr5sZH+M6vtVUQdAS5IVuOOnfEN0KCpanxHdvtJZ
TmH1kZekIFKGKZOvKrxwcrsx9GQ1JNTSw6otqNGppZvyoZzJ9L1bK324FZw6ZT579rWF43bKKG5h
vKZ6OnJ60LqwcvsuBMCsoAG1I2WsFDuCR0vU0qjW0QyCYXTVJs0OVRRr0SboUytbQbET9xQ5aCNW
/Hp6BBjr36hV0l0jcrWmXVlL0kCeLqBPQRVATqzVuJtokiQLS+LCFNIcSWfaQ7wvtIdRUHrAHQoN
wLYEy+F1WWXElZhJtNsrtaoTbRXxdIM6XwJNL2nIog0swlZFoWFiYNAoMHp0eMUvIYZ2f4mYwisc
VpgGqGcB3y2Axo9LEf1owVxQb6ZTHKq/Df/xYfKF6bUc5enMzDzZ9ZmaXGvpkVusKKjPiSfXytqy
0YM4ojmLtiWntFpTd0w4MXsFiPsVzQetMxqo+hqw0EchEUovoxf+WouLeVP3mEM6woA9tqaExW4S
6xjP8ZjsUaK259D9J4vE+51S/CQPzxSSodJ+HBVcgbAeKpoA50JhWLOvI09Dm9y4rdAX13gzNees
gr4aHIqaKpaY0LFwFVY+XpL++rJqp0WHwPd1o6WG+duXs7x/mfCt4tAF6aNC7xWmm2xSLFwQ1Qxz
IyUHdNNCbgqcXvCnbTVDL1o6exEvDVrW30eGjPIpjPrmHJ/7ZBNbxohmXYoUIrg5lpwTWi26zhbC
Fm+TD+OmUiAd2QCk+ND/cj2j+Lrw1xTt3UPhPXf0R/A0waJEuWKysqgq6WHUi541ybd4/7VXKaBT
EAJje2bplpZ7P1lD+CbeCXOqaBKzfXwZdN4oggwal87ESdJxYpvmeK1ZlVbAlerKZ8wuUNgPjREo
tqGOab9uJhEkUg1E4u775/9imOlTpfy81MPxczi5FXXCx9cUC1LKChfD5WJeBVF3rhBwUpF5/zZh
DgPTA5sK2tE4yUZlGjwzUysFO5mR5NGHUXgJXmF0qyuL/SZ8JPWlh1WzNXH6e+mzemYBzMKfYCmi
Y5GaCeVW0x/tAEzo8X8xAgRsWGlJeDybJxvpVHSJEiotEy1F2qXRa7Elsgn+/irAgGWdKghhIfvY
x1deBrVQVBYdikEstVdGQUJVLmXl8ftn+XgGeR9mPm7SybQR0w55+pUbZqtLM5RQmpPCbCXoTYL0
sbyCQ6BGaKjUbDP7Q+DMmeFvv7/ySTiyfK6Em4D3cFPBc++dpv7HdyRHI76nLfNIjRvTZBfkOGQz
3YRr7NQsV4BsdUARITwZ0wD8ZSiD+Pr7Ozi10X6/BeSLeDIgLle5j49D3ASV2NEByV4zRIoTCTlS
T1rP6NrT4xuBHXNT1m2wbjql36pgHC6SWOo2KLRHd06Ndielw4QbHvCO1mzmvzRmer87Jhh7FC2q
JEZPplknFRExuRnQelNLl6j/u+ugKbSSFsm535upBLT4+wH5ajKwDS7rGlHbp10G295IyRUJmoap
gX/KGizcBqF4zWmYdCRJadyIbvbD1JjT0/dX/hQkMhn05TiDRaWEx8LJ2m0FmPxohRI4kN2IwmqF
CVkOvWsF1OrspNF9r2wq/8xS9sVVmYDYuYHbZlE1Tra4kX43nFhhmVQiLYAiHrnPaOcryasVyLpw
FKIucoCGnGOPq1+sobBkJZ2vm9MdB7+PE68e6wzbQ0gsEQYyJpOuWGB1lSyxtefVLsgLX/MClOK0
2RGF7fAjVPqdknXC29ROgkB1RZ2DTdXTpx7JPo6yWRKYkoOdppw5nRbEIE+taX6N3tvcLHB5vq0F
fZmBbVGr1OMYhhxUgl92Z2KcAhx4JPDZSGqHoLzB2xssVjY3SJT5+fEyMKJ4shuQVhdKQMTpViQX
7mUTEJ8jCzLA0aFTp7VcN4BbujzWUYcaWLbYWB2FIDLGxELAOHYaqrhsaM4AI6VlyznZHTkEKzq6
LGJ+cMAfh1OxgMRr4sx3bMmwkoNh8GIJ9A3RbBGuO8RADmpR0Y36dNgLmoojNtX+o0Vn4YbekYJW
jg6Jb6hYx4qO08teGThgfj/Dv3rlhownLqhuaAqny/kka0EDrCBw4kBXrtAwQC/Be/KclcAXqyrZ
M/YLyG06bJCTkBY18GJcDsynD8vS7TMzzFwZoxz6uVsxck2/mPawahX0Ry0C6IhGqzNR9ZcPilED
FXaaO0Rz+fM/1vV2wN9kgn6wgPKkJ0meGicGWrD/fji/Ck85S2l8uarMinXKwuUEl4kcnMkllJq+
UtOB+gRsftvyMUyZNHSqNoB/C4cIUV5rck0jHi3iVzIU7G0ZJTI1mKnOH3AhoiEfrbRjSaFKG1uc
nlNFfV5V+dRVMh7kb1hkxJMBmSwxAZ7HFpvlBjtFjkosL8X4sSyG4DhjX07TefxI369+Zoc90Qwt
m7tKrLpE71wZR4uT9S0Xa8sqwkaw87jSNrAGtMuczkdAR4G2sWY6Woyo199I9+DSjbnELhbjAWk7
nZNaHlbnKrifZwa3Q714KfIRo59KiSYJQzsxqwRbETQ8hYsBU/ZJPlcgf7fD+rgaAHTjWAdCe/E3
0E8CJ9j3Y+5jnGiPepe5Fc1qblVPY8hht5fXmZRjc8aJ/3mW8PVw6pjiblBiNNtEtC+t6ICH84FL
Q+bU6JTxdS3Sa9mYjfVCw7WlMJBev5/Ky2L/6X7fz5/gi2Q+3I8fzJBEWdHSX2QPQ/GqshXAQxKF
1om0MTnHF/+846mk+PD00DnCKKJ1MjZBphaCNDE2sx+blx2do6BWU+Uen2H9Pioyggtt0s884Jfz
cOn0wjKJtYXK6scnhEDRmzWNE/Anw3tD9auV6Gssz3Ii5rSzJHPoCVko0fo4m4mTzGpuK40JkgMr
AcuONL08kwH/asg5RpPpJMfA13Gy/9JkPnYDRyp7xKlnFVQjWSihHGqqktHon4mqvpqQS1FDxShH
wUpFP/kMlVAnOWAx6HIuKDfdMNIyAgKAMoxtiXQobwpZUBIXvzpr2ASRjztwluWo6cLUbNHNydqI
ZZmsRmtDn8PxCXpF2TipDpz1klZxK1rRI5PB/dD0UNp8Pzm/WLzUZaZw3EFOymN8fHWZEEhG0nHv
Ri8tze5xvCnMyaI7p6/XBWS4g+x3sRNApzznMfF5K2OtINfxni9n4E4uHUtzTWrCIjtjKo3okJme
H1qa12IHUEgkXLdW2mCqFGjab1EZ5ruxl6AdfP/4XxxDuQlVIS9L9hLe0skHM2n0+ZW9xE2oeXQ3
VLHmFmVg2PWo3ZtN3Wx6GLZ2JCotlplC/1TiNUcngzTF99VAK16sWURnfhmKZ4KeL16MRucteTJr
Sd9rJ5MqnpDKyRi3otMzpOduAFqwagoZfE4vNCg3WtFKVj727dF2sOY8u/9+YL5Yy3mlS9YaCxaw
midf0IT9udWAPiNrrUKEpM3BHafg3IHki++UEtXifixhU8AM/Dj7cnOaWrNg4RgMhBkL5DV0ChlU
Dt21+vjXgYsK5JyohaDC0nT1JIqMi4UCjY+dXWPHTVq2lSjex1F3bg3+YuhIbzJmGFazOVsnbw5w
VgRyYfmkAM1sw7zrPTroojNp5xOd3fvmj+eMrEkkDVWJc9nHsTPSqJ/UblnjLNCCdTkPD2HXN8o2
iormRc/kUN4aiWwBKpZQwAVSXNqBEPySB9xKYXxiB9tJZNNMzXjLomDBrIDWhoYRKchiFzd1RLpi
evvX84rIgA2c3IAiAWX/eNfkFDU6iXrBTkdT8qLWmuxJLNUzq9rnA4NKjpBsIe8bqem7RPCPGDXN
4CTNAVcR8k53GpbSdSQ30r1ShMaeAPacTbn8OX9HHU/EAdKg8IWTyMkeX4WJ0BAFC7BQyJ2WYyU8
yjLFAGVuunVQj4EdZf64R7CagEtP8OJIRiix0YDwuUyiedsNsPC1xMw2emMGq2rh0FicjreFoOxV
q82bfdw29Zko+6upqmp86NJirv5Op/szlpfnYoRA5IO/5JjEgbSONhDeJu/v3zm1UTYX6kSGIi5B
yx9vI2xrodNSTrXF3Gi7Gr9z25Dq9sxVvlpL0EuSTzPJ3H7ayeYgieieWcowhW+59Qg01i4tsFM0
4YEr+f6RvroYBhYS84vann5a1BtnTcxqMF+QZLNwHw1RvS0aUklqEVhnovyv3hGfuKHgtCKyI5x8
542SgP+Bk2DPmtnCfa0buGGZeiZX9kXgqNPgJEEcJFlHaebjO8JL26j7kdVksdF1iPHrFbZtFIwb
MBG5G/dRdeZ9fX4uKjN8LmiFWZZF7WRWaE1Ul3CF4VtykrUTdUT02QrjmRn++UVpS58XnQoEw5xW
T9YbScqlBKg55+VOTFcilBswCzMNOZIRBuvvJ8VXT4RmlzqvyDrAGejjGHaxVIdIXGh0xi3TrUyB
xgjYL2fWti+yISTw4JGTXmWyy9ryyH98TgldjbRz5iDH+kb4WS8wLFVWy0M1axV4ZDV/EZMgPg5Z
WF1Agu82sSG0K9j5lSvV3c9kyK3bEQbmQZXnGGR/7lv29wPxxaDjsUgRXsdhkcTrSWSX9oUSZRaT
qUGnbldCQTXFaAeL8qsvP39/rc8Tl+SALOsqCzBn4NOVV9V8UiASCZFGNHBxzKnuTYIOOFKpx2XD
q6Hnm0OrnXnELwLHj9c9eUar9buxKJi+QkDyUquVHzGAxRW3MruGmWl3KXXQNVQ7YWtMrX5p9ZgN
JNa8WAYkxapvYRVOyVD8+H44GGFe/8fjJjdGDYtsGVVpSjUfpwcUDUrI1hwBogir8rqZZkG4F0ta
gXd1QBPP7Zz3sO2ILaU3s+ErpIHO1+lKr9u4vNbKPrecuhbEY66XqbaKISRyHFAC85bSnq5uePEp
7ulBID/E2kIObA2M0nBPDHSBQNjSPCwVignPwVkC50XeHzvk0gddbJoJjpsxxg/JrrcweXApYcnQ
D7CYgJMzz1LstmOicBYYdPF3Ojf6DblwjrD4b3fX5KRi2c6DOv/ZF1LUXLSdBnCNIhKoKn9UYKdx
l5PmgCGKin1qkOFkh12KtS32FwNQmXh6hBWf0ptcS0bkBJDDasYJ2gG5QlBHdKgijUmwPP05yrAI
MIYA5MNftLS94SeB5mYxWSbssK3wwTDKKLKbDsaRrfuW9FDVNANfaENpNR6hGbWsSBzF3gNdPdOL
0EnSaytI+atFNjInLAtFOAeMCU0bYyggYBBAiFoJA+nQsxx4kjkYmpNZIzmUhvg49GB9KM9Glau/
mqZMZXfUehUEWV8AHdf6fp2XueCOkljCDRcBODhBYyR0qzTt/LNSuvJRb3VbnRnhwccvdiEBFtc9
1iBAQDGltRzIfQb8tzwOqUbFdQuSC8UAOmjJN2+GkFoPJ6OwHNaRGaqwjKIwVNZhHaU32RCPTw2a
jKdxyq4VnDe3daTXkmcCzPpdQZX5mfRVATJMmK/mNC6gjMat9gunwRF8VykExZUq5iUuNKpSxq6C
rfjippFDcKjUCWPJRlA08KlB0N5JfWe0dgoY54FEhzLvYg2fEizD4x7Fdgj/gQRXNq1hXKbDaoCB
Ebpy32qtA01NvsJwYbwWax2meiSZwmMbTebPuKzV2caZI7ylC4FS9zQ2FB1FH28mp5zL4aWRyIKD
ZxTEe7xBs4PW6sDpM3kcZS+pJSXbdarRMc/MAGIA0zzQ7V7T/dtpSGUZCHYg7Qddp00nHsX22E9R
+prE2XBMVaN9TfCDirfGIMXbKiX6w6ZIZ3JKUnNbxHEo2RVdTZpN7hWKc6KM0sVUFLXhaTq+AHap
FCUkW2kUdS+0xDj2dKQfhZPjnj3auHSEua220bv/TOn/UEfwnXaGN/Pg4Dqvh47YW5kdZmW4HoUx
0aEuYcKi9QJkzdjSy4BTetcErjqadboeQe/9yhUhfqkqWJTuXIo0ABYS3RtwUtvyIc0ghbkQ0/vK
FihNvnYG+H+nzKPF7SlQzdlpMgzI1iO1H8APg4UVwqhHU3YRiQvhB1PjGehlryXLRzjh4Fo3OExk
EpgT7ldG2SSn/VuCn/yd1HHAtDtZg9FotA1GcNR2DXeW6Q8GrZhFvwtLGhaOuOA/6XlQAJYyYyBp
g28tXvf9k1qYAPGMmeQ2naXjAJmrEKqE71eUsG6wuuxSSLNCdYRQbu9ERZmfuiUl0dW61KCMyAvL
mVo5Dd2wndsH7A+UnKOA1lzOkjZhcjFr8rMBJ/EqYskGgddE3Q2H//namgLEOzm6kAlQ3KxMYGI0
oFe+MqnAM001KnnlNSjXUMqty7wp0p9tAzjYHeJ58LQSuKcLD2y4nutIe636tLkUh6JG2K324usA
0NhwBWtIRLLglYgxN9uUA/IjeQPXLz5OMV2RRF9NcI10K8JnMtIaHZvnQWOIS5jhdlHMuurKFGFu
BlMhhYiD1Bg7cdQAZSvntnbVSu0OGBrCmNDUHu8HX8Dp1hXjKL0LlKEy12S01Dv4/rDB9CqJb0Q6
w185pZEw933V/CGTsn+Mpq69VeV+nGmxU2RwfwZfN1Smvn2kbdB/X4Do2hji6lgbOvYdwMRm5oci
+G/FqE2PLfqI5FZX5vSJldsy96LK6djGyKT42ep+Qs9pJ1QID4cJrg2f772ZVnO2qkQ2q8Vdqb+t
Idh3HmdUSiiQWQPhQsCMxiD7EwIvgqMHDLWh3XXk0ywmGv2A2O0jvx32Ci4pB6HyxR+N1AAqDoZ0
+jUlY5A7dJAb8xYIFmRpRc11Oi+QJL8kYpJVdp0O9UXIpp3uNKqTTmLFko7BkiIf27Rm32o1pZE2
8qTDOo0VP7mkYO3XLkoi9GBWtZghhKQlY8RDrKVuLE9wmYuZijZgu0kuAATJi1tVZFg/uICv8ORJ
E65Cs5UKz6iV8H4wZ3DFPpqdOvYbO1WCcBcMfHCTUFPGTPw4A2JiAoSjWi4IC+877KdNAKcIOx9Q
yk6jwQSd1Slr3Fkd5KOEu7200GsKPCM0Sv9CmA8/1VlV6NBmrSwcaGtLGVOsR9PzcTwanMisF6hL
qQJRVvFuedWLPHtI9dKq91ZQzF6C0wWF3CoLn3B0ABrU6eo4unWmitdyNpNynoNBCddtq1CQZHEI
9C0GmfJLpFgwhaFX951NncK4GiWJ4usIPpY7y6tw4U4b4r4ux0JwS1EoLnHVsqBcjlorruWpHoJN
J/XWUxWYODjNEdDXbtJpi4urejywNIu1jTpp9o9pLmVuJreZ5WbvgqFGy9XLcSgmjQJmiTYvQP+G
u3cpQohLkrkzXdTx9BcGFjTvFY4tmDAZIflOL8BmpNuDMbJ+YeUzPJPAhD07xb5xa5kzNBn8lFLV
VipgM8SEGEFlg9UwwWFT9rakDcqPacRX3QmJ+QQnyEaAJroxahKsN5OVF2gMpBf8cuSj3nTWpRC3
7U3ph+FRn6vgMgwlY9rlDV+vPCl5SjggjTcQkYFCj32MoZzZo2F0YsznXgj+zKVrPJFjCMkDTfmi
FAGFKisIig6xSnONW7L8nFRiwqKFEyK9s51uHNMmzB1L7aAndqHodmVlvcWNLuB4QzkT24JQQ/dY
KbRss4fSnZEH+UqOBrFfKcokbbQYlK0XgntL1rUcySuDunR1ozd4IbhaK/fBDd9HWDpjC9XHKfgO
Yf8Egvk8TEmY7jCjyNOLVFV7wAJRN8UXBig+hCpQhOjUCtM42SaaqB66PCskpzSqboExkTSzZeQF
9UHrIHmy3WVJ5lVaitNS1VV5u5aFqTPXhowdNtRbnKbIBMZ1AOZN1OK11degwZIO4x1L6Mb7FJzv
bRHJ1ujVlBJwvGkEVbONIK/vxUJJQPHPmOwSs2AYaFetFSTeiL3I5Ha9lTwiiQKf7luF+KDBlLzT
ijGTd7IxhrsCe83Z1ZIyW7WJhf96y1S5wkmGEEvxzXhjScoQ78y+Gw45iTIqVCMyAhvJRpe7w4zt
nN1DSOu8Rm+MRYIGsW7LbB83eWIamatYI/N6gtyzT0ZRyjyMkzJjn4KnwoFJnTvCl1CwoHIPjXUj
ZcZgrgpo+r/6vg3wOxrTIIXao8EvkzsNDXNemOFbb8Q+90awckjzSTxqvjwvF0fE4IaDKf9k9xwf
+Ji00VGQh18XyqCRHSmzq1IKQ39byn79LJZWfokuO/G9TByqdTHAhrQNOVvC6lKCeIdluO7heUMB
nVJAs1fVru0drRSnbF/PnRB4s+hLtVe2Y7kx9CJuXHWxrLfFSZNpXWsmo1nVepbIboEoDYyb0SUx
4LEAQ9M4m8Bfln6+GO0s+Ssbm5YcNPsQzg9o5Kujhmpd2YTzJNBJZDVJdp0MIQgzU0x9XI+lvqqA
o4JhhXuoAMvWFKBZ9v8JZghtQYecp9AIrgD3hpUTtL0A+YiwRD5X5lqS8R8PliQ1sINeOgnQtRgn
CZskxdeolxGLJZNWokBuf3WhyjlvClFKmZLPOJgaKedBfG3qrt6FYt/sIMD7v3V9DP8+rwNUSjRU
6o2LJPQkXzUh7crrrAZxrsnhuoTp9ttIct+JQFOf6x76nE3mRI3DLSoyhFFkMj+eqDXFJ7pWWh68
wnshxPvRHZq4ecsFmX5LMZPPnOG/0K0BOFlEYSilFonuyUgrUPohHZJIwnqjxTKtp0kZkzkLa790
/OWH2XCnazlLoJRV91Cxy8tqslSv0+TernxMB53Qt8rKToVxXCezQV37+yzDV0kX2sOXhC5KFOlU
kINEExuQBm+aKeAuwcGnOAuOMRZ0vSkA/0VugW3tdGYGLrm6jxOQrZpuJog/XBZP64/vQVQHaewg
9jtxXVmr2LLaC9Go1d9JG1vAC6sc5DMW0OQzTJIKg26dSfouc+rj9fkAFq2qIWoKlKqTTKwcYFFp
5ly/nuNphwGhuWn6rHlu5PwHkbF/NWYkCxoBKsrfDrexSH0UqmTUtCkLfnzwMRIspRiwLGyEodtx
BMp2iuhX3kzqM7TxFH+iFh6fGe3Psx79KwIcKrOoUyXrJMEl1JIFEB79Ji7lOBHly2FhJhaC3hrC
aS3S9fcP+cWsZ3HBsZxqNEIJsi4fnxLTs26sSvSQjVDgdtLGADlVH67xSMTJvqb70LVHld3SVJNB
5YxSccxBzxneWGKVr2aUujtmCBU+NQK7OMgqkfH3N/nFoLAVsgqiPSH3fyrsG+LeLEN5xLGzBzI7
JKTJxWIfxspKrKRf31/r83RHgo0PHfpBxITiaY1hEMQ0G3O4mUZfFHsLDr6wiVXB0nHTwMHbaS01
eOxmwLVrJaQabIu4lZpnsvQnqISlzMgbIUVvkUoEcXaKo0Bbp+nBoiiR/anNdhC/ddOpw0i9zaR6
uMG5V3oZ/X5Ogd/2gupOOLRhyVBG5i9BEK3izAv4Iu9qiovaSaSZE0WzvLyhP7LfkYKf2HvbQh/X
slelmL3MS5BRzol5nYUFSe4sLNcB1pqE5jOGJZ1SrSrs0TZ1HPfPPflArysb3/3+bX2eGct9UXhC
A0VXy6nQupZHS5laZga2mjSvzygajGiiFwqD7U06V+f0hp8XI3StVBvoGkHjSkn14zjQFyJWTETq
5flgPk4Uqahotw2uOtZyLAgmIuw46VDaAEMYzryFzzlmnpCFiNoKSyLlto8X17s4Vkp/Qt86TLhQ
VOXgtH16jnL2xZAy8/gIaIxRdfOTsE7X41lalIYhx8a7BB31FWR4adXkc7Ol5wqX0e/f4ee6BbsK
ZTA+FGTKbLwfHyshVSEIGtsazrvBpZaJppvHueGoLZ04f30pTLwUujuXHjbxvansj2ncZ3IttSrd
N2Haze7c4sA0IpaxscIZzy2snxcSrsBkIcalMs2DfXyswKDXrA9FNuoxzC70Li8faeZJ4SFpuXkI
+2AcwBAPzT6zBHEzzPKbDBbMRVMpOmVLFrkzimKn1mgqq06YPbI2/krv1DLm9GoMO5wSwzP3/MWb
WBoaaddmo6VD4iS8660R6WfA11R2OmQq32/Ni4q1aIU30Lz9/lV8XlKoSfOywS6y1hmEkx/Hp6dJ
LsHWKHSoUWNMVAP2NF04UuOvOASJRo9anz7nOuqjXTyqOLHauLX0Pyo5TFqvnmtsyswMFZirUMOQ
r8vQCqzN9/d4giFkGUYtAfbOWgo7iBNP65hKKzZ+ii8SJr+KDpYqwhDSGSoFx0ZcpMiOB0I/pWtd
ysNh3Y6yNd3jcd0gEU4M3x0NTRwdtBA1Kg/W+FVVVgWtfmVFutpMC9TjlIKEY5C2+Ob0SdUOdqX6
kWzLdCWVNmFXPuwyTakP2BE0idemweg1Aci3rdD5IpUIIRmnY0OpQj7zpbzvcx/CLnJ9i5SGzukl
+j5dbHxs1xMyXYRdSjevB0CAMFEAxr6QgFAKdza7LMZAix46N5nUFCOXSJVXcWqliRdihtheNHMR
Kbh4zbW2jxINfnRK2eFWQfT+0zBiUogxDvOFo7e8e5v4q3uJs0Im0dCrU4qvaBQ21Bej8L/YO5Pd
yJEt2/5K4c0tQBr7B9TESe/kklx9RGhCKDr2vbH9+reouO8ipYyKQNawULiTi8yUKKeTZsfOWXvv
+99/q39bRvlkHCzwWEIRYTLXePvgNVGYZ1ScMZn0HPcIpXZWa9vxDzDk3wsr2AFOSfitrRJwlri3
l+FWuYkekvOZ9mF9mRa9N+FNPXdxkBdmix7IFcsjAWwlDe+kLA4tCQy9n/Q10fM1M046dZYngmhS
aLHpd4RyO7hTuvyBaPr73UD6BiG7GhZ4lvUe2rFpeOsTgz3f0dNpH/XdQkZ4o/2hoPnVVTwWQhdx
1/oqvdu66IxYKW8rraTYieiMAw74xMkn9R8e278tulD60kEbzRrmrMeWtzdd8M9lV9iJT8JCHFiJ
TSAf/ZLtXKiy2qfRZJ+GdWbkd5PZXbQWz+Xu90/X3yoE/gLuJ6JsICgiI989XaNWDkaz8BeYshK7
zlztwhGcXTKvjQYaeWramjiK7yXjwpvfX/pvOzeXJqVS56QEEstU/u2Hnxi+91oimLCSdeCPaE+u
mDSGd6w6Okm3WfGHA9IvvtT1LEqSpsmHRUb79nohKj54Wlouqs6045Sb32ZU9n/4Rp2/X2WVbXMW
WhWaa03+7iqch7HDH1I/sQvrY0azOtvFnklPv6VuiLdpl0UZY8oYvU2i9eVAlM9ZzTVE2EiHCRqj
MoZzRWTyV2HquSIfhXmxQ2ZHfxjKMv8IVTJ9CUXcsw5UHV32To7LHRybvMZPV61O94lDVMFSGXjk
8Jc+E87iCZyos8EMFt4pm5dHjCGCp66g52bh436u5hqXhRwskqk/ueH3CSxg+J3soGY4oJuxI4LV
MOzfMp4N0fKCCedkbYEJBMokf2NL+7kwAy+LInPHVk+cBwiW/VGGqKuDtq7lLaeSsXqoaALNp0lm
C5j5NCiCZApk3b7qJvz7y5qAjg3TbWyNwbL0II5qayKgICYUM7H7irjEbCF2N1uM6ixE6KhgmDvG
V6TQ2bcRwBUqhikPH7AVHV662q4BCBA0dJ9rxtBHy6lJv+E0uLQ/l4x/ZG/yP9N0W1J3/dtiYk3O
fRdt25XJy3/gr/0fh+/t8j2qhuRt0O368//2P6E7poOO6Q5iHQQa//Y/sT44PIoG5B9VPKcjfuZf
1tqm9YF9yZL0GEx6eZTDf/U/sSA3HXZHyHcKwH/krA12xLv5rohAsgZvCsoM8P6eb5soelGnmzRl
h5aNJZlMqMewyN0rXVuYoHhl3X1WbG4ZVTGhd4yBF9DRoolAU9SkxnSXahQJmDf040ukRv2xi52B
QQd2l8RdFgQ/bqdldHDtGsB/t5OrJohOmTfusYZC6AEQJm/ChL8YFqQrpL9dU5SVYeB1s/ZDQ2ua
86N2iIRuyHMcpDORPwmrK1H22TJa/NJKHZMZk2dcOFJpFkld0nvyhJl8bKM4u2y9nlBBNH/W/TjG
HJsYu9EgqZapOIZ53Y/b0HKYiFeR1A86OStpgLhAuyDCeyTAyyvcZc+gsD25w7iCgJywtpHTt6fE
zL17rfBgz+cwDxBC8WuN0h2uxz5Mr5PZyAlRTVEfchQfaFPb/dLwMmtyy1+ffQrJtzoxPqeL09hz
R5WRrc0s5jrEf1eNTi6JIJn+jhga9YNRUBEyi+G+B00mPC3wisRLAmPMW3fbDJ1nHBaz08LLrMVf
CVGEFm71Rss9P7Rbgsqc2kueR5qqw2ZUjnc24syKfSpay6N3m0dXgtHSs2gLrGJ6pxy+VpnmsCDX
y+wPZUZureWhxwjbxDlEqGi8jeGC0hGPGCJugUHBotEpJycYtCy7LtxCXXc43dAgcYcJBzzCEFMy
7tSI7gz0/ZKE4PBZtn3IgL9M5JOErTpmTOEtLG7yltgjx2p9bj5ZM0tGjb7RCzN5HPI0xwHadetH
ePjoSxnbIAx9WDnuhlHA8rFwCUFF1lUXYuvMeAJwaQ3T6DwrmbmxI1o3zG0KRrW1Y8ugtAGiyEJs
ZXhCagwysrziIwRD6idS5oFK6lfAhGEYsEmC+uR+WEz+tMbp5caYvfSYvyIq9dz0X/KVW0Gukn0h
DEFdT69YS7ESLssr7ELXKLxXPxGYsuv0DXkR5cBGmSdGQBRg8WkcLMJwRCFmhog2MT5htdzMDl9i
YGSj89xFqBhp/q0QjvkK5CxuF99TsRkk8q7EDqda8dFlFTAYUw/ihT9pvi0dSavHmlukl8ImkhCH
6jE71WFW61fGSOHqgwtoaVDlbeQF+KjrT1bj4JWSDZ16kCO7ty84KuBXiPcGpZm0e7JBEDcT6pw5
sAf4zoAszdT137RXkMlbmaYs88qPyZQzlVqJp3I0EBqndcFtm7PbrhzHT8Tmjp9yTWZ3xhiDegzA
l2RRvQJVqBOAq+TKWYUDtrDEN+sdejRrigoyZ2e7IKaLvGSfTAoymyXAyq2XAL1uaMsRtAPYxfmo
/ihW1it+xb4owTi8z684GCfF6IFTdUOgrWaaF+qVH3NXlGysM/OzrgZSnaAB6eTLV+4MM+loS9VW
Gf5Ialu+rUjvvu06Q85BWI8G0rqwhOdgLmg0e0+n1ZQnZninsYTxrYRynRCHjL4AaYjYy5F6dNt2
Us18yduK+ZLn1NP3RYz57UJOG8NGRHF2ACZgX1K20EkfXxE80kbGr+wSgHlW1dSzj6FEfRKQlC0c
y4rxyVekT5C1SPTOCvp5VqIB/RGvRCrlKwy4RhdbvvcKCYqJJBk/XTRVXBcrTUj7KeU2roxh6MVl
4rdWZd1Jp9G+d684Isl2oIlYhrAXLK/IYv+KLyavKCOxo2CNziviGL/ijuUr+ui+YpDeSkT2r3Bk
9wpKJq/QZLzyk9jWgFLGnB7MQ7kSliLPWhI/X8FLgZLwmger8Hz7Fc1sfmKar8imvtKb+GQBcjY/
oc6fgOcr7Gl7ApKTljDhv45olL5FuEwDJfIsEorI0FxLxrV69NDIdRv9tajMXgtM0VNrana23FWv
Baj3WoziJDB96dcKla4PxWoFK3EKX0tYomv6rypOxvPws8SlYQ365J3j1wK4/VkMvxbGIVnrf3D7
/sURB7wYEFrjnIXw8d3J1ixHi3U8qXxPpd0NYrb4yK4N8OSoaCvT0grywStPc0rKxWsl9L814f+h
3fa7ovCqyr9VAxPN76VK1Hz89p8/f+JnGWhoHxDcoABFDcN7uGqffrrgSfuDzbBQAwpHjklZx0X+
fxXofjA9XmCqRwt+ZS31/u2CZ33AL3j11Vq1CVjyeP8kXwXzGqrQv5aBeKDwnHCMgtFHq89J5u0R
DizEaJvYTALNHk6k0hbj1uxmdZtmjaBeoBUo9kYd3RCi7G601EGilPWDzzBRnTNTK1BHJrbGsL8n
C8nP3FjJA4og46PCNoEopeGb0VqYI6gUDWwXkzLukAsZdZP1pOkTiGRbn1qzCj+ltIT3sxemd8tQ
moFTmleWLbx9niHT1jq337SF+CFZva50eyZ6rf5G9sZABpM21SNCWzWOJDT24CBh0yzYnCdRSqNc
9o9LVUTXcPFdAA03ajdWUmVloEdDkgWpFkoXpTzn0a9U+1r8kJHPFO/GvrRJPWIrtoypeFiK8Zn0
JnfaKFkqFj2dUTPZZuFM/vrgaQe9r2iDlrPAHyJiWca+bwYbt6v5apDNk5oL0e6lnDny42qFt+pk
hWCPggK2TKbkqIveDHEQsLsthGd0Tjv1KItYfnSj3ryc7K7lzOyRVJyRYraJjNIjcbtrSr83eiae
WYvL/vCSQyIgfQMQ3ILbOOd8KHJobUKdwGqm8NzBs35xsxY3NBPzy6lmnVWWCM8RIv0BHN6zHq2C
dtRBOA1lVOyE04MndOu2M3NyVZVl6V81aOjAZgxBFoZouotQETdctkBO21zzWFj6fuxf6Cvll0jx
rYvBjEyBlJE6MffMdNu49fA1ttrsmGLmtknatnzOQopRN8rWgFpIRr+whXUaVGad4rQloCKr7R5Z
ZzicnLFAS+8Y5mO4/vG9bfsqAq/YdKtiq5XSvpu9myqqIlBExP9BpqyUcrOjmz2mft5l8iob8IxY
m73JJSK15DANlAVpZo8+7iR842JKAiosewPaZh8GXkWohtzaNF3Ww44n3k61mC6aPRN92gqnqXI/
RjZu/vkcgdNpldpY5bjDcLTfWeQhRM18ZWcrXO2Z9rZyUvac0dp7IgyDLCxh013HL52cFMp0B9pN
HAaNDr8R9m0Yylt7ihyijOvAaKVBOeukuM4n+qZyyX0R2hLCdi+fo2mRQVLxNADOzPuag2fQmMNu
sYlIXg2+dkO4FAEqAzOYai054i90OarwwstuR8L0jnPYAPCopUeLbllBGSrslhuTQDmjFxdKggIn
mXdvxUy4gCCajeoh7nNvUgf02k8UTMyFJD1KT6c2qk1zOwrORQkF7WagvCIj3KZAr/No2ADhp3zJ
84kE83M3J+d5Ci/DKnQ31aDGnWZqJEy3vlVxEBX5o6eVyeNY5Uh7zZR4Xf2RCFz7cmigI0sX2D9q
IT1yB549NpIfS7pgZuCOXxYq/R3C7UeGS3LTNs4tMSufIm/Ir6pG8YQUS90GrUtHv5+m27he4puy
medjVGSBm8/aLsHm4osa0mUfGQWMn2jLZFMLdWgoR56cwuANLEvrsXV1mlxR7fgybRK/43UjP7vE
sb2wdWy1+2GShyLSqjGwsxRbRisfdnVXFcEYJtekvMZyxYhCQt8YqcTwtkP+OC81IybZdxyN3CFT
59I1AoJ5wciG8NKeR7DQrsA4x4RAN4oMMyF5uwxiuSX922UWGX3vx7q6yGNrPIDn2fscuyltM0u7
PiDqnq/1JB9fjFC3T03VHHLC6nzp1C7VEJ4YV8mIMoKow8R7smrilYKUeuxeOQlGeKKcckK2Aa52
aeE0EJemTnx9lt7yoIAqL0p+NrXZPVY83NtpbMzbgkqNb13V7gUcb/1UizxkoYw1w9pZrKLutqhT
YAZaBKQOujEZzORckt/RttN+RK+zqXk3cGWM9WNuIs1VYHI87rPE0DmvLPoSnf0SRXG4W+rc3Era
9GTqeMQjuwuTRAeRGEsWQuBtZ+mcYTiCo9Yhs32vkTW4zYcpZOPrKeEzR14DXdaXopg6P6YPt3Yd
zcveM8Ktp7HIga1Gl1Um2yBqzb72KxOrg4Tg8mozjYlpBWpwkmd7XpxzM/XeTrOK7CpCXY8hEU8b
r+FVl7Wfxvk45Pzllt0eDB2j58pOrmrbvqn6hqAwjf82zIfllAmZn92xNHkCw7b1MXTIOH0tdDZt
swjcnhOtjHC43JU8qwoSuG2U+FjCEcOdddVNHulEZqRzeLO8uo9h+kH9HsgeSYthV5dJY/GsFuW5
4NC+bc2iPoOd7rJBBLhnBlqes90JEdC9isjzGowtWdbTZSibdFf2HIi1tCO7QVcXdpdHd5xaN0wW
7xnLfUmAx/1kGMShc7x2bxG7uNEBN4tNO6devgUgufEMHr05rq+Z2NxQ3ZJjnZuKjF1h3nPu/9Fl
+o9B16vLmjPo13mBwnQgAOmyXDvuFO8bTAoPFk/eXSP40AR7Lve0+/vNMqn4MipLsXM6KQ+enRaX
jlFpN1joAnhaU3/Mc268LKLmnJZFfUMUJH97V+hfdLexN1UZDjAtqwIjNa8Ajx+8cq4+S72JkSab
PI+9fGoFboRmVbN/MUOTmw7NwsaIwwOjUw7nU93cNj3Ku3xJoyd0ND9Ipcx8OY4YbuJtep3UWUPr
nCZEUzCBVLZ9NyAl4Ff28QGDkWRvc6glbLbNvwxGDkI8ifaCHg4HcbPrrkorvjSK0fVjjQOhEccv
CC/re00b0ntcBOsTbD5NAVlif11TKJV6Ol4ZFpnA3A9rN3r255yc+z1f0ooMQoRzjJXuZWgiRa21
6aLSnPQSvxPBHmZ7RzsrhmM1L/nXDqpoU2UzITr6+FhXzlMKi4yh2Xgx6KidOssrb5yBLl6inGqr
4tJ5HEdvPJcUxec4Lx91Fz6Gw0wA1dBtBNv6nZjDZKtFQ3WoIGZOLcvKvYvE5rTUabdNKnphvnQb
q9uMwHyfCThiNqB4O6x9MifrYTgs75USYmvN2eouYtjyVOv4zgSM78cTL1IO5I3y6AWMOU6IQ/de
ltarPumjlly5cnHHo8pjHPCNfHkZByMDnpm7/rnoIuvOnhZePvz6norCMm9mhBUbG3HLhWU5j7MS
1sFgNz9h+46YYYq1W6LCobTqLo4f+jnGdM2OkeoghNjWqluCoi3Qs9SeILizL5rD4k7jj1ovhzsM
aZ1T1qTJPhTevI35198Kp28uaB3HP5bI/s70MvTL0e4PbV/Yu2jO1KUWjfadMiy1dVj5fXQP1RxA
Apa+nE2wh7wS8sB0sUceYLniSsU2kL+dW85DijRkU+NutoZR4202m5wZ6TF6u7KThrVVRH+ynoo0
PYaWO50mtBgXThdfT0nfHmyXlVF4AlFHpZZdPWTGNTiA/JrZtcVfVBUPpVq6H7wjEJwmwdu7pHFS
onQsz7yw2+njVNGJaNPsu7JYm6vcsJ9UM7Qnnr/6ZnTVl9QhnX6KKBdSp+p8IW3aoqKSG4rF/rH2
qnxHkOlnxr7TlslYv3MHkOGYdMdh3uGNdaT7fmHZg+u7JK/uY9nV+5pmdLlkl0UvG+6g1j0ANd7j
kezbVXzFfrdRaXqjdczCU7H4/dJduzne/HqsnH2EoQvuQjHSrbK7KV2tPzTO8lK54jrJuxZnb7RQ
NZgwlW0RBiY1pT9qWuLjfrcVZkd9LZ1tZ5JtVLR7ShBid7rhqgUo2qfd0B2r2MwueI6LMy20EQ88
xoh0wtRJKN66qM31nZj1Mug1x72NUU9tZzSFu2IheriKyZibE6/b0ZX3DolNgz4BVttYEyl6SCqe
rLEsIR44VEzZcIk/mwziBWnihJ9oOMjbObXKbYHwZ7tKafB13hrTuG00a95pVBullvVbzYnJh+/C
H1hqXDQxiv+QQ4Qv4DLvYwCe4zwSmTx5ESZY2ZBfqGzFshCbXfT1GKHETkRQxSvZuJDfO8kwRLk4
JgdLFxcC1AKWPawPg7WUl1EF2A2ANfiZ1n7R45mOYIpzYWbQS7OY0MllzC4bDCx91abE9vA+k4pO
ehN6tPEFY/n0qhDCOLMSfyxV096XqRXupZJUWnOWX9A5PgBzTgH/ERt6rjCwpjy+hO7CBMeD+Isi
NLYaqqfWmW76zvUO1Wg+5LHUeaK9Q+s5ASoBf3SnY0J4KY3zdNo1mfekWE8QgduXeoshUmEO9sZa
28xtFMHDW7FxbI2p242LYAGtepQasVgOwPpfRGMr7rJI4D1L9xKuKTy77vzZtePioLE8kyEcxK2x
ZcsXcXxFt7c7JJ2hdpyWHObNRrUPUW3CysRbS+jLrjUJvZ4o+YNWeu0hn+tH0yBUHrcyRCekHrpo
mB5zkeXPXnSVIIxqN7U9ulxpGE5lRoi6sjvph2ms8OcM71YTk91sNpf6yC/uaqLPZXjwIr4Sfag2
gyO2TV/xlZaPVoPWUEU4kLZNc6gwaNxqY7+bWm832vx3HK33uZHNO3D+pzxNdV6/MTtGzdifRK9G
Tpx4g9iZZFOkwnCI68707mJy0p3MnHjrLGm5i+KFstvLH8pIbIVGmU/cIibWkD1mqNKALHK11aP6
AvVcF4jRzQNNthkSN5nvhOjj/ZL2zKVM/njW/CPuJXg9q/IinVEsDFpiHRZCwDdTil+n1MubOa/b
A9ol54CpfnWY044gDctTrNyi3cq5ot50qJUXMKFyPqZoSv0kTbA9E+m3KTZuOnNXdHZ6E1laehiR
dB3IZf/U1rrwjcJ4bvhsWHcgFBpZGi694twP30fOqsyKLKQmUj96KS4Lq+6grT9lNjoOuyCAvK4O
i6wOYz7SxRlqXyvtb5UqnoUjB36Ek7As+sesakhK4gyRdTCr1tXYe9eJa380JvdLGHnJdu66PMgt
+6SyNNsM6XQ1zuHkezEx4vacbYRMLU7c7XI0at5KUadk6/FCBHGsTadUn9RuyHF/h3UmR9BD5yd6
rIaWyETbZqGPn4cWXr6XkiiGoTjFmoaOx1K3qBKxs1TDtb6oz46cE99rxvspLM0tm9fAqRK5O0rN
TYnMdJOBE/jW4N7y7XQ77gIWh/RN+jiLgJyW42Jb28z0zIOjK0X/oG38jgYY5QRWYnFVFXixzIpT
rI0K1liuk4ispak/KOlMKwqwUFHWhl9Tp9KuYaQfDoxxUAOecvXkegR9DkM33kj6Vqx4C1pQvTrl
ISBCE3tpoDXzcpyrgsmfLKqTXkw4/8ar+K1rOajYIBMB7rPmLVhFUGrdhd407nZOsxairLkZ4u5c
1OM5QnkUYdyrXOYXlVuMqEYBD1lvosABL1lbdScmZrwBvb2Fb6BA8YyHxJBXMf2ajW3FfSDo922W
GZm/inV3q8+VSRQ6frtyKO7KgtGqSiu/G4dLsx6zg26FZ8+rkfeSRf6lRg2/MQa8p6c6jQ9CpD9U
RcR8iqb2oiEQPfCshR6F4LNNAMIMzFgygeZtmIXyeYhHjhrrBCxRprjQhWZfFAbznQYLDx14019M
hhVOFQ+AEkj8kkoW+0qfJTaBaJ5iBD3b1Og4ASRqOoeL5gUe85H10JFdUcavJ1Ljnif31nX73ZyF
6spZFswAcPnfhqLh1qz6DGihByYVVyOz3bCyvoZNt7dScVdwIj80Krmzxo7Wo5bftbEyTjKfj3MR
3bpVSSBHUVzMqt1FVvQkbe2bBpeHxWxlBO06i8kHFGBm3ZLgY1YApblt77toDqruI7pucxfL9H6y
a+ShdnHTuPOX3K2/W3FV+qGyNT+OZblJ68b1U1k8NLXzw+udXSONoJyW66qYLiPdOTAwu2jM8cUt
2ByWeRz2KMCGFfOD4oqxg8zMpdwVJcuE5AC88RbCXXVR7k0pbgixf85nKXj4U7ozOIrW9Q1O2NMm
ZeHyl7KhtdTPP4aGNkdkMsfIivFlzhmYOhMj0BaI0PXCJOgbaiSy45mX45EVYH49HxLX8HbMeV5y
I8dxADtKaTYXbWvs61Rm/mAOkk5dxpElzotNoUW3XZKxUbriM5P2Z2LRb2hBm0GLsVcwRP2u0EUw
4ySwkXHhI8u8FWp4ogExbqy6bjdTmRQb00bs5NihuZGM1/x8ycJ9NpdnEASSDT5iEPCjDRtWHcfI
N+iGbjyb8RYlXH6DZbjYGXre7ONVbrvIKKAf3CNp6/ZYrBc7u4u8nY0PQoEfmBW3RF+J9qQl6qrP
U1KJs+b7JNVT1Ha7KZUvc5ERExcywwxNSUOQ6TmTU5p4tLx89u0mIPUCD/fZPefJ9Eyr/0uMQHGD
rDGh45B+HRxcK4ppYUIVDYqymmIyd+hUhs08EFyjdgQkwKmm1lFFYvIXvb1zgTI3sdZE28rgEc9T
dZ/TVPG9UlZbTGr7jVDQ8FJren/SaQGHgEfMLQXBMnnzKEbtOTMpm0KMsTFsqZ84oHkBzDHxWVl6
3VTiHh31s1LlV0b+SPG8xrcNkmv0ORlQkMakojkSNzXD+QbgAkuL9pA6Od21Y3G2Z4USILITOAvG
lIle3gp+kAauDHH9KvYhT3NpDTRD7bn2wa+EX5YYMY/mFG21eda3RptZVOVIPw3sXHniXRxHRMhz
04hvJjAAKLKF2Y07YX1glHwsxIlgDDROcCr4mEmTTd/gCA4+K+vmhykQzqgY3XhXNLlfhHQUI00c
epqmnBzPeetJanbsKxZXR+mKyc8uTkOFbQC0/Tx7Db1c8QOfjSNj3e9uPbFz6DfhlB1bp3/BfmX0
0Wg+YRVT+ZCt5zktNwwBD8QonPKOV27Rm8nX1EhcLTv/OWOWeADL5p+VqbYrBt5hxLfzLtZcb+vR
rPKJ47B8WIHRx2f6jvbEplesOSaOzkQEYXqHb7tdf+EgjS2JdjlMwz722hsSBB4J1TBPONOsnWKS
N6mlu/z7rCdf9Tq9iK3hU89wnTiuRHof3aJ/HszQfipUS1AtjrAXusa2U5nhUTUx5BCLjx/PfbbP
tLneNLg8BZ1THnS4mUnZT9isfVFKf8rSLj4wSgq4W6Sz4yIjqu8oI2Ud54wy8gyyfn5WbcfWkMpP
nBoLZhaSQLlmIRmJeXegkPz6PPvBaBsXnV1/rdkFA09m04Vr9sk+A/o8ms0oN5wqrIOtj+eRnt5L
uvZ3m6K9RRNLKz5/QFh669bikwVqv6kzUW2lhv6lqal8LGv5FmuquQoHwffQP7sVJB4aYEKa8JFe
SRYA6gS3tlbM9m5aXKwWhNme6KSfptw7we5flrg/+YmzfK4WMW5kFeMV5LARFk6RESIimu/OgiHq
JmzJ1rWtM+rKdNOF2e3UK8YwJsBSHz0QGnVT9ObNlEY31HzTFjLCt9xxOZSFdVYVxEdpJc2mwyqQ
jcYGpRlVcXCpLjbgPPisJpRl1qjfDn1CgqYDnzTGadAnXWCFVEhaib9GWntZABphgF+Nua+5SJFj
WhO0tMfqjFnJl/+dEf+c+DqAev81N7htE0UC3F9HxOsP/JwQm8YHhi+r6MUm4w5hDyPYnyNiw/5g
GthquAzcXBtvSObA/xoR6+4HDZWpq2nS0D3SXxj0/ysoTZcfDIz4cPV0YegtoNz/fk4al9R1neAy
ptCQjOCHb8fDiYXLSyxcckBdIXdjpDNInIT6g7jlHR0NhIg7mg3baBtoLTBrfnuVuMsqCY5mbtws
bz5hczsdnLIaLuKip/xz1Fj8gVyGsPzr1Hu9IDnSaCfWMII1ivDtBaeF6aazkNAzNZhPe5NTHxUv
EKJOfL/+8k3f/CQq/5oBt/6qv3CWPy/FYB1hHjcQmeTbS1GFpHkpKqLJm6x8RmVQo66v44ffX+W9
4/R6GUzwTYfHhEwJwOu3l2EkHnEQ6y22aa++wXcdqxLJ/O1eCuTvcV5V30NV4BFv9tLYTbrT73K9
Kz91gKs7U1/yP4Aov7jDPLsa/+MG48Hx7sHpjGSsvJ6/JwVQp+DAU9PHELJ7iXr5p/TqX16LzYXu
KmoJwJe3nz0qs9U9erQ2HW6b55o2wUPtZFaQOLnQf2IuX6f/G32vfvF1vjcbfL3RRBe6vJKrHf/7
YCqMLee5GtG6xh0qYL31QqTnkUuCmKiusByrbjJsB5m5qMkfW2LfN42mc8gvOZsMImW0TRZ7v8HU
dzil0PM7sw7VPxOOrH8jduc8bMiEkEcb7+h/+DciizLm18zwifA2IprLDPT++ZNN7taqtsRbVkKy
vL3tjGR7J3ZxxnIaJtSYRSFJxHTnTwEP75Cm1w9jIxthcdDw931v38dUgtIxwznMlova2UsfHVNo
mq/VnLZHo5iFixOUSWmEKeL9P3+rUFm6GjzX+my9FwpKzr2pimJzo7VxVW9SZTu0tLTC2Q1OqJ+t
NNKXTTRIy+9tN+ZA4NF3KwF48Aayx+r7YHXVP7/rPHUO2g7u/SoJfHvXI7dsKH8z1srCCm+zOpuC
unOLP6wnv1iR0bqTSotEQls9r99eRcQGwxTmXRuli+IwYhDKgC9pTQ4ktrXsiPsIv/7+Xq+/8d06
yfMK/4tGhi3nPYgUNrnWVElk0dBuOa+0RL8N9Hn/G3cPdRlKYSRVEsrq7ecaZaI7C+2VjZfZ2hZE
kJSWSrh/EBr96rPg3Y2/KqJ41op3b8ZSDFKfigZvOvqgNzrcwtZtlub8+zv2i2UPk3qydNAQEC7q
vHvLBcrfvC7YWZAbmXs9Hi0/nEUVjEI4//wDYbqOaoG9eYXS1sflL+Jcp9RrW6gCuyZnDgN3ykLw
EJw7f/+B1tvy7hHAI5zSZQ2zRAv87gNphAQVSsOZlDYonWhtdDgiZlsDF7Wqlfe4vCZ+brg0wbw/
LJi/uJUkPuJ2z2dDKvF+KXM5GTQo9DFVGhlG1VZX7PplsH3ZlsL//YdcN6P3H1LS5dJxkkAQttZ0
b25lkTlqYiung1rt8t4m8onmCmJkjualvGi6fv7Dbf3F0+ixF2iwhCg9cE1+e0XLq1yl8nXMPxuY
i3cYknXrqf/3n+tXtxBvFpdIXzZ87X2dI+2iWeQIzsYQxjhwfol3vSpaFBG98YeX+FfPibVmx5pk
d2EC/e4lJr5pHOxRkNik2dHRi1x5LLR+BLmW+mVqFPSzmFs8tBie7zgfaX+4/K8+qcW+hwjX5UG1
1/v9l5ehqhSGdYqpt1fYbHuCSAjba9VVzjThDzf1Vw8LlgKIx9YEGZKe3l6qHOGmPWvgq2vHMx3v
uznB5y5rlx92mF6CBmZ/uODfnxW8E8irwUXXtRnnv7u1nPtk4g5QV2NYGLs0C+UpgQzZ/v5Z+dVV
XItzBfWJu9Kgbz8WeaFdH9K/x7irprvRKbmr8tD5Z45IFA6cp2x4FJt1GKfrd1exEM4sUVSb8JCN
fZ8SPPK1r0b1LQ+XZf/7D/R6YHj7VoP4rtJOJF+2ROb69hNJfMP4qJxgqA0dOn6JW/eBkRhICBJ9
sM5EM/cTIpiRaVJBEgyUJ/83D/Rm1FQgzCF5XkJ+C1162FTEkhkMWsSpjE5Z2z7VSaPHK0TlkC2l
9/TtDKMoPuOKxSxSs3M17Crv/7F3XruRI9u2/ZWL+84NevNKJtNISvkqqfQSUDl6E/Tk15/B3vcA
W1kJJWo/X6DRaLSLJBlmxVprjtkkx9nx8FXRO/RK9KEo8ifd+zm9N5CnAHyxbulfrXTrGXIJNRO0
NRkG8wnog20HSpWMkdb9NjgZ7yx6PF8qd7RNUsL8dH60bo/XVO/MZ7qqiOu73CvbbcSv/kaVkkYS
mG7WjecoEc+J09uVcNwYjxeCmZzO1VZZSA+auKT2hkV7JSgX072g6z4zrTSNfIljq0SLf3DA8yl1
kjhSDX9oLf1Y9PWbO2uXXBz/XP2EJ0BNWJZcWK3ToyKr46oFS2T46ZDN16kBoM2tgevIIm8vzSom
zcmk+sc6HIWet67Hk0lFH6GKfXECz2Uq8l1mZzbYM8zONgVkg4v8bv3MaJx/a2u5za3h1J6yzPW4
okZo+SV55x8j0Dl8CPPauwcbPpIRlvmALbJXiEBraPPFpVyffxqAW3cRvQIPkorB4fNVdarTX1cw
bxKHRNpT6XU/zT70tWF2FLcoK4KSvepqu20DYVB5VVKPrlm1RK0oLWabbyAFdIMRYextO1Dp8is4
rLofJRZVu4m67UTxNRYPcnLVS67Kf27S/EqcYUDSQswgX/Nx7VeuXrUlfTC8okL/3kpt2mB+ZmFc
mOq/xlmzb6M47X99/m7OTUNuAFxJoP6YaPI/DurEOb3qK0Czrizjpkh7c1OoibZfuky54Mt67vlg
C3lwviCKA876OFSmpSmXrNKi5sFtVnVhdHrO9NAk1a/Zov1urJYLp9C5h4N8RcrJ5BaCf8jHEQ1R
WEUarTmTnmYCul/1r4DyC4rDE6zxv3+R5Jw8Jj2HOeZxH8cqy74iEmuJ1bW6P2ijYgdAQmn8lDRC
/xdDMZU9wyNDx1r7OJTLkbcMFXHL0mnj3ilUZkfO9a0zL4V8517gOhdBubJ+/rDIGBcQizhZE8/O
qkHDbC46H8frdFtxQ80uPNa5bRerIvTM8AfXrfHjY8Uona1SsCGNTp0d58lcttyaL3mqnRlF53RF
r+z+I206iZu1qNAGrWV7iqVW3CF1pasBTf9/8TD/eBbihwT3BZrTx4fxVLpBIP+QGSS3cShj3bix
EXTuP58J5x6G0ITIBO421eyTh2EjIw1G27Nvde3wAOdoRiPgXbJtXjeek/ND505trpYTNgnck2ex
RrWyIJRYkIYNDkWz+C20/l5LEBPg0XBhFpyZcuxCcIPIVnN6OCfrKF16ukHwOaQg7BivGqrcraeC
3mkou124rZ17e4RZXEZJca+4mI/faDIB9aYjXTiOGrk37TIh4InbYfv5Nzrz9pCwmtzSCOjWlfRx
FKvVoipduNC4uersXaXpD+AMTdoC3SJAR6RfyJj+s9OcfC7SaLa9zjyd6+jJOTJhLzbztkg21aUA
+lJm+oulmd2VQlb6Yam15WeCOOlJm7MKjn7UD6CpHHP3949t0G0Lt4DMF1f+j4+9GPYkBCGeL5N6
2ctUr0MnVfSvXUfFbwbrfWEpnHvN7BwrQQTbPe007ChYIyJfeOqoUcsDBnj21htpPesWsULBLeXh
8+c7M08pi6j4bakkaHB0//h8DW3N9Kqwj7RKS3MohAD60yI7JN/2+l+MRApNJ1+Cf5ChfxwpSU1V
OPlEqKwi7hhR4gVeOpTXeT+MF1bEuYfSHYfEFlN13Yc/DhV5mFzSn0HCVzXvW5qPvyqRXI70wF4q
1ayf/2SScnB5HjbdQGat083eiuFq6oKRENxk95wKT66jwBQ0Gyo1sWMXm0FtbKq9xGefv84zq548
F4kug1Q/gLKTVd900whZmT0T4Ir7hXcgfPwFlgvT48x0NNdKF7+cwIO/+vgmyWsgrF6ZxK4z5VR3
l1dHEv1GWvyrFeOFyOrcYOzOBlSklWZ6mshAgs7FTGfPtPGv5iyAvGTRp4YPiDqGNSmVC9Pk3Cuk
3LKWE6l7cXv8+HDQS5X1SgdwuZHTYx45+W7s40sr+twooEtY0tAxV+TSx1EItvJaL5n3+RJ/yYTd
h2N68W5wdhBdpQ5DjMhmeXK5L4SosEfnHlrlMeK6urduG5p7w8/n3Ll1ReqfFCtPs6JXPj5KSRON
pkjX8jE8cHdmYptXk0SBVmmp8l9MbxIi2MKz965nzsehYrOzic0I6Bd081yVJ+8m7RXrQs54/cGn
y5congQPJTkSrSendNO4GXEtMwBDoGQfNVYUuq2D+5IBRXCUlbVxlPqmUYFaz5V9MU1yZnSiN8ID
zi32j5NnjBINfaQ6sIQxJ/+a1230noDbvytRVf31FcIl7IGSt2714FFPvpya9lEytxbh4uDOAHQx
soirfpXJDZdczv7cEhmKGrxGKm7df09OlBHs4UJPImlrBf/kYDQQnPRSWu+JMjlg4teMuUvTD3XD
7efT88zI3FsIiFesGu/0ZD03cllsxW1pwnPpYc+4BD9lleV+4Q6KR2uM6VhItLf2BeqUcj4f+8+l
wYWQAIxaDaV0CkUf56tX5ulccLvwuwRnzPVitqcxOKK31VkuDPXnWgedRjAC+RKlOn/6OJQQLvwJ
k5SWo/TOfVaO3UF0CE0+f6AzoxCN0xVAVpc1f7ptkWmt0wkzbO5MkRdYM6AUfsulzoOzo1DKXIMC
1vo/dfz/SB67YDfYmAnHcZ/o9rbEkcvoiktMvzMfh6nPLkIhmGv7aSXFsitsKWrXAOi0qKHRDZ7v
zbDh29a8BAtdD8SPOwoEA/wyqdnA5P4jbTTH+liMJMv9XLPK97wvyULGXf8OLHO+GzMc4AaUEX99
kDEolUkOM6o1bM4nMyJyvDxqJpKckYjepnlJ/BJnpu9/PSMIM+hLsUnuaATlH0fRZkhSDs17vsk1
etsus7mhMjRv/ptR2JK5PnHnOx2lruBapR2jNGUqQj4boWmRLxdGOTcjyFtyNVvLqxRoPj5Ly+sB
zqoDjBuHhcZpfQmARC8BjInxwtZ7Jm3HbshFEPdXknd/YOlHSmfzTKLMl04lSWZXKlgjTLVbnzSC
dpg4Ab5hQ2eHraY0m3HUi59cVT3PlxP0zVwBrWM31viYtqW+Ga3Z/Os88bpbezbn3wqkPHVjXKEM
5kS8TEtcX+zNylH5JXTJff5d/wzuGIX1QMKHmikv8+MbjxohEtqbDT/CdOfFcJwSidTSVEGu0r/M
AZlc+MRnthasu8mUroNyLJx84tnF/6SmP9yvI1ulod1YtjF2lxeqKudGIRhaEwrc2ujk/vhYutJ1
/ZLYhp8hfv/Cz3hdHQgurLwz7UzrRozojwI3OSztJAyfmDKz1a1VDEACxyJ17YONNuypbboy87Hh
Ll+KLEPkXJTVMVOj/CeKg5720CFtj5YTF4fPP+aZ5UOmYW0XW3Ep7Nsfnxp4lpWZnIR+xOXy0Syc
ZFfZsnsygR9dONTPDMXhQ+5u3Q48wuiPQ5m5E6mQpU0f5/cYiUSbo/TPV1mYaC4shHNDkYZagTLg
3zgxPg5lVE757zqcrFz5HeZYu8NJCcHbkCOn+fwNnlkO1hqnkwwkKCPN8XGsfkTTSzcM2Q2MsPZy
mdJb6CfeJhlou4cAcalKe2aeUjgl0cqet14LT76YZ3IDgcmAiEUKK0yrJNnb6txc2OtO3yDvDOcL
aqaYQhAGGSdPNXaW7Bzctvy5pxAkEdJuVDdKkNEqf9tICCdIXVsUSPfzqTCs+fgC7ZmyX5tBZpyo
2gUKvknh1Hb1hc90yv5m4yYfiUkqYdaKA3ZOAucSPfKARnPtxUTlUFi7rE99I8EwHcRbj73i4unB
lIE6t1Jt65niywLkYlmlnXS4fz5n/ny7/BaOeLLy4MjN0wwKYpthQfe79hTkFV6mJm6nQ+fuKs/o
/nLzXBvleL80LtGaAQ3z9EPaZYeXGm0ZsEDSK8+O2+tWzy/V808n5ToKtQYKrf+U2U394zc0chyx
EpY+Kid7esMJsX2RZvn6+Vs7MwhT0sYggIBsZYZ+HAQYYVz3rYpTqeeUmziDjmFayd+GLaTqNPbl
1YuALCmDfRzFrseunEZeWGa4MkQnPV9bJe3kF57FPN031nHoRADYTcsFV5z1af8jYNYxlBkpahs+
WkrrR0Vb49sAWuhtsSsHvCa0kt9d7U1fgEp678aIdsFIqlWJOKb4ISK5Q14otKLEOrVy5ns2PEvu
1TF3roZKbZznsV+dV+2ydgB/i0I5REtVR3snqbt7/O2cKUha6kEHYuDyBjEK+kB7Gowfcw4RGGXd
rOxL7J21jbLMqH5LlkpLckzVW2C/SEA2jT7KG2T4EoUEDMlvRiOI84octOq+HuGOgDHR3X3etMp7
28No94ehSE1k0HZibUsVIWHs5y5C4b0rkMkFFUFpdDd5fXabz878dUBhCAsFRN8dOE+z3QK8TPVt
XjRLDfZyXpqDauZS+FNVFC9V18dPLpCEOfDsJTkWjTSeVfS97zUkh9Z3con7QYtHfLGDOxSJEEZG
dyQgyN7Q30uQmfFkatvGmzTvKFPBvhcnOk6tKc5xOl5DoxntsFAz663hTp6Cl6YOHEPR6rLAzdgu
3U2NO+2wA/OiRF9iOU5d0Nh14dA+OeTXEI0xqYO1VlTs3X2VgtuBZRHYthzfa7XWvhrzKNF/Y+kk
MYUtvWcUa3Z7iNsK0KNh03fXelOvB2xvzYMV59m9ibQ0R2UxFa+ELUnmj2lTiWBuLNMGHFA7MrCS
ZkRNj/3lUVcM86teYS3qT5adfVX5a+Z5N9j7VoH4QsO4K/vtgpKq2QzALTmraW3ON12xZAQGC73Y
flnh7EYjRy1BZkjd/g7uU/86iAT/x6gv+TcGp0IHIh1L/sTDORbYj1tLhrpMMZ4jNVPhFxSpeHFQ
ewnUqnX86Ay9ew+400Do03uHJDabKxXZbGDQO4dIyjDeZvgZX0nho6WhDxUhjWJ0YxOIxUgpASUS
mZEBJbTC9QDt6a4ls/FTnZws2dQwr5nsrpsobIKN8p2zLXvNVIyz4ORLNLguLR8Ifr14fGysAV2a
rIk4/daRsrgiewZPydbW9Bi3X+xV52hwvg5tlaKd4r//MQCWKXaLcKeb0nOb1sewL93nap0Ln6mX
8rnTRvMAOmE00U25833saO/BbUAVzRYL5PhlItlQbsRoV/f/+Ihge1A1cE20yQXtkyMUVfCCrPs4
pFyx3DRuUkx39FHY71gyW/kGV11L4vhnd11YdTYdDqYsXfsmRQA53lltYxjPVq7hKmG7c8RikDku
ZyWKuBV94I0NBNXMKeFlje23eC1R7dBPJDr9ONYgvqFHVYtjssTjEAxKk702UPfxXJ+kBa1YJvML
zngSu+Myq1L3TWJhttW8ZMJ/F6+8cV/TflhSrWuHb028xCBnHIC4AWq7QUONVset38Iqe+3VaXiM
NPwMsey1q0NppMjgEGi7yVVt9fqy6bTIQU0FBWn0VZPwmX4dHAxhesAy3bhNlIA0K5uOJoplEMON
FauFtk+TvrypJDZyALtSPh4g6LeisNUn9v/2DV451RLXkNaeJr967WGq6281THJvC9ZAevgw6avS
d2yyJoi8sbtDJGehvFTbMvLpH+UfWqg7vsZJFt0Ps510wFr1BWtYStQ5eW8XTIoyNtbv3Ktg8zr5
u5aY0X0mpIV1eqFW805MOe8kUtPSg2xR1XmAO6c5bdCKVdFqDi5FuMIF7rpCoiXv8mUEhwn6BgJU
MntwC+j4jfaF0wK9CKeu7vUDedE8SoPFK8dnfB+Gh0jrYQY7ceOaX4GozdBfrE57E5qpvWGJ0Q1X
vWZNxrttl0RUh0EYlDprtLDHmfU7BmPZ6N8UbRhK9v9EdwLaPjMrbGcruyefxtyURtMm28xSbF62
5oLpkF7ePiROnLY0WWTYZOottxtf5p6XhSPoptvGWwZcKwfC0aDSVDmFcirNWyUR9XOyOCpWHTTR
WFd2DBqAFq5FBmpijE/ZPNGt8dKXuYwPsmvML0WxQTNrX/WqUfyeo6ZGkBZbyxXc/BFpmSfQbKyF
Jj1kaeB90XOfL/1aU7jPekJ1k2AwtOzKiEFDB7LU3YPVKaqGYl2qbyOSRhNW2Ox+V2La93m+Kf+F
iS0y2Mia9Gnbkuxe2GVM2nuTapjfFa+CNmGBJfBHwwUIEbGgyIXnedJABalTJnCRJ3ZI/7HziNns
8OD0mgFtH+nmlYFdSAbiH32cb0bp7IXYCdbfk7Gv+h1qP6vc2Ca2wP5S9Mkh6dwx3hqyaEnOmvFA
ahZVdOxPilcg8ceNYSfHLHnoNPhnIUcYcMHOna394EnvycWiOOJD2pPiq9SfLECSbBmhyZb3UE+J
ho9v1qPKIyjAvjLCNhwunqop19lUDwq2XDhQY9Aaew+LGCYzUDMpb/t8am77zjHjwIwXEcKthhoj
q9a+Z6IvWNWUHPA/NMhOIjDJ4g+3MwajxhEebyXuFthL0wKQTzi/zdxSlC3IKVe90+iNTcMWnYn5
NuV2l++Y1k53p/Zmwt6hMUuPuh2nOq3wdmw/JmbL3peAw0ZvmkAMeW2RWM6h2Su93OkNbjj0tC9W
elRyfdYePVyx9Z2SiVg/cOWp+kO8gDfbavBvra1I22gMFA/EXFN3Y4/2tTce60UI0N9TEZvuvsIW
QQuFI5iq3Iit8lufDMbvz4PIP64RNBKRsVBRkZCip2HqYwip2GoJHIHdT2+rLExXfXLfw9upOyCG
nw91Wl8hWqUncL1z0gpDxvrkRr2obr50EBahNJrAqwuDBksrSWbfjW3jlsWQbNOljo996tRXMN/d
H5+P/0fsDwj7n4IAZXM8J07Hl6nilIQB9Ca7Qu7mWdThaFGK+3yUMy+U56P5gq4I7r+ndUQjw6Oe
gBR1CMba2AwXVpCZUXbnYE11//lQZ17oWq1ab4HIKSjlnHw73JWd2MDTzqF3l4Petjd2Y7B5mJ03
IaAV/VUStfqhrWfAKm1fhp+Pf/ZR6QIhY7p2lp42ZWATH2dx0XIvTBZvK6FdfcEvfAIO2cjd50Od
+3a0N5AjWdWg3BA+PmqclZU+uzR7V4KKuqKZ807W3fSXOR9mKE18lItIbK8tSCf3+7ovIKB448oR
rOrQnJQ2NB0CC2CS3l8/EMl5ihlUIGil+uOK2HRmnzWlS2tH4qXhQlXgaLeW++tvX9s6ygpKXpsv
6Qv6+No0jJwHQcYJ4T/N1frgTptxSi/5XP6ZF9FWXQgd8fyBDnbV7/7nPTRJMI1yIoZR2ny84/7t
hEYeFVuOA2/YNG3t3k6Y3BNpDNOtDasirOYsg3tLs8nBbYeBRHMEv0kBv/35C1iXwH9WYLA6XLPs
NEVQjGN3O1kixSxb+CJ00JiLrb5HEP63KgfwtheE6ADZ6P2z+/hSI8ifs5VRaQ9aW4XI1Jon93/h
AZPnSF0XplYGbQFBYYRidGH5nR0F4R0lOWr99mkha8r6sWOhmz5G4y6s3fEF2tWlgsWfKQYEqiRm
EFIjPeJxTj5tuyRwftnOaOLHEqPT+teyauG7tJnzUBXa9O+H+v+o9P9Lqu4/5u6f/jk9DiTl+//Z
vrfVf4rh//nP/q2G1/+Fdmg9wsgsUV6gxvy/anjF+hc2OqxB2jCQMXC+skH+rxze+hf6DqpHNixz
dLlrZ8H/k8N7/1qXLNaSWKmReabf8m/08Gtx+2S58T9bRdb2KrtHfHSqHc85DrQeVhZ9z3mgdYNc
biEDG786BcjCkLfQrJaSJFHp2btiyPRvZZRu5QAiiYaqQAf4pPsSkgkcptDDzx29XtxzXiu9r9We
cw1KECEpVn0NsMatPcOnrvOl8KuZilUnGnWDN2bFpfRL03RXpELwltLjBLiVI/d969nXVZs+ocnY
jVM71BsRibukArXeefZW5drdzCI61oouQ1cDJcWJ0weVhxeNpiR56fdN99hUWMHVs3jABuVFgHAj
rgg66WyLWIxbWxPRi5eIMtCc8mbWSHoX2aJuxsXWX+HlYj++FFCkJCWupTUmfGgkSTi1/VIMqXU3
UoY85IYK5MMufhe544VCju29irvpb0tJ3nR3zuH4afmGeC096AlyGSjK4i71evO6dMfsAQWDdihi
owlKrx2+JE5BdNCLSbuyRKQuoYau9dGMkILJyHqok3Ez1/Yb6SXt55TmdGW06VSMG3SN6sM8lUO0
YRMVN66OfxijmstRUpI9EgWVVTjC1d1GhXB/y1izwjg2+iy0OsclE1QX0bfKbfH2MCa9vY8y3Xkh
12a4OLIs830l8+IWZk0CM6TgkoWTknHgDBzlPX2r5TFpwDp12IRQqc+WIdQ7gMAzbcm7aYaBA9um
82LgryTiRgOnEzCGfTtAUTZAfgZGn2oDdKDCe6XBw52+t20kNkor1bt6hWkFeNDq2rNUI/V2aJyH
0lbMEC1vArQnzzOu2qkNNDniKtMLmd1UCVZhVYpcwm/yqbia9Ny+Gzy+RpwldRh1yXInmvqWk5I0
KFCo6TZ3qfMqspivlsj56oylnl0lpEpBdZn7AW6S7y5i3kal/lbk8aYi1Rt005K8JPihbJaKS3wK
TqlWrZ1cLGMjdOfANXq5g2QTX82LHkb8K0b0UKt0yRd9eStG88bM1Js0c0hooUPpZnr00mO0FGHk
JtclTh4bNC5hFEdhD28ySKIJdyZlH894rNFoV0NbX+LG4mJqyaPjZHfG4OxybG5chK1T0T47aRSg
i6ZdCCYgPjjT7RSBKbIPnfE4VE/SanakPeBG/ciMJZzmmfepvqpW2j72WX8nBpKtptyxHfXbBkdy
TAau84b0yyyOsPs3E/cev55BKnL16soCLuTi7pMkFeTDkgBkKl9V8a7dpC4PfCrIedN1Xk/4Ajn6
bsgsjY4bSFTQcA4pXpxXSKWXe5KqAnx4BhGwiJxQchN7YtncaOn9HOkwK9+SzP0SA+0xFmsHOSmQ
ZBENWlC8pTwgV7nTQVPVmUNidLlGfrmJk98mu4ozafEBpMP0ZWyM1Y4JsmIqd1TOzcARTShi54uT
07OcQSNnn2vfcEDVcAGHUzVlye8qz+/ztG79ZVXp9Kp8BdLwUxGeCCWr8aCbMPSnYtNP+W0p2/c8
SXaaMi37ztC+zyWg3GO+CGMz4q1ChRKxwQMEKNj5SmWif8OodPTkzlHnhFYovb7FniyoKPlFB5yR
G3SMtVA26LXi6xaSkuIXedpEX8g2ry1F3jaSGQiobKOoM5TD/CnK4l+Jon4vZ16VBuLgoVjGgLJY
WOPrHZY2WcbU6ZVHcxbtT2NpHlVFFY/QXRMkR7pym8Zc/kORewPMB7RSR0vMyPJwHdyDYycx5/Q5
8j5S2ZTzW78q2upVqWDh6WYjQqVcvMcyTaH4ZNrynjWtdzSNZIvNaBc4pMvCpm41363s1EeYdET+
+BSLpiSF7b7miosfYp5OuCUMvZ8P6k0DZfIqNmrvyo3cPjD1tAbbTUorzj38mNygrYtnDTpkLodN
3NVZ0CxdfiNFmd5haMTeH38Bty82ldq9yKLamtl7ggmSFUdPOHrrQPrUX25i7yNbXJE03+OrsdM6
+OwVzeTX0SDrUMnkD7T/R/JaP4oJ/pAgZg2yKntoNO2HVJo8gOwPDUobuJxn9VWVdhwLU0bueDHr
EHyqSs0kwRk2JhfvzaXrwwYu2AIxSohFSWPLUv/A9zLb5kA6J9VLf8JtdXdghH96TXU1Zo26dSLy
65YZ1GC1glLFoVIUt3OR3Empxn7azA6osDjMnBnIWg2SDPig+VWbvi7Lt9YyAplRUuItN3gqrZON
1skXbxhv8obTrMPbouunvaV8SwDsGZkT+TArXrBD2qXKNxs0RC/Ho2NOzxE5Tr9sZLlZlXTImvzK
cna9Wj402AKY1XQA7cwy0G3gzcN91NV3RtRfJzVOeUlafnfQf/mJ2x71RT30bXOA1rCZy/zoSXwx
ZPwqYCoOQ3+VMXkrEslRl16XtgfYSRsopKpv4Ke4pdQHc16CwjkuTv+SzMoVpY9nBd9h32mUW8cr
fy3Dk2ydGJMTrAnGOoGNP5uoj63QSK2d0N+5423cFM6KGkWBmKwn2sdf5/Y3Nbr9UERHG5am15Ts
wGp6W+XavhaNDbIguUezhrdBfE9kbgZunJMbnlWWt05lZAXQuvExNq5HQ6R8+R8Sxwr8MUMdC2e8
4shIgt7ozHHrTW8ULQKDz+7HkwWXXteOOIXsgJ8oB1dtD7kLnZSm2hSqucoki9uXeIqujfllHuOd
W0TbaZohSWu5T+N1faXqExj3aHgcpLcflulhIEm4JofDXng/Wawws4ydyFsY2Y6YD5Y01CAZlZ92
XR9iUNm8sICpEcx5fKgKkj+LuyubOaTwgs/Os6U0702s7oxU2SxsF5GaSBZecytW3GDZPepNEQAo
DEpFHlZ7VQfLK2FK1MLY9FaqhsdEdqRvtyRBigq4xbrUvoU+/apr87aX897EO9eqsVGPwXrlZYXc
djd26SFyBneTL2pBlrHxdk1u8HlVe+NlPWD/mC3KvOGifTOrXkmjRvTQO/2XCvPDTTF+I3m6Key8
2mNp6FxPrZLyoN581RU/+ZSHTOed4Gcx9cWRpeVPbYrXtokdgLB8b8huG4nhbjk6D/ZQAHPrxzQ0
eutI8Q2LyQQEdqw/RjVIWUVvH8Hf+kM33Csxx+GkgUIeDw3t8r6ntht9bHfaZG3ssSdd3D5NFJw2
Ffx31kRRg/aV/cY0p2G/tOar5w3lM5ZCYDit1rv2FKafPagqVFfFep6NBLHSs7dMt11tPFWAn61B
3/ZK9xC78pos243Tjf4I6rikW2ljNu1VN2t07MsHs9Ef3WTYTzr+iqp73/XFVvFuwC6B0FZ3eiK4
tmIKY2IkP7rPprG6sajdz3Uj3xYmfB6nGna5BdKv6b6QRT+oSwaav1a3lCQ9X+W09mIRUoTwR5QV
ztBtnfnFBFFBu2y+RXDd71r3KoeUDgd2P+AnBiU60cLZspjqtbux0iLEIPBH1OCXOCe4aNgxU8k0
wkLvv5ZG8U2b3Tc9n8QVOu2Q9kG2AEwMIj19McoSR037QLcs3y3jrGBfGMCIB2TrODEwaPYNR7x3
wLhx6LyF7o7TwYxwKQmMooU7NG5b8EBTcSwMcWtGtyJ5I8flu+ZdnrW7oVQOViu/tYPOiWwGUq8D
pVbfjCjf0t3CXSf2R6ySMrUKrQpa31JCzVWbbVXgRo9aHhpJ/i5tY5eSonYTPoilPDvjciiTGkBv
suPeuZ+MfhPpHpNnrIOi1ndYQYhdUnFqpGYoARqH2QqC70zq87j1ORKrc1rGS7d0tov5aOCNHVoS
yhDyk62gBUxG+GImlnZIVRcnLOeGi91W4J6BMxbOjXn2VQ7dJplBBbXV1zilDKzk3z2NNgztvXXM
+9l0vmvRD7xYpp2NnNGXKeWkF6PS360Mt4gSUG+TxRDcHU5rdC6UUkoCylZiRiGNt1ho4psbSQ7Q
0k2pL4/6vFsaLpDU4SkYNc1TMzniK6WRdP170UyZoLbQ+NfEDvgUHbo+4sBsaaWDJG5sjIj6ZF7a
14aZfVcs43Vkf/ajSGggTtcpaQ9Aq5N7fTa+FxMN5VMin0jMoiwdlytvbF90GT+Oltm8pGr2E9SC
n4rsRlEKyNhIAJfkwZo7NdShBYte/dlK5apJMGm0SxDoYK1T0fyUJvZLTCGK69QkMHjGQKilySLg
LVKmVKsdJ384RMpNxFF6n3pc83RNAfY7yPS29hpvP6P7JyqF2ZmEwI9X99c0hUHCDVfZDqgMDv2Y
WU9UMdqt55bxa0eJ/E0oCw0W5ZIHiam3NzbGjNhmK8ubEnUyGLHECFHvuMdhUbw9PIOqCjS9HqjF
UojeUl9Ubqiq5iNk117VfMWhc2GjFYv5e6hjOOhOWo63WWr0d5HVKGAmF9dlQQGlgB3V9sC5Ivxj
k43WC7LpbaLX2k1FfDvKXZkpWGTtUwDU7kZ0WWR9LdTCxufRGqJmp9SzchR2lOySyUOkhLwYYUdK
3LEQet/TXUIDAJxQJ4h7XIY8aoFcupXu0GHXBiUBLCoS/1i7cnVgKUGXRzGGFfQw4FVRmdqGl6Xh
MDU4URUOpD1IbRBYvPTsozgIZDpXUDNX7P1iuLAB5kiMyOyXFjy4oFMg9umxnedNnJv2dswINkaN
zZvglMZ3/OXNW0fWOS5kqZ0cFlzCXUDrdLnMjdNce33uPVd0vD22hg3ELHMqPJ0A2zKjs8KkTF5O
lXMrulahXoUrow8/Ktr3RL3+0MTlsY8WHr53s/qB1FE+u+HYKmN652qKZUOWb5fl2TKTJNvMk6Vw
c6SvYSWFJ4dCck3bmIqYv8qyio2tbbKWmmxew861xyFV6/Y6WpAKh44jHBnRE+Eo2g9qbZit43KS
4txSOTicGXvgpSrQc0uTWn1UBqOMtE3i8qIOokRDcZOOE40eXkMSO1DTRYPQJ53JaWjt6eR4yBfH
np7SngrjLy5usfMrAdwZDGNb4nBnCXt6LZJlvOk6c9kjzi56YjASpFPjJnt9qWztUZp9I+D099q1
oDbAzpRMct6VcAnFzupc8PWjSWTtwydc97O6dI8puqvaB3LTY/4xTeD6K/4WIYEXFRFIP5tvYS+0
2totBsLAtJSlCYYss75DIzDpmOi8rr8SU2mVW3WZxaGxMMMJDDkN1q6IBLHejC2b5le96tzVk2vh
xuJpyiPeQcavsvb67wht9AcaO9pfVUeEknsA/bqmjnHZmNurWh2qb7WmYcY1ZZaOdkmdVT3oPQGI
uoBpHZZWXXa7Ul/kY5xgSzGkInpIKT3GG1hcdkIXV9Rs0Xbrh5L22sCScfKa5Gl7TZvK/EADXROa
6ujMfsw2MPj2Irg/ZJH2q7OFd7D+h73z2I0cy9b1q1z0nAV6c4EzuMHwIe+VE0JKKem92+TTn4/Z
fauUrAwFSuMuNGpQnUkyyG3W/tdvOqLQisawb0qCD8/VpjWu6RyQvoc+RdnTD2irlZkazmPTR8Z1
ORnrcNyO4t5N4JkAyZf1AKCBTn9vpmkxff0+AggJDdLr6BC5YspYQYScLsrAondNNpilrwWeN4/C
CJofcmUz1nsPP4tQC7LbDOLyZRZWElkTg3pIdZ/zgnKGTQRolxVTQ6S47UCjJrWH8SFrMDgTX72N
WS6faBkV+0jJ/VuvqahH9L52gLA6UDaDYvwixRD4qW4Hdu809CJnidjbfyEANdh0mA2uoromM4Qk
BzICOyV9iMgyA170JXxScEy5GDWlelf87JJxlKB4KaIfEi5+DNQeS4SNSnBXB75UmmvTDi/kRAYc
zVhfKNr9or2JylTpF1rt688antf4YE+mqWckiZmPCnb8K/AOWliFRjO5TRWOb6Ouwo3NWwu8ojTI
IYdRFvT3YK39gDGm3G0VsphJC9ApkvVLzcR7R0k0fVPIGuG8Wtsm9NDregv8pu3IHDauKsWefMG1
fKeN34Lqpq+gjHj0gM9APAfLErdWp4X7klm418yRZEqrmTwsiCxZpqSvvSvxSIkjFG/Yq2QtX/m+
rd/2WsYBYUo+wkCnvhNyMLAHahreOq0hzpPW1zm2FjdjrBPXZpSE/TSafTA6zle87+ZaY4Wh7MBm
vhd3WgwyoAItbBOnVGmS4qDtB0a9MDFB4nhTEMUQawq4i11160SLyA/TCK4z+wy/eMMDSW0u2j44
Jz58i7vHhmlFMAZUpnIwbtEFLvp8IwnnIFL/LSN2roYpLFHawKbZpc6AbzbGQqpH2TGxGLyxPett
TMrzEMOxQs9VBifp5rYF0KzkVXdO58rb6+geOfzE2puZkmAS+VpAYy3vzYc4YXXSlFWnXmHbHj6Z
dXQY7LJ6Ffjzn6eD0H70FA44cetydyiJy3tK8mF4T3QteUY7r++xxMOwLqhWFcnrWMUT41JtuwDP
HgKepJo8uiLOxIbxmQa7DiXQU2Jl0ZvWGMFlHI/ad7pqOKmXhK+srFhP7iHfKM9m7hQXsL00snwi
iJt+VUL1tCSxC4K4vVNGJYtQDzvd5UBS/XVvNR5wu4wrRlSR5qPi7LPmD21aTBq2stDNt0JJrLOA
CklZ9WrcvVQNKYBR35SXWpZMzs6GvAlHnP1qnLg3GSl+kpZdI7tjnHgHmvHjImnQmaOODp4GAqU2
BHerriO3xF/ll9hsTynVoYmozfcXHi3ZnexpMO/rfSmPZOokVGuRM01JETbrYCzPuz7FbiorbSwu
/QNwVuTaGlJ5PcEJvfPBdsfWMR/6UaxEpm0LVQreGsuISC2rD40I45VHwgdecKa+xBSV2EnJOrMc
kHrfcG5TqeYwi//Fth7YgxQYkYSKrSzcbhZJ7t2jYI02sJyjs1xJ5YUoGkT6RI5dEbH3LMLqPerE
ktwNziplxCEry/YtEDzhFSJfxoq/75r0QUok/ANL7cWCoE/QXCStzZayoGw3OGl6u8ImxQIo/V4x
GfhV51mXbRaBtEhptQbLWg1tQ0ln46ELsFtdEmN1S/BfEYM6FgTDWN6ramcHmhAIlZpxI+fSc1mA
XOZCLPSUYewU8DMlukJNq1kr8nAjErkyDlrbIiO9Ymi6a+T05UKHMEr7KLVWrd09Cj+umMfGBaBN
9ED5GW9yzGVXLO8b7LvjhfDrmMsMN7ZGlg1Wgn4SIOPtnHwFHXjY5lpn7LBHIxQGkHc7ZFX3TLJN
SmldAVZovnSVGE+GnW/qttr7QLqkRnG40czhWokdslrwNG8Hzd82EP/hasVweOWqsVyBGesyTmzq
X1291BD7W7CeiD9gLuU2sRcT2wp3f7v/bo+9AeAhrzleFztSiwgFAi/srVi5SYJm1cgWvmF+J1aS
Uq7ownwbbIJgyrigYmqbRz0GMi+dcu31Kj003SDBxq4YHtRhbgMV08VhgRmoiF1NCunPTMgoCKvr
vmfExIm4oJXQsNYRq5qkbXKWVnFxC3/t3HFqZddK6V2tDGeqL96EsPZlUR7s0TqLiujB+Qn19c0t
Fby8SPM0uS4US7z5AHdqFFTYTNnStyiMrUtTjkmuElW7Zd1tV0aSJAcbQ2KKD34MHLTx2lTj16Yl
Dc5jpgV0FZcOMvmFTQw4/Rz/Iq2Cex3wXo7yFNweShVeRGjs3bGOr2kNblObWKEgSlzoDexOPeWX
lpIPVK1qqSVKr1kVInoisp6EU6IdtGrIrqMaDXIuOvsGRTYp9h4rHdWSnBycxqesEKp+JzgJuAnO
Xqsejg3KuGwNewjAje7KpsM18oxE9L0KiOd2cn9Re3X7AB0xuPSkem2o5KMo2Qjk1tjCbQv69EqH
A33g2C9lSTsRBtugnve9AqpTd95OznUAMaL6EvnbMJbKNiMQ1g4dFSCw3/Sar5CmqN21LCXkRIhq
T9u/eRUR0VsmNG0GRXajhT7u9eOZrZg3Uq28qpq/SVgScQpw+aJ7rcFu2rnFyptYjJCgqV4l2lY6
+LG+UzPqcyf/VpDKEGbdgbxrtMTwYJd6ATWsHoETiwI/Ry7qQlSNwcbl7xosziLh10RR+YbU76ao
4gPi6sskqJZDBJMOaN/ccFoatmZAph0p9A8D4CPKV+2+TYk5A8jL4j5ZtOlPWJCJIAK1fhCkRD0K
gpbjkm4LJjYo2vpBhT83GgerKp8jPzjoeUSTgM726JaNaNeWIN6DfTl0Zbl/smrrEfbFLcfZ5J6f
ky5qtAZuYe96KO+xDmIsCLlvI/9MM/Z9UBwiAKSrvpXDNazOyyh8UwlGDqGwg8vANV9bWYb4oBqf
w04Vr1UljMsuxDcx9HuyhHC9FkuBeAEkPSwdz5WYgnCWJEDSBSwd5zolOZgyGOLkg88RRDrQGZcu
tcHOnkm4MF7kCXNLeEqTPzTNJ7uQK8mlbqvqFZ4tJVR0bOeXagY3mHUxqVu6KMrGUHtQZ6/uLnG4
sJd2Ecjn8MHicVlZNKL0RB6/WwElBnhM+k4x6tM/jMiBsxKCvGzsOf2Dr9G0BAx+l8ldq6mDwibv
NyqFGZErZvSstf3Qn3u6NgBu1lEl0TgUCoGJzX9c4/5LAvnXpC0+noXgvqSv+Vv48pH/Mf2Nf9M/
UFn/Qf2EBRdOspA8oJP8OwtBkYk1gHABS8eAfKVP/rL/n/yh/4HYFfYOvJCfNkIfuB+o2CCLwINk
1Zr4e/+I+zGRNz8QrdCygrbBIQXwpM3KQ/7KE3LKOiWejCywzDDqg0ASsXSspFpxhkzXaPqrC+ok
krzINid4LKVFZCfBw4eXdfXvu32ME5grY6eHgOLCzzHw+Z/Il78+RGYXYSNF025H3FGvUZ67UkpR
uUKBZbVuESbyDZyQ7pWsV9zlCT2Ut2lnpzkYMyHaaWycNGjXZ5QYbMh1ebJoxHZ9YkoaM26cY/ho
gWwEDHlhJRSmES4z+IYKlYCyoEyfBHGiV0DhVAVSAmsmbgNbmU4IsPGFrlbFbnAwN3U7RbX6dSxN
leHQZ4b+0hul/wO5LJ6qapR6KCca3yo2lllJMKUhEjwlQ96eVarffqc7RSZTphesGg3z3N428AFu
hJqryVZp8Is517xYdK7UaA4tKsk+I07pHdlh8EPDvj1bTAPJuMZe2PNXYSK0YIm2sRerwbYlc49o
A1Y8AXFltA2V0r6gdxfR3OoVhc2U9c4/KD44PZWa6LI1bdyWgBZ7zNmPRqko9zFkjDfL9oyYwjFw
+EnVUIcrIFjQcryStXLptIXfLwJPUgAshZOVIH1NAk5S54QdN0PcvyWlOqWkW+Wzr+VkBausbh47
RgqKGaQGFHgibtuz1EtpKhdm5y2d2lEi14Dm9q3hotYiJiSvXPSVGjkLieMhugHcxJyN0kIboWyV
i50KOonrq64OAhWMLV4kI6WNFk2qqJVNIObU/BTsY1koWQSfCx3OU8qcFiQhtNXrWHcA6qPSVOE2
Nm1RYMyspMWqLiz4EHAv9B3A1AgNpjQgIjj0I1OXjUi9tLx2ePdCrdHhwAj5MatQey+AzCR94jKx
gVdSnp710KGe+2qkXxx3XXWm66QDhXZm0jdCu/6Q1V7QrEm2wjrNQ69X6al+MUhJlCwnGPReh9fL
9u5UtNMME70VOKBFZKsjp2jvkLWxF+kkOayzpO9XeahEvH80eQdVb2QPWicl4aHzUmG4OR+aoCm6
fwjBmlSt3Eoo4yvNXgKZ21FQOZBRRE4ZASsQRAOrv+Mww2RwZE/aGGY3VBu1QzlDulGdMa7Jr7xj
NUM+4Hhkgi2o+UhMw7mXohx6AMfaOwLOffUsHDIaJVUSaygNKnPwqLJqqz3YRdbry7yP2OUaqaho
IZQivmjTtFIAWcfmtjBF0FPimBwZab0OP1q9Gs9GLGaTJU4CHENgPuX5zjRwWlni70vulSxxYgef
b41uUUpDddZgRmtcC5zAhoUuUvo+CkmrbOgiNx7tgHp3kIOHAnthK+rfWcQp1jmLr1qjaAio7gA2
VTeyyOS1nddiMDqQlRHrglz93niea1L/kZ12HltVP8kzMv4yOb6D+GGZHMjUmga+MDmoVQ4qpzwD
lOqhTBnMqZCYTN9J3+RCnJe00nxe0GCE+7Gp11llnRcKxwwW/6WZimur6QgTbkhPVO5ytvyBWKxM
l12eg+RRPV5rsGeUHEIDFAIg/RBezJ3sTFwfrKCovUUQEyouxn1e9CZTwjMJN+5Mf6n0ufKjCXXx
ZMvlgZRQF5JisDXyfd7WfLhuchaTVn231BuLU3QQnTlmv6+sSF9qGWF0C9gKd7YPhdcxSKBzCJ9z
+sm52SIzHoj50ZZba0VUQ0EQF/2gsjooHYiNUQXXQSfdII/DV55QyGZ0rvFzrldZOICQpwO8KyG+
gRO8h5FdXCs5lXgwGNSS8XkpJ5dWCohT9k28IYo2dkVdeG6exeMh0/XLTH0y+uQqmAxn8ymnVZHf
Rv9HqSr4RulZTcFk70uhiWKRqVF0CKy2JiWPwRf3afigOMW9VxgXTk3UKspEqlPSSVp90ko6ONgu
VbNOF0UgVnWT9jtDQ6tZ1ewbaV1e10F671XatVFne9+qXjrR7FGDFT+wV41XiheOz54satfUQ3VF
0wJ5II4kJGWVyUYzUmdV+dpN2tLU1UwYSd1wW5Pjt0w8+04S6npIC22Db3B+qznQyXN0/JixEZGW
x+sQAo6sFT98qt+lpQ83eoEEfoiFWygeAywry0VZaO3OEcNlLQmYcRasJseBgTg+9gTvTeUCYJ9x
hnXIA0DhLVa3PAgD2RYjAs3UN8h2jpuXcQwvzAJGlk5yfTB8t6s3JUCAUFfnpPOiLyuGTe05+Znt
EbW9xXDVYTGryyepVw5RrsJyC/StU3iXtdpak4J/7F6HIYRYQGqja9Yyh4VgQwvoonXy4Zug67xK
AD/PshYSYCZ31YMHMKi350rTuj5Cy0WuGGAAEw8PXRYnpUyWFpKkPHZ++ewI/4z4afxbLVgZ5lmh
+WdJYkGrpLOLP9YKsfU+VpVFYYHhyuKsJphyNWaTcHHMUK+OwTpyMvo4YRttSUS9L+OEw6d/ObR+
tB9150kRWrkJ1Yo2v+5P1v5xXZB87ZTXZDBW702hT4GZYZOdRV6+NhQEhSxhG9pE95O1+jm6nTNV
IxfJkov7QItGt9FQkNONcP1wBPkNu3BT5sTPQp+ibdIDMgSjBHHWJxAcrB9dnBiwlra95E4iYLqI
/Cd6grusCJ9TFfSws4nHMzuTdrVSsrsbKXgjaaJol1v1Wsj1lY3zGfJaWSq0LQurtmkndmP14JiR
i5AU3g0+JqtKgb2iZumiCp0NO8qCeIidHNGg6r2HARuLXVvWW810hkMn1fcEPOAqT9JuLegBg3Mv
yD0qrirLIxGkHw8ETiJCwk6zLqhNFyH7Pa3n88iT8/iQpiTklnjCK1aUrGsz3PsVfBwfL/W3wfIP
bUVPVhv7jTy22bLXbR9q7j4HCg3dIrDSDbGiAfm7MkDElHJ0rg4pe5LRE51XwZtblb4XrvXaVL7z
Ay9NMj42RCuM7OXGfQaridIFYi1qlAX6eVXGWlXs0bRtzElLHZvZYSjkvRLVykGY0iXlmPWoxsO7
2leHqmy9Dc5G555v2Vcih3xV9uMZy292FRpF+d2Z4D2REJadGAV9wWyNb6Rr19VDTZzZiJAdlbLj
nGEgs9GoQ928a7dsXjSzHMOl9V4DkIJ0GdmPKf1YWE+y3p1hr0RRlBQ5BDeqNH+pAdYFLRrMrN8p
SBX1GAgsVYeXSMrjK8NPr4qwjtRlVUDH8Q2UEpH8Nij9Sve/m01wZkXBqk/bvZlXDxnblwtThADp
7G0w0mHTKPqmdyakORv3dapcFiQFP2E0wHZENUPDrj7IICZuOtDpSQP/pdXtkWUfALAxhgNMZmNf
x/ZhkH0C59nNyVO6x97YuEUyPMnU8rp4SETZ4KhZCtB6sqqid6nG/RDqQeJF6yYNo+u+GgLaF6nk
BW7qRw17dKxpG7IcKGWTvIwql67E1DArpPIOCzL7OQIafDby2Kc7LNf2ZdX00o+IiO1uK6M0XKtO
2DSLllO3taDeiXU3qyND7EiPBz+1E2IUyJa0INIYcZ0kCzOvxyc7K9In2xQcA5DaPvtot9cAZ8mr
2cjJe5aMAokW0cdF0WLF0AN9nWk9TQ4Xe139XC6w43TjIiyI9aWzydLYZWR7V7I9xRUgwXzxHdSO
3N2LM7qcUGzjRoJPE441/hZh7AyQULW+2GVkLqC6wV05cBPafB6aqob4cV5tcZ5ZWcJ8sQKo4STA
W0hYirq8jdPGrNaWDti5Lj1RvuhilL9HMndge7XCR3rmdu+aduXEnDVSeZdFUnw5dE4F/b0ihbJV
kkS6SB0ba7XG5sS8GdtG3BaF7Nx3jfDJGvNky1V9LVanXgl0YGCuLkCxK/GDjBFhJ5AQHHwq2FC4
sQ8+s6Cz2XeoFn0ZkLq1S040mEJcOfEAH5TJ4qtuHUv2dQjJnhLKy8FtBgwYigWsWdYMSqQMChlJ
EIs8iBjLjRaMj3ru9cVG9hTpXcmKCplgFrTXQySUeFlTBNIGhS0UwYJLIaQohRAgqZEE2SEMhHQL
P+3VC7T0bHIHW7a9vhN2KpmrAiNA4OsyeGOmt8Cd1AEegUGlP7q0RaPXNmVddMvU7DfN4KfvMC4m
CWEv2vaCMwnpQmGapqA/ozERTJQ+JuQ1VqRoWzYZHIlQjfsItzzC05c04IYLrfU6vMgy0KF1HFe6
skophl9Lx2hrN66GSLosIi15yFQPyFEpoWItgC49dWWi1vApNdoiIAzXdNKtp5jec9pLzmKs+zBb
wAehIxPrlNhuH45ttQ6DMnyNcdUIl3buBWDqxBybC7nXOTTknm08gcQF1opGbE6audp253UCmWMZ
+IEpL/pGTvFU8hQ7hKXZtuOTIUN7Mcusk5dJ5k+4LEyEZOEEdtpsca0U5TKlXLqTwyK4LWnRQvPp
jeeggJjiSl2edjtf8/D56au2fKfjjV2TVKfet0pD/e8Oil/9SKzeD+Ag5923kJRDc4l0NHlmhYqa
lczxxnHjRNbZywJBddIZdvm9o8/z7ieIdt1K61n3HOTN7EbowtHNSxWMyw5mUQj70PerhR+E5Ys/
xMOd01SDDBO2hPVi+OT0XuGgyyF4FLRGJPzJriu7a6B4WT2ZUVZd1x2dFrN8MCKz6te2FcW07IzY
ccuycw5GMA7k7SYdcbwtIrpn7j/SU+wbCtjP8ZtJS/YRQ5oSg2xsQgnow86DLvWv8I2mSnIXN229
NRLV2+Um2gcPaGvD2uQvP7/VTDsHGsOt0BRNUVM6qraZLrBH596quVlvI/7I0lCa2LVUzJz+6V0M
RScyCFDKUmV1LtCNeklRJ6cZzGQ18rPVSiC+YIX5/C4zjSO/BQEwbQoH5MuSUTb/+tokDfeLypaK
7YSOLWqSJekY5kZ7Neqhfh9yfLhDSyZOuOX+/Q2ibETKzT0ng9d51l5CsZA20Ee3o8mxTsYtN57o
1xO4+ScA+htM73e3IdwQpzvATc36qTj7YHGUD7bT0pfJtmGQ0mRWs+ic1n98wrjvN6+QJEOGA1Y9
loHMePYKYzWwrU6FhG4H/Tpz0uHO9JRuN0QEhlZeoCxkyYv/mdp4+m5T2B5yOQ1ZHmSLX2/q2GXO
xjrUWxVh+rKidIZ9rUPP6PVm9flbnASnv84sgwBQVUX9h7sjvqe/3sqIdI/zy3QWwojg3Ywj8Ccd
zmRAn9KRrjuzDShks6BeD2qKSPjzu//9GxKuhv4YceCUlTL3qFXCtmuIIa+38piE+8gRYCHh0J4w
RPvtXfAyQHWI5xYj89ffiGuerJYlrJShwnzNHsxn34n/oUXttG6Y/KPqRHnAa5z/FJ9zUhuFGeuG
yDi6A6U+2nD6/vHIYNUAlkeEjscQbpy//pSmhoRmaWgiYAeAeqSNcdmmSKXNNoy3n3+bv2Hm/CIs
87BD0xgirLzar/cKrbiQszKotwqn0J5kgxxkKOqhcdtm0dxKcP2QIli5eR8MGic3ARb1puFdg+qS
80bpxhZuVyeWtL+PV74hrQwNg1mOanOLyzFqGg1z5nrLlvdqD+0q6ZDlmfb3wfTfEcL+DAs/sdL8
NDH+dZJwU3wsdfYU3NsQw/6iYldpshVGCwMGrxp5rfvFeK6noturqhfsRVSr11Vtxys1R30TBwE5
4mhPD0UQ0OnX8EyzdY4AoVX2F4mVg9jjcCFPJVa/Lm0tPjGjpyHw68PytTB9oO3C77bl2aIvErAq
o2ZGoxDplqYHfSztKzOGP+YVtPB1ktg/HynTFX+9I4aRqqriFEK8tvyz0fFhJTaodFQjRDiQNRlM
cTxY1oohF9uBP/3vqfzf/t+/FJll68/9728i8G2e+f/nMP3r9v/dfOwC/vx7/2kDKvofOusPvST8
VFCcqH/2ARXtD6xcaAASbIzhgcon/E8fUFX/IJSNj8Yex16t6vylOm+b4H/+xf+FWeGUX+VQoUx/
7580An8dJeiApomLM+20On8YHbIfpH1QdfLBNyj6Ib5niQtR4cPL+E0xcOziszWKMjrNSoiJBwy9
FmZbk/nn7zpHXX1++V93kL+enXfz8dk7qxksbFvkg4NKHZjVk08Faf26nv115Vnzz5bRsLZBKx84
fa0SVSw6US+iMd8M4lzFRD3s3r/2E2YbPHB4qUIolA+Vfa5U6JROmfccefXzuN4cwzQ8unT50KrS
xIrhozpQmcYTO96RV29PL+7DsAkhx0t9Ob0gsTSLe6s4sahPk+HDqvXnm7dni7kUhd4gF4VyUIjc
0jV/7/g5ELK07q18a8TdZcvZ38DUTxP+Fr3/FYwSF5doegnFmXCMSx8ChJTYB7tsziP6n6q8NwmX
Xoi+OLEF/1p8/vWIs10+LwwMSHJZPggjeho8GcEzTdX4h6One8XoNl8aGfPTgZJ0SuNBJT8o2Tet
ilAUnJg1x0bGbMb7mUTboWbGW/IDbi5wxtepff75Qx+ZN3MjbV/kojFlHjpttRUUZgsZc6TAYLmU
K3Xr5Sd+wk8f+b/2tr8+wWzm+7QNrRzN38HQ3k1RH8qELjwtsiHpgdW8FMN1e6/l1pKc6n0uG2tf
aaEJZKuB47Fvwwwb5CWC1SWG5sDVQO7WeImT6bJCOxEY/jr1pVWoZ+DJOAtOrsFeX20R4LrQoFZd
Ia0RxyxGXdpU5CpoHWYCFcSnx6KFZSqMA1t5RptSosNpdMEFmuvLFn9KSPprGvdwBcRFDxHLt1Gb
Gfscfk9S0ufxG+i41YaFZ4lMdlfLOQBVfyG13zr8eMzqLVdl/AHwLkPv51lvYoyWlofHn5VCt76J
6LY0WnX9+bc8Nk5ma2AGxT+wx0g+DNltWX2joFXyUwExP0+bv/uAs3UvwmUU7iJzyEQomeIEomMY
gY8/JgZ1tBX4RTT1ytevQszjWjVYFxk0qYFmchgcCkFvn9RnO5HutAoHWWQZsZPtcShNlxL89aHt
Tgy0X8kgf46zvxlH137ZFhXjueswHVOfYno51fCNU5CbV0/jaANxncrs+Mks+c07+Vv2eVWLUZEa
+aDZ3uPAWai2r8wan1NZW4yOtBuSdyWymFrGZWPSQGnwJvRN66CFDY0HRMzYeiat/OgnyFeCPFj4
DPhKMQ4FVFxbg1OQFFuLyEnCFRH7jW6u2tD/9g6QOA0sg7EVtNKZgizUKH4oXKTqelcx8YmMS/gV
qMtTZA2CHpNpY1Z52ysPeX6OTeTC9O7s+D1X6kUKQvX5+DuyxczLeg/RP1EGvHt6fWiYsXE9laej
Hrv0fAVXwNNRL/BZaU0GQYKEXF0gWQoqfqeyEpLkKhX7fubKyjd72NLAAg/Ul2o7uFXgoJt5RDHI
fyKnXiaeO8SFBNKrYqLvoFP1td8/zcsPW6yJZ0lpTe2wsBm2vs5uJn3//MpHNrB5FKkTRq1XZCpb
S3AGYY3+CeTpt7TcKqlyoj44snhYs8qvwF4mJB9ahifJjv3Q9S+a9P750x/7eLO1P8bnIK4HxoVD
uAYtJePEhnvsrczWuyIpsqhQuK7JMgLJH6ssge50ZzfBVq9uP3/4Y+9ltu6ZSVZ3Ss1Neu8qNy+i
8rsZ/SOA78+1ypyZ4OVmb465P8gHCLwoFxpj+fkj69ML+M26NHdFh6sOVa0T8qFQaJJF1QYu7Ir4
BoxRHQzz7Z0VPqMNozcMaIm6y3OjXL/D44w2nu+GUr1UdAh94Kd46G67Llw7tbEnoXtpqBUOIPQb
x3IjpT0keQW/MnMXtld1iEWBdaFyHK7TlxqluzTsGsMtmmIX+isO+oX/iC/qiZruyKCaI77IQUWK
VoCiCK2ZVsK+kb545dlaYxZDXYW4/HJIuSG4RMMp+fPvcmS8mrP1oQg84sYVczxMnq99H6/lLlgF
5rXwbBq5/yx64q9RNb2wD6sQfdZRUr2YpTLYSJgK6ycmwrGnny0QLc1XZhwFQBziYeyfjdHjOODa
OylhT6FSxz7qbKXQ9bwxsB8aD4n/fVKKlpn7+as/duH5UhHR9FZTduoqQLwNPebEJz2yOszhXrwG
gbc8dTyYsEBMBYOvLLiU/BNr8pGnNmYLBDhihd8RryNtwmXTrTXceD9/H0ee25iOAx8GiY9vUS7H
znjIvdu6llBUU4XTd/r86keGyrznAznHR0xXUew7CT1d5IRXAUQNrOcRPb59fo9jv2A2S8NBS1sL
AenBqLaNfm/F2Nw3p+KEj7342UwNEe+3Q8tMhc5XMkdPnfGPXXf67x9eezB2Kbm9XLd9SSJXP1Ue
HbvsbGoWjS0hgjDGAyzrYFh5p2K7jl13Nh3xnEb9kvC4qAAXvXJbmyd2vmMfbzYdJbUA/50u7PuX
nXytcAbTTqSaHnvm2X6dtEPYdz3vIit2Ek5S+c3n4+3IdeegrOrUkRRNn87hXDNu8ZP/2nXnMxHG
FMZK0/MGG+smb1dfu+w0NT+MNNXhHFJi+M9qfQ7TrjsVonnsNcymXVxSJFY11039a6F9K/v3rz3v
bMYhqwo9MtxY+a0XEZ8H0Hi+duHph3x4Efi0ljoN/vFAs033sRDcfO26szmHScXoJZ2OQ515q463
zakD7JG1c4KPPz4vluVDZjW8iKi4NuMGCwBIML2P+tneicz64luZTUC/CTza1dwFoRhM430u/BNr
/7EBMpt/OJKU3Yhe7TASfzHsxCnn6CPXnbenU8Ia+J/GgE62ueFGztcmytzbt5UKYkV0rjtwaCDA
xv9aFTm3e9dIH4AvwHrRp/tMx4X+xNJ57D3MJmDf4Ps6lo44YBxqZNtBOjEijgAn2mwCIjwhfS3n
PYzOS1/90EmpHWAVoXRbOtWd7pfrsLn60tTRZlMyVirF6ypr5JwMlIROPXv9/MLTs/7m3KPN5mRa
9oUFAXeEiBhyzsf8amAbMNafX/3Ym5/NzDj1nERGS3hAf+EqE6H429cuPJuMkQabG9+M8dBh1mFt
vfaLDzybik0G18oTNsWpZZNRdRl+8YHn7u0DMXRItbmwXlxp6a5tT3iJH3nD6mwvrDR671bA98sC
8ukREg3RidF9ZGQgwftlVa10v9acafVw9IrgRizR1KvMP7Wazhrbf5651NmklC21x7qHXVGJvtVD
cBU4CWZH64FUD3R8K8e4n6jYZVy7vpQtBtxhfLTnygZrZeI5XGWQsV31T/zWn1ya30yDqTn5cQsJ
2zCXtIqnqTvLxdF3ocMyxZS4bfCsZGY0EVHJ1g2a7K+t+T9Ruw97bJeH3AG/G9wZgisELZf/LCLy
r/c6m9CkDBlBkfBLrHYTKVBRvcsgOmWqf2xMzOZzg3Vg2E6jDX9Xt0zitS3fhpJ64iv8jKH43VeY
zeoEMlJVV6o4qNiKSp3A7sFfZ5A+g/ybV4dLLPgnm9a9OrQHEprR2ETLQgsht6OWKqwFsbHrXAkv
8kxaJtC5Y0vG86878XjHptpsbRhNpUYbyhQO5BJIaCeGU4e/I1eep9WLkbgqihVWncFVSIWyTqxm
Rz7XPBlbH3Nk/zHXDZW9yLGqMDEXDP4jiP4u/q//nv+m8f1zJfjN55oTYeCNY3U9rWl9jakpIoR4
cGVkdVPGJPHLGxFpP5zoUe5wIOxeM+tOVzcGhHEjM5dZ+Zb0+qHT10PxqOMADWcX6n28KVRzGY0G
CjdtV9QPhnTz+Y4xrSu/e9jZegPjHpVNnw6HAjYsIUF1X+Cr1GDtp31tSv9MV/4wpWn3IO7Q5OGQ
6/kiSn4MzdfW+HmSYmIQIBaSq3sgjnngYPLFo/WcXTUq8PuHAtQO8vKkRV4MZvW1Uv8nsevDuwix
vFZExNse8oOB30l34isemymzFUJDyFRVrcICZJl0FntcG78IpM1plvi9w0bD9uKAz9WIl/Hj5+Pu
yBPLM0DK6XSpNhPUHCP2p1d+tfraZWf7PlafyUA48HDoYe9ffPmys03fiUhIi5E3HLq7Mexei6T+
/vnzHlmK5nE8hVH4TdXQaO2qLZ7KAoa7pyVfOzjM+WZthPla0IvhICUuPcPqa0XmxI76X87OYzly
JNmiXwQzaLEFkEBqJrXYwFisIrTW+Pp3st6mOofCjItqm56pAcFAhIeHx/V7/k0KhpnUuCx47BTT
WGDXP3zbyx066EI+H49V9tpNMv0s+lxCiEZRiCv6v8jeoxNGDC+ZQF/3N9/uvMN9EDvFi1XX6Fil
/111QYuF5vBssTVrHR4xgacvG/ip2GGG1yItW0Kj2RqedzMyxMj804Ka6KAVpcGtIFS4ju4s85qJ
68xccMh3afOoI/PFSgmsw2zP2OHGS72ZkmlVJG9jg82sNANPXWv9TTdudXON+VeQmMAHMTTJJNqs
G9WZa4W2uFXe0RS6YPkjQneIJPzG7xvx6esR+GwRX2z9HXJy+hLGeacaTqs7QeN+/dy/ofZ/Rxar
yv9OMcOK43oO8XYL0dXoxi3oA4eeXC8fnwKB9sjfWfZHyG/r8VEbXkLSn69/7se/j3mJuI8msQsK
jAJ2prAqirU6fyNZ/+y5F+EjjUeRlmaBisPrUKJ1/tFuQmvE5ShNaRjQorRL3+nA7odv0qOPUwIO
G/99LDueNNM6Qg6ePOokc9lyo+tvwfizy33zUnYInyFEc85rl8EDXUCx+k094zyaH02aiwCiq1Wh
Y/MzcbVdYLAT8Afzh+RGK54HnON+NkXk/w6OlXUKGThFQFpaQyAw1TdT/uONAAb1f59bG2I7NOr5
W+Y+TBEbGqiDnPmHE/tioaaz2ed6yluXCDhKnJQ2X4/G33rIB2N+KTWkQwFNWdeT3IHlCJVred6G
ODUE850Y3UeIsRZ1dMVB87IyOcUS1nPSUbIEOsKwVG7rtRY1a02dtwUXl0qYruqqd8XSuMbU1hUE
Til4XhZ/+mrd4FAgRQBuWsAKWKjDZ8/oU//61wDD/vHcudQ0qoM0mDjeUIxudXcJx1Vf4V/FnfNY
/04CCV+/FP9ohevh3IlEc5VroJqnyE2nzXA2+u+NzUS23+LNXI1I0grXVHtP0LN1ysbe6CtZXBDz
hKjUcEJAulXJxV4v9hPwhrIkYKfZypLuJ/W3IuMRmj4ZlXCrSgOeZPlVmf4SuwcDw792KrFv1Wxd
0D2loK19AJOrvlXxPooEFC3YN5enKHrMEs9U64MEXRUOiW1qm0JkTSzXA02nbUfru4Vbg0a/gHmv
VLnbTK8ZQORBfM4KGiPFjqt44NE4fwhgxCajxedBsMP8ftFORik7WLf6WpqANgb3lK0W8T6YTZpo
VczNtaNuPpjKPi3h2c6Wa4EvNUZfCEwcysWTmegOjc+rRpboB30XdQBEyYvSpacW3LhStz+LuZd8
u0UNwrLWzrcsisMN2VB+N1fOK/KDKW9crCUulU1aA8m1q+quNPfm73KP8SqeL/HiVdI6TDdB+c3y
+mRWXso6Yi2kuVDjJBlk26EPbHxZ9frbm8lP4uWltmOQzl7cJr+ICO1Cb17BL8Tze6bsq+wuKzdW
vwmUazy0Hct4a8NbvEC2WXsrpN7Z4gEPX2fAuFvDIsJSDxya1qDGb8W+X0cSpQeIEWZV2YF504SY
xjceLoK4NOheLoN7QFEtWCv8+3w0aCPyun4l4w0k45+kytsoeYiN6yL0OwPjwO90h59swpcyj041
JrxTRSYEXGH4ORhVfh09PnvwxTYcZE3c0DVI7LCceD41w93Xz/3k61/KoZcInnd9LqyY7T5p6GZZ
C9M3Wt1zHvXBHL7s2kQeXmtzzlYJ0AKp4O+aLuuik+wiSryBiD3r9XY042/2tk8Siks5cwA0Fhrn
jFNvcNLauyY9qDiVdMM3v8xnjz9/l38O1aYEBmAo2YMCnAsbbG2r+QVDd0enF/7rL/HJSrmUNrf9
IKb9OWMRi52KjYVlboJ2y9TV029+h0/mkHmRVshFJ/RZxwbNUU3pvWxcff3mnz33Iq2QsjhT0orn
AlCZIDB030TBz557EQRHjJ80RafiqaebCY8L7ZtD4Cff8n9Et1XVAHEO5x0FVddoCuTTudOqp546
2jcf85O5fym1BSsxqDACKc/VD1n9ogrHJj1b1mBYTQlMnM+C4+8Si0+G6VLHWuppLxQJJaqpKxwZ
BDpCs59FHeMi6vRzXRZq1M472B5hvEu+u238ZK6fHQv/XU1SmilzdL4VjLv2II3zpixpr+9x4Raz
rYhn2dcTUznP7A9C0KUQVS/jM8yP6GZg0SPQp6LsLToTF/G0lB2kodKvrF/dfBLQ0uP9r2BRIrZX
2oBjd73YCeb93ewFjYRxMXA5IfbxlnGmarmr6nscxfwlxrC6+JPmBwGfNyFuvBrMhG56X7//J1Ve
sLH/HadJxyLabFhZRYdnX2uDAnCSnjM2ns9F9CvJ8ZjSZTgDHRqxa3yLMv3aMH81VQNfvnaSHNXx
gjNUWu8W6moChhADxiR0ZLcRjsUP+ezmkEm+fttPtpK/vRT/hMhpwmbYgrS2U1N37NwBVNOPirAA
mP87DGYkYW9x3qQg8vRT7yb4c339zp+sHf383//zzgF4TzGqzxPEfCvKE84oXz8XL0ee8MHU0y8+
3dKJUb9YHHAbLktkjHrC5iYdX3CiaQrqZHP4EnIjkFUv15rdQIww1G1WPUjhi1LPdCQkTk2xw4CI
pMJACOf3EU9BMXnK6B8tYGgZ6TM+aW6WrdraT/D6U4UEj2hoeJ22GjBO0UMJwxIaSyaMAQVgazt8
0sT8BqKGlu+q4iAuh0zbdfOfjsZW1ZOAraW38XIS2jYGB3fXiqjPRWE+QCS4MTAIsc1GekxVXHyX
baM/z+NViJWbZr50zb7BOW54LLI6doLIWi0V8NHl3ehu1K7BzvKw6Bg0qhxQVBTvGvb5hquoYIOV
9hB1mFJ0d8Z8F1cnebyrx5ulx9gsPInF7VKA1NuIwjEt1mG+r+qrub5N1J2ubOEPQ4wKXSPaJXjN
W+NVimvM0tyn6q5SfrdQFXRpG89wi5LBNdvfuM2s4NRemXX7ONP0FOmP0Tg4rXDNq6v976+//Gff
/WKTHUJlrKGNsQoiJ+mOsfDDNXCxyQK+svISh8TdKNOMcli+C8V/b6s/mqgXu2xNMwgOKBMPFgOP
a1GsQCw3Cq7hwNqRdp9JODU9JY/Pgacte8F4FrS3AODSYm4s81GP/2hTjrdzdq0Ja/ge68i4lZLG
0zidliENdj8TRuGJebFSxQ6rUgkVRlBhX2LsxPCbpWp+vFAvtaX1EitgI/n9l0zjrt2Nan+Y7vHT
wvcFLtDPAs2lxjSuFZzw2478veb+3OV88qPppl3s0KZeFKpRnZUCKXaMbja4Xz9XO3/+D6aFdhFz
00wv/l9gg5+13SQF2OXXaPBktpRCSN1eupnCN8V4q+ct9rm48vTuWG7zAmPDBnN7+mXb3oHHZ8dY
tGPs2cxHShqZOdldjc286qrFUWiPik4H0arD9FYMslUsv8tWsi7yP4JZbfqiOJ5tODNpm04C1JDF
C2NgItV921xlAdzIA1Z3mnLUNM/StB9+qfPC/mdLsHRhlvKAM31d36TS3qCA8fWQfhIZtIsdAfKC
lKohM1jC4Oitj79JEj577EXAUTRdEfJzDUIUMFTToVjGP5xbFyEHI+ZK6CE67ZQ3IZSOZ8DS1yPx
Sabwd879M8RFP4Xi2M4oPjDZKzgpR/rdMA3fjPPfO/APpu6l9jUqIrwhNZWjoACZKzJ26kgzVSbK
VKU6L1T+mFxgBgV2l1oD0S3NSFdE/KsgonWVzNYsvGCw9ccSxJ/FbvUcev75fRek6zlNDvMu17vf
ymOkqL+/HshPvr16zq//eXA4BinG0rgVapZtBC7WVz977kVUCU05rpSG5/aks5Eb/fnZYy9iSixw
XZWk6GNk/bERtz8UJZvqeXj+GYZSyfVagKrH+NqT6fXf3n18EgTViyU7iAkOZD0v3EFCNQx8q/V7
0IZ2VezTs4Hz8F7MHCzA/dYCdNBrCplOgtWnOd0U5luUaLT1wnLTZBBOdKFkT9U83I60UXZZACPs
Psjp6JP8CWNvsSvXLaK34WmRj0t5Cms/y9a95C8Dp/XuamyfQNBufvYhLmJGImeiUlcMmPqiVNt6
/Fko+tvg9c93aOcpWXCHo8CQXoWDL7bfrJ9Pjotn5/t/v280KInUSQr3+OrVqM1Y+WKvaUUJ1zrm
2S39Z6vpUrMbYgzf04xHWMKWbzA6rzXufjTel6pdDBg1sQKyucNss29d44e3XJeqXaEMwgWDYrYU
cd8/jd/1O3wy3pcGVJOiAAI0BtTtzZ1Ob29Rckd634ersr392YBcRAKonZUuhj21wS4/9C0l2P6b
dO6TveVSravVMyY+Mu+uK891sdiysof59s3Wcg4oH+wsl4pdRStUsz0/fNFW/ey14jfP/eylL9Yj
BGEwbjE5qJY869Z7xnVKY0Srn431xTYeB1jrjzKTpKYbO3DwLv3Zcy9WJaSdJIGxN+86T53WReX/
6LGXat3JmmG89rwulNxQ2qvhz+5qLtW6eBI30N16Yh4sPXHV1z983/Mi+ifomctEJUjE41uQXJAz
WvajbjrMD//73NmgsVMxEirOfnAa7n82uOcJ+M/Lxr3WiIvOQ4d9s/rO8OOTVXGppx1BPC+Z+v9v
Stnn6zc9M0o+Wmt/nR3+edWgLTgDSNO0G7XKSVIMhZdc/zVKvVOq7TaDslYEu06XvCRTnBQTmjjn
9hP7adM8VZgh2a1e+iUnjORaQKxWFIe6eMirp0wN17hUu7G2uNB53hDLrWpMIowM64Wgd7Suheur
yNsWywMtvj9D1+k4aaBXHhWZEsoVSAG/rzRMwR+xH9vkCuXpBFO5winEBePbSEP+qmcSxCWjcybR
gBdRbYI03wxlu4V1h7/MXB0gRI5ysTU7vwtupomCyi4K120m+3Lbt7Y0yUhdtdClcOlWQXxaxnIX
C6tZH9eYD2NMPY9gJ5YNbLiNZRW+Gkr+2aCsGK07K9Y1zMxDHaZZ9rPjgHiRDJUhvHFgu1wVpW5Q
2nAbvv7SnwS/S/VULTLLJ4PTQNztW/kJujDOEz8UJVzKp6ywj6tCYXVW2u9evp3zb3b0z176Ivi1
FbBtKMZ0V8zeYEortX9qmFRfj8jHUx8Drv+u0jaHZ6WBQKQpCddrN1a/ufj4+KWNS+lRk89NNUiM
dDT4ZOJ2DmmPLOrrl5bOgel/N0fj0mexibOmw0CJfWYSIH4CLDvbtIsPTVTiVo+xeT9BjwrdPJfd
3nwX9KcK3WvaBr46DNeQiL55kc9G7yJwJmYodYlOoBfNJ6F8yH+WswBI+u9XicVYskLUDju5esCW
G0T61wP38fuaf52q/gl0Ut9OeDgSPhUvvJ9//eyhF5t+KWIjGVkxl0JeeJi/mT8ff2FTvpj0alvB
RRyieWfgm69S0146FDKCjvbvm6h/3jT/dw6Zl2p8rQuUeqxpzVAC3SuwQRK1yc3I9qG8ZvPTj8bm
UpofIytVp4QBzzb14Yd3FJeC/FTCkjM9a0Axeriv+RP+LFX+u9z+mR5CK0KPog4Pgq5b5cpNRXPF
1+PwcTjAdfa/E7rux2YS6UDedc2mn1SukJDlJ9+1KHwyrS+V8+j75Enqee+iRZRziwvyN/vQZ699
sQ/JxjJH4UR0TIyXWliuzQz7dCid34zKZ+8t/3dU8qBuR+zVQQAsV+18BFjw9Wifg/dHU/tiRQpz
OaVCwF1qYAagT7jrbGDP0EWTB6kjiKLbyDEYqJuvf9pn6tZLSX0IQVMfWm6FlchfKsvtypeJSpsm
Tv6Ytb6KtT9WkquqqSnKcivTn9LgZwHtUnav6OWILzmxJ73hyuabyPD38PnB+IkXRbQG8k5uVQSf
wgx3Ub/qUnzHTe2qoKIeZLFbz826ULVVRe405+VKBLRSCJtKRXVSFD44MnpOnnkCSAg/NR9y8Wop
t+mZ6Tk8JGa/CelKCVAQ4u/8axxe0/Y2PTsTgw0ZIIibTmP9FozvrCX/LoOPfp1zBPxnWSe5MheK
1iw7RaLWsz2TwMoqX41YoIl9sUOFo6abOb2ieyFvJaeVrmP5m7nxSZC97AdIIo2W54TTJjToPozh
q25a+TGzdqP5w3vVy66AWTP1jnmAJORhuUm9r+f0JyvzsiegaRJwFoo57bKUb2msBqDfXz8Z19rz
8v7f72FcCobVEc1NVhZkt4C6gPfI5S993Ifik9m+jagLc2UdDldpZTmF8TpEIZfuWzQkeII2UI4N
exjWUbg3qwmvssfReDT17Sg9MWNtuAK+KZVuK9DLiN2aJZ6kdm8oG4X/S38qAhT1mtMrjb+UvS8g
8Cv1Nf6u6/bMeI+2Fn8y/WZSg21lVTupeTNg2McgJoBC2sGE14r6p9TajWzcCY15LDtUlOqREvsK
U31/EitfjnGBKGN3KOebZZLdtNp2wWmUCkqPuhsUgYuNudMI68DgaKVX9H8DsleKQ2nVbngGYLWh
Q6u82yQ3OYWJfIFpgnvZEI43USV6mvBQVH8qQ+JCm3+zQK8YTmZmKzm4LcJtkMm7YIy9STktyx5h
s1PULnattiEcynI7qJITjYrTDe+zsJcjcA3SWk1CD/wcoznaMNVWNfjR8XWcTFsFTTZLyTtQpLU+
gFnqx5UgHoFEiGOyaupyDciahqpmsrE2t4dZ3ExL688ilobCnzGfTjDa3bp4r8Vt2oEEMl8gdtlh
XFLC9TTu0hL5Ma921vgnFjdt/CCXiSPmFYXGyJ2F42QOPsCVhza4SdHwN01+A7MomlnAMF04Unr4
IbgjMDWtfx/Lyi06ILyJ7IvayUqAvCvHGrKwQFiyx9mTQsvLQtHVjAYmRw5nFXiS1fHeb2lyAJbl
y6YCBt5wpKlyzXhxVeOWqhkVI7udTD+YO6ePM8fink6Wd02T2kP6x6jjo7pgn0U356gcFxwQzRZa
ioUE2nrNJh/9sYsvtL/gYW/0+YqNFDVIK7q1tVJXiXqryafWugunuyHZD9lpmL2Jf+3O/1kTznaS
YCBwlryv0iP/LPjncGf5/WqpPW5OG2vlpJGbUDfPx47aud/KDaQcXm44DuhQIu7vdBjOu1p+6uYa
VQ2BuHg35ec2fVPaF9P0h+B5Dp6l/j3jfzMkP8X6LjZy0MvCIUtWSXYIlpdAXicaOuHcCYfTlF1V
2VHONqTTjsCASlZA7zJqTDcYD3l+aOLVKN5YsWjrdLLUwjFAS5FE1Uqcr6jjeKFQr2toTW3+NCQF
+wudUmQXzUuebIq+OQTZjFHh5Ily4XU14gqaXiLBWpvFtM7VKwTBILaP2nAY9c7pOgBFtFTnr6Z2
V8yla4BDmpsegHTnytQkcMk7kCetOukqD3nhdtssEInSx6XcaN0ETnzXg9bSwxr+1LYpIIsxSYXU
gjODaloKbOt8MVt7MoHIoNcvAfOgpkiyGfIxSe2+BSAiIzBZJseUW7c2fWiedsyairL+YMUnTb0y
xFNuost2EaRzJyb1Ed4Jr0ZzLcnTPlTlmylDhaKotpA+JNRVF5ROBXe7nNPN4jbt4rXVCC72ESsM
UguB+2FUuFl/k1e/myk96aa2TbLSDpTEV5SbwMwh5jSwjzEJ4YJkahWU5hA5c43zKHDY8c6yZrtq
1RW0Tr1J6WxFf15B4wun+4xiSl82biLd4stra+poN9Z936KBYu2Zoepa0eQY5jFlBKz8FSSdHdaG
k1T5mjt+R8Dpo6eZWdH2Okr/srlXJXR5bbyeso1G37kxuPQbILRK3UaBMHYbyA993BxlrCeBriBD
jhxZqTyk9auqfQkH6i5F+9SI0y8JRZ9hCQeof5MNR/bsnemUeg7JqAcnAsRK6TYNJ6YhpQdBrJ5L
JPAQpGwRkUSfaW5lnr2bUrhfd3MNWLUPvGnu3WaJXaPQvGTetFm3g2AUhV4nUCLW/WK6XQbaUpNV
0e+y9mlUr/r6QZdp4L8WikdKqEK11Uh4+BsT3BdFeCmi65EZVAegdBDpn6lFCZL6VLmSmDFyfxuW
3MnLoacPfgR4r7xKRgpVD0l8q7JYoqLjqn4byNaOyzGnsBJXT1+mstoSrC16zgTATiUgSLL/VSXe
gKf1E3a+QblXjJulRWyZuRloyrl+LAN6Pa2Un7QZw0NZlCu1VimrRStDnu5i5aVotpJAuTaq3By+
pEZ7GSotHGiF8aWtfmvyRmlJ+qpNqV1X4Zu0tKyIPSY666Red9kvqdsmvFIZbhFLbfShIyPcDZps
B8ndOPvC0IO/fEBBBMnRtVQZ/JUnGmiv4reJJjtrBJjohu2tVT81ppdPV8Kw7eV403U3FHvYQrN5
fFtUCUpaspIFwc8WZtGzXry2nKUiqaFIZ2wHQmxSYaiQbOSErupDUUi4KpQkX806LGc7L71sPpZg
ZuqC6BW5rXSS0tI/k/3qdvECWISAuFexdqIZcJOFx4UKdtauR+GPjochoh2odBghU/hsIHCeT0Ya
Dn0hDX5FMTtVbtnneLOUrRO03V3PJt9e56k3h1eq4kJNiWizNGJfVHw2Y7RjThpXdpy5ovQqiutJ
3mnq/dJfSeqDlJ0UGM6DcV0DY4poYO5VO5CvBtP0JO6g8MFI2A7H6LEL3aZYc5WEqcNNPNwL7H2N
iZN6V+F/vDQUb/kZtH5YRXgVhmipE2HXdK/hILAwVXscmo3cB26CsKwUV4NFQjasjbI/mCDKmi53
VJO8YKmv5AbIcR0cs5x7CLKWPE1d7IWdsNsQno9GteuJTmUFhSEET2i1vjCeSXUjqRa2qsWwkmmN
76tbSwi9dDgkY+uDVcQhr7et2KOP7BRRvIpayrNc+8bRuzgfAIXl5R+sIgXplEXbrgdL2dta/dwt
wSpsT3FNDJ4OVfywAJCUl8Y1FYDFraPGz23+mMjemW1v9F5Pf42ZEsEgzpt94hl4tZQjRKrkvUnW
NCpBCIyZRIbbcoZZiADTo2XdZcZ66Y61Vrp1rPlZvyut/ChV4zEN0WlhDARCd1/jKdahtxdi9hd9
MjgZ/aFzGb5je1PVEO+DwI2XzI+G6q2b6vXUrwx+6cBqQGbV+3wccca9JjkkFJgeahs9e5Xz0o7j
2J07wW3L1pPkO9Q/dgHcfjH3g/ZLljZ5cB5X5dQGMtSq1m27dNcxBDonjFjwdaiepuoXYuUV6dvC
/paTvSzk9IpJDYJJrJBh10rkjanmyvMvgQ1Oxw24b45z+FqSTIs4VBjRemGUi7p1Im256jURqqt6
XgBW1K/D1jp0NDop2m+jab3UMFehQFdYUGy6WQQgCciKeZNU5TqTXqaicvUM6hY2ENA7FTvQ5FXT
xZ4U66uhXTdN7QJFfFCEsxfGNu0Pqd7fJvq7rp4C/SbNTySgXdv6TTmulnRnge/TpNopkzUmMY7e
gz1YeuI73Sj5IZM0V02AP+vaQS3hutXkhqW8zqvZbhdo2BkbG+zVtqYdTJNYGiDSCc+dyqj1Mm1V
qj9ov0cLr7+Zi4fBqB4V46hM99X8RM6wHsTxBRgEP17ZhRIQqykguI3ot95m4HKhtkooxS76cRoM
W5JJ53smI2l5VQ+nOM8cqCbF2LqmVrEwOkcgoer1CZH2yIFg8iXjMcoVD7zlfig0e44m7J3q6wa3
yqiRTqrGljP2dlunO1kpOAsYqzDZxbUbUIuwMrirg+nUOSZhukpFuARhS3bTmE4bGw5w47ohW0x5
QM6gNK2rpd5iTLhKV6e5v6qrwqvS9hAbhZOb0RoZuSPgfmHyUAN9RlJhFK0vXPKZa6VK9wOG3wrD
vAjL3irQj6nac0ZAbbDXAUruL/J7R6OfHhi2VeabFnwuUD2wjvZkkeFjRCNr2UrJp5sUqGfB4jQh
dcKytwcy+SmNTqY0HZYO8w1FE52u+K0b5ZUc75rytVWClW7KbF6jqwN1MlpU+tGxBY2bm7sKsikm
1Cuc9Djb0udW+lgb28H7EMRu0D30urUW68LDvnynWFt+j0x6jLTIj2YPbLiiTKsA26FB8efc/JMM
WOUAgEuNCaydW507pvf92HnwhjvjCt6PDZSdGyKE6lD96spY6eONLMPLpAZUiqaNE583xRBtqnxf
Q29F8xULJgfHCr4wpLruvuOIGOoPYVQ6NeJ4MsckDFZmWAIGNGhXHTeDWb8beIPbY0doO1OMq+oW
9xZbl6/7Mv6Vq9FpJtLQBVkAp12gPon7PMcXedoX0kByhx24RNSO26nY5BjLdEp5tMydRp8YBjv2
qBf0bJWok811UN2A9x1Dnej4FEPEjoEKVxh5pnHElsYJKO6Q8BPF8QRWeuk4mtR5liZ0pHryJLF0
00Y5jHgMQB1yWVt+tdwXdEuGbLzaeIuN4qoysSoPyrtRm+5E/Lv7LHW49KGx0W8lP4OZVS2CnU7z
3hLG1TAaHqwIhAJOPwarOuptPbmTQqij8Pzm+Qx7jNwRlO7IEpyCYtUvD0ZLSgBEPdf1tZXAsBYt
wS8QQeaEyrTDe7+ZTpbC7ipJnVtrwcPSpE6uRUcov64sbsQ0PVn1u1kD16SBs1Umd6E9eUFrPk2q
03FYAMp6VOe7RbkqxmC3dPJKrliP2s4KwL0vGJV3PnRkWoJrV+5UB86MX0QG+IlhX5Xqu4orPS79
dXnqFM8ojqG0xRPatqRnOX4YousB1q7V7YlbqNmb+FAnlDXqHiW0p2Otr4vznRAlThDITlpmJ665
yB9gYcIr1WfrWkmidTBbmy4N4SuNnhbKv1MyVH2IYBo/zEPNbRUZg5VTglnsuFE8K4+dgtbYIiV4
6IKvWNFWRIrVDgBV8YMjLwPRQF6nKDjw5KFdcZbgktfTA2EX6EeFk0ZrcJk83vXGAp+GY7+xgLJW
DoNOA+7Zyx6UfKY3KxmwtWZWwDjxZFelq1iIDiNXxqPoqrSCCWQ6eUiPkuwKMqCBWX+ZzHcri3Y1
dEUp/tUV8T23MldURTBvkLZFxA6X9cbRVJu7tgt85HacFk5mWV5V0TUw5fPB1MlJhuNOcZLxkBVc
MBvyQR9nx1Q70rOFc9Eu1JtjFbANLK/YIjpGodhyIawW8yWhpjiyiqgbocfNIq7Ih8XOuCEuXsqM
tvVzJSe66ZrXhHINYDMys8ytw3foF9S1QqdlrbUY1c/K64QwUubWV7feAiO6NQdm8OxrvbnWe44q
tbKPUsWtdIA251aaBoi45p+54byZMb6Xhm4LrbHWqiMVR0fi02Ml7ofmOioMW88GxxJiT6f0pg4q
B3zWBFiAzqRHezoHno0Swm+rHrXuMdAbguz7QuDsaPlMgvCYC8M6JGnNYBD0UooCOXHkOHufqtZB
mg584PpcFpHYx0Do3Sby2qyPXLrRBYO1WfEHQqbVBrtY7HypZt+R5lMd5SsjexcWX8s1D+pkZir+
FFnArRtfZNYmCvnnpIGlX2ecjSVlWUXzQswTlU1tmJxrSzfJw3WeDafCeimk/lhSjdI0xe4HcvVQ
PC68Wkd7awuKITae8mUrGo8DEp1Q+FPOJ8oas3mruelqjH83srm3qAqlxnFuLS8lpyrGlC7vF1l7
zYPtSKW9WY9d4beq19KLLKSHlExuaJ+SYlNSxFD7lSYegrizO2SxY/SrwEg5iXTg4gvMbNVblveJ
hGXhdDlhxq20+xTack2BOMFUSaPdifoasu0RoJjw2GBs2afFMSFO1xnwhDzbRDUdLdZiSwlytOq6
GCY3jWF/cy5dJjfnpI32ex8O5t6IlHVOCpfroW1NL3nX78TgqopjOvGvytB0hbp3O+tVbVVcs+JD
wtUFsGw7FHVGf9h0anolaDWZ8XtuDk4XDKuhJvsrWzcdBncIY7g+AeXK+2AJ1pbpm9xx6VB9YiPb
5c1DVQSOtZBbldoOcC/CDSq53fkcqR3qaN5arUNfgNMYaNP13BEypCVt7szo1K1U3VcTQdxqbD1q
V2U5UWqSaH4YnZysYKpVKnYIUQGu1AMTsJboe6FTmcypKf+0ffFghGdr+uQqnI2VqBE1dMvV6sDN
q5G/2rtRUjuRPO5Hk4mSp/twPk5ydpPU06mZCjrtCWKJ4KlS7A9lQB2A3v5iXKeEqsZ4MYC91ehf
VKaLLJKGgK6NZOKG/tjRlyUJ0nWtWg8ari5UJ+7p0oVJHhzqxbpPYXGrrXTo1OEwB5PfIqUVqWzL
wibPsN2nAHn+64kqkI0XK2NK7GwQNmyH8txEnDFJx8Lh0M2/phuzU3Zd1z3LI1IUmVNoH4xeKAeU
dEuNfmDhNuopsTXo0SSKI1okn8TGJPttFjZ4PBmMIV6Pc/MmWpWfwz6vRVr2cnWbS8KqKzXBH/OX
JVB3GnKDWQNdAoIvTkM6oGj+F0N3Lp/hcrtyPR/lQHKLYV9i0jE9K8Zkp8GdFj6FjbXtq3SHt91z
tBC5rdFvltnREhaI/mgO4G6k9//j7LyaIkfXLf1XTuzr0Tny0jdx9r5IKb2BzMQU3CiAouS916+f
J2v2zHRnFDBBR3R00IBSyHzmfdd6Vtk9luRz6GQHTxIhOo03D+Jinqr9TV0lhJqbwYlNCeoAt8vY
qIsfQWNv+iB7GUgupwuyH0tjrcQVRAlZimeR1dCSog/FRqhnIIojdPA9z9c473XJscqdpPQ7reIa
j2d/3NnSzRBxy1Z1kAaO7N9H1jw3WeaLhpgCG1YFgbWublSEuUyyU1ZHA4ZbK5GgrFiGM3mHUxlO
vwp9WVTkKZsS1beafYaomkXPvj8Q93J1sqL8KJXlXMTqJqtH6tflogbr42uooYazYLlal2JTFSp7
M54wuxMAg4qZGT739TmlcOEJdSM3FpXNMp815L5SdsxdST9E8dq3deBEOg9Ala9U9ahPhwAtvt33
bk5Iw1xLygQ59Ymw2F3UZS/2xdkYt4tAqDTB2sXla8JiFhq9qpL/NjQJLl9fvKJePs0nFoO9Ys8K
bGpNmF32PdCSOHDaKiwRE5iS+kWPvZbBtWjlrmHBQJb6kWxfIt+Ja1aMXwM54R6ihqRObcds8LSY
t9gZ3Zi2TrztU4owFUvpQavOdW4th76a9XSdvUFe+C31J3Hjh5orI3pp5dJpxvZMlMtLIfAfVJnT
ps8eLdfhl1HdWd7b1DJNStaiMYplqVMOhvXRFT+t4q60NqnomHPredXvhyBb1C2R1O2NaUsLix8v
pnd2x/POKDZt3S5robvAXvFQiBkLgG3TkiO1L6to6Y/P2bgOjG2qprM02wnzoZTredErM38ii5qq
QSTPbRmvpqI6oWlhzX+pefYLSrwKPTZVsA7PKRiPeClIH/eUYBlK1Y+wUx+K3kh4Hfslpa9Tam+I
GY4tf94369GYXmSWndXQAJrCAOmvvX7lleWqlQB7ZvIiCKlSte3CU4yFzIswcrHb4OcQZy9hnfKG
Ja5kEkQ9/bSJmM4H+yHUwEwKKz7bkeIoMWJ6Cf3ZFKl7gDALP1ZYW2+6fsu0seYBXzaVvK4UxoG4
+2UySuV1sZqUO5/oEpPzL7n6Y9hSYvQsd7T1l6bpUMqFR+GbRNszRxsZNK2cAtI0Zauss1OSuXV3
mI4EBSmOoNw3DOM808Id1JYjmTG7vo53tjmtglBde5K8kjObXZ2+C8LsqCDkapp66bEn6FJ9Ucbd
Su9IHqFtoSR7X7uPx8c8ehPRW9S/+EwBCmyTeNdoL3lPqb258Y1Dbx479mwZrGCfSiQFE0lK5vH0
FtWPYnyM218DdqtsPOjdiho+MkHZXlBB1QJjbsbYFPaX9nWl+Fgwb2koKlXGEW599WhTlRHyWmo2
Q3+Mq71fHPRkrwT7UNnL49ugXnjeZx5DtyviRStJR6CgGUPTJEdO4mFMjvvxR4Cxs7YOnXGTXGbA
uzKIT6PJhrRM50nZOVyMn3n+VhmLQkPeWDPjDvPBE3NifxmJbAguwdlkvWtQhM8CGJ++W2qFMyFN
ARC4sXQ2YHhltY2WHC7by1HcxtJN1VI9yvaSp50mrdoZTGm+TitwBZac1tuyNrANs/qfbo1+7aW/
gJQit9i18psi+StN44Xq91E0r6WHIbyvBkdVNpQKMqhRcX/h1NRb1VgWmnDTfNyw/U/sy/3etpZ2
kMJD3dwYOugSur0003yql9s+3mStrT1Fk7rEXbRN8md1EDutPen1AIs5k6HRiJc2b28MkgZd0b0Y
8kMTKAt2WgtfhCQeEnfVzLPmlTH/OPlipUva/oLHSdqjHTymLcL29l4KH1L6Rc3ZLtyosDd6sLFZ
mq9066fUn42nLFpLVT2vR31ZywclvcHKT1vDqZd2h9zUn/sewJ5auxtTxUkYj3uv5Lk9aEl3DOOD
VQdzAOlLQtefzOAYMCLIBoAf1og0DNj42eEss5bVmu1MaupOa59bKVlLGvsfmQ8qSGa6Qyk5l1uq
ktK58H+mfvomynw+dWIna/7WVKedWtB6rmvNKS20vQBYE9bhIrTnBsN3WC5Mmo8koYRUAc4xW1I9
ixZ9Q4QOUe3zKkC3FGiu2t2TCwgnuKbnvJWbN5XIenRTM5XSR0Ihw0hlt1Gk81D8xH5V1tQyCr6T
Rfdtn5/t9qzI0vxzNcGfdQqWuBIo6YFfV22PUDCpXSmjf/8Fe+yj416kC28vpzDz63/+Q/kf0ZDm
zH8c164XpdgX1reU8eRw//24chjKuTFy3IhGZruSvyuYvJILZkSYqYWNAmysgElzi75QUn1g8LOu
gWB+WmpDk0pMSpq5jsLnTurmiqkwx9KRVfXlEJeOn6iLVLzb3nBOgnpWUH/1ReX6WN6zVzOOvziX
D+7JNdMLl7+RRJe/sTRoTbnx9261faUO6uLetOOcWyKnh5FWFg3wbz2b11AeezJFF6YpjiHFbaN5
+JXg58/SUMu+0hKGWmXHnoq/mckmM9KlZh/Yts+8ZPpC/PMBoNr67RP4y9Mfyn4jdaHUQzGlXFc6
7dQs/YI1Ns3xTllbkTwbJDIINW3NjnEbGsZcVx+9MWEZepMJeisd4zCVEcXLD3LV3TTpF06ND0/t
6oVPuniSAx/FcUrVm7hYvOor2AN+Uezi9ic96HXZko59j9pHN/cFCHUTioVUWmAc4lnCHoKdEKmA
Oy+9I0r7m4/m1XDB7cgpJpDv16cuNWeSUr/3CF0NF6WdtnUto3RtaM2O6nv7PS67ZV+NF31e5VY1
cWB9KTUzMny+db7XuB+rjxVdEibIRtWRNbah7veOeyVItCo9Lvuw4nRH1fVRHxqUQb536KvXn0Q8
NZtanIhZs5WTRTh8b6S/5vkExAlkfjeOW+Vtesx/fn6y2p/1hJZ19e4roSpZxmgxHOuos5B5dMaF
Rkv5ZJhCGtfJTZhqLAG9o5AuPWvAIBX9xT7ZFfoTLQhJ2unRJmQ1UUTEYqn6mk7EIiYpt5x+Zh1Y
2X44XLrzoSyWnfJD9l668iRUeWlKd4HfIYjaKJMJfpiXKVVOn/9Zl9v4B0HgNTvIUqNAUan4b5P+
PMIq6auOLIa6f9KK8iUs+BMDb/jmI3o1gIyxkZpJyaNkRTdTtbDsh8//hg9mJ+tqCNAyvc0UPWS0
93d5dNkrfH7cD0b7a+6hqbcFrE2uTSflDMSkMEoehSWbBPCvALG/8VV/uv5Xo0EXyZpcGrwDkRo4
U3bM8p2s3+Xdc5MIqoweDeR1p+3qfGclz1l9w7SeZ4+lJCF0i2dUMSldJ05evqXds5DOnvUYqk/E
q5sjBVsSNUhCry9dSwnMjk9pJ08Wefmu0SclCdtUC6bz+zB+MEIXLfPMpmUTiaUCfMkqA6ex9mq7
tPpbmTqi/BpGR0N5E9MT1WenC26U4XYyL1lst2klDlK1HaJDmCM7yEuajM8F9R2zrG79TEMXiYLH
P4EztKuJjN38POiyW6QPnbcp0WeLjd9+4fr+QBNOtuvfF3omprAmamESXdgcbAYRPtGqga05DhT6
TcSPwjF8hcSN3C3YCesU34UffAs/Z12jIOtB5FKP0Ws7lHvfW/VfSak/eMivmYtq7uuBhH5g2/6y
74ov5vSPBjXz8uj/ZbkxhlJudyVy/ax7NIgXRQpKecyBuqX7OH9rynFttRh8xVVGcybLEwnTdCR8
yy3qdRCv2e33zdJIRoqGXGy6Gpah7v18+iGH9Y3QM9QG5tHOAhey4FKhuDyE5tqfVqmvOUEa7kbq
ybG2S8lmCbWvnN0fXaurobrRkz6bYoU1wQYCQf89Co11jdHqarrZVcBhwwPduPArYsrlrP4wBFwz
tC7Y8zhNeWI8g7bcT4wTK7P65lxoXo2NYd23VQl7bhtOMBjmafTFQvWjk75aHilSiuO64LiBnzqi
o9KBmKT/XnaidZ3gKRPXkcot0HLlje7o93Yb12ylWlKzOhnwilg/vDvz9fM54oNH7ZqrFJt+LXXI
dC5skjpy62/uuIyrtZHZ17nXX67A9GM6fEX6+GBCu8YopS14eN1LWcuJclkJ9OhokCwZmYTduN+7
Hlevnh4xoPSJNmzz59bN3r930MvF/8soFUFjlkObh636UVpzqjjfO+zVeiStQkvIOetEVIy0ucTT
54f96CpfvXKq4VdSr6ps4bR2ZSEATv3CsWptqSVfAXg/+oirty9WYWvaKHHhytOUeO/MY0RQvYi/
IBd9sNS9Jhe1chRoktIwfo79bvC7mUj6rU05c1RvMfN8b5l+DTCKEr03hxhyrpoiM1+Jxv9ibPrg
nbwGEaml3rVjreCpf/DvpO892NcQIlPPadjKtAgMxVtT1MfT/vnj8sFIql/u8V8ebtPzQW9edith
vIoRObG+yoNs/vnBP7oUV6+jKogUTnE7Xqq1fbcetW9ejcvn/eWkizEyqIxziet6MV704rPPz/eD
J0+/eiVBGJQq/LCRSDhEwQ3g+hjN3LEco7mnT198yAdvj379gpqx7TcRH0JZ9KLroL+go/rS6u9N
NPrV26kZ5IX4NUwHs6zDmakrbo7c8PML9NENvdov+IatxK3NDTU8aHCQH75YNX9w3GsqkA1PPB1H
zlk13P5Nipafn+7vPfcfFjfXTCC96Q0Ri37YynjCRpiAEZq0wd9F0Fml4efkdyge8RXVeDXG0pUG
GQvX2kRzKaszk3ZWkqPmujFVGwEwNo8yWEaFRtMzXfbTvZ6Nl07/NrBVB7HkhQ6qFcG9SPW5PZrL
fKIqqy0Vs3MpmDk6CA0ve724I6RYRqrwPLHJIs1hZwLsG6Zkq8sNUs1zjbQ7NOmfQ5NNrRda9HOF
XZZPqc+k5RIk2XJKhrXaVPMGvp+dudJk7hJ/XIuIb7fvBs3U5n5S/EWAM6lLb2t4/p5+slWUCamK
H/UegB3qgtfPL7Pxe0/6p+t8tV7AKqworE17yN0NXtsHb7g30BtJCChz+5yPXB/vuY+kpSq09Sia
RRNXm7E26WFsrGakL9+vUmufeZDL0afqkMsHQau8mHX2z0tVIs43lYWZSM2XFwTJoM1jZAC+vEEq
uPR1DDt8d5xuyvhnpL5gfcDhcJfROMz01UTveWgXg46OZfLBG7p9mbohOu+wf8vxfYEwcvS6niWI
ha1hwAe00pVoEdPdmBAlJTTqjZ+kRpv9VmufukQsU7tfGgFFEhTa42uuvkYklQz9OkKXodw0yUIS
6G7o2ZaKUxXrQf1Fmd7pzfY+rrObQmq2Y0xTqaNTiUm51nKnQlLmoTGJNRiw/cNYo5Tubkck837K
lYgOFj05DGpopKCghWD3pfZUByUaMH2VBLozjNIpb9B8vijKOGvZbBZBvoin+GEg/zsJH/JpmOfV
VjMXuUyvHp5jq1SuxTf79GEiCrk3+qOEg7zU+WU17FDISrKrIRhvR3XGa1CYBzhYs6FYmUUzq+oj
ARpOFrZzTX9Lyp0xGm5kZo7WK49ZXWJTRJPOWXWh9mqCcSdqahUKqOt91y7kiWRrPClpUJ+Gsrio
vzSjPo1d49o4KVpVctFtLIfwFt20lWbzBEC5JSlOH3brDhW+byUOsZJTQexEMK0lDFb6gYA9N0GO
LoyYoAzbUTgFg48uUbJ0PlKsS4Nxruqeq3vVWvHqRdebkE7FRsHqKbwBT1U6D6xm1dJra8JgniBW
iKthWZq/ms5bhKFYZbA11UB7y3yk0xi0fBq0dirPzVB1s+Q8VtoFEeOYEmjfKjkk6s/Quh2xMlAk
dSiHIE0V5Oeljm216yYwnPHiO5w8xEQ/ElEc7QkmEx0UYybhR5CkvYiafUHjtxzmqf5jJH53CncW
+Lt2xUbolnrZjT31O0WclOB98HFrKkgSCpTtRu4M+p3c9xsRL6ko0Rf1lgZ6Cz56NvgLunSWMB2B
Bh1ZkKiJcNj3ioxcLEOEWc77ZLprbQxBJbJRWZ9l3DE9e6yGR5knEWnUQJPA6zwn9XKkUums9iWn
GmGQEPsyCWum9Y9wj+swcOIBi0mKMnVKF722kZE5mE2AnI2uZYHaN8EE8JLHGrbCdRlps8DSyEkE
85fibKx24TgsoECBHpxH8TlObYQD751mz0ioUeqNlGFOp040dNzwznQ0eEGafDJwXWPcAR+ugs+q
jec6TxcB3Qw7ukvHUy0jMPeFw81AY7VVcQyLDL294DmmGNnEj1JaQSbS8GKoq6S3j74hzp21Rb6V
Insuwk0P0bwYFmZl7lsGaKv+ISV4AmO8omHtygWw5oilFcQt2iaoZ5MgnifNj8Hg/WyR6ZA40mnv
EBsdVcaANepuYbyUqFub4aEZsqUcWvRej7ENNtNeIQ5SmthpA7IjL+bHLt7k043CFKaEj3WLKj56
Eaa+KgoTuWG1EpZMda6b5Vg5E6ObSTIvHYafGzM95jGP8WDMbHT9sliNYu9ZxLXVFsTo3Omae1tB
vYnG3s3j4F2Oko0fnFP667xLlwmxNxBAWY96nzFEZvOp8R89ul0NsuBUpHvTf7Z9pPA8cA36uZ58
mNmIaKjgFZXthwilR0aETh5Pt2Yp36do4scUe/GQMS5H4jmVGBGDIa6WyWC6ZjM4lUHt2ajyp6oz
1528Q5QaQIuB8YB1GAKpmS20cNt0r0q1D5O9Kj/Z/bCIcmblgaZkfUHm9ltVZ9r/OTblui60ZRyd
0BrORy/bswNwdO4baTBVfDYKmMzYABuBvraheeSlK8US+0rdd9VrSUfe750GeL3ZwDH0i/lor41q
mJXWfWM/U1tyo7BzS/PBSH9p5rmLnsgNc3WsJD6LjjZ7tfAxTCTvqLV1rKLboiYuxT9H1UMaLnij
lr3H0Ywk3PvxeNuTCRZKm7i30NIxAqPBha3q0HHBiGeUsziq8QTbmzqTnT5FPJDW0byNTl7ebLsM
nwZaHBOZd4l202RlwmbKFOLJG09ynKHDRcDiB3f+dOY0XBnRkWx3r1rn7Sr5KOn3fbhsqAljpRrC
fp1IG8ujJiz2MS2kAhH7BZeSjtZbmzPjdO853rxwTBZpO+waC6ub4P0tf3hCWQ8BXdYaZafEw5rI
Mn4Zb2bQpLtE2krhwFK4Z6F2MtqvCHofMC2sa8ZbQHiihyGm34rx0NSKGzI21xXO8PKX3kfLjKVV
g9AlrDJCoLCz4x8g/Xfum5LTB3jfwl+Tmp5ij8nNO1dp6qaGzzpPdXNezyin7mivm7ZDdIXhPWyc
KpBWVZujChd4Nc8iQRma5QuzQVSFMPjzJZdufLRkvtq45U3QxkXQUent0CsmuN6B15THQG1XtVS6
IYMxTuNVry3LYtrZylNl/0QDO1MT07XybhZMeC8xYhWoPIbIwJF9Q8LIbMIW0U8YSKV5qbdbZIXh
cIyKZF6AnDfj2zbDtBqp2/qiJSxYoNLqa3Rc8VbhJNldrBwbwAdT07t2rs1lb3TZq/5MMaGKeFqE
PlQqmgbjkcD0RY6RM1z3+MTC5tZAxaSNZBDJ9x1oRgszSeTtk+ANKa1RdJvePEXMU1GfzX32knZr
7aMYRRrVfI+VFQY2+gx5TExij3W63kAKUmZpGWIpX1RY7nu60xWiIIaDqXqeyi3MH1ZC2JWt/FGW
QF9TSrxgaFtpZ5T+qWHgGnECDPVClHthHKrKbcKjmk8rOVqP3PcaN5fnoyqW8pWm+g7iNNYFG69Y
esla7WvHNAN3YjgzLPScmC1sHXG2Usx1+yZjUJbLdqY2OaM4kk+MRNqL3p769BTgP6MKm19K1eGx
QCgHMUNUYhHGLEDtpWTiU9PkXZgcJumZKQNFZu9qrJyK7jRG9En9heztJybPqjzbk+366lIaZv3J
qvflMM28S69F3vrTUc3uLOXWiKs5YccznSZ52O5b60eNLzNZDwxrJstlQ+FJvuji4QnE3PcpfLaB
TcTY/uuz1z/I8jHwX7tqG0aPHt7qkGch5fnTjEPhv4oKLxUHju7yKrwkXrPWYMC1se7T0iJfwfPt
2wAXzmChWyYIbd5iRKxS+W5Ijjl9dYvkAYS2cztV10JVFrbpnQjlnsdiSxCGHVeLokB+r6q7Jg/W
GbsfD4l4npgop7g9YqRdUD7k9XPqnevwXknFBpMQQEDtzhvaH5JcbBNe6dx6m8zh2JH9SfICMW9u
RvBZTf2pze/0hhFCxsgQ5BsP9acWcgFwS4eSf0bg5dTYRDuZSWA85qlHVNkw67zDSHpngdKtfPGU
U6fmswojhrDgF+j3BoDaNMQtK8c7vbjvkmU7/Iji0c3bDbiyS1Aoy1ZUWDoDo6LtM15FrTiSOjzj
JcMDj4+Z6AZe9hclOrUsL2TuvrjH30XuSNO/VN5Woyus3lIuYbk/VxESN9Pe0HdhNyxtW7gQQBp5
OzJ/pPpzhNNhEA+6/a4Q6WeG+dzv8pOl+/cZZu0QzAgMlAYMvNt6SOMDZqCY/acP23vJ/1QSoA5j
sEyVN68Z5/bAMgBVuFPpKz1Yjn2Jk32r0MRMTPa+9WMc5RiiY3RzLaZ2MAxdfW9L9VbOCY0pg4Y9
s+mtJpbXeVv/CABkm6LFgxUsdQHIgC6RiQexa9B5ps3cx3VQ6+Wd2Yo1TP1Dj6vfGlG1Jm5qgk9T
MN4pwumJ2IkuW/GepRDu/9a8NTD/B97h4qIBnuLZi2YQ9OYYxn3cyoAF0ilYYGgq2QP0l8UcsXpC
GhYBct/MH1wb04RVb0J5p+YPAwU0LRkxikxO7LEix8uhmPapmMgJudxPMS6zblV368skpCblr1BP
VpGnOVjOHbvCEKGfR0oIKdUmCUvWlPguhg+QFeuwRQZtroZhU0f2jaWnGGvDvaYByU0QFZbNPPCX
EdAVu05PnqIvG5wwftUePF3bwE1bjgHSqZ6wt2pYTbq9tlp5Wyc8j4xINiDm3niSzMu6ggGqPvkI
/Kvquau8hZWib74js6cYvd2YWeck7leKjfIQEM4X09mfm1DaVaEQ5xIXA8/0dsRYiC86qN4/P/Bv
qN2fKhNXpcJe6cxeV8tha7fNPYPZwQPTM5isQzXAEGREjaz/7RTRp/0OroE1iOlgLttOknITD/Za
rqeHwP4VCf8gvF+fn9Tlr/rTOV2VGatJlOjnTbBhiT6LWQRdJMp9kbufH/43W+5Px7+qMOqx3XVl
QkuvkDW3meT73t9kKlFF/a9QOvutQmN+rfQojZtNz5zYjtEhsQ7ll/G7vyl/fzqDqxokgPLc5Bnk
L6SOMuGwV8cUP0g5R0m28XqB64KUyfxmIEchxOlcM1elKrNMtmuKLVLXAaoCbMTv1fq1q7JlgBEs
jGmMbwNpqfT3U/hFfZHZ9c+38hqkbJkZ/g3mqy3m+1lJxi7VOHyJK6QRZzbPmEOyLQsgojwSJ6Pr
n4VvZQKoXnHlqT7nzChToLslJjXmgrmOVXrAt5BkbH+PXfGk+frCMNuFPumboOjmgfSkoxDPNftG
5D/6onNGP5yn6UM5WU4f44Yr1nW988aHrCld6EYCR6zS3FRR5KRARSoKzaV3q9kbm9GUMc0pzB3O
v7J8jOWW8hpsG8KEBgxljO51jiEonhyreAIVkni42TZNB5FbdlGBtKnF4hGbvNQ8BgyUA46jIU8v
lQTHk+rZhTJQtgWripc4YLEYI9QFoJE0OEMDe9+Yw1rSUfRfSB1zO9kJeY6JVZ+wK5aHIF/Xo+cY
lAhV6hCDlq4iQFwx24K8wUyvrPUingF0w6Oaj/dRk7tVG6zBsULaerI0lu3hOi43BSU2opZC/2Ua
fmW5vy0w+pQB+mlcjBBaVG1p9DsBrjon14AW2W6awkMVhszGrNuZVXsl4l1JXX/AAd5jZ/SX3sI3
FGhTFrca6+vwFOnqPst/aXm5SuzRTdqLu39TBHdhNT3FPYsfE9+gqczZcjpFyIyDTa/O7rp4r8Z7
hKLAnbxoIcZXLVXmoxydrOZdBG+6GrhFDzwutSh8ROy14lmlys6QraTi1FiFO2nFr77OVo00sWd7
svQtQnLsrs0u1bQ5PBM28roDVWnWmenthJm8x29UdcOizz0KSMkOw9vvhHE/SJ5shAVBkpOZ+yOm
QNxe7JWAFK0pooxkbVPlEEz7htVjNfr3hvQ4RtVWZO9WgKvWSN1BK+cjvoK2Fwc90DaNr72GGhUI
hBtCfpc6De8xsVq1Aba2IGj9McK3BV2sLRYCvkaW6reRJX/RB/mgmaNezSllHHU8Ml7PqqOjange
/MCVbCQkAe646SuFwwdj+TWXG1prpgIR6rdNfJ8SM2zUO4Gt9fOR/IM9nno1UYgpY5PCSmqby6vI
JzBvGL/aP34wbl1NEZavhDqV3X471Pu2OzMDfHHgD7pbv+W7f2nNmULL+8yiUt6Ch+i8CTIYEDnC
jjP5q+ntMon8YXK5JuQaVpbU8WRwY3FyFHFDhqBJuWwTgSwJo/tAXo6ZzTgTOkK3nc/vxAe3+ZqZ
m02KbI2XP6sKXjTrsjLE0wcC4POjf3DRrmG5dhwE6dRyn31DJol8O6gNBlQgdP3Pzz/gd7HjD9fs
mpwbeQ1KWkNjBjTHy0i9DqvwEBf6q+JTpCeaN2RkbZQ3qxvY3iaH1PthV2xJLkl4GO6gLLltATjM
H1dxwY5Wzl+Fma4b/JY07xZVp8yjKNlmrKa/OOOP7vKV8lc2R1/2ioFWIw5DM6CtYOa7PjnHwVNf
/PCHBsqa/zSB5NKBfogYpo8lgTRrZlKPqqvA2lljRrJzmZbSSya9RUDgPz+3j17Lq25X7UUKdDmb
WiK6QyaRkfrg50c2Lm/2n+7TVVWnZB+stDpPQpNFt6kxLsvUn4umX6vmuMyxpUlKMavzxAVcD+UH
GkeWPwgMQgpFbT9b2VHvROazEqGkzLUN3aaZF6BJjZzcevUjRu74XF5AJZQ1FYVlBpmgMg7hHhaU
X4PTApcmvHhV281cC55i7yU2ijn+uFUxxg/5OKxi5MZJeKvRzM+IWW3Fs+fpTi2WWQj6YRpe9UE/
kRpNlUD74qp89HpcjeRjLAK/BMm/VZKcIkjiDACDCXujk/tv/fp/vQ3/03/Pb//3Ja7/9d98/ZYX
YxX6QXP15b8OLx2W9vy/L7/0f3/o77/yr334VuV1/qu5/qm//RJH/vcnuy/Ny9++wFcWNuOxfa/G
E370pPn9AZzj5Sf/f7/5H++/j3I3Fu///Mdb3mbN5WhANLN//Ptb65///MfFuvNffz38v793eEn5
tWXwkr1c//j7S91gd/pPRQhTk2VVlXVbGJfUgP798h1J+0/VsEGH24qtCxNbJq9tlldNwG/xa5Zu
mzL/mIqsGfxWnbeXb+n/aek6y3aFSrkh6xp49/9zXn+7Nf/vVv1H1qa3eZg1uK/0q9xPwzI1ReZf
xZIpQQnrWv5mxEWXYP8NipzFEYxUHYBVbqpA2rRQuq9KVdrl4EFYuJk+OkxmU9gcoyip9oxjDvcl
0IzeNQylk6Ee1epLozSpChJOz5JN0qh2xcq4ogtoaGnY3XhpaXSbWppEEUKHTCbAZ7CJ+p1H7V3a
aEOnwYIr47jbep0KLrkw28YNgzwXEIOKLJ9pWRTJa9JzagqaBl5lw8iN5g5wTHPMvdFsXE0e3iNb
98Q2tAepcAVYCYY2O0yfDNkgDEcXitVs1SAv4tUEg8l4ScZpBHRRTmqxskXH0tv0i7RwB0VrcydS
le6XXckWtnNaEvI6j8JaW7VeAGjAyjVAr1Hb2dLK9GIUHSIg3tASFUZ2q+vauT1Zl75BklX1KqqD
zJ8bSQKnhGEqLDHJduaOngD9BKPzjPdMgf1nGJmJdzjRRvpwIir7mSVPxj11CRr5U60UIBHKSMzs
ohP5yohLVBddG5TPkxmmL3KkEsZl26W59D1JQHvzx/Qkph41RJgIACtjoMf3WqRE77qf+rjf8yLc
F7KdHi2rYMMhTzLr+VA2gmo3TNBGF342eu9t6UGtSWpTupe8Bul6mNhyDX9Qrnhi1MQylkEO5o1m
mFdRZFViZZF5gk2r2ejNqx7pnkzHObLOshINBEyHKuHznj9kNFCJK0nnSEksb9WNgqq0liJqNPQ6
AxXk69Vrk2pM6hP3pXFUIcVP45Snz4UlBR0MtgaOdhmOQCalYeiJ6wMTNEv9S6pDlolukUErWHtD
RNCZlhl664ZxJt2oqOEkJM1hAN6BJ4sGsx+qYI2CMFgzuTMAmx05gLNIgvgwUwIJcGjZ5h2prU2N
AGGKM+A+vt0GMINFRMcnDOv/Rd2Z7UaONFn6VeYF2CDdSbrzNhaF9ggpN2XeEFm5cN93Pv18VP9A
KyLUCtTcDZBACSlUOknfzI4dO+cmsC31p9eePa9xyGj/cf0pf6klWsJbwzPCbDOYIdnhGFbDXdnM
xT+ZQgENLDAqniBKxmptTE70p3PhC+CsHNA/bWVjuRaZPc6bqdc13SR1kP02WtgH6x6UHbgTXcGE
su2gvijfTtADSnv6R/1Et8WdU7TWt9RR6WNhS2QIWsumQF0HeQc86HfJp7JuqG5GoVuUO9n5dy56
eP/IgcLlOkhs/8UkenY3unUnimcUhADr21r+Nc2Gu09TPOxg29iRjRSZA30gceMu3A1mVP+OvD7h
6TxSJsoWKbrBfdK2oGiI2pYry+2Cv7WZYPYe9CJuV92cMaGR2VT3vu/gLBxIbw5vhihBgL6pCp8p
Cbx+ImARC4GKfpdPc8HpSfNDIzSVPxtMoGrdNtnayeyjhOtFv9M4J8EmghsKOnJL1I2S2h4WGWbU
04beN24tyrB//SDiSDGSXPz2laRMHoXIAikVDX9DRAko7CY4+EGIsH06xnNtvejEVi8OfbQQUBJL
f6Vm3Duo99LtYTtxcXCLGlWjmRz4bxTGAoB0Ft5PzilUjyBloLrlKduj1usHf2Rjl+OzXwq+i8uS
TFEpdbLbrDJnROICBER8g2m5QXEuuamzupzQbnQ848dsOMZTqYU3fQ0yW7/UmFP1m7mvXTALm9O7
mf3X/hHM4ygaeGG0Sz2E6rEwLd36uZXERt/T3ifd1xJeAqcGCLVTKHgATgFWsirmQqHTKnT6KIE9
1ZWR+vpv0rS8XN61DlK47SwfrCQy+p1OUDijK0nnV1CuUJz26qHeW6WHSE+NFvCVH5ZJtuL5UN2x
ZciZljMYgH0Ba3CajPagZ58GA+XMVIQCp0U8OunGKaeymmhoCHVfDptmVO5np1gEMXpUjjEl9Ae9
pjWmfs6NdFJUqSpn3mJ6WGTrOU3tpzLOwab7yBFiHbZcOYiANrmCyWS+Ft9Senj8QWQZIHXdfo61
SoA23SaxVxOeMI+pgz74Mu/FPcJPoCLIe1a/uQxUTrnQofzlFBQgOHDrpKHClDuIswHiddvS5VBD
uEoF7apAhMbdeNjisaNlhGRvajWxehHaqDgllW20D1OWDOENigC4JjVlMbPdiizGQapSbkqfZGV/
rXxDQPuIB4Hshz3135QYZbcOezOlLc2yQIxSs4x/uUMUFCiwC7bbfe+PjfV1TLJYrGnUjpxVm4Zy
fsLANgaT4oKpNmnUt9/meBoHpLGKeaDw7TlUv5QxgC1LM+jvg6TiWJaUvH/EWUipNrVK8RS0w/R3
1ElWI0OTVa6/dOFnP4I4Fdew26LuMbcMK3lB6z2Wn1PLmBNWhekQBztjN20h6Mo/VQmjQg2Ou4PB
Fz+5s5pt+FxOB8MGTaPsW95KpOwUUlWfGzVxqEiWRHRfc+Zy2acVPDK/1egGFxaIlZ9KHt2Oh3lR
RPbhZXUEWN6NbmI/Xcg84beC4i8KBvHKRHzsh9JTfqjbWpXXVZzWn/ywKo17o7SWI8/X+UuFsCRd
qlMf0FO/gQHVDX9jMU/fPVk5i3RAkVPnsN17mC4oGWa5F1EnsWv/P7T3fxVp/69R9FHkvS//5J/a
+s+f9uFn+f9DvE3A+7/H21f1n/xX+H+WeDf/00THoTf/53+H3lT07P+ytc3atKXtKFMSYP8n9rYc
4mjTkibdl7aFlTt50n9ib0P9l/bwZvW0p5TrWpYksfxP8G0I9V+eaVq08ptMHbJE+t9E3+IYV4Pp
6wiHYNMSRPpSmqfQdxuPVhsRkdAojoh2hVToXTvE3R590BzK3NA/dCNu8JbVaqTp5Xzb5UWO9NZi
BVzrisOrHDcybfyVaYfmleEuiOOcZnTkmdVqDBfpmMw1NnE+f63H7ks1RT+HeOw++0ln70wHASTD
yMMLAI91jOTzWq4i4AcZUi5fT56qAgzwwYpS5eNDWmK/Xnm9+aPskaoi1Nq9PqhJ4TaA0UabeTTd
ltzBFx5BMutvkn8egSfgoHQ8TZrkqlMaOi2EXixLy3yYMQN/0RVbOq/GuLjuE2Ob6xpJzdE3ww26
8cGL5SOtv+61334zZ6t4giCBsCbaVQvZoPDodUtc9JiUVjmitU78SyuV7WOs0m8J22Hn5KYT34xy
IGQP5/jGdRr7vubo5lgsPETf2w5SGBLZKbJbIvUceq0MYrwEKPXNPvhPfvc2nzuxaXl9b+0qaXuk
hqyIU42MGhXPCW3A8SHj7HlOg7aaV8ryEDTCjbD6a0WhcBGDTREdEYK7dhx8+3Z0rH0oKm+FRTMc
3nnK4u/KjOVFp+tjSGZ5OvYT25EIUErPNdmQb5sO4gRWWjpY4iF2cHfI0zBF9LBJ4FNWk/1dJoMz
bZE5DfZxUI63ae8Z1doWHN8uWvUQlLVGoL8aEv9ftXouz0VSLVglpo2jinvaLtNEjecmdTPguxD/
aBPPYzEQSn88N/bZtuA8MV1iUtsUDtITy5p9g+uS3AW1Y1Tzg5mbUPFqRO4C22DvOuGnpKraW+3K
GeqAMLbhbLr9KkuN+opsJ/uM5csiPF60qcu3gFY8m5PfkxyJhMqGRFG0nfvPrczxepCeih/dJo42
0ppaxIpy/YQWHdpelkPg6RTw/eAzm9RhQLA/2aPOfqis/hFhtxNswygDDvabcANfo0boN3IWI4YW
TkyjqN3MiVv9ZuHBQLRFml/4Ru+sX44Njl5XOJ5nyVN7m3pGJC4OR/OBvLt9Eclkg5TCeUQKzpLG
2iii5sp3e7wH4pKAdu7UJzesUF1rFGzSzfAZkLOO0wuYr7UszP/BEpcF4jmoDtsIILsU0k+rn01D
bRIy2vSQIzREE/ksHpLJzSBmye4mGxYKlDEMN3PRD1/nuaiuaK9R11OaZC8fL6KTnujXJ+HacIUL
o5rGE3UC5FmzHcQYzpkPxlhUSPtDu9nYs2SS4oak1msgp8cBAMXaKszpBwqPNZLtDR8wGZ2iRA+J
vbTqJgihHz/ZMbLoAEm5QtHOQLLiobirlr3/ZnW3Mm2DFIHLJ4U8Win4TNoJk7XpuASto7jQ5XJS
mH8dTnqS8dhM/BvmCcprQKkObEf3T5moXrgFzF1dP4RxjSx63iebuEKeKkTVxOzs8lqaL5X3j87h
K+Cbk6zGuqFtxNDBheV7jGa/PhTAhKU9DjcLAtTJ5CDtPZJUuuZTQx3vOz0A4VUWYy7w8Zc+u1+F
qQhcLADFJRnj6Dr+1EAQTgIJzHqazAYCT5Ma26bKwrvZNzXgAOIUZiYBRlDEazwvIkLHWePCMxxX
cZZXZaK1h4SwdiQB1kltYfbSKWjyDnh29MYdYuHl1WCj2qcEeyPE2aT31INu3PiapBFVca/3H5RO
HjP+XQAHT1X4ifTIldqkFBee7XS3ClODnjpaadfDlfRU7GiOG6cTqZ8+eblFc3oLUQ4kEH1qm26u
IUQwtfVVAh2zdZ4Rn0WKkzjtviGO2l54ktMj//VJWAuaQNJz+FeOZ8oOcpJsU6ZPVmalOyega0SS
f230Bv056IKZU8Z3DqDO2pG+eWmO3v0Ob0Y/2SO2yDspcHR5GgeEjGXZmNsRN+xVleXVF78aplWU
lxbV/9ja+gZ1qkjmUEa94NKCPTsbhCSBZqUusbNw3ZPPMKJsM+ajgY5lifyqT7C+Kce8vfY7WTzl
MYJUQUjjdW5AA8y77+C53xucZMbabb8MzawOcRfJByrO89UQpvWFk+t8P/F41rKaHdvlXn49/d8c
XZ3hSRZEHD3JoAtROlf10yDna2d0Awqk6Gc2tdk9xnHrgYp1DlZY2Px8vFKW7fL2ghE8gitt6fKV
tEdCcLxQdJTTsVsM0ZNp+4/V5JjPyDdgDiiVf9O0NDgVoM2PulLl4eOB35saVyJiJNF18MiFjgcW
/HWQzT4DV05zJTuWR5gl1H0NhTZjGqQX1sJrwf3sTW1LEIYI19OvQhZvPvaUxllrQ6Z5cry0AQOM
hxuAApR2q8y9iVqkmcumFgiipgHitiMswllHAIn5vOqMyrgdcYyo4ri7muoq36JmnK9tCyV4My7s
zVD6iJyHGZ5mY/vVrUsLAEoGFyh2734zolgtCZLZ16eBXBRZM2AGTOYOyVMjkTh0p/FLDHKPi5Zt
X7hVTrPE17XhasX1ai3X7PL7N19Mj6bfGXMaP1Wh+uw3Sb8rMZOg/Sv8p4g9yjMwZT9eFOe3q2Cr
grsI8jfgx9NavZNgthKaXvQULw0ZqS9ezLrxwWDp6e0W2ZoItmOdFM+efvSc4jEaohaF0W5XC+Fu
Bb1LfPmPn+n8o9u8ukX6LdBDdL3l92++Qh6oPjQKzhALN7m1XaivQvRPM3KUm9kv6ktf4L3hKM65
tiIKtYgxjoebURBtuwm2em7MNHPUQ2zLtYHWv7lCLqr+befWQeElNBsRoVcqECmNQgOVY7MJ5x0C
cFSBhXPdBxNlG99J8SdynEueta9PcbyZ2ElKsgaxJ3O9U3YL+QD0/GGOn9Crlvt+tOYvbQ9uGHpp
B+2glHMGeWwR0e90SsQ/gqJvC8Veg1Qby0+D03ePlpemv3RQ0UgN1zNaJY3b2RvR5DCmW6e6p41j
espTR7x8PKOvbdonTy9dVzOZwC3KXUCYt1OqtF+QguTBU5pTVPArjcerSOfr3JvR+e3wuSDDEOus
oyswSBIsBAd5NzXT9AIzknarQdgQy5Pruhqpo3UU7E2rDdelOW7cEIaJ0MlwK5aLbTTaddNYM7rq
/o034iZk14sOce/YdCKnf4J8MG6d+lm7efLJd+hzsCmgbKoUIc6kFY9hDs9PJrRtDlWmr6rcRVS4
RfRZpHG7QzL9EvfnLJIUlHYV0AngkEWAexriTYkZqHE2DjjK0eKQ0csKlhxdUCw44bIQxS3DsLwd
0wMx4KfjGfCCBkexMQueGlVNG9sp1Y3IoUYk3EWwAS3oCAm06Maw5k8xEBb1l6jbIxvzOfTz+UEI
Xdym3kLStMufQmVfIASqDffsZ3cav/tDFm7nINtSyxl2lcA9whdgTnbPlFR1Vl24RN/5aBxbSwqv
Nemac/I22oTCz4oyDpLKHOC/oKVnDuNfHy/bd8IFziFXUr13yDDM08PRN0rALxMuYBSxsfxeEdVS
m9mGMt/b6OzGfqiQqMWoiZbWB4eeuwv3zyvV6Hjj8AS8oIv1MdeCBzvh7cYxW00v5uRkh6pXn6Ny
p5xHgzqX+ie2w23Vqi09tXfWvPXw7aSV9F5WWJ2O3UMZ/g1EtB5j7wKAcsINXxYST6QBnbRNJOWc
pmNzldLKYY7wI4NWXiNXba2sKRJXc4wm1UCN9E4Xkfm5r6qMQ6fJd3nrQrf0+4JORpodJArYm6GY
499G0/i3U4ZvYBA41E3wSCXgSvS/XivLZUL2IiBAAL2epKtKDXaFTkV26AX8/2lohnXkJZeukbMs
ic8CwgwcxzDaEkvY9+bSSk3IQBPMh4MOEShOuoHmDUs2G3+6qEZ5fmHRbriE1x4EQX48WRNhH7lm
MXjxARu3gFau1l0FfoYMAgqBCHSZl2b8nVf7n/EU0cLxqwk7jmkijZJDnOqbSMMKsWR71yTedWjj
qCjDB2yBblOEsQ1owZFxXeFBOUi6kfvqNhivPt6Uy9sd7wjw/eUWAeXXAHgnIVmQtW09TnV6KBM/
XJUOYBe+Zbuh6MNr4SbEiBFGqoT5uEIY48U8773h7QWHAP6QnNYnq8mp+zytnDE+RLY971xVUzaa
KvWg5HAbGjH1aEPg3mQbHSoAVuddy2l4zHIjuM97iJgrI8qn2ymprevABJrIfTFCT54COmrj6B5u
y+ePP9d5uqFMohMwBM+WSxXqePKK0vXhCcBBo2sAG7JUZ2u3j51NbtNaFKT5fNUoY19oyOYfD/zO
4Ql2AXLjwYoBPJDLGf5mR6g0H1gffngAV4RJnUXPvbbnL30vfps6mL+1FlbUskYANfYiH2FeJ7vw
COcLlydYVoq1hHbiNOqgkUW4IA/hwWua57ysxaFukFEccF+/8JXPwDohGIovzI7kLrdOhQynOB4q
WtQZaiyw1ysHIOxEPnRG0dyprHksc899DHH3LHEe7Up/g9MHVhyDeOwm/BQ//vTvzLllaqJnggpy
r1dH8TdfXgzKnTs5wTuc6Xzz26R51G7iPAk9v0RQk2o3zz6ZWRr/+HjcZUZPtqZlgX8sgZ7DhXUS
5UE+qyolmvhg+Y4DKUg6eED33ubjUc6PP2ZzgReAxRzpvmY0b96uaGx/TmQeHjAg61FxobUc+LHc
zq79qbGmC10w76whTnYb3BEYFoRp+f2b0ezKTfAwKuKDUeFwmeP+O83AqgAJw83H73We/JEma7iA
2qFMSaB2PFItqmFskjQ+9IP1u2gnOhJ8UX8NdPornVrzt0P1a/vxkO+9HINafE29lNFOwigIXHjG
4IV7sGJp3Luy+Rp4rnFN1+Gfjwd6Z84A+qmzWsD9Lvvj+N3CYuznhrt5X0UCGnrautduNP7pxFDe
0T196ex5J1taMHPWBiEKX/RUYdkqUx+sSVj7GTevB0dY9ZUOo/mRoheABwqqlY7xuk/UjDlcoW8r
SlgvXkfTc1SpmzrEw7sOHNRPZa2CX13bjruuHP9KmjAxPcLEK5uT6F+1XiyBleKoWhYZIYTHrBx/
IxFWms7DQu7rWiFs0Zfxk1HYaAIQbOa10dBwilvux/Py7odSgDOUwgCF9Kn6+uRHZd52ldg7SY4h
fXDbNp/x7ZCG+ENAdd3Cz0onxFbgyZg9Xc0xvB5V3Nr+rkGbJnH6L3rGddenAdL2ret46C6cKee7
gsMERMShFKJsoU++SuZrKWOuz4MozEPXec/NYMrHCvMx28TnfkBs5QIgcH6KLXkq22FJLsBUT8Kr
EpYeuqp+cABIw6fFwzUlTa1u9/GXPys0kTG9HeYUdsiJ+IfCVcHBxS29bjeJl972jhevqQy9uCla
klDws8CA7TL+o9jFF47Riw9w8mWdKQpk1HvBgdVxZQwSaZ/Ig/+P7HBXiqveSx6M1HvBys13g23m
zd2FxXd+KBCWsNr1Aoi45unUYu2R2L0sOH0qSbtOzFhT99dCoGqTNd8+/twnqrnL7uIPEA9IHkWb
s7pe2soYWRozOMgqfjYtgrC0XJjNeYYLhJAI8tCf9ZfMJbhbwOjvllnpu9Z282u74ShOlj5vwhzv
vqHV4m/cli7ONqnh0memqz9l44Oxd3P1FXxhQG9qCnaGSnBvte0xw84rDDErSmEtKeDnbRQI6Hpj
Oj3EOvSuhDMlj/DtShiNmfuPNCpUNugffmkny7/XTNKFo+a9uWdH6eUw5quAzh6fNb6sOi/B3O7Q
Cc+7dbP5j6ZejYe6cSV70d06qgeAnyOQLYWPKvVs60spy+uPJ+U8TqHISlpNiu0tFcWTu7VFOxZj
Ris8OCzD9RAnf725ijAsGPD/7rHmtdrud5a25t9/PS4BBJQgWFuSxHA5c97c6cKB6Jw3fXAIShp8
YgL9pwKljWd/EgeTIO5mzFxc3ONW3X088DtoK3U822QFuoQUlHaPRy6MrqsqagoHU1C7o2ngb+tn
8Qa6c1oirhRF3I2Df+uVxldzbL2nSUwCB0gfnkQbwqxvIuhBpb2Hrvh04dEkQx8Hb+CKnK9Aobat
5GnQGBl5vWBE3j72xM8SLGRdfhOwA15ckHrqusknaLZwIck2oU3edir50yRW9TAlgfvvT+AFcQHq
FJTj3dOKY1E3Qe06sbeP6mT8CS8Rq0U1JxdWwXnwQ+GQq4XgB+zbOq0FFWkE6Dv7ep9he0RrBFIQ
sVfvBqi00YUXeucSczxqlA4QLgfdawPT2wWXzzJyxeDvM+A2pDj6+CqognwFwxPZI4kAB10ClzSq
38GO2OB8PfkaKdunM5ojjOXWcejtzSyB5WTXNnZYBU55BYbvyVSrVda7IUbtE8cvUg3Ib8/+k5yx
r/bsqsLbu1bYYrcljGkTJyRdavNv09lfL6y85aI5WXkw98Bm2IkWEOXJYTQPRtXPZqb30M6z60JU
7jqZaMJqa9F94wD5mVuyvB+xSL/lqfSNrsx6Def814XnWMY5fg4PjoFNMYTYkVLAcl+9mSUvMRDS
rfzy0M15+c2ldQMtQjcmFKuHzUSBd+OSrF0L1/9i2NOA351p0TZOW7gx0sheTluBNtD9YNAf2s5p
dDUiKrjKp9G4S6Gb/tvbE/SBaFEQtUlK4KeAruWAmhccJgezGru1OdYg/238xaM3YT3O3r9ewgwn
SW8F3Ddi09NcOiFV8AdfBqTQXQyLEWG60dAVDex5Sot63my4dNML5+VZKLYM6i7nNJe2rU4jhJol
rEzNoANIzBpsGuucNpsuXEOvtfmjiZfmsisXoMD1TPUqhvVm4slb3cI0sUtMmngHTAKsna8K5Ma6
7saL1EYHEmHo3dD9QfeuMG7GxNz3/RdRII80lnfGmGyCVfWL1p5dUcVXTvnF9+i3j3r+a1942DPe
FKELe5qol8PLhaJ0mibm9AdVWWHsWwoHW5X1zwrNiN2SB32GRpdcp1FnbKbae1YTBuM9fm8EKj61
K3M0c6B+UyEsqd2bC7vn7IyTzMTCzyF1QW//NJ4lI6d3f5qCQ0c1HVdNP7oOSJJuaNqgx8ZNru2S
ajApQ/CozTjeeRa7yh7CbtdCowpW7avnX81Ha6foT0A18gk22Lz7+DGXPXw01Tb3G0f+wptcAJtl
xb2ZahsVrtbCRuV5ojR/leX/BO1TI+ecLk1kCz4e6xwUIqci0GCDUvyyAYhOBkNPlGiRPK40tLuv
C3uvIhqWqrgnbAxKdRu6jbhb4l2bnjzc5i0kADPzH9lF2cqg3nj18QOdZ3sOycNSZ+IigjF7SgHQ
c4fjBSHfobPpQR07DEc3JH2AlJCHnrt5iB7q3vuuYcnsBo3ylCpoC6TnTzKH1ZjtKify175TNZ81
lKBfZWWABpv0S1db2QUYunv6L6Rl65Jy29m08eBAiNRgiOKtszTVTsp5tkzfPszhsJ3HiK4pUTxR
oOO6oAD08Wd6bzCYmxTkCEKWAY+nDT5WYKe1Yx+yJJnuXSfPkSKm2ti6bJ3GC8WF8c5OOV4O8MV2
HIhWNmvleLw2ZwFmQ8fL5TSyIamHBUpvXjrl3h2FVejCPDE9aHvHo2SZW1a6du2D0Hpc92UFAYc2
hgu30itKdbTBOAFAALlGTWeB6E6OJ+jScZoaozpklujvTaPtvhRJMGy6ZnCetczpdJIZGUasZnrO
mwRdSCiXajsYMGO2ndUhnxbYqPkWBCcBgi+T/xfRY/Wip8b/hENGtxikmy6d6wSs6zQEviGLMwd8
I8dab4UqgkeVZMkX+N5wfKKxadBoIaW/noIRyQlIt7DmpgK/XaKS7CauEZQOEFvp1zA5y59e2F+X
JjAuCre1qNdzIEK0WdzeMtZxn6L4aKIXN0RQMJPSZYdYRrstk9G68u0U7nsZRDQR9go3E4Nr65JQ
/tni5KYSnGALd5Yb8TQ2JmuZw670zIMd5dG2gQdMq1Fj81Qp5usUGi4szlc18aMJhVcv4PkTGhEs
08Z8vG7azEn6Nh0RTu3NW62+W7380Xb6PgpTaMr1KohvK/2jCKfnAS1XC543vTTXEhtn30PksN4K
2V6LYbH3obX7b2r/oShMrVhQF8Zfq0I1lKpyRHdoKp5olEeeM7wrKSTlgHaZ8UX3dIRRjnnqEPUr
8Pg2U2ODU/jHe/4sGVjekvofndgWwOFpf0ZH8D6YQznvu6kn0xd1g5lClf6O5v7z/8NItEr8d2GE
0u7x9xwCGfY6tOd9H6vpG0XuO1Z2fjO3bbr9eKTzbJOXAlAmyaX5BEL+yUEGI9DyXa+a94UzPkcN
prBp+qRdiIBF31xHfSFX9tT+jWp/FzqLond6GLiUk3DYlBoA36wuLKbXEPp0MUGHX+JIsQRcCyLw
5vpNhIjMyQxnfF/V0ue3OKuJnvbI1vaxn/ZQV6vF6O6y1NLYbqN+nbu3TUbXghyNfKMs0JLeLfWj
koum6JDWFwruZ6ekBo9Q8FxNUNGl7n/8gIVJ8qcKZe3pW49vHF0RASbN4cLEnAEfjEJcu8wMdRKa
/I9H6QevpQlDmPuEvO+K9skBR2svdW4GYtFVG/r6e1d4B1l44tpNoxEdaNQjBhpUdjSLIrzelih6
9qH/ewgXRhRNzUwlhtir3rAv6emciKYCnRFtMldcvpznxNsnYUwS26WFoVW3V2hQr3sa43fKjpyr
zJrRSTPHJr2laXB6iIIUW1O7MenUbcLDmNfhV1o760Pq2eYuk7XLKQWXzhrzBCv2Gh8Xq+6mdVg2
3s1sddm6p8C+KiIV7PpOGWolg5xXKmxgMzM1V51dZDtPzlfooje/EtFgwQ0VxL+pHD/AWXlqd7mH
HJhtDbQDTaiiAiOIG9b5sA3buN6Mk4huKT7+yaao2/Wo2n2KpkFfGVH4pBEaYCHS/PdjGE1v35bo
81LQH7d+7zxya983Er+1zsiGC7viVJlh+cA0pTgUs5fkkwjteDmUSY2upWzHvVsIrjfPaQMaLJPV
EPgzxP/K3IzN9LWxYsSq+lntIxuxOOiD0aGmsXUvS7JOBMaiXRWOzW6WXnHXdhiLD00wPpbwS1AK
TNQfJMflBsDfXFVG2Vwj5dxfWNhnGTQvsgT//IH5A9xx/CK9OybOFIbDvnYGaxsOJCIs335X55b5
h9X1Cyk/ZEtbhOuvkrG2LjEVln1zfLxwJwrLsm2LmJQc/nh8FCeE15hZvxdxrL5aRgPvWY0aE3Ei
UgKQaWfFUfWlc4LmR2OQpXRoXTfIXq2CTkebj3f5a2n95GlozIJypTjwIN6eHHZTIEXfla3a08UX
35huBc9Vz466d8fpedadSe+7aqMN2lsSqD1ufmY4cP+yunR6puDQfJa9j1Q0weFDXJveU5VUBR4Z
uXo0mgzrbNtLrugQy9CGMLMNten4qp3jfuuOweI0PGVcr01IVT2za+dGRK37Y1JV+CkvS9SWP37Z
s7BkYWvCgSc6B0s7K/0WMgDyrHW3l1ZZX8Uoau/h3MQ7GMCYOlRDfQEZOE+DvaXGDAwJmxrezdK6
+fYmGSDYl5bI9d5CPu9Klfn8gwQieIi8ssHluzZxL7G6K1Z/v0NJoVrXqd3/7kJV/ISFV285UcVa
TDTNffwhzi4QAAQK4NSl4QGdZypTL2M7D8AuS3QJ6EEs3JtS0Ff98Shn4QpVkyXZplZMmmKfcpok
AhamiGZv74n2oS+E8bUVwy29jBddSk531OtAZIo2CQptsic7io5vrElC19tnfZc/uKoq1soPmx3S
55d8Z86zU8aCzLdU219B8uXTvgkOXLrEJi1SvTf6Kfud57F8Igc1v7t1hj9hPIf36RS9SCOtNmNV
LAFi5n0KzMnBdihrfhgGljJRWLrXU4aAplUb8YtbGP31QBLerySQIp1Ajvfn46k4u8tfG4QpbePG
YlExPHnqqUt1XPSt3pt5ieOCaaEoE0mxNFz2w32isQownHz6MldJeCHAO4NcGHqhbLMQwDPYCscf
rC+ckEQv8fa6m+OtOTyrUaHdrX1QMuwVksm/hD6997IYrYFpgLu6vO3xiLUTRDJJDAQ1TTdBdcJw
N32ZB49MawcEliXhvaa21K7ccLyEMJ2nlrwuGDod1LBsTJ7iePCxjr0wKRq9b6PJ+mTm9bCSIZpB
c62Lh6TvrKuo8b2rSddtuQq0njdOahXrXDYBhsUVYUNQ9feDU1OqqybzB91DtMlE7lxhhtNhkjFV
IZ9upiOyS1rzfnZw73bisN9YKbdW6E9GvXFCx93ONHJet22oXjsSgi2LAHmOEBX/vqmnvYH/QgCY
06yb2GgxlCjrfNtnBtrjkefNK1iS0XWNy/1tOM/l2kGkJbW1f+PnVXkTB337EHuJvy6qwUY1Q9Cj
kelxWrudKT9/vHhPNGeJ7djacN7pdtS0MrP9jr9pjA9RlHaJ3Bfoj6ywi6GXscqaB3yDlFw5rUjQ
++87dOXkl6pNrXXcukg1obN4Q6z4KWpFvA3pw6OPtYMn4GdIlCJJE21NS1wiK5wfejwrHAW4jwBr
1qmtG+LEndFEKdWvtLF+os+wlTM93cEcPX/8Vc4vM4oQ6GSZS3mIH09WOR7RJbyfVu6t+UCwCkl1
UOq6FeXnybUuhEzn9wUDLMRR7kzIaqcHrCrGIpSpI/ew5fpHq0EVM+tHY/Ov34jLmUkCSoeCc0r0
cUdhU0Uw5L6akOJu+87cpln4T2j3yGv4MA8+Hu6dl4LLTmmfoxwGjieOV1VlZR0C1dQpZ2Ogzqk6
n5IaHpkX5umcYghIy3t5FEC4nOxT/cypqIfOJT/Ym0Hww+lwvF9NvhWtGrNF4sMt7zDCQVJ5TOtt
jN7JkwiTTx+/6WuccRTk8Qj0cbnEnBRPQQCPXzUd23mwqlnu2zlJtjJLh+s5j/Shdfwn6BTTdzry
uBJwYkm/WqWLEjuo/ejR+d3Fk3yoRfgtcqbhgQ6G7q6a8GAxWlPvpE6KK6/0m0NgFQH+E3Z/46cD
wF3f3E0oYbdBTZ92g9+T7jOcJ2jNSSFsF1sFj2ZV08G8qYMovI1zq7gUey0H7ck7SxupO5d7mmz5
NEmucX+rPa+zcVHv3NWs1HifFoRYMknFPlC6+lYb3gFEihOPSgG0Bkv13z/+8GepBtEA/XuEWiTR
dKeefHcnDAClke3da5qTbjrH6cClM/uuyHS3Qb35Z+u0+RVs5b1b4Sv38eDvnEQo9S11N/J4iCsn
B0RhiTgaVCn3aejci75FRqzIrYcO5Zd/zUbiIHJYX3C0qH9B5jxeX5aKEEn6v5ydx27cyBaGn4gA
c9h2VqslSpYsy94QtscmWcw5PP39qJWaFET4AhMWxkw1K57wB5HZbtYN4S/fSX8UbSCv7OKPDhLL
SBzJA0th4s0S8F3oJZm5LEkaoyBDB8Em7iQQjrx+dESnFlIlLpbU4oOCgtLRSLw/CF2r28/ndBla
KBSF4FNoSBeSPs4izQjjKLvREsftfOui6sM9KujJo0nVGsXlLLk4gicxQdb782E/uKogMUz1HuLp
SSDmen7Hugp1qo2OmyVI2KFbhZlNjlfF/zGKoYC0JF9xwAhfj4K/RxuUjee4EsTThxgDBE3BsOPz
QT7IiaCHcb4nev7UL5lNodH4TtX0pu3msfZAl9DfKBB4zlqQ55fc1IsvWqYPd7rVvgi/lx+NIDEO
XmVVh1hPu5sIwapzY9QrD9zyoCJhSacSpD4NDmsO1y0U5O0gidhuqw8/8F+ub0UBfdBzslZshYxB
l2Z20MMFV9BZ8nR75S1a7iteV4fhNejzzP+su1Laso84IVmFjtXGuUvxUKnqIkRK6rGodqWUpvi7
OWvQpmlBr69IOAIEVlO/BZGE+csUB6FsD4ViudaYvcZRC9wMPYusE19o3f7UpLZduZLeirmzERVy
YRqvSIzSF5gtftRGqBOX0ugSmzXHoTTCY+5M8rODV94ppo8sZqnc6iLMdnAVkr3dGMquA8ewpXHf
rFViPvh+6CnkCdxbUM7mWZEs5R0JKtdzk6fGXhY8Uhs7FMmPiM7KbZUOuVujqfef7PgS+gXNdhij
HTp1QI0gkGsvuozEjor93b7Q5eAh1zRKSRrv+j8fTBWyOr+PQIWLb07wFWFSyoVKTKnooflgOuld
3CDwuHIwp0tktjYEklzg06MF/nm2NoCOG4Ewq+L6WTLGmyBArFGEdX9Ihvo2iJJ0Z9TjsE8bWT04
WvNUjXlDJdVz/q78kA+WhedSBm5H74hwcJYxetLQEMbi1tENSnTjizG7yXWDBIgSksA7Wsr1H14w
tDsTtchjXFnDQ6gVNw30we9oytl3To6QDTlfSVozpEVy4yOhd3aatax6eWsQWshwzKiQUxOdx/om
Dd9KEorpjqo0/vEr9JOyVtmlHvJ8mnUKevEVJb3xR4b01cqWeCueXK8WY1M/JDmaGs5zZI3UjJro
nN50HQdzTMu61IWG16iDopZ0HsffZfJf0fa/M4H3Xol1ptmcbQoSGE8R50FnceybXtxZWAe09q0w
ERWogw2Sm38kx7j5fEGXgQh7F7EFILRocFE3uX5XAjRYPd8P9PvA1v/iBpXfJ7GPNJ7eBisjLXOi
KXuAAT+FO/AuZ3GI7ItKSvJOu8+VARshLdEOXWxl+wrAxX5K3FfCgWXzirFQtgJ7Q5SJXvHsYTbk
moZIHWv3JVJ8lPkT/SjFIZzeMDZ/q6ljnM0CYc1uivdRiuQfaHdTEtGfYxNtPx9p1UPZYkKUCXMt
aFiIjlHrgShOLYINMkGGpnV5Hy9xu2eDVpuu790DCshLZL+H4Hegv0rJZJpHAzgyMRNML5kR91v0
eDaR+qs2xkfTr24r9INtJI+eJQxmpLzH7+Eeq8TQfjRbELeoOXbIyJcOvXFUoHpQuHjT1dmxlay1
zf5B5MeXEEVbmqUSMswtGUjux9TkLwpswUtQGhH+yGWJqVOTP/qeHSFAKXmvjalUW4Sp8iPy9ysM
m+WdRCaBTBYNg7dccbazEAFTHV+Yqot6pXLJY+kx0Zx90+l3SluA9gu7r58fmrfcYH7A2VUAn+m3
oC8wCwl8pTbLoPfJhpFc1Y1y39KoCAwcn6pqHzVfbND+ugQkXQ4P45DiIAo00sxukiJ78WU8f8cv
vZ1vZeMceJdM95AMzt2h39co6No13qfaFi458kT1l89/+VsnaPHL4U1xjahgJZ0pM3u37wo5s9Ig
0lSXtLq/D5Is+uK3vXCtvFK2vGU88FaL6rQuyceqwsfMC3EiQxLWWrkk9Q8uaAo8HAMOKLnv/Enr
1TC1W+yUkZMbwR3otwKr5TxRH6Kw2zvRF0U8Jg3+WlJwKob6hkMEUmDYS0axp2b04AQHNZAe2vyl
l84gJ43yBcPr0kCyzv4dyvcYr5X5gxZlz6aPV5qTnjpLfQnTGxPx59b2XQsTz8679zDy82vE9P0A
IEQd/fZU41io4yOc+qc4LSjg1fRBRsl6SRvnblIOIHVZ4/BP+pKzB14jD37TdKHCAtn4el3MbEpW
81Z2S8SZdIlrH4diM/om9d22IfSZPI3FMwW/imZjKm+00G0VLN3+jtq3XlPQQ3appvVdcMh9WPMw
qbNUvmls7QcSfSYKqPEjeg7umB7q+uvkSC0bp5WttUyEEJeAGUGKydWmWbOthW4MonJlM7p6YIyX
QFKRPCBbfEhyLzmEoxofRZV1d03miaMslR5g9CgZNvCpm51kyPGt1cbNTeC39hpZ4YNfpk1RLTct
EmDmm9reu03ftZE25CCC3b4Oz6KqQxyCOuOkTAY8o2ZJFHeT+geB6HAgiGt/1+kYHoxR4MzsZM+Z
l/SvbVmtXCIfXZw0feHWgmKgcfF2QN7/ql71dBFDaSMWUs6Vrn4nvA1uBF36xzZBdtk0S2mvlSoY
NSrNZyvQ1lQWl68/pQ8UDScmMlNjzl7/VnKEkWngO3wtOinIBIARgLF1OwbBWqCxpP1PZRaKeuQ0
NuSAOWPE8FATbGtvcCt7aM/IbV1GvYjPBrQ1THcRyCs6aDIlYuzffcC0uM+LhA3bBuMtr3CyS0XM
q5hrWGY6rar8dCTfmgydzUd5GK07LfTW/MuWbXVKCWxpsEtc8ypafteHskGh2i4Kp3cbOTlDq+jd
sKbxjW0HJikiNDYxN/TG7C39sZKH4FYOaZx7TtifsYr2z+gjhhvVDob7qkx6F39nrBIN/N1zq76U
EW7yZFBH36/QL8DH4KGppV++iTDLylX7UeSlA0dEU4wgD8DI9WckDVrrfdVo96JMdogkeDtgPG47
IgDt5PrKYMuzRtRFnkwfC8iTNQ9sgO7ZgVEU2n0vNcq2kDRrV1Rr/oLLfQvrh3Yxd8pkRzF/fyMx
iBwoaux6epC6hV19GULHuBvxwv38Ulvm/tNAtEipaxk8mtOfvzujMN+RiFer2LV8KT05RftfGTtn
0YVi2ynRJSX2x+Ml+WcZJ+DqBs1AyCtAZdl918PisRs5QsaxL7Qc/0Ubje/qEDzjwQaYxbGbUxRk
3uHzL12u2zQkPAAN1gz5wOwB8mBlW8lYZ67k2+YF2R/1Uhtr4KhlpDYhAMlfyTbgi1rq9XfJndYm
qHwQ6wD92IsaW0KuBbG3zETd9Kra42PRRivh4TLQMKmyopADXY1kcA54tOzU98LRyt10MLojT7D0
pcr15r4U9k+cNy60xxVq0NpwyTxKHCvnYckNYC3fDz/9vHdbKLSENIqoyt1RxhYuefTiOwlUVtc6
e61rdhQVn72kPWEScMqaX5ndUkxDO6hMnwqBx7DxtSB2j+rjWFxaLJcoq/+w8/IBffxs2yhfAmdN
r/GjnUC+hZobTXsIVNOfv/vBjpymuT2EBQVjFKRrz1H3tpNFK/Py0Vag40L+wxPI5To7WTKmFqoR
yDkyOJF/E4c43LZR+jLYSboZRFM+IOW+Fgd8MCbSRbDHuc5tPm62FGoxmNVoGok7tfdN0K+6UX0x
pGQXagPS/x5m4jnR1i/EJe5F/pQ49peslfDtts9qlzzgPnBMu7UzsbydwSVMaCO2JkC+eWUXefih
ySMldUXWfatNK6MiIps3o56gqlHkq2nxchJA4HE7Ew7Rg+Fiu17eXC1xXZGSxo1bPf0WxbF/KAt7
fAkHFciVGsJNj5HAv48q1bupdedLyoH+moYF0ZCFzmDpgTHbOKavfUkwIbkRuTX+TBwjeP78Qvog
VZkA9Fy8xEeIJ5mzywK/AYBgZY7EOcHLqbJU71J3mlltdRNbAKd+8FKs0DJKfBtFMtOvxWgU24x8
Y+UNWC4QiS0vJxEtmDRqkdcTJmzF7+IK9KJcok6qSZ10aCqnOGa5QbdQydaU2pZvDuMRdExXJT3q
eWMKxGEhMihZeFT4WJwnRb43alvcJaV+qO1euWQdugJN2IvdyoxP8cx1cggGhYYoGLypg6LPzqRq
jZpkt1bjRtj57MO0Uo/tYEhnzFecE07vEsbjPZShvEYiDUrv95A/BSMRGu7o5dWuS5w1uZwPdiv5
IUAoQFFsgre86d1lFGllLyc0bdykVs0Tkax3Nowi3dGly74DtnX2bdx//3welhcgbwWYmKnwbKCp
MHt968HviizsWwrhpKS2ElnbUUHz7PNRljEMSKU3kghyp/Qfpz9/92WiMCRRxmXhIpZRgR9MqqOt
5PLjGDjhSr/1ow+a+EOwcwEIsMbXQ+V1XAy27eVuHxI3eGBaqAmV48o7+9aSuN4+E/UXeAWXK/M2
V7CCD0o6k8revajoQptDnN4QQF3SxDC3ahUW+zwzfuWD3t+26Mj9cWoo7ZpFhh2XEcwNugh7KU6q
rWmMP3sio0On4iwDhV5DSyBGpTo3k/0gtfrvf10J9hVpCYRhsJ/UDK+npzRrawBA4d23QUOdJoK3
l+E0fOzwn1l59T5I+ghCpoBSZu258mdLUSVI+gKHKVyoHj9rsrwveAB5e6yk/EMS2g7G2DpsKlmi
eW+PkxZjXa1svGmI98ukKVMfDR8JtBMoKsw/t+4bq0yNyVzeC6RDZ4f+PnQG+6W14/CEq3F4ao2q
cttAu+Bd5dtrUzA/0hpKTtMNg8gxZ0ufo7DCIbTC3O6s+wbN59vOVoubsPAPvTdJvclinwpOdaDh
yT5q0fewMb0bqYX+V5NvfMklLIYjjFsOQ6C+9l7anbJQafaf74jFT2RqSPwoh7ONeZSnA/XubDq+
D2dk0MOH1in+C7rOoOaCOx2GQpmrlQBmtTBtXj8fc9F/Q0F14skQoxJw8q/ZoH6KFjuccowoNd1/
6vCt2sBhR0EmpuVp93CvkVMNTpKm1tu+ktILEurJNjLH3NgERr6WEMyfvbefo05QuSk6Idu6noMG
KAGQPDt86CTnl1Dr10QzjrHNiUyLrF3Zk9O3Xe3J6dvfDTY7guTMIeV6K3zAb9u+9dDhBimAVu7n
U7z8JIiLUyuX4JagfPGyKq2vDn0bPqi1kzzbsUcOwipvy743TwoZ5cpWn1/xlDkUgIuEMZw0lHlm
V7xKPSf0Ur6q841fo6FHN0ZU5/hcS2vP5IcjTf0bUlRervkNn+kS+VvThw+Yh9jGJkW7axNjkDhu
SB7F9vNpXFz0b99F1Av0b3pS5Nl3dXgIJlzxsAeUeptr4qDZU/cqREKw6/txO3rNlzwCdUQ5HCaO
tcdU8CQn4yFPojvsE+FXUBSPSWAIbDbIqhx8zb+gJnMO/Wgl6J9HU9NvnQjn+gTI4z2f/VZk9CxP
mE74EOSDCgEktb+MtZru8xYdChzhu102GN5ez/u1vPOjNaHRZSDlSDZLH/D6AKWRXZZpx8hhYugb
pRHabRh73saX9fQfSUfTR9IZnr4TJApP/PVQ0mgORhkiwxWEVrLtcGzYSk7Xraz78pBOpxRIHtuM
KHHe1vTws6tF64uHHF4jzYKIMAwm4eHz3fXRIeVpID1jayFgMv35u7vXROQQimIXPmAGeR/7XuuW
1GTPhdT199jvipv/Z7iJp4vSBcYuswcZ4A6mJzlnFJoHQqQmBn54UDqS/UuN1X7/+WDLd4UZpD5O
nwzLASKx629DblXNRS9zzfWtgTVi8KeQC6S6MGY7xon9INTq9+cjLjehhtQCE/lWYQb1ej1iO6p5
0OgdbXDdBFcc9+UB6c9m02pFt3K7LiodBGi49ugUO7hgJ5j19VhRa0CoSlUDyIZ2UCvv0FMF3fV2
BR25q89SV0s7O7B/GdmT6qunPryL9Yes/xokD1UJ5FA/K2CYVQzj/Xg8hFKvbksr/YrrgofdUH2w
Yw0lqWzlZy/yTH429T1qlZNMHwCfadu/23BdHpq9Q3rpRhjlbESi4W9tZMSugbB3UWHk3wSKgRuz
rs17RW7bc6ug8iIsp17Z+R+sFUkOtFxSD4NQYLZWRlmXpogQ58bLWLmdWvOnXgrhtALeXvno6Zuu
31trchAApsDlRBoyq/Yh428UTiL1bhr4KDahGnjo5TL99vnmWx7l61FmH5T5OY6Rnj9QxrTBpmsq
Bg62cow0mlqenx8/H+2tYzj/qMmGDWq6hVjCW+z9biEVCeEdu6wG10+Vg1R5z7mtetuoglQY4Alw
LrrvkvAvjXLB7dvszqL4EoqXQbiGd1H7377tGuJBjdJNMmybot3m5gMwOTfOf1bRr6o8J91/fu1v
RxkBnoOq/mePv8YGKXs8Bpw9JZdN433vkBcfnLNjo+dSI/79WucPfn/B47JzNEwKShjXJyGJraM8
acajND7L8p7MVuoeawe9MHE0ir9Oe9MpL8jmY96K1jmOvsFfydlmRrJpxcmcdIZ+pf63Too2qfhN
Pz0KoLBUP63wT5r+TWDI25iEB8jEVmdF/ZY793YDAkrdpUgJS+C3rfgG35PN5/O/yG0IlkGNTSrG
1OUpH8zOP2IIYR+QS4EebGhRNo7yggy/8bt2ev+2UAMfefhEuYEuoV8yYH0bdHetNUeXtzB5tgtI
Kya0IJE7Ct/TKXu3C5KotyFzeZ1blznmA/JZ5KfBqH9iIUGhKIj/0ASMd2Ns/FZssZWVn2Kg0ofr
IkCcAis97dyG4yWuXu3+v1H54yin2IbPId03+k8JZEU25ndRdtvXB4HNqZ6pj0by08Ked4Myxpay
3cqtsAxggAiTm9Ls4MldUH0NzImtzow1Vw3hX2vBs0TldBtC0jnoqZHeotm/0TDZXhl2gQXV3tp0
4EEnczhADrOQXClSJM6MfnAbnUUSVlUc+xHxS3xN66MuQOShPdwqr6HmHeskjZ+iRjPuwizOH6Ks
1e/qpvG2JtDYf36wKctgF4jeKJjmBTAyiyIjiIUvuxWCtBni1Qe9Te0tNbMNDq5rhPPlRYnJC3cJ
ZT/NmRCg17tJthNfHsKM0ZC8PQx5k0KA7dfAEIvmKJPNK83VP0loIng8OzoW9FxVyVVo7YmEo+5B
q2+AMuPK/NQmCXuwDWilGVtfkfyt8EFnjsov4aW/cWDWNpiFP6E1eiyjeNv2cO610SpXIpflVT4x
63jVqVuQOM2zwVDwx/WAvEGeGx0SX5r0jJlwuPUwNHqixaL9/fwyWb6F/A+ZeqRMQSID676ed4Q3
CpPSuOyqEsxsXIirQ+tn/V4z12LnD84XLH0eKoNG4kRvuR5pTPQxkHxgCxZyZzs/BNYI7bfZeMF4
8YMjRTXvN46yXz//voW22rTixBygiABbAwCbJvzdNaUlGdiiIB7dDnb4SwJI8ZbWV4bgvjK4WN+a
bpAWHaY35Pi6JP3OagntqnDIt7XmA6Ugzzu2MFJvTBjwuNGWLZ5RXfTj85+5DFht3lNuAmohE65/
FieEuHuIoTLR7tC8DGJXpTymRWXe5/oYbrvQEHutbda6nx+sPUUQEMjgrslm5kiBFCm30usUVoSM
eewVm2o3fhBAAdqVXbbACLIKMM1BQEK9IX2aCzkO0gBMy3bArKjC3CmtbD7E5fg1zqMRxKVT63+G
Co0uJ48f6QBsTOwyv+eO0R91dBW/l330rPlteWhrTfvnCA1eikkux8+jWjGnkKlxUgZVn5curQ0f
bSRD2uR9nqy92R8s8NTpe3tbpnWebcO4yAHOGEXphtUIqigOhlsbAb+NAnXwrtYk/SD6Yi+rNWbk
BabuodUhBZ6WLloR2h5QVnrIGvk7tLNxG08OLEPUr1oMTU/N9ZOOAha5O91CZoK63PVZsesGDLbZ
ZG7dvIYIfp1VryzPemx0r2kKZCb1HUiQ3mBcRsx4HmrcV/Zykgevjdydu+SfnSe1STIPbANVBTpo
ZPfXv8eqVaTCjTJ3A2hpX3Wjy+9HW7wmfei8SrhzP7UDuH0ptC9SGcSubQbmTxW9UAwIu28iLOmZ
FHL870/VJOgDJJF+Cfn5/KlqasxvmoqOauwH+XNYZcGhTaNx//mNsHwQaYvw/KrkrzgYzJOUBgx3
XQCzdy07CS7NGKL6aw72yu6ftt18xfF/BShABQDpkNm9E8egHOQiKyDikw9Bpiz2hW2MO1MKANn3
4h8bJNOCMha1aAJHDSDr9YJ2hp2Pfa5mLu5i9a3cyASAnbXSR1xea9wzNHmJWyYrlvlRU2vZJ/M2
c0Q6fB9iefWY9Ur820GB8fMlWsjG8TmUnaYWFk/2JHt2/TmqMgZWLDmVy0OGiEejeCfVEkdTVMMx
QxPiv7xUT2FdDz/afgi3wFybbaNqEUrR2rOw0jV9sgVedvpBU3FqCm8QgrJn4U1eg8EQ+Mq6VdCd
Gt3Y2CJHpguvYQ8ycxLJ2yzptKeAg7zLHHkv152zG+Wm+Ybx4sT81J2MZn3WbZwA3RoH9d0L/629
iZK63YsOQVzeRqP9YSei2SAtOTy3tSPfVFlYbuW4LsdNoIXA5+JE+/X5ZE/hwdVOpZtDeDLBuemZ
srjXc503/Yja5yC7cgV8RQ9GDNxxcj43CjohSWKHNy1ozOdMycObUJbG7efDL9ea9ihyaTTK9Yn4
Ni/K2XFQOqOIFTfuk+jZs51TLsb+hJX9AaQlaPe28o7Iff1IcxFtjaw1dxZ2DuqIXd4wdulKE3Cx
yfk5E2OJNjtWBAsXG18xa5pLieLSvI/PseoHlwH6388i8dbyzcVNNA1FvxHSHfsL+ZvrmfeaoB4M
J1OoLmTjg2RY1bZX6ZF/PsGL8JBRbGxaqcnAlIBJcj0K1II4QN5edidy8DZW6+SkZUqH3tjQuxyt
8qkwjHZfILi+8jYvOAI0gijqksFSV4MmMC9dAxYvWtupKxdHZ2zlkqh6lXAJ2fVJp94WtTKcrMD4
lsoAEUXmg53E6s8dmsB+Giw8ZWkmt1iH+N5TjNj4KW+x+83K4geY9QeydHmjRE59Hpw+caWg4h2n
LPNXjye+CQKJ6ilHNuug9diydrl0yEFI7OLUkL7TNlEPA56tK1t5EYrwuVRhIavyN82SWSAeZ6HT
YnpN57EokUWlfrWzRvw+xaBgFKA5DbpWVrRWNJqu9uvzy6hTiwYoIa5ACzdNa7SjpNUrF5W/I6gO
q3oxqABKeQtEet8QWxd6tFWzY1I+o4uz6bpzDRlDSl99ATY8efSrajdds7muU+t89DoEI9R80j87
SQIvK+dn3qmHqBa7OLuvAwkHhAPyzUFD90NJTrmnYWWJ0E5Yb2092vsq0x+ge3gH59yPjK1UZ7ug
7Q7CEgeYeCcr7vbwcHeo4SXAE4ISyc80OPV6uq9EvJsCxRhRxJj/zDP2UX+qdR/AJ3AV8MX2XjPK
Q2rjh82//U7GBdo+6HG486Qb0NvH2FK2kf9L5tf0+rFR1WPlDceEGgkCUmUbCB5GqPGfn7Fl+kuB
g/6YRV451Y3nLenUrGR6VaXses24yaUR/11MBtFucy6SNvjuwGwde2KxnWrGJdyXakSAMirOg2n9
lbQiu4mN1Np5tCi2+FX7ewnGwa4qbe2O9G1NVHiheYEcHrJflLrYM1z9c6MNJ7I9RYpVSkxGnZ3S
PCwuqLQqFA076VYffeU+kONwEwDpVjpb38tl7e2rWFNusb7+DsTBTS1a5JOYTLEdI9EdPM1JH7Rk
XHt5l3ckGANa/JR56TrQh7y+vcxRr7VqACuVUy3YDUnvHwbVKh4/X7+PRplICzRrCDxpXV+P4uSy
0UIMbKD62ViJZQjhmjIKbZ+P8sFTRzQDYg1ppKkkNg8KyyYNPFmrmgdskKwznbDvKl4ImzJR//Qy
fD5NT/B9bI/U5bZRWSFgY4kR824/Cm+ZX2UlRl02DkhOQQjQUiZ9gps9i2qypDRKX4ryh9JJta2W
RZ1rp6h2p6FvHMIi+IlHcbvvAPht04zQSypTaxtG9dPn87Kc/QnGwXwgcg39fD4tRuj3At+X9GF0
rJ+OjkFz7svZyjO4GEQHCo/7BTJO9JgXTZLUqXzMPoTkjohuXuAjUv2r+mzlNl4EU9MoyBqy+SEo
kQBcbyQRsk01ZZBcSc/GfR23+b4xs/bk5OAgbDsQhybszBtpsK0j+EBpJUJ/00K4egzwLAMYOsmT
U56h7nk9vqaOqSaMzrg3uhAxduxZN0qPW02RBf6OzFOHoUWdcOOEVPDtAfW0MPlvcFptE0bxg1Yh
VVap0bBFEOebaFuARL7UYq9YWupD7wjrZNN2vo2qttsMOL7vP98IiweU7A9OF8JeeM5MOsDXvz7r
k6SuayNyo6RQdlSfUvhUgoJRVx9LJbwxw0ZeO5OL5xPBGd7qSUuWJWPlrscs9b5kGmnxJLgobWvs
TB46gXSI1Wf6byvUwps+ozatjKNxhx8GPpeemd9UY2gfB+Qdt5/PwCL6pDbJIeDHEBXSP55VMxw0
9r08HHO4FjZuK0aofSsQFP4rDZK+cvqXB4LGmYqNLo06sJLzUxf0hu5FEnCFQkqjg9VOcCVkFFdG
WUSfzBooXVgo06rSVrme3gZ+w0CtQLie1aQHEeCDGiFfdnDK0H8pki78FmVecChpe62MvLzdEATD
OBTXLXiOUxZ5PXTUd57emHXuNl1t7PpAbu5wYBD4D4pDpvfRwYfXuSnjILux8DhoEWvcilRvf32+
pMsrYRI34sEFQEMRfo4W86xOp1dTJa5hgBNBUqQ+1oa1VcTQPeZiGJBBp8GT6R0Sy16lrszC8kiR
VCGRD3jyTeRjFpN2Ki4Ro9wlLtSaYJNCmDrqjdHuOIFfRBvZ+1QRa55qy9Iw4AfuH1smq6HGMq9I
I4c6IvJlq/c8XPqeADXfE+nlya6OdP+7L8nJKZBHCP4Zkqcbyj7BJusb5Nh9M7pL80jdZvWY03zU
5B9G3nDoozzSbrVYdv71vE3MaiQxYFfTcAVWfr1HxJi2dt738r0uqV/pkrdUnHS0e7x25flZrAP4
DJIg4C2UaeF0T6fxXbVcSsBL5BkDjZJrJcl3C9vJNEN6oiyjFy/x1nrJ0//v6iGYxqPzMBWgJvX9
2eYfSz0tafXL91BP601g9eHW9ON45asW19U0CpLR5DqUn6m+Xn9VGsUeYnGdfC9JCTrYeMPdqNzY
G8rs40qFaxk8MZYOleWNy8ZFMrsa8z5UkmSs5PvAVJ+0CViLuUu01UFE/dGbvj22lXzn5epTaFYb
FZx9sYlK3zn6Cd3StLf/+/xYv6lUz2dYB+dASEFzgdDx+tu1xi7D3inke9vPh11qBt4eKRBxVjKt
2cSy5xyFHESn0ZPF39zEGXMDJzn44aijhnJ7nTh7DLWqY+lb9Qbr8fTg0ao4mnZcnFCa/K834+AE
fFI6ypHxx4uifFeU6sA1JWm3Rhcl9+GYBT8L0xteS7TbT3GmGrdNqJtukdbKlvsc+1W9LS48ZM6z
kjar7jrT3X09AzQxAecQb8Bgwz/+egYsKxOiUXPYhUpj7swO6njXKo+RULdO1hk7xjR3VVei26fZ
/rYopWIlYFj2yikr4NVE1AUyaCq3Xv8Ez7SE6qdwQdRUOmuGdGk0v9oXpdXfJmj1nasg/tmNrbhN
ZTQEMZjM4R0IDa+NKAkvccyEav6oHHGmbf+adazvvKrEoDmGfi9y/1QS5BwFT/a+IPrZd0ovXyo7
yc9FqNVbWUJ6fzsOMCrHQTPvUi/UN3aWSBdFUwr8FlPuegvNpjB9+Hz3fXDFIgxCnXzS80G0fX6f
FL2Ui6aIYNgMmnTQUaL3TK1CaCNUCq7LsG4uieSUuzIaT3E3PtVFvIs1rG/ltjJuEkEPliCw9p7o
fzo7ihpuY3fayu26vPT4kXBASKuIMXgIrlfH9sFRlXYlgRXXi3M1BEgmxjCXhA1GJSxFv6laTV55
8ZY3H5Vamk6UvBwevrnynsCKKJ/4GG7h++MTmmHlnRyItRbftLev9v5EPtLAZE56IAigzd5V9JsL
PgIBBZn9rw56t8/6LtrXnSgAlK56ECxvP4oKCHQRRlHfB9IwffW798M2uWmNeFBcEeXoe+eVSU2k
6avXrNOlfeGVOBNo4f1QKeqN0AJjG2XoxqtSX+1UEfdPwN7WQrvF6k4/CTEvYgsuNhoq1z8praRQ
tgaUdJCfe+XvZBsnefI7yYCp+Locfh28NSH2xdq+DQmiHfEe8pw3/dx3s4BBdG8Omae4Q2j42xrZ
053os+5fS8CoINGznEReaRJRFL/+MFlGtjqiIerqpeIf7DG2Xxuk20+JlGlPn5/jRXBIZMYwdKKY
QJhisxMi8k4gO4yMnlxGzX0Y3TZOiRGg40jxFnEhTd7SYt+rqL2fIQmvDL5EyGDy9SYeSTWIdssc
EzFG+JmFZp24HfJ3R6QXvVNkWCUFCUWBuIm9lbzvCvlZtoN831axgktB1u4TiuKbvDO8re+bw8qV
vgzbpx8F7Jh5mSiFc866HbUSD3uQuKGmVzcUteVdlmXOMfJLYxPRNLppZfVLYPTbSBaoNoXRyVPj
tbLqEgvGz6A6MsnbkEaQSFxvAg1IJQY/XeymhXI3yKF/h9amtifKBsikFNkuhtOxcxo52vUp5t5x
lK4EV8vzRVRB6kDyQDVhYZORjH7E09LCEW/0J12X/JtaoJolBXm9Q8trH2vF2pH+4KvBaQGQhqMj
Y5KjTwHfuwMWI9dZV0kWu0Oelsiw5s6PMpBwo6sjSpedLQPvoHIgqJixSatiX/UORYLPD8XylF//
iFlckVAjisqyiV0pCqVDYUpiH2fC//rPo0Dup8dDgxYS/hweltSOIkWJCFy1C8DYyYq061JITJ+P
8sZGvX4oKMPQMoS2jQggNdfrGQ0HWS/qIQ1c3+l2POabJHqJtXAHV+nQG6+O+iCMc6296F26tYS+
AUS7ceJmN0hYDTf3ljegxxziUyhv6vCnOkb3Wno29D+Nr2MY/6QGX70eV4kI6GXTbe0KqEkRn4jM
D3bafYUIdbH99iUvf2R4pO3L/Bdqx/++XhAAeQPBNvAQzFnJkH4avwlV38VT5dZOJBWviGo14pky
lvlE2oAIkRKcSALzeBuN2Z4IpQjcCOH6U24M1taDoXcanOwQSJa/x6Kj3Ha2cLYWWLpTGqvKBtxF
tbKiH+zOifUFvhnsLMnc7HWoEPVwGvRF3K4VGs0NzAblqUL6+b5ZHn64Zeyb6QZArnZ+C+b/o+5M
lus2tjX9Kg7P4Yu+qbjnDADsvdmLnSiKE4RIiUi0CSDRJSruu99vy65zTNpllSNqUDWxg2KDjS5z
rX/9zRTNeRG0+Yd2G+4Xc4vuehWM9wYLFSkoRUCLwwN8+7cPSjkNS4W6HvLW+4JeKEhUIsRaaDNV
fboRFHEOsZz8lWzd15Uxp1SiP0o6/eOJ0hJzIWlVidNG3P72/VDuKpgKjy2uKvADPb/0HsxwG9Ow
Xa2Uxyg/L/qmPvz1iX6P4Xj7MHFUyEkQTWDM4VLx9qhRwxyt10P7YYw+bDJLLEG+oVfjONbEEoXB
tuwnNNrt/QoH11zua4Nuzt1ly2mXnXRgVX51NU6nGLfEQXgzF09uHyW+1ieVPrEc0mmQf6HNauTe
WURcOndWc+mIqyACBs49deNv1l6bcNZVjcejigu21aho9tnYHBRWmbM1piN2mYGqvjQQn3e6hjMb
DhAWxUha0DIsJ399SY6d0u+vCJAECB1ps8GReQNB8u0VCTbebXMpltuWzeGkN8lF6wmDPDGk6TCb
w0NhDOZg10zuj5bI71Xbm0PjdQsZiaL9mOcAlPD20GHUiI1Nqb7FKNOORwxo76baux7sMT8lv4UR
Ws61zsIm2zklr7c/Le5JOcIkb3yNXdbc2KTy+sWZhDSQtFUT7XuWzIDw1rutIXZrzR7++mL9Yd6H
tQSdf3i0HeQp+kPU47rmlXAH37ih9T7BRKU7k9ClPnSiVjuj84YTY1Jp7ZldaiwUMHo1w13mGtZ1
GRbRyTqScDwBqfvaJm58tpw7Hc5DOsq8um7s0v7B4/6HQu/I2EGQTzgJKyjDj3cvmTSifgrmwbnJ
rJxGwXbVHiGBfIRh/mRkEy5kmBgkpp3Jy3wLvbj3I6gCkQxOt6b7uqkmigkPL//mDgxrj8HesYs9
CjgAit/e90puhozkat9kMhe70jdUOuUi+wFw9H69/n4UFDKkmyHBZ0j79ihrV4t22Y5JGrro9qTv
8db1/Xj610/EdxOW3z/EYGzwrmB2O98bh/fbwtxYtTXWhndTWlG/9wdXJx1Gr8ihzS8YA5wtlVPt
qrC+948WHVpNu3Yuu51e8fyNwnHYyWatTqI2ss7wWvk0EOITT+JOiELglBx+LD1zTWenlWfA7D6L
Aw0Qxip9YueW2LVu0F9EWeOdCNG1ibUZ1R5s1ktcswkw7hwxfSOmOml7170PK79O3Crod6UZ1j/Y
uP7wNnMhuAoMFFhbKUO/P4u/KyGLbtmikZTAG0qdnbfH7j3RyXxa7ED5z9dEXooUhd+H7mn8Vtxl
P9jBjo/Mu7twJNfD2zmikTSJb282PsujLYbRvoHveYKI0x2C1HcPFt3CX9/vP2jFvp8mpAv8qNCh
Q/R+eySSF8OGl9++6S7Cg3+ortZ9d2rtEVrH+c6KzX2TOIfuYd4FN94hODPT9pCnIjb2f/053m+f
7z+G/fZjrP40FbPZ2zeYBMceTnC19+R0h8H2IZX+4Bl//yZRKkNrOZZeFCY4ibw7Zdc5gikCs7XV
ar3LIMwfVBtFP2i+//wgUKdB9diX39veUk/1Q1Y3cKcLwhRlURY7SKzFD07luL+/eU6wJYEBwaj/
6FzH7vP2snmLwMl169oP/pQT3ozUGjdomR+F+VmKV8YTk4HmuocylxjV9qOH54/neKQS/grmgGq/
F+yBDWtkqBy9Nysf8aSWxwbrR7mV744C1+tIMiB+9zhdB8Fz3p5jUwP8NPhOfADAbaZ4g+V7UtNP
3/z1E/jdFeN31/LX4wCBYwECFMY7//Y4wYAzBtS+Bm9G6Ef1GE6HRXY3dut9NTfPwpTSL3QsNF5R
SOmyVC/+fOl1RbcjS8k/wapQpb0llticrYIlckxxEITPuThi75r1gd5v35RFahKvnER5cG8F1WVp
VlEa9eNeOyDtMjK8HzQ17+qhX8+K0RBjrCM3+72DgkY4no0tZ9VH+Y12QXwH7pWHFjTGyKeI3Ryb
ys4yw7/3Qn8/rsuQiFWcoooJ7durqeFCBtiYg8koy/tYN3Vx1k10daPb5HHdB59U96NE6D95UCCl
QFIGU+N035MWKpfNZOmL+sMYuOIk01uY1A7qqO/PyX+8rP8j/yavf30i1D//k69fZKeZ34rx3Zf/
/NB9a+/G4du38fJL95/HX/3Xj/7z7Zf85m9/Of0yfnnzxa5FPqpvpm+Dvv2myBX6fkw+w/En/0+/
+dO373/lXnff/vHzi5za8fjXsBxrf/7tW6df//FzcDQcROACDRS/RxgCx972P35/vN9++OpLw9/5
n7e7u93twy79r58+fVPjt6H96Y4L8eWHf/LbFzX+42fH+4UALTRaaIYoxamMfv5p4e98/w4kSly/
+DSwZWldfv6plcMo+Jbzy9HwHrCb3wKSPvJ3lZy+f8v+BT0wy0yEicNRmOv+/L8++pvb9e/b91M7
NdeyaEf1j5/hbPLo/ftF/9Nr8XtwaBhBQVF14NXaZF48eN4JbFmxK2S3QcZm9FEsszhIj7cbC+PS
nR8yBkBTbqHVdMsz0xFVDAfqQLL01TRXceBU6RSpq6pX9RORzFlCdicJZdrPYhuB9WFe/U8OQZpx
UZfyTFuFFYeDJusGJ3LsK7fXGgsnhmrtnmd2uTBqYgxbYqLMurlduqADaxHZzTTqKgnIyDntrLpL
opGQUL206RJFx7CrqGD8PMMrvSWJxo/FahFKOBXrQS/kXEInXLExhjGwBnh7TpeqCd19NGM8VoqO
CGJHJ14I/XErhnvpOl/EUFy1jX9rimCOPXNInD4UCT98JZ3gapPFwxgVN6VhXaBtvhSFjeWv3nZw
Y6cLD7lsMh/Zm9DLt8RjeJ8OARN7c7J3LeNNp2tezazE5w02OjEB9gXemBd6ozR0XIIDmjmc8Gw2
vx3nXirzrxjJKoLADIPvG1USrgOo7riopFThad15084KdH7Rdt66s2aCSFV17nR5Rdx3dFdl9amM
wg+TnW/EGMr126DQ9oahSoSXYx5a6dPRqlP875KlDb902XqaMdnJyKW1kxL70xjONx7FwYe2qF8n
DYu97KYxQYkoYztAf+JvkgjK2nTjsqyD1BFQFRKVj+rU1qbGV8lwr1r8KZPZLIeDyyWMJ+WSXWiu
J1JZwd1iPQetLjGoVsWZLiiYc5swsbBtutgbhxneRxZP2M9+KortYyOCgypyrjKmPLu+XeW1Fq68
GIdlud68imYSd7SzrcXrX4no0HQ8cUH9MrdOvx+bDAKvjdWGNwdniDnKdOjX9lxZmmwYsz0Y8/pR
jZ1OrGoM3cTuevjckByw4e3s+iQKmg9Vqe4zC2ZYwS5nTnE5vLZTsS9G7ogzHnqkTjFGpwlMwd3c
wcDMu1NMx5NBP/XaiqupTyVwrNLtzdhahyHqcGTsznuypFvz8yxVHJUrVtLNDtVhsjrcjLZPe9JR
jTq6XsP6EAzXplgP2BmUEXSUqwpFde13sQ8EWUBxWotdRmDIMfcG+VpIP77kOzMYkpbAjuHXDvBv
7QmXxcsglXwd324A/0/uB0de7/9++b/91k3PdfHyk3z9aRTffsKhOpe/X/uPv/7rUm+FvzBfoPA6
CnZY8o+2Fr8u9Zb1CzRF5kHQROBmYTD576X+FzZoJppHkzLsS3BZ+tdSb3i/MCg4enNALoFCBvf8
byz1bPxvlvpj5UjAOprCoy0LyTXvI7ptA8VGOXR739csLbnU+WVka7zQCBHs24t5MMyKJFdsF3ZL
tIn1bLXX4VFgfoT7mWPLPokmg3dg04su0yWbMELPN48E43aWOGCQ/KWjpIpkc6cbz4viVZe93FVK
Fw92PS3kpufNqncScL5JHZbx19arzGGvrcm9VwEu8HTHwYTCT2YSRwMEvScTLiLOIXClnnfuilUJ
ou8tX9I1yteHHifa5nSaeVs/hcHQ6zNLj6QZzobM/bQvLPfEtmSds/6ufpF0rNB4F25D9kR5tHUp
qj3Ca8uuOYryN7LMYrOQ+RyvXoPfh2i94jIytNfGvj11MOAtvWHTPhnVc4ND4pPpzzbDE8fTSNGH
MHrY6Gwee7ZDvQfiGq+qsO2yOIxq61WOY2bFOhgk9a5LfOqyLmNOLyTrayGtUO4cpF5hwkJtF7vN
NaTe5Ys1msCIRbaSphginyvXYeCUCu2mvtMbYeyO1Xa3FIVvJm3rZftt8aTcLQMnk1pWbfjwHoop
PJjdNByK1hmfVDHXDU6ZbXDtZ/5wBZ8DhXGvNqOJ1+m4+NRqqSZAhs41sCSvyy9EWg+30s+p+BVx
u5LQ2WWGTYk97UXrzNt0MLc5dzF+LVo7tUQ4rYnTRoO1H8ygbw5279Mx9KFflrfrgMXR7db0S0FU
O8SFUz0ZAeTLqSTUAgiXOFF0z5A1C0tLa9dEeHXEdje3sFg7VQ0J/uMeO+psr93B8wsXl/183IyD
4eHWdVHV0TReFH5pNHvh+92aWv5ghikepy10hco2Hvs6MMrnUJe22gk+R4+PAlzeGBu03tr1OOGJ
k7x0+jJtVjcPwVecTe7qscdXimg2c7rQpYjsRBVOH8X9Wutu13fDCkDYLFJDuywrK567ubBwch/7
3LiXcvG9fW51iOEJPlPl2VAtxqei6UnLwR4JKyZcVvLiouhws7ktpl5NHz2aPZGu3aiXzw2uXXh0
1fNYgFuLpbys2kyRAB0Qk1eQVzlf5RBclg/DGI3Lab+gxN53W3ssg8jBzB5HO6rcVz63IQ+RLkIr
VTxA3l5pSrA0kDbdnbcQ7ZFgLWAXe9Frdo1VIzJPO0EWwalVhih9BymmLQWj7esrtqQg/FC3w4aS
rV0N58zZchmlRgZZ+yAi7b0GXjsuqVsVbbUzvaMJiMl2iSqoaGq572dfWLvKWxqkIs5olsSgQ91M
wq1Zh0tclkwMubKpa67sNWflynJrtL/Ksl0pA81sGq8jq/DMZFrXVuyPlNQca2Ad+DFKVtlS+dTm
eCoNYmN3HS5++c6GEF+cILnpm0vy4MDCF3NQ8sq2WHlOVhYLcarUUtNVYyPrJTbPUXY2iHkOD+3W
LSSFKq93kwCNVZZW0NeQzTpCWKlk6oFpJF557p1bTpRMXeGuXqpWXAzJtObjcPf5pTZQ4Vm2tnOf
ilCWnyuKptdeZ94rKmWrS1ul5SdzOR69UQ7/YIh50PFqZoTwTBaGq0noZl3G+mby3dm3WW5EMVbc
CSYW8EZC4FDXWEf4oSOFb7R1wZWYN/Nrh1oRJpquOgSYWSmGWC7Ys1h2H1xVmusa1/YkPwlfDq+j
uZnZiXLd4VWvhvda2lYbxWR1lzi5WQqDukbU8lNoqdBGwafkVyx4eXxqj+B3FiOTInXKOkRTmL0h
Bus2/TlazHaOhfRN0EN7XakQ1xx5UOFtHXYB0O/CUxt5tBvj3joUp0MYltN+a7P1YTFd0V9YTVHd
d6MU1WHxhsU4neHrScwHpNGlTuY6jwi2K8c4yW2J5hX5pcVku2kneTHpyqTwaddpS1zqMjMRRKp/
bNAwfisWtzJT8HF9O2Mpgr3NauZLkmeTeU/ogHfqZ7bX73NpZNGJa6nscoad/JVx9lLH2vI1eg9r
VC0jonLVKRRlKWPp1OOFLX0P6JbU8nYvVCivpmVihOl52rlHPzcUyYxzYhS3MFbsxG2b4YJkiqOJ
ttPomwHo3z2MBUFUcdBnFWuRXvGut1bHac/7jOBgDPVM+77n8FXsN60n9tuk7fMsX6Hzt36EN8qU
V+h+TKPZ7jurUDdhTQtW4uEksLw7GhtGRCzFGcq8J3cDQNvVet6ej4eQSWbTYsRFIyedBFGPq7Hv
jPX9BrXlwjf7sNwbQzl8HuECXi7RYrV7p84qCKp9+6kbm+VTWxv2o2GueNlkrt1cT36v8sSXEfK5
tZ+yYDdn+dxj8Tw0H62xL53YsSqHPSZsApVWmSFOhxLrYePgasM03MSdS5JC0AshpZk7WzMk3hpC
3yq/tAmxYWrw1c5aae5XMKmbOWjVPRT4tospgJD/ANXTw5ThQnQeFftwYiqBeydZB2xvXbhVAqKn
lZmJZU+4gUK0FDEa+uF2ZJLyTGXttKnw15CN2XH6KonmvizjriFAhOcqwGdgpKf9xOh/eKkhD8rE
HfDsRH1tVId8hEiVzPj43gbM7p7tXBcf6wKjybQNi95JYMSSBYn3g+0cnMiSV7Im/X1RvVBpZ1eN
wnnJG57Cwoyet8mr7+1ceueWWJ0HCcOgSt21ll8xWm3MGJhJRDEEZYfsS/4wE4yolgjxBs/9BEpZ
9gxkc5uXGs3LiRzMwUim0FZNiuJkIsrNmtVLEQTwU+xVRkVCFHi0xnWJe8UJwESvd6N/NPoJzHG9
M4q6sxOnbso5peOfr3sbjfHOoqD55pHhSFSgnsXnNl+ghxto7rCyopKiENQ6LFJv9FURT7CSXtTc
SLok2sTrcVlhVwS5bBFZG31V7TdnDcvYmt0SqmZeq3K3VhvN4cZmdCY7wyCsfOm2EFqGrHZW3xEW
ntVReS270V72dc8rm5jH7TQ2W69bk81vl8+FV/vnU2k7C9iBUazJsOkyPAxL73aJASd23aPHXLPY
yfI+2HtDbeMS7HW45uetrPYk1C63btQG9U5XVXbd1HjD7KJ2g9ARSl/1VCEFMAh7bf5oGLnzOtCw
NalplmvDg1nycdbcaD5S+C0fWsoCQkmrURNMpwdScbVT8GOZ0xaxFr3TJD35VvVedQWgjWh0jg/H
sLRfCL0mvM6dHAS5c63CJe7hpz3RxLsPpSzJg4I22daoPWU7IQx1wh1Og7JOm/woz1SjikKWslV/
K2GeXKFbxy6pBuq9JfBLvTh1RLSIluv8GEjF9nGEiHHXiIqgOhbN1KmFb2M2tmIeSCCj8pvrAUrh
S+g23mecrdYlVtQMblqxwFJn5ybjsjXzhIp5/F37XFJr3uRNUx0V+H1WxhMUHBfosvfRtIrgs63n
maLL9MVXU6CPoA+et4+WKeTHTeULXN+BbPPYFMr0YjMbuq9VEUz1jiKKTSiaZVXHK/7BTlzqCe19
EVb6qWwC+JcibF0MQ60CGMHz2uY2n9jWcMY0ZzemPWEchDkKRHhT9IJ6DZ+cONQNBT1hde5LRxza
BBFAzo9jr5yMwACre1nGIRvipa98zABGGwHZwAZHtIOBgiVWPfqxRK8ddiDZoFnRmIQZn6Q7Zv6t
8pR4hrwwPyGJz69DIK/txvNVM5PJtyzAWpnkjk5mNFGukwt8g6Yyg8RWtMg+BTbkZgIUml0MIKRO
bE++eaa8cK4OWbsOBpd2G6aUPMX85pghSU56LusysZalfCm61fwmbI1LXURmYJ7WG4ZxozGxrqhq
WXWcaWe5HCEJM2pxKnVX+rp4KfAIInCeSOcHvxumT6tV9s/2vBoIjNmdH+QEXTsxp7G6U7LOtiRq
2Spip5+Rpm0tDZEBmATyQ6F647aRfYVoPPzcVP6qkqPoyTvYYzh/DhxdLTEirjpPNyMv+njuKVz6
fluBBTtHPEeSngFZ0OQ5Sa4jr4xnzx2/NKoong3hlM8KI53HvDrysGrDCpHoBl55YQ05HSH/3N42
YdU90d7Uc9KGy/TBG1z1GAFp2cz9Il6Nx2ku8pFtgPYtzryGfDnDbaqP1Rr5H81WGs8mIjySrFXh
PW52mBs0wDaPvV7DrdznrphuB/SZeBdT7lwCTTav27Kun1asRp9x36pRHwSm+jaRXbPsebCas6Bt
V0KI6rkcsavIBhHnyg3IfUGr/Fj3kXyC/4oSKaDyK+PCElO4D61mnoF265qqeWW73W1V638cbWdY
rmDA+11SdnibnE0N9BRGOZSii7EKIKLCsL7Sh3V1sjm5W95gJGEE6M5n77iANfNetBv1YFP4/EO7
hDmtp11bV6todUPBMMpPrjdRrXdWFuU7ZTr5C06qFrCfEkgCZWvbV9gocY2zqTCdHSbLcrtzF7qp
OMohuLP6jANPiK2RUR29i9tkKDZeXOETI87uFljTOZuqv8v6DXldMckAPV9PoQinFRoQvhytcuK+
Gt3w1jqWq/wQwrHPqz2W1FKGmgxrTvKxrrdkGUIJIWXbcvtT4eEljLGMto+4eDU2vw5F/+/gZG+m
KP+/TVj+eqCSMFYZ5NuZzPE3fgPR/F+QFhxTZeHiQDc4TnF/BdHCX7C6wFyPsd3RIItp2r9ANMv5
BZ7TUfgI7Rr3o6PT9G/zEusX2L4M4I5s0KOTDjO/vwGiHceev5uWQGzBVQVKiIVzLXxB691YVFbK
ypyuTmdzak/8TG3nvbPg9WJs+gcjQxDBPzkSB+JqHB0W3w2zR2spw6xF39GGtkhE71EhwL+v9k1g
PuNwZf8o+ubtbDT4fmpH+BKGMFMhQEk+0O8oHtuUoSSOylSIqjgM4wrYUY6rftUhC1StiqGOfboe
AAkqpIffQaq/jaV+P4b6s8vqH0l7R1sxLu+7y4qtWiGFTw1sFiajh84d9IE2a2xTijhm+X//aECu
PEA4UsD5ejeNZXgwtm4n084KW/uTkQ0tDnsLtPl46XBY/YGq58+uK2Tk74NfaGXmu4k9q6dYZC2Z
+ZQNBm2bgWAyeHSr0jvNJL7YYVc615XNf/76LN+SSL7fT5ebCb3j6MTD12/v5+x76CtDCT5g4Q7b
9wlLmJ+UvvOSDbVKtEFcy98/IuIcCBg4ZR+ZGG+PaLehQvLbpLnZUpyEjEvSqPHnc6+zxZ1lbltq
U/z/IJIby/T3b8pRsoMmGFKEBVL+3nEHjv1R+Gtjd2fQget12IAcXJvOfDo26QuT/UvxvXMPvnfx
1ij8U3Fs7Y3vXf7yvePv8Qu71YZds7kfIQFr3OaP3necoCMMY0uovsAP6iOU4CjFNK2ypvZ5GeBP
xxQb7rUR+cN6WG1lNR/dmhaWgdXCnFOpNZc7L+wBAvw1m4NUAxB/cJdyvhWjHNcUlKO9mXgisKcd
cDLdEXbcnRm2JC63KnG2AZYOaE1qd/P0bh0Uw7itCiZ4LMxpVTL3lpTnYV5UlBXroMdmb4+eJ8D1
mqjSViJ1Wc4H3bk+vavTmHOyrgiF4aK3/hwH89J8HethfSzhovqHwiqqW29zlX8zRyhGFncg26YT
fuWmYtnspO4hhaTQGGawWlHWY+x2ZbAcCgjOMzOvpiV5m24NcKAOtifSiwuRMBSx8BouO+czlPIS
fndm1HhuUQE95T4huVht83DB/2itjwu87/YQKeWHAKyWBfGtBW3eKXuGIreZOTkherVpDFTonpqb
P34Tah5pSMOo/EpBRlGJ8LrcdkdjujMkl3N2Ukp3dh8cQaZFPEH2bE+bSHWCUnxR+nMpCy3jRc+e
9Rg5QoHS0KwHzZVX5Qq+/mKAR+9wuGzFA324ZJzGXpFl6Tp2eXez4RdmnOu+rKGliQlGeRZXs1v1
j0aVL8F+FHhPXc0S59AOnx5kfssVpZzbf6jsmU6qcaWL/w6prh4FfLiBP8jVX1gHiU+PUm2OYXVr
ojYXZ425aPdSiFluscL7WBLE6lVG4NKZlE0OSNZ5xiPVGRKF2FyNEQNh0fihRKCgLU9/tvOi1hcM
TOz6YukdtRxw0J/7r+QLAYcnKH7NfKPBGaEmcoO4L1cWSXD5izkZ0rpzmeo7+J4XYO9x1xuBlzIv
WZfHzQTuirH1GvrUplzOPvOCURVXBMDnqYa7W8WMnIPXqXbtPi7HqooSbW2YZwis9fLEHIOKUsxf
5vsm6MctRrWlKP4oswUohasfxRwt93pdiY9QXZMtFPsbrh8EWpA5HS7LY+cU/e3ksktDmFSCIMRo
RsoZ1lV2WQeD/xktaXZoNsur6EMkkxttlG4er03kXpmdQpdek75exu42oNZofOmLizxEkAbwoa07
4VuMnJ1avxjWSt4n9rafHcDCl96O1inGUWwZd0yH6+u8FebzoMLoa6Wz7guxQd4Mi2GYxv0a9nMQ
15POmJ01MI79XmROLAPPeckRuNj0+q17BwjT9bSyEdezkUF/X1jjpCAMbY4dZ6qqXh2bjBWS0ULv
SzDSoiW5Z0iyyGZTN0/IWYEZaQUy32xPyVUrP1vTghkx0jX3q9Mrs42NJRjPlDtXUxoJl5l/RTDS
5y3CWyTppwr8qPHKzEi21ewecNSx0P2O/C8WSuDdsxRd81DlslDxwrQJ0KG3cb0Trd+GMVLN8dgS
Ie2IDafL6FjsihsXNbaldjpz5NkCnsDNsazi3vBaUBusJbaJCn/2Hruwskh3EwGjvCEz8ORTfRTc
koq8guyHfcbz7rrNk5pLFe3MyoJq72I5hiFqIIxx5zkboEmj4CWcZ6UG8AdWywgDMQhUAuTI9WVG
3wDubAf5raomMIeG0zoNg64TH4rQJ/IZtN3ISoxDbMz2Vd7Y+pq+FmjasZgInq3NZGOx4a7BcubK
xvIPyl4if7/ytmWpRGoFO8awHTe2+7q4dMYqy+4H1cpt77eW07C802He+Y2B4KopN39DQsuGFDeL
cvKUxDuE1gamw/WuEPSvu4UkUwVuABpOVlU359HHvAvy/ALCTJidgP7Zw96NDPTkY1lvgJ4dauev
lqvm4WLogSvioAhdfWr1fRelq6OX/rrqxs49Z80NCl5E2YVs1FPUnKyVsCpymxtsi5JVdHiuam/K
hq+RYZrtOQS6xr3kxLbtUU3hipgphwzIhuJ6xXhbldlkf5gDD/E2tlR++TysDTHX2VDgSp9x6OCi
N2DqqCRHA5Q/+609WztWAld1ECbIxTydl9lhsDyrpki7YinuZGgyFO5Y+6rYm+2PaJTUq+iEuF2Y
gp6PwVAsUEMM46vqJ3VihTS8oG5SlJgTgxcllvZ59ezGmxj2tnW/JrbPofaV5xGNHoX5cC5DBlVx
hmUFQpDOYJudM1jZB7AVOaSKAdDLWPA7CRg04onBNubEcEZxZeghVyBgbYaij1byBUqHZAUqVP+8
CHZzLPpV70AztPLmJDfD0d0va5s9+LXOZhVLkumn/VJm66PjO/T5FpjxuVMSt8UdX7b6tDNFpz7o
rd7OKACKDlDdz8hhYK4/XUTAVdvlUrYWLv6rCB+OOgsQpS4Itx3YGRQfcKPZ3rlb6Y/p4hWLvJtB
iEJyHe0owGZ6rWY6ZTJXz+bAnZtLyaTHQ3xG2vinYsg3/5Hle6riypBTEVtdButmWaPgaw6b+rHf
xugLQK5xxeS65VaOvoWyza0fM/AvfeKZRcdcf3Bafyc8Xzr7EVuuMV79dezjrWrCIW0zoygSyda0
JY4xMoavkBp1Jy7rfB3nvEBLvNVMhnmvwnVOlN/bZZLLOX9Cb6kvcYPaauQj1D+x4wnjye58+xKZ
K4BJ7wkXeF4COwDk+ttXd2vUhaxEY1/2UHaWpHIFdGvfG9cmMRo4RcQZTKOxV4Vy/Oc11OSaBgb4
1knWc3MO47Th5WUA8LKKhtVana1GyNJJidFne1Fple+N0RVFjGFd7533vEnyngzJcCJreZ2P6cwr
Cw3MHLbNVKhpW+JSUEwkuZvzZowSb1lcMZayGlKrL9xHZD4kjzTriGjGqVxiTLTJjGO3ABcJajWV
nwGLBk6CPXn3HFgbmro8sDU1aaQvNw0dbTdkbEbUOqje9taiNez9sWIhLteisAZoAI420m6E6fd1
8QuEsXElXdJ1jqZK2WvpyHk42P7KS2kWoig/NZHTMTdhwizCl4jhe73DsXF8wDlZPhuAb5wOwO0Q
22YgqyOQZ36RzJm3s1aNQZGWQtiv81oXVyOKwM+qB3zdBPamyy1p1VAZbCNqokS1Bd3TuIzH1zV3
z51NLMGhiYjkOdrkf54b1/wyuDYcLCef9FPR9dZ6GiK6ewpQv4mko9hxAHSd7molGuMVplp9ExmM
5feRHIbPva0xFcDhANb4YLSivqAq+G/2zmS7bSRN27fSp/eogykQwLJJcBZJzbK9wbEsG2Ngnq++
Hyjz73LrL2ee8rq36RREgUBEfO84XqO65wTIAgzMPuG4SP20HFvUZJQGoxroIUJYD2jD7esib1Yc
jlFOZEVjfkUQMr9kGPPytTbJ+M0FrYYTySuTr1AXwzmqqkaui7Ryv3aRVz14NqT8im9e37dGkRTE
jQUzXU257rDj1/p+1guQgNgLh6Xt0tBeo0FUh77MvXE9DmTJr8kc1UNUBmn2tWs679YeTAFtBp/Y
Q6KxmUcHqlVcMgTeeTb9nXMzFvptzuOBliGOjHLjMF4Q4/PO1hFzqm5R58HhJUFjfSoWYq9cKD57
Ifs4ksH7cRINz8FCBk6y82jfIrP+RixkofPOG1YDms21984nenZfLDVbwfxqvTOO3kI+dqMND2kt
lCStUbCTdL06L0bSNXfNMM+P7TuPie6pjZGML/zmtFCd4p31LN8Z0CiJrMfynRclnpkeiiQabdwi
79xp886jVu+capBP0132zrSSpwLp+s6/dn9wse+8rL1QtO07WwtXWV70dw7XeOdz83dq13Hzgvd6
YXzfB+n/Qwb/U4Ds/Fprt0a/XX/N/uO/ftTxt6/5f/w/7d3PcrvlCn8ghab8BwCHwKKAnA2joYVy
7k+5nf2PxXqG1J4AIyIQFqXbn8pqlHgLCIgHBYBiiYcCNvkTKTT/YVIftoRU40YGscG69m8ghSi7
F2TnJ7CQ58izTM46ZHSBQWKF5d9/QtSYAZlh6mwXF0qB+reDaFAmtCWLtaYtFGqtf3EajD166XVQ
7zqWicFpryUj3Ysh+/FaEyPGBqjJfBsGhvec2vEruaKISOayx6/aM61j6zF8po44X8e1Lr5LK5mO
ZB07/vsVxyoefa3LXqfUNPyJjESiIKSLyGME7T9Mdl4e9K4cn0NRtjeVsNJ70Hdx4xgTR1K3QECl
LekAM/G3V0ThzlMQRdPz2CdyzTDyZk8GV2yEiW5GkCVYMjSeByey1rHBz+rTmG+8IMvPWU4ibZC1
14iOtmssurckaeVFZorjS2aRcFLq+t7KmjfCgZFG5aq9stBIaGhZvGgjZDwLcL7rIq0/KOo64Q3K
5gcrxWuvljWNn6TMS1701BKPsGtveI6mE0fwjPmNjzwM/PJxkbJUWiz3cZySfDgnrzLkBgIupNfa
nWdr/f5nRLkknBh9zsv7p3SnIb3qi0xmmMq3Iean0rnxQ9RaftxgCy1GgetF9ww/1Frxgyaa4sXr
7HpeR+bQEqak9D10XnoVXhAdTAh7v5VcYZTiB98qlKlR80fomrac7ivD2GWTnT5ZOrc5UZG+ZRgf
tmyG8gLMI/eQN+mV4N1g01VTeh1AdsxVwRN3mR2Tv0Tj4wtZ6qeOrSRdT06WwmJEmb7vo2wkII4f
WBmVHFDNROab6rgmbkaGUIcGYAFzxJdHzJiO4It44+XmJpHr7OdRadaqXNRKicxeqzzjN1rDm6o5
3jeauTYrURyW24rWUO49mz85n7jBVqVeZ5BB7AD8UlmGzg/Xneofwg4ZpjC/77MJBVZiNW/WiMjd
Ful0mbTa/mIWJnfR7S9pK4ZbQs3pH0GhhQG7eUYTdWtkQdGDgRXmQbqxRlbCUGUPddXKTcL54KrF
FWGXbRDvALqW83BnuM+MizXiEsJ9RTu5m5Ldi72e1qvQ8QokU9ZQbKmV03yN1/ZSKb3bEAoUnByh
W0jvPOVLs6s/xwQSUic0xgcPPeuaPvXej2Q7piutkeHbrGqxz2U+Br4wi2AvUY+8WfoiKWmnojRx
TrTFRkFZ+1YxN+cW3G/tFm77PRlEhr/BCwnrHD0USzVFKxKVPrEu8atbkDBLRrYBoTdTgEoliXNX
6YP1UpL4dJ/Ykkb00KT9KbOm6GvY8yLMs1Of3EwYDB7TcD+FMrnw1HcvZIEYm3y06RZDit77RaWH
l8YxyqOcB31rKCYqpymWgxMCyQ3qXZNJpwrusRKTbDy13m0HMQERTy40miDznGJ4uoQlFN4QkAlt
p33LSK/rEN19Eq3rui/g27yewEB9qFCzh+4utuZkI4fEubROR3QOXVkP+pIiWbmdvp6FDI9ZqTKS
Ht3ROQ9oGl8Vv3ZLYqk4dKr41kmnuTdYKjkW9KM4ZkiQUWB4Fye2ND8PF0VP1ZCZxndLs3FOIpge
WBsrKCs+YV5vrZ5XAuOdgGY07YNmRgGSfTUcMbA8F1Crt1FnGJfEKeKnFGXBkXgyGxq5BD1KTZ38
N0cHb0K7kR5VYzrlxkNmcDBK46nRnfjFy6R46UoHkSRyz7kdokdJdeTG0agb9SzAk9lQ0z6eUVcT
Mh21RztvgmdhatGSzzvtA8Bi9FNRtydTHXgZZzAqCStt16Cq6QnCVzs7tQzu9XTJrwjKvlrXekf8
iDOgv22YjLYl3RgIod04eyvL4HvdIlSLtHFvRQa4tDPHDx3HpH2nlZNONEEhW7afJNjqI+MBLlzn
pUly82C0OX5fmmb29RjJDahZfeH+d1SZNhk6b5VcoynOt27lVk/hUM0rZzTEMQI1vQ3DkYDwoHV9
dEjjZ/Rs8SmaA8Fb3XkbfCd4XsdKX4HpZ5vIrJjna7BqvTCpYwxl+HUG11+JmtEwNqvW12ftUzoH
s7Ua64IqA3ss0uOMhPSMNj30zdo0D11Onkodt+hX87xJAat6hJJq9DaiQ+xrl7zeQdt/6+3uXCfu
uEKuDS6liVOGSpE48qw/6M7kEYyeUVHgFqI4ZUqhY8UAc0YUydeBtAcIpOwtWhJHrz5NZgSMYNQm
D5QhqvtIL5fwPzmslY6fafIInqj13nmpex1rx+AO37QpdDkDlI9Nn8eHuijVU1N68zNhhe6JBHF9
eSWsi8QPwyJsT+axZZYQKyd0cCs5A071OG4YtGdNHEbU2DfBVMx7S8h+YxI57jvE76J2RnVnzkZ2
CXL8h27UVDs4AWejeS5rq17wQsCzHGocMc1cWUenDzy0pF67GREzozRip2K/S2jFRBOgheF91nXT
JRSDd4rbOX3rBsrci0Bg9inyxwCiYN0b5rAm9EJ9D6nZPTsKJVkzlTzFiV1s624uEE01DwpBnLcq
nEBuFaP+d6sOySlwcRIsZpqm2eOHN09uDmaqKyfBBqSVpG7zCxFC9NXVK1P9DYGaPDW2Gz0zpH7W
psY+6eD6KQpE8moJ4FV3GXM48egsak5RLVzBPPA4xsU9xnCb4c9A9G+irrq2RXU3wj/tqCw9645d
3VHskPMD6AYWQc9ecP2t0FA2amPux33eP0D7LMieNuwCIq/KSDynkxxvNT3o/RobPRq+sF9HnlyB
UwM0W+rMuzqtQ4DdFYTGcZB1s1Zlqa6YGm4biw0gVuYj0i3fUfMrJ1hEpmMcbQtPfPECg8e0da1N
WesaLy06JxL5vHUpswcrlqjwiR/bFGLUj2piuuSYpq11r22eoXzliZUm3xiDZdCZZKNFKdP+de7H
4gsR8OjwAjeur1h+xwNKaPva5BqQsj1693HpebuG8hgUQtH8A+HWsR70/sEQTXCltUy7iNzFtFGZ
VAuE1uSrin3OGVxrl1T4HURc4WUotHrTa5m1iQZr2iaTY23LobO/WbGbb7JITmCO1ogvrW2eHDa3
s6L6qUR9ZGgH2+zA7xHamANvjSnWrnIqf5py/ckdlfNtMsZsm3PwXQtEjJvGc0p/Crpm101ttY1d
OW6tgspEt3flQgYov0/HY+SJFu6QV5rwyfYczUQo9l3mbBpEUsckydWuKBQtsWC7FSTJjjKTnLBU
1gk3bpwnC6wsqc1hM6OrJmDF1g6OavEqiNEERJjUxs0ce51k1hLGJehwpWZzRFe9tdCBImS0MSeG
MvW1iiUOeee8L3Jt2lLiSALo1CL/zmtetKiPT31FLk1lD93eNVp3V05JvNPsSn+botTZgYuDbjfW
BKgqAuC9bj4JgLXbkUNBnlbVt9BRpEfG9ZfGs7A/21NyN3NeQXo60oY52ZyGe/dSiuiqzZzdjBFH
d9Lk+sOkG1dU9aQPm2G1Rh3s7tgYgPsnafab3tOab944258zdrdvQTR5h7zseboKfTYOOUohY6sH
EJIriCvrDKqnAScunXs+1W3DyXOL+iDtzLrljS0PxmyLs1vWcKCYMOJPOhE6N2QfF5egD9oAsEOM
j/C/1de4hGAvzSLae6hCb7vGMCDS+uSsCMw8ua6agf7p1gVNblCNdr1R3Qu7zu8UmPlnUn5q0vmE
E+wGq+mLDbuKJI4Whf1tH1bafccrijGosAL6gtNgz5mweRbBUivgNPN00OLGfkJtJ66x57TbIBEV
HhWZZCvQ+HbEauS6twNBa3up6Rli07yt7voI4ejKcoIxoV++78hnkeWr5Sj5xkYxH0Tc96bfOmF0
iwJj3rUFT15kYMnPqkE+D2MybCAXhwKzfWGcQy9ThzxA8hpbOY4NkwxddJmulZyjVJwpPIp8Rzbz
kdzuKGLckRaVBObiNPGye42QIqPlYEXJnruKSvU1TcrQV03Tn9wxjzcyauv16HjDKuxjRI6h+DQ2
8bSGH31SZMKuc9m/1fynTah0zowF9cUd+/RNF6T2ZtSYTtRckucq3a8trUAEu/bdPsRicWOHenbT
h+3XtFMG33SnUdbMaTzUOKwHPLRvfUvtSaj6ezmXOzeF2OSzPk/YqtbmkB7Dzhk2fQdU6EaVtvUU
Ab1kNJ/HpInPaC+G19Sp0wt9cvYPwyuNuyHEc+OZBBF0lF+s5ikON6NFlDXHnzs8qF8mgz4VK+7D
88j76s9JN2wQyDlHaYjwmFettkkRG/g4dm6on0dyylDq16Fd7Eotmi+QRel+kr3xHAithpma0GBo
eb4SZnvTp9Mba2e6mvPI3Stpb4s6wifjqS1FWc9BrR7TcXpQrVBb5NHpOomnx7xAFUOSDKa74WlE
TIsPKbE/l0M0nwqVyFtrCvInbazwW0vree76z4Ga89tOSJSmjhGs8b3M57JEOV11b3EpsOgp43Uk
IRDk1+v9zs05btVOtx5Ukm0TZKJPulaom4S/7VBw3iWKKXkAYjjICDLATof0UxYn6z4Z5ysIguWP
cf06xforzcrjKtasx3pkl/QCkFNOtkfi1rDRivSLlubJujXEQzBoP/Dw+LRrXgt9/FwMRb91xuFW
CVhuLDPTTRA42tFpaZidHYvcW7wvcxDx5+fE6XWG9mL0iAg4Ad4MHRLxtE8ly02VbDxcX2crQVdf
zXZxTENOk61eiqOWugAWdpnt3DDBP6UZKwLBADmTMdjokT5tSgev7mxmS0JXd2OJvvg2FnKCAOn0
fpUIY/Y9NjmfMuHxUQule3Ln3vuCr7/xe1eEmz4Lj5VuMu171jednes4ZO6KhAL48+KcCiWuCB5o
B+EsTLZQ92NqZXcYJiT7rZagsi1mcxsEHs9xB5rpeF8QMTzMtd2uHM88x7F36uP+By6tb1bobPMq
PRJx16/gFs9xK7ybIg9OccG+CZJzibxgR4Ker1nJKamQytq6UhusYgVu5ekZr8ZJ85KnJi6Hs11O
2n0ZJC5GiOKHg5gD7e6b0OZD6FE9nBpMctQ6XLquHPwIMnQ9YaTYtIaBt8B7iTnfrluz2ve5OJUp
25zbefgd3eaIo2vVZCnHdyJKH3o2yZQHYsXR8nPqohWt4RF2IXoC3EK+QptLvzSud2eATE5CRmtq
dwJbXgtNoMFwI4ieRHV+1mYKm98wris3bhnp5x884DM/Qz2pUei7QI3PZUg5Erkn3U7z8iNZKyUA
QPakG+FOZWRSqtj22baftda7KbtsPJp69x18LkfiMn3GYNVoUN/WIzKOF2VpM2n/+ueiqVmuhuaT
oVV3hTC+K1u9VB7t2lP4I7Hdm568ptAiQdzyfoSZcXBLzt1mZpqrkERrOo2i+7lrv0ZFNZxAunna
SqvbOllzCFun/oSroV1RFpVeW1BIzop6cCNVkWyEhoCVYkUU3Vjd/DRzzJVWV96eHa+ke1shH8ki
H1vySq+6Hm+WtutLdRwba1cX9lHlIVOd5uyrcH7L53Fc83GaVVrNpySoPnMzH1panApVXHI3Gjf4
D7edlbGtdoc4rB0sYMR/F2md7bM5qrZZXjjXvFt0zhJf7WA8kIYSgjP1W6i/fDXrermlUQtCqrxH
0/05hK8A82RsyuQtVAehL+ro9s4ByfrKYapYeXgDcatCtUfx80JoaxNmAdWFX53EYhPBE+eqYQfY
FDzJFm8HgrhtMMBd9L0s95zjqTPXzrwPO65y78wJldV1s6H642IHyaEd62E9udlLEjb3PX6QOChO
Qucg7VWdXyTzUzmHE64LqKcwBc1o7OhOsW9RrjI9m2N01LPgamOXCUJL32Vp1K+91DtEYRqs3bjb
40ENH3HDYldxus9oRk/Mw+jVc2VjgzKifclShmwMUq9sJE9vFAEJF6UeYEnO5NeayLxVmsL2tRLu
n+gis7xvyv4JkNDYNWjXj1GY6esWn8TORriZbNw4HcyrMshb5Ryr09gedyRM5pUk7jXOWZEhzEd/
pibC2rR9jrx7Su3sZfbC+uC65OzdQ9XnD7KOom9oJIzPIGP2Hu2beeuZGsnsbCaiO7qdZANuwsrE
yRGHM2p1/hXc0Q6qNWnOQcoTw/KN773rt1gsDeidMmk+J3UU+B6lwvEKfk0/YggYdnXuKGslWvLc
vIrhuzWB8lTsDifZ4EU7TMIluyIRFCmtRNOb4y6PjHAASfPifBFCNaGvQQNmG0XmS30ZTBIULqY0
mlOqeGA2ydDF5K/mphVdS70EWC1FitEIGidada0iAJmMqmDbKHPT5jXqDDwPaeDXE+JODn1FRBQk
zTJ3QIKzfp6MVoG51miT1mFTZ6OPwemxzDJq8citqy995GrTKg3zcNyVBdm7W0TmogTG4435anec
WE5e5tbUnSXt3G3qVK+cXYsqkUxJKabd1A/5LrL1+ihQqj4Qjg4SOggZiH2XdlN1cAfYyUWIv1IW
f8CDZQ+hd8LaT81Y7JbRd0Y4p9vlurV4zSNHGc0KTBdPpojTqH4q3Tp0TiV+9sDkH7/ks+f1N1Ez
OO4RIQ6VQKtsAEZfFIqNTk6A03825VhRn1iI+o2nt/Y2wBeyijYyoPTxIEc9Gu5sbIcNwExmDytR
2iCxaT3Q+ghH4s/TvJjDlINop45sEohNsOoxnntEqfh+pv0YES9Ax16hfzPzFBxtHoXR7LssQmZE
FZPVP44lQLiuNxNVEDHf1N5sHVnvJlFa7VvnqKrU7hSD7QkZWj6uw1h3nw1aA/0C1B12mC7ydpfN
/Vue5OFt0AAw+KXi3+PeYjRts2mGN3UBFa3XCksgRlnCemg4T/VGrJEr23uGFYvbXpWRP4+usYEg
n9c8fa+EcxvW7FcUF2KJBRL38gyHLgS2kX+GJ6jFfayX4Xius1yWrDf2j4lyCG8N3B5VN2nbxoPP
zeSXBsY01BdvLJPvmGPUuBVJU2bXTFDWO7hYH07JFM/2ZmYrjO7NTJrXEpdw4640nbRvmBYiSJuc
ppptVcwZG76GrmPeznM3PmPSmYOHGhlq52tueJ/EhGZR2oK3qvDVoAHamFP9RkNDCaTcQAhwBlFz
fcGcg7/dbJr6k65Ctm9G9+x5Ztn2E48cgRcVzoN8yR07UdsUYmXwp4LCKcosUO1Mqlwa87wWJ1Up
E+/TIFKzPoMzPXVUYPnzgELyqwqbfL7YvSHc3Vi4rDVxgcMVTYJuPGP51QyWrFyvDmjnw8kfsqRe
C76Wp7kQ7PlGN4uNxEn0SReN+NqLvr1oQ69ZexWHZgmenFZosoIwk6u4LyIOUlV+54ahvgYsM9CY
YKnrzL3kiTqF8IykGjSAia4LbusvQ8nWy9p9U2mnWSfZaMj0uaY9kYUdDBU/aIQmbjdlyr1lOqdH
UUwE6HfR0AKYIzrk9bIRZr0MTTCmO3tIdbX2mihJNgP4TdbtOLvlILpFW92YVVUzbSVORkBCir64
Bno07Iz+xQSBsAvtMqwKAitQ0OZdjzC0q1oEEHYe3HDYc9u1iBzne4AfEPxhKNiJMoZX1JbSy16p
KCTVsjDN6i0S+DGuZlqECJXNqPwhKA28ahUWspXkl917GNSqrSXnGSgPhcs9LohRPyUKN9YJ+Ld0
OKqWJKbadmhvukHz+iMSKwC9FgEQYTYtgEES4LiiOTe6s3tT+hEm3GFlFZKgBRVaWobGN0o0XGaL
fa0nYwJ+Mhyy4aAqT2nAPencca1S87wtQeWi/YE3NVnnNQuFpCHN5/1be0EwEUNgqIM1Ty0FTbpz
5UjX7LSizW+MoksWQS5tA3m0m8lef2Tdt7hpbfIdez8ajrEJOrazaRN0pRP5mIOejSo7zxx8aitl
7o2d6WAbY+1r2E/Wxez064LgoDvuZgwUOX0iwMP1Sfq+k0Wvrwm7AvYrzXatddY3ANUQ0Xj7wlab
3+AD20dEFm1JS/1CrJGAHDDuWk5gOMxZLNDdrVqPGkFjaGBeMFbikhlOI6c4vx+c4IZqjAfcZ2od
I+WyQ9ThqcAfIjDhY5AyV6kkBGrm2BYV/lhIlJn66EcVVbvMAnVqrTqslZjequ1MRjX6jRxNqUEv
02xzeOD7sx4JGgzXaIgfcbRWkG1AAkWI7lZjGQNg28ixbzd6mLsv+HRIAagMIlWSUScvoQv5EJO5
aeqUZGWKVIg1wjp9ros5v8RxHb8gDX3P+Giym7LKq0fRC3WOpvBJVXa8lVP57DFiDsHaEwP2M2Sq
yHGo2RLq4gaSsmEGKodI5yrA8wbgXq7ShsKFOS3Exi6M8bZEVnyciQO7JW0/3lFHt4nCYFwJIzvJ
brgTSvl4xG/tudwz8h6QNxabykYL1OjaLad7VG7UFayUqu+CAGGmm0qiXL2W7AGUP/Sa1t59ngFH
Y7ndtuiSViC+N7qLaVqLjGunM5B6uVNuU4o4UeEhLqfA9XVOGrnNCa940Pu0WpXlaK6HYDJ34JW0
T2vzqRv1dJcv9mDMTTSQOjiuV1UTOiAcM4biGCmVH06RyXcYJreVx8xGVuou1MvkTmFqDklhXMRX
h9DINhrjzYH4zRd0s/5AMsmeOYYjecCp5eglLiOK0RXPgL3DVzMumAJaYm9MN37Ryig95Vb6hZDP
6B6V6eexoEygbYS28YYC3G/Qm51ThxvL67dlNZuHCUnEyizYnfTgvjaGcaMjeidRop93eF66754M
3oyUkG4kupNfKZDNzCqf00XSP2BUvSCrYIpA93eT5am2IKaEPDThIdOscUvFAoZAwdnHM8z5jZWJ
2BwHY73XOD/QmRGMMHqPZuPcTrk8aHlLU69b3dWNNaDJ7UFrVUT4iplHT50Bhybs4UkIo2LSxwGK
Tk5Dc0m8iR2Dlrf29NUd5/QG6WKythL7u2XSmMG6lV9dgnnX2HiJM4GG3QQNrFg/jlh83eSrVPRZ
gCUD2Jkd9KKYWu6nh27dtR/AvN4yreZAMY4uE1LS+nKaz23VEUc0og4oJ/mk2XJkx0cIAYvI0V3H
D1ukptzZFjjMJPaAxtq6GO0vSd9Eu7jWHvr0R5qbN3XufSOKR2MxJ6AFRwLnlTCvHzF1w1YZ8d4z
tA2G122nt8zt2nFSzq3p8bU3ppsdpsLCfkvWnjL71yR5KJzkmqJu3FSejfA7P2Fev9hW2/tTot2a
YantVTsxcVjqVdbIEssQpjwZX9o47y+CguedJpMUPltiCSYMXsq9pXfYMoqnvrD2PVEfKmuNb4He
fgrjqH3KdMcH4OK0mnrfhNOPG8UqVLfO55r4gk2ch1td8MxGRNlzwD5OmUXavOtFBLyIa1g62VUR
qgOvgdIQ978GLzJewwiSMOhVteq8YdNIA/AFs1uMmNJe6YlNMIA93oy1Pq6q3ts6A4RfI80QNZwp
ziL2blU3DlfTia+OyJ7c0D1QRRRTzqwO82LK6ex+H4z9q5dgLiEH3dsUWnIRWcKsLeunoo2OOCH8
IC2/WhwD00prVoSHfGuEsetD3DQZ4jagK/olgha3jZk8h7LaWWGJIKK98/Ti1Bg5WbrDfnY9P06y
vRW3l6QonVOjN6mN87zhDNRj8U+I8gvz+GgrNAe4wNf9Ejsga8OENymeIrfdIdAN7upsUJti0rZz
Yx/bLv2e9OYlLaqT19tE1Ll54icaXiHyWm+I6AHKcHUovmR8NUaqRQsm8w2CfnKKcfav+iiK18R9
wJAlhFET3yHXlSKdA+jR3NYaMQAwHMO914UWGm+DMd9oUW4YlYL/7AkN8ivTvnG61rg0NjuYGZkz
zTQi6AaS+ND24m1CGo/RSf7heureLVCm4rXzIhtaT588m0E4PxhRcGW01K60uTS+gOvyUj5YNgDR
lWw2cy/uM5E+k4VQrCNkR3sXe4CW22zqxC04rKP2XKGdt6lfYy9jf8k0ugUSprw82I1u1B2AYnuK
hSxUllJqtx3acoueGUDKtCQqSFQ3uXLdmyypSFlMh7vYDnYzqD5TBbJePe3sXRf0GLCbnGCbZjy1
Vn2JDfHMJncipgLB+uJTj5dMxbownH1atDwEg63uWmuwbqteiTW3v1+7aXCThKRYdfGeMQWUta92
KU2EUVVjmC9fF9Pzpkook9NJG7NnVyN9pz60crjR2voGLcYZhf2haLNn9iSod6LiVPFUkpXkjx01
4kt0S4jFP3DfbBeJ5Zo6TpPISc7Z3wfbis+Jlyc3AK3eOQTZPUbEmmC+53ToB72w3xyLE11cqR+p
x8YJiaZ8RTcxcWKNe4c7qVkPE0M3EiPPZ/txLwPo341yqaL6P5VlOy0Jt/Zfqyx5iP9Xeu3yv/8h
qTQs+x9ycVib1HwiqFwC8f+QVErrH0LHMUtt97Kxeg4O6z8llYJ/ImGa2ENq0xbZ5T8TDA2BEJPs
UCpGMGbT2Gr+O5JKrvOTnlLj2gg2JfWj/1tHiRFTuUR+h7f4SoetlSNVwzUw/Y179VdX/+DPNbBH
1SOLzy0B3sV6QI62RcT8d57jX139gyc2JXhQBb3hXgmaIJmiox6P+txy/5NM9l/4p3919Q8KU2T9
qSNKz2bqNxiytPhcdbX84z0hYeBfZwT/6uIfDMSR6ppS6qO4isZ7soT7RHGh/L2b/rFAyU1qZ4l7
sa8qinajVZyG9O+K0H/xsf+/SiFIYkxmln3lEP+IPxMmSFGY99c3/EOn1v88ix+73YbCITADQdgV
6Ur6EtEadKz1Nv+CaF5uC9cStFrha1F5Y+7jChxLcmz6G8vzr/6yJTLgJz1xnYbEKAKuXoleZXtN
xH7uzW9//Yf96tosCT9fWwVeCRTBFyI42oQeeEOhAwb93sWXX/rTB9dT3C2OGCzoizz145kCJJrV
fvPiH95fqZmTOxqZeRWT843B4wkx8fff+9wfXt7WoEVcBrl5hQEAkcSuUQ6m+TdpBL+64x/e3aLj
ojHa22ublBC/hqbvTRdO7fc++oeXF6ohC+02Ma/eYO6NIbyL6j+z3//ddeFjzVI5FQCXpatulSJq
dQxCe2suRc+/9cHlhxgKYWWO3gID3U5D5hHzJormFq9d/3dhBb+47fJDroYgaqinNSe6TUBb12Y8
obxoyqe//vDG8tD9U/r/P8uD/PCKal3AYa3OwttcJI9mWnE6H5TY9UViTitDy/vtoDXGd5IGB0hN
YkxpiXE2U6LGh9YlOE1oJWkzf/1hfvWXfnilJZt9tpi/r6AiO5B2d28iBzn83sU/vNJdT3viLKPq
Cmn3EPQ258I5+M1NU354pclImovl6HcVlYcYtCpfx8j4txqE/vkNfXinkSi1FQ7X8hqbUn8imHSN
6TH4m+//V7f8wzuNttZACTiWRKM7MEv2vJxhHci/3/xKP7zVZM3QuqVUeZVpF6OigHV0ehxPv/Wd
Lke8n5dpr4qdshuD4kruFpigZw9ngUv3019ffXns/sWr8bHV2RrGnmm1kVTsIRgoQvRmQ5eLI7l9
kf/Xv+IXt3+JDvr5D7CCqo8CwrWuziBo5gJs9qzf/GqdD282jW9BXVYUcXeOF6GPY7BrEID/3nLt
fHhX6Xs2K8sYzWslzbMTZDdVmH75vZuy3KyfNt+c1h9z1pPiaiYVRLsm/puza2luW2eWv4hVIAkS
wFaS3wnlOM5zwzpJTkjwDYIAH7/+tlLfwsGxrLrYejGCQcxgMNPTbdYvYz4ov3idOr7K56ZRowrZ
MQ7zOx48L2j2vb3wcwfG8dScyg4svis7SlpCpa8W6efINuUeE+Php7d/Ijp9vdcOpeOwacCHHGIU
/Igy07ZrRKjvVTF9HCY27WMOWu3DAoLHz7IHLnpTv7eqiG/Ukmyf1hjNFLIO4Q1mNgTY7SyUmUMJ
ls4lV0AIgkMDfIX6B0mAE8qH/sn08o5DW34foh96N6IaIu4XGX1++x85c/JPL7qXH5mC6gclIGAy
Z4YnUlI16bXsIQ3qZT11wg5hthhVkENYMdqgR1FHE5ia0F3ysg6W+7/WDoyxHVS0RUdpqp92nt/V
NvrgZ9pJJiz6kmURKHFkwfwlTpfHbet++Zl2Yk3TdW23br1AbR9Yk4gMx5wBbetn3Ak27drREhrY
4lgk7CF9mMP2wu13+sdfOe+nYcqX5yQ30AqaYPTIWEOyZICyYUHCbYfvC8zD3Kt/eDkARx2E9Pj2
v3Ky/NovOuEnnoRpi3pgR2jarO9U3tT3YpsSzP+AG/vtnzhz+BM3BNHQnqi/xRENnhb0M817Zhu/
N5fLaRV2OqlLdHeOaSiqZxBOqq8gwLDXfit3wk8LNSpwzuJOBJT1XkX9dzBlXfjS5/bd8dl4HVsK
uQV+HEOM1ScxwKdBGYAYmgMH9vbq/7DevfJtTyR+L09TXWLarNtifrR1w77VK2hhQLYAgByGUJ6n
Luk/MD7aW4Bvcn5VhtC4Quc0uJrBKnG7VUP42AKHf2K2Sa8Aceh+vr2sM8eBOk6PAT0wN4Cq5rjE
JQGmvb4J0+GLn23H62uZpmMCGa1jKupbTrpiP1Ry9PN6VzW3izF1k4Mz92jqMbqmPQEflBUX0q9z
u3L6+4s0YAtniLVBjA3PTQ3gxQiIpuVF7hdoT5ooL63HNhwCCKhFR4Piy1W9YtwZGrOb58Y4mUBX
LhEQ1Hl6BAHAdNcCuNQAnOd3/bgCiFVhaD2CIukY5/YpPTX15Jh4HhfHCQkUsoBMQW1iGZYH6Ksf
AJq4ffsknvRhXgusfzTKX3xQi1q66AuVHis6Nw8jn4sf1LDyY5pDMbsyFVD9YSqmJ1A0YMYLA7Yf
+439FEXXPneSTvswXfgXqDyoS+LP5xbk+B2vocIQQ2/5GBHMSu1sHPEP0tLU7zvFjusRkPgKQNSh
3ZekN7h0f2ypCf0OWOzct6GqOdhD0S4sOlZdzxq0uhApXDytu5cuJr6DAIpTR3Dnpu85B5isoNrv
gjqRILz0vLAKdVrgpX9sQRgG/dabsmgPbx+xcx/UceogHQA1nGAaifA7IAdTdHP8LDsOXVOVFlsa
NkdBmh+b3K41uEL8TLtX6ta2ekIX/RgEGD8YQeE0TmvhuSOOP9d8rMi4Rs1xoSDUnqtI38wcQDKv
pZ9IbF9+St3wuoljnh/zBeoeQQXBpWYN/0cu8v8t2/1R/HwRL5gBo0MIvbRjODBxuzRoExcVv9SJ
OHnhK6lA5HpnCepGlRN+zCkBVrE9MZX13ZOCcNNtbDBBp+W23fntk+Ot8wD2/4UBmgEezeKhR2ce
MzvAyvtZd7wVk2dBA7gFaAsi5PNBPj2TSl8I2mc8ytUfNQVJQNWEAoWpBgboIi2vzcKsXyiIHH8t
IfRTb3NeH4O80TdAbVyTIiQXtuXcB3ZcdtMzxMMGkx9ZklTRXq6NeZ+YuaEYlZ6BhYoHyU+JVll5
eoPjyCTZZhPn4LYA7GDGDHiEwbRyPSHo/L6z48sCDAbAKUbVcTIByOWougbkM7zyMv5Hav6Fs2Fm
pUYv3ICiowCDYzKV0LuZkuXCMTrXhQqdqxbCBxokXAGKLkqaK8k6ud+2sL5pNcmvwWE43QO5gqnP
EPydUFSg/059iKzP739zXH3M86jOaVgdwR+DoZ76NhZj5mfa8WxMpBIFpoH6WPDmYEr675LrL36m
HbcGQ4wq5lBvR9ooSB9IwHRM6xm5/+RoLz53uWH4N2x1BSwYwMBJBwDtHF1wvDMx40+r4YXtCJ8u
muM8zyJCfwUNXm89FGA8v6Xj1QtgmwPusuXIZvAPIofMwOrG/TwsdDwYAR/o4L4CagxcDeMOzf3k
2wRWR0/zjgPzItIQRwEKC0D/G4zO7TfW33gdFiL+vomHralVwak8EraC9Pkk+oZsWgae5h33ZZtt
mhXI+aNcQIAA0sSPkBnybHARxz3DsarLYiPLEUN3nyfw/uw76Ln4nRfiOOgA6Bxe8MVy3DTXV9E6
Q7kKcAa/9Io4PloOOBwbppqODavor4XV40npgn/2+6gnB3vhSFATX6nSZDtiTuVfzPgdxXopbp0W
+Er243K8R7QLLRksuK1WLR/zEZwIQyKbTyOb9bPf6h1PFQ3IDyj4xI4Mo5gfAgUEcNm21C86EsdV
x6WP2hWg4yMYryToZQb+Hq9KfiGEnU7Ha9vjeGpZWB0wovSRlR39J41Fc6hAWXOzQmDtRkGeTF04
nqcz/t8fCoXjtyART/Jp7MejmsCXCJU7BgBuP3wGcWfxBK5tUBOD46K4cA2/HpmBc3IOFEgvC7Vq
noHz6lqKAGzsfg8NKMD+bTqu0nQrMS58JAbjBDF0tPcKdLcXtuncwh0vruqZV0Ub8hPA8x0IvUNV
eT3sQuF4cNpTYA0U5RkG5c1ez8vNBiE0z2U7Diw7LuwGmuMME/cguKxZuwNv7njj42CQ6v17yzEt
g9m8OA4yjFLte60hBOwHSfqP4EQHNo1gJlGQVay/jbbgcSab1yUYCsdxpYHQX4+KZ5a2IC0KgX4t
Ks8Ncbw2wDTYbMYNpg3mE0Cwu7OtufLabBf/RSq0rfuSBFkZQJ+pBOnubmr7S2HgzPl2IWBNFEvQ
PCRBJjFOvKtqzPVLs3gVGKBT8/c5SYxIKdMmyMIhmneyV5hFr1K/zwkKyr/uKGuFBGEGDbI+mD8F
RO6LurjQEDi3KY5rRkWV2xWZanbi3iE0uYOU0je/r+k4ZgqWFfC9Y9WAL1+H02cNmVc/y45T2tCI
xPI1wKxn+85ixG7AoJKf6cjZap6MK4a+giya6Ac7pphHwIysn23HK0OC8VxQBgfZUqj3i1mumiH9
7Wfa8UoQf4E5UEwgVxo4JrIS8y3RoV/0dpFdiVAYRO1gu6cJlIvn5REQ/k9e63ZxXc2yBoCQ4/gB
UvdkWhDdFxbkcn7GHZ+EtFBRp6AtzrRiO5OQWwndAz/Tjkem+ThCnEeIbLFrBPZnvDUw37Fd+1l3
nLLG/DCQ+jMOSr+AGy44oKbtuXDHKaGUHcuAkjybWHc1AqlyUtPzW7XjlbjBIp0IrLq0XYb8IViG
C5nimSDFHKfEkF9hxtwGGaYck93pFqbQjPA8JY5XtlYjbGsmMqrWT+FINwC0zOC53Y5fqoLOAvQ7
6rhFBnNGJv4UBhgcfXvDT8fhlbz2P8isqejKItzGY731n2WVNNcr256Aug+u3v6BM/vugrP0OGkx
LC1+YJCYMYsSBbYA5Fd+1h33TIYQmQlNgbkrSwz0deEOyjeeX9UFZiVyDjcr2XCsuIn3XQGdsrWZ
/S5NF5dV8xMALt6wcuhFgEVtxHwtJ5caLKcY8tpndVy0IdCb3VqAKMNqMd8T0USYORrMbVSDrLfp
GRhT3/4A586P47AQSVxQ61TADca1RUaESu7VFMTiOU1T+Jjfjzi+i/nybSV2HY4aSggYpWXsgUvw
AMstuZCRnh5Wr+2X68BDHaBtlABqQymILKI45aDooFVWDVv4pMYmOCiR8OulI5iWevu/OucZjl9L
vloWjMHpToyfc5HLfReMP71su8gnySo181x1xyiKo1uj0vp6qmnsd5snzvOUVWAH2rYcrw4wCD+A
neJOVatfmy1MHJceUFzCU7s4IfnL8v1Ac/K0hdXm1ckIE+fSBWcQ9H7EZlHsqJ6pnb/NJvnf+Nf/
sw8GTsG/874TxUAbR5UG5K9+VFXxaFMo//l9UMeh526qCCTc9TEhKtoN9XBNqu27n23HhycwSlJV
tfpICoMR2Qi8142nacdzweBVKBs1+qhNX7yDNBeEwYPQXCiTnAk+ieO1vbYCOizcHkGU1hU7jVG+
K0ks1KDshMaR3+44btoPYDwdT4XsgYMjIu3oQ6jNk5dtF+YUhkE0RatajyRk9+DO/WZS88vPtOOj
AW6UZJ5ani06SHfahO8gCEAOfsYdH02UgliZlSW67GCUpl39hBEfvyPjYpXAfASpvzmfgT4xj2Bf
/s4m0C74rdvxUJC2saJaApGBw13swkh/AP2RZy3mNKz4sgo8yc1IM7QiA6EXtN/A83SQook9l+44
KZKFSk8g9TxuKQf9A0gLq/HZb1eivxfeFWC86uKgP7IesYWu8S5GpfPC3X3671+5WV0QlLJ5kCol
xiNEd74VYBbY96jj+T1y/gh4vii8YxYfKVq6dUBYqUeJWmkF4eu3N+VMBuWCoHp8TRAR4gYlc/rv
0EHp1OTpNzPp9LZnvvXS01TsyzOTCJBd52uAXwEVw1ZN6TUzdPa7pl1cUxemM2ZS8uqYdnYCJYPc
27btLmRMZ76rC2yqGquBmxrQggO1z40MOLS6y8QPzhCeZFZe7kur47KabQlGvZJh+hG9bgyVe05q
YVrJsd73vOz6SaJBL8CtCT0gaL/5vTP/SLe8OJIDyLtCHhF5XDZ5syX5zy0Az/zbZ/LcnjuOivGc
Ztwsl0dQi3yQSfU7WXu/RjPEbf7ekwjSbPXIrDyCnoi9F3LqvtESojJ+K3cuUdHKNiAQmT6mVfBE
2vnX1IGjwMu2C25iWoLoWfby2KsBzCqgHAEHqKR+59wFN0FEB1NEMSmPoKX4whP62TS694uNLrQJ
9AYM0+eqONbQkNzNhbylKi88jTuZLtEYerf6NBEbSPBFLuAgBMHCZ789d/wT2L2o6hKsHCJz/Z4n
LShrl7T2XLrjn802QXKX2zwTxsr9KLi4AhWIZz3FBTOxFvxZQatRd6vE9wgEcCpsH/22xXHQoNBb
A2k11IEgn6Ti8Zk1oWceGjkOam26Qm5W8gwiOgRqwRN4skZwHPut3HFQSiGdBBVihvKY+IIa3GGw
6Scv0y5iaTC6VHlUsKxuQSTeFGsAglPPHXfxSsAMCNovQZ6ByB4SDiK8CdbGsw0bOmnuAAUr9PVr
SAaxhX9fICHweznphfkFrtDx0H4g4D8EwU+2Dopfj4aGV6YWv/123fXQUlfQrFriDD3ZTyA6e4Cu
l1+G7mKSQPmELtucRlkximHX76MKFGl+q47/voWgKFUFAIHNWdDQ7sqGyy41ZXvtZ9zxzm2rczDT
FHMG/s2HgJ4uotivmucCkpSoOmqLcIZ2OBHHcYsJKIuLifmh/iA89/e+rIqD2TWnUya3ukZvBoKi
kK3wC+YuJglTVKQBSeaUxSeZezCY/itW4ncMiZPgqhpqPHUTgSOzj66WEgo8rOaeIdEFJEHxMrYk
DqdsbqfbzUBEIb+U/p9JtVw4UgIYzLCglpwNHDoY4RaDarAMnr0O4n/QSDGnywiWz6zoumvo1XwV
ZeDZfCTO3Sm1nRbMC+osBd8YFIiba4xxe6ZaLhpJhLHZ6oLpbIrpJ8haPzLb+gUV4jhnPY/j0Pa5
zpKKgs0dGhTh3Qo6Lr8E1IUhVdKkQAzyk/nyV0tQbE1ncHv6fU/HOzegP2crE51BM2UBTVwDTrJN
f/QxTlzkUcgtOOxZ3WcLJCb33JRQhx5BGedn3fFPmugN/l9B7kRAzdo0h5ASr8yZuEijikPOA8S5
PbAS0WEw/4BI2SuQE5H+HQ0hIN4m4DLuoSW3FNdtsQyHgsWexp2LE0xUVE3V0mULBKHeteA7r/am
bsr2ym/HHQc1wpTGblGXRemaq0MVUQ0+7iHc/IA7hDuepJrCglR9m7Jua+6TzcSHUsyeu8OdLHQl
UC0E9S9Ea0+6altVQ6RL/Hp7Z047/N9SEeGOGwVztY54OsN2EvP7fIrjn6cUrN9BMtHvIiUuFmvj
mkABI+6ySZcP1mioD5AL88inD/jK8oWz7+jlaJukSZc1MahgdyHgqwzKQ0HvGQicrY+WIm6CRLWZ
HdCs3cfj0v0OwY329Pbun1u+s/vhZnJMCM096CRt/zkY8nRnAyiieVl3YVlxq7QAp36biVY/14n6
Zaj64mfaCWGbatiwDpXJ1Pq90+QnpczrTiIuIGvTSR40NSxDO3yfgOkUEqF+cdeFY6GPaOg4S5NZ
MqpdR8m+KiBC6LcjTgirUlbMUZdPWW6S7icKRtsnvJKe/Yyfzs+LAhcvMOUfERxzkLpDRCxeP6Zb
4lU8I9xJ/yHBU0ie0y6DBLi4anWz3KJpcWnQ6MwJd0FIQ7zxWlLQ3odg9Ib8nJ377Sh7nVwiojn3
A85JzFtMpuoRPPa8CKDGMGCbrtaAxr+8dt4lmFrBH6/nYh4gxFscGzt0hwWU0l45DHH5pXpTrpxV
m84qqd5HS3CUeeWFayTMOY68TVpTbS1yL1s9CztCr270CyvMOYwJNEDQXawRxivQd+Ph+NymwQ+/
7XYOY1lNVnWRVJmlIJCtQF26aOXXziEuHGkzxVYGcaGyGmoOH3gO+Y0VamgXUq9TgeKVq4g5VwVL
tglsHMGQTRCO7g/QHebfe1ku5a6dmNknowF1bps2nikHc+6OTUMTDMSrKguWkO5zSAOfpGIMOOzf
/hRn2HSIC1MaK8sJzfWYDTUz7J8tVMS+51PefUXvmhvIwynLIb5aFZAYBP8dCF/APEKGzzO2fryH
anEMDvsw0MM9qtwVVDbj0ay7aYASeTxDVGM/iQqjjby2wTMUBYomMyN5XiAVMN+BN521DzKYYnNj
u3LdQZEGgosKEkm9X8R2UVImYpBuWKIhK9lwA0z3V8jcfX57786M9BGXu4rn3MZlMKisg2ZVer+I
nvBvSSDx/OH9NJ54xFb9qe/Xer4bTKea6zHXYJGbIczsl/O6PV1d1AtEDyGqCF3saxQtf2CM1O+O
dvmJih763ZCUVhk0ZQ6Qt78Oy/nCm/FMPurivyrezTmE21XG5Aj94AmM5+QwQYRD4TkTcD8cEJjn
/75QSd+Hg65jlfENesBhxw51Cnq/t7/+KRC+EglSJ0CqIGoNryOVrWQwT2HDoKkCTQa/7+pSdEFU
BWyE9aROwi3quYNs8bUMTO2X2KXR3xuTsnmDrBmCO3QHoUCJVacYXfe771InRM4cQ3iTwblRaMLu
4pzfNyzwO5Muq9Vmg3WLphWb3uQYrxHQ5cUUuR+HIXGxXThAplTdolDhScD7XiR3LOgvbPmZI+8i
u0w+tRbCpyrLtybZE5Sl7phkYKVrITT/9on8U5p/5Ui6AK+oaSgBbxwui1ZAA7TTv22bd7cI8Rj6
hS7WN1Cu5g9BkENSZCHrTtetuTWC6OtQGSikxfakmjKg87lUTN+VecTvS0zUj5AmtOWFjTjjN/R0
s77IcjsxxKEe4DeQwPs9NlAskvmy3Ly9BWeMuyC0lE1tTSD/mtlYfthiVR4SC3i5n3EnnLRMBNXM
4JNsaf4ti/VuUH5MP+CY+XtTII/VbuXajBlNxJVJT7pLfqRneOD/bZoF4FNOdK+yqOfqHQ4elOJ1
O104c+c23I0kWwihwRyRXFfze8IeoZjq9+h3IWj1kvZ5b4TKhAqfmSkhBsSq9aPfp3TSKgx7LsDx
FqigxQveKyvv9mDXePYy7mLPclNigrpGEU10fQ3NFw5lag4netv6yU9ecXKXKqtMlmmEfPuYEYNC
btAm9n21ku5eJ0lz39K4/4zMylyYGjgTtVzkVVGAZwmqcXgYNUG+7w0kP9egB44XUGG/68KloYKk
cMjGZRgyCjUTvEtvxnHzex6Byf6vUBOXbTeIk+K0ZBZ67qg5fFjSYfKLNS7+iiZ9WdYNPjO4eiHm
IlH5tr1nLdPFXzVjLZc5gNdKG/TXzQzKY6ht/Xj7CJ1xWheBhTIplWUOgVCQZf+ixVztlqGVfpmL
C7ya+yJfoa2NS3QMlgPIQCQkWRLP95CLvMJUT6Ci2vQZCeTDhsl2jH3iue63L071eyNtY2aNhkC/
lV8hlvZDN9Yvmrmwqxw5kagX22SpCqZ73Ys92uuj3zl3UVfFkC8z5vf6jMf0AJrvL3XXXHjjnDsq
zu2xlT26RpA9zlLAxQ6yKX72m/DrqJHY8U81Tyo39YDHCwE96ZIW3/UWeebnLuwqBhd+MEuErn7S
9W1Eg0ee97NfKyN27g8NZUzRxqTLrGH91Qr81UFK7vc5XdhVUYUDRE5PdcBg+sHK4gEisBceXmc+
p4u5apPKQmJrHTIBxdqbGVI+ULYa2L2X/7ioKxnMIK9b0IAJa9wRsgjuOjVcuInOrdzxzRUyZHFV
zF0WDIeGUuhHg3jxwpV6zraT2NGec81T3BPEdj+bUt/JFTQ5fnty+s0X6a4uR9DuCJQWq3jdgYdn
Pxae+agLtyql3dIgQRg3mn1Oot2m869+i3YcswYC0oadxTFJI7FTe0ZT4bkfzuswH+aiG6RsMs5h
E9qgDfRbLrwOz2QrkeOVUB+uo6JLcUYKgUyFVWb5PZpK7eZpm5+9tsbFXImFgQ9sZA2AaBPE+Xh1
XJJZ+d2dLuYKdXQxC0GbrEPFLKD5ncnnL37rPqWTL87hWG7dGhHcbYzX9/FKr3Omfr1t+sy2u2ir
cSoECLXXPhvw2rybaKf2Fco6d5Rtnot3HLTqiVnUnCNhmXUE2SpO31fD4EfTQlzUVb+OpEWduM9G
bq5pO5ZAjjTSL+K6VFDhGoSoo0EGriuSmzo9dKXf3C0JHSc1Y1AXQS3LDDAgsms6/XGqpV+0dVFX
pksTi4mZIQsU1AG5YkcdBn7Xm4u4kpOtaDgiIqKG8xXERO/lOPplKy7eSkNiERrczZDxxnw2K39K
Rvnj7UN+5o5w4Vax5fHUj/2pRTTZnRADKt3JhR3hrz/pXLRVPEAptR3aIVMhGfZpXMZPLCTVDU8n
ceBJDvXiHOL2qlCX2hh/colXXpH/QWHZrZUaouZZo6b166ohcrwr27y6MoLJh1ZCfoTbcNwNwbQ1
u7EV9ZPYCNLXng1fqpEvTynUOfeoJphjHebtTd1U6zNp6XQoJHuKoca17+th22sh6ncT5tl3dT2Y
w6gHfiOHEeom88yvqzX/3us2uCHrQgqfKyYVLq7HkjwJ12ltsyRNPzRC/Azz0GvIkbj4Mp6Yggak
G7KYTBAxbWKoJXajZ67gIszEIItRpjhjk8Zjkmxs21WjH1cOcRFmVgA+TcDqnqVFASpRqFGtSV0f
/LzDiUUNFNmjnNVdtq7hFVujapcL5oe3Jy7CrO8t5DDk0mRhC6ZKaDc/ilj+67dwJ2VgVThjfhKi
xEWovqaJuF2jwYtcGefw5O4vrlyuxrbmHE7DquJnEbQ/opn7JAow7dzmK+Y9RW6wJVWYTNBrv4K8
uReYF7adTFuyKcytZgWYpqL+LiJ98y60Ql9wzldjHaw7V3nKAgv5kb7NqihsbtZ5bW43gAUGCBPt
a0aDQ0C7ZDfbxIu4Dz94CugvvkLQd3Vp0e/IRhvZ8soYDMolbYhY5HGCYN95IZuStQMZug4hIbqJ
GWZkgqH3goXCuONX68rSKW/xFLRSQlUYep6q3Lxku2DcScXXfOgiMCNDEJiMMaStSLmTidd0D4w7
jrVtaDWQqKwzhZLzLq+jBvTc7IPXnruYp5TG49S0qEr0gfoqFxpB1rvzqkqkUML8+8CA9BhS1SVq
w2VlczzroYs6LBcOy8k//3PtwrbjtxpgjSgqiw7guHylB6KN3GOaQO3VmEZ3FPKNDz3knn3SIfza
fzy5NivFnAxg+fJj2d7RlPgk5LDseHGNdjfgm1ObrXNX7yCwPUNYp316++uelvfaJjkeC1mCbm1Z
BETbKq5LIQ5JxW+IaL6F2yVUwOsyGPgHHK/tZCLjaaP4ByZOlqs5lb+6pJOPQYPBy8CW4fM2F1Bi
D/lEd7UlUFAGy4PZtSZWjzRnWMkQzhLCxnm5/LQ6bC7hhs8uzfF5UCeEhgBlBjHhTaudHXCbNkU+
vJMdOEf2LaR9yfVII3k74J1yU7Ixfkchqfi1W2V8z1S93gZzU77vGUsPAH4pn0I9tswJFyIqZGtV
0GYbW5NDQxoMG2mv0iuMO+FiIltKK4p72MRCXCdz1OxXASzm2yfqdHJeOVH/wafZKQ2mXvfgUbMl
5pjmDrrGQnpadwKGGqM0Nt2AskOIKe9pK8xu0V7vjlS40DTI/cYTkPV4+pKZ7VKIR4BfNb4Qjs7t
ixMgurw0a8pIm8XbDD1w8juPAi8BECzcCRGhqFAUaFEVaDTDUelotQNr24UX08nIax/UCRHEDmOQ
9h16LwXkN7cyWvbdGvOHpWm94C9YvxMhmg7Ue7RP66ydOD+MU3tvV3npyJxbv+Pj4OKC2OBiW0zu
8fmOgzl0X6swhjMr5vNUwfodd5UyRgreV22m0kR/amb5GAdT53ezuLC0GpRNLQFRcYZuZAjom/hc
TECSeHmrC0mb0Qlfum7Gyk+TE6x/1/Dg0c+046rlQu3I8zZ4jyp4uqtIle8Y1z/eNn7mck+cGBZt
3RzpsKuzZlogRV8MNblOw7j63CuQhBiWru8WEzdXb//aGd91O2F5q1kZ2ajO8tW0e0XGZ90wv21y
KQjWvqx4ham+zKxlv8fFJ/ZTMnlGBrcXBsRAl67VDM+iJP44C1QUQJd+Sf3rzFdwQXlNixpQN8K1
oPR2lTfjA9fdbR/zK4lZuSgt/VJQF8K2DqNISA4PqIv8qyjEO9FNXohhSLs7oRPCztEMia6Tbfsv
JeVtIZLnt0/NmdzKRa1Zi5Z1AiQiCnsKpf0yHro7AgjQTVcb8aWgvP749g+J1yO0C2DrwB0NIXLR
ZKJIoJ7TpFBGgVp7dzNtZL7rVrUAm7/0447npAYGSNtLgyh/CqCvXA5uO1QkXVfium9RRR/s+2Ve
yRObKAiMbNFdT1NgdoB/iL3sJHhgkyLYR10ln9OOyXftFni1CPER3RBPEF3mFB+xC6Ovsqm/14MX
TSRMO6F96Qy4Mmu0CShrr+sWs7zdSP95+7udCSsuwk6sker7Dba3YP1QxVO8G+beS4YiFS7AToXb
IiE0h7jC+oe8SKoDl+l07bVyF2GHknVv0bdDCmlasq/N9A/av561HBdax8GSN7YjrzJZRkBMpqDC
iuVwIZs5s+cuas2EVVn3RVGj4bv+nMNx2m9z7btyJ5gAvR0F4YR4WE3RtZ2CH5O0Xuze+J6nf+hF
bSUpSzWnC76nIJyCwav/qovEpwUB207+ZW0/D41a66xYSHyd52myB5urvPE7LK53iiiMWYUYseox
+AjFgvs+tNuF2Hfuezr+OSzhurYUFxxdt/K2F7y5Q4n/Urf6TO7owssa0ZcKT4AqKwmVV0kKhuUw
TYqrte69asWpcDFmMWPFZpmps1iB43JpnjBf4hdfXPjnkHRG88VK9DqG52Wsf6ymv/X6pi4Wvqna
OVLzWGd6YeWV1b3ZY4qn8Mu3XDj83MkeqkY4MfNi0p2k4r4hmIXwW7rjSNCOFVAXwfM3ov2DYKTE
WU+8CIjwNR1PIqjmRgP0nrJEAiUgSLUjBne/38odR4LEX2/VgkIKQAjJOx41Ykf64BIM7ky64mLs
VFgrvIiSGkzO4S6wyZcp1wcytp8qUc2e/4GTtq8lbVD0p3W2YSp2lKDMr+U3r81xgXYYqIkmNQj4
UdV9Am9xt7cNuTS6cybKuEC7JAEWXhQT0mhVDTvgkpddnk+eZW2XbStsaLBoAyR1G9ID9FM/rRH1
3BXnyFjaR5HmCI/pZr9qdd3OzC+4uJivOUTBuQURYVYt6q6Zq+e6mS/NlZ5JaF3I17hwPdlorMA9
347tgxoY+1TEXXnouw7EpKQqwQWVxjrZsa6MfizG5H4veRcPxuNgiXS1tGBKp4ASaxA9Q0fzt9cR
dRFhisagJRMxjmgasRvUO+jN1Fvj51suIqxVooFGzVJnQRDd2jHvdlb4ZjZ/RtpeZB/pBEwINQRp
U23j5zrq6SHS1l7IEM5cs5GTN6XFmCRJWuIRphZxm5Zr8SiAtv6tGwSlvd/mO2GfU70Q01v8B2Oj
d51pUOHrFs+9d8I+VLDpSEfkw0NS/tvmPJtBvOi5cNeFZzSq5ahr9HvR3lyGm6pOvcjBUyRifyeV
tudbOkrTZmMRDFdRGl2HjHre4i5EbLbbEMkWOcLIT+raUfGous0v/3ChYczYZp4LuNKcjGC1ARlC
9Y8ygDp4HRYXHNbTVY60wtM9wqTmXqdG9LsqYoXneXE5uZJ0DXVLhzaTKf1I5Nzg0S68GJxTEZ4u
+Be+ynDLSiVRGyuGsN7TKOh2SaEuNZXP+OqfVsoL61XDjTKnzC8Cb8ZduU3bbVC30T6po8DvdemC
xOIpSqq1mZqM0FLtJkgNkfCSFMa55TueWkQA+aITWKPGPzbdDvL145Wql+6DLAd7AZt7pizmosVK
kjeA4Y8o9ZNtuOJbPe9NFxokazhAM2NfTaG8NEnwsR0PTtYZWtYxwO6iIOy4lry945J6Pk5c/NgI
VtqmafEUt81w01f/pONy5eVhLnzMbnVQpnNSgYQpMVeWhslNoPJPfsad0nM8zgnUVPBsyyfW79Oo
4IclXHym9VPhIsgwSjCrdkFsyKOo3RM2dYcgNl/9Vu74bteujeD5VmULTX+2wzqDtUt46Zph5Sef
eOG6RE1T3aYTCisYJL9taD7d06bzK6y4gKoR8GjaQc49G3Q+7+wkfpSx9vyejtMC6MTniJEqM3wS
dws0Dg4rKRe/cOOSdlXNyNiYAGYcJcuTiubqCspVnu1QF1DFRrKNnOBZAvKl4r5Mx/ZRl0J7Lt19
T0GxatAEjbNZ97/+j7MraZIb5bZ/6ClCIEBoK2XW5KJst4ceNgp3t40GNE9Iv/6d/FYuutIZwcYL
hwMrgTtw77nnSGrfdfKWPMLlxv23sitdZN+ydSKsogrXfKDHjFZrgk74QaDMBmnp6aHtiLiRc/+v
avjWf+WYa3nYIwwEEFa7MSYVpc7TOg7lwzrNyyMfQXI+a/s96pOpyZgJWNqE8ZRiWnt6aCAP9DzG
VNxBSore52MlM8LD4kMkFnbal3D5mIAkCbQUOXkAjb+46+awussXvIsyPoGK/ET3YzvrPI/utqQ3
5zZZ8zAth5k9xMuG8ecZLNpnduxfiqBt7sbKduyO2K63Gdrn+ZAudgMroDY9/VyXFOqwdg6a9QSE
Z6BofoDTD4IK5zC8zE6VIPu7b+YKosdbccQylQU3j6XoSQvtpEHkf7CFNJ+gu4MGB0H986uk0/4B
07D0MZZIdMIw7j+A8rW9EarefthKF9xWHKLbmxqhFuQNL5Qep3Zsb6RoF6/y1qk6rmwDz4sIyIj2
x1pOdwJDe5CaM/GZB6t+9PGW0gW40WgabV3ijlJ5YOJjCH/v+vkWfuja1jgPhiBmVYyTQt4dx0l2
2Kg711vT+wypgR/ZcWnNAEKLAU/NlwZsuOmXkFGvURWs7L4X5AHOlB0Fxaneo4em2yElhtvp9RqR
LpANCuOygwYqKjjr1GYSBJDnTU7d2e9AHX+mx7Xqo74HTI52bRYt/P2ECXOvR5p0kWw8iOMKRVak
foF+EElbZKi3+GX00kWyEWpQm2s6TMPv011Urc8A8PiBrKWLZAtXYNY5AMQvu94h7BmE+kuyavb5
13v+v/GINwzVha4BXc3RmkR3u2Q6fhchL/6ONnR0ssDipceeh1/rZtqzuQ+7+wjO8K7dwqjIBrKL
x6rdbIl/iX/ld8HcvhU3QRUK2ZSAv3fVM8vp39NYrzccxpWg5mLpBMmjlWF6+KUJAoiQU7lTcKOi
43Qa5kvrlA4QQPO8bo7/kFGzCTwvqhdZ5M8dLz5IGxLPtR3vkURmoxdRhJdNHzWSrQbP067lflbo
ci+2qPOEeIBVmKOZbIqBPQZMkfXqNUkX2lb0duE6jksQ+UQh6OI1Il/DvPIhAL5fZ7hlsW2zieGd
uqQjWd7GiKJ2u/XWumYpLrYthl5UYsYBJXK2T5/KyvL7HVCiM5DIk0xHFPOed2gzqcY2kCBojPnQ
ynFKMYucj1nPzfLejlt04y5fia+uYuTGGqmP5fI2S+RfUwF6Ut23AUqkdroRo65Yi4uHW9HkCZKC
lyCcaPYsxAwuQAy6xUiO5GudFV3vB46TLm+btiS3B09Q8BXH84qflpYmuvErrsRxBxz3ax95bQ3H
luO+EyOkLWHLYkMpa6uQudWLV7FJuug3vqBJnCzAhkMwSJyTge/nuA6+/PrL3ybOEtLlaKsOsVlA
MqsXMpEtQ/4JnoxiXUFDBJ0cIMbN9DAmg6nSI2Z7Cp3GUQU1mEt//d9f2zinPEEhfdAsfQlXwum3
Stf3cFw3ng3XlnZsvY12OQuBR75hy8d4h7ghxPu8JJIFxmNfOxIzDMhVB5xJO1mQq83zF9vdLKb/
r0r5RsR1idKKbd33PECa0+2hgSjjkItPk8U0WFrJoz3SreXdPyaupzzLN5STT2VU5X1WH+H8QPqD
3fM5D77qtYadjCY/0TyiTztgTMD9zzKFUN7w95jT0KviIV20R8jJFoPQo3wBG96dnDsDfgz9weuC
uGCP+IBwUL8fGixCUZwmbJdpcHgVU6SL9YiAYziKSBTY5iUze/eFLYHn0hen/FMppQf4dTYlKV5A
gnSc5nmonlFx8qIOENBjeb26nLYhiA3ej0XSRh9my+e/TR3Xfv7GRe1ttKdjsOzVi1iXz7JqwcJr
DfNL31ysXqMjXiDzBeagzEqLqUbO6a3S8xWLd7F68Z6wrcLr+WXZ6H62lK4ggdQ3HOW1xd09J2Nf
DwxTvbxp/t3R88sxzuiXrrkAPWSddpEgK3xhQU9SIfX7OQw/ehmQi31bNgagV4eUdq+axxxBCo0K
T+N0wW+cJuNRWVO+5HGvs2QmWTxsm+dNcfx3DNkDq5ekfFn19G2i1ZpGOlrPXrviIpoAD+YTjhPg
Yy4+adl86JLhN7+l6WvjrOuWtoJZLG3aPkuiTp6mSHr6FSdeSszyo1wtApVUTZ/Z5r630+y34S5m
Ouo5rcAYGqgVk+YZCfIyZX2/+91xFypVxGFtkSPhy81Mnjms6HO1rLNfsHdRUuB6jXK+2gKFzvpc
9Kdk8uJQEtIFSdVHhGhZjMULk8P90G0PO9v+9ropLkiKNUOkV7oV4LDf4xMT844Jc2n98loXJNU1
w9GEBB9eH3hjMIK3zlgyL6owbIvjDtkxoqBpcJxLsYXPG6vCTFKR+6WFLkyqGjF9X61VoMamzO8h
BLufFkCH/bbdMVAdy3iGak2uat1/CNrl3ToI31vu2GdxYFoRfD6wobpFbDOYUgn60fOSOx7RLgcV
GC4uXgJBHzjp9ENvk+JGOfZKfHPxUbLXiPRlX77E+2HOVVjKjLf7LT7Ma6vL104xiRpkMRtWn7b3
e/Jtzn94naU7eQGV3bIYCdKJSNsHIRY1lLfmfa+9jNzJi36NGyJIgPSwnthHDpbstKaJPg1dLd9t
q/ih67ZVQ16sL8GyrNmyDn59VemOZcyIdAVQLsWL7cQBTsRjPWvbVie/TXNsdxctsfsk9AvHpk3F
Xqf1ov28jotVCwhOeWASTChh2WdRcDzZKNSeH+5Yrmi12XTA9Iscy1PPloz56ZQL6cLVkmWLUQgi
WDoXVVq1x59RMXi1PqULVwsHcGcGNdauR/GclMOPrgXlg9dZuoC0ZRNFDW5w/UIHXaZtaKuHDVmZ
31PARaRVWxPYmo1Yfd7WlCTi3ObL7vnpF3jET2+kuhZG06XVL001hWlRBSJbZsiU+m3MpWj10+oQ
nYampcXGHGPzFaJiX5K58GI+FNLFo+kuaQD/M0jxgFR/YHn7pWCx8XPE1LFOSdpxa8IVt4VGaDEG
TxtwY357Er3ekw4JEu1DibBq0XzIw4Omm1w8Wz/UsU6u20FAN0O/xMHOs36LkEQWI79h+5eX8xs1
EReKBkWOGvwdSaCqgOQpWoZjOkhjTwfoizx33omvIDFItprQQM2Q6QL0WIMjfvN847mINBl0iZiN
0S/dytvsiMpPExn+9jpXF45GF4L+taGJKpDI7NX6IEniZ6QuEq2OdF91aL+rGJR/mJ9Kloc53phf
5ciFojWlXLe62BMV2N5kzUji05Dvfi92F4kWzyUb0OhEl11O57y078a4vbErVyrfLgKtoTWIyvot
UEAVtHds6rbHKo/mx1XM/A9Uqqo7n4ON3fY7iOCbXK9jAgIBfQrsvoONxRPcKV06tL3cYnngmaeg
LbY8VZCle8B4md8D28W4SZ3IJuiRZOd7E57nASR6axtEN/b/fwHoDW/gwtqWI9alWWCqKPBWpzAM
u6d6r0S21es3u41wPyG1CtydZbrly4eYje9NG+anPblosyf6t2IT4t7uzZqhLQs8R3d86iJusmHg
4f1iit/NYvQnXg4PZB7fTxVoZEBS36U8XotnQpoKyC751eeUpYui2+yu0Uc5clXgB1E7QNpZDJ+9
1nZxdIJSih5bINVe0uFU5MUHAGlu8V9fQtIbp+ASsR2VaUu77HhJseZZWnBktbieN8742uJOetC1
A9RKwihReR8/z0xe0MF+nsFlXJvboAgaUSXKjNE2pcaGQZ/1bGr8Zoiki6RLkq0aC0oSBYrXOduW
5C+0+/2cvQuki8gykiVepWI61OI0r+VWZqQN4hsZ/JVA65KTkZGhWbjBJ9e1HrMc5CwPG1+qM5n1
4eccXEQdLSwtx1kkahShMkMLnK1sPB8JLqJu5+WxrwYTHyCMEU2KAXrQs9ik18yvOBE6aUKV9OC7
yG2ijlkMIJ4z7V0btPJG2/btax+7uLqY5oth4PJTerG/jUH4x86414fHLgnadqzwkUcPi6L7qWnP
YV94xqlLnPwp2T4OUHZGfQeDYuyOA1qDQQdyq0F7pa0euzAugBnaeq0qnOi6VCdbLvJuoseUNbnt
n2hX1CfESPMNraKQpmYU+eMW98F5iBNzXxnEyxVawjeu7tvCHiJ2OcxyQeJF9FGu4j6cnnpZt0/J
hmJbWh6hPjfSsAFvGT1+HbcxbzLAyKM15RvQUCdKRPmEfl15qqN4WFIMG+9PjT7mu0sLtkzDoqzv
SQ0O+F/7/rctOXbRLHgkk6UYB6naOWrPOZ2j56O14jOEkmKv8BLLyy3+6eAbBtZ9sUVSlZr9o2n/
bRiEl56FAHzx9dp51YDlcmwQuoqOZWE38nS1wivXj10My2QP4AmmWird0S8cQ5nZEvZ//nrfr5iw
C2EBA9sMak0ZK4A7xLkwxz3Gf6aT1+IuMNCCFSvSi0xUyIJ3ybTcE25+81uavt5wpGwANcbINoeD
fmnHGao06+g3nx7/BxjYwBIOMyUqWthvdb89NjBWv+92HPIqIjqybobLzOWHvKHf1oT6eWMXEygq
OkUTwdIT3Z+qXP4IqthzaackaueCg0cKphPxts54PIOtELRYXlviQgKLcpi61UipErHVp3wBTtoO
9Q0feO1+O96eRXljO5TRlZVAZ4V1c4BgJ/a7hC5EK4H2YxQCRarIkS/3OcjtMPLKPv16Wy5f+N+E
Fbjc1zecrdRatKAl3ptivd+aKkxZnB8nsx3wMBVJbrxrLznqW/+Pc7ZgocRYLVsksvkFpYQNUnsF
WPJJfxIirB/CZAV6tYDyxK9/1pUDcYFYNkiGY6/7WA19+FfSVu8FIV4VQNDUvd4xCf4eWgRjrFo0
HFMulvcHrz/4ffYlbv0UPC7Uc3MDyRk1cvupn/Q3yOb6pTrxZad+XjouZqErirg0dfmfiyjKLxC6
9dK1FLGLyBKUJYet8eFyz9cTSOd+H3jsh92MXUDWUa20z3MsXg+HTJ8TBjDZr/f7cvveupVOc2qL
WEEL6OaqoYrYu6hi1VNZVet9BMnP1ERDeVeTJbhrQ93fsLcrduCCD+p8LqzchliVLUcdcyjTstE/
YhupGJ2bEzXr51//tGsW4IQAUyYS79AlVntf85c+mEhmgtgPpRa7aK/owjVdiDVWB+7CyQ4XFlUb
+MUBF+x11MMCCFclUGEz5qQXM52n9RZ/55V9cbE8VVeMo4h7oQCkeDa2vm/H/F+vLXeRPLws1hqE
u0JFskxOR5V86C7q0X6LO66hXqbhYIvgqCzAW+OFWHwC/kbfaMhcae3FLvUWB+kGnesO1yVhYZe2
BZ9+L8B785LY6c+ODPu5q4/5DGNZ0sGu8zskW36MYrEL9llkOFlQinGFUSV9mtuovmPUML/Y7EJy
lrWjej9irsieRwj6IXt/hF1060lxJYC6lFSGFiMkamOhkrEAxcguqhM4qvFiycfQfjzQKvLMF12c
P4ZkD8pRWVGCsOk3LiabWW76GwH6il24kMVSk7CpKiYULxJ5HsGbaEPPx/B/IIuzJvt6zFyt7fik
++hfvdyaxbj22U40NmGJyWCMP6tw2pczp3v0OPGtP3kZHXeNDld+AbD/suV2yTrWsBOHMrDf4pef
9FNEXoNIDHXDsCvbVqeo7AWPURMfnqs7b0U9tv24EtyWmHSQ9q0tuUcB+h+/T6evP71cSwzJVwmc
UQDd5I4qdP38ZndiV1pxSQ6j6wKObhJ1mPbHcjc2hacXdRFd4zBjaL07uNJTEJ5yk2MGAArSftfF
RXTxwXZ7KSz2fCt/xKvYsl5jUsZrz11AV5djxMSIBnfRtNWUhTNQoiJn3G/6Bs/a12dqUJyFczTY
93X/LUT9Lp0Z88wPXWDX3q5jR+qWqzIM8sd57P89+nX28/AurksfHJ0nwOVVMu/TY77K7g70H7em
Mi/m+EaO6OK6YlqXM8XkOt7S5K+QkWc7TH/++kgvbuStpR0braYZc6zyoIrVNf3Y2rB97Md8fNC2
rvzcOnMsFSnCNoTQHUBfrg/AOBankJ8X2a+//9rWOOkzw9QT4U3AVERA+6N5d8er6BbV+LXFnQQ2
Gg/ZhNuAxcttTkH9+CTaw++d5UK7Aoq6S8CLy10PoVqwod4OrV/PEonLfQX8VU7Ais1VIUFa1JgM
iFTPD3eMdOEcV0Z0XEFy5/tYVX/WlH/yOkwX3JUXmkSjwVdHtXx/2Op+Jbe06K8c5X/AW0detH1R
UhWZjp/sNvTp0AV+OILYZVQ1ebHFFeupgl7bn6QMTlPIfvjtiWOg1LacDyUEepYE6hxQOmnTTrPj
5Le6Y5vrSg8ggDumZtL+nnCDWw6Qm997wYVv9QsGYFc8bxXaATatK63TUjJPy3cBXFzOPRhDVqbA
gN2nkN/9+7DNH17b4gK4jiHW45RsTHVN/IOO4Q858C9+SztVqLHsZFKugqh+hCJpCo5K87VlcvWr
Mf4HPxCO3arDgapJdzxlXfiuTmY/83TJykYqxYi8iCKChifR1mFmisIPMwfyh9exv5u3Msx1Gyme
m38ZWi7G+FnQf4BhILokDKLqKjzYB5DHvktI4pkpurgwum5VroeNqJmBkCJeDeq6WuYPfnfFsf12
SMpkZyNRtTEZ28HqWPlRGcQuLqwD4KCOyIClGf+e6OK3BgwZfl/thOSWotEHcD5VAoIAIMQIvveL
Z+XTpSeT47iW0bZTRao5PDedvFuTwnNxFw0WNImuhlpHqmjbL9HRgOmymn/32hQXDdZH4NpZZ8xR
dpM1qR3Fhx5l6MxvcSck750Fp4M0VMWdaP+O6rD4pEnx3W9xxzCPwcR71S1UjcFuH6Kt/tjN1rNr
4cLB8jxkoV4JUfsQ7HfRNAQnufnNn8QuIIxFezRUoHFXc99+XuMBMj+zl+aaiF0oVdGXDWosM1Gr
rsdMQ2kyPQigGX577piQPvKmmns8ak3d/bB6gwV1fmy30El87WhB8tSIo6KhKquG38dBM2eRxISb
15e70CY96VIXpA9Vc7Sn2dDngFV/+y3tRM4C3DQ9bU0Ib3iogsuva7N5DXHELj3YNtJhsDw/VG2h
iZthUpZ9mRebf/71l195ZLnQpmZm0DffwlAt21w0p7gaO5Qw8yj4SxdDe6Pa8r+r98ZTzsU3ASi7
mvbQoYqakucZi3rzmwkbCEsenckk6HVTy1qwk8VcEgpdAWhR2gBu9Aj0/g/vi+L865/7dq4tXFqV
sKn7ZGDNoSTERu9lIP4cFulHOxq7SCtQ7xfRkuS76qvBDtk0goM3JS2RkODIZevHLxa7gKveRiKe
wuRQ7d5aEEZsImu8024Xa9X2+dxPE+5bs28/QAZZZqwubkSai19+6xo4vqNdk2SPLTlUnADGzypq
/iwWTc972PCnZewq7mnqjiMJsR+6pPGBKhnf/4xLPmYEbKW32gGX7/3v7wA+47Wf6o91KGVVHiqJ
kvWMAZbqezlI8U8AFN+jiLcCxx4O47lbD3ISHBIsLCYB9MCOKvLKZND6fP0Jmo7FBBLFUB3s3xiu
OB3D0q+2AP0hZ21i5w7Nk1CBloxnDXTgo7Ieb3z4//KhtzbPCdpbQOIew7qH2qdQg8wMBBgW7ObP
c7F3p7yS5T3vMRi42abNcnaQ1CRVm9Wkg0hXmdSpmPIOLX46Fakcg+gMGlv0UosVOkys2Pf7qg+j
5pS3Y+P1EAXlxevt2Namo5OprbLRtJynBH3tI9z90nRQQ7xevS97cZlCx+qtLlJ05te7mMnN89sv
bv+nKnoYjE0eWmMvKBrMc+4mLaT2C9cY6ny9uKGAIU+H3NRWozPVGpBLQlDC78tdEB8Qt0k97fBD
AYEIcV49dPjDyz2AVv/1hyf7MRdl0h1qZftfgykN8KTcqwYlXLxVy4TcNGkPBVWtb+uHo67+8Qpd
Lg/bjGGTUR4THHPbDNACEChHpwv0Lj033HHOJjwMJrqLQzGQDr6TW99nbFxuqVZftvYtq3c88pKv
bd/n/aEEm2kK5br2vNPuFlLhyuou7KqeB9oNA1YPKc9TUQxhuvLaKwPDrN/r2xJgDmAvjNjVMGv+
uZrI/kFMU+B3F11gYccla2ggd9UWnTmbHfOoCZv9ZuaECy0MKsO6lgyrGhn5m5KxOnUl8eMiFS70
StcVYHSDxdxEs1bZtJn8HrhFfSNQXCLZGzfGxV4ho4loW8xWEVHHdzY3kTklZRg/m5pX33hMxycb
ayAJknn2/EUuB1Yuo60HoduibAFnM4yY9Q53r4oJUECvrxGKGeXAJr0oYBWWxzwi5I5jUNgvsXVx
VxHbjMjBMqroSCAzWcbxPUGP2nN1J4xsPdkB3xCTqlv2YOZPgMd7Aa+EC7yaooTOR8cmNdX5v2H5
o4Qsnp9luagr1th4zfEyUy0/7qCdNqbzFv7wcsYu6CpYD0yb0HkCqvZdXNs+BfiqvPHdlwvx1sV3
HPHejhXHiN6kkn4c73i/z2cAPqKHCOLeT+2a02+xXm9NrV/xnK4apFkJHsUFfkh0SJLyJlk/2mmq
/vLaJhcIZZK5t8ccjZjJWY5H4NvXFHJWfmAl4SKhdtFpzGE1o4JK+PctDxXHvLTfhzvGGrU1mbqY
DQrTMl95YP8qk8AzWLlAqLlek5W0uPLtNHWqoqI/XdyOn6m6pEYdD6I8CNZRJR1m1XgYpokt/egq
hIuDaqtiGS0GnxR8WfUuPgAlMUHvJ2oOrrXXHjKa6sDqeQNhXHVUYOReMAhh549+J0pfLw6wXHck
0E1XfT3fBWFjUohX+s2eCRdFFeOpL6ZVDMpWcfAwVUlzv5vJ00ZdEFUUEJ0LWg6qbeknDCFkjbXf
fr0rVyozwoVNWYw54SiHQUV0Eg+5jR+GbUXo6LI86j4EhJ/HJP5T6K14MrOu3rEW4KfdNrf6CFei
vAus2guLks9mByWJ2XuMtBh2Pw2S/tMWhX2GKqsm6Wai7Vs5FJXfVXABVxCnhribTHrVkml67rqx
P7ctGz//ekuveFSXJW7BvtUSqa4KgeI+rcH8e2883wAu4irclopMZu7V1H61KHCk3dRuN8LOte++
/P1PT8W443RIWtYpiH+eRjJjMuJW3efa0o5h79bu4LOosSWb/HRH8IffVjs2Pfax3CuzYV0M/EBh
vk5ZwPyGVYWLtOqjKUi4sL2CmxvuYrCVniPC8szv0533UM27/H/JuVrinKS9btIRM6Z+i7tIqxoc
a4sJSKe2rG7DOJ321jN4uTgrYBVm5CdRp8YibJ/FMK7PtPObsxUuyKqhw1TIkjdqKsnjsc5fGnuL
qfnKFXQhVqDTbqo8PlpVCfkXxtB0Omzlb15n6SKsatHkQIPsnWKSfl4D+1xx5OB+aztW2QHVGpbo
y6mAicqkTV/pZxAJlH6u0CXOSuzCQkOFUdIuQ1aaas9suHuGRRdeVchuz1uatIol+begzI90mSc/
23flBWlFi7KQkcFdmcj5iILpVJPSr4jDHOvs8plh6PGy62P4gCfK17GI7n99oJcn0xvZvQuuKiNW
VoTvRmHSQfzRyYCf+IE+wQSZ1BsT2VfuuouwAr/PHuV5B0/Ogs8QswDhbBL4vdf+Q6AVR7Sy4jCK
2VWegnjUgIi2fpSCwkVZhY1YiCa6VbJd9yxuhqcDouw3TOnazjuPWD4XwrZB1ytQOUwfZ0a3U5zL
4Z3Jgdr3O1zHWi/K65gpLDtFD5jTMc1VJoauOJc2PLwgiyKKXofpXq/HJucKNiU6BdHkh+UQNyou
1+4Nfb100YUHXsh1oyxtSgVx0Pxc2cje2Jtrq5PXq1f1bPvcTr1qQEZc93mSBnz76rfvjr3KMgKH
UNA1qgib41FvXD73vc1P0H2+1RS58ip3cVcbSEDCleeNIkEffgq2zZRpVG/Tu7KSwBsHlTjvBRU3
vMSVzXI74VPVT+MAQjm1t/t7Uf49HX7wS+F2wcHKILS2faPGg39Ngu5jVN9ikL/y0S77VzhqCmya
7NQUT+Y8j8/HQP0Y3aFn+fr2BAYiu6hLI+/oujhtqvWJkNzzgeUCvOYyXIdkixo1dwUYIIK1TvUQ
+JUSXIyXhPIQaUEFozj5sUugDddSeBaPXYxXPa79RLeyV/Weo7yV0PpxWlZ+48sF9vaNUEUdVzPT
OJrKYDBqBgRGPjHKiyoDanKDxELM9XfDez+ODLDMvD7eEUC1de9bAxLc8D6e10/96ifeJlwisG2S
tI66rVV1U39DNe2PPgAFkJffcTFf3QaAdN8hCSmSwgyZEdX+uZ40xiMrsGL6ZfMu9qtZTJ0TghzN
TtuaSXNA4y6/xYx0xWZd8BcyEYzB7NQoErEkI2Jpzr0cxY39ueI0XTYwVgY8aeYJ8TwZhnfblreQ
2O2gaYVufLVmhMb9/d4YcgNnciXCu/RgfOrC7RjWFr030kH0YKOAyWGIkZjy+68P/Np2OTkE05wY
zKgiRAZ1Kim0KyjXfrwEmFN7bQTdlE9QHsbiW8fYc0OW+0FUt3hiru2NY8ztNiV2DnuYAdhczkkx
/NuwuXyqKTU3Dvva3jg23CQxJGom0ihDt2zKoT7AbPPZb9+d5GFOtr0MmsmoVejvRdB/mYLhRkJ1
5Y66pFQLJHoOvW+NGvg2/yYAs/x9wLSnTuuaj2lXDi10Q6Uflli4cK61WfMRjXMcAy/JvbBDeUpy
Vvi5ChfNtcr2ECi4w1VU0/eSTg8ELNF++ZuL4VqFrfpj7w0q1kV7skX0XtRze/Y6Xxc6ZVuDqTno
xikTU3lKRB+fa7Ct3AhkV26mi5haSgiS0GQxitvqJcKbJU3G+Zvflzu3fikYKQBiMaqz4rGbRJFq
KLt7nqdz7cv2COMu72u1MfnOhttTMy8f/b7bSZmXfamQmpBKtUMBSrOhsymZZq+XBHcBUgFN2FLH
W6Ug6dNkQPsEmSaH1xOUu9AnlOPsvBykVGObf63xTjzMfGPpt30Bd5FPwZyX/YTxRAWB8hDV6LLP
H1k/zk9b2JEPOggI1LhNfWPA7e1ryZNL3vVTxTWJE9Hm+1KqTi7JA3QjdYZ6Zn7DXt92+NwF0BST
NoLXR6mWOe/+2vZ5vNOU7E8zdCdvuM5rP+Dy9z/9AJ5Xuy7tXKq2zDGeM1VHZgbCTj43lLtImjk3
Esy2Gqvz/XHtbHG2g5ju/RZ3zHafNttPjdCY6Vjf93x5yKfDT+yHu9RFRNg5ZybSqgLiMTNaRGkA
DWUvn8ATx3BrTM62a7xrtSXLH3UBCdG4+OS1KS6MJl7MElMg/4Dt5l/yaXxpovYPv6Uv/Z+frkrO
dD/L0mDpTT4spvudmuAfv6UvxvzT0hCVztdJD1qVywR+HnbgCSf84Hn8P/C8yA593gXBc2ym09ZM
jyvpf/f7bieXpMEWooaGpXNCv9BD9GkVQBLNb3HHNAfE6lVUpVZBEEdnC0AyKBdKP1gR/w8kKliX
rqRJ8MzD9kPJrMoX6ZUJcBcPpVtMh2lLg2dZ9vH7ee/i93rJvYIesOSvrwpdNt3MfaHV0kXre1mw
7TwkknnVXUE28Xr1PYg3sndcAw9FLtPnJXhiQ/Lt1wd6JTS5cKiihP00ET69XMqgSJOADe85eJxb
0P3T+X5BR/tEkuDWy/btvix3kVCAXq6SLFvwXA9ByTMbdOWp02L+Ic0s7lBsa+/2fgiyg/HCzyW7
ACkSQLaujMvgeT+W7kcgg/mEB0XuNX3IXYAUsSvRdlrwg0j/bSr0hxgkZ78+mith0FEE/L8i73gD
6mDEEvED9PrdqaSc3giC187BsWMWTUhF2kCrVoKIqRF9f3eQuX4yBt0gEyVL2mCs/wm9Wr8CM3dh
UyJfknaep+C5tbjFsoJkZ937DfUCpPfaRAqWrLi9qK0R259B0fmhH/WN3O3aKTi2nSdzVAGHmDwv
6/6l2aqXo9r98hwXJFWsWxm0GFlQLN/jtN/23+ec+10eFyIVbjuo5VrEXBbuT1EsfjTJ6Adn5C5A
ilI7lQLsU8//z9mZNLttK1H4F7EKI0lsKd1JpKfYTmxvWH52whGcAQ6//h1lZSOWVYVNFlnAvBCA
bjS+Psd080u75zphlBK/CONKRRkBLWRZrHnWNPqlncXnHf2rXhvKJaTmMuKLLXiQgZn8Tod1eGJ0
8VMKkS4gBTs5PU7HprKF6H9KCl54Qj3NLzlzASnRYm2zfEIIGCDLELf2S0SM31uw/A8fpYaxmtZO
ZXu9f4bRzDs7rH7pmSu8Jpalyjci86w6IBN6cPt1n2Rx5+iV193930KydPGodpQiLBBIMojtdK92
Gi2PdonN66I2xFwqXCKeRrTMJzDYzZ+iQgZvccR1LzusKeENOZn1E1VL8ZZRmBglEDQSp2VbVJwM
tlm+C7TBfIh63nyrw0MUCSub8J2pu6hIOh2ijlMobv6pwAd+4kSAbQrGpgXpuLKHtojb0xIT87WM
h+MRDwxoCl61flOWNDDJVi8rjFmRCCdDoBaTlFgyr/pQHDDNZuwUFnEHPaWWrIkoSzzOr1OUAryo
P29xUEKeM7byka1HkxU6aJ8CiOm+hOs64JNW5QfNSRcOG0QJXwjOYQndzFVy1DOe8v2cHaULh+1y
Bqc/qTyTMHHp17BPDMMh8vtN/uvXBemSX0PUlY25fviAnvd/Jlz2XmBL+ncV6eJ1wfrl+ff/zI2w
4MJe8zZMchRhntGRPOVx+35FSn/nT7g1tnOBr8IW8jd2irOc4F0naPcHKUY/0xjpsl6tjsMDyESe
hYZnVS4/Qp/QL1F1/UBzi/pMq+Y4a2mcJzx4H1B6r/XuRtnBdUqM+6gn2Dwqyxu0wC98L570bOip
mw8/g2MYfv6cRITazkaPcEFfwrlLQrG/quF/6/mbOmnEegDObYIwzlCUeaFHTU+9pbVfeHAFtpgF
Bx01R5wt0u7nq/XVaWz60e/q5GJfRV8tQQm99myc8+9VT7/B6fWP3++iG7cPF/uSxwKBKrLkWWmF
PlcFsw8Rh792HcO6R3XB8XJAPP/OP3ZjW7kYWIuyzAa19DzbhpqhCNe9lTryKgUj7vy8dtBcLqay
wqmzL2o+jWp7KNbIDxmULghmpZjjTs748Jy0jwMZXhdz7qe2J12lLbSmMBgx49e1XSwgRRDXDzLU
8fn3P/CtOec/z4vUWwjVAGRF8xzmp4COdaIONvhtKhcEm4cIto+RVJkY8OwHDxCbHKL+6Pfpzo4t
alpd7a9VFnYGNizkeyVyv4PS5cBMuU3NrjErUDN+jsfnPhr9bisuBjYUcI8LDqoyGD29QostBD3k
9M5rQlz+Kwqmzoj1+tUhGqxJ3pyiOPBrAZAuABY39OjG+lBZD9+Zcgi2RMDTwG+duPwXll3B806o
bOvV606b6VySuvJb4q7OVrXzGZoCRZRtVffU1dye6rj03PquzNYc12XbVEWYVVuVcp2/xJtn2u8S
X1tZhX0oyzDjazElHV2f2KS++C0V9vO2H2hJ4WxQh1kz/7mI7k3TW79D3FXY0tDRJlFdhVlbYbcr
Fr4Q0b31+2qn0KZxMtF4H2COuARZYL/w5njvNbJLeW051R2h17kOQpLRoA6etwnlNr/Rr0WeHyrV
rYZ32bTrMEMtT0IYYN1OTUzvJLr/8iC/uGW5iJTR7QarB6BvECvGdt87Q05bHRYvsHFB+i7VdxVE
ZbLHm0yJ1OFX7GX9vM84e8p85FVSNGR9CPki8cwYoLmgQEB7sw2spHijbvPTXo/U72B1wRAO945w
Va3MNppcF/X86DXDLgESFqaXdYtxSRiu0DHpSdLVd66xN0KkS4nlbMYFj/EI+7BJ0WvJExZFfu7l
0qXE1qFTsqR7mKHc8S0k+rPBbvSaExcS62BVHlKmZLZ3ZD1XZFofuTzuFShvzYqTODRl3c+0KGQ2
WvFeNkOdAPrxqwO5VNimKMx6QiazSqsT8stvajv8Ch4uFRYYWGjLQMhM4fIMGRqLak0TewZJlwtT
qkBmNkPUAnJ6f9sYmm6C+3n9ShcHO9oGeuMWkF8lhgCCOWMP1Yi7lMeNhjDpAmEt41PfWqyWK4SU
2KsRRRTCtiihiG+nroj52yJn0weSwzD1lC9qqhL4Wqmnbl/WE13G3W/Z/kd/ax4tCVTOrkZxr4Nj
yNBZ5dXRL13QqqpQXph2I7K55Jke+ozmhefQznaIq92E3RDzjFiwbgEMn/lS38Ppbuy1f3+zH+IH
zrSKmI6zbKjMmYftEz3syeuQoE4SvQxymAFHsgwPqQ+VLNNyk3eGvlER+A/LLCo8KCjMdNgPHWxS
93/4LMfz0bDW7+LrMs0jq7p2EQHLkEi/HHS+eO82lw7r67UmEMli2aIxJyF5N7TKb6m4KBhFIqA2
u9OMx7lJoqBK6VH4HW8uCEZkNQwDpTuOt7E+q9JECRRsOr+XOhcFC/jA0I5UkmzY2Pd9GvEuUt35
8BuLxQXBmInEHpnjyKpS7emgr4t8sXVilfDMwlwaTLbbUZqBHVkfjjpRef55qNW9e/SNqqYrnzVN
U1cV8Xjg9WywHzpR1O/adSw/y60qnsVYT563Ate28EDxUSi5b3gMUO/RXwlWdPFLdFzDwpxp8JCr
XLPYtvtzUPT9KTKRXx+IcNkwovCIQXuMrnh0XuJ5fGwrIrxWpnDZsCXaj6awM2bF6DUJFvVmRDnv
Tvr+67UpXDrsaE0zHbhEZhUOm5OmXfs8V3HxZMuG3Tkrf33CCxcJQ+++UXGHzueiB8sCYa/T1LN7
t+tb33/9/z+Ej4AELRt2smbRHsF1mw46g6pK9cbmYvDKv4WrrJSXzQguYl4zXo7j8xxAxrpGJfvs
E6SES4RBXKaHRDZmhwNHSFrGPvPIeOWawpVXGtu+htVXu6FppYaogYqSCbZNd1bOrZ/Via41M+ME
254tI7K3jxwOOE9Eo2/Zb1rc6zBRNB6a2GZh3J2nanqzdvOd4/jGh7tEmB25ygdtbNYF+9u4LeMT
K8zst9hdMUaU6+ZFDGTK2iU4m+4bfGG8HtWFK9nGhAxte2xzJhSF22fXP6y28XtAFi4SZkexbGwP
pkwEfXESRfwuqEs/q1vhenCOkdBxTfo5K9XHhmiDa0/jO9/XH/nH/a8sQQMDxjai/1wV8x/obvXb
mS4Q1jZDM7ZlPYPrCKoEcp4jX1q/zeMSYaXmKH/JYsYNE3REycgpCMfYL2C4RNi+dbqY7PXDS3uc
hj6/hAtnD14b0wXCtqaHLghcfTKYjL1qSPR1V/V7r6FdHOwYIZe6od0uyyHvktR8eVspv/gvXPbL
jAZhNNZTZjT5O7fhB9KuXsizcBkvVI6nZl0wdD63r/P9iSyz13VRuHyXkXk5KNhEZyU1xbkdKnqC
Z8O9x+ob56CLeLUwVR4HWKlmM17BXvGOho/XEr7fQeiKYKFI17eyCIZsV9sH1tFX5dB88Fsn/Oc9
L0gNi42+GLJwD4/HVpPvwRH5NbMIl+Y6jmFsanQBZkux/Y8BTDHL3WTr1ow7ITPKleqOveqzLVpf
hdNw2tfNq+gtXJyrlmUD3f2tywwsDlMVKvtCqPYTgBQu0DWA9zACzFKG1LY6ofvwLDYY9Xn9nC7R
xduqogyF+qyDMvLDIHrzEMUj9aqrCxfpytcWDg0bG7N9Vy9SZtyGd1KUX78fC5fo6qxgNd4wukzl
TbA8jLYH2TMT03+LYGz7jtoyfo7W9hj8dpQLeUWNCqOSLpgnEZKHPDLq1MzTV78f4bpkf4ijTGro
+IZRm0VT8G3sIp3EY679YoYLeeXoG6VHoHRWTP1HCoPiSlG/ZM6FvMKCHGO19DoLIsOfzSzPbX4o
v8zfZbzkXimWL4vOZgkmeQnQJBwTVAz9ptxJcXE+xkNvap1JTYZzbyd0X0Ke3290l3Oy21BqaGp3
2VFEX3W/Z7mBWuDvv/zfbun/PssIl3MCfxQrNKF2GWbHPIf5UHbJ2E372QitX0PZq3qUIz3eTmtk
Xi31vD9o2tMX2QU1zr5ogR9Y1erz9TBUySrafD5BinFM89pY+iAnUF9s1DtmG2rUp1YgHejrwr6C
46wf7g/TtJ8XPDEwbBor7F6+R9+toE+j2b1qDcjLfx66ZFG9U7i3ZfOYJ/0Ac01phF8ZXrgIlRbH
NtIadaSW5XDgGt/kjac/uXAZqorHluMs21Pb6+cWPrj/lGtffv/9orkR/FyISh3Nag2tjzSo7Hc9
q/PKlB+LIVx6yoh8RJW6OdKScMhO0RmaVuhO8rOcFK4IRL818RZXeZgCQngNjnJN6r7+029anJyA
9BsA7F0fKQTqx9OGrsunORJ+snDChbPCNQ9ilS97GpmNpbnQdQJFD+MFfAgXzkIROY4HLWW6me54
obyuTm117H55gctn1SrHo3XRRGkg7YcIRZ2kVHngdzy6PFYEc6KhlEUIqRMukxWZZFIX0k93TrhE
1qLxIjmGZk/Bk4+P61w2j2vu59sqXCJrkhBZmyPK01VGn4uuehTz4NcQLVwgqyYGR7lseNpDpnVX
H7u894ulrioXngHiMOxilnKFvR+VEz+hrOx3UXJZLMtnJBgwDEyD2qS5gcc2gRPLnWh34+ByVbnq
Lsw7XNdZis7Z/TyrSJxr7lmic2msOI5UX44zS4+RTqetR4Uhhyiu36e7RFbcoY+b2nxLe1G2nzSL
1/m5PEhJ/CoNLp4RoB8MGhstT6MSvW1xlWjS+IHIwkUTyqgPcBc4MO3hMCV0hRLiVUjT69R10QQY
wLXh3g1bSla7JX05R+cJAcrvcHFhtc0yOD3AkittaFElkMy8tPE9avXGanRZtWKFpcjRBjjM+2pI
1mF+Hon96DUrLqqm7C44tOJZOvJSPHYBmgCsQtHBb3SnVB+vvIF23rKl9bKzU8OWlzyY/Shk4bJq
XXWEhykiloandudDEhaT50J0WTVteCSPXLG02MQz9LJgl6nvPb/c+jXZz6mi2scobsYwTFujPqxL
/oiWvnvCbbfGdjILq4eoKbo1SmnJ36Kj+L3cI7/A75pBDrxrp7pTWzoFRVucpppdJf7lDj8Or7Xi
Mmsh3SmdIoEdBFlOPOT/VZv2L7+hr9P1w02XtF0RVjkCEcoxMCdZ+hBulmHld9V19aWgxAlkDQ5x
qWS4BBV4NnpbbZt59vt2Z7nUA+O865HJ9cE0J9EQP0Kc+Q+/sZ3lUrRQSw9mw1Kz2ZQu6/N+HJ6n
rXPTHQ8Z7mq3LIWg6PYYCIMnzHglnoVMlx5SywYIlmLOhx2AR5/z+kMc8cBvzl14aDwURLzDbkvb
JeKPMVLeh0Zvrd9OcqFBOlca8kLjni4lFQne2dekI+jl8vpNXXQQkoo1zGCrLdXhWgP1YNNzh8cB
v5qRSzMtIlratex5Skj52qz2stvI98udXaom0rM9DNZUWqIuqtztc0g34Veyp/znM0BbOBTBb25N
6wMuXUtTth8jMcmz36w7u5QqMeAVvOYIGPE5zMkDXMG8Wj2EizTNa1SJatZ7Wg/hmASo65xgfuRn
qy5cqgm3lnCcd3y4mkb2ouJdP+RQivDbSC7RxEep6kJg0olsqhdamSnN9XFPkvCaRfyiJOVCTZFd
S97iBodDoFgeKYn491aF+j3fzXTnD7jWb371T0Q/rxqyTG0ASXGaTlEXvyniajq34RQ+bDoOEEO4
H9wqXNBJjTArH9eIplFffhbR+DbPuV+G51JObWCDeewEBQrXkDc85l1SLGHoV/hyQSfLBK511XX0
NXpHVKATM5H/eW0ql3CaKjlA4GrdUriWNh91W65v1ohDZ/z3w8c3fltnz0a7IRFY6DXVwbC/HyhM
bRIYOw8PbcOC88H19LaaCvQ/6LLUd0o/13Xz3/XE3ffOckOognCXSfuWyqc9wNW1CoJHAsjtLzj6
7m8XOqIS+vs/8EY26LJV+8L7vZkEDlRp/0APwNdIVX4xzGWrxrBc5dAhynRrfDL9/L9iOPziAHfJ
qhqu4CNckyzKBm15soPF20Hs5yvCXbJKRi2BjP9oU9aE5gXWb/YBd83RK4flLlpFhRgMNGRsukwQ
nbg+RMGSzW8jcxeq4m2EMgF4m7SVPU9iiv8U2511+eulwl2VLcnyYQtGig+na3DeriTLFGk/rSfu
4lQ1iUCDEax6XUAHZw1sYsi6vfNZ5dylqaYNthst7JNTXGDr5yoK8sTsY3znxe/XAQAa6T8HgG1u
0eQytGtqoan2YWFQm0vaGu+4dCmhZbfUnlJH3JXbCpZgz9EJuabVwT4vcklyi7q23xw52fgMWq7p
utCmtpplAlWUBhzt+MlrcBeuGnrZgvpdLUJA0cEAV73azOZV5eMuW2Wxl3SzjiZV0dY+wN2kR4ky
+u734U5w16YHSGDNmk6FmJ/mYYuhoQGrGL/Rryvqh0snDAnWMOLjmo5FEZ7IYXVCYjl5jn7NiX4Y
vc9hnI6HOJse1WiSZob2u1b9PQn16yi/CFOuJaaZjepbKOSnKOCKR4ITOStEHz/vYd54RRCkHT//
AWCjy9UWxZyuAX+NZoB/Vhr6OXpyF7XqaFGHY4PlzoZ6eZCG7ImUod8zK3dZq0WrJV/yfEkDsfev
2dDZ52aR0Z2M88ZJ7MJWSpUEQepY030a+mRj6n1dyfdeS9Iloq4BO8yX2qarIC+1/mILvy4X7gJR
sWhYKAlb037d+9O+HCw5uOn9ji8XioJoJdd0xZxw0toHsi/VWUjuJ1KPyt7PK5E2lgWjwsFL2F6n
nSkhhg/jIM9vv/7OP2zU1XAazbbB6FAff6yOeTqN8ex1HeeuyJVqVLMFpLLpGNOPEJl8HR3Ebx26
UBSWuOmaGnPeM9091F3+tiPB/ui3EJ3Ck+gqKFsRvqQVmuhPBZm609jdGfvG2eViUVqaBtSGMims
DbeTHqb2aVvm5lyttV9NjrtsFEQNyqpYqiWteUweZ1Rdn6pW+qXtqL7/vGK6oiPbeMRLGoNryYLg
+Ivarr+DFN+YHZeNOizHlTYiW4qKaNM8Q+avfdeQsX6ZCxbe+0dunGEuJhWZvoMdNF1SVi/PHRV/
7VHpl+25RJTZtWivBh9pTyeeLFMwJQ3Z7wx+neFfhD1X9qqCeDOBdzDOx0qiv36y6mHdDFxbQTO/
pwvrTmwoyGnM0e7rtRFcTAodWQxq1Nam0zCxkwlJ+0CKw08qgLukFFvlTiEVMqV1NWebjN/yurtT
Tru1jpwdXIl2YGRB2TjsmHgJ1hHou2HDeYSQ0J0M4dY/4SStJAZs0EZ4sItLtv3dE1U/rAa7Lpk6
dS+NunEfd5GpGHJYPVtwj1Vjbb6ZuiQPZub9ua52+lKEM3+WO2k/ef3Y7vNmYPAbt0fRpPvRf+/q
sX4ICS5aXoO7fJYi0GCNp8Gmmsd/FcNaJVOBnla/wZ1MuQTFGpBNzngllH+jb/yCpqF//IZ20uS+
FijjLdcQBp6nT3hn2/+N80D9TFG4C081YVXSQUVrylrWvinyEq6ftvfqtuEuPdXVQyVNPs9pvCXr
0VXfpzYn3/wmxkmQI3hxWG3UhPJU/5dm1bupjw/P35P9HGI4rAJABux9aqp9TuZCvowNu1MRvHGI
uoaD5XJtNh1lnxY5XU68TBnpqsQODU0aub6povx4lK3fiyd3aae8C1FahnhcCkquOnFayiSM2+rZ
6zdwaSdFlIaG9G5Sw4v+Cwoi5NlSKGL7jX6dwR9SQ74r29MOv8IMF/A3+d7kT9Ru5Z0D4bqBfhHM
XNxpI8LYQFGTLmLnfdKvMT9FcJApAFYgkumIBX6ryUWfhJxjqA2SObVXocEezlIJy/fu9PtZuhEG
XPYpDHVgm/6YUhLu+fuqg4VAO3T0cYkhAXLn31A35spJ0oM+6MwRF2uqtpae9ggNUTvrglcrM/W5
UWXx2KPynMQrZZB3xK3Vc+acPQ7jd7I04UwvcsuHhwOe2Q/B5sdHcJeQmqxl43ZYegmKkif5IcEz
e3aScJeQWluBp0WJwduy7RLI+/Uy9osILh8VTjwcOMXQKoTuSbx0OlmAd/1+Nd1ITV08qtsPa/uI
2VQdK1IJDqHmdGyi7c5j3Y3F6mJAe1WFRSSANbe2NHkyzn2ZFV3EU73F/E6WeutPcIJxE7CBbBr1
8S2s/sFb0alaoG7x++n591XxF6eGywOVeoKndzFPKZDXUmHiQTHv17eDEm6jD+gSHJ7zople1r3W
p6UY9COxOn/gvdZ///4Tbv1516n94VSMmlabFb9SKjVUUuP4a5iPX/2GdrZ5w7Zt6fbZpgHd4OX0
Rx35qTZzFxiqxwOmiWJBFqObtxD64NaPFuSc/TwdqwQy2Sk8WEgZvEPt86so/Mzo+H+0rboyR0/V
hL1Aqn/CCL3Ic9z8z2+qneS9szk8nfdjvLqrf523dyxYPLewCwq17dqZJS7pRSuNhG574FrduR3f
WHsu9Z1TvrXdXuDo0cAaomE9ibX7y2tGXHCyUfNRihxjF6YCfzh3aIAI/ZgS7sKNaPioOe2rJjVd
95lrmVac+AFr3BVe4oYEQx4pcinN/l6J4GNkmju54o0cxUWnqj5cu24JyKXgo3kODmQOYhji19oQ
eYai0fHBb+6dTYRns64/opxcoJqZ5E3+GurWH/2Gdi7CM0rvNdwo6SVX3d/1XJ0NrGXvnMa3lqOz
iepg22W4xuSCHpi/SRR92qf8norCjbFdgirIh7DoCkxJ0Q2vR83kGZ644YPXpLgAFbYn1iHDh496
eFvFI2w01ewnH4Ty6c8n4gRP4HrMJbmodXpTcPNsdj8Vau7CU5CHUzpuMHS8VaeYy69FSO51UN2a
cCeu9ZOwg5gFPpvjaVj13wJck/wWiqsE1fAhLqqYk0sYNx+6dvgz7rs7Gc2tz3ZS1GplUICa8Nn8
oC+2Uk/TLP3uP64O1AQ/ragarzNSfu2n/RJ34Z3S0a2PdjYl0R2zLcV8sL55iJfTpqtHv5XtbEme
18GIzPd6kjR/kuZI9sGvh4y7sBTboRg6VZiOqS7edG2TVLz1u8e6pFSxm1LCAEynM7FDEuvtOB/l
fM9k5cZsuwpQB7rYV9PUDC6MxYcy2KGfduyel0uXjCpLtnIyVeyiTP65tupz3Gx+Edklo0w8rhu3
110z5q+7tTqFHfFb2i4WpftSzXbFMskN7nNLUUExLI/OXmvQ5aJaVTR7gabjdKqG6hnq/fxsan7v
Lnzr13RiZQvknQSaYsMr89m208M2GD/RJO4SSXF8VHXfHA1oQx4nXIv/Devml7u5SFJdsTAPCk2B
pAbJYs3TsWqvoZlLJHX1llexDeqUwQ9J1Mk2f/b5JZlLI0Ws1yrfMDCaOnDA9idtYq+8hLkoEizA
NFzhzXGx0vKkDqcNnZJQH/H78GtC98MlbQtYk0PTsU6tqV/Ruv02hqMfRAVFz5/HXsTRRFVedyk2
EAAqApSWJ5AHWzx/zevC/+Hb4XNh14bMbWqb8ngOC67PofUs6TAXR9qKZlZybvq0rocvEx++TdHq
J+rPXBipDXLd6q07LrAiCZOdWZKwSnjlbMzlj46xt6yO9HHRfDgLnX/kvLxXVvj1mcJcs78x1mQC
2t2lAW8+5wfa3mct/a6xzOWPyBzHfd8bdjHLtrUnOdUR5PZr6+ctzVwGKbcVDis6tWkeyC8B9DZq
Uvtl+MxVeNragEy0iDq8JOfQfBzm7ZFX6l477XXH/LeYw1yJp3UmM4TMVJ/uw9B/XRtB/ph6U70v
rOJPXgeBK/QUQyNUxAfv0mPdv7S1fsUq4sV+MRdCmthIcoo241T1unolhoi8NHI0d5b7v+q7v5oc
J7GNFllv29p2KZS99Tna9PjIe7E/Fu1OT0wKeyrGnuQJrZbl4xHGx9OKNfx1DdblE54Fik8M8T0/
w9c8f2psGX7dJpQ4QjqV3RM0KpcTHHRo/sCInM5FNYePxyw7rwyAuYATLw00ATHvFzw+nWHY1yTT
1jCvywRz+aadV7sUK7RTY3MktR6emuVeP+C/VatfTbqTPteHgGEF7fu0CnAEnyrQ0GcoM5rouQYm
M5wWuMPIE6lHqL/B9esZyGswnIIg305WFeJhbgSqgnKpgzNrY1onaOmYP/CWkjQvbPVUFpacG8ia
PEXoJP9kxjh6jSZ1NJJXSk3nnO74Yeg1q+lQ0/5zNXn5CBXr6dXE8Lysq3l7gVphn+bjeO/94sbZ
50JX+Vw19ThjOkP9fVpVSoyfgQxzYfIIHimmG+YeaYkg70a7bAlbVOT1tokOlp/DZLiAWKwHSS8z
Z8f+Ng+3dquTBcbuyutWQt1Q2faNMlO7k0tX2cWkkyqUugx1wf70OZuoGy4bjocvvkt+ieRDNw2j
wsPRuOZ35ufXhyt14yUU+QSHQMmBet46Ly88aHII0CvkKmxAb6TXTqf/iZytgRS8LPjFxqL/M5y6
7a+cx5PXEUvd0BnRiS1zCMc+s83LdA4CgM4bgd/YnXe1X6996obOoS657ot+vzRTYObEzFtcJlMw
NH4ryA2fsGbgEHea2OWIpy0pr6D5IwwsJut126duAIWdwFqItWSXdqbRCX1vXZQEex/EXkctdaNn
2UwT77p4u5AjqD6PeJHKlC3UnRB3a/adHRzoaCLzjEI51xoGUHqMpvNS1btfoKAuwkv2KB/EOG2X
RbG2SgQsb89VGe1+2Cd1o1wRBcux04lcqK5nvFjrGYGurLXfJYa6gQ6mpHG+jtjBLRHyAUr3MIDZ
y2P1eqejLsk7d7hIU92vF9U09C1bmz4/9/CTj/0213+O/9ZOpWF2v8g2N1876D0+H6hd/uF1eLph
C7IRAzdzuV7mgqxp2Vf47jjWi58vHHWJYQaBfjC3mB15zKoHU0fJH6Drtr/9Pt+5oLYjF9Me79ul
1Wt7Jk1UNnD945Mf1ktdaNjKcEE1l6+XHNzAe1w2zP7QNI3UXuc+HDh+jr7VYu2iCmQNsG57Ha6f
Gs82IubC1AquYajOoTc4D4szpAc+x4H0a91i7qz0Dayccxk06bhN71WZw9Uy9zrMmCsu2UQBa9HC
X6ZDvTbJEk/1E7zz/KRqmAtSa7ZF3dAObXoEI3+1Rf0G+TJPzzPmstSAhKXKS1WlYR29DgkB6Nn6
VZAip9Kdk43rFlKYKboS/pcH08eDijsJzq/DB3NB6sHCfD2oqirF1L+NArwnRnrzM6RnLkKt66oX
cBGs0gIVwWTXgFOGovYq/zOXoEYfGI0CvQYXUQdfmgXvLehS9Yt6zCWoi0UHe3EswYXv1V+s6FPR
+nHlzOWmq7YUTdGjkL5Mc/1q66qXUfPwrc+JiHaMn0+UOdjbsIxtiYab+TVyPJvU8+AHMjGXnDb5
JkUkhiLtWLmdzdDBsKg4/IqNLiTNu0IUcA8Fa0Sr/AEKBDtygc6rUs9cRrrj8IMN8Baa6jbYHnqW
xwl6sd/7zbmzO49liI8Nu+iCN6PlRcbHcdYT8wO8mOuZu/fx2pqSxpflEOMrDSzimWjlB48zF43W
5Q6fB5h8Xiax2VNfS56Y0gZemTVzceWun2izQp75MlPVnGZ6nLex9KPqmSv0uBcR0vVwjy9B38dJ
LaIvclgWr7SLuVKP8wQ1PQqZh0sV8PJ1HvAvQbiMfqvRpZXjhbZjjMT6Epb1+7zn60Mrj3u9z9ed
/ovii0srx2U7wfghDy+QNBCPkeDlBfzyeO4H7ndhYq7i4zjQoNlKEl6WzdAzHdn+QW2TunOh/xc5
+dVf4LxN8eMYOSnb6DJFM4u+CKSV79dWkaQ8KnpZYOJ1CjkkW+2YN29FN8Eccab7+70U9t0Cm/fv
C+yY2kchoa2dty1/lPW8/hGxnLwRKBU9wnKTfKRaNU82PNTJwJ/hBQ15HehJOMN7nQkuLStLS4Ud
G3mRXA+vIRXKX819CCE1r+Fd/BruGABX81BexJp/GoP+PUWByG9op3hHAyyZay5zCVq648o9bqci
VPfqZDdWp8tad7GCTOy4yQu0sTREF8bwOP2fs+taslzFsl+kCFlArzLHpc/y90WRtyoLEAIEsujr
Z2U/TdR0z43oxzJpjoTZe+1lUuKT10Su5r8rDP70l5zTArmW+1JgVMDDD7aw0NJB/FM/+VGb/5vV
+Sfj2sZIFjZIdbxJMNJeleP7tcfhyWu3lFNWx6OH1R/J039yh/7oZf7dz/vzRlfTstrDFbetZGUD
R4lwFoChGhiKyZNBmfLzH977xwv+dz/oDyAhTg419xvYGemwJOsnm7Pe16M3ScMGr2uLDJAqZIX9
xHUR5w3ymlMIzBO74A1OHllB5YfqJfVFfiWqz7/JYueflQrlC4jXk61yt2bYjzoGb/LYQL6JkF2C
ovaFxYN46ueIn+F/uX0eYGd2XYwXUxVzQ+4A2n85+py3Vlh11pCz+qFi2Zqcy2DC2WWR+TJkNrq3
A5m3qqBZX9lBTt94CjzkHx7Of3g2Gf7+f00TzazMIF133Mxi4GOcmL2lMvuHUeV/esN/nnd+9Zgc
KHLrsavPsAHqT4XObauVH18nGfp/wNH+5YL0797wH4WKCFPvTDniakA6QHwd9eYQtwW2YrUhALAF
w9h8g1GQ+wlpYtGqVLwnqcqrRIehkqAhnCcR2D+QAv9D3/F/uLS5SxSHauc22ePXBE+4qtN4tP/V
6/qTThs5C+fdHIhhvpC/dl0N0/wP5/p/eFd/smmziKueDCje48js1Wqkr+N4Kyp65Kz2cfnfASfp
n0Z8Smkik86leFUqq6NuPhv6X6ql0v/DvZ+4g/E/TW7YS/T3SFl38siK+Pv/f/js3++VP8n3yxJg
jrkkORCrsvxK43m/ZT3R93lPbTtxbk/byMKN5mz778aTf/LxfbwGsiqX33oMP285lmqDROPuv2up
/jTmTIQDXDjr/ObK3N+kMUnlZVJ++v+f1n/aBx8L7X+dLMGSLMb0IruZYzem8hYVCd9Y+uX///aw
Q/g4Rv7Nrv8zShrj5nGQGNjebEwEz2vRw53d1zbOojytStiMxa/HtpLpl8QUuTRVf/Q7fH7Sfotg
5SdZWnS+OhTug7FCsKzpyTMHtWcdaj8lyyrqmREG0sxhp5CoOqLZkH+d/7UFq3kHiek3X1zJ9wpD
/OV47Ikq+E9YCSlAUztHbFNSjYfuzWMqt6H1oUzPHBkmUTvFFpfFvi7yomGzwVoBQ5Xvc+f8GSS6
+1SFHkHAJnQQnpkirnMtigbmybBlTQQu4HKGAP3iIlbcD3D2fUlk3OVNfEixVUunxAlxBb+5jI5f
3YfB3bDMfeXicv7W0b17tHwgP3S5L09OmPgkKDJJtqPT/e8wBW+rYSdD9+RhXvVdMxZHZwGPlOGJ
LhOWRzWh+tNY5LKPKpUl7qmUyjeTjvsK3mh4x0GtrPFLodHrZu5eJlL8ktaNlSLDp1Ed+X2Jz4C4
BjHvNSYTXUMi1deqX/QL9TvCkVPv6GnE63yOYfC2PpZDt9u6K0zxhISW7inqqLwMi06iakESR60O
+PEDPd7T8RPEUMRWQpffox6GqoxykjaZTr/kXMY/uzz9TYKymNNJ/7UoGbcVxMCxrMHeVg30U0Wj
x2lqfD4vp57xCQRMGXUY5VLY+fp1Gr+O05AigWsQyBj3okyXyyaONH4qox0SOLFubrv0vtuzL86O
jraRNfj6JRT7xxQ4N6peKdEXJ0lyxQuw+C1ND2nbddw4bNnGDejPXEkE4/ZfO842+H5OqgyixbFp
+7mOzMDMfcLwpVUm7VofnsfPUvM4rwfomU8dtxpJ9suWL1EzT5vl11kNUjyZffEnifV+PwTkDy/Z
OCFglo60MZPMqgJNiWnMoP34QhUb4lMxORqfDKaC5NQXe+m7ZtQHMIEKI2w7PhkaLeyhcJ0TX41z
JH6yLDlmUnWoHOPaCKOcwm/ihugM8DA9TC0NiBw3kptlOKVh2vwJ9hU8e1vnVR7PUWeQyiYhmhu/
YzagNuRy2izdXJWCL7BWalxXc5+m8ZDd76CFyJ/y4Im8T+SE/6rxTIoXZMjFURXwMoqTkIUhp2zy
JbtspvOsNnEHenc1xsiwq9cplOyhM7TkPyiUKf4EnRlc8ZjFFzSHthEsgbY9n7sXJDDBTBNSK7Kd
hBtz+Q6LzQlMGjRnK38aMyzEM1vWldysHXtkrI5aAm8Y+QKO2Yx49/VZsYW3vY86UKocdyutpnLb
yLcBipzxhwsIbn5huS5QscQM2zNfkjG7HCan++8+FdEKr4NNOsSp7BG/ZhpGSE0i+l5cZyLG+T0r
fZ89sLhX8w/ly51dsqyQ0Reu8xEFpJ3ozsCH7LO8ZnQbu6/4KrM8j644YlptWcTMo6TxtJxheEyW
NtdTbD4PNN+XB5pgXcOUX0e0dSkJ4ze4Wy4FOs1BYB0jpKo8j2op3cOR8Vlcyr7X7nt8sFQ/hHyc
eFKv3sULrxCRmZErhQGQ+eW7/kPNaaHpPPcJnMEuw64DvxsheEguRJSo3KGi2ofjupd63XitisLK
Zo73/ON0XZJo/WYOYufTuLgxu09xGoWitdJ2/U1JCJq/rTkh8N8jpiRpZczW5byCkB2k2QFnhb7u
+Ez9i4fy17Zd2U3FFXYhxfDDdGGiN4GQ55P0ohjOw4b/jwiQw3YtvLiZe+lSBEQOVZ+o1F5QxoRN
N4VZ4+ECub/czekoGQJNwoAX8xiRHFwc5LsvmpxxEUG1l5RSztfNLpt5p8jYJpfUwpigkrCN4tXk
iffNOKkh+XX4NVrOOoF1bF95T9dQEVFEDZ8SGek61tYtbzale/xsBqNMX+GkkRwuj0nsOGAqAhhp
Gso+PqojsbigykLL7m/4aGzRK3VJstwMfPH2c64Hyu4TlazsZ2/TJPkyw1DQnHqSzd33LPFb+qBp
7ubXvMci/b2m0UqvAuQpF1djlCb533mczv6SHXkU301m3U1VQG/n3um6rkFU2YpJ1jeayik5WQnR
0oOaY7Lfby5Dc1QNK2fqbZmXrnxkyTCJHzs2wiqqnG5T94UF2UWnvttSckpp2Pm9hHwvql0WkkI0
Os0zGN9GW3RWfnHF3QYOmXwDdpQODtrhNemnppNpCZwlxmUS/0QObSwb/CCtVPOxOaZQdzlGQVuV
mtTHtE1JUqh7mSbQyNcH/LDWX4d2k3rrTdHPb/MhI4r2LPThC7NMic+ZBUfzfRlkFmzjWUSW4kRk
BjypnecxYffwb9X+Je2jeBIXDTdattVwcpjdZRFuz/hlLDsZ3jXEYrgeZJHlXQvbhVLLig1kLPaK
HFoWBLEE8PzIqzkdo/U+ZU52lSm7nOK27boJNvTEz75IWrDyCJsakZnC5me6gLHyY5KwsSvOG/KI
YIYdcvDU/+qXws2hJssKqpoOHWTYFQuGr6QiJonYChGu3M/dwOykzl1GCE8aSUoWmRvg+SV7SVdY
9251tpfEvfXaLONYZSoR8mbFh6Vjnctk0Ec1sI0qKIfX8SANW2dDRV2CERSfexMhyRBesVlfXGHx
HNSFRiZZfxfxSOh5S2U0ngWgJ9YUB/FbPVHdo2Da5SQKeUos7fiAocxKTEv69QjngWwq/RF1wkzt
vrD8d39Qk7xTvWbqMu6IS5vTPK2HWZrnNNqLuCIq6fPzgHKD3ZU8jXfEqBZsD5fiSLIbQ+ZEwH29
aXXqfLTGX0ym+NGSMuqK/szTXUX3YYrW5CfTaXzJ8yTvzwwp8X2L/IupWOtyRUbugxRxkj7YPcCp
rwZKl4LLC47PM9fcwLNFr6uD/DAL12jxpuXbArP4cYG/8AoHn3OJMsr/BRIVaOP4yCAEXL0qN1dW
wuwlbVnGwDuuDoQSmeuGyhKnhuzlUpXwn35hYEAbV6Gq2nJzDmpO09fkIDuPThmN3X7TxMr+JUom
GMgiwSZFuYatm8Ahi2amFH/zKHP+wiS9JWD3XEUKe0ecsKX9sY0lvEHddCjZ9DSk7Fokk2f4t8lE
UxUBhZN/q9BB/XisIhI3VNYk+z573FxPoNjr9LUbj1hd15lhARKwAzHYmPti1ufdRw6/CVP5sVzw
/nb1cpACaeOTlr8wdMJl2HfHhSPc+DelkwBxZ1vNOj5nSMVY7ukoQv+UQRRcPIUd4O6nkEEEc4FK
QEtRrYMoEA4xZCGcEIg02fcySaLiNPA5Zj/yhS7bp2KBzOpTx7Xvfvb4XVHvKEoP8Vc304jEkOsc
gjwduuwtjAuGYY7xyWJiKhEPEtLGKQ/Yv35a96QGYitDZeOc8isDvn3qdwu+MdwTR3lO1UonnBW7
6p86svAIFeUQI2MapEJZahA225Wx1H8uSIyE5TqW2kefFuvkuLUYTHTFeBmGfjiXlOGqnmnHSlH7
0kQZirOjoL86GKBmribruMWPZN0KeU33o7BVipSJ86Hz/hPtNR9R6lP0cSfb21yyaouXWD/kzJtR
VKpn2j2mnRpsUi0kLAT3c+TTCS8u4v3xAL9wsdi6H0Oo8PcRqM1DIZaXCRcEjj/IWDrQn/gkTZMF
v4+/ii5EL+TI0b1rmNzeGZTp84ETLfUH8Lo84p+xauE+TmEqvV0nhiK6gpA7xI/J7BiGsV1ZlPye
IIo3R8mwWra0+MbDRcFGaP8s6Fhu+4Mrk9E9b7YLtBmWYYhfUCjIGEYGKsz8FOmY0NelRLVyMp4s
7MWXo9jO00K7+5zNMO0oC35GycUVhJ+xKvUZAqgseTpQBup2TLGubOvh8DG561rYYnSoqD/wPZGs
0YNcerf+nrZ+pn9vMDr6upGUvaM5xWF2KoOGzf+advvSjDD6/hUQkFhLjBJP8wSnt672rOO5qXH4
ZGto+w3yWXfOF3TO7sr1aF2LBr9UrMmXTG+fxSj4NjeYyM6ON1F+sAw5PItPl+einLb0GVHy0Q/p
NgayKkdnwOosGKnYV3TGcPNa1IgEX+Q/Ihme1n3kSQTPRkCredGI3MywzpzL+UHsWfw2ZcSJsd77
qE+7Jl3HKKGV7qHD++6SPNqaKNvNoip1bN364PatR1za3KGSXTDuioe0nXbejX8xObKtVdgRxSvD
h1hupaNbMdQY+cxN78awgLbF7FDpiHwExxp40qdod8dhfbNZkSTnwD7y8Gq6Rz76ikNWE4/eNVKh
PQRCybaq9OmeF5UbYWt8JkoU4iHsPssuGzLAl/eVwdBMVDPXGLdMByYTxSdk6yl/r2FKnZbw4F1w
k3ZxVlGvLK5HYAQ3MnxkhufwRW7ZthSNyXiWNl7F+w+5sehM0zR/MkuIoiba8Wdg79m7g6fJeJp7
1z9grZC7nKkSQ6g5RPW8jtlVZ2H93O/EflpoofYKbqIl2jUAmXOVYFoUqjhLqC0/kzzfMYYw43vW
g+MDaB2UExDdjmrnJXlhK1oslCQwgU3QFp4lTloQwY8cAvpNPU+Zxwm/d0d2k1b7O+yuKaktguwA
dJfHVcHYqga9dkb1va2XIp5RoOy+ALOQ6RoaJn/ux5U3CZhRlykrujPl3XbrJQ4olqy2HrUtHpIE
gE0ixh4FG2jpLO88smeOuKWTTyo44qqapdlWI3HYntc1H39M64RDC76eTd/RpIUTJEGJAEZjxrZv
fi4V2rIchdOMlvsYprgVPc6MJaVHrWayVcwiSDxkADzmnnzNxDpjyUF2hoOiayPgJymeQdSdZhV7
dEx2voZo/4lobIKqkaNh0xS/j7Rqr5N96vD8eZpMtVazu2MoEdAF5Mtv50jyZRxwfOQyWn8Mdtpq
l3vyjPDU/kuf9d0VUcfdrWfO4DxxU5VFjtQgOPI2yAzeaQnRvIVmC2WTKF10AatyaYLrUdIhjmr+
awk9q8YO4qUePJHP0Gxj2kQyfmJdqi9qRBEI2vt+5HUR6Q6WuWibA7hHZzCsyR1o2HasChwNZ25X
gnT7LJtFu3c50zCPLPa/QYlEAYzmNn92ykq0/3Qf3yFdiC9THoXXHLYLZ8vpqiA4PPDQuCwa3ru4
HTI3/jTrxu4WQqZPfB9TrPxUYphCgCQLLIaTKzhSL/oxvxQ91y2iKrDQvTaXQfpw1KGct5OOnBJV
7Drxzgctn/oy49/tpkiVrpHWbSYS+3Uw3R5OCtRKcpOxVSepZ7I0ST6YTwXn48uYD8Vbl4zyN9JU
IwQ7EhRmJWNfDhtF2QOMC8XT6k133VJRRtUO36cGtjCoAYJa7FliCPQ24xx0F3IA5mp6wbtzX3TI
G87HIRb1Ibtw6cqEi9bGUbRVNFZ90ozWFgC3pjV4QEf9YhqF66vtji4kPya9416uJGjjd0lOj/lr
WswIvCmLNZLtgD5matGt53k1HaV4zA7KH7KEqAXR6XQAiKTDzzgO+gcB3+CBRLBaxbtDi4i2cgWe
gHsyamfK/Cd4mMJh2y8IGvvdyV6NdYwa6pH36U4g6JhzUVF1TM88QYk5H/1yC0uKvE2TMMcfMQ0b
1eOB8pe3as75U56WpmwO7j7akQH1Rc1w1b8RstMreH72lJLI/+7m2B/APLfuBmWNoJVBrVrUWB09
r4cY2aF1CsnXU0Y3bKNt/YgRpUkBC57BR1txSveC+srTsoQt+0RHDReFPnPXgeL2a7XO3EckyChR
QeriRaRuIg+Rn9mvmEojaoJgSfR4/a5/xGNOsYoxAYhbEGJQplC8VdsOLMx/ocabviF0tXu3zmdF
lbCIpzXZcpTGYjErtFg7usw6rOW6YLNM8Xdpt+URh0Ly5p3Y3j3Gcs8bg3S/imOFNRltx/ywbSW5
bYKLn2SYi79RstFvJtYUPRk3a3QXkD3yW3So30Cyz0PfcNRJj+sxiaPO96y8S/iU4jCfp/RVzaje
qhjrX1THOvC7FBWIqF1v0unU7dNhTnzKV3slidU3l3xAIBQ/rKzwLcyMulMD1BicGOoMOkT6TTKe
Dw0vFsh8Ukj8inrZkAD8OBexglM3HSEHf552ipON5Tj/no9j6aLvO6q6W+H3uVWwliXNEe9AXOE8
qMoWBI/5E0yKkWET5zsrEATX8fLlwKz1AsQDvRkOxbgDMMQGe+/mOHY1NSGCLsbhvBDWkfSb4GP5
dKS7/WwTeHo2B507X+fI2wPd23XTseA62Cf3aSD58XOeYYO6x2zK2yho85rNefRXZDU9W89mebe4
DOVf4XI1XcIm5VdyyGxtYvSzLxusrN/7Qw3qAordsdR+B7R3IhqmCZAjDvrHADHSE6TP5nGk0My2
XWGFb4FZkLU26EH4jQOVXy74ivKWgmJkzhlNSN/kxFu8p1g6Xu8s9mNLCBQ+tYipQM8BzsfczD7P
Xsot4IXiewtXUWGOp1hDOVRZXBaI0sp2XFkWVtXmbuP99iaLafKVCwPmGcTl7BznfgaAEgKK8Hza
oAFapdoowFkuGpGG6GhltnN7k8eAnapA1UiveG6ctEU291dZYsK3mTmJryke3Vu0bIDeBxQmD2UG
XeCpi8cpXKlSNr+aMqff/WJX9UyJTE21qMNgQ+BmI+4K8ECo1lMAZJcj2ldS54tmd53YA3SdSAkD
rE3WNXlC7RVmdAnrLGq27rFEC9evWwN5wsf9m3a2LC985upbLmMxvpRzIqIXGpI01CjQ7X6OphEJ
KSrQ5HlZTf+m5gONdCED4EwYqinMVpI8+TkIigokY8XE22QeIYGKIVBYHnLw42f0tGu8N9JJ+jT2
0fq3nxcJf0xlyxYdHoAVCGvHATGMYngr1j5r6LH0KZZ6WEVjCCoDj8bMnli5ibOH2QGtlCyin8dK
6QMQCUbOIXPh+hEb3f/MRh+/rp5r9EK+0/djvGj3TEUWXwFBPothy54SREHf4MuKJ2uDhbOBTzsK
sNFokZ3NtIOyauTCf4zlEPoqTrL1qsnc53Uqd34+UuTHfJ8RB9TGbvIo8O12P+Z9ji59241rir3g
8TmiyfjNjVNaNqh6vYVyzC7j2YVV4Upe0JhVo0pZawFUlpW2CeK51lyMD2nC+rmaUFnqKs/0/CoM
7JZwumz6bJPh+CWyBVPhQcBe/XFMVz+3ZQmzjVvhcPQD5WWoLgpppg/HvgjFWpw62H1VcyFz0ezk
sGub5mXZXxSJGamBjmb6BDNEvTUmJrKsNw4bHTJtBDOPQKDLIBKITZXEG07ULDflY8GivY5yJn/u
mVIregwZr6c+9pYik3lHzRMHfiKpKfsqKpFEhs4BFrgVF1bP18OMwTXGBsGqYVitbrQDhQ0BKqO6
0iUjT8Cti6YfMv7IuhzrJJX0K5lT4FUMbW4F46lOf+XRjFQCtZcDSr2+/FcoZt6rpsC48eOjgARS
beXCXbUl2XyGYuaIKz1lQ7sXhf7RLWI+pduCpl9MGnOWtfSvi7fhryJeCvjaaAwQ6s2j5G4XKXES
pKxg8bNAtsvn4TgUHDC7Ub1GCmGIj44hzA3N+gabLYvRRGiLLtqBjoKiPJ7tDhS3xsajpppGZLdU
GKWFV8tdWBpg+rgH0gX4XzWP8ThfYz7QN14KZX4f2bj1FdpLoAXxaPGQDFLq7zqf9WltTG7Ax+1E
dDw7wjt19jZaHSrkubwHV39+7hZYl7bESMYaCdLa3Oy0VEftO8dfd+gq1zrA4egzJmv+fUxoQGRZ
n/SXYkj6M+553Ezc6ZsGLgaJMbrGj8nCKp7khjUFq9gwFHfCbWK6BUnJiIEacIbLwku9t0MfhjcH
sLvltpPft5ysP2DIHn4FNDY3APBYdVnYP8M7Eeq3AVJZdlKdy58WtDZXbC25NSHL3VAbD7kwupuB
ZjAOzKLpc2LzmZyJtsN4/aDIhxrDge3R5OAF3GGAZcq/wn4kmMZ5VN84MLx+H0cffvpDpPy0xWvy
ueeYjnHpkiuYC+Ru2ZIO8d5jMZ33o5Oo0DGMeZ+JxyrgbE9An8lGisEwceh7O+SkFwTA3wql5me2
bU9pV+SNLnK1XlAg2KpPg0BN4eZfpd2n9QFZ5yZtDeHHncpJemUu8/fzpouziNkx1oDlRAHMF1mG
jev0frV40QBI4WJ/1XTCBYdqTk6V3nMP2AFwKSKUIZQ4g16f/hIOQ5VqjTCcgVZr/b1CfStx1K+q
slx2X8PgdorlNVHb8MivOHg2Nz8U0S5/67xEEVxABlcgySjHlIVyuT2Ms3H2YmemPu2RwJATku0v
O642XMbTIQFg7jkGwY6ZW6fL5DVEGfyJRRS365jaNokxK+txxuCgy1AZZkzQNktjfjvGxZy2DD8+
iWdxmqQF5ldC7LRoDHkqQ5k4ARYeebXRVboGWkb3qlSJTgwm1xi9+7h7GKVFybuqfX5be+WazhcF
bpVo0NXI0uPUSfjrYmbFu9quZXrZqFm/0n1Zhnr2OEOgOKEPm6bjJQudyTHbkeQJHRjm3Ria1WYo
PECAjmc/pkGup1lz/gLmAGtmQrdmH4vt2xJNoUkxcn51NBqeNMLKasCc9iJoF33FbgddNEaCTQU0
LDkvnY/bbQKAgLuQn4cMmi7wPjq0JQxxpLXWEvtSHwYlXIDeg2ziLUkczA8KZtG6yeXRa/A9WYe6
t04w2rqkEzCA2HP5sGQmrQCJ7mg5Z1gV7z73FfIlkXhQ5lkTtHtdwQpp0gxC5mKnxUXbbr/kCYax
xoRwj2YjnHbsiOe1iOQFlKTiOgyWneZIH2d4fg3381CUrXH9TwMheY0vhSR69J2sFqsQdB6sDI0t
9/JZ9UX8dZM2bTCYjJ8A6g6Po9TJTyz2rDlyYessW7uu2W2MKQdPeWUzEVedObq2U2v/lnFghpmO
+WWSiWgoPyac4lH0BrpZB0BTviWB6DNCy9lpZeBjYV3kvyiE/4toD+QU8aYndHgRVM4nINIYi3b7
3mSeLmc6BxpVslv/htEtoJl+Oa7O5r9QcL87vpFXmGSEZoGpz+PeY2a1Aaf/HPOYnjH2TRsZ7eWV
lT56nDb3RkY7tsoJTFd4VyJfG6M9tCA9bsue5p+BLExngFbqFheQjIN06HCRh/49zWd7AQ5JXgY/
f57oIL8OMUEo6oIaAAqlqYM5qlJ38C1nr8kgaXN44BGniJS6UsKXaWVt0FWYadx0JvkJVfeE57kW
zVF6Df6KCIS2Bp4ZvgaTxVTlVqxbLcCeELjsIV1onAKtye0zf96hIk17eHi+ic1kO3y6aWxI3nIk
K9eLOITOztu84CJUJMI85tmFPub3epnSLDoFAmkVUKl55keBDaCL9dt6lLu5oGwL+ydAqb3FsCr4
vPwipjX/WahgxVMsdupam7Dgf8uQHbOq9k0VYyMm4dKHo0SYwRuTLrY3PG6YxRQpmAQYc/tRPKUI
asnuD69Vk/NVp99ClhzulqpEY9yYzZtwryUkZR7X3prglowHl2xfoBwX7p1FG3GhMqNMPOi8+AdU
G7Cb3ipkPyyiXvKeA9MNSfnXMg+ooXPK+CPGnypp/Wq6f3kB9G1K5/mz2Bapq21iPmq71fWhBqhL
UVrmM6jjuBER8Q4O6WhT8RacyjHz6qKcDI+Sd+4rGsoRNdKA40bXcjjC1xjJHP6llGwTJ9hKJnFd
Dm58AKiSgs6gOjX+XsHeM5/HvgjmNUHcjq9LiYt/R/bW5vtKYrP293Yana7LBP7W/8PRmS3HqSxR
9IuIYCqGV+hZ3a3xyLJeCHlihoJiKOrr79J98wn72JIaqjJzr72TvhMZy0+4lrvusZsmw086N0xr
k3pjYJ02qzMiNXg+yMwljj1/u5K2kOUfk9Vv0SPVll2+b6swMjGzL9f3sht4mFwX6cnZe9vq/kR4
jZynmiFL/q8gfPffHEJiE/AKqF7uFmFHdLM9E4ZzP86OlzJpMtYTpc+U71VUWG/xylNC+rxfF4MN
mFCGGOPzQYghya257NinOpXMjSexsFchjYpo1q9TgTizKxXUk5WEPaAvLG0/6RbZ187s+Z+zSgi+
PXpe74urbgqW9akgA33g3p/GfZw51vxRC6tb/8aMlCKX2NpRjx31GEnqOh241pkpcz2ViH9Ky/yH
V1ko4qRzeZF1bmWhonZXSXCzS+OCHNWI8az6ucWbaJ0TvM+4ndVoqbbfhaqNmrvSo46PYVFFcjiz
vDGnLGLlvfn0l7nN09XG/A6ENqM07dqWDPr/CkZb3rNmIZEcdlqFc5ARVSWI1EsCx4g7a7TiGdHa
hdCwfX5CSyIygAGZWFaur8phBUz7QE9Kt5t0LlGlf8QmhFAHbwlKA/5T9IwsHojVyPvxoMuFGdhs
50FzG9DDmt8IWJ35oTiwxL/KmWyEyaBs1tI+2dhA/ZZaIYSVQ9uq+d53k9uWkbM3TtB19E7FZE3k
hxvHYtpwbPkw8+bMeUIDx5LZ3jUfdr6EcuepKSrrF8SCbe3vke2Grb0j+2swvwInD/RXE85FjcK9
Bc0vzURgHg6l5+XFQUalHmSqXGGGW24QsNn2EJDpoRkPtEfznVzzIg2bfhHgl2lI0UNzOiPCnG1M
oRX+hITcYvcf8/463PP2NdGyi6ZtvEGlN93NEbRm/YG7NIyaJJsF/cnmcU7wk24b+YuXufJv9uSW
QzKs3uofnGoqePtrFqSni6Mi0r+m+F9e2OXXQv2jJ3SuQkQqZW913OZH6eemeckCxXVt7HZ84jAJ
qjPiVite66ics8fVbpbpZkno1AsxUewuzdTY7mDWxb7icaM2WYboTxFXdZxorxp4RXPKCkrGYbLe
W87sfs/338z7EjS6Ib0m8vZOYJv5nvkMdL5EbgL5CfHl/hk8bSJGCwiojLXXyL8KRGp6DqQN75gF
I8CV08fNSyTLmP2dOrCDYLc0tjsS5uM3HwWQzfwY015sKcJoONxwg0flYfN4f/cyRgROvFkb6aZD
gSf4fe2n1dvHjq1VQv9gHre+X02fLBg8TFpVzF+fLKgXcUBiZi1aRUjHRkGih4fBHWadZlmTFScS
WwtUyWJjWx0vD27O3tUvQ26t/g97DWz9ZXeR6+y2mYac4eiyvWvXWUaKY0KTfy5O3B+nFWLNy4Pw
HHsTYz8BW5q6dcN6vci1eZUYZFS86GXIBDvGNJnG3GNm1/dQAIkwRcgCGx4A9y2rBVMi2VgNXvWq
eVJ+NASPimqXoqWYZo1aWLWXui5Dcw5ImDmDrwe/RaztYg+wYX9gJV1ecz5Zgn/XYSMxvQ2gQUN7
fBlhBMI/AbP5X1nG23LSdbd2O1KImAyGNqXgOUR99y9ACcuzX/obQ/62i1h1KOzlvtZWVT9UddFT
bXjt/OXL2NN3W8fyEy1P/2mzsK3TWGaFn/Sz76Pq5fhELOjVdI2zJUqrpSpaLg72mDFm5JczlTBS
Ex9WnpTGam6yiYJ9l7fLUUShrtj0sjKGsL9f5N6NUUM2OX4WK7ExqUJO565YZB4yCnXrd1ct/d8G
ofAP+wd682p8MXxuFraD54pFhNnDONYWCf+btcSHDIV83ANOGrmLO9VSmKxe0d3FVq48tiVDlAOe
r8p6CeA7MHuZevyFJPfNGX+P61WidT8z0deFRLKrc3vMUGLyykvXcoaAE5sX9yzQjLyaC1XY2SMD
XLxeCbxrrf6x2TF39gUoC8WWHc9xvevE1jpHS46W+2H3WT+881aF67f/gQHXOrC++zFmjD0mfHBt
+FfFsv5VOv3g8AyZuTiQgi2DBxgyrupS4fsK4noIU2M57glAqSIbpWCwMKlePi+BOzDcHEEVyqfc
7f38hUFV8MIIts7/BIqewp6r5aMnOfkZi6nuUifgfMAyNSvOfmturJecs+vZz3QepmG4iGgf6KIG
Ow0Hyy8f1kZ6zY/alx3HZV5Y4rTSgIWnOGJkdAgDxiMHCK9y3hH+AKLSbhHeHZEPMD5hU9nb68Dv
6jFh25vPuRT6XbSpPbt/CLvy8nxw31rNcFcfG7c13q7GuPeUT+zw2ftQSTxXpl3btGBFPOPZ1Y0B
VxLWsoT9Y7HVRfbZiKYSVwZCSxalgcwiP2GIZIa9NwShuEU5pfEjmyHHc9uXno8IPQ6cS3MVq8sU
beubVGYoEku4qkjioUV16JE4j+025+ew5aQ/LdusVlYhA/AhcHAOPchNGfcBfNSuX3tuJaD2zt/4
9nLJoPJDmLn392tM5sneW9Zl3K2m5LsISvLHgznrXmO9hm92HMQ/3IEnOWWZqm3927Qs+LXosr/u
5I2fkb2E/UGjYC0EBkmd7xvD6Di1KMuC3y5nn1Ukc0zG10u0BsLsl7ZQw7uPs986NCSLZX86yozw
h5FieR5zt3mwKHVelIwGGBQyZU5tk4kNjWGew8S2/EoxOA43cjaSuemG4skfusZ+XBw41GuTTdZV
thAt3JzddpcWZRV0dlXX92Eq0FQgPzFctUXT7EVoEaQRNpMRqOVO7r11cHPn3pmC/KlrxyJd6RIS
STO9JKsI4tPYwXcunTV8sLxPxUmTu8WjdAi+exKcisXOVFP/k84kBwAYfKquniFOd6vbZmTjJ/sE
G7iluipSO/I1h1jnxoSyedrljIoK8zPYnD4FW1bzNy7vPjVK2flzu1Rj/xqxTrs6j0UzfNf+vCqJ
2TzGS9viiRcdTCXstQvgdyyo/tspCbPNwL4wq3ylI4n7/TC6y913O3HLZTacY+oFQIvYcr0XiBbt
72i2lHo3jQteGa5B27yVMrO7fZlriB0HDYaJ4Jqp/G57sf1YO3YnUBhqVR/yNWujUycXUV6B+CoG
xMswZf+QFKrp5xA3sn/LPIMqRCE18QmYVt0yBrL+AQZ+ihg9LjO/qaZ+OBJvBfefF2hMp7iflvXc
QPa+VLNbuwfpyqzZIQ1v+ZNjMqTuwgLGvLeIYcS7tQ69eeL1rr2+GGvmsZd1Pk24JLj5xA2Bm2+i
K11AxYq3Cqe8UEHSZWYabh4La9qTX5vCILBMsJzMyM1R9VZ7aGB8zsPKUZFU+C2WlEJ1uitLzZcx
IhCv6/v8OQ5Vf5kWl932sRVAA1kb9NSI1iL2gt3itxz9K+1niz3Ww5h53gcVxRakoeX33tk3wvyr
JG/R22qa8tZod/hUWE7ypOrZL5rSrq/bbZriAL6Cq2NKEWIh/+RmO9XDjDq07tvBUueVjGG+zKEP
n0T2HURvzd583xpZ/hrjQB5DPdn4kyZP2ycQfjEe4tWEZPsaiuS0+57yXJhlZsxxssIcfdaJL3+j
WIgw9ZfV6dK5nLozGML4MvSWX1Bvbv4W70TP1ZWCga3F0zIbKATexIlWLbT/gU60aTv1br3nHx98
5IYh8B68wZLxWbXD2Oywg7FdNqvpwX/zVM+fudmmPZwXdgQ/yPpxL52W3t5vWnc5uLmSFISWfhTD
Eh2qvKq3dJlnAjknh8Nq1w/2dByM6v9QYdX7RdTrVfhOe8AxOe805d11zplr9ngOPte4r3ggZU0M
oZH9zldT++RUmWyPTbnVj0gj7alwdPs4WKW35yxz0Rz1thxGaqGkik18ErLanvgpT/OekrCR0CSB
PaV0uNClnswPc45e8Cy5bEY+QGLqXm3Nhj4/lvMOpIIodZ3PwKr+GEN093U4MhY0K/eFUj6aSD/e
fGHyn0L62v2vGp3J8Y8rLiL3YxyrkpU/1dpcXWWLV7cIoh8Z5Fue4jHKliSyEIlDzKsqGdvK/auh
o0xix8t6K0S/nhqvBoJpDQJtN36PDdhd8sD6kijnZz96v72+DvoD4ireAeTtpk2XjsUw59zAT7SO
m8uTnYnYoyRwyYu0c//KJ0YZoMcMsKp2BrYK2P49i0pGpIH0rekgcOc86mKbbvwlH2BbBJsQRGBe
8R5iaq2jsXbSrJjtkxHQRvu8qa0+HeHlDJmI3BWRUfk5Xy2dSNqvE/i4eu3r0cuYKQXL9hJGHYMG
Qy5un9RjaG13gFm4cIo+679g8ZDD13H5vutNf3RIdpiOCF2b3ndcifZf256/dyRBOtUpgwkYw9Xz
GrOb6HO3R+bCwGocLIOQe8s47cquB4e7wmDs6Y9kz/nWbkAdLV4Ql9haOFsxjUWCuDdQWFZ2bMWX
rCqyEdinoTuKIY7EQzjNKKQbF/SJYxAwa+pkRoO59ssT/bz/FUsVYDnyl0InjeXn7wFw28UOreFJ
kKXp730z9s6dcnPOdk4PIv/DLmuLsaBtRftw1VTLPLTRaeCZoG6jwC5SQfuILOawrXOHqWvekjYM
+vHJdGuRMczTzsDkW+UZRAds7SuVyjLz/5Y5loym794ICQ+tyyrp+PYqdob/fL/XOw6U/I3tTZS2
xNqWlN+liQMWpCJJFQmcNgcB40ROcRsR4E42LUUXqvyy5zN2vmwak30x+0IcuCphFXKwITSvmko6
Gdca8mTdIGxvCwVrkHKbanVlFcxQHRwgkO3JmQflIJqwfO7wfQ6zdQ5Z0o4S0UAxpHhJnGKfmyoI
nlaNNzyRgdTBY9yK0DwC8hXrGS7ie2+QzVt1q3hV28sSCuWftlyW9H62Xv1j3GdO8dfFckBar1Uy
6igQXNfErrPoZ9xHfvDEjnvl81JbhYvTqG/yXVDYLIyddVYH6cSh0KWjnLCZJAPs2/C8Tdy9HP15
A4SVkpVsdyn5ZRlixJxN0Jzp5gHbXuN5GAUQLcNs6z/+7OKfNbZj1tJ70bUd+z67OaPXZPu10/m7
N3fFF/Ywxt1+IdZwN46bYHwb+340v6PG+t1Du4aIPowpwTbBWQe4bG9QB2nTQScLlimXuSoMwK6G
jmdYpNR/LqYdeWhVWNrHLgqXv3khiS8MjJKnyaNfSFhLvh1CqM8cdWae70M/ze3BLFs0vnRmri2g
lzJnTVNWyLHYL3FX/7YQ8dW9K/JI7X0/3o5BaK1bsvZNYSXVt8uAernND1tWlphHMCungQ6iP3Bm
/suQyfJa9CEKaFS4dLbRWgKbGDNth5FSQqe4ZGz5hm7Lj97KQ5spPMsWqiRvFi87zb1ss7tnGfvb
7Tl1HkC5DS1284kH7n72qyofu64Lt2TeAvEmJMu/6dHtqLq6AtfkbVWIE3/zOsTnZboifB2/MS4E
OjTki89Euz24lTDIUZY2Nx4kh0q6Xs1JKZE9NQa08rWlYX/yuXRhCPDV7TKhtLm6VVmHhwiZ+5Ni
i0Rbt+MULRM4Z/PDnkQ84gUcIa+jzVsY9c+ln9SuETw4/fBTxUO3G1F+/ga5vVGqkCZ7spa1+FGs
qnvjbUa4FJl7mlF5fw+lMK9ai+Dqdsr82sqqOZCJVF1DOwzYZwXTgPoAYFiO1W+CLmSXNq7YMF0L
fbUA81Q6j4NG9cvHjxZDA62pnMN7izOUG4K707G6FmdizYg8dCf5My4DCzmtMe9AjPrRoD6eGyvE
O9hmcbmvWCTzYOm+vDvNQmdsMovpVzgQjUMr5oYQ5vl8GBx3OYKOTJ9wZdbjWpQo7JCYDxhLh3iP
oa37AxplpzhmmNar1XqLinV86Tepv9iJoa8OZpUnHepLzYN0pFYaXu1l4O6yw3E+Ap/nl2gZx3Nv
udDVVk2NSfyXvXfE8pu5BG4cVVRXqDBcYK52WJ0Wi5+Aw5IUHx1/X4wtUA671/uzyYV9ctduu4Wc
wgAnbf+jz4FqLT6R38VS9v+6JsDMoifrTUMNvZBnsF7rRc9nHwjk6nnV+KfePOvMsG8981fR2VBW
F7coqONrvnwTfSpzGkhCB5vnSF3cLHLccZJFDB6dLkcMs7c9mikqJEC2YDymYW7iCm0SFz0umHwO
5AuZTHoBAYusIaH1bJ9dF8BRrFa3d6dy/WiXlpErw60i3m2EOp5UoSfaYjbGpGNF07d4frmTYety
pdpAp6yFV2TeCCbcad7E4BGTHGcYwHDIb8oaQBHGrG9Su3a+VB1aZ9ZDZZcs0uFPbfkeQ7lI3NBA
pl9bZc1AG3b1vjohqsu8ulcElvVsLWZ+wAjT7bJ4jPY58cgXOVvlzqpy/Y4sSgx6ZOtkovL9dh86
R4/mlSRwfcAg9RXC154mEy8nmlnvKxrk9KCM6J8ZGjJ99RS1Nsl1qSXDpUFusX2OvNI6wsbWWBPs
+KAxYRKnnZnfxsFpVmEG/xFM3fgrx0HzjDSO4XlFqJRWsxxZkTpxQ/IYQR+P844BlqvSrQvNO88v
0MrQR/9l6Fv1zl3s/N9Wd9YeIYCeFc367vDOId7OmT1RldrdTW21cFLh+c5rbolBI83b7WXLa0kj
XWn3RhdmXySCJ5cNyxCAmFFtWHnkKLiCUrwX2zil9TDnZcKCTyzS0UoF4Rq1q90ZCIipyvY6WbOM
Dn69NT+iwGcKywhuTz8EKxcuqnqCCWOqw6DAOm8ybk+9hwbIklyMQ5zRXULlX+/w3M2/gy4oP/Bn
KESPcCVozK9vMi/al1htQf/c+rgIikK2H6pjS3wSb6S1JMXkRzQ4+KJx1DUQRe5U32XtgXABlh0b
UVWXuc0Ye2fepNEA9XYppW8/4NAejxbaS7un9q3fNEUh/B8uN8wYVoPCyBpQ4UrvR9vXn10UDPiO
p5mLcA4qdvIQkoIwGXhu6qzA1adqG4F0yTJFgca1vaOqWHYBMwXwobk9+tUmvlygvLvCS7Jzo46b
lo814BZZaYEKtImUqrhOecr0uw1kNidIY/jvAnbynYWtgckHRYdeWF15WKEh8LWjN4QX/JDec78G
43NuzHYanLZeUJeLGappcP7VlWkvWNRteP7WgjuMfRowoKwh/jswWc2T7dv6lzoey+Bdf65vJOBM
4QPibiWw5tMankDUN+gm2KIqodjpsmTFlHaiFIxuQzFme4bB4CSj9NKWFT2/8LUhJEOCTXtbDdN/
GR5M5wdRBvGzdjZAjXwo56ZKAm/FA4gZZT6E7eSc2xFUB8vnfNiWHM9XMbTZnC72FF6GJieVr4/7
Tl8csgkozSanO05KO2TT29I8iYCivY7lsuzCoDE/sqDI0rYgFf1YE8fzmfeB+ktRIU4bLdXBiMbe
Y5/p31wTOW/GW5y/sse9IuYo414ySH6r1+Sfxbi4BXiP61+Ltpv2ZLGDGTPPEXXCehj+0XwljD0u
LecCcbEyh5yszynGjMeAOaz/G9bWP7dTaX0xYvC704YD+gFzGRHtdVueV3sYbyK3OiDPuB+utbXw
bLDB715sfG+xoLbljWIkRUZ8gYdJrXHC9Ev/84NS7XEcCL4mW7yt7L0pEyRvdDno3VcywLKbDbxy
zz3ZHRm3SfxIw3aYGB/4iZUvstgTv9e/Lv1As1Y1jGKKyuvvW9n1v7rS6p6sOLBOIhzM2wD9hf+T
YZRJp3iWFV6XikllEMQHd66bZ2NW7+CsRjB86OO/Af4kAgyM/Q1j1/VpIsWIxeRT/OSNUXmts219
/0Zi7i7K/n9h6C8fTUH1gZ/K/BkdBSw+LfQOCQ1sc2GEtqXeOKuLBf///G0yxPZi8VCkQ2wvN61a
zDSTa34Xtue9hKDWZ0LG26fKNfMvb/RWD/NGUPec9kgNkL5MWYlZqxEBaOoUFgiHg9AP5+zg62y5
Q/IRckisWlelvqoYZgNHBJBRedT/Fy14ZvfcNNtjPs1Vt1ds830NbK6JGn/rLz37oEU6Roi+23ix
qq8yc9CZnA1KPGZ28s+GNNz749yYvyVRZAc1+XP0GC0OXNFkNfN1zPFdXNhbaL8rxZhqXwh7AAGc
ZFidixzGpGconE/1LlMVDE5ZEY13xHkdta9ErcTOXm1Ff4MUtv5zJUPoQ9z5Q3HoQxTstIZ3zA+Y
icQfWWRBf9wGnDJJEXF/E4bktvZ77QSBcxzZjOqmW8OHQKDGspgxgPrrcGXr2coualt0PKSSa4Dc
uk042ZbS8K3DFcpuY1lvPGKnYpxULQLPTzFv9KCYpA/+bHkV8wAwG30Yp0mcrXAb3M8WQT6dmsxZ
XrgEw+ltXaO8OJveXf1notWMTurB4s2lmfMewu3/eLnKtkfQr6i5tpnVkOZGIV2pu1BDpSfmcI45
kNQBEq7H0o92lhwWqz94Ihh2QOguK+zG0JaSP0rO+2zvtiK015/A+d9yIZ2uheVI9hGxJoTEXBvy
97z3Dj0pfkObrXtOxqbefsiCCWx5k4HyYBq6YXX2dkuU4HZUZqPfRZatxY20FHdNme4MsJFkjvfL
i55q2qA6AH5pM9uXOq2Er8YbMloU4TZpxZjDkYXQd4nIu9E8yDn2uhczQt492oEN/J1iNzTjkxfR
t0M5CxG/2Z1NVLRe/FlfmbZtX6KPgUESfDLzoS/QOeNkzMDZKKhDESwslcS8QmgBKfrAFP1zBoCD
bYhNvZ+BjvBnMCDUXop+Vr601Cgf6ITDhY9QvcaizhgjWD5mjVD4vwb07s8c08plHnwofWclwqHv
WqZKMYrZL14XBuMjSTV0m+Nj4Uxl2gsIQxGNICjrFOCmwMD3s/Omjj4xbm5bIaM3boX46MuJi6ms
uXvdSB0N3Co9AjPwHR2z/zNobE/iayBeLYFkcNJq/KZiGDu2aRPRaO1KZiZsTuq7Q9CAsitVNYK5
adb4Owgk96lucvEwjUt/gWzrX0DpfzkyLrHtVeonZWN1UG5Q7becVyP2W+fVjuT0RER686bnJXtW
BAeIFIrYvgVjiP/eVmrJXuvv8XkaWEu+7AZjcdOgW/YHZ94IPDBDXn/4cTas72tWhvIYV8wJSCrh
tCeSbcy59nzHX6A0fdIfohW+ecetsbDKq9ddcSwEJzEVeTnKQ1BpLtYlg1ckwSBizP7/yWi7uqtz
QoWPnvk8qmZvdOTE976KPII5JrD+Xd1ERf+nIOwjO5QktwR3mKF2S9mNN7a3sNNldXALMwxHgXDN
yaBD69bgXoHNwrr6GcwGr+/Ql1/KBYPbg154T3Y2aOrLgOR4xBvLi38Ss4Qq7QLYyMNQz7zKOial
5xxkoZnOaHfMHdaxU18roH15xlrVWBjcNKsQHfy0MXE3FaxiCFLXXLpArl/DGi7gFqASPvOIIbIT
b7RxvWE7HuvT0nYcCyAWyn0ybOGbn4Ior6bjKNwtfAuh3a7utMlyv20EgZwYHi2I92qupxS0ZWr3
uchds282t2xfXKYKNN0AThgogDr6j7o123IdOqzmu6WoZupo0TtO0gIB0uRQC8grC+wpmUIbUWxf
M0VI9drq5amzQ77KupJWt5NZb8RBhmKRYDS1MgkGMpfmppqDf17TcqVwxYTvsyvVadJl/RkxrRHf
Y7qFUzuIzzZ3i8gSuN9gxoBai+wWLlgrfg52jHvH1ggXL0rYbnUd2fZsJ9uMR4itEOWinrYChb9s
S+dV+RjYdriYt+OEhWoEUO0imbgZTAvDLXxn+16zmyF1dd65IMRMPA4MaVgqYfPBApnkNlIw9Jiu
HnGhyM9ASQIdF+nPlEJkHOpkJeAB5SwfOWnUwvooioHFvHWmyj+rWq0cj2HHnBECKCAFxyklznOc
PfpaVE34sa2FL9KajUrleWY9zb5ydWddfVnX6jh9J5AcISwbmRDkmOujw+jT+ksw+lKlqszHbz4n
rvLfDS/byka8xd2gzx2CWb8sEUvYVeJ4uvpli7OWV2meauIG5swv/D9LWQ3tv6kNUfgZ7NfNeSO4
gBIl04TjFGNTLLvYHTvguygacXSYoinzh61gt8QnzuUw5HYIOyFf4s4u/CL1aZ+WS+Ova3jEyTsr
DEy9EkevXMPxRNxA94KSEr+M0lneplVqdz/yobQ77mPd3qypndcHZibVc8c62R9mCbYmDSKQqIMX
tGt2aAiqOfXSlw9lVzN/pe1HcCGCwrlonru0qIfovZxGHCc+Bevv0s227OL1VBc/KwKBApwRxI7C
6W3b18bcdmBD2aq+gL2JUFtmSswHMcZZeGTgLLL9AKp6y2un/NKYkV49a/N/TNQ+COTgLhxKoij9
y0yowpaMcraJQKLSjV5RD9bhtcr6FBiEcVPLPSqj+CEjW2AfVTPutghbht6TsQbND14yvfSMbw/u
ZOz7RijBDSFRQIJY+USeI4lG5J4xavkPgKECUK3z7PANVcF/VaA79GeiTNtZzOcqc8ScrKsLZmQ3
3WfefA8vzRKtX4yhq9di1s1frdE8U94wiLmJImjHAdaeGN1kB9Zus3kDcU++z8SRHZewCB7ajAAJ
P3ate5xz7cyS2fMxd9YVtNZCiWv5m+/xFIXusTGTuityqbBoqiy86gBqpopdVe2LjOoyre26fotn
y/no4tYj5dednTOdbEWznld6v3p5b++Y0wv0J5B+rghjVVA7DNiOfuaJXRw56OlyC3siODChJEa2
DmaodrIy5NmxZIxX4e+oFeEE4xDaqGZmOwuMh4TgDL45ZrQeCbnDy9cQyhWrfT3F63mOt/AwUn4e
xFh1j/BQBPGAuTSXvmLTHArfem/a+rtSyIp711cZQM3k/Re2llNfqqbF2z2jUdyjaYiPXhVbu1HE
z5vtOxefDB7kuayOL/TC8s+EYnIKK62Cp27IYnVDrPwvp33ZV6Hb74ZNky0VWwUnE4IZr/Vgnvkq
xG1zaQgY3CtCZdeJqDDABaJY2gu+VZ/6tBNnRaM3PTaEzGBaIyc4J5ogggPOyqL9a5HW/NDrob5g
OFtTE2S4+2qV/wYdnT6ishvh/jDpEyegiBQJIn68gkC+xFkYSiM1jHha2UZYX3nep2NDmse+aWZF
v4Bf9Lsz+BZw1nnE7hlAOe8y3xN8BWz92OPd+EFKhUgDT/5pXencp45gPU4YjMbF0h672Ii3ubTV
71ZHI4rGFJ/HsvZee9gW8o1pKnNeBQfGJgrBOCJHHj2LoRiDGXR5doYNlBq4HYOEVIPtwVN6peag
ckt4xxyfcaHvTwCV3ZgxFGwZLsm+ZvgamOIGSxpd2mXQ/DcRiSbFy9m968GR+4z8lmsh/ehL1qv6
1RNTdN2C70yaYIOCQkg+YedzAL6QRy4qIBokdP387q9N8MLNuuxah8kqURjilS7FugbNOl8Hp2im
nc+n310AAJ1L4LP/lpefSJEee+o3BjDH7x18vZNq7uTy6jeN/BrG0TnJIuLHKmAK9rk/VaeWgNiH
OpvXbyv3tJ4W1tye0YPnXZZP7i/Kg+3Nzlyk7kgP/cioKh/22F6Dw7qyhCioqvjkskwRP1TWUHIR
3/1TiQFmf8A+lAhI4iNTU15HFj3Jbe/TrOanqK+Ht2h01ne2UeQga51FAp6EFtAuDyaYAh8gqIxM
FrVQ/ijMwoZS8IWkRHGNnP9zEuv/mDuz5diRK8v+Slm+IwsOOKa2kh4QiJkMzsPlC4yXA+bZMX59
r7hSdWeypFIXn9pMlqZrJIPBAOB+/Jy91zYaai6NRZVxrVH7hdLLE6WcQndm0QgIF5Tkedw2uznv
yksr9sK1kqE6TimDddS94UE2mv7Q0j9sGXRpWBeqMwvO7xr9vW443o05XhBhi/iWTT27su24CSLD
rh/1rM93SBTsSwap3WY2JtaAmj7vNm2UF9BLyw4sbIxr7Dgpf5hIbYa1KhYbaiVVR4i67jwO4lll
/PxDF7P1NHa9ttEmmV5yasIsLfp87ZjIL6PKHYC1QUl6z7B8/1zO6+3sGNkVZzUxB25STJeir/Bi
9otK14AiBN6XinMaJC2YnSNZCwnEVLnPDRBU88YjIiEFspDARv+ZppVRX6RsajFupNFqOrJqkNjn
PtAwKma/1RwrPOkxRRvdc8Lp+ltElolMKYrrgr5nCgkHCqMZe26B1hNaGNonFEHFtc053YLjEsaK
hbWw66U70fbmfMHRRRXZFfsw7ma/snM0lpeM18nm3iwgRqKPuQA4vXEX1G63GhKz6uO/Z6b+MyTr
FxC2ikZEOE4kDlRzJw9JZYOf/VsvbXh/pr3CcSicca6NAx/Oj6abDmWr/wuK9D9518YZx/sHkGzS
SeHkeSkOWCSxhG27XH0zlcf4ElOkCdQpGWX0YVIzR7fF9jt9rL/Haja+AHAjLaT30WbGIer6K447
T2x9/wJ4/c8+EuvPH8kcsoghyzMOYO4wa0d3Wobg+3tX8stNYo86WhEDm0RVhD+lml8cbvVvvvYX
2jhTBnQuptMfoNjkrNVin2jfzJ74RQn+w21imtgyDbrehxhNfWAmhgmCxm2/eTG/EMaRz7uppYNC
oKTE5JRtED99j+pvfMklKJoaMENi1QeowH71bKbzv/i0z3fDP+Ajiy/PZMsGGnMmqw822gttlaOD
Qz6DCCcBIPvNnBXx5emUjoXxomr5JSL7NOviCi9w8K07UXx5OieaA+zxZX3IPfcla6trOhmf33vp
r89mY6qscLL5wIZ6pcs1Htfvpf2IL4/m1PQtA6VkPuiA6N3p2pqz74HlxZcHE+hcglM6mg8RicKB
FOd0FQ4X37vBf6H1//D4OLXQG6PTJh5717xCLdHsUVz237yUZ4T3H1497tAWd24/HuxxOHYi2upV
evO9S/nlyeRKLg18+uFQGmpNfNOPzlHf/MS/PJmuCQBQiW44hARRrxHaWGunmY3vfeL6l8cTHhZu
d8Q7BzGn4amdOOKCrU++t2vqX57LDHhDY5loVbuzT7zu7Y8wtL75zr88mKmHjmFsIcZaMZN/T6s4
LBQy+xfL1vl+/gfLlv7l2Wy1og4LY1FQJR2FIJueUhiL711S/cvj6XpdnEEtLch/cRDrRxetrL5X
Aulfnk8t6txsiNrmgIwCiX2OrboRAL2+dZvrX7ZOGU0WCGrI5SzgQCK06CGd0vF7W5D+5fEkx3ox
rKyvD6EQZzuaQzGbgVL63lv/8oS6xE/yklV1iMrFBZQxnGjKV6vvvfiXZ7SEgZSKhLeOGSTzIYNs
BCbXb7248L48on3eJUU/sLklen4P3YVZTNmn/+JjsX5lXvzXO114X55RLFy6OacWHwwe2XtDS7eV
7B+ZIkJMq8lZhEtTnQXLzr52lsNUtau5K5cLy/WKZQNPInrE0JjtU4s8GyfsPM46bbU6H3QY03bv
1oTCBQlXfybOtytG3Tdhy2kXRgNqEg1vaTujSexRGVqzYR2aGbz7OLw5E2hU3Is+zQD3eiy97CrX
US+iXJtOuDGSgwNMyo9jbZ/38i5pvauUhKp+HJ6mOZ7W05LRJOOYt5T82toptfHeLctso2w9WiOr
8TZZ652nqvVNhr1knUe9QA8cD3uBQNBCogA7fT5OkxNtlsrquwcCAHZm3o6Vj61LewcB7NA5sAYU
ENB4B6AoiHjMbc2M/QInakUTKgUkGydXXhOGV/Aw13rUDT9ID8bhqOyA8F9zjZ7/KNz2eWFcu5d9
fqWVA8OHuNHunbaaXiePysDWj0WZQZIJa2cnNIA8eCqBErjJmfTriAGwwzQgwNS6yRdmiQAFr26J
QUf6tBgukqhHsFkdRZ3vObSWd5MbhltLA35tI2M/gS7D2jYj8RsgAkrjerDM68G1xg2HwALTqDPh
5sIQvipDTa3NdOxXdurlT2mCrCpR2lYgEbnOAFzBYDsxrCqDokoflrxwV1Rn5bxZam0Hr+S+1uaR
tggWSurNwGMiNgfwla8lLpwVolBgR+007+AGgLLPYvcCKuOIymC+0PBa4n2zViIKQ4J0obhrpuXg
3benbQhZdGebApNB6WzQX3WPdBmRIwxMlGH+0610CtuDVpOjYlwZwLdWgE30jT1qhr3CWYsXzTba
o2tCqIdmIxsIy8ztlNlZ+7qZ1UXoqVPFzXiG065dD0zf1m2psuDojNaqGOZdr+yLMSofRjVvReb2
5boaMDdJz85vOyb1F7OlX6aQKNcdtOBV7HhYlgTozAHO7BF3k1qpRn8QKEI2OhRsbrTUK1aWW2QH
Z2EY66Crt12cvjLaAsxn9tid57ouH2jdf3qZOweFgx/bofm077FEBY3EIBnZbkGixQIXuNc/Frnc
KEXs1LUXOR0Y866FLSSmC8h3MzxnYqIT++QaqGgYvEyXM2FosFDmZsEfybwIu6AazENETsWz7Htc
kK2r34GlsC+sscJIALu2eBqhvfAhyHFF4JU33wGvubToaxgPYdUTdFDtM9PWLxKQrs9d0+mb3vCu
Gy2td8vIdMiJAzBGe9tkru9Nw6Y7z5qxt4l1Y7V+L+lfumiwtm4SwceBVwAvgXt6dbb24IGZbjJI
QJtiTA4qM49wzH460eCeRGpAb1ItT/a81MvzkuQ5WIQksbag/41VNdIzHZr4UOgmM6+im0FMgLgl
ZcJDQG5bTrJsmiExLyzDSaPA6Cd9A6/50ko8ww1gjyNMg8a1RlURakE51+fK6iWOCbWAcpKvrNSu
PkRYajTOs+YxSRh5i65s1zF+z4thCR/zxD77w5ahuJK0fjZGUR2YwfNsAN/1+nMPq5KoBhHN+3Bz
WGZCucNl8IpBUjx6Goc4JOskwjI9bQKNDicaQOSz/HvQryxAF+tpnDXm8PVZ3OS0mrZ2ccM8xLil
1m7XOoFL/DtvIWq5FjHmujnRy4tuzq8Q1oSXxDZcaSzhdUkH0DQ1xNloaMgSGUGMsRwIEOI/hF3v
yqzdcYNpVxGWnU3oxECPGTC4Ezqtqi1QB1gNFC2MfjzOYbO81yXCqKwzszsEXAZqwjF6Fpo33qW6
tJ/bstcu9Qrl42rslee9MBzv3zTguy1UnbK5D9v+A+GadoR9h1Zy5lKicO0PkQaSbuaKBo1ylluK
imWjirheAiTASACYkr0NsuU8PdjksWkYUPQCB9As8xca4zORpkOGea421t7SNkHstSXE9vZajRjx
MkXUnilVhM6knbgysrI90ODeCy3FaKerJnlCEqCqw6DJYV4pFHgX6Th4zsr01I+2QwdqAhI/DMWI
nC7r3JlBjq1ee/QPq9JTC7IMad175llMojAghgwOAvAmOMpgFOP+AEEjQIesOrBOO2+o3e2SVdEF
gxOQz6I94AOO8VY38hqJRRGYjBv3mqczcjDqtWkBk17NRXRN35GAokX24wjKx4wZqU6fjG9t56hB
DW9eHMY7q2xqo61VO+C8vPZ+iHPxpHNJ0fUVuK3AUVSytuoH2E1LH7hNW5mBmxrOcz54TNoaXXdP
TbHs4DHPO2mh/ZmIf9g26YLJVZPZa5TFdhHQSC8RnJmfYDXc26plYqry5N3UGdWhqhPVcz+X+rEe
vOh5OE/IG/y9Qc6CDGeiip3Up6bJV3HSK2wfCdyLNBfDldbjp+7DAjqVo1xzD9T9HoeW2EeoBbGZ
OvGD09TzlZYWcnsec6AIlpNYewYmNAB0TJmA/V2laliupb5w8DCtAwtaBDIxh0C/qbvcSUmxQNSx
cpjjNqtCz1u2rMpEi+0Jhh5FXXZH1ITgqghm6m9GTI/3VTp0F64zlA+Ypfq1sszoEVlqTYGAHl5t
SAWad0z/p+qQCVKAIPHFFmlTHWO6Pi5Zg9K88seaw7O2SAwcMtYChOvrJGxg6duzGYyVvBwB5fpY
plnVxvxBduFIVEF406DhFpiX2nxrsJNS18GqMXt+Q/bLW5I0DyGF2AotWXk9RylXrnC0b2ViCu/L
SU5VSNpAhcmDqmSTrVKjsVC2d6ho/sVR8Xxo+0cl7pfDHFZTBWRgNmGWoPz1gSTwyRvgcICJGwCc
53H81slOeF9OdmmMvz2myjmww1BF9h0WTtqvAC5+HTT+/W36X9FHdf23N9399T/491tVzy0OFPXl
n3/dflSn1+Kj+4/zT/2f7/rzz/z1vir439dv+dNP8Lp//73Bq3r90z/WJcP0+ab/aOfbj67P1a9X
5x2ev/P/9Yv/9vHrVe7n+uMvv71VfanOrxYlVfnb37+0f//Lby7njn//48v//WvnP/Evv/G3Qu7i
DPy31/rPH/h47dRffpP2747hSQMTrYPGW7ocesePX1/Rf9cFqiYX7bcjbd3jK2D4VcwPmb9bLjI0
tnEQEAQU8Pu7qv/1JfG7bnmWoTuoNEyL1O3f/vON/enK/N8r9W9lX1xXSam6v/zGW/nTbefw8ib/
sVzddsnGtt0vBzim2hAnzL5dM85tsi0cTfiQo1PbjwmGLrWJEc13qyYaYPzbsp0ejCF3X3nH0z50
iTKnOrRjIg7iHuWyYS9Gf9B1J82PXWZ6zzjoEuzdCrUtwnYvs7ZlhKkfaMIwXE0GsDw/igyioAp6
Ay+KiAsGbB78s83CseSSzNiObWVUmI9jp8LnWGRObTL5HacLpYTJtFz0xup8yMiuYAmku2TQvQuF
BPoUGU31ioig+azqcgxSyHivaMCpgdrEzX6Ahs9xpM8EyOB3j/VTkmTTD0Xm1IPHxptsY3D7ME3S
2Ct8e47wTIajhEQ7ks0ikXsU3audNeI9LguBYHhJiidDcal9iJomDknAo4gqBVHFgRt3lLhgjLJn
C//XkdQA296jw2m2kEOuDNliOOlHrwWZKwuSTrtSO7U5BauPBTd9j7FDYX6Vcj60du3pvj4ox0ZY
PhOKwqcq8DIYCuWEJGplCCzTO7vYQ+xZvtSoldleTBNiG+4dZH2lWV9WdRINfq31xovsSoH+0M7b
G+xLkbY2abM/g4bvgOJl4Kz8hl3uqqUipkUeYclnc+1gQ0yy0DH8arJ9MivL+5lPQ6b7DTkvut8V
o3gdUNZhYIkLNOOM8tVhiFvX3oX6PKJAq1NaY8IoVe/nDenMPhzP5drucAwyWZ/HeuemnKX9yMlK
yuaxNHbDVI0EwOgj4OBKLO5DUY4JJpMwdSLEhhmkF4SFcxIgIcJs0kNT0QJJoUrLqTtnIeSgHxK/
QftfrNCzd5SYYV8bO9XkzWaS8B99Og7usAYphbqhTVoOch6ozDt3VM4tMKB4X/KLb6dwgokK8tck
CgiAz2cUoZ9YOWgZIS+2WFkdJ5255l5f2IclLtMec6sjX/NoJksvdChbGgwp2FxttypWhht2uW9R
whdrqyArbQV1y710lsrOVpKR6+zj8Uc1F+aaTYvI6ZZll9KPYC9NWsvaVW5rRzhiTIgfcZHFqPWk
mF5KNXk/ag0390pyquLz6STe/tCDbktQ0jhv9Ln1fraL4pWwIBKMA+YFdFuJSDMRqb5TxZBn6xG3
PRoNe2Lm69mxE68J85s/s0kkP5yefCTfGZQyca+21ryPbS+BtKOzQoB8btpPeF25uUrxxZPHRkUT
BcM5OMvPTY06qE9C68kpKoL/TPSbKcpo7BwrR8r2sYMH85kPo/ZSdKoxMU3V4YeqayIMeQLHkzUY
C2HCtY3ds++qAod0iwQNr0Ob98hTRPxEtYuqeDQbWxBzEeto58GRofNOBJWRR20SBd0iz4YO0EA6
Sjey1ejCcfNA5EuJOCulagw4cWdBGjN51By1JNloa3nwXMk8GpNVQ6e3ACKpCt3nGe1b38GLGQZl
3Dn6Hv7omG4VdsBwBWdHOpvqrNrezMTnjYENCNzczZDL4CvOiuXQjCRwjHZpSzyEsi7q1YKVst3E
S+oMGxSjubfRh0w+V1bbkFXnTsmjqyrvvYKl9syWh8t61JNu2NpEeBloAwHgeeC4klWaD5mNjVEZ
JUC4niZLqKXOuEEwE9WsPLqZvvF2cNERMphMGx3Q1Qt9nn70+cP725hparwuoIKMu5YEaHMb5YtQ
txLBMg5+6A72dT/1Sb/nY9ReS13IDD1INwL7wc74ricj9n9MvZu0oJRu6uRGgi9nEW562h4Ynwru
zAIBbAQ73gp1DpeEv0Pf0mHTTJYHBQORg29bxTaZKnmxVOUl52+JhSHcc/jwERwd3Wq+9gwgVRHn
lQTopSj6Uwby1+YxLurhSjb6W8fvxuk4+GYqDijqtxSVoFhxe1Dkq92QjQGa8aMNTt9Li9Q3PfzP
deMC/6iPXUuDQZfvNBzvJoJ6JV7fQRivIrqGW3ZZ4Pryk3lndvG+gyteRxgsYWEt9BJFlF9Nybwu
mvi5HVwiKC3UGE473vdlyIGYYLydaec9wM/bodBY2hpML6F7WcZ4qnKGLHrDAtO/uUVSriDmBaPH
b0MhuE3b0UfV6B48M32CgxRvFOAsHss8MMJiozHAHzNTBjDeg87E77VAd5CdqR04m95HmcS3KDsi
GsZqN2Y7gznaUM3tPotm+pmluwPYvUFHfNuJfj/Y3gHtFWsPfhQ5/VwwI63K0SH4qxqfwjZ66lIJ
wKGUd3mWYBGPj25mYtGcoTy6yzkZYN4ijtJ9TedlmfLexPn0RqxnCQgwpl07WoLMBvh5jyWYqrLg
QYWirUljEw/YdyeaPrV+QPpwHAVnBFhpfm3JKw6n3DWsOPTo91HYwTt23ea51SrkwtkHR+B1oxMW
kRo7fXYfYe2e4+JiuseA7h8XCLq6XV91RrIWYOv8xSXKSbYmMVtFso6ntFrHy5gBpRGPTkWwDyMw
CplcvSWVcds2tBV7HsZVv+gBlK0NdrT7wUifWU5XIHPivVYaNwMidSqjijUgQT4qwTSbG0qfu8ap
jk2Tv+LKeJpC5b4BLhD3jqGtOnSN2MJcKOSx6Il4mC475DX0oiBhWtV0M8S8Jj7SbI0YeMQdpBny
WPTtmyu1dFU5g7gcz7pSNT0DqoJ+ldof/LogdbNTnLSlE6jB8mAjk/oLE/ES+xRZImGzdSk3AqPW
3heNrB6ys5Z8CQ9G3dbIoXF728ayGibtoGXXMh1jvzRvU71GOOnhUeIYM1eULPJH3w7LBaluQQbx
zs2b3s/K+caQwM7SOBBkCfqlyzWE6HBdQK5p21MbDSjfpXmCWLiqNbVv89Ljk09+kuV7ucD0waEI
aTAiPdLaE8p57aiUECY22anWg7Iw7wwLuXF8bhvY0TrGxbSmu4JFq9aw92UunZFGGQE0ZcNn5r1T
PXR+LbvEtHjMMvsaQfttSSeoczL64cM20r1rg33m7CjPBAE35AljAuRm+wVJC2KmLGb+EsPl0dru
gSLjGY4i1o63sqZhnN8k80nrca2U1V3Puc8OufzW8EoRiDTUI+8mT3awsMbrPnrMc9Ragv5Uqza9
944NFpFguu5VGF7mrXXUVbqBpAxmE0NZb3wAUF/lQIzpOGQQbGNaH+wxyH0XA15z2+8I0FinBHAG
w/lXkSj2EnrVtYT5LggrRBZq6qSfZPjWCGikp8kejZ4v76CHwH98y5o5QdpqLYHADunPLcWIvqj3
ssM9NdYDnIpznFwpd55dnEaLaDIYnTgnWE665LkYYw62C3UtaTWeT2bOK6X1ANHodULjR86aPnt0
BGmAvTiKCwRKRXfezVxdiRGvP8cCmsNr0NXA4KbO1csNhp123rV2kb1AaCMWBSKym26IfprWSacA
UMWVPUIBDZHQFTDTR7+r++Qkh7GD1wIvHmmyXci31kqLVyELxHiG90vCiuaz9cO6KCAWWlZOqVWS
+k4fNRc7PEE6zc7JZkdUjuH4sg67Y+0iyvS1iZkLB5j+g882G/YGzo0ksJMQMspUu/YNwT7FZ24J
b0H52Na3rdbi3dLdZoz8CdfAo56TGnGhTZRXV3aYqGvHG+J43eWDvKvhNLl+VXuElcQT1l8fOEv9
zqNFcunUwtzeFINDDFxPfhaQPJc/DHM5Dp4VOJbwBh13162EUjN63hoXaiFaz8LcU0zEMidEhwQz
yB0wzhKCj1/AqM3RatiSbdE1zoWllxtk+GaJ9gT1UTtRmMzNMZvhCdGSdt6Fstlm6rpXmJu1dPn5
P28vXCasel31qb42D/7UbbiqP8o71X58qMvX+ut3/n/YZhDOf9tnOH3Ur/kfuwy/vv9vbQbX/d3Q
DdNxTOGZJkghXulvbQaXNoONH4Nqh/+48vyVv7cZTP13KR1Dd6lTLCl0Qe/p720Gw/4dSLypuxY2
bUTYiMX+B20G3sq5T/Zf2lvC8L5M5VONsGL0nfTa4bTfdCAMr+I4LPatJ5a15WrajW7AQfQ9NRTC
T7APeHAkOrSyEVrSKiMvHa50sw4BAu4SgB5rzzT6T2CpdpAhHfo5mv2wcwkGyP0oTYePPE6oj1RB
Bt7YGxDJK3YXxzO2ui3jO9Ce3SkmsIUWZEk/D5EQ8+CerEOkk9HdkpcQlRahf2Rj5QWpnKFStejM
dybpgTeeXiQHfKv6PfsHhsM0Cd3brHAZBSHofR50y9inRZ4jw53SH12GLwLYUdNgpqD/OyrSXzgS
o/GN9My9NBpGalZXZoHbgm0ZoafupZMk+6aIndsQJ9DJxDv+1BgVhCE1QmzGDiPYpYWS5mZqmuoj
ScvppqFrUK36nnhCZ+wokAesFqcmmZtLWx9AziaFdY2TYuVWenTskgyRfGFNO3zN8+0A8/S5MKzo
gXhE2/KN1Bt32IZnrL2xubwMlVLHAjsCucNkLT2Hzhl+w8jD3Wa5VBd9YtQvcH0wP8x292n2jXZK
ZdG/Z4vSL1J0TR02UQubHUcvCAHZIPb0092niQTZAPyLeWD5gqMAx/kcSuukhgyamKYCMdRQdw3L
FW+MOIu3yijKPVaQ+j2zamiGoF2pzQbEw2Wpz0EnbAIITTIX2qG7E6VbbE11T91tglnC0k1W2xNo
o509x6TeyggvLyp0DlZ9ehvp5U0tvb2w4B2mNoP80cHuRpCLA0MJN7gX2Fm2aaJYAjxTJ5OOCWY+
0qXpuN3C0xc7croZEVSfkcmcNzETjrUmiSaa2ZNVBxd57naC/EtsHWfCCMJ0PJaBMTKf6uVth5mL
80u+7MJMo/kQrcfEex1B6a5SZrqzDc25pMB1BAlIPluvzoQfklXpis+6HsZH2nvdunElT0tOYwfS
Opp88WpOY7KDH/I0esV41ZltdmwJGJm6n0yTGYq0w0ppGHZGjro1cnLdeLEEbyvLljUjyj3esa2j
eeWLMU/Wxi1uMVnWG8xpD9kA6lG/7800qIr4su5de59DBcD2uupI/safNtwInepKFuP1iFCM8VC/
jbp8Z8TlG1MP18eOzeYTPtnltDctCJBxwgCxnCVDUFfft3rDMU1LDoQDBGQD/GCc+u6I9KpvWxy5
hvVBksl1xrbKkaeuA0HlF8iZYl+emzPOErrBmGtHTUHAX2hSdpngjx6vndhbxwyipW4QbdbinoRx
egsL+AaObvvQeBonPpUQ0tKnW5jcIV0GykmBbMAmj1GBkJwcjzA8xskjcAFfOW66qwV3Ij26MlC0
AnUyIDuzaDh6DyFiFfCqhczvjAbgev4wnvsMTMp6DNicck2eTyO3Cz8BXrfWBeM4SEhw32Zz7wlF
R4Gn7t4ZDMQmi84NMn3Yy5wcXCd80FRecuDW+NNdkG+J426gPAeKNTajVxAXYMuS3rwrG425ZnSD
ZKzeQCfSbyhwnc9SLSE9n3DdD8UUWHT5TszGXhmF4tug9nFfJeh3kncqr6V5EJOoHdL4u7Hbtn/F
kEALbyrbq1ES9KqpOj3pBgILiKqLOtZCUmfWIjxklY5oV1sW8VANRNrFLLFHL+b6WmP9No+L+apV
Y0LSuFd+mAxDr6O2k/ukacYNNRRWDVfWQTVCRVBat62omXeWJh7zCuneOaQWnJlGJotFl8LG53dY
shp+/zxVlJSEuHzChTpiYJertiNWE4xUte56cu5cItTmsg6ktkxHYeIiLWvyzPMJS4/AdeYScLGi
BSbva4CEHFWmI3ir+jqZhlfaFdl1abqkPQ+klOPwCa9o7BVvYRU6b3kRFjPc7FKe4AXRAA0pcH1F
B5QGAD4pxtppdTPNJcNvZlb0qrp7bWQEO0XipojEG0oI2u9WIjb0jBkEUqshWxGcg/WcarHJsukC
fWRMoNjiPCtQTE2hjwK8qgpfSYipgTvT9hvScTtF6QVanxHzqyhZUoGYENVKHMzoiXxXYMP3p2Lc
uqGHJJxMnDFIps6CvB3jfUdbaLc/a7t0CBuqxqMa5LIvCSc/0ZEv8aOnreTmY75fkzWW5AEhgQRl
ZSPY7iDjPmvbS5Eo+D3hsJdGjpiCuWhwRgT6c0kHNpMXDC/tU6+e8zMgBa00vUICGGhzTOF6OhNV
lV3yfHPai1WebbgUBZtxOWJmdPINkO8dF5FLT2ptFRvaFaNuQXq92SMSYdpK3hbnHEE4W6AzGM2w
F3tPaZwBk8dDwtbgkfxQuprbrloPvrRZohKTaiDPscbHasXXWJxNeLvRZSlDAgXycht3kJUGxeR1
SstVY3ebBaFUm6lgnOSnqxPiw9uHM213IZ/O8DDSU6El0Jyz0EwMvDxKLu5TzQ+L9lCbQNATirGj
a7twBQoM/DZohBXt1G63nF9VK35koEg2lfGuOYqwx8h7nRzep40/r5LQcqZ+/ImX8MKtCCAGCpoH
Uz5+DNMIN+icHsnyMq6NkdVvkDoIyHwwdqYGjTWbkpXtoPXORmLXo1XvCPrmpK52tkHzLqw9pBQR
3T1LPyy5FwAO28O1fYTn/TLZTXlaUDBCDZvT4wz9w48X89MxzKsFcicBp+PB1DgQZuklEh2aDx3J
P8t0Tr/T3wiPIAhjhuvlePQ6Lf4POrUGd1P3Oev2aZqubKv9MRTm9SSjeVuRBnsYdBrhtEFipyk+
aOb6TUSKc4qqj6CuF4ocdUSDwd8B13nrubUIFnO87Jml30T9UZ9D/PK47v00rsFkgH4H2mMLpgF2
c9nZ5vCcDP3OnG4R2yFKCt/iJjQuImGv1QS6P4crAmhoBQ71VGrxZtAdKF2ogFT5FJeM9JOyeBTE
hCx0fmfj2u3lZa7mvd7Z+iFthIezcMTmC3NQL9yTlAC2SC0KMnO5sezoYk6qE4N62ogQIuNC7gbW
6J1l5E+Llnkg7kAeZd2lm9hi2CUKWYYErtjIPt4PeO8nKoCDU8aPHSDMOwSln0Y1IyW8i4lUXJUq
e4aazgodh28e5D84HBfZOHEyzYefZEHemON5FFBws2rZ6PeyeHHHJL1oGubtOk2dRSw3cWidnDwT
PmIjAtymZxpnyVXdS073fEyWgUPZhrVD20yTp8y+a/L00Z3KvaWN66ZJ8luznz6xnQkEKZXuD522
7IkuaN9phh07UO7oIMqHIdHvR0cy7yq6C+5ZCAlL8ex6cBa8enRBr8Cu1Bu0MfjP2PI49MLTvnZt
ekgkREe+ylO6XFrmrtoi/+Hg1e0GJlK27DbCYpQhZp40jrgaesMilqs5bUgJKtPTWFYXRU1R20/l
LYjaXY3IetLce7OnkY0GOL7rRbaj1zVRY5QBs3ueaCCBffKeutZ1b+pAaO0gJlgGTzMZCM3sXYga
cLBsAlv02N/yY+ZZl/ECMj4cIuGjSxx22IZdrHbcb/OS0urGL+qfJ5kAsLTVXHOUZxYi8UICO/SG
N0AP6cZy6sXH4R9vLbvfty4QMynmDxZ+rcBbTy267+f5QN+AmmrZFdSmCdtKZyCZtIRe31kz7hcn
0+0HLTNJQHKsC72ujh5oIz9Pbw1eLRAy3+UezPXRPaaaft9S8hiN+bMZWk4KyrpCvzCiaDRXxiKu
Qiujwk3JNC30Cz2sHsEhkotnuIeIRdx1KxK9xQ7i+Jm3Bg1ZXCWuscflelOmGtFppY3zrzd4WBnv
UMrVx9DR7qSuvHXXxS+EtFymsBsHGiaOh1RLO/MG2vre7saiQerkladhDO0fIQ0w8tI4hg3jT25Y
9mGAIlvQsnAE+27DBvppWUwk2B4v0jlRfNi0EifGuC68B9JxY94toUNJT+Hj6ePaacs7J3FO1S8Y
XFtlj4MN7KqX5+Ec7Dig8fmZaWrsy4G0NMDoe699b+2QjDwUrn4CytdhbyEE41ETwwEcl4Tnfm+e
86xlzoxb6Owsdt1Bfc7P4BkjDhCWLiuYIu5bmSXTS297p0Q7JJoiKoumJjkqF4YOm06pgYafwUjB
iRoKIHXuEaXuuHFUu/Wy6kGb7B0okves1zLWgmHZo+5aaY3clnX08L+pO5Mlx410S79K73oFGRyT
A1uCBMkgGfOYG1iMmCfHjOfqN+gX6w8l9a2S7FbZrUWb9d3ITFJmRgaDdPh//nO+gxOaa4jXBKzd
uyPGF/DXZsi7W3UPBR0NfMTY064B4QA67B28hJTsaXdTtcmnpKxAiuUACJa+LwOSAvkvoQy8oD0l
FI7LZVkbRRzE8NQAym2SYrg2UvGqkMdp4K3OVdp9T3JJcOi2NCka5cfML+lCI98OQ6iCTDP2mide
B0OnOiMS7b2IkukIZoFfDWV1m+QOnB28bYnnGEA4ouG2cIvljqhtuyHV7jvKtrgpLizn6vK2arr7
RFiW7xU0B9YDTrfaUceB5R3eO+0D69oXOPR3SVWur40KDbvyWBY56lVWtXpl03FTsHnbMkfUNBXD
ejLrbO+I/KxLpD7HhhpVFJZ7z57wETDTfICdzTrddk+0DHwrgq/bVFfTCe8IxfArNDEMif5EUD/t
egLBpd/zky92jm0nOzuhIbrtZgo+OnertyzGeHsWsM+RPjJjpGAFgaCL0Qfg0B5zCJPl0BhbhA1E
+ilgc0rFhdZhYuqGE8WFByeNHoUq6v3UJN2+BWy1dT15B9jpKqX8q6XsOcK5Hrl+1LufUcoRR0L5
u0xddwPdYScw0m8gCR1Gz7gtvNEH0vwrl9y8ZqvijwKqF1VPQ1ULlqFiH8XJqWHZulFxyciWCpzB
g/DHEbumEVHPMc64jYlA80E15A5wOHSiZjPH3kolsnvadgipL5riO5WMnU2+DdfNQjLQDzWv3Mth
SMSZfoOfXuJJx2QCczy6saBJLC1IBlYiOC37eKOaFwgvYHoBSm5jh3pi6P9vHLXXQIYecsOrN02K
dpStcAc1dvwjvmE/8Foa0y2blWyHotyeY/Zsda1/JKP73VfYsZdZEHzW8VVxOb8TJT3QEiTvprC5
ZPJcDbSh6+9Ks3kRg/nkskmCzQuPPWQl0dt7HaLStqszzIQFnjrrsYCablC7A4WFhteGxVGS3FpG
+0E8+okuRd9Kq1vUst6PMpd2lDJ5zOf8ThnNTxiy+ax6kGP6UlUcsgk4X40QuQ11Is5+MulAPzC1
e1NLb/V64Z1eCLbYWNCcngfPwrMv492zltkzuGkfo8ZZu8xwySSt5wg5Y/vZIsqzLbKgx7MSjmyW
0ot1AZ+2A2wbAIT5IXkCU9/GETgNT5Ea9pnGZbRGXqGMkOmknptnkqgfucuTYKBMFhxUDq9GN24K
25H7GkvmMZ9CFl+6pcV3sAt7ig64PzA4baNheeVv7JtDcV+AQekycFpNoW7gJZdXZpc0L4NpU/HX
uohAXfLWu8vtPFftTpkOFSC8iIsxbeeES4AR28/1BF6MFuVtPiL69Bm8lTiHMZK8llCj9oVyHpWQ
l3IZL2kyMBwUl9x+IuHpbgE/vMCGO2LU+W5t79xqkLu6bNfzEA3oH2P74vasLjXrrSitrSYN+CO8
Hk7a+qDM813OW1GSwqhoLDds7eClJiC3xtxRxRhzv4zqzQiVwKlh/qL2ZNtO6umLWg8Xx8J1a7/Q
frDBBxUHUquPawymdZYAnOD94MJIobT0mfKIoBB6GmBRZ8c4XIteBKNo7vqovzDCVqzIx5vKXZg4
RpwKVpSd0QV4XcuTsvI28DISDctIhMG7HXLOHZ6dPqtJzECUnG/I/173mkukxEi5P2c3oWUl+3SO
DmFZUheBWMvziS6D+3wpX6wJe7oziHpryxTBBYj+nMGVdkv9LmJGgN/b+XIMx32tcfQMcJMepvaF
wsdDYgaGi5G5tyMFVbPmLcEWeSw+EcR2bap3uz4W8nakv3BNwewJZexTgw5KliE3A2/142DeeEt6
0iz3LL3qhsHzqujsr7AGrJkJkKd5u9Nz7TmukLDaSnKpn1/AvR4MSg4ke08HTtpWVi9exk1bT9JN
q2bzME4POoy2QTH792Gyx7kwU7fct79yIX5penvS2OPAF1FXqKetX+nAfik12vIvt93aTLDE8yO+
nBvsNLT52md4eU/DAIEYJ+5zmbC3xJFJHWBFJMO9rhZ374DNBWhRi7u56tlhTrNvD92JD8U2IeEh
hEnF6bq90rSDmda36ahe05pbm/gbtJmFNFu/sD4Zii1OjMzHBj2xzQfdyI8u4MWGKgFlgLdN82/Z
I3IhR2Y0iib4thjtjHVWVr+w5Gzynkbr1Bj31KTpxkyjU8kpAIqEzspl2xiM0Mrgah/Zipxo3mx1
LvqWw+WTfrdrCXaHwiU8yOyn4qbxaau8cmno2YRmfiTE9qnH2jPMO30FwVZbvJXfSQxdQnm8v/WB
s27I8vm+b/tkx6a0fkFbJKIBGndkkgFf6MdmBAfHfsOs9JYzLG1zfczO4ZR2HJNr0MRTVNMSwm2W
NEgMKtsUTfGwkn2LPupDpR4oSr8SWJLIksRPju6owLIBUS20fqLoesNduRhcfajH2Ki2UTunc8e9
VzCswmg6sSgEYJ1nZzMUh1K+Zowfu7ltsUnln0na7xYL8ayIB9aAw14DFEy27sm1w7ec4t4t+ssm
0d+9PHrUh+nsDmFQLPc5fBOrsbf64P5E3NQtNhOuNH8Zufos9RrTEKEKu91ltvZiK3nEBrpbRhAl
0/C8ZPAjy/Rr5mc721xXuvhBM+405rzOkifdye8MPSfQQYcntRfnMAWTKttDqjtAqQUQJc/AitXi
IPIT2iVOehJZlwTTvK9YFWoewtT8jGuaFi3WLDx5vdtqSR8Xld+yH+F667IUCJGOFONdAJMbZN8Y
PTpk87lBcKagGHHewSNvLGO/gvo7PeMaGwbSy83AMa0nhwwWexRxm00argirxn0Zt2OQjEBn4NRh
sUDS3DUzdXfu51Tfq96KJaLoiP2z/OTpzUjYRenAwDHujTi67jqN3bR870ZB6Gm0A9iPu1EgjsiW
e0nnG1oR710Lz1lc6dct76zWmR4Y4G7oc5/53w5xI7c6emDQvYS7q20Z0dkecroFoO32KrsMCVK3
lnxxpXx2WUjtspr3TMb97ajNgsLhyQh3maFfxcWqgSpnk5ghq/kSFVGwIEi8b8PlbKKe8jDFyZ1D
Y7JvDMLeVhrgdNRvZGL106F1aDw5t4OFLapk5YKJC65VZdxVFI4emPjrk5dwRUOIXl0aJsGuyqt3
g+H5ilHbb4Xu0J8U0i01OAcqQAOIg7eQmlBb2hB9lcIc2LREbpvOV4nxy+z54Cymto3r9GQ3tu1P
OtkA/K98+qi+5N4yO5p+GWy7PRRWip6DAe6xbLyOvNDiQpjHT3qcUXh+4YKeLyosq3fcyLAAuynC
jtsK0Qc9Hi0upG1sbelqdoFlpCckojuso56+7W3pTIj9E6G6Wh+6rRYW9WXs05zFoB4OXQC7qTly
7iAeGH1gJMlHMetw3+32ljQidhQn/aSZ71wJGUxpwS47Wy6CRA/sSMxTrlNfL8gFH00dlrdTTt6K
TjP3LrIGhPt+RkrL3QY/1RDl6b7uYEcyW6p3/NXkwWjSKg1fVwWdhYLWiEqUy1WhyVQywExcQGqn
2QP0jG/Kudcf4ti09k4z60G5VOQjEEi8r1qkGqsbhGtFicepMqNklzN47UJJ3+ZEIcJ6zaDds+tB
CnvCvaa/3CXAintkY8Fh8sOyVt9UH690WnxVkr4tHDkg6DfTMnYHmzkCzFGUXcOJ0u9lOsjMH13q
GcKlZPTjZh8mPkw+cgoRWZYjXvD+A2pPfnRkxtDsNYtPqnRHLSPDv8aVkpYX3jbUhp55RSHW8TzG
JpMu5eRP/GwBIUfcd6k3At2JXF9MwSIBBdHyraa9bifFzWxO7jnUpNv5US3UzxQ1tBnKmo+MN0pS
nUNbJL7VD6hFutDkC12oRBqzujooY2a8XjLPPNJ3AGZBcbcKUrC4K3WvTIgXtZY40y3NvWkoOu5M
UR4YvZv8ypZC+yIUhNASq94JTCWiYyiKOrD5chS59MR1Td6x79E08acBFr+265goF/77km7hzHib
IMrdWbTdbMPBU0HHRyTbpGHY7menq08RQtAhm4o3bCDL45ps3pseUwbPq/AMJHe6drnP0Nwbzse0
morABHy6E7mFymDXFmnEPr4fUbHoZZqynY5hco9XHwJvGVfWeMOsw1qOxl/F5b2lcIgscRehqPPp
/1BxKq/buQfHUWnevWsysPtUS2sXE21nV2NXHDZaCue182J1sWI3vxlFZZ0ErvU3zwvVTDjM1lNa
PevijMZOMTbBXa19kxmQgmWYuFVWel38RFpNDhn4zxREJXvAgxtFAodNnQ6IItHM+rE85YQaNnE+
UEhQZDjpmUfwjOJyn+xbDhAHjSZr3GvDaZL4QHtaHW2h7s3341A5RgC/utsvlhbe67V2H7K/L3HL
cSyGogRsQFT4edGG9sVFy901uaBdVGIza8AnXpRbmXvD/VW4jb13IKR6JEqF95AsZgFCn9zPQjij
3tldEt+1hIo5g6rOqjeEBrN9zxF/H1LneAsKkvgYn/YwOuM1YhQckwmt3R1HB/BmOXjH3AyXU2PG
DjJjrxpBehZFJnDb7tZw8pAG1z6+uIyRQHIx1u6GgkpJMyTa/MV/q83PVEfKs4a4UntVlIC6eTB0
0yYd8fhSQdA9RibBFHayo/3cM1y9NI4cETfkPF71K/oYla07QoXUz/R/h796rbWRRNDP/apcoIfF
Irwo6Zm7KkPFR6nmFqGn0Xth9dm9Ryn0sN6+3VPk5dZrs+LaBosWIr0s+7uGtr+D6QJtzcppem6b
+MHV9Rjz0xAFIlEonpyf8g3DQDQGI9kZNoLEo63BKfVbHFG99jCrUV7LUb5ZeaN/92jFVGmNbPps
iw0KVgDmNWV5tj/KwjtmE02StyIvnceFxqwnsMeB0+LWxjfyxL7SexjI2qE2YzDdwHpkzTfjPU0m
ToWpTKFQthNmCI9eiPu5q7SXxJophMyrdmPjrkbeST2As+TVXni5i/NI8xHDsRZmJ53B189nZJzS
oZlo6LL4TNskVfK9ZZlveux6Lwtrhr1tFUGcIk9Fg4y2JWrZC9waeYdFQ5dHL+Y1hSwxiF0ydeNj
kY72FZXIBn3uFbNMby80A3hW+miSZYJxzs42MQWTY8yLmqash9qig9mtyanfUg+DwRqam996IGvo
MGxPc5bDYDbG9hHIOWpo3hWXMJ5BZY5Gxkw71UuFdoQ1xrE9+Lwj1Z4E3Ekn1xmOVN64tFQAeVj0
wV/y3ps2Ee+Xi7JUp9Zs45htHL0YbqnwQzoNZW1d5sUMufWW87gtAPqKXVnXTBuO6bQMC5N1Zs7r
dlFT4onVPHzMHuqrRxvRpjLht8M/DU3OPjYoUjXjR6hxNZQkFG+q2aJXO8Sqa1cDdUUlJj3KHcTs
bhNRy8ehytnSe9KhOzrnwfLu0OhX7UyLu1FVkEfF2JFToNWKptyMpGoDEz9gAg+9yl7oYPKwPONX
ucxqGN5JLRiU2VIGhuuTLKXDG+Y1/duqzbTdaBeRS77hlhQW5Hl6pz0YntKB/YE4X2o8AobmxdcE
jtfA6VRezTQX/zgsqGhuksutYevt2ZrM6KhzOyX2atrT7xSNP+Jxfwp//Ufg7q+xvP88cfcn09w/
S+79/+iXW4Fd/zyX5//v/9V9/4+v/3kcqkR9/8k4t/7G341zmvGb5VnuGpDHAGdylvG/fnfOae5v
DukEh64nHHW0RLj44/6wzgn9N/ZOhq7rRPsMi/Tef1jnrN9M5G2p81uFpzsSw92/YZ2z/5Yw/btz
jmsq8TwwRzbjLIqXYf/VQZebU5hzWaOqJeoepzAiQM8euXL6xxYNiI3fXDuaenP0tEx+AY7JDHgO
vYFrX2cJULA65qmQul9To2VhGMR1bVdfY2HSHnuZ6It/XUKFgR87Rq2dE/y6D02nJAn50CtvB2Nw
PwCD5B96GcYvLiH53B8sy/UgS6/drTbnJvyhXKE31mKZfnDChTSW5U1cbrhOURdvUTHCDRQjEFAA
2JWP9GByRhWN6O3tMhYT/b5jld3pZqwISrjm9xLpw7yLwXyaW14UAc5Sr1PzscLln70aQiX9dVR5
4iA5T38RvWmcEAHJK5SPqD7/4Mw37mglRBxY3D7+hY2otDb0TgxnV2OfjUmk4+8bZujmgGRjxx7O
45JSDgIFNqONvmUTfTfTPYy5p41YxhPI7sWz0SdJfU5qVAWM0fV62RYEVtzAMSaz9608Gl/6JEVd
o+XYAqnSmdZz3rDj4YYfkRJRdbVEPqJ+PR4X+o3joy0taPcohE33UdDsIV9NEzAxN2XyuuijKnbo
EO3jDpfygFfIEdbc7+Bv20vgRIrVhIDaPG9SYUcFAQbdLbeDKZqvUEZ9EvRmXp8x9BNRWloRXXtO
m6FF52bu+RqgYzwnBvZxc3E48mtaSJdr+oTnR0nRR4HVZ9KtTwnJ3PLNeKhc4lJUgZyIxynHt4FQ
Zdte0Vi4kXRat/u0x85ISL/E7SMp/+A1B5Wb+TqBqxt+6GPBTUIvQnL6C2mhRu870A9Wyc44FX35
ptwcwgfrPrDasjWoBQMICq4W+EiyAYYbHsfIW6jI0SSOvn6kjcZvDH5mG5V3VrY3KLrHmY83I9og
0LlfI08AGiG9XK0KXkzFhrJ6iXIVd6E8ARcvqQ6Si3cbcul/r2GwUStFIa3gWI7JnlZJQhvbUlsT
OHkDR4DS5TvXDo0lprNmQofMCKNg7HUaNGbTzGzw7kP4nuLtVijpsfecNJ3Z+K6x9odZEX9GUw/t
K8ZYnncy58rkVW32nTYGU0hF8PSDohrrYR65KG5o3JwONLppFmrSqoagzZn7NpHRcuDVqX8w35R8
ZyQ+n7Q4LZ75lfKWUkLaAuXQdw8EAc1z4aUsXFJhUrNopFDgNm2TF6U/WVbUb+vUA/tjOjFSKbfK
iZc17xGb49r4EXhP7wH2qAjjlGWMXE2WxkGmHbuXiCDCgu4CDCfIBWomnX9Nzu4U6P+KeG0/MwwQ
N3kbOXI7o94AWcoX5xqvAfc91WAmoOMW5yO8b4TeUMnwvVimVNupFEs/hoYuPRG+oDMWQz1bCHRP
1gaLrnsh+6J0vnJkOb/p7EY+zEmSeDVFb10vVjesMRKYd8R/qHPc0G1ZPC0ira1Na2NcOkaR6mgS
0lg0eSUe0qmXEi1Sr4o7vijs2lyVrKNoKZA3tN4lLyjHNm860TWntpbORwWduVwZvVISGYnnZ4qr
4uuWdsUHalHjhhSfLEFv6929hFV9woaWIwoYmQgqWhl6oq4xqZACG+CmjOaygc2V0OqA8Gm/5WlH
iw1ghHDymZKKuz4rtGk1bbHrMhu3CTkb9OYiaS2uMF/k2nVjSsykKCP9Q2EmE0kXnogPPdM9YVC7
K0583/CZEy1eXMgoCZcs/NdEgty0UQXkmyIjm+OWz41WKGJU7UBVsDcStN2hXjA+2yJNzjVzGNdC
lgiM3jiaVz4pxgxsVkb0oZl5idezjaXc0h6nPjMadeez7Gmn3HgKeXEq6P8kZhWG14XecJYuzJR+
0vfjLSY7h26wir/1BjmRHdNEX8ynISdEuTFjv7eJ69Ur5vSgszfYihxjy5ZOyp1Zhu7eaMnHbOYx
pUixQKr+MWqnfzNhwKEt2i2Gr4jUTuNXpEQfLdOSDka8qEdrqQcDSLdJnI5JGWZ1ylXgqQOAd887
JUzWrmfziyKSUe3YOsevUZSbj5D9RwZWq2rh4cwZPss27ClgRebasJULPwoav2iEwP/5Nub2LPfC
qmYcwzaLjM1a2fAMmmkiloe4AcRpllhPIlwqn10bl/uenCSsGy8R4anQrJXVJdoi2qHZrxYp0WKm
tl1ZR35LCzvvIMLWV9XM/XKfUvt9a7sONQKhRWvwqguHN+TAi8pnAIO6ofhuScdq+njo2N97Ww80
M0jmgnoBzMqQmlg9ryVZturpsuL8BGjjumSqQ0SBU+108LDdxZ2QFajutPy2KEnnd1MOP4WCAWfc
wsR3XmWr1FXeh/aPcFRCIkyAbz7UFmZFeDRUbu5c0Y1NgGWxGLb0+yzT3i3zTuwxqlvtpa/YPMLi
r80nkTbaN/us9HF0TOLbFN7wnXUGlkUuGAaBSf5AvIDoi6V5EnnEtG95nhHvy7LVHoti4GMwzeyD
MYrnOayROp455jQ9/KUZ1GYTVzPs95BJZwWF8wdsqzkzPqKaFhPfQEaOODhc4y6kQvanlGl6TyWP
/FY1efBt0YbZT0ycSdFILjFi1bgzsb726kfWJhlNfVmxe7WT3g6TZwieS1S0b5YlpTaTTvqh3cZt
u5yj1sjI6S3EPQezpbUMFTXzw7RQXgDEdO590xHpdcf2H6+icHnjDKGbf1pSg3PaG87q7cO3woNJ
xPV7244TvhGz8z5Hu8/OJNzNZ556Mj3xzscyHRVLdwFHTxdETnq/OHm9a/V7xbB+N7re8uUJ1T4O
9BJirKBp88Y0au5KVana0sedS9+WRJP9rj1lOdiY4+lGWHWLh5hzz+VNXdNt6KQl4IOYnh1mV7oB
H7rehebHcq729pXWdScoZ5G9tedc3eRKMfwmvIdMThkq3sipGZcaTzhnbSGJWBaOWAz2/S6bx5lo
RENKXnZvwLrdkwJS85TUEluYJst0XxZIRkzja/VEO2DZVRlXhy0HXun4/Pt4avEXvcFEcRvOy2g8
GdwpYAA5JcE+Z/Tw9aLMpuU+cjzjpYDd3W96SibO6WRoLITYI78rby08VKWogfXo5js2G3Ufleyr
t0NHPwvXl9Z9aPBXJbjDjFZtKrR4qo1HNS+baKotWBuabZ/4WY9PAinjx5tLxWSfOFCBzGnOehxj
PZ7MMpTDL6w3KA5LpyU8BMLOuJLCHd9oHlEal6maolrOmQe766BqsjlzSb0zgO7o60gPuabvpFZK
UnuO5hz1zsi/KWBPH/ssRBrLzE57mWzDfKH1yzs5LVWoGBEE6wae5ZQT6ZEDtqHLl/Eq6i0K+QAL
FScxpbQmaJGrfado1uS+GgKaW7BVVO1IcDNxEFmJ2sd4czVUlhaAj4fvgjarSvb3lC6vjS+as5zd
kR6nLZCxVsezNDD+wxMju5xTjVEgazQqMOMGtKfdVrho6tTIbpXRGxEGO3SUjW0kXPc92KIdbYwR
drmicXlm/Pvps/9uubKVyvnPx+R9/959F+/5nwA262/5Y0Beo2XCAlMjdfIjv3Nq/hiQPeM3qmwd
tgb802VI/jvCRsjfXOHozM3C+AvCRpi/MRRL17PpKWV5ZNn/1oAsjT9Fy2zhoOAYhsN9R7csdl5/
4RplY5EN5gKB0mqmBHGJipLKxqNLH+WtnpAx6VYzbpZGP24qykcdqFzQDdrdFMpDSjcphW51S7Eh
Id2SsfmIdzE6GhmyI7QMuQuzeE+lKNyYORoBiAnzw1imcjtbCEj9PP6qYDZuIlzIS2n3ZxfoJH5E
/NA0b9xl7vBaFhjUvHB8FzUfoIj35o+cYIw084zxaWx+bLHkuyhdN6qmg2sYE9lQ5w8lJ0NAxTcP
u7YnMKBc9sTg1AwONBOz64ZSV6Z0OG4BFduPkUhZ4iUSL0Hsui/Y0fRum4MHTPY5I9rGZIz+hC5B
gljMRM0b3bkYwzTf1WkNB8Ok6O0QJmYLYK/AkjzSt7Vh3L1mtXI98VpeXJqwAyupr4ZGJnvTxR2U
hsp3MCZhIMBkfurxYUrWDU21j01l/8LYZG6V3sGVFOq6TsUTnV90PRCr3i+lFv14tqZ4Ynr0rEUx
fu0ZywnJAOPNzfJ2KyrUv6zIeChQAgKPoME8Eo2vdOxdrFYtgUVJ0NNczE9EaY1DQ6sdiIS+wPzi
Gu+VKnmSw8a0SDPY8a98ZL0IvMUg2ZoN7ZU95QwPzvxly6Y9U+PuHImQza9Vo7UfcPLf9WVGNMhq
i9lbmo1NLBxy+T5bWJPwanpUX40F7YIpzYnH0da8G5JWNGnaVXNFFoR6jwLuX2doJKadVtska/li
beSv8DSLo5sJ8gNpBdSzHZ2vSLk9AW0n+0oUCsKma6iOuouB9WgX7klpd+gmBrexY0N0DseOzbtt
x9nVMtiASwZaOZVP+DenElUP/Z6tGIDVSgvrFy4JWXroKfm5J2CHfGygLLMdkItf2bI7U7TNbr/s
7wXblZ09DDHcCTls1BKzAlLuizPm1x7ZolkDdlPUOZijEZDCXD+39MwguM4PGEithyw3s5Os4pIF
NcozO1iU297XYznPL7UOY/N1AE57sakKOHSK5LFd9u3LpLGDTUQiP13YL/U2A6rygEoRXmFUjrZR
hNyuh2Mb0AnXPaRjV54LBI1HxjWPC68k0KImLJWGYrvSp+4QSLsx7rNKQdkAT/xqznxkaXLVqWdf
UnOX9HNa3RjziOwPHyAJytHVXqrCwdtXriGd2Wg6Pvsp9e/8DIEODxRSHWq7vVNq+mF5DCNmrEjj
0XeyWY2t20UIMgaJ2V8lLkNAHBc3VGu9Zvq01QapH7TxpuFxx63ayo6OcpIDc9d3PzFGOLRVAu0k
tJ1agB1KtvMmATvupMLzrdKaHgV9vmVINZtU9AgXUdCnEVuthHbYtP0KdbP7JlZUB33i0f6zQdQI
teFkCa77T1nruHFCYaqW5+11bWWJPe+isV3SeddKCzAojN3Q8KptO9b989obuoSO+UlSMPsiMu68
2lXp3IZs2a+aRgAn7W7JPdp+H3WIQR07ds1d8kPDpvtQLwqzhmk68i5N7E8S5gj8E2RSI6z3ZTx4
u9wSRN6jeHhuY0T9Urt3Ghqs/dBZZULOx0vfTNUmL9P07AHYfUu9Lrwxm2W4hEkRXfq+zJudwdAX
xEpzoEsCBdohqgd2tZwJO55XWcft8epOU/lhrPk5fQ3EtiV3yBqDRDIlxzBUD1OUiy2osTuQzaew
xjQ7Mt/6po1a1abTFLBfzK6q5q2ZYj9ZTYRRnXcnepncW8VkiMEMigxYGIzkhZk+F1LvufrrJfNw
iEue5byuIUkqO9AxtW0qAkET+xBZ7IVg0KVVnklJLZ+5bd1NdetwwTJHargK9sNlEps/rIZ2lN2u
RsRhvlvPTC7czmWx5HCwF4gndY/X3tGrY1ImeO8a0oRQqapHqGSBJBxy49LXdSgnffqCXZ4HaFsO
VN2ZYrsuwRLszb5Uc/VoOki6VY8Jnj0FBa9MPbvaUNGhGLQIB62s14swu6Cy0x9yICr3QzthR5ma
V11z81PXpHIno+hrnecogtJIbPOJqyZCrpLlluEjiSwPLFGf7aiSQVliUXS9bB0UX6Ka1EBFehAj
e0f4TZ/VLSIZ78dp6vwcaoVS4Rnv8/wL+YFbbRRh9QhJkTkLPjNJ9qLCQhuKEaMmHuSbThQ+EsCT
lQ9Yz8shwXPUTAGN6W7Q8qx8lF30xCSn+DG37rbK5MMwwtoFd/FAKfs6OI/DOR/s4mANbQy6GtNk
TwnaljsIzjor8k2V7gUt0NfR1F+3nlHs0Mnck5fWdE8n03yErTSfYtcQh5wGc5QCnmPAsPhGx9lk
qJV4P2f2TiwR4H8O+iZptDtX74GUk0ZkzRjeZKG4RleQu6pvhyCz1mI4OSjWZshCxcTBpJhWZ6SK
x35agrS3XhfiL2YykDe/jyc2/DyAWsNOrStziFkSb2Byuhi3SSHExF+p3HqmIjrba/DOUFOgWXdM
jXV5gw/oBv08MLhiZHn5zNFt49IzYKazCd9NiVbuOgwDgUUjNcWo1ovoDHs/tvFh8ryLIZu7iuWY
L4b5YlaW8s0IHq/jXCrSS04yb0sFKp1yxFhLjpFaJ4mEUCSL7iAFxhclLzxW37F7rrWVw8bzMhRH
3hYu3XKQJhR3LWc36901+9WakzE+Od58LLGbTRX9RIP6pLg9vkSDNz2AAr7lKnpPlwTJAymcg0YW
dWusIngLvnQAyzpRc8t7npPLDbPPporFQ91lAdos9zQKSzfGGNpPBFXjrR02M1FkNsmo5ryWo/dt
e3156UXLITNZn1O7FEE1SXWnqZ6hxA27+qbO0rPjuTrCX48VgDwHcOgEiguVW9auZiTGeVfBYl8u
SkV0mnYuZa7XYJlM+4K9piAixz4wlXBxO1ThOAFOf7RmpqSXzCMp/jnP7WyE/28Whv81Fsd/o7Wi
/S/HJUJWqm//cZu4/vrfZyXTgtvpIrYLY93QCpuF4e+jksmkhExA4F1g9fOclSj6fykc9m+Oh0dh
hYFK1n/O3ykc65/nGFgSXCFdKVZE6L+xSjTWGom/bxJZHep8XQt+oSUMQ/e8v9RMVJ41iDZMFnDw
C1wLViM80fU0qwjhunn/oLj83VGaK84eQt3HGONS42wW6mNKHe6zUrXGQRZW/ZSKaWz8TuPIqGyn
fqWVs+g3TU8Ef8ddFeVADjQkBzS2LlbwD9PpH2vsf2SW8kr95buQOhwRl9cL0U06f9mHKiSeSlca
ax5aUzEc4ozUWu7A6UKyrpLRri1SP0r7t3//y5r6us/Vuap68i8vnjfVNosQtkszi8PRot80I3Sn
FzfLtFzVw3AZFX6Gf/0118n1zz8wqf/j11wn338oBZqmUTPrbv2a+nQUa3YoHDkLGrrg//UX+lv3
11+/Eq8mnBcXngYj/Z+/kq4SvFpIKsjL3HV87KGossn/oe5MliNH0iT9KvMAgxZshuU4vtPpJJ1b
kIwLhLFhXw2Awezp50Nk9XRminRX16ll6lBSkpWZQboDtuiv+ilhgh4Y12y9jDqGJJbpcA2V9KyJ
lk19upn0wH6QBreW1YpTJGw1rxMxgFZd5mEnVflU3jigHj9tUWPbWTwzcUqBjX7tiDvBUSSwUP2T
Apjfr9nfPzdgH1608mscpue8UX/+3Jgkkh5jjLAFoGHgbHcUl3ChBZUWe46z7H3cfqT1mmltjoDS
3W+rBGbmJjYdN1ulRHVrFLC0JCHqcRicifbHMe3nn5mveWVAHRVqb4XcrmBA+O3ETbxjzIHMwO/o
rr+uX7rlzVhSWr0xU8XnEXV0YGyS9WNS6weGpGuGfcKn6CPPQyb9/dnK9WPO1w+8LzX0kOr390D0
pt/7dpQ4OwDD6cpO9SocvWSDf3KVKZctOIUYED8sgnk9sOBAjIjXALtnHu9DV1E43/OJMLryubVi
gPN+lQirFhdYh3M8d1QGprPLsWjbeXOycFGB/nSh9ZVEjKmXZmQoNECz8fqCoDlDSEm4NjW4S0PH
z/hiNYrErnSdtHjW8XTu19pd1BaXApIG6KUTmEXsG9tlLlLjWnprRNjiHXVdXDdxCkSrrf0XXXrz
Ry86275kDrfyq52iFZI6rMj3VGN7g+tHzwdhSHP9EKauzZ5pIiSRLoyX5R5mBgU0Qlk504VZ6qc2
WqfteKpiHmwJ4vRI7TeHmcqHe71FGajZoUcR0s8+DbioIvAkNxNcdYpJUjrGiaq45iA50rkH2Yzu
HhIDSjZcTRzfSFzEIJQl1AuV0KB7MTmDpCwlT0gQThSGeHFsyPIbIZ+DwEqXrUxS91eWLDEjMX/2
fmIvgLJA1MzDzFbOE7jiSH3pnFYxFM35oqsUmCDu+pZL5SJs8pjM7OPdMs/9cFvzrS1br64rDayl
U8mx7DFli2gIGHVNbf8u1wV6zmGKbyGcda/BuoCr32s5jLjhWysJtvFostgn67Iv1w0g9MT4/L9r
zU1o7Ad3a2Ir3ndM6PZLauf8bnFmMViySUPvArnerrygjF9yIh7+P1n/fnfB/WVZCkAOs/kFMLJ9
Xum/0deVH4ErCPkojRsyxqp/RIWGghGNMctQflkmdO/QdX91ADZoQJHcqIKLL4YYI+n8pI0+oUbv
/+u1kt39r4sLP1MEayvC5BKwof5tqfyPDyaXIb+x+/uXj2j02IjfnwmEUj6farQyBy4BH5teP8Df
P8O/5OX67527/n/TqgUS8n+uVZMoGD//11P+/S9i9frP/LtY7XJiYuYXBHi5ApyabNP/7uYK/80m
jCIc9AeHd/P/HcAcB4F73dcdJwzjMBJss5IxGiB2gTksAqgJJC3mb/H/JSuXs27X//E0iz/cW0Jw
ardDm43pb0+zVZvJrsD8HlQbODSIEEvYq7YazrTULzTJMOCHfFW59wPbNFHBINtVzIvAAxXtt3KQ
3T850jjrmeXPP1DoCAeRJ8aCyoHQ/7tyblKig+UcgbpaIuclIyV5wyEGvgdKzLWZ5vw4B3l8aV1R
bQkfJG+NG9qPMBDNy5++xesff+Sfz3SYlP72o+Cyi8CbYJWEmMXGvb51fzrqBDgkJNMdd08IbsK0
hYtYLEQhG506uEDiH9lQkRFAgEu3UaCd47K08jbKaLMBsGRfjGicK9czgo7G897dxBLHfsAlTwJv
o5GNDtgWxorkSx3fjWG6HGSA+Xcw9lMvxu+JK9N9W83TBYp4dAdtLrunsNs+x0ikgJw8luGWs+ZV
Tov1FGZtc+/WoWBo2o1rfInpPpxM95e3+MGxLqfkthJlc+fzTLAUV7etGuWRcmFm+VY9HZXnf69X
IuPcll/5QbyTJTL9A9AHrhxYGNtO+h5Y+/SJdu7bJU5xkY0B1UpevXyW7LiHJbuvKjIQve19D63y
gznkPZadVzWP4aGPwIC6TX5Xtln1HmEc2Fadkz2mVAVuwoUPOJaOuAx26pGR6PVeyUHemR6sJynl
5YBtRr7Sbk4WM27kjSwJEcjKQUzTZkH48VcVw8W76pTEKFXrf8e4TkK9A4e50cV3Bm8reBTH/QPU
TfWoSKrw+Xnr8N+19c/GYHtStY1aSfLJ3Y65IMMcwhkCkK7Ag5xF6FwsatqSE0aVbanMJQjak0SI
3Vrzl07Y7/Bq7E2X9isMF6K5FdTfLHZhT2a/CLh9bfts3KNIc6grRvuUjhW+7w61vbBlcNITLrkl
qL7HUVLsYkesJn5102lISNEsxrvG98bjJHJKxrVfrDHXWxvM7isJsnJb+qMF6JSi9dmsxGrvWxFj
vF4c+yZzBanL0WLG4LnVS8gcF3thf2EQ2p2sTv8o6pRGewW9mMP9cHQtZW+HIPuJPenU6ua9lMaB
wZeMp64r8TeUKP9JKZ7ThWMmLvhTaGEmNmFUbyv4Ax4YcSzo0I0Z6Nr2vly6p2QaVqeWZ2+9drCv
XaX1csApFx9SL/CvKRmLkzZT/Irgz1faW9EFh7IFgI7L4ZneMecB6vxyzYlarmDZsLvFChBcm6qZ
Lw2j6/VJHhTKBSEflGC3gzQ0McItt7FU2S1RAgzYbqR2DVAJyt4mDenGLh+tPjhaYn0GTelb4Z1M
6Z3Zq7AMEiScuSNjPweAE/KaATXyGB1OqMWKbO9mWa+1mIAgKj3arVgM7HG0S6T+hR/HVx1zjSmi
AyI5LCIt34lJ3cBzfbHzTuxGiutX/mvCka8CUWeU3BphbP7WrDt7vhJP5NoxNYESPxBVtOqN1dPp
47fuZxXGzicLHrNmkRG/TBB6byD+QIJPSy2+1n5i/WTEMT3G0WS/wBto7ryE4D4oh7AH2JswZnFR
ZC2PYUE1EKMZ7C67G53V/7gsXKiVTPYFRDJ06TzbhdVojh4lE9NWkOs7EYI0b7rmxVKLLV91HsTH
KJ5PriPVyVV5+Ksc2T52tqPkRwvx4TlrJA5hAkzBrRo6ZklEgxUQsjk70usUkznyQYnlUJE3jd02
0B+8eSs0D9oA7MDG2LiUEI8jppYVj+u1XsT4JSslXVpmzvLmwJivuIESk8DKxiUWvRSeU0fHxYmG
0WyiTAzdTxPB7to0unCS+9z3AfbEknxjMRbB3uPZrFifOnHXNTaljEwXA0jatvOShM3F1Yn/ANav
uUZCrfzNtIg2Pjywd+2afd631LahGk7f1ZrcwWHs3RQeGH0F52XjO+N8BI4LQqzXBXwNbjJ7bKnO
lsGMf+OtFzwibkXN0760hz5OlvME+JgAQDs5L1VCqfem5/IgyVCkQsOSWZYV//UVGzYDvEFHhnWi
SS59GVavERlc3Nj5RLaZG2fxXYdi7XsMMCqqaLk2YliuPDLLNRyz+NK0XQZbosmAWKC1Oi+M3Z0X
4DXLNY4qgBSJHLb9zIJhp8BDyN9PYJsGdRJ2XD+nuq6e3cC68r6rGyTc8o4Ujya2BkX4LhVoH7m0
nH3KmrtVJB1PeU2MCgZS+ik4Lx+XYeYBn039FAT0hHi9B/y4qMLoAm3gpoNlyJi4nLuXwfTeh3Yd
PM31AoHwmRZyfzs6Oj2k7UzNxoQRAwA6rRPcRge/u8PCFrx1rENY/Ka2uJv5iLGFVGmxafAJvfQQ
ruZdT9XDE/+rP6ohq3HklvFFtV356DUjJ3nuh9MWfF/w2AQr4ZxD9OAAtGoi4iGdeSBbE24gv3tH
J8BwuA9Kr3qymnTvRl35KtpapCeh27UKZhlfah1eFq5ZBx5CQFw5ZRSlgWaAhZkbrj0rLsuWmqYX
PRTlNcWP9djMrYcKQHKuhjRxqZ3O+iI7WLKWax+tBDxJNSTi7Cij9qlf9h+V6cElJ6334Y6t2tpT
EZ8Y/fYsDlnzIqmi+EjXQXtW291VR9V8X1gYuoIUqxXLcsxnynuX0hF0AD7EGkxea3ZJm+two53p
jrmfx6qVF+9DEJdPU8aZsLVxI6ZmSG5NGY3PtltWcEQmslUMoCzvJmsnT++nYiKvnK22KeIq3UdM
VSmD4/7FboruM/cnnsMlhNPXTNFnqV22OoCE2XUuOaQyBJHMcoiXnbTK0tfAaTAalo0bPHpDPyni
6rp+K8ziZNugqsVZZJa1mxMvIekXtuz95N4HroeGtymi9uUsJA1FO0968gc5T2BnaPh9uNbaWUVy
HYwfHRQT1i20guYxtqvuDsaw+yNjGmzvfr+DLuS5i8oaJmXSX93WtAIB1Mnt2yKZCu7umthz1Vdb
r3dgemRzdV7yuPv4vUBg1Z4uBTnFD1OpaFeNcXKPUaT2OMHZvGkg4PIb7VgYMXmyWoSZBTIDFBw7
PRvlTT7dfpX7MoDw3ck5d1+qSfrYv/lkFzyUReSNz0AWxh/5PLMUBIFimYnG5WrWScwr7lXEwbjI
QmhuVsC75qV1xkV24IFfxmQ5IvJzqgtWwMzvbbl3ZYXDT/bxryZL40vcRhLKuk00eW0HcV5KJigJ
1qcWi1Q8rHF5DB6gRuOe4h+8/lWxHOo01ddBggvqIke90xPHRH9Ok2tG9UaMI4/DvfDG7sNrjbzD
9T6PW7/3CYGuf5GTBg9kITz+Gx665/G2qO4ji8Uw79pJRCBlCsEv0Pqa9S3uOS1kSxd8z0Rd/sJ4
598sVcM/5iM+3ER1SlmjWpzlaltBh8NDoxsri+eTeZhxdg7D5KsdzN2HNrN9nTn5HzsyK/kmJ0hN
M2GPK18W7EPP9VwrDH+zkchiLEwpPSbWM/bF9EpZj/zj40/jOX4g5vzHVeVfunr/N2JU/+ntfP2D
/pzP+scfvPsfrDdjLvCn69r6k/yl3+z/NOPn8H38+6V7/Yf+uHU7qwbyj1v27//9j8mGFdj/xsbE
FRoGjRM7/vqP/ONmbUWCIjPMYeAx3JCRCf/fvzDbcFZd/C9XyID7tBOvSSziV9Cno/hvwkyn7dLt
Cm4spPZ0JQe3PpelE+eRU59Tb0hcZ4mkv+lUjSV4/AXGIh/ta0JCxXrExFSUYb9p64Hm9m2Cf8UH
IUZjjCQCjU0WqEoVxWTJzyFnRT+5t7kG4TQUacJ5h4xiO3rHoaIrd2G0LkCS7o3VT8t8brwAE+x9
GtELplB7OUFsCKH02XZQ1ug/tCPvxF2XFLSImdjOnFORDXr4YcuRzUrXzOm/j/5MVCBNR13vC4Y3
3X6q04Gm5qUyNLA2A/gKOLWJJItKYwGi1UmTjKKEVfsJiEDGr4Xqu+2SeSNIXl07JXUSwlyARffl
fTeySJ1lXnURQWnc4+13uXj1+GbaJXniy4th71bTWnvrML68S2Qbq7dS4iVxGMgDiVJECmYKe3om
y1bXPcaz6F75E5rPOO67+8XiFLMZqO2E0OgmXOVEAmVMOgZbXcPFOTvi4J9/VLHXj7e6zoIrw102
9I2WbVJcsEWznnqgUd/HuIKo59twDWTgf5Yj2RSV6yBzyd/A1LBqKG3HJeWmOGFO/DLP86D3OWk+
HW6HUnH54cMaSSCNXrclPgF9rJzRERMuZfKMk6Zl/pzp3Thpq9zBlAy5gE+L2FomNJRfs1LvupKb
QgL+wt47qUgAuwnJsX2xvNB3nwcqU8ovNHRZxS8JNSVbtpbFeYXSuDx8sCpaa3e9TSvZdvBQL28o
wJ0KvmkvjW+HyO3Lb/bk15SuOO5uFZVPuhLp7eyizqdLQIqZHToGXqo50YAtCHd9UFoPkxL5Trpc
DClhQNfWFoDUWJVEcRWtQGRhIHlytjwsrVv4WyfNbJJaLXxjG64ryd7SDXFzLdjSaQdODmWIewZY
yPDmyr5lSwk0IYukt7PXGsvaNab3DKdjZ/IXgy9u2mKlHpdfeKE7nF1eq+ZHRP4S6bZV8oEST77O
veXqvk1Ibagk29ONpU9Sp3QTj97ChZY8mnNxhhrCtamH/G6ugWLT5R0ENugS/hW3+RAOwT7IYJnh
pqEiqKIMzUII6fY19l/O5/ncfgnaupk/awdAjJ1BvOQOKbLzhCILRZFpvvtzteDtV6P2uears0C5
tb48+ew8Ps+ETAgMuMWAq6cOsuuSlcuuH+hDl6EnD5IbWrfvO3/+qUTrvcVU/4GFGq33ecJLjdvJ
tPQ0kz6+Gzm0PDNMNduEvLaDRo2ZpDXA+5g4uNgg6FOVD2Xm+nzzWcPFBqo7Z/IUWQlnVR/C+1Sw
teN9TNgN3lTSpGZrQPERWsgxMEyTiU6w2uC1kCvh3Z88mgX8zkntR9ue6AAaRRWm31HehrfKK6qO
aizUmVMK/6CkewjtCCtTDtsxM5ynFHMzZ7sklptwds6ruzkCIOaopX3rZ2B+o3bVmy41Du96xizE
IrH6YVzMSU2Kc4LqndbHctu0IJ6c0k4wKC7+0eDnBxgGjeSYTpKiuiJKW3QLSs22E9rQpe2W4s5F
cB8BVsfDnZzj+S1SLf8hOzHCPybhXu5Cr/YMD4SGCuCnCXfpJFhWxDpiAvJlv/PrqGmPHMEwQ01U
2G+JmsIQxBEW4aCvIDzZZV3typYKKfplGvfr4BuMaUL3VkeWk7VjO0ure5hnMxJuaUKzt+rFoOKk
qmS5Zy/dxflchHeqn8UXGu74otwG6siu0NyYuK248g5WP6TIhZZA8QEfq7gaegimXVIGDhaidnEE
EcxxTi6EvOrnlnIAQvDJ8txyPadsx1q8nU0/zFNGEcIDRtnkS5PUvfWLviPIb2TwA+JOPVJSw3qr
zT5zdZXgTgEyvq0NICeENcrbppUw0FLbTegnhxaoY7u/9gFLDHzDQbYHumBG9RgS7wpObqNmooW5
+GraMOsIS41oUxRzra6duuhPDYe7ndOkfH1e42S7SNAZ3aCGIW1QhUhUEUGBDvKnYFysW+N1TfmR
sD6dCbHBCCNFFS5YzJL2MRAdo/sYtMhutrX92HL/iahiF/4jpXus5FGn049QNOq1TzyXvGbTV+an
RLR8z1iXaDZyF+gmblUd7fVlSin+ISPA61kipWQuAamRh2RNLhQPnYAAtAfyhSeI+/LMDjcrGNhu
OHY7JUDZUN9UtfYJzBvO2Ijw5CpUEGb61gdy/SM49SNc4iA/ueXQOeiQpALRMye0N9he6CvgDUQW
bciiFmzvUvjIpZuCJGcdv1AE5G+cDOwFXrbQR0Ryx2DYNjIi68qPNiQ1gjDJ23MYCvUQ5S3iJD2P
TXdYAiH5iSbW+KABQYy6SpiRctHMyyAUZaN34JxkDtPIEoEBxTlgz+iRjmADtg5kIwCzkZSLy2dF
8fxNOtlZy7h3rO1vOFjtsqchiw2a/HaW6AN7vHNdahulR8uUJnXOTJrlr6iOyox8Wmm1piu4EojP
ue786Mhdk8yOcep4TbY1hXOCnb6W0sXQIlA+V0GeSLlVvcYQzJZ9b9mTJP6CndUv3C4+CL6ye0vV
FVUfne4DfqmGFPeQ5FS3OVnBEJTjo4QBCOL5xqJSHqKd5ft79iS+JlBoaULXKrAthsmZpE48YBB4
0+GQdLFiY8nC8o2XMQ1jstfbQo/zE4FKVd2RIwXfH7PsbTy0qOXU2GCnNi0R5EcSAZ3Yiilm5XYa
v3hzec+drfTZaV+TUtsvIDP50abCj1/twfD0hlWFwTrLo69qriwCtdw975J5FlAhWKq2dKVg3erq
AjFrNKbM967rzldYPzWbcak86llA5eRv1Cum3+o8wYOfjFNDKV2ZpP5lstyJXkNjOeNmHgbBPoWw
gJKfWt4P/k3xxoglb54A/vTLcQlTTiVgBaiIVIPNHbG08WnuOls11V64tll20ehhVURObpCNjEbO
YXSFrzNWUI4s6IgecdPO/9pNdLJsB5ku1kHZ1lI/zR4IfKzROPKeDZrhD0hi+p3eTFbIBullOpRO
T5dYWBEq2QxdHDxiS1TiKJksLa9IjUm3l8LEPL6dKeJD4qVBhftviC98xYinyqKkklYc8Wiszv0E
7NIl+3zGYAVvqiUu7EclbaAekM5qJxTs/g3cjJ6yNDtkCUdxnIN9hAXT45xbhB29uWQY9nT1xO3t
YPdQ5I+eMYaCrykm6nAkzK/kLiwC9aKhY/6QoZQwsZfK2knJ3IFWtSwy28h3O47gaoyeZ3e0nHOz
4KnelbbdtIcZZQUwIqM2716bhKPJOtOi20hGw11LLpFNO54Tifjrt59A4ALOIPz62VY7RGjnckjH
q2hgrZ1HTBBHXY3J08DTI46tqMPusx/r3KS7munF3gpYzJ8YuJj+kVi1YZE0S4ktanajHlxkgtHh
tUfqTqnQGbJbKdIw2s4Bwg1cKXL9G4ZcBPezMIKp0lgCWzAdUs226xu8qVM7x69IlrF1mLFxXBB4
GBaZIsVIHRirLfaOoqJxZxU9bgM1Kmy5AVtSeUhTTO5MFO38pOcqXs4VpD265UQHBDfEZ0NbwjKb
p3GRC+KgZaKbvnHsBUuETREU3qTcPvQ+Kz5fxywuSQXagMfCVRTwzHn3C3i3FW4UFMqXdt1RcYh2
6X0xTV7+EVjG8Tauj46yjwBwudeyMyGA2kj1GVR8N/pWj7SG4KZIknNYYbrf9AP4qD27Mu2oqFHZ
V69plHXLtuuteZMhlNcot72fA1dESF9uMd31FAEPNyExAQjlRDY/F4TdWzOjXNaFZREpIL5KBQ/k
/Duunbhq+LevHk/p8lpo0NT5TWXy2L+4CiLGrS7qztvRX2v96Nxs8s7RlNrlN58g+vzDThPMdQzx
PGztba44cSqmXajb+pj1c3U7kyY+B0TtOKil6TemMkCpRlmLN1hpo7/HiZ59sUITkDjuCLkHcx5+
4XemLDLoWA82eRf30DvIffdU4ZQhxoWkHV9nMoLUDApiDntWpRzMsDXU3p0TW0JjMV+q/ovyApm/
lBMe413gRk75hIWbQovaDvKWHlFIdeRJiMBWN0uqbPtOLTwPe8qG0mlTJz3nu4DN7B2ihkyPQKD0
iw9cyN53jqVGXM7EMO5dmgK+TrjCOebOmTsSIZoM8pDJXUHCog2L5aeyx068UirlyiMYAWdXjGI+
0oGVPk1wCL44hNhe6xlAfm3npvvi95bZDYE7fnjsT9FjMTRm2syMHHimg4j0SlEaDtRORNIV+hMZ
xlbRY3yTkgWyAAx0gMNdv35YgrQ8QYWPjrmw5j0yXngc8GXfOQujATspnS+WXdc8lRIOHiJ3L1l0
pplsxMwRbidAV1HryfXtSm+e0+yH3EBCjTBZmWNPK7kB/rQw2uhLaaf7gLzlHWfd6YNjKMGrKaBb
0SZLdhlHTkFEnGtB9YWYXEqGCRoAdcYQFG4TDA/QDVmMrUMTi7Z6y3gWmrtO0ILM0Jkr7ymuDYeL
KBDFC+01Uh+qzne5CCtApB5DnGPSyOWmtqLye8uZn6rctH6mnyWx74sFNlgIeP1hUQ69Dw4xHQSS
OuRCrm2qUyHVJJ8Ed7m5uE0qGTEqZqew9ZqzaP3lHprcMn20nk7Pooj6swtNi77YSM63UyXhU3sV
cf9RO/U9obb5yFC8g9RQzACUI0q7op0JS/PU4C4ghJ3lpBuCeIGAsay2fLfA3AgJgnEpiPRM/jAi
G14TL5yDsxxaZN+utCklxQcZAxR10+cp87DTU/aMKmOQgfHuDVN6JPmqP4WlHazlvvMlp12TNLSx
zL5qs/HYRi6Jg0VliqMtOVo2eUiAcmn4Rk1EwIGUN2S8Ygx8zmsVxJZ4CBQW834pAL42mXrQkRMd
43nI4x2sCOvAHyijmzFbaDM2aAeXyZ1Ess0Hv5l4SjDub7lEONscGAAd2MBpt3YnJR3sWWKV76KA
53K0o24AUp1z9n90ek6xVy7VUfKzmYv0PVWCO+fCU3rGENI+QUqeqNNg8yflKNOxeQBeQ/9vQe20
u3eZM59pHLCHI2eB7ruDdSt8H605oDeNGjD/wtinW6+qLuZ1NS1P7GhkAb3Cvon0vHbSU5D13qBo
6/MAyodQjogfI9cfmu1UDuVzREYv2Je0N4lTKi0idiZX060AYc2HjXnGv2FO2JKjI+m16YY8uaZm
onAnBzaya2I2Ek7I7PgnE8/RKwmkCQKk8jWNG1k4zphKQivcFa4F1msR3p0XUADitL137+dqpnmJ
dtxji6a0h+qfHsN8TgmqJEQWIMRqjH1OulzS2RHE2NrWbMlYi+dauSA2cJYg9E95J+85Eq8dHcjq
xzZIadIsQ1qO8wSOEydTfxkebcIv/c7gYsufmdLx5DgjPT1wsPtMsTf3gZhuMpyHIB1REybmXdlz
7sQEcnjEvM80G4fbfKY6AwyTCMOz0+jo2bM5+/C2FEda/cobPw2TR8HI8Ir/PFU7jAQ1MQi7BCFO
bhKHS0FiL5nc9rAwO3u1TFaf6nrqGNOnXHoPkwo9PJ9B2H+tCRM6X8YgVO5tJ5GBWSz8ljIZT43w
oKBkbnMC4mrtnorpmWuHODmyV8bPWWGghNsFDVKbcqrMIzaA4quV4KzYrXIDkNeKy3/st9V4sEZk
fKi/1kxcA7Lqpiehx1ggaeqbIIibHx2b2Q5GZLe6Vgdu65Y1nDPfXSxNVCRGKCniNjn3jR26MJEy
5y4rEpoQyWZ2BD18GIHDazhW3fRQGqpJfrWtWq4Ru5K+L4xGDQsa5DkgWXQbJVY2v+Ek7vS2w0C7
06Ft9ftBVHlZ7EwdMI2DCUq8Liw8HEY9OupdN+IiffWy3O83AWXqIF9ZpLDOhpXUMFhyK0DzdYPh
Z9fU9tcsHuDqdoMN8DTzpSOJvcOmih9hNmH4thKQeNe280d4EzoZD+D+uSX7JhNfMASE957rCG+D
fx9uc0A+hzQNveSXoO4iCtoUzgcPlfJHgcpC22TI/RdkkQH61zITu3DI706Bmzb6QHxRP/Aq69ea
HvQnLLMoAXB3Mp87eYhrwM50dXC61j/qJsp8pLiS4gMCh6R1Gs9/X8KgvJQ53rENO8K0bB26IPK9
irMywtKiJhpu0aGWG4C7in9fpqr3PgV/sJkxq149V4+vWaVsvCSGzNZN5Gnap3o/yV/AYg+0/uqJ
Xq7BOHrZDUMdzBeCBuOmm237ayXL3N+PDeDME4mYWb1qJ5q+zl1UvzMow8ScrcZlvwJQEQyePlv2
QrFK0KvpNdMja+Zk97bee30UnSAwlITLEhnrI8tp0z7SzRjLTapBFjz6gFG8PcWQLN5L3EefBZkr
8BjpmKesAlX34JYdAbWga76avkkvGJT0rsisaR+PmBPKIFvhKfhdqK2wtaDb1MHaptHCIYfjrPkx
9bV7QEzLjhUAlCMTRutCu9RymptJECJ1INm3sf21HMir8Xt1D7TDW6c5M+K2aHHqEbl0rOkYaEv8
bKKWvu9qHjVJ4KA7ai9Jf+Yy8l/L3jTZXbOs9nSpdPJGgWnzCGa6OCXjSDEW7Gl5diQNjtsUuxKM
6NiANW6lCuEsWTmCgle5IxVjSxZ9B7rmf+tLS97g9pI3fRBy2CbsVhyAlBVf8t43gI9jbGrFAVN4
+xWSE7WNcBmdR0brWX5G0mz9c+5FgvD3b4t+3OROtINrKU9jNDv9Lo50aW9dikG8w+gSqT5W/gyl
EyKGJP7OFJfNvwUPuenxysW3ifaCNyqFLB/mlVFIf25hXabC68OfCI01VTvLirpmyp/MlERPSM8D
qxnMDhUf1cKZ17OW7j7tSWtukGMBWPWMuNETLA8XPXd1fA/a6nnlpiB9nItphEsRNDNN6WZlG5Xp
6CK3R251bfU0vSfaTV/yPgtot6RmtduKQUWA3hztTlc/W+fZM4c+zPedz6Q2p9U2v86OCh9Fxn5x
73dkoDeD1Jn9i3UveTdiClqIWJgXZ1hiVxR2vgKvtk5r7SGEE2yxhHkS3z3jaiuY7mZV9Aklu7pL
qjbci7Ls32M8Z1ij4ogTqrHm6OR4tSp2QObs+kCxG7KlLZVqTiw01kWXsH+IPiR00sgxKx8CE1WP
1ZLp5mz1Ue1v8qCLPj1eb4d6CyoGGE2RiM7pu1iB6JjE+tawga/QMpq4G6h3ZuyJFJdlGbG3NH4b
bVut5Drxd6PlGd9meayJsJwhjclPYzQvr1969NS4AXZ0nNfeibKdGCt/YOW3FIe0QHuZ1X/NGIK3
kKxmjYdlxvfu7LDxFTeQbsA+sYbrQxd51k+sE8gpIMNQtfIBUYZr9kRVXT3WwEVcX3+LOORcchuj
DUemDurNXPnfSe21J9Nb0xPryrJTPvWPh2S2iK66VlHtQ4Y32ZF4qY+JqkEo2IuO0iHqCrriyRCR
CPezp6R76AcbmcBUayEbaPzXYUokjCEv/oVNwX6iBrV9q1KTAXud4+4tH50Zzaq26BGwl1o8SjB1
NCJ0jv1roBPwDunca894Sjh3B40eF1bDym9PfZyWNV3piJfbWKO8PSKNLAPniCy9hh12r1usynK5
zSTN4zecZcYHL7bc6KVxPa+/CqeDIp7yl4KrH0XxEbnDi446pzPsCaIwPZG+AK2URnAIj1EKn7Xw
87UoZBKN2AEHExPXqoFMxhjxsrAIJ4y7AhyFB3ueIg+fwdKD6HVrAE+FcWf6Px3LA8hQAbrYoXiO
5J+RKoLbgR49g1s2lgBqETJhBfr6/3J0Zstx41gQ/SJGkCBIkK+1L1JJsiRb8gtDLdvcNwBcv35O
zctETM+4LVVxwb2ZebILJJEs2XwnWNHyW6Xx+5xlp3yX7KlDx5qiTCPhkVdmv2LZGwQYZxxefTDU
3qapnHDHQMnUlUuH+jxeJjhDxrJ4zcqMSAooTY8zL7SBXejrcc9MaInYBuzk1l1UQ1RmVvZxR2zM
UCUyx2y6FDFcEOKaI711bHe3YdZPx4m7/3UlcACIm7+fuMjY6HsO2MHKxBL1v9jPQWborFcf/FmC
MqUPbChi94q2NHytwopfLt66t4hCy3knoffAv/FTS9i981fJCYko/KWg0qL6WU3x5DxEtAP2LySZ
UT2B5mDqaYKwfXPKLnwJsVU0l7KQdbNbV6MelrGXDP4qabuXJo4cdeowSztHcPq4TSaIS8NnYhLR
/pYpdp+/q5nXO5pPMf5Lj37qQ192ZfUCyzyaaDeJPXhSWWmnPxq6FxDhZJARvpChCLczCh5qZoDU
AXs9pqAQCcU8cmCZvjqLgfJEnUO18aSaHqG02Oy2THB+aBeGNQpske7F2jeNt4+8Jag+Q9OHX8Iu
DGfxTFsfOAwyLwsaykYCUjJ0XLTlWpw1a/IUEGftX4YCxOc2CAUiRyN0sZtLqx4rGoqzbb0MGJT6
aGyf0Btc70jbV5q98aJRmi1PqKotP2TOEYWtxvCO8yBZL+7Y1sdgGefwllpsifu6EAEEf3+13fgo
BHbOs8eG0Ryi0tx36+w9aOIWXKVrOg7/5k6s4mLGps0ufKnyitjg0fZYa0riDGh0uYuroKaxJhzb
+TK1PQHpxlnazwRlnj3p/xfu958UU3koBgtGYxqm16atxR7PxvLR1SWD0QL5JbtUPC3G89znk3eO
8SKcw94Bz1Bg3tn5UT2V/7Fcdyg16qhNittO0EowtOXjGvggCHACT7tysPfyUcMsr1naXh0ykz+W
sHK28By4qyMVYF6ternHsTafc06d9IfMjAhJ1yvzhq10iYhGN7nzSMpzqs54/egpnGFiY/ik1yvM
ul8E3xV37wwRlWrCsvce8dN6P6j6JcbVMj5wDl6WINw52Wzwj8kJCOncVO92dh2XCFybUCqMOkTl
RhmkH+St+ytHcYSzWeoCrm3UhdW7iJb1yx2ylfsHx8JP3nvkfGIUipr0UUuXrHficONOLs3P7KI/
0qrO8kNd+X34tDJdMdkr6kEOcF6G/JVJVYlNpzj6nZKUnQ6EtJgw7m8AcH6w7JCLuvwhHeZ62HOO
KOJwbxIs5fRXD/ipi73U3ejQNOtBigF+0oYY2pQap2YXOKWx8r9Ztw5AyxoA7KNl2zm+uHA3unWX
EiNPgZS1eabYVtpuvUjtScPTP5XBcMUuR/Hkvk09opPnjDtz+ijBLojnth1V/hGSOa/uvjJG0HrL
nRE223YVrnMTgsl6Z8J+tMeF0s1lU+dF6R7JJPYsvNFp4k8BILO1W4wOjLzbRbgd+ckhNjhYSFHF
yLgspg+THDosOPB0zGuPAFOi75ZoQG+eX6ZJwgBt2Nlf2qyjIwN4TSDtshu7qU3d7bhW4C13QnPe
648xS2laeNrAmzCEOpzwbk3hq/a/hquGU/4yr+0+54hgORQrwS6Jy0UG00OVcFpAYEIsY0Rgh93f
7c/ZjC0SvGq/7fsqSekTwpajdrN05ThsfIPLldqajjXbiYI9cq/e4lZDeUzzyuOQPLOcx39cL3Y4
Zays5y0YgDK/llCGsieeHAQRN0i7yIG1LQuv25a1aScizaVrAmC3Xt+KjZimynSHGAd+W16Sau4g
beS5HdXfViqt3r0o99MHBtm+3k8YaDFZFkpBjGSFTc9AMtC2ecdQeJb7j/3yz9YparuPDOjOPWI/
D7cGWKU6d33qlbd7TGc+xFZPoIqzyCbHtkri+K/GtFObHQ6moG1PcLVbfyeXYIHCn83B3Q4Ey4mx
fo94NalLSCozIGxLaynKVS7AVz/52Rwxqc9LVRT+iXr3zFwxkFk66UOGYo7O+EfyP7pAG7sf1pv/
NyRRdghmoprdLJh+UOiReutr7Go/OGKlQYvnpGSle8zYxvicxrGYgIqIex+vqFpxu2xbuIAU3kfS
DtcZalVBtRv2LXVGvbDtScUpsHYbtq6/11RvlttepyXrqNZWS3R0dR5qasQWplNz0i430c44PXJw
BdpuopFdwcml621w0gO/X6DP2YqX5GWa8tn9V0SJw26bu6L7r08dhJV/AWhgFGDZNNR0BhyW15hK
PpG3uNNV54Jv3roBb1C4eew3nL967g2tSJMP66zCX6IPDuT+iZUwq2BEOfZ6JGKWarj5UEcRZ0l3
zpcxgvd3K3Df03KwemX8HPtxw2s060qHlnDTTUX7SqNiG/9zDHyOEzAht32oMI8XW+IaRH6syDPx
VYS1i9gVss3yrilGTIGUGmj1z9QKbz/PwabeC5bLptyVqxAQAaq5HB7HVoJdEwzLW916cfVfMbuW
Via7RBQZb9i7V+ySYL4CfWzP64wT4W3wbZ2Q4MmcoLiVLOvFYewRCvaDqnO82C0e/z3esCH9aCsO
QWeZOTQr3TUCOF68sNUnj0cqQ6Kp6sqfFMYs+mb6ThHuqAFhj9uoAnt2jevZAB0RjWjvBCWedbwt
hmIe78NEJA7RmuYdfmARUeYSm9SVu0pXi8Orcs3mryg0qfi0LEODBxZRHJ43scsr4LWSoVMdG4YH
Z4b405k12IarITXEE0shJKMKxjEqqovfpxrYibldyDKfNC89240b2eagVg/67n7g2Btf2OW09rxy
Pl4/OkCk8JgcwlVAIhvdx7tuXLr5jE9H9I/jIIPoH/+5MGi5cmrtDboEj4UzqxGGs7n1yK/X5Cy4
CcOJ1trzVFCCfCARTrEW5sSy+uFSo72th4YpgWeiQ8kXI9U8MlX4OKgZYhI+mhvorCb+FTZtv9DG
B6DcXCaV+vUFQlCQHCkI7ZznOeS/nJQLV6HYkL9aCrORfQtAG4M6DoLnO5y0365Sp5qlziJ0cg6n
tK0P1eRV9WvXdI3/g+cHpoojOjv5haKss2q3jLnlcY5Tul4eUicaKTCtx7xetl6tmuGnJEDQ/h3r
zE3/hl1PZwlP5BYlqpOUsmueNeJBO7aXBxaVpf3JCBalJ/DCY/yldMJR5XBPqJdPXORT/77OXVwd
0mWSesaKn1n5UHkT3RUcMdHPFrq0ID2FnlrqD0q8UVGXtljS9bIOXQ7Kz4rS+yfV3NHr7droJUAJ
CDs0lieVjsJgMYFAP5RPxYIZ3Gw5s/ZUZteAvOdDaK2rmz3rwH78GjvPYjHjDDNQRTUOHj3nmwCc
YHFlDZKNPQ4u6jueljXie9qsOE3y7LuM8nUcn8ahnatvkfw/aFCi0tlwW42c+/0HLyoDXOMVW6tt
3vfwiAR1L4ANBhU6e8CFA1qU8ErP2ZMMkvaHzCr6jI402nTJqyjbqDtlA29SvDhzVVGEB0u1KT5D
qJ5dt4/yCbcmXbXZuBIyJM4ewbWmsd4nvOLB7maKqum+9TKMG9T8OHzdXYl1qzxhPwF8WvMOTz8S
Abut3He2XlIk/dGEHFbHUUVkOuXAXwqCm6qOkbDERuUgOraoGtN27vv6PZDe4pH6NP6fbMr055gb
+VKDZJ3AIzn2Yei7UO4CGQK5bTSRvxsUZZJnupY82HFFAKE6QgOP1r2OalqLNzCn6PUMXe1SEDOU
Y/YjEb72DnFiS8rpR9Z+T3i5xPQphknEvH/6VCrIsIo5j6xJEkIE67qBi3YtPS9npHXl8uDNWoJd
bPODTvoFert1MHXmJYY510uoGDNO7rAZ9qR+buDwnZKoR0PXts9Oa7Pq24wvrAYUbOm27p12Z6eS
0GVFW8MPWaSURBlkK6SYvvjUZREe89EPL4Ef5iQTY+2fvcBxPsNQ8scThw0P4O70Z0ed6S4PM/eL
46Y8mjLwrh7fBqmCLoDexZvoMLSIfmETyIt26WNxVtq9tviL/edmrMcnqHSO2FDN4MZUnSUhwuIS
QNLSALb81X+Ml9RFOGYHfW6jsX51ycjRMdeoH0JkzmZc47basqqlWQ9ZAoMfT4ifDZPxnhTB8KGw
EW+h9jdHVVMK1fWkFKgQNReaowNaHlPdvTI0NSzPyJciysZEuWqvd+JtJzq1ZeFYfRRFg6ysGmB/
Kg2XJ6QdYMarpqk7I+j/x5ipooyKa/z+tMzEdyVXvWzjiPLmPlysPvD/x9wJ3Ja7Ishv0eAXv+t0
wNlClDJ4xzCLL0MuIaeDcbinrptoWydZ8kAtDitGJ8WYQriPCJ6jpUe0rO8wWxK6OJrE0nk6YN+7
9+vV+yGoxKn4vzeXtXrM4n+GNc9Lwb35M2MnsMtEPWdgrEkil5N+cwH2syBZdfbol/MkYA1zIaa6
qh/LO7T97OEm2Ub0fvuIonQxQDRxxLSNtF53sbMst5Cw7xbtrT6K1KUBo7FYcXipCC6NfvY3WdJQ
LtqxpDg1E5nPcokAfgmFnZuAKDN1rVh1FxW6PFySMmdSn7HDByS78N2yNDmSiJWfrLLKgw+M70iL
VHRAJWNZSM86e4KpyM8znownOPt06dBgGqGmhyv7SVys9kGs3KYMd/VrRec4hGAZrcFO9QG0uiVn
2iVSBqWRkXE7Ie6yqMxqPF6w7UmzrCXibKbXGSNB5DTrIRHsjbZBKswepTBobmwk/eskaKzclgAB
d47oqFxnmIcESeDlnPulOVFApzOUC5GcE54958Hq7qTW0p7ho9aoV/VwpTRPf2CebV5zIurv0Urf
yWjZCjMzRBnxPR9w5FTmD0mUxY/umgAGQd8sb944sYN2w1D9gHqHpcwPHHmiO9i5JGqWlLVkPURy
coidPC+iLdyDj8HhnWxa9eaWtn0XDf3sYgYpWRkPYdRb1vTEqRVVIxmzIHsA1f1TVROHzJV+9dR6
60PH6uSBBlhDRXHueQ9TnnWPOXaWj6jvldjruvQhVIaRt70HHKKTtLEu6XELygvxAe5Cb6jrJ11Z
DEURLxlCg+BYamJkDxo7S34AOG3Am0TDcJH32DoHP9r1Ij3bW4mi99H4mPlnFZAFZ+dzgKLdIqDG
hHa3o20+uZ7La56YlOpwTht77cTlY1clig5ukqc3y8sJbyc6J28JNKlTGJHVYDFqkzdW0esD+US0
bFdWF1RtvW8xk8K2bdkOpgI3MWXY43PcReuuKvxga1jTHgK/UDfiqf1DXK12J9dqJcLscXB+NhME
FSIEffHaqmh6VnwPW97aIj14PHP+LnhZu71Yma16rHJfnL/i5dSIxt21d8ZnQ7DjBJiZ4XZTh6bY
rhCOfwHsij7zaskz3jd0xHABo7aR7J0YqquQQvpxsiNSfhh8dzpJXrNOS3YlHFzYtJAoEycf1aOC
dGbGec8qRDZ0nTvxM4PTxDwQ1O8Gr/DV7/z4bYiEDc6GXdZxUOvUPq3YXKhHieX8niaNe0uJuSBQ
dPGLxw7p7M56OrcICYQAJxN5hyVx5TFl3/wXA2YQPM+zsa9sII1zSPN+iHcDZ1fI8vTjzDsKxiEA
J6Yad7qvm7+gkcdzFgbOhfd/od90UcO/GXO3b8+Fwai771QXvSl8mGLTVrPHGJFnGX/rGAhxl/PC
WyWkof6bwPR/o4y997sjIiIYs2bnNsnqfZ6WTX10+zhbjqlI3PWDPkEQjdM88+dPfPB0BrA/k8Of
dM4EslqVowOi7OP2cWdBMqRQbn62C17pvSPjykzoHYDTuPRjUzRPNoEly4IyLsqXxEV7uE/4HtDT
TTAsjJEJnCP/yutuogkpVzVGg2QZgMMKB7+Kwdxd5TtXdgIbcr3m6SC2bYz9nRPjbNmZ+UuQP0T8
cFgR0AkpcuAz735hJIdIlJRDP1w5gcUw44fQfw7mZGhfaFqT7oEeTR2dW1ZckgGSZ+GFtyCcjWDA
AZIoYgS7Po1iTk/ONONfproZAkMa6Opn5njU26UR9vkD1NWZfKgdhnyjmP/uJQ2x+ZS5YlCkUDGg
4zPv7J+RoXBL6UpvLzy7nC+Xo0a/W4KB395pOfwQCCy5uYgS4rjvyaJi4kwXSgELqbJTMk/rhWV/
/pLW98DIStO3/Oxs3/c0U+U4GlYa5EghakewHHUiBFneUxyBFUva/Drgzyw2SSHvzkP6dfv+mqeT
UW+Z5GM4BmKN+3/1OJYO1gE+f86qPY/9U2xNr36zq50OLDMwvdZKxRmvkq4qf5qlwnAbT6i0O5s2
wSHF49t/k6npLG/rJfR+dJol4QPiy9CwZZiN8nYAX1R7JsNKqGlPDRLcFjL4OgjObCH1G0OpyAh9
lM3Fi8Myw5vueuY5g8RFCrJLJnLKYc/7/6ctapDfJNLV+h14mnVlqWq+kDuNYWGDlkrbbbTI4xNn
EKfjBGV4Qu3cqc3ZFCuYXwR/iaUmDfmKhLxbB0QCCsgT6qhzCKwuv7WfVtjVXbf+SlcKYVDG2KHQ
kx6A/y7n5oca6W9dbFGBDS8bE58yL28Pw+CW84PD8jVBvyirfE/YzEzfcOHnimaLpL52syzUS4L9
5i8G5Kk4h7buoY9VvKDv8TjCF22aftdGGn45SkVv4GzDE1iV4m/hmOmCuBaGJxu7ywPu37+uUREP
qkLlfvO5zpoMHeuvgAblEJ9qt03lqviZFaoXD77eydwbFqs2AxG3NOl3v8rAHAdHGX8AJ4Ayi4tw
qc3JX7IkhIHTBg7+c0a62D0NklF2G5JtgN18x0BggxHw1OMtESqsWWUUV/lzQ1RcHOt4tfWHYzvw
D2Gv45Wq61nly2+4GHROlBzbOzAIYiStJXogZqVq7d+VTK3ZCHBksNTGCUMOu/MVw062ODx+/IFd
zBzQWDUnWjffnetl8xVfNF1c2MJt4LyT9bjjaTMsAvQFIz6uj11psfvoKcfDsmABKx8z0KnNjlxw
WbCyXK1pj65kC7MHJ5lAVgGKFqND47yfT7mu45hiXAqF/utXyzLvMkEjy5LdFIraXAKnjiFemMJt
FTXClNfLOnitCOguy5VGLs0WhWPXsAqKKdl8Y06Zqma+ZYa01h2OoyUR/wU0myTAwx6cAgcaxIiZ
5Dmx9DBfl1+hMZ159Qd6lfdhEHlcxpxeQgLsjTPq6lyWVn6vfFIVf5XrpvM+6CMK8hqN7WATrEj0
Gsu/j6lJq2jBuJQpv9MHCNiN3WejU0/cErVcmicabif+2kEEhfdoB3q/oI9kRSjfWVZBsnAjncVH
wvSmZkKSVuOOXoJW0/eVESh7oLclhIsHhiat/9EU5YlvL87QMfdNj+HXHe/cY/zsL31Vp/6FwdcL
tgKw4PAiTIcftRW+O13nnI/nVbMMh12I8/UOFynlGagz15nb3vdTPXSQg6dZkOKOB1fIU6lrzw6Z
qyvPJJhJI9rUBZ8+LsIuHb9LVMVdiRfJ3wkOTGSapuKismRyDzpu5MHvIfC02NrHL91ZnkF7A5aY
IvNsmLz4MEtpeImSSgORsYSUsZy7LgucreDnAw9ROOGftaAqdL8GuvitqHo5glle8qPw4SaxKmKR
wUW6oK1XVNzdk6qO55HkjsZNXkzDAdo2lc+q4gvYB3Kwj7oi9shDoW1esMAmF9EF7euCNTZhmtTz
DZB6/2EN0sCuFa3cjENKkhehtpuefEfjkl106GF/wgE7nPFbrNfS9wmV4MWtMoJivCZZEbMhgGFZ
x21x7F2t+Uflas+6yoqnMqaaxLezyJ/Z7oftVbbJyJXvTvlLAPat2wTKXR4FGCsafmNkUx9JdATm
tBr3qRkQUu/SJ471kin4B+zLiLBrpf3tiidPbNIqolYsJpjnnv2shQFWE4zpD02IPr9VMP52nRL5
L98rqu1EX4/HDFOipFWYzZ1buFbmWA242PYyT6AcxzMOeCwwcbXNI3YtGxOZtDuA/suGR6qumeKI
upkVu0KJFEWQaObX5ewWf86Z072prI4oZSCdw3OwT8x6roGDekdeJtPX0pI1IIODS6erxuxdxIvb
bl3rNLjKyCDp64iDiyDoGu/6cqRatqtmeWbZ62eHxNwx106G3EbtRf8TXIIbES4elr9ZQGL32qt4
/FFnU2DOKljHN28KFUsWZyiOQZdk7QHUm2oPtbLyZPJCzIzPXi2fDJuU56bM+0svpz649crqS1GR
FAT56e5sreczSND4DI8rPAdhFXyDhJvYT2Ssx0Hnd89Mx3xd2zwZag1hxHW/gTkWp5o05olbJdsz
rUwcwAxLt0u+MNudAWwIgpqlXuPHTmMSPPUOjpiD6y+c3+rMQSeFq1til0kmhPU6zoKj6jO9d3PO
qbw0x/6vTWdGW2b4kM3fShmx1+fdtWAvz93cWeczzpBtXinEkyMN4oaFhyTSRn4jQzbmPU2LfNHY
Y2dVDgxnNEi9Nu04NYHYKvYiwELAtiAezu1A/w4o1MJ51XHBVsfvKYTivhw4XnY1LRsodPFTewcT
0bF2txDkfviyeAUxvnlemn3VpO6dBOsMz4lTFIe1dOrLMiZ6PwFNP/uDXV5qwo9bR6e4DJtR29tS
Uelgue16Js5KTTtvLPQu6Dl4oBer/rAEon6izD3a+iw4dxFAzfKiK5HsPHy9Dj5/B+9myNKcQpTZ
+u8DDyZw+1bJYxY52JvyfASzMffpwAbYr3AVsehp3bOObOHsQqePsRUMlBGsyF8XB2sOZ++BADAI
UnirYLUKbt+8bNttTSSR6FIhMAVmrkVPFkMYLKccgzh562mIOGUIGe88FISTdSfvUPole7LMS5w/
BMWzY1yF2e9A48m9A3r8sxgMhpjGqFZtwEtif/H95LckV/RTlvXgbDWuqQsJs/aQBUO/d2UTF58W
lv5rAFKXYnAALO3P3vHms+ml5x8a1CImw1zEdsPVARYgyLPqjzMM4XOfrE51qokAu1tKRDADwxOD
zEZuUBJ6fGmWjooc3MzNNjMzvobOqbttj0J77hFzn4sS5Lq1fpX8yFFFn7oB/QU7Q8gsVWI4YpHf
QFcTo0kBuzL+Uc3tYZ81bssAOFGs8R1OzZJ8NU2bPKAmcJc1jU8deTekIWFsVlwnW+Bag62L7fRp
qFtbEHrHCuEsM5IhT4PiLevh1ZyGxA1pRPMth59B7BCTgeCz/T4XrkpeZeAxAFuiWRjB6jn/B6LM
uhsHXhdt0n7KQ5XwigMTl5Bh1vuLexD4Bl6XZMFcy0LNPWqj6XCWeVsz5BC0+I6clTiYO0bb3uvN
k1t4ebhP7xi/bV84DVsQjhyPJIw7vWODmdzA4uufU+/yC4Y2yPiAkslil2bDJUDc+9pW1JSH5fiD
oTeLHpW16blutf8QCT0Xl5gsRXzoW7T7TTh2pJNcWYv+FzIJWJ67SqfPs6/n5kBwqMbGi7waFTts
q5gVSAS4jwnXR3/CeTB84SOorkYtNAU2zTiQ7YZjuBPJ2I6HsM8Ve4JC3vB6UG2XyZ5tWjq35jTZ
ovlqfbrINqzNlzP/s3/z2wbPLN+iQ90YC2jvsSOudpsoG7k4vqlPjlXdB7NrQ7NQH1N/MHUjLCos
uezGaS2QE2kt1adsyeE7XOx9WK3hPZKgNe5YnM08WTbPbvkvNw3TRTcH+t+KQ1VucMr0hF7jmKTW
xqlGcUk8jhVvk7IuBwUZp224rzu6UO40tuZSjz1eCKyT1J1Funx2ZCvTY13f05aTNxGj8kjW9e8m
W9bcBSFUh7jL6sULuj+EpnpoQAilW2KYWCaNcUNYCFhWIU35M6cRV4y2B+/YdApuMNgqt6WB5IR+
F5OpARay461NBQWrI/1BZoTkOQY1vz1HnJ2i0ypHaEKLM/8ODevipXNrXEJx8lEtJH5e7kvk6YOy
4IU0Gipvux0SUX4WC/uLDePrSkFchwqCbrngXkyYx24iqz13VxJnwCQX+vlJ10pEB9na8cqvCH2B
CUH/i6IoeRcr9cJABXD8FVUuJEKPB5MAE2ZJnV0prDoqNBGaVnHGpeQ0sM6kxBDxF40ghUL2pesn
D8ccDYep3E+RJkjPIrijeJ7SmcT0MaZpONv5lEI8TtHqQpswlfSNhPxFEOK4ilz/J8Khe6Fhel03
SyVZOnIpoPxXmEzpy/LCH01lki1BQYoQmsXbU9LZ7Xm+FLtFRHh1LU6y+S0YsWMEa2GPeOni/kfU
uGl2zVSWdUefFwAVqnO5rBQzgfDYpwuZX4BntXgwNSqVQzbm3PqZS+BNAXNuV3j2Q8z6F0QVkDNn
Hp4SrHYXumKrbweEzIfOABHw0hoTgsoRLpuarNHBHd37YzOD5cDAIVsUn9w5hCaAMjkXctyTluKp
MzlC17tlWYmTgIAhH2PcfMD3O/DZtfeeZ/693PcBv3SLvLAb0iGqaS+NZlWzqoCx45Cd58R0xK+x
fKkE+p/uR6ACHGfh28h7DgqA5PSXG7GhtiRM7Y2xUvhwEWX1g2qq5M/kzQHXE4vWDeVY43FtR/uI
owVx10zJuicR0D0B13bOwSLGYz+vFcZcSNJ3gy3i5Z7PxXm1NiAzna24VYsIxZ/Vjm33ow35XCsm
gb1LOuHDTbk3/y1uZ9zfzoJlUtgVo7e35JzKySXXu1GN/ROho4jeLZclUjnamCkqhSy4yVN6R8t7
k+ZAd/HW4uV+1cw0J1pMR6aZjIbHnI0wZv5gwRTaae04p0p5nCvgudLI7RCDs7u1ZydOvDrkmw1M
FHB8KleuMv4x6RYz8fFVcX2Diwf/ii/8Ad8QAbMq8Sjf6TSB4mypCacBcibOHNn6wrgp90RCoj9m
CEik6jupFReOTvaTcVFJAW7EpADNhIGTpMFbUAd+97PoMomkFKlpU7JZqU6B6gjilpmpeC5EBOUR
i5vwXpnj5+mh8yQAAcaaqdwoBIDqzdM2iBBU+faQ4lEZTqOvTLT3FNWq28FS43qij5tvogLPgvVF
oaqThR3DuPewc8PRVhcBSQWxOahAazm09DyTMx3Gx4E8yVOdlcy90cSS/9lVBgc/JkmJqwFd7eg5
ac6yj2/e2UTEV3v4H3aGr1+sT+k80dea0vw6E6j+NSOWvXHOxMwoZRbWV2zN+fTgDkuJQW8aRHGs
OxtFhzYKHIrXvC72HuDwhhK18l6qkNi2P8H1dH9hVi1+z3E5UrQnIsyxvIu6d+0wR7m8u3N8fPjy
wJE2DpVCtRccyciyfAxQSMm+djPGRFFcwfGWn9S4qj9+JMOXKo0D8bh69ZRfmQcwMvJ2n+tdxi6B
xSu751sDa+Y78qv8yfB1vmBht4S8VQXnDZlwXsZtOEgvOYN+Ef6Lwovs731hNXwGduL0SDWEGLbh
hOcF8YJWttVlIus3I0dvQUOeTUYchilH01knDof1eD4k/Av/VjX8GlRzJ06pVMoHZgHtEWUsMhtH
IAI58ZF6wWLykwpBn1RIguFlryj7OC9DER19mXVPNDTQKLAWwEV2/DSWSBHmPFrxpkVvJ9Cvv6Zy
7f6FwBrbXbWERJkbeqTcjSqH5Yl6G8DEs7uCS2hxQD2okLXTbU7XiU8HUpzcqZYWqF1Enw7kiAQL
++MapdWLo7pKPTqrj5Ml4KJVR+p3zEWszrJvFy+8VDTsfLszZgeewqFR16DFsvYI86ped4vr9mqH
fbdqL1llaQ7PG00/05S8tO1s3kosxWYTJFi+rhTXpRHEpFUi0ZVY/cKVwjJyJbUzgMMsa/ZmKTvt
6fcw8AHBBCzHBIt70Lv1CRV+ekqLJLkDdet2v6RldwqGpnhsZ+GeoC4t4gOxPsJXXXJyyAp8yRzq
bG9/OEz0csvUH0XnpQjWE6rWQgquH+XrIockfsIcwUTXtcR8H2PyFyurfsff0aWVX80co4ULD2fd
ZXJceSgcgalq6ySRCD8rb/aLN92YZkYXbQAQEceKBefjlt8XtdyT8BX9PvPeSPPwYMDiIMTVG+Lo
VibjvDO5Afep2a3w48o2fMXiHw8vuPMVQ7qX8RiI2OKhVMA/619iGaz9lbxoCY04cwkH8K3o8p/L
0U6++3Xn3Itww2CKN3Z0o+s0pfB92qzFUUEkH9p+H0QJI2IOgOGPJ0dDrVflBo8OCEKsn21qAjIC
Q70iY23YEblRsIEkRX8l/S6gRns1LI/cKD1VhgZGUQVKsRLADLe5OwzH1WGjSFuEhCLU+HGZHHBr
BJdi4TwuIL0/1AQ7CFUsfvpCbrfDX+BxSKAgK3isEhF+TdSbUy9vY3Iqz8IhVHICGEViAPQBQWDa
ArH1Uy/v1ZC/H0sVN2KvyEHp3cieHeSDt9AoNzBBZMfat6y8YegOtHiV1Gwd/dYhD1zYXj2UGibn
b2Iygf/ek7/66gN+0EzXTXHoBh6ChKANhLV+ovOReySEzhkO6n8kndeSo8gWRb+IiMTDq7xUKqvy
L0RV9zSQ2MRkAl9/F3FfZ3qmqyTIPGbvtQ/MccVy9pgXAfscyuFCoipuRwOT7jq6KfJKQDsee456
mv3vcTKBDcmaAOoDWic2HICvuTeErMf57xwV7a1jwQUPlp0GYsJtXRYM7ue6KMJ/5QCe9oMFhEhP
KBuAs66Lb7QiKpg8hPq+7A4RmSxiU/it5+36cqwi1uuhOntUFGyknbavlkOHoItX38PZEglTxXc0
wYvmd42Wn4BW9gpntvtI2ErlT6HxwweGQ0ux63QXdfB42H61W/wY1n8VaF8bfU7YXVhicpKxG7Su
ZbhMeySeJYbREIXzSkft+iLYARNqYH8gYIfWmTee82aNFdov7VXhD4CCtXEzUqbyq4/tiaXkjLZt
JEHnUwW8GmnSsMeBL8MR4jj4mN/R1KL8AtPF0XyA+4RKVDG+DfexMMt4mnwHjlTJYPmDBGnGKgwW
CwZEvkmQOFXLtWDyA9ZLYa3Z8cs3+HCTmLnMKFl+dx0vH5aLlyKW+bHXadUCYDOMJVqb2MmzJjpi
jexLNRmPEkvq41jPzvBs2WGCSDIIclSjPX8kyO1V+DL0z7zK0zMsJvsidVU++YYAz00jEv8PE/7o
Hq04aa9TtMy4UKgsQbch715RXn3w6ahxnYjk6x40W7CsXZgL519uG4f+Bku9+9D67MsZnUxV4f+y
4EcklbBbI9LcKx7dqgkxrTje9A2FJL5PC/ST+wW7icClKebjBIC7Ok4VhFwgLa3y9+UsxXuPnp6B
oge2/JyiAx5OvGgkRDGVzCu0SYgmqsvim/6qZKlfuwj5MI6S1JRHGDim2PmyqjpCDWX9stAvb32T
lQ8di+9pE9uRv00QhoCLQJsWIho8Doh19hat/n+8/riirN6h+rJxgwKsAoB+bonGiU5jodiyY/xa
3tpFm+kIntTyXopOsrtLEa+WW6K8YBag5goYx0dgFL6wly+8sH0axM+9ZIq1pTFvPyJ+8AnYheCE
qygpLkGQJXhjM4sBqDf1tt7qqF++ENUPPzQJpDyqYYYOl0wQpAiQyS8pcrXDQgN4s7NiTStisSAO
AwYzua9Yo65kI+TkycG1BeI4aSMqZbGSoRnn4vQPAwdU+9ymYY7yTATyUEe1up9srr9nLEzauY/t
0rt4lVfB9iazFBYyESnunWUH8JZI2nK+JZSKyMavXbdYEiy/agnLUxEZA+ik5WfsNsFZ+Qg/IViN
fQiBIbfNiyZr8Y2IneCjjNORcKGuaO+KulnkLgzg2JD0V3niw2TN9JtUjXWa+sbJtouZ55fS8sOB
ZXPf/PNX2e3WlF3nPGEscIlqSEcLTWAZQnjysjwjsjSx2mtJLXMPOYGdQex6vWJOiETyHFVjsg8T
BlblgR6UkmuITNUeu4FmEkH+4jGttYj6LO1ldefObtmiozKTd7Kxel4qVPbw6nWb03xMy1knQeAe
EhSJyKQqnnU0umB3z2k9xSe3ifMn30d7BJaLNOkGSfaf2E2irYP26Zq3ffff5BeujdaWeMssFeKe
i1SzvlTxh8BqOW0yhRyJp8sz9xrh+qVhYrkFOdJj4IS8L57Y1eAQtA07uUucMZ98nYlxRt3kwD2p
vufFEodkwhFJiZ4I/moBUmmfOS3rDfohBJ0U7U17JbAHbmlu8PcoZhzOPgri5aMsxupvMRvrImrB
goPsVh+FWUdJGlsp0Q6o2eNbznLi2sLmfsv1iICYDx/Kmc8LoYNEdLsKFlP4KnuLJWhrAhe/oo+U
cfVfIBwYhvBcs41Wzwq1PDrZsCv/wkbALpF5E8NQV4TrQTmzHYNW1/4ucdc8L/m8/BLp4b1ZsWWF
V1iNtXXP2ITU1nUb6DL2qF2z9wUamzeTexGXE7OVFYumpzsW9yGhFAWX4rnKQ31OmQAC1pZqsXYl
jowjF2uWcsLL8ZGrWLHJTuPqEJWVPW8KIluP4ViO8iCVFFdfF9wPFnUQSEeeKAvEYlz/MiKGOBpj
vEAI0a8zsGzoT8sSM0oUGnoEfsvyzIs5oBtz1blD7eltynhOnH1SI0gCXdVxFcI3wyqTkmoV7HpI
Gxl7GVf+EcJkeyT34Z2LDoA62ovR9nZOih6uG4JdUynMcTwMIcuyJMbUHQFKvbSEioKzAXZUY7jF
VEPhxi6NNZGNU+qAW2Ta1l7E9NJMub7JWmW42FrcOc9lNlCaJ/MsD2LE5R6MYnQewTAsztHuqj47
LzbmDDhaQfbaMo0GjWN3Krun1kjvdYapBRwpRQTH/SI2Hmne9RMr46V7hK+I8goiXh9dpy5kv1fP
lXIvDVt1nl3Qi0i4rJQAEm/Qjbpb5rnK0eNYNd42lzycXcKua96mgYuTelCAb/FToSzcoR0e3C3I
jDVaXaRO/U8tUf0QcH19u7KPXibL0yfPMpxLRYaQ2RbOVLP8bVjTewj7H2RTqvaAWCZ6HHy7fl98
WZB7q5W5MU8Ms5cYL0uYb6s6F/orXey4AS4WEXeF3lgx2RhGLOvaY+7wL8rTyvv2aDX+mXLGltrJ
KfwKGyJTUwQk8MatLmS9VI7us0skgM9vbaYFKH7irjcWE5tylwb9Ep5KGqz2LdBJ0/0tdZTmv3QY
OfaGfkmLS7R0mM5ZDHHzhuz7FoSyZeQdyiitwYWEVfSvNX787qcZAA023Vz7qC14Ltiy9vqVYSBv
5n7ABfHgW9pOHpEcIkTcVGJmaQwj3/8IotJ7niy7aE5alfOZjAAEEM7c3LxcI6wSXox9sTfQo1Sc
EH8j8m6+yNaPvlsFgOoP6QbTb91xjLLMDOruj/GruH0g+y5zz7AM/RplWUQv0GMGZcpRozFvv2nr
1PwXC1VT7LAlO/8p2/GrJwJ+x1awC3DRQ9bJUB871EJYxCMayo0bJtFFcvLe+2buAzggofOjHR2c
3NhFZBK2RAe4ScBT3o9tvRVhaGyUG263BzBAA9ZMMaYZIBjLGYo8QkY1eoH6grfhSOqcOdXfvaOM
4VbOgw+0BqZ/4Umxu3cgguTlbKd4GKLtxBQQA3dTPHFGAIDpTIb0o2dkr4KORMowju8UdThB8okN
EAu72+idqmKqsnMmnfQfkvaw3nFSO08UruMlbpZwnXvHw2+hqvazlROmC5mm6oTDY3jpAQUc26hr
fzTQpweFbqK/RSLNUa9YTnwfDM5EBk1GmMumQA8JrIqqR/4yizd2chglQhWMtG5U87/JZ3/PdtRP
wLYi+eNbcyvf/E0INAda3CATJDhRgtf+4uTmr1womBJmP4n3QFyVvic/wXcuncdSBfHTAil/Y4Sd
i50Pb/q9gPFRMHyToCswm4QhSb/K/qLYCyGxZKWSsMSwFPNET9ZIAApIYXOQKTqVT0wMEhGgpT39
LKqOp3/j4KxpryMmwHZX9zNMGn/I+mMsQ83ArEEztMN+mOfQunqMWF6k12CoXJcU5AMTwabzaRsW
mPIECyAh9AG39q3TnAUhID7a13b6O9SU41eZRQyAdSfT64QP4ieP2bWn+5TVHRo1Qab2zgVnOgGf
SACn9eWSPdOno4Tqu4JtGAnWz4kLPNts8TWJEwNUNig1VoAfcjPS5ZbXXgX3FV3H0VWsntjhcfBA
ckvEzjhqVqeMSxfhMk90NXzXRR3cS6woNUtDogP/00pWpI5nSUHbhqiUZ2aFQqrkGRNWU75VORTH
fUeVJg+zU6T70oFPfEiTdpb7upNxDYKiSKo/AvOe/eEGi42EwYNQ+DbiWyg+IjQIrEXRzCbZBWal
c2PpJ5m25PAbCxHG7abh6Np7XsJeglzp5li7HLYtPX11Dc2ExTpH6fpc2X3Yb0PCEp+YfpOeXtgw
bP8MTjbygEASDYYjpQ1+E4iLNL3aIQxHRCSh1w2KvWjqMmvnxiM2BdRGGC/9PNwIXJ5HQonaM1Wl
tZwWJ7Ks13oA432MxizN1529nV4X1wKxR3KWp+56w3z/fuDpUcei72PqQI/x7C5N84HgmXh5B7TV
l9xBLWJkNaA4aQJhsxKxc/WbTd1YbJRbywIbRyZ5LSLP1UfhA6/az6NtYKDJGXOFS6cOuaiez80k
5ASnzCn3McJvhmeYOs6krEJMD6ORXUrlYKHcEErS7Du3Sa8sReSt8lsUIdL1qve4BGJCh9NkP2yz
0l+ongIKidFIs9Fw8t3CItmiinSBTFl+WlVo2Ba/7L8LYif0SU50+0XA7HMfgts5pOws8MCWIXSD
2Afv975iziS1M2/zvqPWiTeuyy6UZ6pxuj2yUL3D8wWFDJ8F3CUGTOsyHmIkkK+mXja2DqL6kUE8
Bv+8rBlHRyi/0AX55FGWtoM7q2ZW4GP8hK1JxMyi8Dj0molKEsyi3y8Oc0ueq262k10kFxN9kQxE
mgtjd9PfIApa+UuQM7y4sUikIoht8Ownqo45e1s4B4mASTOMUTRN54p9IvSZRB/9rGGXXnjzBSk+
4DcooydiVtC/KU+y1ChtHWKcWd9kIaDVH7kMc19sUvQHisF7B5MF4chkfiM+w/nKEHYB2UaELEOT
E3tRtqwDT8Nt4bEl7xU9Ai64AbcsetkgeovK3PzAR3HbDwtDBWaGmh8jZahzqYMwvEomNP/oLBNU
il1fso8favddJk7inphuy2tGq0x/Wrhd+oQ4xUEpMRuW06lJ75kXsS+TKYtdHx/YhvG1x4BPe97z
UFugIn17wm3kMRffc2L5nyhmrJemcFCGer0HaRfsyP00Qj7JwLmyIzdt89OA6Lrr664/0HbhVvJE
5Zw0+obXLAONfx/hb96BjrAEdDIv97ZoXMrHTHXOggcb//C2sA2rf3Zf7p4t79zs+QX1baa5fUUI
H4hjgOWRj8kULWPxqQD974fFpfdVaB2aNgkfAz2ELDXnFA0i8gKH9Km4av4Ymwk0HuOOfBlLkBmW
hzM4FdYPzhtJZ259nqrFdCvFp89PEA+S+7Tn8sMNt87PNkOMi2h923r7swkhG/5QhXrx44BktLtN
6ViEdxG8yuU1iru8/+pAhh7qNgZKG9tN4e2chbrqcWHiu4vsbv50HLyd6/LrH4xDhElCAaatAyRW
ydi134T4UGe09dj727yVxRVKcjA+u5PLxIRMReJdEAmjqRR+d8JYmzrnrqPUGCOfvblq+IObkky7
79Zapk/LwngO0krhRiLiCqiIH/A0qPqsLYfkFVD0hccWbo7UQxhp9DaLKuW9HUGheYGEQTy8sgPn
xJ2xVCmCVzQsewYOwZcAafGMX7MAdtLEjJKW3qFfRGK9q6gX4OZY+XgEV0BfD+65+C+LrYmVsi7S
BzPUJBIqGSGym4JgDiHdjASy2WOpD7oECbwdEeWv0TFT9aUCB8Zq2+AYN6UfuRtmdd4jN0R4K+le
EZ64GZ6POip+AdSqe4DeU497u3efoBjLXZVzTu+pJJabF8bFbu5Cqz66uPn3tZdgKk3sucBjAomF
g0kcBcX2W2awq2/SQHtfw4z/m0aYr2mir9/ZFv0evaOVvwuSCW44G9on3DA/aFLNLzT77DRBm2F4
X5SXEqnMyQUmyAjea4mb641/DsMQ0E++WpjJ8xxER6LjYu7sPo/d/WAVIaOeKhXPnhcFP73isEb5
k3WnsqpD4Bej8+EwTGBINCqH42FIglPg+Cy2vRXjg0yBn5JRcfZvyb3iFZfq/Atm0oJu4ScuOz7M
K45ATo1mMo8fJyPqW8+P/QW7tnuiQqUU88AF4UoT+XOpjf8jpdNiEAh1fB8LHcx3qZsF4RGjLbaV
yZqCo8np/VAowckKceU8eHZN80WlsPcytPRbocDvwlxFOarn5d5Bck+lCfGZVToSMx1nFWsrkS47
T7g62KEpyj+aTGXvJV0/h3wfP2Rt2d/aNgebRT1TfIzh8Jl3pc/HVSBo6Hu3vreTxPtqALm8Ze6E
AzIcZH4KJnb6izf/bbPIHGW6+M9lS37XKeLF27vcesOm853wUdVkxG0CTHfXkTRftTdDMOLcCtR5
Vi6fatgOn9Qf855I0fngNGk8/fpdJYKDBXPl0MAMkJtU5axHkX2jkrUQyfV8WwSZxDo5WVMdOztr
ELco9syDWJssdCM8v5kBQ4nAOL5zKpm8CCYJZPBF5c5j68VugwSTS9+6+Zkp/X72CnOospA6C4t5
J1n1tdFFazWCNPGe9ZQBgPPm5mKNefo+6+CG1co6OPD57gWq51Nd29FTiJn8uJTNrIlbBxLAWdTS
LyCVrne26zqXnO8HghHbA3vjucZjEzPalBleWb/PHMMXcHd8t2yaMnY8XR59NOwxl5OHTOPZ47I6
ySwRH8gfiK5A9MxSNQT7EXTLWOyM60Ue3ePwgzSzf41lgxSoDOQHQkznXPswiMvRIYmNFBpwgqCw
/rApyvZ5PXSbHEzmJuj5ueoJlpUcbXTTNFW7xnWhYBWhCQDwGsbBji+KR4wN405nUfySsWyipdd5
iizMCtjYS48YdczMtUBQUYkTmizzV0/t9ONKu6KcHb7RG057pzTk7QKkjd+tKEGtllrPy/qbIoJs
ZqIweEdWAgy2iyoMWCyA4AbUSwc7ogcYOn0qiNjZgqtz7pBT0IhG4TSuO09JZvfU5JcQow0/6gIt
t8qRcQiHUgfs6bbXTLQ9wNRkp1b6iQUVsGjmPnKiYOoc8lRzO+1IROjbM+iDnpyXceif4nQ58VkT
xK0W5IChxfoPS+2PgzRg19naIuvMXLBUM61sg0H+i+yMBMPB4fLr+VQX6MrFbZnJG9yNgSH3BOJB
j5VJbWk/Sy40gFyfKf3uWrCNXbeuhCgPUUk9kaMRfVm9f5/5St+BC0idS5zaHKo2COsHMSLjH6A+
bXHHQzBFVXNPsVTek9KJ8yZAavGbkGkOy4LwzTYuyLojKaQjjR7d1rtlW/9JBR7MyWdAi/gMDsxd
NCtHpGClcsN6C0CUizgKq1vRhAWcy6J0zhHT5q8oVM3dFI5Y0CmHf6nc6z9V1TyWq8OSVzcJ+Y8J
O9oI27K/TVs+Nr1KPyM45puBjehjEgXVATK6nW1MCtZ1K/1YkyubNFzqufdbW3b5zIU1XXwqrXZj
wPJsxo5sn5MixJIKciXJuSG4EGJ31iu05MZ6d1MBQJdZLp9gPJyYUggGkPyYi2J2oeZ8vqDsQW2d
SdwLiELULitDpgfUthtK+vhDTSlWgrEJT8iAAHDIEoutLNVrX/Y0mwQC9YiP/BWZuph83wR+ziHz
/zei0uVfllNxvfdIT35QekkdDA3MjIZ0gDavXNhcJq9/Ia4MJPnC3kbwqobsrUgS54EcF/nisTbf
lf0UQR6n/p+2CnVIuHf7JZM7wkkzWta0ZT0Ls2HDhr9bK4vsz5Q4w41e/6slC/DYS7DHOOqpEFiR
EkFQqW8W8San8GvVne5l5G0zttiwARjQfc9QdggU9Nta34mell+N3V+mw8muj1wDzGoa25c8EBHU
qZhg05b1PbIcuaJFR5DvuMOdV981hOz4XVt+K2lnxwX1/VZ2a2YxbLPmSFpj+5R2un2hS+EsCXSr
/5LooTftuCAl0HXFqKX1/WzLuRAStwPgZ98vQTYcVrnClq7SbLUFLKiZVbKzKuJvlynFiugU9D5o
WWu2GYG4OAmz3Q6z1g4xcb9vdK4wNFRYVYXU3TaYRhIhZBOpYZ8vLaVsg7qKRK52NwKs5DiZ34HN
oX90jUUItYmxtpqPNkt99vgrqAO1E+yb9FMTfbqFohdj8kWpnE2ThmfOnj3gOMNTYVuvzszaxnV1
cRWh63wyo8m+dCjaczzEgT7aZXGEELnKjwq+H+zhTvaU1AzDDqEDf7FTOHe2pI0hjUk6cngMBmyZ
qzNYN+ucs3hsjtbAeNDTYXArcWXfQtfPdjH+N3K5YhhoYe98lKoXnxa4NutY5kL+jtpDcsOtVf0p
/N7c56ixCHQeienaOsz7V784xT4JHBUnx5g/EBRb3nkmWlNSI0b9cB8wdADfSYaAdrnBLpSjjfdW
HTuk0nxsT7mMMArkrLqqMPVQ+k3/pRPCKNySFykwljdUxyiq5CeDF/6yMX6uBjancVFdMAnEmzYy
/YeERo9HZZoZrS9F2r/pYn5Nk7VGkLxpR4OWGyGw5+9mmEL7YIjKM8az9EmxcviSCWmlyNtDxtrr
rsGZMo5PPE6UXEDXjywZmGpEoiJfR7QPXQT5U86FejXwKbZFod1uizDBXnWK2euq9XvH8jBXl4Sh
B9VUmjUEAoF4vS5g1PcEofS/GLBjzTIrrTng4hwlmB+6M72bY7n7dpimP42S7C5Hfos/vsl5svIq
2VqtDeifhNP5u9WFuauYzrhHSqAIPDebcLxoPOAIbvPKYqKLrgQu9x/oE9MH8xNxjMrYVwRd9e7z
GDVddi5s1tmHfvE8jDwY4fTGxqb1z7E9rqIJMeluzMTwl8fXro8VG/s3R+am/hZa149Lt7RPIcyH
J4PshN5OxTbO/sgUK6YfhM0ZNZtHqlQsgPVKWJxm10Njx8oTOF1QvdA4emTUQorGBOUVkrxlt14p
egkRknoyU/w90ueFCKV63Buolqzbgux2/qtyXoElDCHNMm1CJjIuGWDDRcv6Lp8jbl6+QCmr59CM
GgjH0haX3AkzmHlN/js7mc2tirbaPwCk8csnPACO2RtwYh+k0VFraQxwhyyo6xPdIRppOdbho21A
70WDJ2lsyyW6ZWnhA5TTiP1ugtFvzrEBz4ZqYnT1uEf2UO+TwbbiKwoYJ9gOpLHuc+mLvSHeFbvB
DL+wyIn8O9C4ZozqkMi4cQtl0w+IUPO4DlHhN/F1yepaHAc9ef+xN20uhTvkdIAEe9goqB1z5S1c
kceEEByglvR/cuSaj0xxyPKpYs9DL5y4aDMhOrCAjDAW6Z3uNBMgAauAsQ42/+1IpPF88KNw+UJz
4+tN6C3Bm+7Lud6lgnzfRzNgHiWkrkONS9zu4IML9LtcrmQ4h04v22F1VaQVznhQ713AePUriyxr
Rp2zun+/BU1s85l5qAuQGLQsU/BV0Pfzx1sH26k/WRUlFwlO/dbpmUoplLxpP5/pFfgxMUfJGzQT
5lFbdh02Px37UFxemVcEcKRArW7x+9TJs0vGb0p6fAj6WVHaMoDOTxwNVmozIXVT9yVGU4FlGH1k
9gZHUSbvSTXq+Mtgkh8u2iDnx7/SWBqhtoZG1xhuI3IKnSPqgMGcMt5VWbHjybQFnKNJRH7vJIkr
gFPDdYLmFpEBUZyLNA8nEq2WRQxkLKluqojMGvKSEo5/JFGdBzZ2dsqNNMEGRhui839sI0Xwnynh
oBhAC7n0WvQcZWDUS1YmKkFfQX9c+ODwYL90B0bLYMC5eJYXZCHx6l8hCfMllsLqT4qQeoyWDdfJ
hibMxnLXinhXBYpUpBSdA8npHXOxbEoZICOS7r+KdFr3UqWj7+lwE5DqkC+owHCYeJuh81VxGiuz
DAcde9UXYRqiOlsFSQU2fqBx50hRyBPdNNmJwWwW+QDnTobHWYVudJ7grCVIOmtqToAyzkW7Iz0K
lB4WTz7d6w00D+THjeW1w3BXDQkTHLT5TQ1jK8qnF3xNKIdrHdBCO9zs40MxTKF/qro6NofIyheF
wa7RX44zwufdUDBN3pXuxZx63JHI8csu7G7dSuto7DWqEc2rTeO8KoEJXkxIDwYt3/ZbfB7pcLBh
eX03+Yg4xANvzV1T+c5TmPnzyswiM5u9I8kpRITzr89d6wbZwXZMWV35KwNFpKhCkMtxEBBpag3v
nTWHzwigtHklo6h/DELt8UsRQwOoxHXVse4rF6hdzETGdhQNv4+8jIK2FIazPWveKBbq8c8I8+cP
AXW4oRyW4xF2Mgz890gUuo+2zFrQtgzbn2trHP7FHv6QE55XJK0lktIH5oiufPSUQ+HjRtOexy77
wV0R9meL6eomaFP5KDkOyqM2ZVYcaqLvfoOAnJxdjgeRmAtGl+mpgOuWYQPN+TnhD1d3AMMCoqos
J/d2S9E68z/m8eNLl6pmPMZzF/1CjBN4qklQZMzoDtTQAXANscvSoDk3nmz+9sBFmCsJi2y6fjHi
TrBl+8ZPOr3ME8HfvLakP6EWIuEsIk47PPd+Yj8YuhbvUNu6uMsG2L9UZy1HPd+89A6eKtgQdwwM
sGxg+2eBoWR8X0Jis3YptgxaRU4g+86US/OOQydg6E+jhKradnIcLVNo07c5gUuTREJb90ASggyJ
cGoRjpSBo34SQjiuvh8kl9HHSs6FbQq4N3aDnTDo2VvuwtoKXpcUWwf/D1wgRIWmDXil0Q6v5Cng
lQosyIGrQyfTjPDKoNqhbvOL9wouujlV41j9WuWEOG1kNsszm0829iEARb+exKOKj95OwlcY5sWN
b7RmJ9CV/YXYj/DT9unhTgwBHTRIvUZ8nNfReOjq1rcOET1wc1xchuw7nCl0n67wvOnQIYHT+FwF
Br8ez/dXvpikvSt96MAXRLBZ+rfrskrurcEM6d4ySpXnBDhjDimWEDasFpN9A3QOeztg17fmeVKo
jZgAn8NuVAxE7MQutmVJSbgxfJigQlsw49xyZniW6LfuBMTN/GhzK/4QoUjPzP42eKEqAWiqy/Un
HkbBvKK2auJwfFniijdjzPYiElQOLoHbaIsrm3NbL60THvG5QG7mpMRd3HPyPuMkqD7txifzlqcX
Q0GqYSTtSAoj8p0rkXgIxUF01qSVp6/dzOh5P4LPGreMD9ynHHBYs1P8Dq+phs61m1wv3YKOte+t
IRd4U9KluDZDTenVM3Stvjrf6ro3xqn11RoWk+LfMm1+oe3z9gqnxnBkssazxzqsnkCAwon0kONf
mciJi51yathZon/sKiox0pQLs08bDx3boBn+5frMpfVZsS9EPUO8mY2EEnev3NXG6d4AhgXzXyep
CATZVDYjvB/pamQKlJ5ucKIg1MGm74SNZhoWc/YyFDWfRjHbhvQjL5hiaDwxk6RpauJ+Pxsc/Rsb
6qnZllal56MwViKPOo8i9zhYjMMcxbOzaY0afiOb/fYhKFtztRHltD8t8+QCQUPaDWem41Z6bQkU
DY6ulkFABVUCkTEMF17KySW5vuooubGWSqh8Aa4hgk3YusE6YSZr81EHOjXixFpgyL/Z8I7q3gvw
m58cx2v8F8mwWWxEN7bLqWx6MsbcxtT+aRadjM7cFoaBeL5CTYeUfhgWjcO+1BUg1beibcPXGlsk
eVNAodKfQY91e0m5/f8R1MKehi+7u1kd6s1dDyVkefDSWvxDmTw9jqkBKt3mkF0wPtjiaVbQDHaT
gRpz6Ron/IeOgS1d4Ik83IbIHqMLaSNL+K2gh+7GCAnUAMWQ6qEq84ew87TYa25ii74IM5yNrHc7
l1l4WaKYLGRKKyZwssuA+sF831XES3IYEJFsH6Rg33lzAa6dS5A4lA+m/jOFiKI3uhvQkGgfnvPe
TmtGA4M3AkisSzU8dnBDqCgrTUmcq9x/5XdKbpMvwMJxZ8cCzFxCmJOMomZ8zpEKnuXCln+FqIkH
7O/ZtVH2p1CsencD/MbHxUxwV8jCUxsfiMteNWLBjm+5lwjIYMpBHaB0r6PE/sCPOsjneRQ+gCrm
4FuHc5c1iOU8htCFBM7nKmAQ1lhPNhr0q2SeWmwrBn2H1pIEEq65D12NaGtfMiY/I5fIII1MVXxE
NsZe341l9blUGn9r5RIZdTR6soprN7sIlbQNMWxQMZ+FTpLF3kNLUy17rmQpC5SxC3akRjr/FQpP
VFZN3EhNU6/VVPS1smIe+BnUA4g2dqkum9YWqVNZOJvcNLDM6mr+DtyqA7y74FQRmFMunuO+poy6
90kVrdQqbV9QTkFtaKr4E37MX1hHHhhWbZ7QG/L+y3HhJWBu6z9ONFEvYIMnDjwmqgdEj+n7YA3e
sYh4DAszZ+RcVLkNQz+jDfBbt7yHYoDWaY6H/1p/KC51KwLWrgVSzX2cF9U1dpLi1JcyeG+ikjuQ
RTa+ow5S8MYoHOOoBaNMbrgTwn3uI0sGPJTEGzXEDtA0DETHbCSRGiU4vrlh6YgBL0wT3uc2HmeQ
GojXNGYZNilQSlxv2fuJx00KzOAhL7LgMUP4do1sooaYTkMvChmZorVs1e9ItTHuqNvmV724YJCo
xGPvp2G86lLy8ottJ9dhNNVwWTAoa48lj4A4oFxPGj49xd0x9woCT90WU7cfnDGfzqxzRbLTZTUA
nqWywAfDu3HjtSZukdFy0R50mI1iF3qqLX6KWbNH8K2JI1cC3gIoUBFR+JqjjEJv02rYZGijgwx4
B4FvIAhQj52B9PoMqSfReOpg27x+O5qPav7sRZvVW3vpo+5xstLBXJm1YOwIcOx5PPsxyoZNmmBJ
PabWyrnkJIBa1TJIcbelY1AEMPSJkVEKLz56rS5Xhi0pP1wvqf8AnWJdow3Zf3GKowx2QDuvAUCc
IKQgIpoH++EkpJEcWJ8TdIteogJUFpODRs89ciS7tdCk5TE0I82ur9DI6DkI+eVtus91joxcaZtn
lZq5jSp7ZHwF8QyFOYLpXe2k4Q2aFps0/nr5oeqG42yO4vbbTVjzbeEexdwgeHjblx6fLV/vRDTn
fkK7i98LOzK2VPyyoEOisB8PyC29GzSymNUcyo0UnZ9s82NWUPLsObNZUcohi//H0Xk1R4tkQfQX
EUFhCnhtb9RSq+X1Qkj6JLwroDC/fg7ztrERs6vpbqhbeTNP+hBzQ5z1HucRjzl9zFA9Yz3AYoxB
B22c0nKmA9mgQa9VOXb2noyqFextEEfHKgDwgrEj1hrppGnSO9IRTbPvMnYsW9HWtFEEsq3BpPhG
++D0Sz+GT/v8a2HUOPk6YiO3xslgy4IUxBacaj+ZeJPUprmnRgYlkV8SnbMJjcT2WdGtaBHlKlX8
A6oDDHPpT+GnCcYMu0nXJM0mDfKc7ZMdqmeTUsKfeWoBaNPrxHmPYbfigu85YvnbtO+9zlFH9oep
MydRp6DgnpqpTWgRpIDP3lXTTF8QVxGHG5PF5MbjSh/dDtBkN29wxHJFxJ7MGEi7r543cLst+Hx2
OoyHGrDFn8UX+1ki+/qXckqN8cxLk3g0rXAOgTsuWI883uRZvVH57KwC6l6YCILEoKhGLnwAnAuP
AV5n6HMhex1+T2Z2HBpwWGvdTsGHEVqGtfbSJTOEk7V0YZtOymLV0NYf2EsBtTEhmLueKwVFOBZu
BKqtVdDtHDxOGD5tf6pwYPStj97EfWbbVQ68JisHFbXq/RyGhm6sODu3iCMuwnflJgc2boZ5dC2J
g0+HdQHUUGvf3451x08IHons16y4Kpu9TdHe3BSL/JIeHUxgebz8eKfYmIrLtOR6K5jx/Q3rLN44
uRCU6ETkHCX8afpwt3wOVQaZJqydI+YVO3pyfKx1D6zaWwo23ModP1xhV80O2KfV77Pct4I15hHp
spfFjkX5lt9+xRwk7QZUgLdIrhTtrWN8x09jklMMSYavc/eRNAZ3yxCu7JcEPL/5LLhyGRCivSQg
vMDvc4MRJc/uemyA4JAYhE+ZNNTPaHcLyrwYyz2DYPTUewRGtnUlyJVDphn9O1OKxC9gUuscToOr
y2krxwrerIcfkOV8t7hUmUjlH8xhlnlMDq5/mgor/BvdPqWTKreTnykW9V1BeTVSCpQXvvfZyUP6
Q7FTYgkK8AIptqosWeCMfWDDq1pkXAvmEVFX7GpxZBiQMrzkC81Aa5TaGp9S2MhTEWHNIlBRT0/8
d95jgPG23s42TrpdjBBtrQnVt98sYkdjw6jSuJveiNv+Adk2i9mkdyUQVjG43CZbXEkXK/IL990I
CfEcpyxF4HGUpuAdGmSfrccw7e/0QMJ/M2E7KbdITHWzjkj63fBEcPtNFYQ+I3ad13xyp7PCo9+C
ka29K6Rmqmno3mi648RsyotWsWwBpYWtEOpkHx9oK2j/zL5Kv402YRYeWmyUR4uAsTi4nNbPE+jK
PzBFYXMtLYKyq9oq5vueIeZBtal7X0Y164iQlykwm6EyHqOproy7om3yr5hm+F+niygAa2rMsQgD
NbUM9H86G/j9EkuebimUDJQBVU2b9vdiHuRxNZL0XrJQ/AfXSPzgUS+vfjRhTksJ++1xO0GtNSPb
I1HGK75bK7pGyP4lC1gr8GTPGs3OmNccIRhmSYHabxS3dOma0dl5zBsA59uslDjWasNhtalqEF9P
sDOteqMwG37XJvdyiijM+lVQOuatKcdI2p3yW5Y5qUIFWjxnwY0cNm1drkgjouLkVaGQJHjrCAtr
09t4UxyzViWN0NVF8BU2iUJDgas02xMjXcNf2LCq2SW1lPfSaJ0XGJm3rJqeATFe8yQdr8Y4Ud6g
RnGHtwzWj4qjB/Ky073iJ5WAth6zY44R9ygtjeUCt3J8bHUrd5wy2QEzdvNEw890Y5s/b7nhUVM5
esYnBkbzTEkv72erl9u6pbMrBTy1E347vUWyex5KZ8C3kKZrO7a980h06CLLFt9z5hun0h/Njdm6
HzM/lG3odk8NwJpNCXgPbwLNdjh5SpazKI/sYxtCNIEX63eCCm8s7P2fnKjTo9FBKmC+Tw4xTkp6
n/Pgs5agkiKhWZzViLersMpz3qp9u5sCR366QJXejLhc6FW9VVxL4ZkXe4jDNXauz9CnnAZcpFdj
Wa0hQCCFNHfEnZ5nTvxVRzoAupahNoQ1UloNx+SnMqHLTVNvnDLqUh6LFEKDmavpinmQdgxl0Cjk
++qMD7s4Z1mfftd1BPwjLdKDohPwwdD9/CZ5KDdcYz0SQu78yZV9OnJ+Em2IwY6+jQnJRXR999er
ze4MU2mBXarwJ2WS30T+rM5B4zd3FmkkAvNtecDE1b/2WMRY7LbNQ9B43K4VtEjD9LpnRVUcGA0S
J6B1Jv69yu809oJ1pwrrxcQ0ufZdaR1hcNsHR3f2a5hG8rcn47ZXFu1AWBDE1RJt9uK6afNuuz73
e6sifWyxxK6VkT/RE9bs58Yk0EBKemuARJF1k+5FUf9SvlJuwUgg4uVIEmet4YKHFc5oV9sOai8W
rn0IN4H4i9NSz0O90X7KMccyquANs7GhbXSWiUve6OQVJlCOWZrBEU9Jv+uF7A6uLIcLSFeYvr1E
AKCLCCExQF0k3cfuAtnkCP1gwviSDj4rntFfMS4HV04WWcC1nrz7wfGfepIllyyeG8lbuR2Olmnk
X/hxb+RH6g+7J4cTxD022Wo80s8UvlZZsDMQ0T5crkPnqS2sfYUhgoApai35ufbAD+hKWvg9aTmc
RW70f8QAyaxyZ8ydsb3yjvvwyjl5y1xn2ACnRYqyYECVVCxCaW5R19G4XscEcn1ckv5h+nf3ltPw
XoAwSFrVbj17HdKedMvBSGlAGsVWVEF+AB3cXOkeIwlaDN5xJhu0y0V3JGxn4hqpg3RD6zeXtq51
XyY8IR98FQONC8ZTTTTvw8i4MmCeKO8ohqOlxsFTA8SvJ0xUUvV8qK3YObig2Kj3hlTIkrlEtomG
+acQ8YT1v9O7WTTEqIb+TRgmrnHaZCXb2AgyQjj06JRcBDjehmR6klSDU4FrRG9SNeF6orLvOdMx
haCz23jfUFCGh8xmC7kq1UxEgUwcijw+Ues7alt3I+E5iZVbdym0/8iuP+e6eIxrF6xAK+8aYKNY
bQoaMvjfyMiMNeaagtbuLY1L/cR3Ilec195ekHpHYHb1P9Mxg3dvwAgZj9Dum8YtnO0cYeaPoIjB
/cU0synnSDzbU0OIw7UIeVoltacUYd9EWuHCTmHIzRg5vfSFO0i9961i3ORzDhsPo3l9lBHA8rzG
reBUKLASF0MDHPMhd03WoW01f5gjPSBjiCGfZaF1Zj3bbZ2BVkJhYbjwoK0fmzB4H1yg/h23p1sS
+ckfoif+iTrh/m9mVbrzEultSBiQ9WAmDNFc6+7b8hCtmXjpt0GZp8Gn8UD9VTZWo5ZBlXCAIChK
vxAmiHqG39s0Jz/Gd5PJgLsfyvdahUFziIbi/wspmQzuRG9Jb+p3Yn7M7iysqhNv4/gzj6R1Vkr/
mhp3Any0z8QR9rmxqMYeKAbYhUDn1qKzNISPMrpnhUUU1GZnvsGtRa4/N6ed2XXlPVkV8BOZYpHS
xuRFq1SWDVFpVnPg9ZqvLk2dS+rr8EG4Y4pF0IjXZu++goKNXhFgWEHjeHswjDz5GJAWHkehSBIW
MOIbWJQXagceaC2wr7n2xF5NY3K1DaHfrBwzbpeJbsGSLqhXo/bPjZ+qfRAA7WUQtMl7gZS4J1hC
8lf2eo3GUz1XjokbNhuabRWE1hquk96ht8lrwjPBtBxTg4hlm/Tc7LV/WQgEDJvPYN/YzoQEybU4
NAiDGyvvwtuc+6AaItrx8CmGF+1RL8x1mnYkjF72FxkwYjXj2DImOj1vK9KZZygrUG9waYyvoNSq
aCMDbpwr12TV1kW2czdNSX0hvcguX0TWZkZ0vzeiWtxBmWzP4+g3J7IUzZunuEBK4TVblODpU0Xx
I5BInLSRfwWP+2k6bo0PFbFuVVhEdGRcWrcQ7MWuc6f2bFs1pw/H4E7K3j6KKb8t4eAtRVYQ6jPL
YHfSDfsp4AMZvLxv1vUQcTPz3TZYaRxgDwlxypPG3/DkuZ146TolocabIA63IWnPblVKLsBnmbry
4LeleWR0F4dxUg09GVzvj9yZTMaOyvqQsx0eM5L+p2bm6hOwZtioUOptj6FDYFNW6nGqiu5QJuP4
RmK/PPhdCdSND9aDMMhC9Gls6vkSKFbq5mjEZxVU9nNq+fy1fpsGyEp8wQtQo38wVGasMyN+HhNY
h9QGAAaV8JKc9WBSEKE1jNmRwBa2Vz9iqe8gRYJmdeKvpg2rjRjC8F2b3T34MPfRShaOWeGF4dlu
ZfyQV33xQmoNG2wOzDTo6Z9lZdtXn2WKSMO20fzJLMpVyq7qN8prcojQFT0XRh/eqPRgowj1+Jva
becLost+4OJKigfexp0QxbQv4ZRwUcQiXaI99vamnahxO6Ute6oFub9JwsSON+yPqG7EqomB0agm
bNih5SRsoYt5a+ZdtA9HhFB+Oem6TIU94bvkVAkb5gJ7ltVPHOtu746d99qNOvnBHoy/AqTXxiVI
/jeVAhsA7wy16qgL3iee/dYNhFtXweQOw4a0eX5DJsnghbum8WSRRPnoS61xSLhGuJOVG94ng4zx
eXNN2FJu/Bp3TUdlhnSu+Jsgj/EGz5j4xpKWAIcsRkrFBrEcNjTvIUUKz1xJ8cLZXbTBnejvVOEa
+6gQ4i9IBzAfC3CdJoCY2Tx0nx3q3QkBWc0T9mUFXTCcAFrQyJ0UY0cbMB09rA3znsl1UDfCMvMj
MDWD2/3koezluT4mkIeY6CaPLofa39AsGOLgjPov1y7MXWXX5a1KZJBwgpjxJhKCxW/kU3dQhRXj
gUpiqMyBPFJzHdw3aae+Oo6iuyH3vBciWP1mijqWAly8XRqebH4IjZqzYIWYXK1D1OuvrKY9nlXU
eCcQkw8J+ZJbGtORuLFts/xIWav+kKqMdxRgsmbLzO7a1mAYrCxOfmrLxgVl9Et5Vuicseul93Mw
Ulo5Gc5rifd1U3VFv4sC4S32v9p/w9ChXlhNhkfbLsLXqenvq2ruTl0KxL+k9OY74uK8JenBa2Nq
rVUMNGMBpQhQOz4t0CIzuhPWyPbXa3W/458Lnw3f5DrcuNTO9bD1TzCW3Z3FXZ90lzfdyVCMxzLi
3B4K1jZIkFZ3nzAX1ZTHLjQuXfwbprK/LyH4XVyX9BhmT6jq5kjEMC/SHzb+vN2T2Fg4urr56kdK
ZBH0TiOwrBXI5+gXJSt74BpQf0yjppmm0aJ8mbX1SpgO9aKle3BddwzbQe31DwG042xJhpeIQ477
pg18doTyvYGqBVee1Iy2qUPO2bIvoptV6+Y+bToNoH5sihX9a8MjCEW94xE1KV4w/BPKetDtPZQm
zAz/59kaa25vox/pUwdypD3Rktgf6JcpLgoO6EoOXLNWgHE7KGR5afDeTaKPzO0pRCaIJld5NOa7
ZIi4YSIJv7qtKgnQpuxpobTeMtCdeyrHfMhQJv2jhEJGzKdwjzRxCzIjKwv03P/dEyQ5bE0PLtZW
8mRMDlzK8Q8VcRgecBkG442+k17eYSHKNrRKhE9QNgSTPsSkCgz/0kum1jlQ6Z2StqIWwl8KWfyU
Pmhhtf+AcCYP9GS5yaeefH5uI/cEnv+X1kr4k5TdvbMOyTY5H1a+dmZfblOXYzFCZn7zAZtSEDpG
1WowJKNuh60bWWlwajQFYR9GWdb7MRDtd8yh/v/uxP/EI+hQoA48kldIv50JuRTH2WhUglobsLRi
P0P9I/NNnW0V+8bHkKTRT6hgoWZNKGHiFc5f5PYKQQZJ/I63TmCsXJ4cEittc/TI2MudGr1PsKWQ
5qvJpmwIpMzBpl6PX1TM2MaugXBcPZnGDFoV0qQEhvwLPKUWl7QmPLEGAKTOM105T0MHFoK8WXwO
krH5jZVqb2FQZkRyG/WR8FY6kabVm4ii1ifqP9JjQKj3jhVqtzck81BSuBgxJ8cot77VJYfcVKrY
Bk6tbsKQ86tRRPI8ZYbrY8zDOYi5ocCdh5Qi+UpacwcnPt50o5ucbKvAXzaO3Q1XqHkMUKLfsya1
toTpMpTtsnXv89ToMHYymclrbRvNe8KikpcWEkodOhNxkrlODiPWy482iqZvaeXztfG77GGqZ5d3
Ar0WfmOKB9FKeqJ1Ub451KluutD5B9+qpZcCpGlbtMaXMVB+M9o6OXiwxBbTfvnRjhb6/dJRERax
RLpy4+8M4webgNI6SwodV4O2E7L4JM7gdUQeSDPwFdcwxjG1Ahspj5GWNjifMn1cAFwrHVMrJQd+
2amowWsQs2qZNa3cv5Kf7p6JK6tLyR2PPs9sVw/YeHv7ABbG3s94HRCNnOlCA6X+mtvUgB0xo/an
gSZygd+0LFtGKUTGiKD56JdHk8OMvH8Qxvalr7FEmYj/2Dhz+aq5NQUrcGpvhCJIUxukTT7CsNb3
5JWHxzmOumPJ0VaShqU0xJGkym1YGjh8wTqwdBn8Lf0M864vZL5PgnB4AaLSnSm9Lm5i6R8BxeFg
eWW5yyYRkBSaWiuCm+Hi7oDbjDUxJSVwcwvSylTMcPMmbq3TbkflqfvJIDWMu7Lv6ArEjyzOEr+3
2FkG63b4BozSikXevq+hJHNmO+9ItSkB6EQPIEH9idIJx/LvpmH0AGmMiYv63ib9DwANYWENkzGf
O168raoSXDzBKCnAWDIkOweX1Fu50O4fEZyF3IKHs074zdgBIUMXLrV/rmsG24QR6ZldI8pTV3hs
/5KUsrZvQovDIwp4JHZxNTT1esB9Mp7tuMXTS2VdlF5x3lg0KHG/+bGlMO11kbNIueD5byvAw3H6
gRKJ54ky0nheEffB0Cyy0S3WRc2HgeAm86tOFJGLKS1sQmvZAA8RYRwLPs8xvmQqhvApB1wOu3k0
Ljpf8DK4ZDGYKU42epi87CkLnA41SyQFu5lMpzGdPDE+hiJQ0eOAG+kGQwmDRJwZRKHhs2whBzL0
e7ZdHmqsHUwoeem3+POEYr0XgEk6FoZY+JleMP8SXCA35M/dcFJ6FvMJlmX9DIgZIJxiWQ08oVom
sdQToX8F8srmlxQVp6UTwxoCUpYZfNvuQH4y4HaF9lWSZTxbBF15GJKuoMLIj7r8oIGCgb8fgYKR
AK3BvkFoN/eDbAmopGX2PmBSZSwkNCcXTzKdcLqqg/OcKL6VxLRmIH1wf9eQ+CykM7b3OGi5AntF
wM5TOzGkj8aAbbEdJ9/8zVqDKhSyUuY5AQnAXbOqgVPyL0nSpk0mAR+vcN3TMPSed09Sp+a5rwVF
yqbhGedJ6CLcWlKUxUaBRqnPhQi8A5VsZnMcshwKnjcm4muhmzL9alX92e7g7QpJFcYqZb/wzOq1
namigZqwa6hQG86JMJ0/U/dcXfLYry9AIJwHOlq8t4iXOVdYdNDnNuSStBVYj6n1BVa2d4sKmE3A
6Qq50/gAdmoe4dNqhFarqPwdpkvhb72CheoG2QtHBj1H+6HJhycLvfXH6LIXaoLBt0QBWipZdhIN
DuQUPX2BFj5husWTHWbWhK22GZ8grfhnrjQMHhFX8zfM8xQ4UI+KqgZmPsz0NgDGucot+42bIwKD
Low9k3bwmqjxb7LTZEd3Cpc92aOtO0VwaLDZM0oQc0D97uJHfBdUr+JAiH/tHl8HDwPgavk98bp+
A+p0comRrkaqtit7uNLosC5dEuLA4a6EJG/+ElcMGCLJ3b7J1sW7OA6KTnO4uNsCn9VG9JLYHsxD
6hYja4eDipCrrNOD1bY5lhC/31uUIoKllM09mRbvWndI8OuQVi7QBdOwI2fyjsFxuKBbm+c0qr2j
6fri3em68AQnj4Yr3wiqj7lugkumF69U6DznPcb23gySfxMX+71JxppcLaiRCoNNHrCQdvTKyvw7
f7TGi4A4uM4rU0IOJcGGpyF+bliYuSunwx8KA/GGvCxeEQT9C3pd9ROFQl/9ahlSwgvYIQCWODj8
s5eL+oEJwFfLKDUfusWpnzGVjpbwH2Por2Ci4CYUwsO6ouqCWP3sQKvIgV0BiX4rfPUXsFffAbYJ
PycwSr8hXdzcjLVzdYEa7rKwHle2bxzYhiF7Fz4Htkk4566XgsiZbDl4krJ6iQz3sWfEPArYKjtF
T+Q9UIeMdSqvKPZchygjVdIGobErrbhepQjWajMClb+U2i3OXGbR4PwbO8IEb0Ujz1CCQ8KwsRkz
Fw5PYs4nZ+Ur+MX5QJFpyRtni6LMzgGn3h6DCddFdlfoHT2OxMn9UKQiVl1vv/rslrasdYoV8fUH
rw7Ce2O0LimhuVVP5noHKImPqs27zTR7ejeNQb1BCS63swFHtHfb+huEX7fDztrtWsd5iyfikJSy
r5njAUuCL2aCZbEQmJ5/h7dUnlyN/VgJKrRUiN9OK1LPlg6e8whmHDXCEGHk90z8EaijLu2zh5H6
WMaxfGMlfnZnjOJCJQkNyS6aai8+pkn/s5rs0sJAaBtt2UioZnO2wyLd25484lZ1NtJ3KzSdMD5g
Tc63kYpRESt32lWdsq5I/v7ZTaYzUD205nB4BqjjMAvNWx070xmf5Wcseo/YjQKOjVt5h+fpCwgk
C7aIPklsnOAiKPla7IURwdDZioZrb6Kl5FS+85YwT7Rx4OoZa2+jRkeQsbMnp1l5cdl8CDzHu6Gp
oAM3A67hMzWdnlxrj7OBJwMoqxCr0cfCy4LH3cNEsh6bxdvA+Mo4O+XOttWAJ4aFk8frCRe1quR9
g/cTP7qINyZ9uMhq1YqjlZOZFDRueKs7EBbDmjYIvYp1/lvY/Hw6fzZuiinw5JuqPQBzGdbKT6q7
0O5eAnaPT5GykZpSLI6a3tE2tPe1Z4/fwnS5Tjj+nYcCxh0MZBCIC7WDuQZUi7DeAepRdt9CjdnX
nfGtgRevqNXqMAmTtfClbGnK4FV08BLlfVMviEsky4eKKnpir6Zm/5QHQt9jILsQWKZn3DXZ4vhT
WW1tZwqPuWdw22VyTk5x2SNvAAjYD54pWGEQYigoAYAcmTb019JU4JCzpTo7FdQdGvKDVHfXYUzL
XXganui5jGPHXMH26giQiuS+gTi0AyzVbJqgTl5iYXwDa++Hk58YoDNJR/9hNzbBycCt3uP5r/BN
J5R8G+Xo7mZFeS3C6TAemas5Byu7P0OzMQ6p19dXuljSDy70+KOSxuGzRG9L6qm6UgXh3Vm23gXT
j1MlDhqRIh+7AMYAUcxkDytiilJa8qgDdIvU7LOrn9vuKvAt48Zxg3Fl+Gow3qT7EYHww7E7+U/3
Pt4ZEU3TWqdRax1Z/3KtTz761gkfJKfSGV1xh5nAv5ByuHNtj67VtHSifsPO4K3UGPE5YcFTdVwT
Ejp/ijHHhl31REj57bMk+5e0Ho7yoMk2/IfgZMZzPZ3FXEZviUFvtR9a3hqBzqcXSH5N9vTbDFo/
NjE15g4wEiSD/Nv0Q3wf8Xzn02Dw0NR4vcyouGuKRrEVtTLMy5m5LajrWc84P/KV6/r1bhp6/4W1
MGmOvOdK2dNgsk8txanUeMGdvyzZ+wT1kXYloBxRZIpzPSoOwNotntmv0DnLYz06ZgW3I85euF7x
QmLjRpSN179TIQekLjsmsKOy8B7Y4T9Ey9gIHi6/ZHPfnOyys3aY8qsnqrlDiq6pZdpYJuXtMiJg
WTCufeKnoq28716UgSmuKH1Jt18FL6n2mKVMtsxNsNBG2D7fRqFPZj+++U20CzosViXhmnm0R7jr
Zc0W2ir+RfZU13R7GBBXPEZCVOxLl6TeazZT3DJO6YPpSo6sRrmncgh3ucq+WyMHcQPlPwAlKCe+
TFJmBJuif60x92cSPXCXBt7XcF30vRMENjJ9ovZT3C1/Qxs9SCteDj9pu3eGH7X7SCTtM0fptDWH
ChCIU3T5uyel/DFHkf7gL4OoEifVlo666i/0wmuSEIbZ9n333trzg5Yp4sLIFmvdUQwQz7K9Save
9x3cEk99R3iR16yqUgJTo3kY3FLfsRxbCqQXoEvGumaI9dbFyrjmCPlmgjuBJB2P1cyLxiGWfbTU
RGZk7KJk1SpK2HpdF1sk2HLv9qZPjqxf9h31C1ugJ6mykERI1J4zs8xe2pk9TO9pCjxRSTWbwyp7
qWzeq54REXWF/Hvo/WAPjv0XrXsGZd1uc5hj5yTDX5kA9z7ymDiXyoj340T6a7DLMN20iOAbVVoQ
rZN+MFgDs9dw6xeFF2fF3hysimDoHc0CSKdLb0/mLF3q+ezek7AbTK7NUKHD9iOo9QEMR8F2pahA
zQTXLCWO5YU4MAjz0MvlTcmR5rz0zPgV7UdME3e6fMfKgw27fzaoKpPQRWpSR1gUUNFn2Cb7yKt8
Bu+y1TS1QRg1IO7t+wG7YTlkB7NtxK7xnOJRkxfcVsmiFaYFDVBtzjBcyIfISQ+CAB/R0rH9wr/f
7G3HmHa0/TF8Wx6svr6vL3qObz50GkYSiM4FPOd6kcEt4VbfZJSTnzZrn3iABK2d+fhcOhje2bK6
P1zTaWiwiVXfsjpXF4ssIi2jSMeW338q1yXsstIiucWDhYtaBtGibjJEZQA3oWsj1Mikvgs6/YCH
8LEWmJ4nWgtXMEu+A11WZzA01babYqZFvbSOZyyOz8qom2Mnk2AzRiQQvZK5LYm+p0JxODqjs8Oo
8RyL8qGuFUcp0ugIhCPyDgPj0K1nm0lOaMSFzB4qHxJ/32rPeCLuuIi37KktDLrLsy9e7QVPlwaM
OVg084Phxo8z6x2cOFm1ifBOPxphd80zKLsMFeYWrcbc1n6T/jPxEfCa4cHt3CDbjwhYW94gCmIT
FqUtNZcuDfRG/5j0vabmh9TGCtNvGuEkWkr7Epm81y6ZFSq8llLv5hxNrDLBAOw0f2ddO96OQAk3
vQgMLxdg4NsblTjlQaUxBKcQxoz0/8I2vnPwUkM+ZT+T+V9cB+Rxhj6ytwbbvXi82vdGSgJ45HdR
hhyOEEzEFs8uV1rE0m7Y1aE/PPtuVG0S10+f6T44NWxzLrbX2L/kaljV9Wn4bhPVXVB7MODq3t+y
U3uNfLMnZculyCd7M424daoZRT0YpoH1F27gjbkMHRsjZGolmE+VdhREJxDE94HhDKjssGAym6qE
00wu+pLDzz95M+hEfrm19xkUXntThn1fQzNgxYU0f8Txjz8xDrrkHPsQ+S0GjhWe9vRhztib9D2t
AilPx0uoimQ91qJ9n1nRIX9QwA2VJjklfRTJY+HiUq3QQ5jl0cTARwPqg93DddPKY3tPsirf8KxV
e0AHikQLXD+HqjnwzB5mZeZOGpOAkPKhjKPxAMOOT8bNjXemUGD4RMfW2CTvF2okm1irONV4IkmX
TByNZ8sbiydnjLoX3bjNfZVF5q6N5+FZ0AaAfodcdGolOoVbTOdcU6hTWQWzIf3Af0CsA8bJYclU
eRQ7bbAFAsAqoqTPd/Qs1fdN3dq7vhVfWVCeXL8bfjR3uDMBQMG7l/DLyLbLbv9iPuh8nxWOxFfY
NHABknQOuz3tDgPb1TC8Yt/uz5GOZHrLEWuc3eCiBh2laHnt11yZCXiiQqzium0Fq5nKe21IT2wd
6qKvXoIgbcwdTm8Mj6XDGZC1j57n/4g+idGqlL3P4WltRznhSc6swIXLLMetw9VrNzNI7Cuf56bo
PQhKIyGiiO4f/OvNsq8zR2A4pG4xrDvZ/E93SfM1Fd6/qWzlPtcq27L/jjN8hAXPMmrbYQYd85i6
hfHp11VIhdSSX8c+TMTUt+jjhXbccDHN+xVw2X+we8lXWpw2C11tndHAuefi1K2bjjIZ/nhoGPFy
r+cuX53aKqrJ1hMsdyI62rBQd9Z6DtKjWyaY5RqlscROzR2vTFgEuMWxYpv99Nb2VgVgiBQVL0tq
LvPn3mZVefKGIcW2oUp+ptCtMCt2MTtBBAb6YRI+kR2GHentIQe0x7zEIrSWGMj2ONcUa82kUK+0
whDthSnjuKcC8kE13HvYs9j5Gr2Ol3kM44Qm8lolGPHM/m7Gvgx4RXrudi7CD6bt+eaQozZXhNSt
AxKVPvbgFZ4JLXvARTAFvjaehtOPFbG4mXoY9lkcYLns+MdNs43+4E/224AqzBOR+E+SG+VhxsC+
mOlohC2WXnZjgia6g6DSlFvbq5wb03t3zkbIY5ivEPACLaKHUCq5TQJ+l1jdMWjUA1qtlb7TE9Oe
Ys0CnwuuAlvqsQ4jZN+fTHijLNPRIVn8s15gUx5jQ6SOj7YMVtjfZMjIytqxb61ATVGXRXejT4oF
cQ3FZIXmkO1ZPNjpNhcYNzDzx+LFyvRrOpXIkNME44bYv41pz23+2rgA8wmkFNXd2g7e9JDRs7vq
Y2xGPD+bsez9e7w28qJw6gIxBtLYOCx+J5dOJc6Df4ndi11YTDEbsOE1smxQrnDmIMlwhzs289xj
AamzEFVOe8OJbvp5lcw6X2g/Qpx7M/YuLYPwgWiITTcPZFJw9VTpNADAMK8Np1Ek5LRYBm1zitln
u5pREQ5mwxagDOL40PkNaesEwreTt8FGocNgM+XN+8l0hZk97JyXMLbe+FQXBRxv7ioy0rs59Oa3
0oFfWLUDljZlUac5J+VVZKbe+nrCT502N3pIWdqHYJ2XxgvxF6F/wAJc1jnoe4JgPCQK/k+WBQOi
OScVUE+YLB5vX349k9r4CgtPbVZMSil9ZTS+BbTzNeWZFpKeUsrQZ7HUZtt0mURDaIVUY4w+Sgs2
+w3J2FVlp0yRwUBrFKTwhzr1/qbZ/+0I8hOogUzSGXRe4VDKcVt2/1F2JsuRI1mW/ZWUXDekoQoo
FCjpqoXNA43z5NxA6HQ6ZkAxD1/fx3YZUSleUpuIlIwIN9IMBui7795zXUygC/Xs205pyeyk8H7C
J4TFmaTVTvrl1TmzlPyBi3ohg0aNu6e95AcPkgdCnvQrCELswMo58FPqtbDHoH06fJxhgpBYmLvp
ludv/TCRzJyPRM4dolT8bcZjMHPXQAPsqIxx71MpTh3O1wOianFI046KEElJHxu8YMN+oGLNKbDq
yig9T9gzHv1g2sRwhffadlh/5/bPJbL2Q93QYplDWazHHH0rlsHDPNKroCdKR/LZHH1DFxUmMOs9
oswX5GNjh3ybvAVyYC0+yraPzY52UbAhI6TQ0lPdnkNocyoWrF5UY5o7v5nloUnGK8WBsrhADsQI
nIAdT5qe2U4F92lgPY6OrDYuFFz8sRYabj7KiQKgGpt7M7bgYzoaNf0rbnX+MPSugdynwP7cFdBW
rpEI/6NyBjVvp3ReirMN8/xJI9VWJ8wC6BVD0x6HohqBmTZ+eDt0fG3vWOhW+XaqMkgP8Vz04055
C7HYDXu/siV2U8jz1Fxv3vVQP03Z9JhKW21kPfwkVDSZ9TzgtkQf4uRnFnoggZ4Tim0imDt4pCKM
bAr0wGZiMjwUScAHONnq19QF5hSi02FrRPpr/PzFskgeRjM6uo0dLAadvmoIvEdEcic22tMUoU3m
mHsyO8NuYeewiULiwKg1jcjP/kK/q5rz8SZzc6hvQkf1Ojd+wdM2HW25xqxAGfc8yldu69U3p4Dl
zTBcTttm0dMTWuvw5C7Qx1Ni2AeBInnKLfv1SsjeUi/RbiNbBs/YnzuiPvGIOdzpWlaUtjl5du0f
OUyAvMgmvcVujmAnKWm5h6gw52SS65Q8dBTeKJ5K2Z3lDGI8swOeT5BVPKxbvukO2CzGgFUHBqaU
OfWghzG8CLFAle509j4XufdpKBN6dJfceaXZla1AXQz+SoKG5ls0UB20ZlkVkREJ6cEukAQCAAfA
Jo3bvKT8wW91XpldP7hb1AraEheCujt+RMmxbFCEoLmLh8vJ02HymABju4w+EDM0MUhaICLTaZfM
E4GVYlTZetZD+8uv2Mq3ukZ+4k618z2G7Ipr1yqSOd6CmwD8XpNHO4Cwq7kGGfHorcXRTK1smmyA
R2GFTvx5YxMTOSRFoG+rJfsBXTzaLsSJicbp+hR7zW3RLs8VqCo5sDICykQ9jbU0312EehjoCi+2
N0L79lzNfrHIrZXnFTVIiFj119d6Dssk/yqwgmyDuq/xYSXBQojVynZ9E7oHG74zns28elu8dO8m
xb0XJ78zj5sAAXzS2F1KOIE1BM8vM9bXWgylqQhPrHQdxTCT0h7sbgQPdFu2CGgE/Nridei8jF0Z
+G10WG6wDV6mncXYf7QHJ7ssA2n7FvUZ5YZFkQmDQ4uF7JAxJWgSbvNTT9v7PbXJFRfNjArc18Mu
CTp1Rr5hdNZFv69IM99EAIa+E5gCwISBPiEnB4wfuazu9DwHB7bSEgcWIfRlqvWu1f63pvD7TAkQ
Rw4I63tuORBaVcqbwNd4pyfOCDhaF1JgXvVu2CT41JAu1M90g1qrpheHypcvIpjyikxLXv+YsOeQ
34UkFe/yRMsHnOUPlDg4p/aKSwilf+sbS93iEWSbyWKZnlqRAa2Pw4eYLeWGYkupNzjpO5pAeifY
woKcX+q+Ez8jDxOw9MlH9Wkl7kwvON/UUJ3tQxk03kY1VXFXBOm0cUg2PQI0VMFu5h+Xq9ZxBjjZ
mJzOLDnNq6N03eyGIR6fsiGXt0sacrk6SXogGZmfOAuyIfEkAXHglde9OodbVkf0O48WngSvzrvh
cdTKfHZN5P7gHNOdsmi29mYQ6TmIu85D77DcPZAt8YWIH3/bs8Dwjkiez2150VN+Gd3hrmKRRJQ+
IDI+5kn+uJR9tqPP49q1QuhpHYyeA4vXoryasqpjwcTLX9wS7DRN0mwVKOao6u8kAQckG27rCLE8
8IjLsyUskXNWS1kCiR3FY1NP/CF8Z2lvz99F2ta7kWklXds2XffK1eFunEpqxGjwgM0R0GzI5vMY
17BAUa+qZYZlxEL6UE4iCol0dI51tLibkwGr6vGxlbU1ocGI8KauS9kf0o7P4mkBXASWM/OYjF2A
0xT2UJo5wNrY0D2KQyXUbNxdaDJ7BTxyL9oQ2+6iuC/UI/wyRSkZqvhAMpTWYE98xWwt7wAkUPZt
eCt+x3rJj30+aovdDre70qYfZDuShLvzcZGdoVUFO67A/H4u1K+B1N82FLCQYwXGkFRBsxr5tqUj
4enZG2hUBz+RfweKMBmZEdbwHRrS79RECOKdyMd9q6yDVEVOfK98cJgtcMITaUDQobAhMjGeF1Bh
rAQESxDhWXLvmJo3heTUE6h1Mrt0BqGOmgkUFYvNHZY9QBpTicPbG7zpspDXRQuqVYiAi+SHKRHF
1PEDSFmlVx2iivUBvmknWJ5V18betml0+zEYu8jpaijmZBNOmGDXJOL40mGO6IdXYEqYbdyqt280
LdqnIM2s4Ik2Nm+rRQ2OtQSfsqUvWv4WhIEfPDcKh9WEdWkzYCx4j1uYe6ssdp1LHc4dzWuYvndp
kCzhHod72aABFcO1c5AtfTZ16CeTbLvkiQFwcrZgMZGzy9ovNq01pe8qltnOYYrwPpjHx/5oDWZM
d67dUkUKTwuHmsdd+yznpH6oGvBU0I9D/QH/Xhf3MQKm+9Qql70SkIcqfhh4GFTbIAxMeQdsWzH2
0SPdm9NA+HPaDSq11FVEi2/ahCpHMyap88Rek2iLY0d+u4KEQgfhmjkk2iUhgWVkGoqkEcYkBdFm
yW/IiTqUWZeWzxl/UvMwImZQ8MumCgHjWLg6Q/HAFYm9txqgaCV0MvvGHYhk58xgK22WqTnPnhT5
0wS6xdp3iR7tcCWGukIPwaVFT9by2RS0051d4EWfRFTlLi9VtNzhu0ybbRO20fzCUY0APzp7Un75
bqseOPQVep+7fki0sUdAagvV3lq5nQma3rPReyfXXJk7xwi17FkH4G5ZLQJtcD3HsFbMCrGph3yY
gf4MrZAwWCJdnngVLWBmbU1uPvH165CqGbdszl4YdgPazSvnSFRRfbpuSq05Nja14RFB72uYiv42
YZGY30TganHSYAw7LmlTuLeiAsd7oSuhfGT4y9SBAWjktptN5IZDAWZ0Fcf87KvMh1sFOaaH/Tjy
uJiRE3haBkGR8211JTUDva6M2HDXSd45HjpUKtqmeJmbrK/fANzplE8QezxYgmHfhCmL95ry2fBE
h5gtjkXcRdMNi/ZZ0ffLuLUGrh+/VUVT6c0Y9kRYBt74myJR7njCc1a2kOQc/4AFrJWvxHvpNHWp
Dt17nI2/Uho6XlmG1OormdzkZlQdJ1TFDnULvCU7wbDp7vJRlAf7GiapbNqoVpZBYkfQ8K7WfiA5
ryhqGUWUpY7Cj4oT6/jg4T7mHka7tFNYLlUuVVtex92iJ8PktWEy/p4IPFebUsW63mHAmbqfuTUE
0c+UlvPxZMtRZjd5p/vj4KGY0iTU5Ncs+tjgSbai8GRwHNmPWLOnRwKJwACbdqAf2ysWoPYU4cRM
P7eYlyT2t4TbxeQk2L8W5fbJTUkGLr21C0l/YzTL9ORgGTfQaWKXLRmz8pAjINLhcCjtFKOvqKMM
l4wTPUZDQDOByhvy9n2R0xLZpfONhYm7Y+GskjdrKVHa3ZJ25LvaCS0MsA4QLY+2b31Jp8V/63u8
wytrojQ+RIJ/rY1Rm3IK7Ue/MuVRJV73GcnA0/BNpBKYK8mFnYMFymySwLeFejcPZU+jK4oHenFa
JXtEMer5xiGy4710CDhwYyduwB2HZpeuCfFs42euPhwv6h1OCulA6G9iV380kT1+URDVvy8ZimZM
5C3vpy3kcPTQJoJ7c7VdiNAcw7aWWLrydsERbtd2dUrBcgBYzaIesY2il2Ji7QJTGmQQUXlnkctP
0atufKV9Imp36VSlV5tHnNDhUU+Jn+6b0XYvDaP48ugIbHAZhCNdrsjdKHL/9PJQbTSY+j6e6WLA
R0Zp30r0Fs0/ZYkItB3Y1aLBou1359bqehdBM9L+rQ2VPwQskcgfFcMMpEV4dmIf06x1qtG0Jzym
0noBqgaLgLKO3of3euUpx+tGsK5mjGslENmTn2HSr5GQUgq18zTCVmCH1bXcWpRw8ByYwdgUeHRP
XVM/ZzV8BXU1+L6avnGC3wPh4P6OvGkFT14NhF0slptYYW7F3NrImZWtc3Xy6XLdVSGuyXXTQ6+6
ScZeDnQqOGV8ND4nhEPPnn+LY7F7cZoEMJqJKobXq9HmqF2IDTh2AfxQZKW/OP63W7rfMBVFwDXv
A8nq8mwE1r3Hzrs6DLu5knBJG1abePtoArrtRe6TuU5IgNOWRdUUHQJTIZ2K9N0Q4F7Oy/o4iKsx
0L46aXapCeLfNGQI/xa50itusVu6uEAD4deEgQXKO1JkqjRhrnTk0aNjuxM7h52nvnOCKGazwrpi
4yywVjccUrP5Zup4wN7bVYPqhdGoPutirF7Jd0wclUqrfcttWW+zpDDinXNbcUw4nbB5VpEH9AWz
dvtiiJbHLF4cb2M3bCT3MgqhcHmxf0yLJvylQfWjoffmDCY7PFHaPN7oRBSQcvgJXBqNW6fB3tkR
+0jZ70EKVdgJWgYxll38DSieE+fwAvSAPZ7RMd5hpm+njRsrwIB4qFzsY47LApa0YryNBEHhc1kE
8bXxousX/+y5EgbX2JNd6bgWCL9Vqs/3LfQBlkSltl/88gpuBoKFtCiXpNhmbCmLdVDP4PJJXDLH
5dxV1ulQ65y2usZZx5ydX5NeB3f8muz1cO72V5vpHN9plltyJXuni/ccvFtMxJRuqLsGn+7R8lnM
EjSf8ByCPMXrFtXKZmXhzK+OcL1XGQ/iIesz1ubjtZHg4jdO011suk7KS4cEE34VbPi4c0jN/RQe
HcVWB0ZMFEe0JlqaIp3kVrIJiFFGOY8Jrt+DNSYOjxxMKc/RVOgbrbvRSleU11j5ZbaZeaBTxYDh
J+77ZtUWln7nZCqsB9tmTfpuQxTdY3XKX3sCdeMXplzIZzzPnfhddxxP9vjYzfhYpnNM/cuk8fJ4
s5k3jaEMhNZb7ZLR0dWDA6h2JlnN7LrxaNDhY6uIV5yXIh3wf12ZrW+91aRbhmLzyDURDjck9eQz
3SM0kNsMDceE7apmp62id2JT3bzBIRfw1eIjD88hHEmSnKbeggHpKUYaLb122ql02TJJFXu3amBA
OoFhLNSyAqcy44eqo+QKkHDI/r8gbETYtR30+DkMCMDacfHLEz5/rMQEuWWfNTp4vjhCH8JZBkfQ
9x0rfr4mW3vu6+jsTMzT6wyffXGX1h7sB6Qszr75WHvgDjvJGk/aGZyPSnuthcNLKU2mzpdkcHWL
Jxf6ZeBt6XHwpo8APOmtJfj05AbleHzty85yyg3NV+07rGw6w2vDQcQhU9Geo67WJwSCOF3jhLiK
BZ7LBeembkMiUcCc9FfCd2VyVK4ngmOZJjpbS4snxgoNFjtirL1xS7xruUECXt6jVtjNvp9rD+ml
mSkD6heqrMimjWvMe+5NCTAPzp+Ky3ST0Ru6EOANW+sVt2d49HWjuRmCrXIeK1nW00NC3rNK1zl0
InJiWR35aic6YZqHIp5HVheQUAkRKCyoXAT1AIbEGY7oscMNhixJZfIMW8RS6kbDfwk2WJUVhIq0
asVHDVre2/QNp+Z1Cptkxq4ikiAHQaXL8SSC646qiqUy9aaCLhIwRutRzf0mHbkm2X7RO53Tws3X
gflrRygw2kRTr36mpO4vPlfpgWJu3VHst1TTo2vZ6MH1GAJC70igABTOU5d4fYMg7znB1GzUDFcu
b2o8tbiqx58sieL4yzf0DV9ISecETyXtgDuJkBniwkzbrHuI3Z5lutP5Zb6H/SPUIxo59PpRO+U+
rkMLTaAOC6JxVNiZgbD8wbNJl27TKq3OGAjy7VDb+hBN2E43RYX+1E8K5pQuY31lTka8zUtzoYiY
s3SkxrbdYqxzdkjpI54rNoE1XJy0L567yc+ym8z2xwqD+2L/CuJa/EKogehbWU4g+M+BD37UfGHU
ZmkA2URTBy58lXgFq+Uud19IcrobIhM9OLHSOtsEnjnUoQ1W1sbkvihhwuU5JJAQ5AI+HlmGn8vU
jtsBSkfvgiOLFsidXWnJUx259jWnyH67J4724uWW8T7tNm4uGMIXoEum2mNPoP2ENVLq4PuZ+x2U
sYllf9Wj20ALdGPej1T2WxCDDVONabudqrGoo1r64yMnuLR6gd2G64Cn7KDJDnacaoyaeQrUg+/5
69LFuzlXE75yiP/RuqI9Ew+zsebsgeLoxd8PPUe1Y9u5oTr4VSTMc35NFiG9g5D5nIZ5gglYQppK
r85pY04LiDLi4NqWPTPBEiUPuMIb9wGA1kgezB18hvEgtmDVUGhtxvEEVzFuaOcrOfY8w45jjtpI
7wrCrAJLbZWX9OxaF56OLWONSeN7v6OEcNUPeAkzLNZZRW7OZgVFVQiVlO3W6LH7dvPrHjxFnjk1
2odzw0hK7ZXs6pcqiYJ9ooRT7yIpYh8jl3Kfi6kNnro+655FE8TfE1AF+0MBZ7ii3n3xC9vhiMs8
U8M9h/YYJEk8YUjIVD3yII/B+zT8KW1QIZxaXRQ/W/1s/UAkmh+DKHVDiiZ8+LZg+yB/3YTw5B5C
hvXv2g4Qi7gXeM/gsGlDyrOxn+9ywOgXE3T88kATHBpX3aGItq6pXUkXak3/U+/FVbMtBMHQtSvy
+WylrBdpIRXD8xQ38WeAA0vs8LjHxb1vbAIlYUAqa4t2zF3NnjhHRLiPn8FTWuo0u34/ce7JAXPD
tVJVCeo7oyCFzQe7OrsPggtZF2Modq0pDSo8pLJzgQU3p1qVmk1SJ7Ertj29HWdpWEADcKNjm10e
z70tdsBwuicUFLyTBMlfWEmPw7Zhe33UhQfjHyDQ4yJZvZwYSb3iFLH5/BnbzfDq24N/IdFgzUgY
/kwXtgQSGkRi7D5otaxHc15qNKEKExXPqttkYPNHW7Blhh+U3GBQwcSzsDIDMxgSuQxszGNgbhcE
Mm7rEM59DDFuZdXnifbcas1inlVQ3Lcje0GKqqjzVb7XQBvGnzfdDiIY7oa607cyqYonD5ZheGdN
Gf20MhwmWpON7gKxKYVpOfeFJqi2EuplDGq/Tg5Jb9Rr7NJVd2RJr9vnltMLofNcxmIT0CGjGaUN
9NwVOcgRxIwFql9QLXgIGzf5qWJRvyi3AXCTDvZXnubBCRtM/btL7O4mTXz3bPIoyvcyGChICghH
INeNRfKrmNsrttVZooHCHcu71SHLrds2DuOA2ZAj8XlWdiNv8Dy39cEZ+I1xbEE2CuKSkFY1+UkN
DVl6zoc7dNaRkH07vpJJC2xkdwZSIO4NqePvyufhf1e4BVovW4mlCn4pt3XTSz72KQqTBO9FkQCP
FIx2oTPxfBE8+zcl9cFiFQAeOwzDkgwXxg7c1OTjGRGmNAVhSJGpWSgOXjhpHj0vxRM7ziag53we
oseGoFm/7WeRgRJfYse5w+xi9VhSOfKfJiozeI05JSwTOv54O/B4eJB6me+oD/bMPX1D+Y+yjJBU
xyDyID4kJiGAdv3sANTiVCpJMm9a4i/WoysBXpQHEVEcAtp9bgLzYLkBGGQrVYDzVgP3HFlda4FT
8PMqDkB66FBVuFL1yJSwYnE6WtA7jJpge/HznkJIp9Q3KNMXw5vFRjB21qozxMOQo5IpOqA1g4uW
znLd/LqUnN7YNXcfLIwIcshIc/waAZUzpMurpdmwVycDjpQy6ReXSjSI4FhH0hs3aHWXwAsEOmNW
PLKC5kaxcnrzwgmURwcjIkcpqSKG/GKmJjWF6QA2YnIrMs4A4JkslcpoC+mIY4q3omg6sC3zEEf2
hTGyw7qXk9Zkie5UbkZGguAIVjnfXSzUeJKx7K3Qho6cdyfevLbyDoUoSWpEzWRRiOero+PprAUf
wqkEGizgE+/pGjs236Byi300KrN3akbub62uF0lPQcdRB5LN5GCS4mtKHZky3ItlM1B1rjf0eHM1
jn2N0Br31K/9XEYSrIe8Yvy4TSxtqjsprb7eNVjDorUYSjc/Wu1ke8Sv3VJdsijDMEkbH8ETOnsO
E9c/WExn9OxvF0t+vifJxm0zZbQ/e2MERTfJ8voObDWP8jAz06ViY2AHq6aLau85J3DpPpFeKPJo
hfnJ2mJtw0ZoIFlh+AvGNzaBsBiSwMYmj2IU4eUwlrzkHL1fBGeQ4mFJy+TJQ7FldkM3/qKog6Od
70bNg2ibtNrQreCfS77XP4g7LjCTye9uGcgQi9hliilbKUaPCZJ6VXjnpIr4B1DuYQvSuuAD6myt
xtyyXktgn8aLU3uvntDzATSBS1q2pKQQMc9Z9TqF8Ftm9bF1TGbdtcxAWDiEo6a7ivspG1FWCsWy
mVodebheAuc5AQWIIyoJyvyUsDtfBxiTe7MZi1Q2F9y0SfGjjHHPfrieN/SUGGJ6X3th243rLLGt
8D62CAixWXc5IZCHraT3XoH00NYqgj8m3wgBsSTD1BVkR8xH5iInF6gNuwb1GdAQFxJJovmYkh/u
Rt7eWhAvCqYcxPuLJcIs/A4qdCtYZdyUwep+GD5R78DXquloLihsUV+clibk10EhgO/SXhpBCNPW
ess6iuRc1I3LlhQC3cOaPRS4l85d9I0/Qz4AT7HoS0nHimYNNCN9BNscPYf9DWDLZ/SuGP8ae1AO
IT6RfJJQDkNURQhCZ/0p9bEMHbmhLd4jdd51BBzFClvOzIY9Yk5tn3OXL065NqHA0siBMS79lxaV
ikndFHr6hXyOjZXJc8a1gNxoMmRIKrGm4dsJ+A3Xwk3QKIKpb5+zPC7ddYEa9D5zL2YdanlxwQls
np5bDtf3+TJYfLPi+g2OjnuojeiXm1oNjKUJuNedB3YhenGFPSFmLCLzfjFjuITXWG/Jpzyu/beF
iogo2km5APGYuPuD/dAig4vlhulzWVVReNeT0d9RmQEwvc2Wp15A37t2NA9R/+JOuYi3wTDDTqWy
rC67Bx47KYbnoiirN1lHfD1JwcQ/uMX47+08agSXfKGKlh5y915YKrAJI9TDgKKWLxgmCtd9mJkP
7GNHNcZH5fd+8obBCILZpJqMBmk/dB6HKpTkhOqMkSge3XdJUf2JHDKZWs6rKnru4HX5D5STMm3x
zQk+52Ea9oEjCClPpjg34mq5RyTN3zjAzgfkX1KUvuN1W8qaQSUC9u8ggWEbmC+Fmps3ghLJ9JT5
+Tg3q2qQ/JtXhRTRkaPtV8cu++rc92i9glEDOak3BOvKotHbhYmZwEvELLheusBJvkOAkzfTTFPj
SaRBxa4u6zyzl/3CARQqn9nHSZ+ylGlq+C6SQysxWrZe9PhOnrsux9a/pR6aIzcJEDa7WVX4P1g5
m4felQOEDVUM7bDl7bfsmzLQY/NDwPexXkZC4tZ6IfG1Ntyk3aPQooH/VWlroI/BGeJfmvNpfmwG
eBGSPgx9g5g9NAeHgPKwATJX4I0K2szc+YE/koZj0rLUb/QnRbDbgrRgHnM809VWaE0eESwmhGzi
xSPrVWXl0b1jQXezk4muh621tLX/GKUNkVLOMOGaFSfgD9BdYKsSMnPWlp9Pm4sZ7Qr/sc+dmT4F
6IRVyFi/CRflfy2slKhq5lvwEoHdwGeRwV0mT2FRnMmpUObrdinGYMNMJJ2fQUmAdw07mS0x3B97
5jCMN59dEwQD4EIkAZELWJE9OZ1FTUXNFhTuo8eacpTFVoHp6tkpaeYAYFx4TmR8ZdRquyOKgrIb
7UaHkPYAwNRZO2zjnvHI29ku5XRy3ZDbs/9ZApwFaxXLutyxlA4JsFIFe5rGqnwpuqZh4ZH2c4Sz
8ortZLrF0beLOaCS8O2BqoDUi/KPnjvYdOdngczOIu2Trt3Zs9HWmwG7pX+YPoDL2EU8d05Qt3Dn
1YL/jYiHfPoM4SDnYMzh+U5OvZ0tK9fBxvVt217K+8aNJQBIDJdtOWDn73xALHzE7wYA9vJGWsCL
IOmkRdw/VbQGPrG7nSIqFPzoN4DtPnuoa98F741TYZ9bvIecijV+J8o8VfBB35Ogg8BJ5s+5o984
ziO2rMRCnZU/R3iwtR0xQrCguHKToii9mD6qvvPQDxAAhOKvxA28necPaE3X9fd8wt6tmrcmmcJv
Vnh+9TnyoKA0El83xyMrbJrnEjQD5Hg0wMdQ1UgDGYAgnh/SXz4zKzaE4jjYEeyjk5zOGsNNR/XY
Ui/eZI+HfLHNuYnHsHvG7DM5j1dIQLPvZAeyYGP6eqZNpA+5j7gxifkn6oqK+IkVk+Q17YzMqWPR
VrOnrML7ppmIQTT1u5jVUtrv6sDXd7U7ZEeps3pbi9T+qYn1kaXHmY8djV6b+sZbJD1VyGIYtBa+
kjtyCraNiSpZ9qIqGYJ6vhv+5FjIO26IpILgBFDDVstDY2Gz2riFGt/LqJiCfUZx5Qy7KQzoTHBS
1Ig1SPaSKkJuHuAZoPiHclreS5ZgGEVFuaQzMQie7Wt2Ut4VfskJYzVI5ZtnFnT+cowIgGYMPbMP
co37Yn2I1dCwOprNhXVk2RDJUaXz1ceeefGtXriAe+ZRLRhvLP7DrpyHe69s+htMPPpAY45FdieT
GC7KERTBHOjgKvmXIF6DcljenM4kQKzsaXyzyUMrFCbiofZQcAknvK/ugcNSRClhGTyxYOI9Liw/
tbiRBYp4J71cikxukYrqKQpMQeEetziskn3F+TqEjXLCgYq6GEHIzrcctxZ8GIFrnHWGC7fcVz1b
0AgPsgsfHX/hofAmlfG9Hxr1A3dllXaoDWmNLrAsGCedg0vcgFdIZzv2H3DAJpelLfIKsIE/WPfD
4o8UmtWBZ99NtejsE/cyQoRMYc1HQ/fNfWZbJnzVprfUFTkhm2McSrmrCWKcqNidb113ZidrJd5l
ZrRq3wePHewaJU7+QmWpkhfaGJaX2tKc2pgF9bryeVsfaEdMXlq2OGt8sEb9YvewmBPdmcG56OnV
WcM8DdhDpRQRESWm2eAMcj+757lANImRwLG2ia4DttdpQa5x1xZ6IcIyJnxFp1MNMg8IsIvyS/Md
nag0SQuPcgdQqMGYrkXO6UFidBlIUB6yzvZ0uon4fnLULVSvn9KRyXLT9svIdO/M1r3xZ4uccXEV
tG8W7OTRfkxJ6lCjFKjhQ4BdzJ7ndsoiEHR2iyyhxoCYDEEr1OQI1tS0swa6Nu21Q51BYa1617CH
qX26QIDZGxnOwyNhgGipf2u76Qdii4OZiVESi+omdMsK31o5b4Y6Ljv7CV5uSv93aLHab58TB1Te
a+dXw3TBqGOZ6FfAYTsNd+zP+ILh+Z6wy+/9Hr8xDWsFkd5bZr2FGg5X20GUA7IABHGgT4Tog5qZ
Pm/R9P1l01ey+kgaUQ371LVqFkiidtx+n/Ig64nrTQSEyrUusHA6B9ZFcfwjHlzuWIeZ7tDZ7ESJ
P051v//5j//7X//va/qP6Lu6r/KZKqN/gL+6xwTStf/5TyH++Q9u69f/+/jrP//JGAKlUmmILpza
AoXCxT//+nxM6Hjj3/4/ThYVHekr8xl6XV1vmHzGfW7n4s2TzBOk/chpE5ynlLu1g5nppfHZ3E8Z
e60Ee9Kffxr91x9GakRuuiICMp1ecN2g/vWHYXs3eyPP/R+ZwO6xEa4J3gWZlm4rh2Iu9hSpEAeu
s5gjxf/ylQnlKyVt7XgO1H7H/esrS5cdkBVb4xtnxWzfFDO1LB7mOK296IZw5JcIAVz9+TVF8Ndf
1wE45/jCRTOHAacpd//ri2KbQkrS+L0pABnbi+/0HuDIzlXFin0sq6fVyNeGW7NplbhXktwpIHwV
5DydHY0sZNimbmh9reyDh0ybImI1PYcCCjav/kSLuutsSs3wNIo+9E9RwWBz8+df4m8fmWMHDkhh
XwWudHFaBf5ffwfJG7SoaLAfZy0G7Elm+oCeN2xbaYPqcjjUvM9SRsc/v+r1T/2Xq9YR0hYUrKBi
cqEo4V6v6n+5aqulzWIVetUTqEdKLEzpFzdDRrKQGPHSrZGDNftlGmePsU87x/9wmap/8+qOq12u
VsnfbPnXV+/xyjZta1dPYTV2j1nhqKeovdp04SP+Dy91veL//os6vpIOxjwvcN3rJfQvv2grHYuF
gFs9tR2TZYnxY02YqNn1WTDtGm37L39+Y//+cQrpckHiN/QV16W0//ZxKoA99UT84ZHWSXILcXBd
s6BjAJZLygOCP3sjj+Pxn1/1v7+hvKpCwHeF5BCu7L/+lmgc/KIs3x6rjCP6arG8n3GLgs3WzFq+
/vxa//0ddblMUcZ8JeCe/v0ew7VZ20hsIdDIMr4IIzisOinwEjJpyVWSIlL351f8N++p67hC+1K4
bFv13y4XlyS4h359bQe6ZvpB2H3O10gOPCBJiI2JnW7JPBHz9s+vK/7N28oL+x4fJTfTwLn+YP9y
8SgLB6kM8vARC9bJWE6T7xoHIG+E4ELPdgunPhmX5rPwxJt7LepZZ21H2UAItqLhluuRfhgZ6rwS
hIHjyvjy5x/w33wUHhMnMrSH6vj/OTuT5biRZIt+EcwwB7DNOUGRkihSKmkDU0kqzPOMr38n9DZM
ZFrC2F1lXQt1dSQiPDx8uH6vqi5+XxWWwdDAXvE8mUiTbMLMpi7HwLT5kDcIP0ZpUX27v+LS42Le
QsdRYWhsBz7kckdC0uXZCRXzWedygwxkgKClKgBA2obC2YBG6mTaCu175k/aQ4RC7vb+D7hxJDhM
jd9BeUuzjYWlJ73GnEgXiGe7G/VzajaUksrUB43bdytLLZ92nKQpMUE4WhBt8GUYlx8bxKPfOVlp
P8No5+5KBmsP4O9JCunnH/O4fCgJ/TYMwBo7TfOh2SgK0AH1nJ3uf/O1s7ZczbX4MSpfrlqLZ65F
zQUg/2g9K4OrQ3g7Otq5TNN/GKcn1C/gYu1TddoxJBv9DyujA6RpjsObzjZc7oA7D7Vrlab5DOaD
FqhijWI3UoA6OHNifaAr9bHORutPVDnlw/1vvj5ni6eJZ1HTCCdAWlyuzOvkMC/QaM96TBSrxUMx
QvgUzjsjavp/7691fY1sIVRE6kyd206b7XItxKbR3Ggc/1kFynhQG1cmc6F1BB7dbnN1jI/319Pk
vbx4lAS4SkPgW5hGVqGRulwwA23RO2pGhy9QtPIBYcPYOMFRnP0X0lY0DnY7qOcMhRv4o6YAhTsx
28Z5Qs9u/tTANvlvAc7eAJVVhB6s4jlkQFHNuHlZhvGTG1rux/s/eLFBtg2UnVsgbJX/NjR3YYB9
M3VwxWr5gz7n8wmqsPpUKJm2ow+XPgehunbzrtczVN3mRGDsdSnWLtZTQRuhhJ5UNCZdxGnzgZl1
+EN9KP7pVUAs7hzuf+Bfv/XmRPhCoEqqIyDycrj37sKT9kAlCrBL1QMt5PbVNZXsyCuYb+1QHc+R
MRv/KIOZIAE3ggQpszY5zjStdyqpy97S9XHlPV+6nv//PYJgAXuE0tBdXDwthUql02FSAiqTZyFy
nrXxe4hLP/zPL+m+netwlPQ+ahofc7Ay8AtDivrFRJvI8QyETl9XNmiR5vz9QaCPHMPAEdJQWdxH
unQaSMmWIwmytN/CBQ0+wUSiCeO0YvUjypHgh6nJwmOESONkHKxOUf9LSz0Kd31m0mS8/4tu2Igm
XNe1HFV3pLlc3iFXVQbi/bEFB2CnBzfWpi/QSk1HSg7GH1WjVnR/vYUTlhvAS6C5tg3IWVf1hU0m
Hco3HRWOhwqy6Gxb1qpCORsmWUG7Gzj+yalqe3yqKWq/IKzZ1ysmqkunsDBRQljee/ZfI/xahOxN
lyIW04TNQzim07lFnQ5OUHX86kb1E3G+CYNW+FFK1v7OZJuGzNfgRaqolNtopp5QSYJXnJbOuBHA
n+AD1pz/gp7AJLCHeJPEKikb44kvDU8B1BK6/QG07M/7m7g8NIdsmQODB9Ik4aGqenlojQmNIQl7
ei756Qjd2Ba8NSL6yMMnthpKBc/311u8Irbj2KZrMRWt6vTB3b+O+E0AF+p1KKABV86O4/Yq853U
nUdajFXAmNsmzSae7RW7XPh2liQR5bE2+E5N1ezFzbUZS6DM77Se2arlSVDsRu1jgqqoNZutbVXj
HprFYsU4FmEZizrCIgXQbN2SJI4L40Qob8pAeiJF4AiHpmHGYJr10U7plJwqtaynA1xfinIeG61s
6dUDadjGHU2flY83rn+Iq8I2ovOUWg7xwuKAcxVUT824l4eojzp8oMUWts8ZSPKMh9vumn/MTrOZ
6O2o9e2MAH6eDIq1dpxeRB9ZzYeWXqv6laKuRW0EAmE1+j4YUigHHC9km08x+L7kuYKMw9+ptNTc
X40J5+ZeA62P4wm7Wn0u4WsNSV4rUHJwWcBfDyK6DYnNyilCIzoaSk09N7ACoemTmSPt0ikuFJl+
RmrkDV3W9Ug3RgDrt4xIKcGLMcDJ/BoDq08/EVTDRDgO49jpG6QjYOS+b7NXd4S03LUMA5YaMjnd
llv8xmZ1kHooIYBOspucvmjiD/aGxiJEOPpc/qac4qwcmjSOt44F26eXpuoafzucnHQ8bxZMGqa2
USHLPHUY28/Q5JZfkEMNVla5etL+fxkyap1LwUu7+K4S4pYYqHnmAdNAwZl64bk2DTRazN5A6LnU
z0oGvSLS3yETTyiVpGXWbEU4JSuh5dKT80NIJC2QMRqFF9dcvPVjYkB1iTCAF7jm8GpWaXTIUaT2
cjT4erjlJftjVJQeiW61sgk3rodOQcqmSCDIKJZbrcHJV5SRhloIQ4VbO8+jjxkMRvtBWuHIOMcZ
pI9AIhLp4ZRCzKf7pnXjpMlkDOyKWN40/j4xb046zBp9njIwlEGuAXYFCZr9VqIser8F68DZVJ5J
0LuqvYgV+qHoBBrknPTMUCKkpqP9aDj+ZB2CeAi+AeKH9//+l924NJyogCGRmAnKmIVxxU04lmEW
hl5jIoZj9s0Dc4OA6TswZZaOEsb95W4ZM8zLmgr2m78x58s7U6vJ1NIIC73BTnlGx6TGv/k4j3FM
DhA8IJCSlrBrTHH5IfBpDExOq31U6+rX/R9yFRVgzBTGqTYJWxZ/l2FJb47gBuog8yBP1VFVH8Xo
eIzojMk/JjKl86ZCrcr4MTbg9bbkTnq0swvqxJvZsZTgdyJGtfzodzpEq5C01LOtbGhqWMau1txA
NzYFsWTsxdE8lE8zYKT+Y6UJhvxdFXqjZpv5nWucityswd4ApoWW8/4HXr3gPKYGBXZCT0Jhw1zk
+/BDIh2tU35xwKn/kTyxx7bvIXYFMoTs3/3FtFtmJNhQC/Qw5ZRl4gGeIXciHgn48lIjP4QwCv1i
uhOC7MSZ7BNOTZCMIr05H3QQA5XU5OpfSoR40g/8q/kXHRiMvxVOEz2ila2VB+R79V8xMay2YoI3
fio5GdV2wQ2zKf4tLHAqVMZ5m8iDBXM2gGijUmsGonm1Zt0pHluqc//d350bftNmV9gWUkBDX9r8
aMc6VXYl8YbJ7XcoClmAYUXkxbixQ2nozYfGCFA4LIP49f7KV0aAFLgBgypumweKfsvltzaphh5T
FWGHNgKzDPDoQQbms4seMgDeK0W1G06SAN8i+WK4z6CoermYYTEHoJUVAnqGM55bRiu32pT8D48Q
foqmkTB1m8RqEc0PaDv0EbPOXjMn1DDBNgMbVTUF+U7olOBQ6NAamoDA+Wm2v7+bt86R0Ey1Vfyl
rFNffuAMJMdtzSL20BFKKdzpxbGFbXgXOiyfNcyrMhllbgN9Ho73V76Ojek2SD+NwfI+aIvLDHzd
GDo3SbzWMQvxMVSo/uzRQwm/6IFOP3dEpBFVi2L032+6MpaS7z1ZPiM7l59cl6Yx1YofeyXKLvtk
KJXNBJD9wzjG9p8R9TlEMIKCcRaqrOXKm39lvLJGTl1epUdIKc2Qx/Hm0QU1HkRON+uezfzctuB/
9XnWfVgAYzVbSa+u9pcMh0akRgeQj+SKXi5lAefIqQ/pHkrOOsN3yDkJ0OabwG7G/QTrHt1eNXuv
I2JT5aq8QkD7iVsvF61TkPqTaggvhbbjgTQLAivkgDb53EbHlrbHyn5ev708CSQ6tkP5TLV5Gi4X
1EWGbE6SWTx5TA0wFIlueBz/V9koECBcMm3yKOPryxze9pAhD4Yc9UMxQlfzTmuWT5MmqD3QGsCs
FkZl2nFi+oFvek1bucemBdQJI0W+M2thbADpqi85o2krX391eeWi5Hvy/rCku9jtyIcNc1R9w0ub
2A7B7XYzOJmBeH3jErp7cBtCRC2sTJxqUKvvjexYnS4lkYZO+IMvvtx6U9VqvHtsQbZED/5bLdAN
gPijKJ6AYyXQYwQNYwbv32a6PjY+kv4d9bnLNWcF9cYs6AnmEAxjFqWK975SuB8ddE6OgWR5Awub
xStWfePWujKSpMll6hqnu1hVo7UxBK3pTWpmqBBRNQ2cToFPMVYLgdDe/0ZpKhcpmNxXmCC5Qjzm
PD+Xq2Wp6GJFyU3PLPEMbSjyLf167RCF008DHkPv/nK3Po48gHCRwIMHfWG5HUNsEbxPBlwRU7Zt
9QiJPBUoSw4xwUrKccteZW3V0AmXiZQXgXmlVcNs0lrx0g6BCNXo3JMCUfchF7lxbkG7v7aRpu0o
X8KJeP8rl+07SmUyNMc7kXORcC67FzWsB1DHhq5nwLmeOQCb57LYQooz1puKiRJ/70Yg0PaobKjI
6iLbayIQEbiTu4cA27Ch5/cZ1t/w78bQY8KwN6mHOYdu4hVgha+vIAFuGYGAQgHvRo0VN35pBH7r
+0EdMQc8O+APe3CfkGSI7JTHpDRTmCgr+3MV6LA9EjSBwZE2uWKRw8zg78tqCuAVz9r2N1KO9ZFZ
1Ozp/incsjXHVjXHBqGIJSxM22ydsVLV2vTaomq/oK2UPbQtxE5RM5srvvF6KaoXmmEIGcIT4Cw+
CFECS4GQQhCg9urWD1t931UmNM9Rb6w4Qmm2lxdWFkpUBo4dzb6GuySB1dQMAgpQ+w5IqwAGZKFH
7Vew4f2B4qmzB0Tv7yajZDRGhY/l/qZeP/QsL+iIgzgCkPzX8t/EFAY8S9BN5K43hc78IS3Nx6SE
45YSm48IPYhDPYQ84P6a1zeZNQEVCWyUyNhZhI3wMCIFOEmqCkp1z+o8wmAmBgNpRpE/WQUKy83Q
M3tdKL/uL3xtpzJ2wnJkG1JCjC7vReMMZVUBBPLsOLPNx9Js4EaHKblKvt5f6Jb9yGxeJlWUEZYo
il6x+moy8Bch1BAeqt3lh8gOX2uVrb2/0i3zYRtNWbXlAJd5ZhK2ajTpgeOVYa0AXrNbhCijOn7Q
hgG2uCSv+s9JKrLvQ6fGfyzexs/3f8CtPZVBBAUaWycJWLwA5K6lomST7UEaNX/0YQZEw4h8//0+
hnyN8NDhptCtWeKM+liYioAuwbPCOO4hNW0r55hQXny3l2Ed3k+QeBSd8fyXNkL5dnbmUqBpCcL0
hzDn/IEpopocTv19f+duXAOCXcfWwfzJ/0gjenP1hBmaQKddyxvLSdn7qpYdqHGP276v0NUGdkaM
jeCyRat05cxurUzoh8uxhcHhyT9/szJ9HokMx+cwLZ59hy0p3rl5y4AH7ylstbHIjjD6dTvgZGvN
pxs3g9ok7S8aksAuljejiHpGScNOeKGbM4Gl0N2a2jTZdYMTHe/v7/UrSLjlMt+Js1EpqCzeizBW
+r8jlx5jw7Sx/CkaTplJUYU6MTQrCiKB9xe84Uv5LIcGEe8ufy23VYGPqixj3IsWQKPcW+fOcqE1
iQzEE4ei3gkYP+4veesbBU5Gw1SxIsu4PEnyhqGCks3w3B567QDs7APgIB821MKEXiZxV9zNreMD
4UCZ0iYHBThzuR5k2LM6GZXhgUGqD8wrMhc6z2iRDM77fTVdWZJdg4rUdVkjaqexKtXe8ObCcr9p
fdjvHGssVm77rZsAy4dFUQiXIpY9Nr3R4P+DeMUrK4iTKzdTviIDkO+CvgDXbjV6s4WE8Uck/Hei
NXEs1CEM4ThA/ExAfosYDeb6BG0+AnUNyG++YQLW/toU7jddA15tjoxE1DIte7e56ISDMGXKJMGw
pTN/e/GLVoRln1ADpWB1bIMk2Jlu4b908JHsKsYyo5XI8IZ96hAhUrl3OUgQR5cLQkzA7PZAktm3
jYm0ddSf9Vz3z2gS0Wq3mtf733eFvpC7CscrCSUcwGD8FvdBjevJitzO8ODzabdWEMNuA8pwFw0D
EwkjscGmjwy4NnpTkCr09WMh53sGer+wOoTNsLLhN55nnQIDTSIeL67n4pRHNBanwh4MDzXbhq65
g6z7BkwK06k2kpCnenDLQ8MIw6kCg/Xs2HF6uL8lN24sOadEokCZA5ROntCbIzf92fGjrtZRwRn8
Y0Q33RurutmHVRGsfOwN/2doYFZpOToAX/TF0wlzoAE3aad7ceaoD8yXQIbadfbXIp6jP5OIp8fW
6NUVL39jh8GLAwAgI5Bed+F0W9cSvRgt08tVOHwhE3e7GUkI6Fs2aYWY7KaHTfApaGG82ULLLh6E
OYTdypfLe7MI4nlPwfFY9MO4y4tjhnUyhq+PBGhCaPF71Az+57kP9fn9twncjEW5Vbbp4Ze5PMsi
HSDfKzTD03xB36WDyrQoG52hfIbxjJxO7/ttx8X7glThNHFVl+shTjygG0v3q1a07PeomLaHdLzy
VDB1sPJ23jBT2ejXZXZPKLmEg0LcFyi1mZqeSuV2C8/riGZlC3VyoIfQlt//rhteieADCI5MQcDN
y+N8cyfcJJ57o+TVzMCov7g9Wd2G0T8ElgzkG1B4dR1/Zckb34dxkmNxCXnTlmbKMEzMc+boHmNb
6oe6sEqKfQ3EfTbMpve/7saNoJRpUZ3+/9bDwkqaCD03P/ZReNIkRseCdGPYBAiC7xiaY7rb6Mfv
ijHYhwE6A1LMyXq+/wNu+AHG4xyabdwGwJcLJzxFqcgjv2SqMhxmhcl4Q0Lf4LuBcUMfNaiJQO4k
W2aynGrlhtwo6eJtmW4Cak1SREZ7ebSML1dNVYQpYZAlJiYEfTjmVBvhpRnZbHS7FAdqvihMngZd
i7e9g4q3M4fOH7MV9v7+PtzwCrRSSXHBN2PYf4dO3phZMioqWbWaPMxKov3BMgB7pbH1/mD+7SrL
SmoPCVEHMX7yYKmxv9Pd0UTxA0Lo1smKr8Jyn+eorL0uytcQ3LeOmYdFcJPocDEBcrnVZg6Q02Ve
/WFgGsx8mGoYHF7cwNK+0LRMf7SjCgOg0FIxrgRtN+6SbP5QLiGRh2Zr8c7EraLbcFLGD7A/1Ccn
b/RjHGvIVQTR2vv9t5G08OyO8zfSdQSTQcsAph34MwORiwdRpyY6KqBaEeyJsgxpi67s2vKMcF/n
HwIUIpH0HXMA3qeqYtZ4RjWaYaKV5/zadYGbpPsja/Y6bnLxnAdaDYUZHD4PRqmhGKtr9RRtVWK+
z5hX9SSGefznvhVf77bEa+MsmdGQIPaFO2EgKrBUJUaNNhyzY56q0b6ysmYndHMtVrm2KMNyKc/I
ESwQ1O7iYFFnbREYYqIttqvmZ6hFOSSeXFHIfPKWcfNQz3bq5EKY+O5PlEBCXnDwPAzNLJxGb5dd
jISs741w0dW8pHX22EVhXmzLJKFlf381+f92aVJUamgHY7saM7XL1QzGVVEcAV0Lp63zlMKCtvfL
DpkY9L0hzp26rt3qpYSpU+72f91f/Np+aOfJMQS+V1BdWPjmgpkOMSA96VlRRoUv7aZNbZU94/W2
u0mDqFoJIa59oMxu6PRTYuQ1uBpqNDKY69Dj8Vq/oohqpfpxAMWy4mmvbZSn1aYwLONA5pYWt2IQ
Ouy9yJd7E0H1p6Jx5ieF8XEvbXN3LaW5tRbPmkrZhlI3kf2l2xORSEvwTpMHvZAEdmQwUEP8zYhy
slacvbEUiZOEzHOZwHot4q8YEft2gErcmzoR/URmK/2Ux0q6U+Y5XjHK20tBpEcnENzp0s8hxlGq
8Fz1UHMW4yfIRPKTXpj5HkbxNfzzDRNkQkJCTghiZdPzcgOdpkemz80Gr4fo6+jUEGdn0QDmo4Ab
cB7abuXT/g5BXF44i7a5hDcJmvYQPl4uyBCxGg6233tICWbobDpWdJ7C0f9SmJX1HeUJ9VgXDjR9
dUbpxA54x3Zlpg8nPUVnBldeokKL3u79m3jt7CwcDpkLYCRqcMtKWFYjC6fHiF1BcwChhj4Fe9H5
iRdCIwMHx3iEFtQ831/zxtbTvaKqAq4Nd74M6LvMHPIUTk7PgLv3HwVE89exCiHNhAjioDXo1N1f
74ZVydAAAAEDXjZuZ7Hz7girThZ1XgNFtJdDhXymxj+fhGi04/+wFKMwABfItenSXS4Vad3Yh6nW
elB0paTbgX82lMA8hCRmK+21W1+FmzFlGUXWFhf2hPh2B+dV3HpjHzWfHEVzjwS82guFDmdlA28Y
iaAQTeGEnEhYy6ZnBL9GqVai9dRqhGxeqd3TIBBTFWE8PNbVBE3VXLw/pabgxmkRQ4NyIeO83MrA
bWpHZGrtFcMM3GQH04kPFC1FsTFDmTqEZxntszE80rqHBqtwjdT/DSdL2ay0fG+YK7EX77IGKJHK
xCIe6LoUheO6AAMOt+/0uUXpIDzndQUPHUmOAv1pZ/rp9t2G5Bg4JglqYt3l8yyaiULDbDaeMLLx
OKG4dYjgfzmZCpxJ95e69X1yi0lDXaJLV/75mwQBQa4xQTKK6Fxy7fiq+zufI38P7m6CvUDpD/eX
uw48LLpevI40peigL9G0eteTNoZW7bncfIj4GW6fkMo4lXnxGWmh6NRIlS6YfZqVu3nzOwkDSIAp
IlwBL+ApzCcFXV5vbKzoBVKP9J/BtoIdxAuSUbGs9/c/9EYWSIVa3hoiXyAByycmJswoq7bsPYsp
LABocYJGeYqQ2HYaWhhmmhpxkmCKHFgls3kkYcqCf5NaSX6MWtKsON1rd8FdYrRI1ltBqi3dRTjB
ZQ4TzUzdrRqCHfpr85PbJ9V0VButWLOp60OWNxfuBjlTK23r0qb6sI4nM61UT6sKVMziBAr4HSJ1
xusEffiLa8O2jeBUnOzqLilXEI/X7oq2wN9uNn6R93ZxYYEaaZIXTvXokVRb0cTlD22ooz9FrkAo
40qVYKuNnZ/3j/vGBgNFJ6CmtMI81RJnGUPTaloDgryBBp+cGbfOxzzTm50TNNmKJd9aiiarjGlZ
iebZ5e46jVWFpkVxaigS40cuxukMXwq8gyq8e/e/Su7VZdTCgLqc0TKpn6sc5uVSAW+kpNOfvADE
9IG2qgVrc26dUtB/J+RuAQY0ChiYuBwhmCjzlTt040sF8HeOk7eAbGHxCDgw8WZyptQjZCqODanI
ZkCSZAOh3FqAdmMp0EN0QwBIMYa3bCo1qmIQeyaVVwKG32vulH7JUEZC/LSOVlzgDQOlKERfkOIU
KcOyX1ZT/kEUeuSrIEUF3j8qjQfmPUO4HoLob1nJRX6ouS7Fu58y+q0QKmjkl0y0O3IP3rh68LHR
FIboPhoogwBfCsQkCK7FPO9aaPJ+lW49pO8ctgXrDF7GNkxCejlItVizRY5QRQw79zJ3KLPjXKlu
dqjCBELHzO7QPymo+q44u1sbDD5LNl0lq8MSw0ldsOxTh0r0nKCU6lfWzwim6I3TCXjQ7fJ3rrhr
EIjr14XPhEMC+IN8SZedNG2UwkOun3l1ZTSP9tyUh3bUM4awquw4KM0accByPeDGsqonp6oo6jnL
qETrYNK1R8c8T1paBBDTGwhYIm0bBt1T3Kppl29ki0pdsaClP5DL0lqQbXNJE7TMcdWiyEPmpY0z
EldNfyonOGq3mVHb8GB3MMbmgcYgXGY5u5AG/n5wxmF/3yNdPasYPxSPFKDAmuASlqjgukKAd84C
/YxsUEsxtxrz4aW2wC8d3Dmq1E8jYp32wVdc3z+UMIagmpWWSfA4lNTY9yG89NFKLH5VoOM3UbAx
JHyWWSjGJS8vVhjYASDWcjqnZWVtiiCoH0Y6q1uLsRmgFCEaN0y4bh3UpKjhJcGxRF3tvSmt/BE8
tTKEY1IJjMrlj9B44ZWIaZLzAExnLxwWREd89IRof6noGK+EqMs3Xi5HYZ3UQ87TE6ZeLheaE9JG
md6fQ3sY609J5qZMJ4UTIuCHBjOJxQbe2gTNZgTfoomWJ4IIK+YoP+nt88RvADZGaYJLroL8WzxP
kNVH6GeY/Rl1PP0/e57Sr2kdpk91E/Yrn7usIbEUBUgsD5QDXd3lTOqMyJ/aDFYHP14u0Jmomr1N
ArbyNFxfa0ot9A9lHIEDW8aMbmbldOKH/tz35fRYp4z1QlKBIE06qhsHYrvN/dt04xAl4QqPrEzF
qXteHqIbM5+Za3N3Nji94aVPCuLxLjOmMUPoMLNTjxE33UccEc3iTZC2prrSOVj6alryREuEMgw2
A4ZTF2Zkl4mAcDxozhhZjDxBbOZTemC8jmGSpBKQXuVK1KE+mRnId6/xKV0NnMnl+XSeKMozBDqL
WKrL3V6gxz6f0eAKdPfU1yT2ycZB+ik9wKRdOw8OvT/1NTdhyaOc7rSlO2zrWe2d7x0iK9rTMDuO
cUxtPVK+K3DrlQejh/l8r6jQFxwbBsyCehuMlAt+hX4dp5+0LhbIchRyEOqH4yLC/NygWg6FZhRC
wPneEwZVwjOh0Z/hmixDKDNyI/C+Ab2vqHrJww4V6BY9m0ZJmabo+/yhE3p7MLRIWYlSry+MAR5X
wvHwEDKLvzStxECverQn/6yqIEljcq9taE/Z13d/HqvQGTZJ6rCexfnVCAYXutn5Z+Tq9HgTNJ2k
iTL7gaphZ5XO0bEBh+/FmOgmWNIs+PLe9QGUML9BmAFuFuWTy68MRZGPjFi551n4zIbiqepN19Nz
msPE/4kyYLBLgrRzoemy27X59GtvAZcN6QylO0YJCScvF4eMr4TTZnbPY68hDaRa2Ye4crJPvQbX
Y+Ww6v2PvbEehRio+OTcD9ML8s/fxI8u/LZ9GI/i3CQVcsaFYfTonNYMlzWlQgLQBNVK9HjjZYUu
h4CDNERiGpaPmm37BOBVLs7B3MpREITO54L0Q53okYvKNyCurMKCRgZgmigieJ4iplUHLcwek8ZN
85XrdGsLwJZToOZ2SkKlyy2oU/gAaNKzBahPeEowvkAUXu39Xk0es1KJVqKdG8vRIbEZHAPYKkcO
Lpcb8li0CD9Z52CMs03YMhhSBJO91wJt3Ewq3YX7J3wd3wF0o2hB+q7L6uLiPRhN9hJBmsDrClQM
NnOpo0QKg4j20y78/EPVWzbyXpPZv0L+jiCRi1JJfrr/G65fBF4D1mdgEZaLK8eR2TSSfaMBnzVq
xalrEGpPojBFn4EiSR5Abpji7t7ZzqWGSjsXzkf+KdNN6c3emHZGk4siwRB4EOm5u4ye6dEtRH5g
sH+N3eI6aGEpmZ7I/IQe2OJMDZW6M3IxgYeOuKIf4J8Mir2lMqe579PGfS/YlS+jbikTeBhHZB/n
8su0MimRMdKRZRZKc0bmUtnkmZ18R9F4rTBx67YCCqK8RL0Li7UWt6P0DaRDtQ61NsuaD0aCdmdu
o1JGmxjFgWEwt/EIKSokckiZM4mE+K4bHu6bz43t5cUhrSZBkDDYxff6qRKoZe+657brisMwWJ+d
aY4/+CBQ3u8LiBgIXnD87O6y5BOlrjVb0Nice/bj6GS5Wm5qA1mEbd6n9TYNsuidVJN4HXh7eFSp
/pLEk21eHmY0m9DyDwqEaaOmP4J4sJjM16oTE2XtCq/EjcOUBTzKTPTA5WVc2KkeDJkWIKFwnsuG
OkFVNeofv6y0f+w+QRWlYm7aM6d2RN556tTH2VTib4gAmisu6doF/h0hw4iBZpHeSJf15maWxdwa
jC1X57FUHAq1LbxZdZI8OkVdnzUy/ON9+/nL7XqZVDCyRshCIkWrmCz7csGiRd8Q9ZLy7CJaA2WJ
nWZK4UFHLuyXGSUKPtjwM7jJJTfNsXXNSnke0UKpPliDmlT/+ZUyWZ4dTYr9PKCLimxN3WTGTxF3
doAoz2CE0db0uyg7j/pUdgdXG3K4maMaCaNNrOtIeKI5iKbvBlWeaP6OnlCovoauQLbnqNVVEx4s
M+mB6zNKoX9X0Yr7BcUW4ooOBOFinw5xkHxy8iLrNpFf58r+/g5dO2i4izEKXgrmLYguLzcoNwqd
feDnR03pH91xfqZhOp7oi2SHZgLOq47+uBJ6XN9qInXJ20fJUzahFmsqionEtZ1A4IqE4y6qEW5W
c8tG2Ioa5Hs/D7QUURVzFyR69L4XnxdPWR4qWXoeq0n/aqJbEezaxGnGrS/0bjyW/QhEea5xpysr
X2djtPSZ16FRydUGvnq5cuYGWU0TuDvbEACNjKwHKuATJUC6hVpIcnDMCMXIqke1dcbFrTjO62Ml
AWRSgboOdTOKoJerM/RV1bxa49nqMwNObkYJKSSM+57CzmOeOvPnXM5h39/sG+fq0pGgsUbtlYHR
xYvRgZSm5Y4CtdDHsDr1OVODJ1UvQmixm/c/hTCsCQPGTdn0pt11+YVRgO7DpDX9Wa1Ua283KIUT
37ibOTbWylRXm/kXE6ZDDSDICuh1XS4loGuexiJszyVQSzQ002qPwt/wNAaq5uVxmqCjmqxBSq82
U0JPKP3Q3AIkRld/sShppTkUUXNu/QDCe6ph1pOoJreEPq0MXu+fnDSHCzcJwRIBOWAl8KQc3+IL
oylGbBNJlnPXDO5+pL31lA2luwlgKNtPDC7upoTg0elyKc9dmSuP7/XzJPMuCaSQFXskAxbPUxKB
ikLoqDoXBvPqcOG7RzMfUqim5zr8CJVxup1oO5n8AqTEd6gQVzqCIu/GthObA/+jmE/7AEteUtYk
boF2sqPV52w2IKFoOwvNAyTANyk0ti/39/zqLZRrSfIQg8YwJbeFF+wsHXLNoq3P1mQAZM2Ry4w3
eQt76QGPYh3MsPK1lRt6a00g5QQ69NRgnF66BROCjdr2q3PVWGV4KjMtHF/tWkHKuqAq9CyYmn9v
30fuqUmnEk8kO8VLulRfpKOSdFZFXa8r/tiMUG3tObBfpw6Kj/tbel1PZi1iCwyZ0IrAe7GnZRz5
tpV19VnhhOOO5myZp8E2rduGiq3iT9qJeMDN9k5Zuq/E6aW1D5NIb54VpEv9eNMYVdGu+OIbm05c
CeIK0Lsssi5+FKQibYuedXaOUXT7BiKx/0F6HyobUHv9kbJU0Lz/mKlhk2dKWiJ5ry99R5nPllAK
Izt3aVY1NKdHLdqFyLLNP3wzMb8aLXqRKyGmLu/opQ9h2IXqIzMTBia9zE3UZDAiiyrZeQbXkYnN
zMWJyq2FVOEEh4mskulhWk7wwhqIFH227TweDhXSbNbTVOlw2bTWNBS/NOR1jG1paW3wV2IxRtan
symCuFGgut1+CF0XyjnEvwZrE5Zolb2oYhzrUzXbZXu8b1E3zk4y4RJDODaYo2WDIiyMRuRjlQLK
LaJTrlj6KVHqca+X1mvphPFK80Fmpos9pFpMxiq5vcknF36wzLJCK6O4Oau097xkbJuHXExrZcS/
jKiLZZjuAzvBk8ZLvSy116ELwdZcDWf0VnpxJsHNYWJR0RU5VI6gx+0rQPnt3aggj/BSQZeqeQGx
GhTSRpon35MZjZFPyEMP/leqM274MTYRfpt2lpsb+h4VwQCRv4RAWYq1jiVqbChm2mdrGPHpjIM6
0MFPVWrsrSjx2yMg+0g5MTFKwS2v84pBQBAH+ikqzV5DAboU1iaZ00l8htVWhSDHT935R1sgT4v8
JXpe/+aKpob7zNfN8il0tSjap/B1DNuoQQ5olzrVPH5NTRPGl0jX+/8QnsimpznX2u4hnULFgKXW
CGct2kxhnite7VawDW00HVaNZAOsw3KfYDz0HcqRE/pD943s+qmn70GsKEmXmZde4jmAsvAbSALO
LVy646kp9RF57iCM0i0TM82f+6tdBaZghEEcEAvDQIEZLAILBsiDyaVnfR7tVFThDh5xs/qESL0Q
x3wao+RPWwVxp+0c1MrEPhpRVXm+/xNufDCobOY9GVSmsLD0T8pQp6CRp4rSwph/M5io+FajNoPe
KZoq/8NS8ibR8GGQY/niuXkmJjvK63MLK7T2bWZeYviuJESo/43QdJmf7y93HSqytYwmUlH8Sy+4
KGEPXRWX4ADsMzpwzWNWIwPHgOs51eruEbXVdAN40FrxvDfWlHVjsnr8LrNcC6dhxkBUkaNCD7ae
8m6nd61eb23FzF77oFG2cNN0X0IXvZv7n3p1iHJyDOiDnMhBL2aZyxPW2PSNhQ2OLTcfBUrXXkSz
GiXLdu1dv/LCf5eCRpC5WjmatzDZOg79Bv4M+9SESvXTbNy53iOwmXzS4UI5Z8bcr9zImwvi9CXD
O7X4JUrSKMKGMr1in2xz/teH7PpxQKdrpznz70xXo9f7O3kd/sIgiMNnIIQzBAkgn4U3ZREkaWaE
JYV5KlQl+ax1lvrd7Agm9nGS2yHsyXmBQnI8tP5ZV0SrbVQfzqgdorP6/v5PuUoEDLo7VNpAhzKD
w1N++UtUx28CpxH6aeiR2P2jTOHUiH3mOEPcfihHKw4kHVmqPs0xGJetXYH5O8SJkQ3f7v+Qa+ty
SZoh1ZCtLsHYz+UPcbuG/mWE0OowN8EmMEL1qFtNfuyB0pzfvRTpo5TrwZxVwLGXS/0fZee1IzeS
peFX2Rcglt4sFnNBps/KUqnkdUOoWy167/n0+0VpMKtkFpKovdBOY6YVGcEwx/wG01sM7Es8QLG6
tQuqNmGqmR/UOjDHL4RptvPx/ng3FzAiSkL5B4Am7Rf22PV4MS3jaZSlbm/G5rBtMjP8a2qxkaL0
U+9DvYStbbfBWdfLaHN/5NsOKUcIIwGQFgiJKDcdjzSf7RqFm3YfWg2ObWiKPEf4/J4lzS+3LFG5
geKKwI9iteCcFQvFxGJ+aBo5OppdgYWcjnwouIRsgzwdWl5ZWRxThJ1JzJwKn9O+M94b5RAc5QF7
w9Sv1Uddia2VC+/mdIpZ4GkF/xuyO53Q6wWMQKsEOk6He9bJPIdVVR3TQo69GOuHHV5ma6KxN3h/
AiAgIWiqkouDTFhedQQDZj6UMZguXQ/LHWLuIR10ze9S1CbnuVKDDyNCo92ptvwkeNcBtE+JFEDz
PNhYc8gfnTG0pT2OmpTaXAktJX0ts3uJRK9iOn4j1wdKCqRZII0Xd6SERLDRjl29b3BnOCnNpLp1
HdZuU0WFFw5S9JeZqdpWngftMhY+SSYyD5u2ijG1LeN4r3SyvVH0ABuqMIzf472t7xrDqDbNXCRH
xPyTB4wH8f9EKvmT05bqzqkjw0u5HI9l2JiugaPqDsSIdMApeFrZuTf3kpgdz7cNZAm9taUKGTp/
6AcVUr3PAivfwK5KH16swouyVjd+0rWXEcmojdx27QO9sPCtV4QYnnIT2jui/758gJJaQZV4DJt9
VkwgTqvI3od1NXu9qa3lUbe3A9hSmgIaIQupwJJvqkDxG0tTi49VJjt1v1GS2PJ3g1GP8U6bC794
tFUz1r77QZjPP+aa8p+8stg3AQUkJE6XRuuHQAaI1uJ8Gckgp3XOT0jS8RwGReNhGdpcjCGrTo3J
QZfaeT7cv5teHZQJw+kSF/5SW3xAv7W2zSA5OrXa9pFXtwiNIyxuFtZBxl1k/jtR1SxOvDzR62ZN
aPzmuUEHiN0luiOAfokVr6c8DXWpForsH6QBKbDOsIB391aypc6UrKzu7VBUEmnhUcQxuVCWCiEh
yYwZZZNzKBozPVBCVN8joGF5Mx68K6/5zUXJI0Phm0RP1PepRV/PKpiwPpYt3zmMSRTs5AyNOLtX
zTN0gM91oiZv7e4wHLVmWmgER6Idej1cMhYYLIUwSlJ48lsZMXUvRUvtIIVYY0kl+sT3t4y2WEpa
6AAKiHhf2hfkJ4tomzqm7OvaID3ooEQywKFFNTxk+M0ku7Dr7YryYWahx0s5Lajd2pLL/CtGv4O8
T7CGNM/2oMuIy2JPgs4shEV5Rxzdzd9KktJfpJT4s8azAWR5Jn2Nt7qZmNPeABkwNxvMppKHcUhk
c6eMZRK6DsL/lee34zjhdDX7o/ToQF5+QpRE7w7xBF3RQ4ebjofuA2w4WHFpjJu5rPxgH7W+lZGC
Z8qsrQE9FhcKBFvgHcLxQAB3RLp//VV6A795Kj/Bg5xq/r6u6899a5gfNX+0PEvvzE3cW8B5pn6t
7rU40QxMgkn8BiuVSEPXFwMrZLEvdWWUygJ0NGTlBxQbaVslrXpUQn04CC2P3f0t8cqY6HFyR2ti
46Pdcj1ZXJKj0pjt6mEMbPMQRMgV5F1pn+tYn9AYD5IN6Ls1lvFLVPzH24sCODqrDCnwmmhXLhP4
oOd5N2pjPlPA0eVt39uziitPmxb00JQp/FnU/vC1SiQNJ+WiSXXPRo78OcDXGP2GGJq9V1Vm07gT
cqGPelXl9c7PQsu6BGVgfzbmWg2+FHEmpS03MVg+1L3TUMObPAun6qloWYrSdQI8lR+RyWrjTT+1
lv1RrhQ731Ry0ZbvNbuclc/1UPTZg4VVWEJJxZ+SwstTINQZmrhOx04UevEB6oA1phX4OgyATp+p
7CHX4cmVWYLQsUpnrDZK0OT1psNu6Nw0UNd2vCPJl75Epc6lbT4cUaGf5W3Es/luhEn3M8HM7h8H
fqLtNvhgv+2m4wvQm3lRcaPlxlW3eLIKJxycGUXrc+YoNTJjyo9p8qNHHXLOYYpibSUCvdlmDEdQ
SDCAEBEp6WK4GhicP4JoRC/SiM+N3+s0ZzED9ylb7ebO+Jk7wRuplmKKoDE4SkDewQwshfkc+kHN
CNX2XHb19GyUc/G1Vbv6bGr0ax2h1Xf/KN1crkgACp8EYOLYt5CNXR8lA93RKCA0fKxCY9qjqxY/
zHNY7ME8z/s3DsV7z0WBmSGeOIIMcz3UnPhVDjfYf6jItz/I9Ti5iRm239JxXONrvEBG/jyroFn4
aoiJvOj7gLW7HivV6joHbdCcq8ZO8xMNizY7GeogfdekWC9dEJ7A4IdYc56BVw2dJ6HF4+zrzBo+
2akaJJD3sEE5tDaV7ChKcZnXJg7lytu2eLrFlSL0lbi3BRKSuOT6Z85BQU276rVzVejTtxxSzt/E
FNrzpOY/pLguV8pkYtZ/rgqlI0gkxLgG9DbKwot7M08aMxtyfT4DxOnP4zimD3NnrYm93U5KZCgc
GGFbCQdIHKs/6hxFV2JJmZTDGVBFginDJEePSmm0T5naxVsTweqVPfzqgMQk9IepG/EUXQ8YTz24
kFntz/owT2iHlIrj9Ylt7JHKDXZ5XZhryr63NwMrCV2OHIzbAZDL9YjjlM+FlBM2W2Ely16poXEe
+VqUeWPWTu/kALuhfnKSlXfv5rBiayxiZ+4j0aFeXkiSgkg95DTl3Bhzv5ES03TJpn61s7OmB/3K
SHRCxCml+w49bnF+WgiXSZ527dnwET1ypx76jaGTHrqKGdYrF8MLSmKxL8XFR6eSj0g3fLGcMtQq
s02D9uzHkr/pVJ52T6rBpX3tNKutXRVLy9a1hyn81rd6X7it0+kOcqyqr7kiSFA+BvTA+kPVtX21
0Tsjwa5Dlb7wBDrFNmuN7jQ7LYZlphIFSKnVtaI/WFil062iFxBvrazv/tJzU048xHeK90ifqslO
1qepRAO5q2mWWM24dh5vVxn+PukIXoxA+eH2XG8j2HujoaAjcDZwbdtnSIi6veX3j7QthjffNNxj
FMdR7kGtASmY66HqpleMicL/ubD6X3lFnu8PPF6CVh+7RikXf7/xsiePBxyCepFQnOFqux7PB9A3
mOGAmmSq6r9GXIe2fatW426ygmlN5HVRNxB7h7dLuIQCveSSW9w41qT5UV04+tlA43lT5jp6ARz7
s1EEFur7/RTv8POsQRmr6bzXynBNruT2BqJaQbP5RW+D90186D+uvIyGdDHhz3vWA3s81V2nl56T
qPNP26yNd3peR2svx+3W4d2gpwJMFM1CmBDXIzpJFqfYuZtnv+rmbYgNzjHoBnsbjNG8cuvcXnY4
VSFsqxJyWzKavddDBUZv64FCIqX5ibKVUQs9dPoYe1WJ4IWMDc53W8KB9v7+WVqUEuch+yJIAsR5
MpGDWPI/ljSuCz+wHb88EyynMdhFa8i8HoXneVtr0lw+oPVmfR0aWw1g25eKsitjKZc3iHxnxSaa
9DJx67mwtcc4HKxdKcPDd6nkWequNTM7wQobysjKUi33gfjRkMowKgUGIYCf1z9azdAeMCe4ZBGh
Yfw+7xJb2TQQx/4qw7Asn4ZgMN7YNhE2rtQCYfaRjwvk+eISme3R6Htzqs5R0qd/YaZiZxupbsuL
E8dds3P8fvp+/9vczpI3SGAvKKPD41jiiCzYr+k0+s257qviojazfKD+XX+JA7lDulFbE85Y5rbM
EMQHdxYiuWD4l1rRfM9eLTKcNgMQ7gHJtxK1m8DWMv9Y1HhgYW+t+p/MuZS8Qe3mL2+eLdhC9AfQ
Z6TasZSBsY2cwtSgVGfJCgYFLo4U9xunK53wMg6FvI1Tgx/y5jEFtwnEG10ayiiLC014XGe+ZWAi
NqXF53EgFYi03vweRaovu5EtNc/3B1xeJ7yRov0iqq/EwjcZdaMTlpWqNJ0FGfaQ0njf1Q4oyi5t
1tKA291DDgASipuEcsENpK/0HbVBJWQ8D6WibStdL7xicuR9kAd/zxQkV5K412ZGCMNo4OsE4ff6
SApox6DBSj/nyF2GXg0ZvtsMod5+N8rorVKbmKCLcENAsEVzDQ/O69F6Z4p0G8j1Ph3nYWup2ZcB
TtmmR0zvIek7faWDuewHiPFgMxHg0DIVhJtF5GQTLgygTat9oQwhBGISmuyx7WyndQFepRCo1Kjc
jyVekrg159oLAi2IgDS35i+68cNn3DSdELXHMk/cqsxsSCqNOry3lcT+Ukl1o7o+yqcf5MaRci/P
pJGuM9RG28tMKd0GMRqfgKWlbhvkkMYpM9V56E0BwnpeaJXZp/v7dPnSv8xX1MsFhAIK4OKyI7rD
uLWv6v3QSfVj0MQhIGa52tEGy+kM4b0zmtR3lVxP95bjTytR1PXwSMoIcUhksymw0Ybhjr/+vLmS
tqpNF2o3jWZy8NVMPU3SEG81Ki7tZpCkEiG2KAdhYZTfgkRekwpfQN9+/wCgIzA2uPXhQC52s2VU
TpCA+ttpDZ6quQpjOVZm+TkE97vBC3m+jKptvGvVrD/WShNsK7Cem9iUypX3+fpO/v1DcOChGiZ4
dPya65XIqrCTnNmWsQr3QQJQtkI/MkA9t6ua7uTDln6qOivYQe3Q9/f3gPir/z9b4NYQJU4iEUG2
FUJqizWYseAGbhGq+8Qyg4+JP/sPDaH8yqe+vjdeRqEdyDtH9Z4S0LLGmEbFLHf6rO1tnfwct0rl
WZnUeuPE/lq14vpG/PdQtOGJz+kWk3Vdr6UPnKqwQl3bR1anvouklnesVsZvfjDau3n212Krm6lR
tyfnQPKKFhtCW4sFtKW+dWrKUPso72HByHBeMCGVdgPVA+/+t3oRlrz6WEh98m4SKfC1oNkvTowR
8KDjEqjua6Ntn+au8zeKZNsuNFNlL7fxzyQLyyOp8vgJ88PZDYzQvsh2lHw0c9yWCPSaPfsQeIRW
2JuJyOs0mXieq1YcPUZhJj3POGBvowEp5xqK4b4P7AwKtDCYRMtgm5td9f7+nBaNYr6XmJOQx+Ai
EvnxYk6K0UxUmjt1XyGW+oGHOkYnwJoPWqLV1KCBUMt63h/Uvpa8MJ2tQ5qbNZ1Yqd7a2oSggY2y
6v3fdLOF+EkCwkhfS6QDy2WWy1DReppMe1tLjHeoL79vp2Y61DmyrkUx/7o/2vLwiwUgVOB9oy7K
IiwOf2HOI/1TTdtDyXE+Jg4iZuwBytVyI+/LWVfcCubYt7jkanzzyHSfiAVRo6MSvMyYk5BQDVaJ
ti85mqdQATETa6HvWlY5fZC1SDqHzawefalZa0PdzhnGAzUReI7cd/Q8rg+pZvg1ldIpOKQUizdK
2/U7LcbGr9BTcky7LrZpmuHZ22lrwsy335Ywm+kKKW2D/GKx2n1p5DXwtuQwO3CbysIqtoWhhZfE
JlRDmGuNLLQYj36a8E4QIQwZBbffYrx01FGcCUroQVoJd343JBLhWUaOZzuIHo8zUqeZTbXl/qe9
HZbaFuw13nU2FUzA6wWurQhlZbNWDpmvSThA4taFcfpPvRrGXTQHa+CvxVPOLEW92+ajGpBWKRxe
DwfToQt0ZKUPWJHVm8axum1S9NoXLY/C74bktIdktM0NKy27GV97JcJfbKeX4dGLs3+blfMfroc3
MYjqJoQaDinv+akDqui2kTTsqzJ+F2WtvE2j5BsURm13f5Wvk3kKP9QLQLgQpPICcJMtxg1yOXKa
QFcOaeVHX2ysIT09GYIndM/U/awR3dH7zVbC1FcHpUoK8kpY/SxvJzVCDc92MvUw1oa2kzLTRo6B
C1NvQhj45HSbqlXWXEZf+cDIznBcSFWhQtwIYQH4NedMVw8h2LI91oS+GytKtddiNClMMizP8bvm
4BeFsYGeo/66v9C325kau6KRJUMMQ6Zq8UgM6L2q0WwZhzqFkZV2Ruap1hDv7dCI3VkO3+YXKD4s
PxLyIDkAhcQbDPsUqVoyVIl5iO3R9szCth9DkBxQPStEJ1ee9dcmh4IRrzqGgSInv969aF/k0tx3
5iFhDx/wdK4f1UFAJwd9+JxxcFZCvgXt4Pfs4PfBsODmpfa9OK1VMY/ooUTWYYZa4FaxNj+Uw5B9
UAtflIcVbV+HZr5XUx13NxCT+4k30I1JX/d91s4Psa/2z02Mszo5QvGklXn21FoQRSgchR6AoAws
ikxINPjBkL0tlBSfhiSN7Iz/D0JjiXKkztprhR9j36wM2ZPRZYanKYjyVnW3pnlze61wbQsHExnB
A6J09frDzL2v5I3Vm4eqsOODo0KLQe/behoaE/wBtFivSCN7F1UoNt7f74ug8mWSMNl4okgYhU3t
9chmwwsZ2sB4cE8xvs4OP8CttArhnVxRPt4f65Xtp/851uJslSi2YjneWgcrULALt6CqT1ZnnkyI
BF6t99bh/ngLfxi2n6CnAwgDH8b5ompxPbloLjvTp/9+4GnqnqWyf8qVLtmoTdh+HGon/Fk58Vnt
SuPYoxziIs827ghUBAtVqjb3f8zNQoM6BwlO3M5riSzB4uxZPa7QMsTqw2hJpoe6s3GCrHkJnUb7
8NaRCHKFfCxgbEzpljK84M90SyK6JTxH40CKZ2k7lJZ6jBLVfOOFQg+NISBYsLh0gZaT6ux2Lqrc
UY6qWWXnvA1/SHb5M0rH7FnJ5Gn7tomJjh0hrKAiUji9EVjA5KeyglTTYR6Zulc3Tvzg5Dg2pn22
5ia2fPoYiiSBJ09AwWgYLt7bvp5qfGbYGJHcTG45tabYE7OXtb6yDSftrzrTrZUEZXk8XsYkExIO
gtDC5MUOMaaY5qTeGMcQEf6d2hTKBmPR3IvMOtq2MwW3+8u5vHTEeILPRE0EGBCX5fXpaFJ0/nOy
kiOg8mrTKaXmySMIws00jObfvYQkvTxmzgxDr+eo3h9c/OV/JJgIHojBGRvEM0/Astss+7nV9aNh
gKSs5G9aWcqbzq+xxro/zGvfkaoDSQcUP/5vceUUWWl0jj0YR9zapJ05TZ80Cf5ObKFNjbBKcKkC
q1p59V77jrRAKPYgBXVLoDGRvy3bJDKPsWYHZxTk+/ex6SRc4VPhqdkg/3V/jsubRSzlH+Mt6xB6
XqpmQiXpWIzFJ7ke+gekCqd/+siy16ToXhuKNIPJiRuMbXO9ZagpQberB9gsFZWqtC2yR4uHaiMo
GSu32GurCGEdtBiYRSHjcj1ULA+5b4MGONp+n8Subwa2V0VpQtyAwpXbm3m+Eu6+Njneeih3FKqE
Qtr1iFnQ6Foqh+YRR4h6z0UjXTrVN44J6NQ3D4Wok2jB2FzSClnx9VDTpHVGXIfWUYmyn2mqTY9y
jH9W6ZfjyjLeTor2gIgr6MmRLr2wW/7ox3X9YDeF1VlHGgnhO8jyGn4lg1BnrN6GriDHhT5Lmwdk
oah0knFfTyrp4mLyA806amp3MlNhmWwPLTA1G8iaBTlfC8350/29f7tLaPFAlIQMIyAdS9OdqZtx
JrRn/9gGteqakFpPcq0ICYBG3wPhfJvW2sschRINBTgoDrieLd6FzO/HsSFCOPGWmpspr4MnS0+0
lbLQAgf172EoUqH/SWAGtux6KTUlSI1JHwPsAp1sb6Vp4zVz2j9H0jS5Q5z1j2VF98CK/fC50qPY
I0QdQg8J82gb84fbNL16gI7T0cZUe2vlVn1B7F3f3g6oZbYvaRqooSWYWO9H5LlSRTrGZh+4DViB
n3hA9Q91N3xOC9SPpNTUdlCrtY3WlpZnZLmzN4y82Ux+qJ76YWwP+ZjoBzVuNKEt81SNM7jQKg1Q
2Lc1jzZl/dXAstDDSY+LO0VJT5LMYGsasfkziQfzgmJWsi11fbhI+mAd8zEbD33ZOBujBko9xFaw
8l6+cpTo2wNHFhUlju3i0BZm1hCod9IRvOh4SkMUE6c4N04tWeLKAr8+lMC60xSgC7Z4moukbnSj
mKSjwQP9CAsdzWlgPaegz+uVoW5eSFMAIOhX0hEAHu4stlqK2luCEkp0svom3ESxpB6dsJFdK2yk
o2ZD5tN1RKTuH9ub+TEo+CT6YAwo/Iau9zfsQK4RbYxPyI81+6gzmr1mR/0+1+O11/i1oSh5CsFg
+nuUtK+HsiRYL6HpxyepLXCjGc3xMqhj641Nlq8QxG8uI2b151CL17FLe2MyRjtG2szu3DpU8u0U
auGG9f8rCOhl3l/EFzPHq1MoxrMF+IpnhHhxsSGdCdKsVSEK2HeF4eVSUWyCJCy36jjj82PlwcNg
APgwcsvaTZLWAf2XZtDDiCiosZK/c1Dc+TgFfYkaDIlJUabBW0NafqGF/x0IFHYXH+F68X0rL5VY
Q4OF6z97F3fGl1FVgm8pY+4cPS3eJmLIvcl4dCtAStJfZYNp1+Ph8hIM6OEnuKz0+S7O5/oxzjuU
SnJLclExqCR3UMPKmwndcnfUm/hsYge3EgAuKKMvPwOKDngtCCtA/5aAP9Wu5Dxv5OTkaDPqjZKM
SO5YjrP+OKtJhPNSWjs/zKaPWio+2fx3o/o0WBwY+NVb7yyBOHxRA6f6zdIstiSgesReSzs5dTLQ
wzmQIxcKf7YzON0rQy0Ld6w9ngeEERA7yD6XgIu6Lfq4wIvvVCap+hhkqeUagM+3oWINl9GvTM/G
EuEpNEP57AeYfd0/Da8cvhdKlgEi78Xn+vrTj6gKFi06Yqdc6ced3cjhqYjlZltOxfTBoKm5Mt6r
H5kCEU8CeHMhZb8YcJj9ucz69NSbo8YGTwZgLHNbuYNjhil/hoY3wwQIvDntVK8YEc/hUK55IL62
7DBHRI+DEMhYhuR+WTs9goTpyRqt8cMIHmwXYJ120tPuM//N8EWTnNQzpybyzBZ3npXn45XrVUSV
wBhImMl3xGf5I75s5yqY/HJOT3qX+hSNGvuxMcvoBI5izZ3v9guzhcn8qZQCqKWOcj1U2UPf70cn
O0lVOLnFYA2Uhx3pB4KdH1Vc8tYkm2/KRwKFDt4aiCI5CMzNxe0F5QwAreI0p7GwbE+OUVpsUBKG
uBQWrpTnyKhkcAHlzkm3vaZ1+0ar7Pe0H40vVq+v9WRvNhyhB/VItpzQygPDvFjqKm/NdJLG8ZBY
aeu4FWiRQ0pT3WOrlSiEzNljxDocp7LXv9Hmr/ZRJP39tlNGKVTUKVGGYDlgLanX3wDbLKMYCmhj
neaMwMP71DWsIjwjyDGeR6taK48voxNK4zweVAh4PEjLloECbsYEW7mhnBw9NzY6QPiNptadizmR
iiKHmnpJkJsr97cIef54V4GoCN1H8KBEXzwkS1EkvfLbAgy89GBPhXbKRyt8klq5R+e/oy3b9sZh
LHDqyPJ8rUD/6shCDUOwhdH7W1zX4xhQHprgzCmJIZ+KwLH32AQ2x75AP7pGK9FtZSUkscG+7/6H
XdRjmDOyTBTwqOKJG3RZ7I5RFQl7ujmXBojUJukVfxcP9Rt7lGIUDhWQQNJR0sSltrvRWE3r5HN2
GUelO4Ryq7lBO4aXupFnL1Fm6Xh/Vovb6WU86hUa6aHAwi6D2wy8zxAYU3ZJbSvemEYdHOqxxQt8
Vtfava8MhSYZNREYfWDylhgjWOhRn6V2diHL5TuVhW9ZbjYgWupUsb2WIIqo9XqLOlejLc4hWOlZ
ajKMK2mEaJYX1TBhu8FMaeMXHwjktSde6OpjqdfOBVkxzcXOWVmJPxf3sVhcUVfgceFiAte0uB4H
XFuSNLSyS1HrWbDJkK3yYGtqH2pNP+tShijm/a+5vJB/jyiAHNRmRTljkatMLVO2JtbYCObpnBjT
BbMp51feSdWpw0QP+BtRbhk7X1rH8mUvMKh0oIab8+PKNQblAurMzSTmT4pOPojqCU/E9V3YhU3T
4HucX5LZkOj81qnp9VWjw8JOALS1MV8jA+asDlbmSX7aBq4C0fQCurjZGqGOwrRGlTAobfNzVyA1
aSERoG38bFK2Kwv32nZRqDNx6jgMfLTrn9oOCm1zSc4vfY+LZQKdFvn/wPQsX5cfIolIpQUf972y
G/1TU8TaNrB7u1/5fIu7/GW9RIqJNLsoecmLgCkV0bIdm/kF06wZRMRg9DTPzXJvVH3i+nEruZaa
vLGf/HtUuNyWENQiVVrsUl/KrN7O+EpBolmPYFi/5qNaAHKZ5m0PqNQr9PCfopLtT3Pdzyvn9LVL
gafyP4MvnuzBr0Y0Jpr8UtLIe2yR8dtA0DNPkVp+u/+JXzuMhF8qhwOuGMIl11/YLiU/LMopv0yV
n38Hm5xsraQbqAHxULsZmdDu/oC3TxVSACDt6Gkh9HHTrajNuOwo/OSXOqrKd3WI15kfmd1+mNon
xMojJE3t8WPPl16501/bRmBd6OnJJFd0aK5nKmvD1Mixk18k/GX2kVxFG2OAKqtkVniWLeTy5wBU
yP3ZvjooWGQLeUZ62UsKKzLI9ECmoLiEUTd/iE2rfNACzAitOjN2vh7U76PSXBNIXsJGX/Yu+YUQ
SwQcxrt5PdUilf0gGUu2T5jqPybE+A+8XNO2qeLmuVGMX1irmo92I32pILJfcO+oKSKb2hqH+rXZ
o+4BV4HASPTgrn+HPyoxYi5VfslSR9npk9n9lEOHzvSQRt9Hx/Afpq4bVr7zy4dcvHGiJAWUkyIR
esSLDw0owU6miTK/WqPhjqm69KHqDNj9djx+0iZZbr2gkucfmZ4aO4BH4d6KnIlPUhRH3y/KHc3e
8IEPt1bneWU5EKym/MtDTyayDMRLk8ZqZ2bhhV4OMkudPW0so9a2Vo024qTY/n6a0mH/xh0oHhnC
UY4bSJGb5qcvlUGWYMNzafowwO0KSLUrdwVODQQD2WM/dIjIGLW58hVu5sqwhN38AfKImH/xEcpA
lwxo4eElbRXlV4qN9BG4SnJK8+FrJC41bZzWYtHFmMAQoABTPWGz0VpBsOJ6u5Vjk2hDWuXvSvxd
on3t24OduqBqC6PwaOdZ7ZPst126c9R2Mt9WsmJwUdtFZwTcE6TdpeV6PIcZBSure1dUc3Emj/tM
hQsi09goLgon48qjuLi3gUKSXNIEAvchaGHaojzZlb1pFLrRwmdu93UHVXIwEjTfcbk5gF3Unu7v
omUSyXhg8UFiCk4Okb6zeA7rwtJzRxv0ZxnTNG9USWGyGC0AE6E2IsVp3A5ynW0C0+l3ga+dAidd
szpcvBz//gnsK9J58VYtthRAAmjdWqQ/N9ocb51+7I9SVstgIidnE4/qR2OwTW+k9Ly5P3nxF/9x
odwMvJi71gRaGwal/mzHSbFpUMF6H6uq/fH+KMvd+3uF4chwWtBxXNYgDb3OMsNs9OcqzdPEtYz+
o0S6uZtsKzgUVeqcwW6+MbH6PTUkkChToIME1Pb6yNROkwRyMOvPc1sMO4zjzI3ZAmtOMdJxu8FY
K/a99g1fFL5R1OC0LhtAs2XGSjwY+nPgz8Y2V8zKwwYNQKAiBacUUY+PRhOEu1Hpp7e1TsVMXzwZ
NMJIYZiw2D1JYwut/th4Ds0g3xpdFZ3UBh73XBRr4iy3Z5OhKDwI1hN48aWulRmkFRCwwXhWleEx
hMHtao4EHCTtE/BR1litsX1f2Tq0eyiekquCc12iFcCgl8qM0OtzN8XBMc8651edaGR2mlx4vj45
nqlOaw2gVz6lhvwM/Edh78aNd7118KvT4kTtzGec84CROnF7dMYOxlHR6pfZh0WRFMWzLo/TmpXj
ss0pviU1eoJHUUoSGLvrof0B168uV4zncoIDm5oVjVsdPXUfnORu8mU8K5Mg2hoWTkNyrQVeIr9w
puQP2YTjlN/G5jbMS/nQBPUaZP36W4AY4Ykn6BJgdXI7UpLr36bESRhSpTF/CoqEc6bMmapnP5Lr
ytn4mgbUt8/buP+cdUVgvE2s/2VwhoUaDeIJgskSuBYOGnVVzMt+jqUV7RJcGE4sZLhJTGuNA+0w
j/+/FH8PRYcCBiqWihZouet56jGxiq2N9s8JgNo+tZR6N6jpdHDMDv0FyJPt2Ulk+ZONAZgbY1v6
pveWYiiDA1QTZTZQJXCjrsc3UmXsKGzH/xQjVJGDg7qi/NRUYW9+SapQGXxXQjpgXnkKFqUEMSxl
RZTpqNfy3iMifT2sGlX51OqV+s/cZBLcOCc0ky1CVGZ1tNK67JsN0CG5+6DBObSfAIDK8ePUZGHj
6qoP2B0VCX/b+uTOKwHX9aXDLxK2xqh0U+imt4c+1PUPI9YCrGdG8j/gIyHW6Emi7GI/b/uN0WTV
Vzsv+zUevtjKf24BAMFITgp0iEBc38AkbQn1vt4ywl8UOhqMssfhE2aEo6tkWfjzLY8jxXIxlIhA
hOMNYezi9g5bdEssjOx/QdOLtIfY6UC5QWyy04+KGltPUx/iQMhZs4yVL75cV3Y68HnoEZTmUOJY
ig1Q1cZqyhnjwE16qztHdq7tJ1T9NTeyTOmA7kC+pvR+s64AetECouKB8yO36+JT9j5mUJkT4hor
WTTYpaA1vDJIA7iPRbC/v7DXtzgLiyKNuL6pctDv41BdbxuJO8yS2qoO3Ngw/UORZ3T002Jwp1KJ
3g2zpb9DMi1xQ2vODveHvpkm4FpRkGPTCjmM5dD13FMhRBcSo3Hdnh4DZ/K3GdnKO7Wi/ffGsQQw
34HCBW8KDM6y5d1EUgecJfeZZufH35E7LE0XnFj3kM2N06wE5zczQ/eIOimUKAp9/Lm4GxMlplw+
J0NIqxiAIfiiJHObOHUcd+ChWhnt5hOS99DVwXSKqwmFycVo8qwHc6CmZujSl87CjZrlxrE2Ql+n
8ZEaiUDxQkdwjKm4aJNuf72/tIvUgC3Ewv5Wb6BMSDN3cTYHSrap1mt+6NL+UGW0hLV42pRDZqen
YnRw9aqLIMayW67tn6GNxr+btI78tW2b9m2OX/wW4fIrpP3pLQof5MVvCWsMDy1nsEK3s7Ro36lp
e26LsueLWzmGRPOaHMPN4tNWpIwFqAnGFtfD4vyofReMVCRhKeRD2zzTQu12aEtJrp6m/jFMiu59
YGrDxgCot3J+lpEG8sbCl4fDy7QpjIoX+o8WKq4mVm1nPUOPWpx9m7LyGetl7VORy7SNLXU6JqjN
r9wXL1JAf1z6pPQA2IA5amjn4sm6rOn0fsQbVGgyu43AvfkgV0Mzbuoxm3KPf9Y/amY4FocxHdVv
ZptF7zV0oPIfZqr0Dw1yjINrFMn0yZDzSHFHi4DsIYpz/StoPeOioLrzVHchxPUoMAZp38C0HL9z
GQ4PrQzX2GuJ3eonC8mu7ndj/r//Hv8n+Kd4+j2H5l//yz//TUWzjoKwXfzjvy7R33XRFL/a/xX/
2n/+Z9f/0r/e9f/UbVf/81+XH2XzX7su//mjjYp8+e9c/RWM9O9f8n/UfUl3pLrW5V/51ptzC0Sr
wZuIJnqH7XCTzgnLmXZKIBAgEI1+fe249aq+ZlCralCDGt4b6XCYgKNz9tlN9jl9/qf/yNVUTduT
+Yatw/domunvX4fPfP+X/6cv/tv33+/ysvXf//zH786o6f5uHB/rH/966fD1z3/cpVj/7T++/b9e
e/hs8WOp+Pz6r//6+3Oc/vkP4v+FYKa7IPFOGAIEgLZn+b6/4vl/AcgCU+RexIG44RfAaW0Sf/8M
7I5g34deHeJt4F7/+LexM/eX4r+Av4J3dMfCQAe+N2//80P9p+/p37+3f1OmfewqNY33P+I+avz7
PYnNGT4WOm68KSoAoJ//UgE7G5lg8KIj+GEDOL6JhxiRg3bgjw8WsEBIjCSt47IGk4p88WknnqoS
mwSbUIFCUQ4yFau09IV6PAz2UTT2UVEhY1merFGre+pUPTwTyDyWNOKo7UUdDGHJGmudaWOubBEp
PGpF9KvwDAW86FQwymR8ris/4z0P555NcIpBnlRkKhgVoR8eEagMo9E2hbhJOxl8DOY9eFVlQNIG
bpot64OlYpDYqEfYX+qdaoHa4Txxd2Pl+wKR9UQxwv2IGQQyZ5EcWjRencsfVg1jnIc75aNcwNoh
7llFjvxh5462ewk8LkI32IhPPvU2cxA2bJk7KPKItfaY003TTj/gxLAILixfjRIYmRhUz3oMmQMT
Rufdx1tkEgw5/3kxLbhSg2w754dGCFHkp5zy57oFoUOn+KD9CnPfyQzN2e3iNhRpyVv/qrRIxLPr
bIYIVkPE1H+tVVh/D4MDukSKmSFYs9mFs9ONQ9UQPoeODtRHz3W3FZsViJLx1+ULpiOebzOpu19i
iLc/ExKdBstAbojDHKk10TXYGkx5ZV/DNQaZgFUxjqG5IAnS1lfs51a4bY6EXIexKp29jYQjspoj
g+w16dzluyae7J8QmiK0xMJ5iZOccN6/DBUtj4iZjTN3gyOpG8zVk7KL3C+bN7Nw2rYVx/245lVJ
hH/blnZ0e4iWgxba1irmqmJNj24lSBdZrh2uX6X6P6g5XaDZqshYDkxADAOnBS6ABJ46ny4Qj0HQ
wbt0g7HW5sEILcG8waiFNQ0UF44/2SlDi9Pj8vIWvkMGDm5xvgYdSU4TX4SXYeO9bgeOFgn8pm6J
nJOBH3OzW8soeSTlFME3ba1rcYzgaVIy8BnMnI3CTHAuTWLT7GETOagD5IzL57TYP6IlS7FWk8oa
NzY3ujXmMa4XuMm3iXVSt4/684Zh4AFL3bGYwJzoGHYN7YPx+QYeXWmdSymcWBczuOy3TW+1hth5
03sEy85PXPTbFTuTMCNyg/Mu5CbmaemUF4OFSZBa1qIpfvMcR+2J6EJcM4UnIx+31tkFs8E2PSh1
A9EgRRygmMRw6AcSPK0k7j9hPxN9lLjDAF3Ejq3TsVn6jm0uHNfTRnFYi9im8/tD6KsWBrOVRLYT
rKAUZ9UowfGojZzeoxJBRcg8CR5gvdowPZOhHKfDRgRmrtfJLHW1fgmy1qXFpnIKsPV22DA5eKiW
FI/nMM2/URwC3+TlNgwxZSv07QAcs75dkeGi0C9K2pAdhbQfckXfHaY1BjVu4fYnNLDjQqCAh9/x
jY41xHBTg3kUBoXcqYnNyxWOWO1B0hEhXX96vfhzDccSWcaQo46tqZazu6q6L0PQDhI4ueQKs85Y
sbVxYSxzKhMzeDDii4a1BT3NW6eg0Eq7A0fHsQQFctYVOGLguXQhs5MrX0ru4mNe/GUMFyhDoRDc
fAQfaJD/4DonGhceFKNDWgY0FUmb0Xx39EMY0yxeOw5ZCNz3SLSIz4Bi+flGJ6OiD9sEnXwBZQfC
cOOZTl+onCp9icrRVjmVQnswJFmMMo8a3GownnXdaTbJpc2U9paYlTqMPs0Qthy1eoj3La0QC+pz
wrrObX8KfLkspCs4nrj6mYA5ztGfG+eWbAp5xqIB+S0ChF9EK8rDRkJY54BDPlxsOOhjIqPkWaiB
Z9tso1xXvm7YmiTG2VHjqn28LuOH7yOXsdWEaub4INfPS9MWlZlpwtxReTvIpZo3sYXxlU+bWpjb
uTQn3eiCBs9BBxFxcFBT41xN1IMuCNbGvozAX9rgJHxw+6XibNjW8Oe8ga84LRgCWrPYzKVju9di
7s4UVd1h62C3F4nRYE1pE055W4fgDYB+sjBCVrIjEJNqFmyEFoGv611FhPcayvbZupNlHW/NsTcu
xn3He4l70O1YnQTofLX2Qf7u1Ru8oaP2tOFa70o//jV5ctA/BeLV/aOp53n4Kht/7C591a1eDg98
fOGYpMa3lSC2PJUdztyPCnrxrsoQj6I4nIraoLysEFXzL1mN9SeMkYjzI1qN5GetpEqKsr67SOIB
IZm/4JZhIyfxnFJeLUkaVKN6WmPEslbabcD+M5F6iKRd3SxQgTcwUI7UVlRBWSEZyuXJpYEPuIJB
P2rq0G7Tribjlg4a+Swrp7WTDrTdHqfQBjb3lXFphq1TTSFsahogQXZL7or3rmWOd+dxIo1j18BX
4WdorJsNS0BqBku9+qkdh/hc1jJ6ho13HKajpFwzaH7qGoZfytm7Thj+XFbHuqmpJlkgvWvrcxtu
8rZiIolSU4rpc45cfPl7JXDcsNpWEqRgEQrxgMgK2OBt7TQA76yq7eRjM3QGNhXGrMaUAgWtI/5s
mB233WiVxlMPkAVN2N8N5P+Lprr/VrdJf39P6Kr/P2il7zzl/00rbb9/i+rzP3bT9x/4H920l/x1
p3jf2RZYWiGKAVPqv7pp8tedEvG3HTQALVCj/1c7HXp/uWhzwYADvIyT8m7l8K92Okj+gqsFNjjw
6UPTggy0/5t2GuSe/4ztAsyFcA4yS7wRfg82Cv+ln964BLYXUUhIEXZ7Q/d7HVdL97Bof60VVDrD
BmX9BotzBqfLLtUm/hykD27rppH55Q5pNfjy0Di0znTyyw3kUzVU8KpsU9kH43nu4ePi3LcEXage
gLyd4rZWqVyRlRmp+CE2wgUHvDtYZOxikwKS6rieGj3u4XuDkwYRSmHdMNpdNJgVjqqR7tNdaNj+
jFr3d7eU+2DSf0aHXuLRP7p9/CzIXJggFyiyFIDxaaZvMDLHovTIF4S9VmcveZWD/zDW7saGoEld
tbFy21EISwc//E37X/h06cwvbiQVKz2btxUsBeiawSEd4XcVq4a3ZlaHTa55Ygq/5HDtHdMYDvW1
vdnmAtMEnEnoyEPndy3dVxvZA+zNH+4m7+vQ7h36grrNwNi+1vrDKkB+jcv6bQBZeEYbeORrd9kg
X46qXRz9CnASmTdYee9wLRdzTyq4rD4kP0dQG8DKUh0bw2+HOy/T4EI+hRLpOeOL5p9YXjC4tfHm
VnYibUi99+4+rR7JVFQ+LsKCY0YQVO1eRNDvrcsD1gKqvHRjvbNy/V3rddfOGnEIa5gB8z3H7nIV
WC+tm9hj7/5L6mKVn10vkR6P+WZrGqacKiNkh3zfp015ezo7qe9c4Wnfp/BfmA6IcKrR7pFMcD+F
LM6fHzV5q2nFTLil/fLYTMcavYua5wJR5oo1yCc8CNOdZ+mRVDo8xdL7mTcVFG2PpUIAaOxnjdaP
PJpvGjgfG+B3PvoKrU6N/4K652PteMfiaHviXXKCnVLD4iphKrEFTjuari46nMV9xsCApF4pf6B3
nlICKkFgvT+e+x14YISSbr5s9ZuLfEU+N+kIyp6e33vA5oepl2kdysyt5YLjmbyO5YpNYMSWFs3A
FrPNHuh0nxfUqQqGOp3H7hptFz8yf7AlfBhpgwYmzJKp2yGMnIXyo+11NpslG5P2VBnsFNRpEzc9
LNmAREQTfm6medWc7nmN8dS0gJ3mx7Hue9Yl53EyKdZGeQRKvxJfwrMF0ozeJ2JuZaUOpJmRcJFk
jq8fprrNgyp8GhEi4SH9swmc/eIvl61zf6Nz+BCbh/vgB1KlRljNlWgOaKsPQfc2dfo0q6zr1JEj
WgpsgtNMVpetVLDWDR63aN4nsnxC0/FH8BBfC1IiIfX0kEW5msyS8MHYefqMif5NdXcUf38bU6GE
q5FEhQEYEXgsgqNvstUfwinfKSAw5oT+n5G63x4B3bpKZpo3aAop2GTCwqkBzoVGc0x27SO1IkeP
+rSC+1m0oe1TK11VeMt6i2v+QUNpMz7I+IrplmDeTQ6iCyy87rYt2xKHF6tormtMu8yb9euGB0mv
qApus3eXjin1Yfu8CsMfUj7KpdoPZTmigtyq6bdXbpZNrc0iZdnai19eMjyIeGNkmU0qDAAJ2cRd
WjkO6k8Z2Cv0gesziiiMVuLt7KEjgjgsiVjSNRaUxxNB1OOtE865ghLwgJoe7IYNE7tMoW6dHyFR
/1F66NznLrjdHYdiiwjNYBpnljQgfLnleNugOGmjjaAfUdd6jfghaRZTRLy3+1LHbd55TlRYgWcy
xjSTL7L6Kcl46uANZbrymsxoKx15Trpgewlb910326Os61Mdhw/wJsH2+WQQS5r1c/U9Cdi3LSVi
FWj0rUvY1KyyTrJxg60j3UiQLw1EcCAFr1kbro+zCZ0Pf6LQCkQikekWEjR3G1bMiC0YimiIsnjD
YxQ4JdytAUNUwwDKIvIRgZ005zgsh305YUOMKqqmhwmC1wt4SIRJBM4mFZAT13fmA0m6jrm9/xpj
93CoSzc6JBONbo4OTRbrFT2o417KrSx/YB4ZiyhaqzcY7i4FUN/+CTdGnY8Tr2AwXq0nDhZgBhi0
20fNiByOpB/yhjsDKN3CZgPM7HAOIvBo8Owl1rQYrMaX5uCxM2LH4YSFevY7dBfDvFpvzFSuvPGk
HHJtNOyeBbLZPORdMtJ99RO/Yfjd+4PTFRt5HqvOP5fBxDOie5NrlKpHHVd4XGaKrhfs6qnwxTT/
ErC7wnQbbN5hi33OAK2FKLREPcQLIusWOw9XcGxMvkUvTrj2hxXhrn/7oqcr/+PfDzxOfgbKdTOR
kIwufnsETxpb4CTDRe4ZskdLtq1SHqZYBXlkbHsP5PkAZd8tRJ0AdaHiveEN5m3/DADdHIItvlUS
PNQgruXvyVUO62G1eSwlXNK7NoSIv177bPPaDe6FmJtM1cC+B44eBa47GoGI/GrremDwrsYNi3a8
cLrxMQycOQ8VJEZB70x52LdT0Q73d/ONy0ocY1elyKfvNesu7Ak0yULs2yF5WXxyhRvSkvoAFs7G
RWsQv0GYSneWY6bV9WpTp9t+EdBZUR3W6pQgODd1QTPZy8gGe4yqcLUfLtu6cy36JPuHT5WXUUfD
eCTS71aprzniTzIcXFgEtigBpLl4W/3qIx9+5NtFtN6TdeLC99V+Cs0LAb/KC3CUlPb3GsufcFBB
seh3GpcdmRU7GEbtIghIqxXM0vO6RpnX3buk8FiN4Y5KnQoMurUHdkRbpssojrZNKtZps2tKuPds
w6WDkz5d2yunJm0WwGLhHsm5D13fY56LcmdGwEOJVm0MvNyReDQCr3/AtUfrcHOCmh77RsUfXTnO
JztbzuHGjvtfuLN3bRzHpGO71Ja1MeiPstXURT5WUB6gC0x2kpMV6MK8ZpPoHJ9NS6BgXzJYt83s
AqVUYMd+YP4IGQ2PY5U6VQcBe6g9ehwwi57QH0e/pIOWUbhld5p1BFiXT+6u6614gvENjkRBuqYY
59bJHFu6OzB1aEHaYGXzPIW5PxIPenkcSIoO9jSLwHlGEHK9wywd7o2Q3nnWXf1zq+zw3GGPkAvH
oj0aK1veEG2PrakXlTFDSrkfpGpY5yu08PIwgBGwr5t1eNfBitX84keSuXM1pxvUYPve7beX2m7e
RVMkF4zBFP5Bhjt8kqdleqKu8xkuCodpM9TTQzLFAybRDo0MDFCcByz8ZGESVb24ZnEPPv50Ngs3
fgISH8Oel4fIqY37/UpBkukQ+JLaEs7oLlCmLFrWMF3AUTjqCnBaGg/+VqB++P7e732scCJ+nGn1
g4zjGhTe5IbvHlzOUixuRTbGpn6k0SpBKm1H36BGY+sGzSisuWdDDwiQtfhSgVlzSLFQ+RQQr3Z0
TkouwNZqCu+9ui1/tP7YIDwcYou0bS16xH6LP+2MVtgZPH4vTiPI4XFrLisCU35o2iSH1QtXjnMT
qAlTTT9/2aYP9uvsBIgVh9NzNIE2R3wnix14MMMi/bmi4S5ckQPKeZXpKCkGRAwa1zkOkManYbW2
O1xJIHwciKRCHJ9e3yAMyZZteSBrF+BWgoPDCQ37mA2zsmm9OZYZWf70g6VowOVnvlTnyvXOVOAE
3JIG+r7uJVnaV7+xRT31OJRWlKfuBefq0R+T3FXzlK0atjLw0PpwjOexyPGAp8Z9jngnmy/1+EgM
PL0Go1IYG/0drgLMpS4vDQGK4okDHT9xD3ZpI5c+pxF/68A07dvyOg4OQefnjgdoa8UR0VCUSYI8
NfiZ87TlwbtdXJKbmeDixzqVJPlF12jGOQBj6WirqmO9Bf0LIfD78CBBfrFNZVIsvimLFgx9Qe2R
oqsRzNTX+tU2lj5LKUH/4rDaw7Lj2CJpxgDsLsoSgm2Yn8EPSeLGT7iEY2qMbNK1d448DgrS0+fN
+9khedLvpzSc9Q7IbIoTJY+RR0sFcHIwH3s+neEQzKIaDSUlPTPOuluRAAMG+h+1VfkA7unkJEdZ
i8zV9WXw3mFMPHxRb/4yI3z4ErTaGVBIXTQVbn0vdJ0FTxn8ClmEC4BhYJEn1wL0XueOZxAFmMyg
H8W54dxtqvgR9gMP3IHlsXLNYy8WDyyQMNk19L6xHMWudzT4NkGZjXUkLCsVlgCwmQKQ20DDC/l8
H1/kHMqdJbzag8riv7saJWIUUdQwT45REbRu+NBMKsrbsRmuwq/m3POaKmuRkHAaDTYQmN9IWxDe
1EXnNsEerBlxdKpGva6OQ3N4U4nHhjR1Ogk/fvcbs+0iF940U9lXQAHtSt+HhNvHaI7m1zramlsc
GrJ3Q8TFGV1OVZo0NHwn4dRcBOSzl3ua2E01jkiHrgkIG5HniblmGQ6eW8H0HOtWRLKo9nOFxPTX
jH7jOFnjwKlMeGNxR5FfKdgzV4OIvqMjkuYnQiHXBrE987xDXsa8AYBt6QNdounHFJLyJnXNnz2D
dHY2jyX6XVJW7YvxN/+njQIBRD6KPawQALhnPr27l9ayTAlR8UuoB1IkSq4PMuzdEwLgMYvFuFGj
uPVuJRmcrKu0c8F2aTtAGDYALKtAxQsiJPildQOOXgZ9cnTGIWBPNoBhJu4crd4niXPTC7ctnV0d
3EAKED9WGmud+UhUfjc0nEgR2JW8AUJYD5rXQQ4JUZeDCn+wk1MdVl7pidFJk+fVc7ATUGhyM6I2
iUsDZ7cqGWlKkkq8NXUQ5EOk+CMFNvrHBFAUA9kErYuVnTW4tWJR7oBAzykpiVdYA6oQi50e+jYK
bypGZXIc17lkCLHN1TD6eb2os8BdW9H14MHfwR8tA2V2zOQKWCKYohcw2h5x7o5smdEtlFhx1ia4
ua3AHCNLRP9iovFWp03RcgrmK+t90XaOmK/LDABQlc7QVH9vwCsf5qY+VGU75wqTem5Cj/HSSXJJ
5Y+uJM2OxKJYaJDDwR5zt6ye6nCkWHcuaMPkh+pWLBs38gOc6Ic+hK2lcVz+An5yw1wYDzL4mRj0
EWRJe2XnUwOqTSv+WKAlQRyy2bjvRpQHapp8CTzDyDjPTBN7TNyyzKbGP65qkKxaLH6uWc4daQqQ
czW2aRXz+zbDVHqfI5+SWEb4n8u8j0pDAfE/wYoIgm4GVmcqgSglgcw6I17cagJK4MNKAx3rwY27
fYjUIVCoPY6pz+svpP+eyBVZr+kSrgtrahj3oxqknoxCrJ9B1HUWQBox5BlRklF6qmBzT+BL4EbV
xEaXf8N6o6jb+Ltfq+ZVtc5lRFJEHg8j2qy2DPZYB6HrJpivZN1fMVkdcCm/HHidMt+UTs7HqZB8
/QSP6BFFDjUfun78tV/brHK3/1E6Fvtp4CZ1OS8p0sk5m8DEStd6TlAQZLiLrIuP7xmUS8d5m/iI
oOsBgyntT0Zbc3Jl5BWDELuxjGiuE44oTNnOmWyBF4YlvjvNiyA5Q2jE6/pjiLwrl/1vLOqXrLrT
RrmDFTly15KsRXYcXD0ByOhGyVx3rSmEAJoybL2fA2Af9gMeobTFluSJW69miH5DacHe3BtfZLee
S5Ogy5Tdm+ZDRvvkE5KCOZ2UqnaeKy/wpqEmvpnJWRmR9uJpl4m2TUVNL7x0/dQgBnE/QOCc9giq
z0e/B+5Ct19l454NLaMH1OwFMQjjKaiwQveQSIT9GfB9gL5pE4qzC0AI+WdB/cltjZswGrp3261/
vGUKC3sfRF3d1JBMkgc5BUfKaQZQ47OpKvcMkeXZjI4CguZ5V6zBKNJH/PUqRx3vlq7PiNhOXV/m
pjIEp1L4x4WxGWtieolwH2DXfKO67958MPjyoAGUuzjTgsuAVc8619g0CGz1p2YNzw6gpxs2mzNU
UfCCAinr4R4GGFX8qVVo8f2ZvG2YvfPB0gefcFwv1VoX0MwoMQioop2x4u/4q+z8ZkeViU7Rfa03
KXFAzHSRlLhLsZl79Jo2fGmBM1aJ7xS8tTYNoAPedd0QF6Tb6l2t4oahr0+eHCF/D/ApJjY44pO8
4Uy8OCPHI5980kYB4NrInVeMsxGeIIewClLwpBB00Ss3D53ucSgpcMaQcpbIakfKBmFgahpy8N9O
FB0QIjC3nzisPPT6VT4DEjob6QFGJRDtLO6mH+fK669oDS7eNJ5greBjaxf4WbLUT5I68XEs+bc3
C8QJR/Z3FFawEfN4clsbi8dedk/A0VAk9WoK3ujuCQQNid6jM1hWenNSjNKSYx/24XlrKL92Dqn2
o0eroloMsBnEkadD4Kc4uB4brONT6ATffCOhk0QIO4n7/hEHz04NLt179p4BEWKpo1CD47C+elF7
SxDzvc3+19zbv08lfCPYMWe4RWWKdb3MQGp5DeNV7nmAiroh7TPAUFGTDHSNNx/pM5BvXPnq+leB
tKmyy2LyBCvWvHE/scB2b5BV3QeeZDh6GibhmMSC20Y2uYO75/yiSoTRI63IXGEWiYRx5I3r0rqX
UJgtr+rkwyQDGsVKvw3AxQC0o/Aahd0nJFwcyU192g8byIxw0zzX7iozWuJF8EXkSfRlptzrTML1
WDvdwLTE0BXPOZkdIKYQA0RdkEuBB6KOfIqWd2vQqACdNQO24eXB9ZzLwisGn17WJ2tKqlc0wSSd
NdkP2qnzEMtRKLqOWIyF76AvjReBtRoYb/dN3WA8JscZ+rJgL2uvR2IKAuwIpn8f29ZJ4yaMsLH4
IYdJsXDowpPqRgOVqwn2KqACCALarm4axwuOy5Al84ZzsO7/CJjHrh1iEKrEFViV2LqIiBkx+QkH
rq8Su4kyjN1inNrfhMcncDHOgOz8gzTyB7SO7gkezfoo5XJoW97va7eNQW+yUEm3fZNha2HZYkbv
O3GbabcQc0YMDEKcWzwl/jgcZwRf5t625TMy5RFn8It6ZY2tTrmWqQqX85LgJq/K+IhFjS7aJJgz
XxN+bL3xt2ni8aUuo28Bv42Zw+McUDIyapxiNgInEqdLamqww5iCFUW2ynb8NSThp+wHmko6+y99
srzgNng0cETIep9/o/sh555OR3+JwtMaOicQqpBYywEF022pcuX3HC1HmbuNdDOvDpgwznLgva9S
YjFQYp98kfX6iKnhGnH+7pgNEETQ7kLL691QkyMM0RXT8MJiTSvOpF6OQRstqUOowhgP7AzIp7mT
MlCqwrxt4dE1LpT59UWYY9zuY/mi5GXq9RVja5aQuCi3OMLZHzVFPEyoi20KD6mYDbojWMojy9Co
AoEQl8AV1znwnowDfBP8ohx7YAfNDb1CwgxZ0rKuBW2+kawLE7yFdW4HM+e1hR1oNe59d3qEUcAt
nOBHGprl6unhiFCaLQ3I9mAkFkeD+1VGFSp9VYW7oZo4vIOX7hobviCHdWpTGwZ4zvwta+Kfrnb/
oNXexw6ihTfHFM6W3OA/ccZYdZ1K86UCsO6h8qesgjcqWFDhct0cftIIKmB9bN8nHros6Tsc3A+I
NH6ifGKADtPK0qPjb3s1wbfA0nEXrfS4UNjt4fJXqbcoNg7b05y41x5n3uK+DjEeTIQK1e2ya+WY
ZGHD81aPN3ytDI1Sm/6tYR1L+rjdl449RWX28MS1Wl6Dzp4MBEcxvk3OAZApuMGzuBRfRPCLpzAF
w70dgHDTHXhI32Mcm2zCFjLWbpbwx+gO0oPiZsIqyt2tvs5dbbPEx8MPm0p7raAWZwiYKjNp4JwK
jOUHrK+fkFiGs2elB2WwleK7wYKGKOAi2Yb0w8dbGtzTiy+x9TRfM8Qg8eBmOiyaCHHibcEjUSB5
7XLPGgc1vWgwNfYGz7330RBvRfbSr0WUP+Hmn4P/kVuVE+K9bODAKOcSrOaI1XCauM7ezPG1qspT
VyYDjuK6RgtYpS0EurkG9naLOjz4d0JYJoYBcFxkcQu49kax430ZxjW89fFWp47PvRe/W8CaG0Ne
zgwAVnfCsHwMVHLnypRtyg3muy2ACzyczJ5qzB9ArIMxI6A3MQ+OLLxz+H7wkm+qUBo9rG9B7rFN
1nQCB/eMyMt6gIBGtl5Kgo3NfZ2k6j4E9Yiygr1vndHZXKFhQkflQius4WaJ2cd5kkYfHVjO6VoA
Xw+uwoFxmxbtzpFQNQd0OkExJOD844CclvB32YvrpuXB47rJ+gb8KcB5MeMAltJ6bGZcn/XUAlN8
rbvhD+SnED/EmDtri1/gLPQGV+w1q7oJoJdqgh0Cv/sT4gX3ddBk3WyfW0JYgknlaR6D+glEM2zS
qIO/qa/QTBHqnHsxFq2crnYgTGw1ehy7m7bfUzlc3fBZdeXetDPcLhvMcRo7YWSME4ToBJt6BsmP
Edg2Ufk1TqJAW4+UYonKgtJ1qOq6gE/dzqUweQf8NvABe+6ooJCndJ5m0LhlS3iuvTmNu9Ok+kwE
L5Ecrz7KORcDjJ9APQXNMPYXpCRbJ/igvhpzM8r/Tt2Z7MaNZG37ithgcOY2ycxUap4syd4QkiyR
DM4Mzlf/PXQ10Fbav4Ra/psCqhotJoeIOOe8kxV0fWY8aJ0TB6YT08uMYxS5AdZkwwYq8C517pN4
DrL2wcrnXWRnl8SI7OL2QF5ePp3bbrK34leSfi772Q4aqgENj36OWNLH3o16PW0n7srfkhr85HTT
zuxeE2unm/VTLtvnaNau9XGlGUChHZJgSZgI4fLRdud5ZgR6+gwzK6hpNyXbcNPtpKO2HYm1BUOZ
3PleFDnbxZCGFPQQgFG12Lx9V8/Dxk6j+7qpenB8JnmZBZ/Q6XP9sHi02puodvRbmbvxXRur5rrE
ETCol2Y4qFbz97A6jMAw2/RF9yNrX/Z80VrPPhS0irhAsPqKYDVGC+CQqe6dZV5krWwCbnVO5ou6
7hXmleW4xw6q3lZFaT2UqUHzNim2elh7CiqTlW2npL6y8NL/brusYBsncQa5efyuLDc+6BlbtLT0
6rEX3TBTrybTtpVefTtBVsU3Tl7lsfA26F0L1hrqmtPJlQV/Xl1nlAP3E0V9EJd5aAoFsGc/NX50
4hbVnWy1b26HTIbR6vcIwlFd6aBgOZtoZfQ3ClU6h9UDyHm1r2ar2uCyFW0K2oQy1QKcuOINs+ro
lHCbJsyi/NWQzjXg3YMxWAcjSd5RqdNi1GhF2pwxIZ08ClKs9k/9iDlvPdlXvstsV4/MKz1ltSjf
j7c1SFgdPbHLpyGKCmbEJjI7JkM2sCCReFC1dFbLmJzUoBqWUY3Q7Lqb1Y8csLS4bseONB3zMs6t
q8Z2f2iGfWuO2qk0u3MyCPfSHrGHVmPGq1y0kziT13nluNSF8d2ky9PC7J4sTtfNDKFyA43TPqkJ
0GJeOm58K7lrJvO60DHs1JhSV6YZjERtuz2wjcgusJQgw9HtX+zsvRU9tFiK+4AuFS4JI18zg4RM
J/re4fvJ46T/j00MQkQd4iicB/NEcYpD6AZu8iVE0Ruv6wBhlmhvTtmP3sfjuo7rN9hgL6h9Ka+d
9LRFn783IZFFsd1txmQ6KTXIo1azc5f41HeAgSK7AtmOz2TkP1AYXppEnlEhpNeTjs9kMl8SsbiZ
I5ug66I4h5R6Hlemx+prY2YE656MJ40TJWE0Yi1cKiYkVcONZlH2VC/EjCXDqbCmFWCMcJrwQx2b
UAzIaFmi7sdc4+oZKc5+j6zBxIFW1xASNkS3qy+dnhs/Sms+WF1/1ZVyFzOriJL63bA0fRcb/n1a
QaJQDcNed9siTQ2tvtl7pWeeuIQe77piMreLNPwgQbS4GXPrcqJS7ArzeijUwZHolWkmn0VSwL90
tB+iny3GjOJdCrTSJbZboOBQKr3+OpnEVYRlnaHHV9oYhY7qngxNXZUDEQnufOv6L36Pi4h+CXxY
B26HGtQx4Xf7fpiP+CPR+2RQ+3OZvtnAo6LaNII1qQ9xYEA51MRFDmBtKUYshXGQDNcmkd/O/Z3n
Hkh5OfHK4mYi+STTwq5zVj6AjTOkbrckV7e0bVF2iP3prJlx7klGw95M8P82skzP3EXl20ZEVxKV
CLgfU6sFtXtQ0dkyUaa41Ts17erG3UvXbwPSZM4cP09wLMzh5RTOT20pzqGB3Nl9SjSbKKBPDiYc
2vSmUyYAjZx3CQGEAE4UDSLunvJ6Ps1d62fcdqeI8W6B2kJXehfMOE5pV+eNOYNz0l9uKqetgngo
3L3ZYINSVnBZ7X3vE+S1yFaEsiNwrUTqvkm1oeaTA5GkDMs3TTWc957+05L9Bpfpb4RYvkQupFN/
eOvz5qemRXu9j+LQgVYQGH372nnyRrMRFHC23nrQtNEIH9J6hGsVn/tSAUtBYu4lCN+7rnXD1nLf
VOZ9a6fsUuG8xcSrMC7bvDnvuu4qGWFkFu0Ao8FHVFexj/YYflQJI8hqypk/yRx+qn/Qm/Y575On
UUXmns7xbBrFwzw07yXA7sZggMf4W7vXWdqCAdR+md8WW/WbrGKXjA0v6D3nmfFxAy3J6rdp0lxz
Fp8a3nzteUlAgbFfWRpuLnaA/GNoFcnMLaL99Xij9mycy7K4YmTnBkmG8aQ/EqIMo5V/06ogEfM7
lkQseSrVbvR6KPwgtbmqw1iDWqtqNyyZmG0UXilAG2Tduz0TvNVcmjAwfePAlOFTnk7TuKiCwWJy
C0GFWGbHv0IvrJ9HCOEDnlHxTTl5UBnay9J1MKOS+15z9wLXu8AdZLI1My85S5OZx1eDksWGWfE9
irMS4CEgaqEKurZm3s1a5XjQ9vh303s7gxVERvpuS/9utnDBzaXB3K7Y+/Hwo3P60LPOyxoIZm55
0IlMQ3dof5TtdG7RJyS72pqjjVVD0XBsiOZpCGhKogXI9XYetHQzl2SStPKbTTzaWTn5RpgZuf1i
atCf8dJGTfE8It+hsa6/G6k8T+cJ2rcRr6jUS6eM7xU0SBskVSLe1VgLsIoadjiicqBNjDlFlGkU
5xHOvY1MD9grXPO6zjQfThqQ0rXMCfjU+ZoMMIkcDkROjv2cXPXqwk8up+4hdaUVdg5pEUZ9Gi/t
SdMMt16e1/DBWVq2iO7tzoEs0UOKmQW0Rn88dczpyZaNc4mLixuC6N4RsLSJ4fqLabjsUve+MXiE
prFzk3ZnMRHbjAS/7juNKic2v0fVTatBeqsJDNZMnPKaHjyrSG4bZtOM5DZW4t8ImI1dPD3GTv6j
Qauz70Z5p7TsdYB5GLlvJmWDAvQdbRP8wz41ur027uvsMNs17AVQ2Cy/WJeFrHZ5sgSx/NYb/c7v
b1PmAeM2s/Cipq/VATlqwrWYiJgznMOZmRGCQ+O0tHv91Buz88SFGubp22+JH4gre0Xci5KR802D
m/B92iTRbatzo5BS9VNj7tI3NyuXk6I3tTfMUrNtngzl3QIP8t3E7dkrjW4HM7x+L8Y0uUwLe5xD
JMwW0OvcPeKyNF5CqC32pafPMAx6eTZrnXeYl8bceUmpzhGGJOeFnSUvUZm0HOn0rWbUOrROk74r
Ir090ch+2IxgpE+jEz9HPtwWWz7jkGptja5SYC0dQI/mGlt4gfX5kCztRS6T7NI1C/0g1PCgSh6j
HjEF3Zpa+eDWmQ1YbsDBF7lHxnOf/WzjNmDP3SaxtluEFU69EyaluKpU8jh7A2Q250GlcExFWjZr
E3XtloYRaiX7mwnYft9IR7vpfQaf5nNFYRHUqbvJev1C1njyZ/Ym7qMTjQHECXMkbQ/CXGwbMhxP
0qG7blL3FiJbejs6dYjQD/6UUU6nLZzpcMpVsnHz/rJyxFOadmeV8Sp7PUgHOhCQmQ70uQOfl9k+
m9GhgFFFevrk6Rdj5G+G8Vw48c4Fc4md68odCPyiK6Kwc8WbNoItJtqJ7LVwNpsfpnxZUGTLFPlB
HDAP9iEPLT+0dJh3vca0L1YajBEFpcabl2fTjc46He6p7VROEAG4Uy26p5kbb5mUXMYSrZABiDvH
EAeN9LH1I3KqpNmwq8ThItXWmiibZAk9S7uuPDoGNj4jDS3jUBXFdeNaw85L+y1hItFTBs9xZ1YU
1hqkxzFPwmmpHpNyP9TpWZXON3IdJk2yjLaj5qnDrHw63AlZbjvcEUp1Hg2ej2bNL8PFS6eDsch4
m7vt97Zwn7uIEbDRZi+RrnkPzAaTnbn4VP51kgX+qO+GckUCYLJldQYr1DLdkEyLrcjWqqVNnaDx
OFzzyXHxJB8DFCXYJC67YRKPS9eeqQ6abmnv0zmGsCz9n77BJsmARfvuikkEc2LHF9JBR+Rpy5lW
jfshn/cZAX50xpm3SeU0UGkZ46ZcJtI+/QgRFRhgB+VV84eLBn82t3tLlQ5Vx6JIsux5Cfopf+bQ
ZfGM8OGq6alciM4sYbt6HOqA5dlm9FGcDDix5IV4deVrWyuY6IZ/gSl0u+n5Fxvy6MamzM7rtgvq
NcUpynPJVoLTTGrWySXcOkIVOBkL12U22ldbFI/3cxdXW8xy3LeCNKIQd0Ey60V9CgEAp0P9AYw7
CXorHyFf28W8zXJV8CsAav+94OLq/zMphfOpKjl8gzfQZr9LKdb/w3+lFPZ/8LlBKokNiWvjtoRI
/h8phfefNZ0CNwILr1UXTx70Ev9VJtvuf1zb4H8zVu0DDfv/lMm29R/+HFp69mn+gbT+30gpPvpA
rJ7IWFw4XMlAI225x2lgVZlpk0xRDY9Va278xk/hSkOIm9Om+sIM4KNk49elQPmI7IEst1rfrRLp
38wAstSNFquH/AbtiUqq5QgnEjE7n1xsDBM9rvdjW+TfZN16+zodvnKf+WWi/j8J9j/Xd01cNhys
BjGkOzJe6Mdkjop46YLUyuLkWhgJWtnJI3xQmgPm9VpaDBaPYEbnBUOToMAkicWdaw7uayzd6JrB
SusiOZ4peiSkSH+zCLgZuyjTCrFj+yrKvYt32HszNngyl3DAYaN4PNJWY3YfyKFiv0japnyfYEhA
a8YXBtbB2CT3fD9eHLSwUl9idx4eh8E2vunAqxf+wAm9HZFDf/tN7vNfkfrvonQSMz6I0v/7RCya
PVzPeSN/JM7WOgf7LLtgTH225V63jGfKHabbdDoFAjHpWI+0uuI5V45hhq4n0hEhZq3HG2cxm59L
MTJYlElk77Qkh2Sp0rh+VQJvp40/QPIioUN67MBxbMt9TtXyKibKkX2ME+B91BljwvArz18QMKx0
2AFS2wkJv9UT0lIGVinD7lu7oRzecBKRSjM5GmYdhBt3HLnzdK8yVxVbjbsYL8XcJ5fDRCoQBMU6
sa+SCMbNDoSJjlpv7JJKS04F5E6/pvqeHKNrtxmRBiSKtFbShgnsaJKTs7J71nOdsVTpzKI6wGdy
nYuFJEktVMr0fkSi8bKTyk0gtCUc+ssubSeXYpVSiJZk6bs7B+QivjZLPP+CqPGSZ7fFpurEqAAE
oQpOjFKd1lUMj1S5NNusi5AQ1chxulBfUFoECTtyFko79Sy8Zxbb2TTLYPU9lBYfq/Z5mPQGCtCY
meeDFvnumYLG38Bld/Lb1PFTfetOWilCAzClDy3Y9O5JKmgSXrlhsKo5wvoA7Y8bpzcZyunxIoo1
P9otqVcD8KLUzWGg+UAZaA+M/IAvWA4+N2TK2HY12NOVFBJ2UAUa24V2MuaIWaRorwy0A1Vo5u7o
QyNRpQOrAnrUS79YSQp10yS8iJcE4CC1hkQ+iLMUcW7mm9gUlIUHAyCTbb0ldGHcIQSe0h0Kdn0I
P//4/7YZeWy5wjXx+9dttuvfNyMlUSkOeo8RQuX6ezhgVqgc1VzBbYcp0Y8Q+xZyAneDjqbHy/vo
/fPrf/Rs+rX0sL/FHEUnCQ4B6bo0f9sMO8wE09xjsl8j5gdYq6wzQ+GkZGBZsq8E+Y+fX++XVdHR
7keIiOfiRGaskrkjVzAwG1HVwuqDERYwA0KnQxZStmerfu6ZBqw9iWAyhB2xOuFM93zIoSy/VNgP
z/QtNAGFjJj925p5ZsLP/Cp368ggY30gFtZ3SA/w48CZ8NiQCC1fLbom74JCm8vryp8ZtZh0FKjL
QR9hr4tAxlNyUjKQ8RljGCIwO2vZVcSA76021r84rdbT4OPz4qzWkTESVYbMUeds/v0FoSEsdSzX
9RWNbUACsA0jRpVJ/j+eLh8sXT7swn9uwvbqg8d55ONxaR+7eAt6n1H3Zj1IqnG4TnKp5JbtzJRo
FJT7pk0VRK8J6ysdMg5K8g3sb45qy0mgzgsULzPuEvP41NiLKXag6+B2rmbl5KOrqAh7lAlfuX/9
+fFiegXfBvsonswfRpWejbPUEK0/eVjqF2FWag8Aj1zcLZO7FIhm/8XHu6o5//cy8AvE/ItEjl+u
Ph5r5mi1ai4j9Vgz9GDQcuuhiVCnbtLWGRm4xQss8WYsk30h8vhK+ln2MI4t0pmxIV7t8x/y8aOg
bqFywcUSJzuItyQ/Ha3aZLFrQexTg2GANt7kHrw1fcjm+8+vcmQP/c9lBNxM1BuOh2Dj6NszHcHJ
mBHmRFApvOOmyEVQNIVzm/b5/NpbdbTrVLt8oy0azqOYvhcpYCn1jSWdLGMPJ7Bg78D63eLFYHzh
Uvpx51x/HD5zlI0WEKVHJXW0kdQeEA1snCZoRxyTEapo2yknuQNg9FvcZ3IL6UKEONZgWT4P6u7z
Z/O3qwtPX21+yVt2jwNMSIOAYYrFQOAunYi33eoDV2UpTPcZG9NwmSoN9rKBsYKodRRG7jL++PwX
fFyv/9y/YRg6nz4b9x8+bVgmJxR5fANDSQpX0NXEM2062UzXVU1vHcmcicLMkO7zyx5tkOt1bd1y
KPxtdkkookffnomOCNHUWENrN6t0G2GD9S2PG0qjwYyzC2o1d6upiiFS4WBQAy8ON4rUTjMQYDtf
6h1WWcn0xTH6cSf49aNcTi8OUohqJEUdybD5RnSTNNEeyQbjQteKu0OvTz14q7WqU1rv8YuncLwT
8BQ8CkQk5msRj0n+x23ZHFSvqsrsA9IxRLAsqYbxiSd2mabZ20xkkPNar7sramYBYxNPh4FRxr87
S3/dNbm0GBLT1OGid2zmNPq2k9tNOwR5nRQnSHqjC7M1Ucz1oryHZtTuFSNWaEwuVPl1QoPG4JuP
++eFNaMFUgVMM4lb0LMNPPjFAvmV1fj7XinA5HCY0zGkxEmQnfDjE8qrmDq2ZeRhGxkK05IRXByM
M1TLwLbb7BUTo94JMHFYrqQxgZhMbsRwqU5mRDeFBpsrwJp+1jZ9MvYyWNyk/4FRUa2g2mpWGTI4
T5FXwTxJ8UXK86/SZqxf/rMf74B2BJcAbAawMtW9oy+9r3pDzT6+ywpZddyY3k2qTQpptZ6TS9lT
qbt53W2MZQVC+ku7L/BYQUgsNTC9DDcnR8rsrGpxrgeoxIkCV5yWQ9RcIqfZiLxzXuHkIiFQyKeq
sI4lwyOkU8mTk9i+3OaKIp3A2nzP8lqurdh/lFhQn7scTNE2wzLepFdKXQ5rO4fOQXn4bsMhf7K0
CdiRrPB02ep2DesZV6W23JVTPUMhjppkC45hHMbeRkC6FB1SsigzorAtCf9kNjPX361m1K+0WngF
dHFnaCCpcvGzbPCWIsCvYcDRCXPWKwPpIdyXWhgHcEtfHajMcQfCtRvE18tq+26sfFgt/dgQidJa
6zsuZ4ADhC0ObGp6EBOkM4U6eooZFJrDtBJ5SJHuvXuNhrmQNznNg4NbGHo+2sMpjNUKBNtd074Z
UYKM3LSRJ8NX0VIcChQ1e4yiKsyHvrufbLN6yqNUvXmx2SzBBEXMRnfSyrdE0GgcWFwA9aaamaLP
7TS+UBziP0D2T3mvWzE2VM7i5+0J2wvyWKnjFrKTnhHB3KnEfFX2uXjrvWl6QUmyeolo8PO4Gf9h
UGVGo5Eq66LXREnzXRkJVPm0qhgDToZZUGL26PYjrNayAOk3gKjj4tkESs1OuRnrhV/G+dN4l3lt
pk9F7vhM0cXMC+30JAONivoWIqSRoLV03DINkB9isyJKZnyRsM1D2eYukkq07vw9usWfM6jXgxWx
azMBtqPD1CgI4RimQO/N6hnRW2NrPu8vV/LBq+b+WQ4d7lum1PXvBtXvT5oVuLG9KJZ3h4nuE4gZ
UqFMnwQQdj6DVCRaad63WtZ8r/pRv6kM4d9o+QifRJ9NKAKVBPvJSp55YPgYxjKhWKZLzNUqFWi1
ObsH7st9FQCQkHkKF6mUUVnmqZ15TrSnM1pHt+y97dao7XhASDzQhGqO8oy9mrQ43g30W9gLJ5kT
hUOXMZid7bSivc2m6SC9pLY35LyZ3Ab4aHqKyLDNwnTIer7NqLE6jpGE5lc4VfPswEZSgY0Ka0Q+
lRqrIr3SRTDUU/OOeCV59jC/agN7WnovmBnKDtvVgA58bmDQxZPsoSxmKu6907l1cMwg3EE7DAAc
SJgTfIAgeBjqJdLQwyA8b5z6lDuvf5GBYrHPkpnyDn9ym5lPPUkUN5GIBAYEyOg6hFBU6nvguUIx
LkXFg1bBgVzWR3An9sx9oZAh9YzNHUI4TJWWrjKeGAuMMvDSyLzM+FinTat3TnFiOIPehS2+kfUW
AnJk4Pzjmfc+/H6YgXHmX1a8Iy+kW8ekbWBx17zBtDtHVp0pEg1KMG/gF48/WMTGU5zCJsJOwq8b
OjbpPIzE2TCuBtVmJF5G8ok4cLgicCl77ZDZvvujrjr8N6RfidfJ6eobjbgnEikwkHP2Wqr5vPM5
Iqht4XTZMuRxb4HH0zyAjclSyjvT/26g43jvfB/BpF0u91WR9+tzndZlZ/rqfibghd+91F65RaKD
oNtOY45I5TJ0F3ZMUdeZWIltosQ2r2ORLsWukYndnRCmYVx0sVV7W3TLpYfYLXeDsR4aRhVEAt76
NjIBlPCeWkLSKJsEvUQ/3tUzx8umGoSat9YMRgPGZENWixFvnqepsGu+2I6EQe5bP8O5bLkeUK7c
6SS0Q+fJTdDkrFtF9hNhl9UJBvJpF/SY0+CgguDuxOzwBQvU5IjLmmypacesKYbsvn75pZLxT5C3
GOQ+m/TTlC/CD4scDjoaaovmze8KKANuNGjajhAayjmVW/S6mVputNEo3/TFlI/8BQunmAhPDTk1
5XevaKH35kuWpmGKa3vJGZfWeK14VhVCVInLjZno8DvGvE1vBUYGC5wJGy2paZjllWfUXRRUjclA
Um9955b80vlBltPgBgwPpschr6b6dFZ8LCeW6mfYIkNrDyAUjBdCBS81x/tucZj6WBYMNTFis8fO
KS59bBKZUykPYkpPlEsKpGR2gBY1hgX9OLl9AAk4wnlKxx6i342qyup4Y8d1Zlz1o9WP5xjTq+s8
iZQTLqJyhgBLYoVfSTs1kIjKuvhRLouL62SE/YQTtFVGFTiI1pr3aYNt44VoSlRoQlYSj4PUcrWt
aSzDtOI5sOi9oY4iBIn9QHg7uBv7hkjUKSvHga7lO8NNVtk9AGrqPDTGjBdEJZbusORFdmGQjs70
1kggvkuz7/s96rhtPlba+dijWjyxogw6gGpvUzwmMeUZYhjMjboo/FK9FcDej6IZr9sBOi81zSlW
DlX61TDhyGaUJoEueS37GMXqazrgx+IPvVFdgHlhnoalzoa4I7mv5wKiT8905aeOGQdkGVC5RGTt
gcmP/lpDO7lPzYmRLm6W5vTVL9LNo96dn7SaTFto+y1c+I+L5S6hnC8zvHB9n03tdEBRxAc0VuYz
XDzGoz5qvzrMDS19cHUvToMaB0cP2nUq0dSYfRqMnhhu/LLCpGCMdYaarAMHqkXGdBQXCJG8gWom
Rejn3QDvPvFg8UTSGOb1kjPVoqYlP8fOkShxEjT7UG4MPqfYrPOXBgxUIKLwmzFIbRd+sk6tuxmE
pmHiMczRXV+IoQIemeP7iK/lWenRZIZd3JvvjFL17zn6enxR/KbHNLpEmR3oo1VNIYBLwc0smEzA
maNaP1lGV6RnDrSlb4h7+yRIIrP9ngDx3JkiK2yQ/6FpGSCnJT4V8Gs2Zte5zdZiAq6dmZW0ltCO
yYla3bphRSMsfsdwrnFg8a56/ZHjmCRR0yryjcIk5FwHjfrhDe3yPMhZ5kjU2gI/IWxoEKHEdokN
xohhAsq5UkahPafdEFA6VDu7LAo8lfQqwhmkbx5xxCQBpYfoaQZozgY9KLH++RFrPRIVeHr5Fr7i
IPaeq7J3hzLHIr51sHYdNRcreQGUhBVQVJDtZVZHuEvM3ZW/uBhxMLuBiOgBEAeNXtcK3UUSS6II
/PqC8s4WAYTqDOND3Oa/SmP6c5hggwbhq8DYzXD/mDn2leaneVR1OJrAQ4sF52cnF4q82tXOGM5C
Yu9yPcQsRr9EmmV8MU36S/NsMkFAMGEB9FnmunJ+mwGL2QBGZ0oXtIk/Xy5JVO+xJ7NCp+91PFxS
+cVI88/JBWEYZDGZumuuUYlHzTop3TBOFCdYOTXxk1dj1UWOGInSnInf/FaOFB/RVyEYR0lvv5pl
9hmHYZaBh74ljvpRAI52kIOjAuWn9XmOieWjVPpwOvu4BUy4FgZjpGSoJX0E9lcy/9fISMIYub38
fHbwl9tHVo7ZPUNwjIb0o9GBVqYenXrCD6kwSVRF52z9EVLoADQfuImoA33O9MPnFzX/8o0x3DV+
DUg8j2HBx5ecWYOb4x6qAjNXw8+Sr8EKxNCyJY9pXXYQRLsMOQNj+GhfOlNnbyI/mZ+TDoEivKsu
hR1RGxifTt0S7xphY0GAVLC/8I0S0prhttTA1uiNKGdroX3XTUUVZtT5/TLXWRgn0gr6JQPOr3wT
B7qBVIqyc9F9FcTJOYGtSOAFVfImyFvkzSHdMMqYILq6nRCSzZETxqBhau9jVgO0pCOuHPUUSVPV
uWgoP39c6zs4av1dUvEcEDVPZ0keTT5lAceN4hUhVltGj4wYMqxu85Wb/vl11r9zfB0GiOSSMeQn
fO5oxKBxZaTNUR+kHfbMG2onqlbhCByjqpsIIjWmYmpu043Rjl/d45/L3mFBIP5nrO2tqfIfv4gl
Jq7YmRIQQLxL9z5S6y0KXC+ofUjwmkRo/Pm9/uV6RFgYFuNabM4hRX+8no4hzGK1RYevNWZ+nHoY
HY7lFF11LH6kN+ALX8Wu/PkaAbV8F+N04BzsTtdF8dvO5vYV/73uAJYdE08fvP6wMcVu9d8lxK97
C0MCd60vxMpd+DUL++06WO0q1Vps4C4h8NesebnrY9qLWLTaU1/QT9uUfQfGeMPWLDR5/fmT/Uie
+HV5TN1d7s+mVqEL+Xibuh4liz7AKBimztv1velfi75GDKXr1dPnl/rLS7SZswIKcGAZtnm0i+qe
QqIrR+7UXeY7BFxGhNutC6EHq4aNnWTq4d9fkAy79eWBvMA4+XhveafpWluJDmGKLXcew36cypzi
vsGO8LxxRvnF9Yw/J7sOLBkDiAXIg/V3tCSrcnaUo/PNtAUlfIByFMOSAl+SsMEBdy9QHuPWM/bz
fe3YmsJryLcetEyS/GKjVZPotGRSo/IZ+kuF5wXWOjJevbPtqb+VHQYXIS5GDIjnyl81R7ESX83o
/9zruYUVz2WncH3v+LMvyE0WMx5mQcy88bTtp+yqKFK6zsZGEOracYwuVTO3qpTmITemxf5iW/vz
iGNTs2B0rJE1LrPyjy8tZnDTl1bEV6KiBPJeYe4nfa7fYdM5NKsEHzk6FIPPv5S/LHZ2UkO3Tfgh
hFcf7S+17869av2OyEU+ygU05tRM5PIF7PS3q8AeAnhkra+j96Nbq9xOGDlXcSp3uWkplgJoD/W/
Cv7+taJxp3XWiDrAXzCNj1dpqQF7XUVDMLVetRNzgXUkypIQquDaf0KD/fzZ/WUHISmKRc33Yhh8
NR+vV9i1jrDHo881SvvMx4DlsRq7Yiesiib682uJv3RiRMEQoehQj8G/Otqu2DNcxhMFhnGG+YOh
bHtWY/Ec6rQdiA26JkBh414zSWX03DXzVqaJcTmUxbzLdAfBFWYROFB88aP+suw90p1JXAS0sKjD
Pz6BYWn9Js2mPuhiDbNGq6xPsJjAplPUCDHwjna2Xh0VyIVlKr/zgcNuNfr/Jqv8v1H49TIfCwIH
SAd4jboD/ot79BFjnGQm8P3pUvsGQU4N/PlNZYVx18yxgkTZKoihWerhC1VN05vXDv58naeJeKVF
ICGiyjwv/gLy+8tq9oCAxQr4GTyio0ejBuUVrokEdNSi519WQKZycAsepmXrpzSJIxyFL/r19T6P
n4NtrgEqhg3GZh31JF6uefkUJ31gkT+x0oLzUFhIkpmyNoghpg7V0qCfJ8OgXj//Ev5yt77gcMPG
gMBG6rKPH0I8cd4QXDLQamf6NVIHYBBjxocfkvnJbLfdC11q9fz5RY0/r0qqmCu4U289w4+3lSot
4nXaxLbiVK0XaHZvdJfUbGkdKmqHaKOyDg1K0vhAH9C4p36LY9kizhuj7B7dyZC0zLWF8nPWEwNB
QkzaM3yrntxO5sSjZDBYi0toYsTrZJ71lnSYA7HSIuYzsT1hs9JYJC7MVPPOPhlTY+JcV/NFsUTq
ixriz80GQgIFC1pq8hA5Hj4+YS3PUb97TOG0frD3SDhxLDQ8pH1RWh0+f65/XOpXV00mnUGQNGG4
R8spi2SB4bW3YH7T3S8NLmhRi9Ssxh/n336wVCjs2yvSDADhHS+S1CvmQoxMvJiNI2AXTXQoGfsE
uoY8cVIC2yezVremgS/q5/f4J02Dj9UTK3uLyD+L3/DxeXIwmHYUxUvgO7l+VwqkX+bMZLn1nOpk
mRfnOi9h7GkLoBiQhIlBp6puRNJY8MRj95DJRl2qat0+Pv9lf5yVDr+MKTRreCUKO0dnpe4X0PKV
QDo1OdFF4uF3Y8f4435+FeNX6/5hs1g9ZWAnwx92maQfZ3naWW8UTWVMwVTB0dulwsd+rXPr3Ni6
AJ1PHTF9T/pkrywqm4SEMCrlCOhoVjg8EEszzZsRwC9f/fMce0NmU/vDnzLvpZJr+kJSjqV3YTCU
KHH11fU7TWuGq8JTXbOzU33NO5Rzs4TY9OJ2kNP7VIFoNCc5WGNj9BugcKxONGjHq1vaQu7KhBlU
uxND7134solK0G3mxcgFE2aLs5XquPeOLY13tijmhmnWf1dCQNM0/o+9M1tuG8uy9qt09D0yMA8R
3f8FSZDUaEmWSds3CMm2MA8HOBifvj/YWVEipBb/vO+oiorIrEyDBIFz9tl7rW+RjKGu6ei19cpu
6UcCDqmcxzLKIvWqjlqzvATJTGe7r9um4wivgjXsU+h1K/yKyXhReQoZJhlrvbKpeqNt9i0DRuch
d0fIZFPIA/FiiN764omh+2m55VTsYT0lHtQYo0IXWNfYz1h/KmPLoZzRU42GuNjkYEHhPQX6d2Yy
4Mk6JcSAkrcDHW6ryzHk5TKgBa/nAeJkRwl/WQ7BNszvRUzr3Rbmj1hgRwauI9pvaRmYL4xu9SsQ
cag7lTqtPN8uvQL05ZgVN4xStORyStICZi9aKRQ3RigBq04WQENOsCgLxgzTZ4ceBYsP4D7cmGR2
zBZB28bJ3xuAURuzqj8XZJKqu6pEKLwB64fstJfFdCjgI31xm0h8YywKC2riWYADZTNWwymWAdNr
m776FJpD/8PFlKOCtKrH73IKQL8IvJZflFbY4NVT6WKrs1NDrFJOqzlQCB04WNT10K17BLnR3pm0
NN3BKyz2Knqhek9fxM22qag0HLsJUTbMyDhLwKKImOwLMn5mT4zUX8xY1qCj6VK0nP5Y4VYDwoCa
XUCDaVDgn8LNCAETDV0OjpLahoz1PO3DdZQXs+iCOKrqQsiqCjG6uj1YlKRtzU0QFeoMvw8dYxeR
J/NcMTY1riM98LZqazem34411JNSsTtiMmKz/lqzyN2V8KdhbEaivUEfVByTSOiPLWPu0m/IcwUS
qcw9416vvQcv16PHxBs8m3CnKnhWmcs9N1PX63SkPfsr8FsQ3iP8Z3TuaEFn4FWP9Ui4woL1zuyO
PL8mUDa1RgMYYaiifyH1ofLrehI/ONu0F3lqGORJ5mMHUSpqvR9U0lgWmw4KQmFOdJ6lZXJjukai
6q57xxXbiLEqP/GolNm6oDhHQu7OKJgi5Y0EfCa8n1Zpi6/ZRON7BTfSnLN4tOpKG6X3a+w7GN6B
HWGOURsb/GIJvqlddTHJIztq/krZGAiYio10rQ5CUYi4+iqj9rzlZIMPqlZKdHScCcJzkcdvl+P5
YKGjJ7VRtRC5fbpPEI2SZyS9dGsChSDNSRN/g1JN57ajN6UbHSUcIx5NJTSZSMROLyNx8ROtFDJt
bXvmjzWPy/dMA/UVgTW85Flq7vTM7a4qsxp3WVSKbwzteWbKzIW2NWu4Jl3shxHliY6OZcdI9ltV
KsqXkp/hXDT3e5un4+ga7hOX2dCb/kJDS5HYZSYJMjLBjoZgMb8UOBOzVYJY6YoJGhhmxx6GB9ad
4EEwp70AiBjf9wXBilezgMjG7K3VRwYiGK0/3tveqV84v6uOxacjutJY1C+UoFmBh6Nf63liPEtm
3OvSLJpvkGrPVKC/q67TTdRRqXeRGbtzlOyyPYccoQQn2PRryJJw0QM09hSdbvKLho/9qR08sSvb
0SXWLw9voniAG82o9J+ee3l26IjTn6aSISdx8YhaxJ2wZyIay3Nd2fUj5D9XDN8MS5q3xJRpZ042
cwGy/M7onTleUIqSL7O4vUNHgxVuJXElUQfzQs3z58Gc0gu8AziRvDg48268aczw9Thjz5ExtoNN
Z1H5pmwyihrTmdNnFpubElIBU6wYbwo1Cv3AC5x9H0zuQ8NMyq/dOQrt4+fpzTFj/gC07hCO6iT8
LmcPpRuO/TTgfSJisAQkmcNXrifnyUqSXxDD+q9DZFrHj6/59hnmmlRltBbmKHpr8aVVJSP8rimH
dRCnCbO0GEo++gqUo6Fzpgi33vlBNQ1iCqpMzm/6HCT0uuEbeKMSmYxf1zQz4ngdowIZVm1t2t/6
3iOT2ok6IsZ0Iwt3ZmLRgLbVOL6egoCtnTfbfKiisD3GZMJ9lkqIvAaDyNTuOqvSvkCcJmyQ8MVb
3ErBvYpeEcwDUWn2xihr+gHKVKnPU2EAV7QR6+0yuohfisqLngJVB/BZcEy+6rvCu5nizo22utlZ
KJNIELlzg2TsVvbQFM6m0sS0GywPjjGE3RDxdJ0UT6OjRbGfK0b1DP6VnS8bID1TLCI1AVSNOyRW
ctJse1WJrB1ZBd0LbXX44XozASKRvVeHNx1SGHEPMdwlbGYCdrF1DdQra4H371zX4L2fgqfM5lSr
82MsTyVMVaRtGYID0ZCBGCJSa8j5dkrXo2lCKnEu2/md67Fm0LPlnMd87fcA7FUP3jW8eELkQwHj
aWBfRjNQUDg5VQ7ovMw2PNjquSXznSfbwMVCC4s/HUPLYrXCZmUpGu8T+ttpApxCIQBRr7xFctI8
AcFKt1HZaBs0q8l1nQyItThS4zGyv1aeOu4RgLl+l6hgZJWcOMd//NoZdJBsAss5bLvuoo+hiN71
CpNDkdCG+GhEHigV2Tk0sGyoAx9f651lBfkq7zaCDybIS6OAbInsUAyHa3kJNCchxHVFitsVck3B
X5bRjgCl8cwX1N/7xTloG4wzqTMcd7GwtGUSxYrFNyTRHgcTiSF2ADPfBo1VkepiU6BDPN06faYf
I6HgdvSCCkS7RFG4ieK4G695I9nmxoR+1qoO8/QHUH4jY8aZiCNaJ/nZogM3AawyCX6aSLuAKhGY
jk9brvU7K0nFrqoSEiObkPEngELpnlnS3urtOdfDqHNxaZk20eyL033HizsENPjWrt3Wh5iG1Jbe
NEk+FTRhPwxq4CAmaShhhwQsygwaxCmJYThh7Oa6Fl69//i3fqeK5PO4juZx5FbVpfek1qrAQ4WM
3Kmo0pgqltHTiqlYeOZYP+chLzbn2YBF7cNAC2vycj5ZYxf1qqbvwViOMSEhain9EcXp/egUgMtg
i7CR9nYSPU00gORGs4ceCFqbh0/JQOMaDogRXcR1YFVkCdj5g0pt4VwKk/KbM3mjiXXrjMM9jaPh
GGeKSuBD3EPUMptIASSmR0G4DpifXqU49slLKOzyJwdf7VeqDw5ncdUqHnDcJtfO6EV3xAWjS7UV
2QRbV1UROyd9II7aVKF+Tx0EYWsERfZLFghSDsYIAN0q1hPr3Mzzd/v8pKhBHseUlT2efj40FON0
Dwyl4yZBXFlrZMFaubEVbKxkeBg94pipQ8LnaEd6c/qDq1ieZHUahvyyglF6iK3AuE87swjvKT0a
cxswQGyvYfrlT8WIcXlTpQ59CvhsovWdRnjlZ8dJhOOzo8b1H3vD/wUi/qdNB/1/D0TcJPEzkSPx
iY2ff+OPjd80/qKSoqVhoqrTeDd4P//Y+E3tL5qpOARnVzldc5cX6m8bv6b/RZt1ru7NWZdnzyOZ
vxMRNfUvTyPgGncXY08ywc1/YuNfLA5s8/B55rqLPwl30O/h6qtN2ANk2SaSl0OQu7un0S03iZN7
u1f34+7Ps/zaq/juVZAPMYJjqXPVeTt6dRUoQJPXj1zFTc0ReGlDCIBW62dqZU1fXgcplMZbZHJ/
5hXYW1STWRfFht7jy05bSZQDbcFR21RV4N65CMebHauRCc3fxfs0oDlch5WE6OiZgFsqz260leza
4rEAwEtCBd7f8qYLgDZdilQ10bqE9eBsixSgpB8XZdxtpAw81PpFOyA/Y7p0QXJIEO8pa9qd5mBc
zjahxF4OR3koHT5K18wAjTawHmKyOsRV6FUGbGWFeNNVZZq8xqTf0FNqO4fA67hAWGKjGvxhEs7i
7s1Baju0MzUtSrdArAidMfkUkKwNEtPuyXABY/CADd+NPzFtUg8jg1VSSewk/dJ1uaeSz0UAjKn3
MtvKkOiVrZLkQ7MTMshzv2/ViZ0BiSWuedxkwHQDfEabZOLwseZvqHOnJtJM1kESBO39EETBoegl
DH1yLcgKqVK3JCMu8wKChXK7znxGBEV3peAmI56FjCmotcUYXtR6P8nr3spN88ksycfY2I0sC1Ai
8EfrZDLFvi6d8Q6Zcl6vNLQ0Hdg5KEYrB2gUHd+wEE/ocLynpvKGL4VbVy9dbtg5/49EX9jp2Xea
stYPuEjGy3yiLL7N/VxgPtnQgYgr8BTvvUipEZMnSkv2w4Qe2ZduXyX7Smei9OAhZx/4YlmH5FO4
jbhSE6a7qxxKQbpBr9bq32U9O5voZNOKl7qkJid2cNCBlgpoTiMnWCBOYQtX01KHhNwMO+jwmOAM
c9ZGmJArDT5a67+6rUsKLxkATDFFZRPgPoXd/y3PsRwvfv73fzofLs9+9h+fn7Lu6WdZv16h53/p
zwqtuM5frIL4HvUZaeFQg/9riVY89S8N1QxdSI//YQjOkvKvNdr8iyV9dp6jVuIEO8sw/7VGG6Bb
qILmDgUTJkaS/++/TkbKzeKvXy+e2rxq/bs+oMXFxkETkKS6eVaFBPN09dSJdcAN01lbyuZbgJhY
NuzWx310ORPB0O0D1ivSPa996McOCQlVypud1o9FKY5pIeKN7U7N3cdLOoXsm49FRwIfAt8UbyUa
sdOP5eB+GY3JtrZJFzy2TEg/p7QFn/TanvbSApC6BdQl/dYD57FqaqZe6w6fz3Wt5USxhDRrbYSV
rNKmOnd4dViIqwJJ5bcSBR2pBBVR34UdDp9CF8j1WgVycaF5kmN5rBVfNCuLv896+QeOAqyeYVRq
9xZ2fpYuLb2qSpJdnDDsL2IOHEAIgM6unVoA8S4d57mW5PfqVkxeeTF2duIHdVYTOCET2CGhahw5
qBgOIrB0/Do71LDKR7Z6w8QX17iYcuWeBEN5n2u59bOCI2ZuCN/UAeQ1IlC3bR3DH087nTFAa9Iw
9rUpK3Gk6RaEb76Hs8ms2PH2lL0cMkWu2xCKh0R8Y9GbrkEUpFtBO+p7LDm6rSHU0fHKME2QIz5C
9q760HxC9z1eBlmubtgL+u96C5ljBfMJCGdubhJUdquxcaufgM1IgrEM8tRXaWVCCuYHyH1Jftyn
DNovX33A/gBeK/GR26uX2GN2LOqXAMWRYNvuiwpp9THUc8gCspmJ5NMEnkwwwk7WKCXzGy1Tkls8
FncmwUw/mSgAA0tqmz6s6pXMk+CoYGmwlEzF6B1h8XKqtnxi0shJWu+8aC8xOn5VR/l1YIIC1Be8
K84Jev2c1bhmXyOm0b/lQEBCBPRU4FTht1DgagBeXRe+BIZrwdjCmYVn8Uuq1beNKtWbOmgR3Nee
+b2ro+8peMu1tBRobgn5LleOIiK8Cxm4ONHjcgHOvsMQc+mgjtj2eSFvYqncjHZ7GzZzKGmaYxzJ
XbZ6rHskrAAlH/G9ZuN9IFT7Ji0UwNtu3DxODudSi9jMlTX2ebyzKjlJHiDXPU6TZmwijbMGzs7H
CUrtVs+iai8NGcCXKVw4ucZsx2zAl/phLUGR4mSytqSpfO6YK+4G14Jfyt/2XJn5uVG8QDOA5T3o
cMAaRfllaQ2ZtE37VMNIX2H++9rr431WGtZaTbV4VTDFvI4IK0DMnKx0TLr2kFOg8K03hWY8C5sD
qhkBEF2B9946jeO3NHgd5PougDkCty5Cg4mQFlXNtvAYd/Z0QQfp3TeYKbcOUT6PqfB+NbDA1m6p
50hj67vKkgxW6JStSuj2JMgTnOrXTjk9TBLzM85KEHErNVPIQjO1Yd+nYfy9ZBr6tTb1iS5/z5DJ
HKtil9p6ujIz/b5U03INVaDcsHfGPn7M/pM0h3yb5fZhBBC7luVgPNOsZ0TM/NH4WuMZ5QEKaiiD
I1ZXklISfF4ICD30Btpd3Vq8TeDpeFZHYzNazEWALFobaWTFWhOYmQAGdevJVfTLELCQnwb4rpIK
sI5R6N6Dg71z5YgSJP1IUk6s1B59rbDZlgGdJIZmtkJQIxaIAwdS7VpBSs8CRNXlD0HmGtBvRPBo
erlibSbBcn6r9m6zNUdrgsweG5gER+fBrKZi41ZOIO8Gi7Rg0g+bI2S+4PMwjr0JAqWTvpgTYzgV
P6fmRHMVgfolmvXhDt6b/bnkOyUbozeHuzSO7ASa26jtp6YpP4eVFzzSdZr2Ziq9HbwkMrRMJyVd
CotFwqqxRXCE+HcclId+tmquUtBIW44pCaO/CRp7MRberpuS4VPXD9o14NhqXIts8OhgasXOYp6E
R862mtVkDcElesThbkwS3E1JXXa/rLmYpuVdPcUFE8m1NxTBS+u5wBcJiSNnMp8hUTge7c9MWhrt
OnMkI7KPd7fFSeLPnksfwWayArODycbp5gZARlUjKs1tq0TGeiCM2cr6w4QrBc+MMC46bXrUJshD
bfEDeiJhzzQoEM0rj1jAbjXDlvD8k3ZdAo+qvNLbmDMXS5Xuo5EhpJua9iUvy2nVNMnl/DN9/PEX
Aos/Hx9ls6PZKv171GmnH39GRFVhYPLxW0ylnogu+7G5AR745BKRtMqq4NH2yruMXIRVpce7JCNl
2UqQHg3Cb+2UwO8g39uae0aMedp3/PtzcVCYAXWI5ZZ9RxNarCexMmxnI/6caHRg1kB6j0WGVOjY
viG7P92vf9SUwDLKf/9r/nd+lOT1xWEkfxdg//6rm/hHTarpi/zwn9r9Km+f8l/N8h86+ZOp7f7+
dJsn+XTyF36BzxO91q96fPjVtNmfTxH+Kud/8v/3//yPX7//lMex+vXf//mjbAs5/2khoOuT8pbR
2P/esgDEddKumGWLfxfDmJr+YupjApCh4vvTqdAc8y8bdyAtCmduns89z7+rYIVWBbrlmYvHhMBh
gEzx/HcZrOh0OOhpq6gR6WzRHTT+USE8P7WvCmEH0hMYPtNAZDuPw3Q+9EkbARuOtPTGPIA4HS9D
pW++zkG2z0VTA20js+9TaufjJnDc9hbUKeFBQ0THUejZ3Sh7vPyvbtk7XY2FQ4mGDQiK2Qammp6B
fPqNGSQJo1DtFedg6uiyJX6CVZMl5ZU5QZrq2KBXilIWW3Dtrp/FGQWBQjZEwFj/08ef5LTv8fuD
zAo9hx8HrBLr1umNCSbdCMC7aYcAfgDk24hFmx3wz6t0cjB5fRBZaB7ny6AM/93chbCB5nbRvx8z
ti+pd8FBCUhuxbhJVGWuTuRXODa9AunusIBf4cCb1gyx+l9DVQPRJ9cJLj1eJSOts22uiXY35GEx
Z8UTyU7wBmguT9/JJkbnlXfDlZ0pA54kQS6vGjVfclmRMdogafLNOQErJKjtTH9qeZb5/c3QywKK
smnF0q07vYHWKHUYjqZzILT4qgKia8X1banF14IwYtJN95o5J8daIH3JLoviNXq9jdlCDx/Engmk
b6rBVkcwhBrhMs/LbZJQE5XdZ2lZhH0HOxSpa1s5s5q+/dmZ+mucPBmfotub+4ev3wc9CEujl9I9
RLot9sqcgztWojlzc969is77zYINdnTpDciRi9luXLiH0WqttUOOBwcLZ9h+/AgvT7nzT8Dx1oAm
yUDYtc35uPmqRxjCKSIlXI/wkY/xfauR0LxjYNB16zTMmvt5ogMM2wVpDJKmLTee3tdIFImYxcBh
FgIWHk0lX2QibFfVZOeln3vMTM98znfuBjOOuVdq0SFEMXP6MdOszhrDyYNDUlWK7ykS1sXYnPNj
vPeq8Ryyg88iF6qQxRvdV7XKJqYEB7i72r4r4+pK6CpOw8KS64Rj+ZoZZTNHqzW7qRjwo0uhE2uV
Ft8sPYbQjWFw3deQE8ey+BlHjbfvh2K6SyR+X7ROcj22tnHNvEbZtuSZb5KKfEtmMXSzUqne5+M0
XOqJXp5DIL17/+B/wRBhNdGX96+gZaG3JEQe1CDrL+uRb2LX4zM7EOF65Dyu2zLrti1yxVUi0vqm
cBBelCTzPiiJZl+2aqiQaQ2l4uPHb946TrYWh7ffYgSDloY19LcZ/dXTR+Y20muOhcdQN8MrsCnw
LhTVuHIDUV6NNUhRlrX6BmjHOWwR2+PbK1P2cJ6nLHwjnJfGRIBWlITH3M2vCzRFnx0l+YU+ULmA
63GOwLcowBzGgMjVPfRCNMjZmxdvmUVv1yAgJzp6GTG4Hu2GTdsbjM3KvNlUoiIwlPL2zMYxT64X
N5dSEbk82DVqh6UHLSwpNqiBXdJYbOs2iomGRXSBnd4syq9O5DlEVxZHo52mndX13Zk3dtGnmr8y
cwvma7yvlJ1L/lkCVaORccX6FXakcEPuj9SyWGcjTZWPH6LfSrnlF53tOA6sMU489nz3Xz1FAiWD
RWfHOxBGT45xJBp7FxZa/9yB9d4Lo792etfZa714dr2JxkHLsauGQEKs8Uun5mJjG3Z5Z8T693YI
pr0izG/UVc52Aq+F1D/tNojalG1mpi+p6cW3TFyh3hSYXROsXWQ/B/WV1RrHSR1VvwI7shpH3fQ1
Yimu4gb620innNhoNfD1yfZNp70TmVcDaaeX0WNqeBrpxgMrsuRFWffhlnOYQmrTnCQC4n7jaOM5
I887TyTiMZU8E4pI0goXJ63GsQajqwbnUFi1t9W7TJBFyNQCeuF0SfupXJExfk5W9c4TCS3UZayL
aZiLz5Xmqx8qseDhGJXtHQyjtK+HDoqH5tB1yllLL0oiYdfhJKoNyjvnUyD69swL8c4jiU9mti0h
hcBTsXgLOQGNhsxSnpPIUFctXoc7UiHvNY6EZyrDhUqQmg17K4oLlDvAD9lI5oXv1TetkXABoYq8
gx1PBWMwIq/oJKgztBZoVGT1W7Kh0c65I+L1jhAGW/bjGWXA20KZD4HXFsENzRYEAotCZchRBShW
qRyykt5kLZ3yOqcXtEs5zBObYdSXpOcZ14x2xn1IK2nbRmW0R2oenbHyv7PY8qPjv2EDZyi7PBfH
zMoHq6ycAy6HbGdSmq68pCxvk9F6kBNRgh8vCO882/TFIcVRWRroNBfFQkI7pisKwz3UMT1oQh4D
UGSlek1qpL1D3a/fQgL5+fE132ywfC2TUxibGZxLjI+nP3if9fVkar17gCRlg2Mvngj7cTcfX2Rh
CZwfq9kzwybC4FjlsVq8tdIh/SaVPa5DpepW5SQ6X6bGeNH3tv0QOHWzR/A1XIa5YD+rm3gXabpy
CbFF3uaiNf1OQYp/5jPNT9Hp6ssWarFDzhAb9prFU5apBagN2osHmjKFb2tjd510/bTRmEUwkRjV
XWQYox/ETETorvWXTa/1zD7PCp3eed5nGy0vN+15ardlyVwCxMuJkYuPTjF7QLNI7kln6D5xbA2+
o5/pfIDhxa7E4bm3ojy9LLpOI1ovkruP78nbsgY9H78W7mI+C4f004chGXD7wGmKj5aSMPsYZao9
Ci3kKNxk0YB5g4IPBTtetqN029I4syH+Ni6f/iQodSEUU/ChCOLseHp9cyhF2HlddwRxNOF3I3y3
L+mEuibMcarTfo9FsTsKkNbEjkzFjmxr8ZkuuHtMAnO4xo7SfGc2R+a7qYef21HtkH1m9WUzsRd2
RZPfxY3bzMh8uJN24Ky6cSAvKNMJP8zhxSf4mjECqB7STIKtBiLpz1SOb5cUE/cyVkuaH/MrsfiK
WkmiXKmp+VGURGlWdabvIN3am1J43a4ZULt9/JO+fb85WFOoMhMEYICg4vSWWnU2NZUT8ZPmXYz2
YGp2xCKYZ3aot8cxh6IMGxjv93yydBaXsUXG3MgzyuNojy7zb7KMck+nRpgG30jojgtEDr6qF8qn
3OqJhY2bn5gQ1R9JmsUXriTvs3Cb+MBwNTjz2d7unpzQSbdgEef086bKgg+nyFwv0iMZhgY8opLJ
AnjBexVzxJmb/fb9wV5HnUydwNXeOGlrAyqDXurFcRqL4q6vy+q5HROU4HnV76LGje81XZKRh/z7
3Ar7djUzYfWye/DizNvmopbsQSg3k95kxxhl+ucQStIKwabC3NcmjAqRxjPUNNrjsBx+YuGwN7CQ
6jVwAu0fP+DzYQ1VDfQb7LVLCTressgEdVMcGdqka43G8ArPK7l2XrVq1Ko4c8vf9mJYALG7UJn9
Fuqqi03T0vMsKfS8OMbGNBwlJo1dk6vyShrEhVuu092jVeJFz2vVj/SE3sqQi5WaCP0a5fK0Z+rM
ySbidEwanXKJep/KJoHGwsQ4vGlcHXgLOtydhYVukxBMhTyuHa4Mu6rvK9GfQ6u9rQFYxbl11gzN
mmcJp+8rc2410HLCpxqijh6bxKm3YErdDcQuxiQ68zNIi+65imu+SacLL10DnCwA1GjA8rOdXjUv
XTeOgiw5slkyOMk057IMOpU40O+u/VyrRY00PRmvElJdb5MCm90/XaWQqNEkRNr2u/e7eHobqau9
l+TZkf1RbhjcNeTKVefGNG9XAq7CGIGHk6ECqtnTbznmqjPZwkmPpsq4T0RDd5UmlbMDT/LP1Nlz
wcOlZmSzhwWatsXixFBHtjP0UFmPWYlbs3ECsTES40tiQc/++Na9U1vZnM2hcaD6YIrsLr6VFyu2
QspEfuzD0Nlq9Aa2OBObvdMbM6FXsXdt035VnMrdjnKUd22KH1ZD7enXthn7XuH1Z47Qb/ccIDU0
DDxk+hRX9rxMvjpEgFlQajPJ+URB4+1yenhrMrXOHdTfvilo8+E3IUmEo4Ex+/QqDpDUsdL6/NgR
JXLdOZ3NeHcotk0JLNszW2ujDARYf3y33zxC5Bgxt4DHjZSHBufiojUPFfoIdzwqjvGrtepo2zWp
7g9hIx8+vtLboxiXgmtE0ewazBWX4wtVDV0EX+V0bLH1+YPtdT7dVNrfoSiIOQw1DCkS56kxtNeE
L8PN68384uMP8eaXBCDFSs5L+ZtZsfwM+lyXEtusH3tHJ2nI6Qa0Q4l9Zg1/80syGdHn7zm7iLBP
L8pO2kCiUHG+HIGoxxcKUoBrdRiJUyc/cRsmbrCXokrOvDenhRgVJoMm7isC97l/jH7v9PFJNbOv
W9drvoSWfa21yX3TJz0sbO0QF/nLx7dxMR/+czEcfmhMsWhSi80f5tUbMZqjzLUqbL/kExXZypFo
1hW7TnfoyByEBx5OSdCsG4Ec3QeCaH4K86bwU0exLthkuqvJbsKNmgT2igHfuNairtmlObbz3I1T
v27H7kFzMg8nQ5yQzji6O2E1c9Z4M5zZK8zTvYLvghnG5KeCaMbvxgJ3+l1iXjnk5lN7GCslv8yB
Jvohz8hNkIkcN1+sEwHZd6hURe6XIV0S/FjNvosZiSAncg7Ih2Mf+XPlFy6oTNdmD03zIj2oTlbs
WtHXtzzSOEkHgiVQ86SfFQpY3xUwZCYTk3nixMoVM4yXAXPxThSBcSTgSqzpjSc/XDz+iIAGgUe/
QIhgmjK4csM6XE2RpSE2VavtIHpnY2v0FT/+mU/flj93Bv7g/GjNVfAyNCKTvTYKwBeHviHNNbGl
sap6LvXxVRa19nwZqjwe2lmDyCBnGWEDEz33pBmg1+0gYosCy7QzFOamhbD3dSJvaJVPSBFErVj7
AM0cR6AxpuzJwMxx/rhu8jrf1i3a7dFwqjOf7u09MGkTU0fw4CJlXBI53ECpx9zu+XBegfBGG7Q1
Ay/vzMu7UCz8uQeMnMFBMP5hu12sw0USNVqM/uaAmbXdjKxhG7NDTdNCNv7E5sx31QKC1wxDVmvu
i/iu6qTKTwqwn8xSS8QkpBMElYt5o7XSW8YM53h4p03D+SPSPptbDBa0BYgzi/cEwn0HY1DRDmmC
nZ2TGdiXuCcYVkMYZLXFsA+EFe1aJfzpNrwmHz8lpxvVn6tTTDEYY/A9z55O39IKQ5ZS2qF+yNwh
uWwdhINxSI8yjyZ55sd4s5LSr6JmRbJJbxQZyWL5JsdvIrihMA4cJvKt2cJCoYwt1kalhzc5ZfmZ
R2xhmfr93WZSHAdb/pcGzuKCBlPfgZ3eoEUfmN+gSRoXam1Unzytgb5AF2GTjDkmfQBAF4qCtUev
cyLH2jS9S9P6HOPxva9PT8HBiUdRyUZ5eqcjNUUjyK05xD3CTxrgBI9zAALLI81N0TrnjJDv/LI8
8bS/cT3xH29+A1/tJfCA6jAVjnFggQ+uqAt5hsCY3JqOmp+706cH2j93ep60Yp3SYNAYi9fMClo3
74g3OJCG4nyaaAxvul65t/vQ9ifcVreRWqlH1UmcLblt2h47mr7mlDrSqKkf9ZJfIXk2dk0JNF+x
tHxNiPy5Dendz8g7NkcLIr1edlRsIg+rKTC1Q9/p5oNpFMMNxO/MH6s23OIgKbZ5UjqbEo3Z3cfv
2Nu1zmIVhqZGQCZia3vxS5C0kYUmEEHWOl3f9qneb2t3qi/+8VVoYMAONSBP0liYn4dXv7eFMSQl
f8Y8YGDGdObSQG2iLD3zU7/zXXh8Zycec2SbAdvpVZwhSrwozKxDQ6/SN8visTa7c33gdx5drLtI
5ChtUZpZi5pLm0mPMEisg2ZH9kWoKuHebMviyk4K9f6f3zUXwT2vJQsTGUqn32dMkQQZE5eSRRT4
IN2HVWHAXfv4Ku88e/Rs+V14+hhWLicVHL0iu60HrHUUOrspdJwd8RfWfT/26dVYVsN1qTKpNmpP
PfN7ab/XlX+f2X+/mzbuKIyANBRRdiz2l6S0cSMZtnnQgDdEvhooY+AnRDk8ZRlP/SpiUzHW4KmS
K7ywyZdaKu4DnStxaeex+4OSWNxURI4ctSisQRR1WvCkFI1yHxpW9UlWGcgupXC2CO6ZqSfonYN1
kSXTc05yKepgS02fJjkWeI7GOHfXemrTF2BaW117kx5uDdElbAK9hjI7qdz6SbMMWpBKbLkk2ruW
j+23WPE9OY6OkO0j4EnVAFi9ltaPIA6cZ090WJXQ0EdYaiw5wqeJYh3tLK1MJPFtVfqa09jiqs5o
oa9jt1afTKNzfiqmrCx/mIZ+HycE9wHeLgXmKvCln0dTxp8Ns61MZnhlcBcYzU1UpvgLpDEW6kUt
TecHQVSzcrNqep+CsUfxSCAFOnKtSatNilTzyrOI9ATAFHfT2i40eZ2KoIK4T7O8nlPSnG9jz2MJ
nEB3txEeBMQ/o0GtTIBVM82wHPS5ojSyW0EltqvqnhJGNOaEB8Cx6qNMXXpQggl4tO1hlxdr1K/F
E16CYCcZj4UXRa9z/wJjNH7Cy6PZRVnH4ksU5q1ghBdvs6otMC3nPWT40ksQx8bA59ghJ+DHex1f
2eeO25+t7LToDmGn2C9emyn72EjKT/MR5YJVVcsvurCofxpB7oYrI6/KFH1rp6urxg7aLyj4h2LD
uUR+qQQxoTupyfarO7jWntQnS8NJUDs/iUGZrg0iU5kyVw62LK1M0JVOskgp2+MxuhUaSpwVWeMi
W1dmMF2Y3VQxjjaL8Q6m8A4jr6nvMXKnFFBtAPQnH+rxaycUfHlqHmqXWQiMbDWUFnEnOhGOOMD0
QHzTeR45I2uSFN1cs4ALKjW85RwlzEuPp6Am2D0jkUolBOPokgnwAGx38lY1zKNrorRIR+3GxMHB
ZQ/uJ50YtjWmm+grpgi4sYPb2duQ6KR2Tfu6sS7KaSpfPl5jTk/Hv99zdnqkAEzPcM4seTsK+aAd
bUxkdOwtXyAgIG+D3oU0fODhX5HrFPrQWOPtx5d9p8QmX5FNn2YH2AUqvNMVNEMTPJC4Gxxst7du
RIzZ2SsU1PSdVb+I2gpQgbSJHzLIAzXWik2XmcE+zHXz3rVimPYu8eCj4OzHK+lepqURn9kZl3eG
WSKrOFxk5KfsvsuzRlsHukGytDykVhffpvgu/oe689qOW1fW9avsF8AczOGWnRRs2VZohxsOe9qT
YCaYyac/HyTPs6y2lnr4XO1zYw0rNEkQKBSq/rALxszfOCsOSmHumLekI+cKzi9dFHFD4rFBHZHq
3vNhQcYHENZQjmS7frbJEA3c1ImFEZeEwLfHY/r76+/hNL3UD0lVkB6lfgnuKdRobKDqzAjSHaEj
HtqAk/2cLQm4J7NF2+1c+fmRwfvrrsLl9MFN9yIpe1JYfP54ysGM2Ea35Dit47R3PKgoBWjWdxIC
60XGzoDEHlbIqHG02x6v1gt8JZB+aW1rkzUZXsG0rlG5L8IdN652Fa1G7CXLbCfTrHuLAs6yXYdl
ObMbvvBSAC086gjoptopbMEpui6Ubjodc2vx9mPpBO9NaZks9sq8sNQQ7yROp2dWyAtvBm0KOH66
axv+JrZD5WUqelVNx1C16mIJhLgYQfhFoE7x0OmRt/3jmaAxhNpOGPQL4mjPX82IAkFny24+JgkW
nZmFDXOeuNh6hVeJs5xTztIJ0slEgBEdUIDSp3iOeM+vVvarnKhQzceuFcNO4lG+8cL23AnjhTHk
eSgmkb1T/HssNv2S3GIpKaZ8VvOx6nFGGd2lvOon75btoL/miH5u8b54OcSJqV3xyszTLhnpmoET
tTUf1wzaEjiTeecCgr5cRPOdwlN9Jj18YQwpkmkFE0BeBono8zGsEaBC76lajlPgyD0Q5Xpf+4n5
8MfzQlP8QwI1KDKe7flVKk8EcQW972j07le3GN6H1vgjWeYf/oy1yOvXeuw/nUwLoL024YiuMkKG
J6eRRAb+3IAZOZbIcW+tPCuj0RcrOjedc1j8Rl5MZFzQoMb0chzTOIox+9n6sko2XZHamwZ3UIwh
hk+v39fpyYKCG/KgHFApzzNXH8PaL/MIfxXRVos5HAU6KXtoXjD5hBFcGDVb/uuX+q38oK+FlprG
ShloFJyuQ1pybprGwXAcSMEjoNriXsk4ezM1aBPaXQ1UwUa/0QnHZGOE5nI1O11ziNemuOzJxA//
L7dDXKBSTxsIvsXz11+YNQBFR47UA4S6XC22XgAa000pnRmKFbUnrDdsoPcg9ax4drblsGqDv6q7
SIdqOgOZ+q3U/Tg6rja8IUKRPJxEqWasy8TvBeVh8NXXxgjDAusJOwqBIWw9C+6tgzTlwVgKrJXK
dLyZ0zg8qCAjl10mY4PPyM5f+/IQ0sHdBALPrm4ttBcbJM6hq4qrtbBg7SHosAH4N28HiQWeNug9
AxA6PdvpByGwU1IIfZdWz8n5agjRPBWAQI9WsWabGluTG+Qo2Elkb0SBDLEXooVw7WTO8fU3ar80
maFl6DjF3kI98PkbNUYbFmNQj0dCB8LwYlnvAaWSHs++cWePWbjFjcLdT65aDp015westz6nWWx9
GNam+Vi7mb8TpIQIQRrpgVqwiMLcdHdII+NTYAsBFyFk5rraR7BFTslTI15tnltGK/ZHDxiNat0C
m76Wh1emKVuEEEEcRrYv113jOdMGklHxXlgWYhDdspzJ634Pmw6ALKxEKOgA8T8Fk2A4CVx2Spej
i0T7frVx9quK1D3zfn8fZYeAQYFUExXIsU4gK0tbG9BtvfWYuDVa1S06p4CPKsRSJ3EmZLzwQBY1
UnQoyVVJ4U/2ARh3nJh7wzgO4DgPSKCqfRGU8fb1efPSAyGmjrw/rTTTfhTP+yUGJjRlOYnn5hHA
C8aisJ6itQnfB6U57F6/0u/bKPho0Lc+Ci0+HbSTNZ7bfkv/Q1F9H80LaMJq45nlh2Zxr7CFcs4M
3u/rkNY2lgz07EMKfL+Fdiq7Zht39jHHjzQSCX7w5eK1bw2T+l7cZ8bFUhv1x8JAfvmPHxM4Hhhq
4JE01k8HdBUonHq+tI/hlPj3GIJ/NaVhfBdpOGwxbZ/ORPIX3h9JCUBjTXbUZ67ny77DcbJvksU+
GqVhbo029Q9pgCuhJbzh4fUnY0bwYc/3cbSISYMoHmHSQBv9+cUQ00raJYv9owyS6041uF2mbZ+8
6WuKVfBBHP9+zvou3zjoDd/VPagRVM/HPNisk1ddhSjF/JPXC0ko2jkkvZyBsIa1y6Aw4ODWleRc
b2SfKdcmD60PQeOic8zW3NoO59dNFjYNtXGEpyOFLQXUfXzE7Q2sxcmjSoGe/c4RpBVsoo6NRXA7
OBDtc/8W+CN7l9WEUUen8dj3KTDFJamp9pKqAkkXF03n11Cry36AnCBdqCpqvG2mAhMqNP5dL7Ko
S3VbDwWGT15t2vOlPy/mJ+mo28mdc1xurD4rAAyJ4nPm5NlwCKAa9Lh5uqgh1FhGIwuDE/wmmTtx
idSv3Uay6NOt3/gchwej/4BGDOLrdHVH68JhC7sfSNS/044W7yfoz8Mm8Jv4YVnyMOT8biDsBlnc
vDJUTTol5RiTChslghJtCyYfg5c43EhqWiZbTtE7kcJahi4DFouUUnJKrpvcm+YPC/Y07sZd00bX
cJL8GkqpCZyxzj+bwyK+ER0owEEDa4inhXdh5itx32q8CbvlOpdzFFpZ+QV8ELUYXfd0N/Wyis8V
END7Vjk5pDYvtaqoYOcEEdSu3QPl2wnkO9CpO8OYk2tkNYtDuyDW3RnB+sX0BUrsnazMhkFycJ2j
7756hwCoZ7YpwKPMO6+DlvmAHaGK37lTuMYR5Rt5IzKUNs4coV6IJXBnwFOEoJ3oF5zkSia15wYG
DerfaYeCvNdcoGER7BF5FvuFdRbRuDK3vpGdWdq/bwAu1XuNqoXFpJ2Hnq82leJdOEsRHtUM3nQx
cjxF7bPciN/Dsqa7UnjVHVGgbSdrunHWWIwY7B5Jz/or9PS7g4VvKNZEOIKXLo7Hr0eR3wMW1yP/
heapD3COvp9fNpypxp07DUZxbAJwy3GdzghtYz8AyXD/+pVeyLm5FO0uCE+InLFnP7+UGUMOnVtf
HNPOl9cyNNedSUVza/g9rR1li22ShcmtNs5F1aGv/knwPd2G7oT4JpLc52hpz9GWAcwEfTvIUgKX
08qg+n3/8uR0+gbSBEsc29Vbtr1U6Xska5YrOAF+pOxY7Vn6MlqdxL1qvYYiJ7N706/puZrASxML
4Ce7MKdM+jYnSYxZiTxNrCT5OAmRbwfEjbdOPMRnls0LL5o9mEMPKCSYEKc0MKrUbTqh93q0pITf
Yxdy1y2WdfCafr54/U2/8ECe5zsGDDCYF78R/mLXQ5g9HsIj0iHOJYr5+baRgM5fv8oJuOrxBXq6
jIJUM36R1HCev8AynPDxzmH0OMhAIsuQdtdzWXZ7QvCys0IaF14lrd2aTGbU1au79eQizrQPT3D/
jzcBlgbxVsDgZGxaNvDXWZSpNs9RiZMfYzmC5e/8Kn7DKWcp92Xq1AngBb1NWnh30hUZmocVIm1z
xSoIHtBagSLy+qDoIPQ8JdBEF2gnEPSRmDxNu1WujCRGY+Zj4rcrEmRtmKg9PtpuvZUiTu1dUwy9
cdWpJDznGfX7pWnSsZcHlBI5+ZxS4xMMoeeKuHkU6KRtU3pWG6Dq4QZrpM95Z/+Ya0fsXn9aXRV5
/rQIDYRaHgAAMVvByfEOFTfDWzU7XaFL9aMACqyZDZ06IjCNRXkSq9GmhRD29cZzUytHmwOU2JkI
+vtsh74MdhHkKwBGAJPPZ4BX45yQYsF5zAxHbp0+664cAfvg9Ud9oWjz/DInFaLVA3iSlVxGhQ2d
Ks9vIp/Qce0ry3zvi7J4l89B+1AW4GCtsV+3nFj8qEDt5aZpPYh/w6LeLSoLzhzBTrCregUQSdka
aTojOQvp6/nzI7ZrrkNqiKOwPHzQHKd46xh0X0op8XD11nCXQ0napmnZbqpkKCjorvMXYakZLnKW
bc1kSs4cPl8aLMreOs6B8jToiT+/JyR1Y9T0Zk1xsadDDiVlF+s8F+kmbLeR/wICaY4HtP9+gCAO
3zUO3sPkicT82bE3TtAVUR8G0x8HRs5vj10g9tyQ4PX8tmqUJT06TLSBRhuzil6V2wYq3plV8Vjf
P1kWnBx1ssLBAJDJyYYiS9iNSLjDI0Cz+l6oVfxjpVaz7FJlFnigoEa1kbSSt8lgr2jwxNVwsI0M
f45G2lkYWU4Xvg9p934QoEX8bdegv2hms5Hu+nj2z1SbXrpdhAYYGPgtVKvdkzhuytj3KlwMPtpL
HtysK+05seTJDdEdJYUVgIzti+62k3F65S4kDBLnpCvUiBEi8hyUlpTRHAwPDrM7tNkmRLl9iGaA
CmcW+kuzipozqh900wzM307GdcGke5TWHBybZcUUANEp6qGWunGg1H9L5nj8LufW+VwnRb/tzJ7c
3UXSK6cs1WqtDMi6bk0dh3rRn0HV9Rok4AKkom1Fucv/jXSFq4Vwsjk89jlUShczpG3iiHiDmYE8
M4dPyBpP1yKJe6zUeuhdn7wuVPKUDIc1PjZGUF7mFsr1jYMnBTwKb6eGvtxkNfJ/rVzWQ5e45WEo
4uQduIEJxrIXHDD1mTaz2YrIGGEJdpWUVyXViFs1WAuSn77xMGLhcXDDyQARYfDJSZDtsAZAQDsp
i+PrgfX38E2rDJ9nD3sJQBinlfdmlDXGDjL/iOB9fDH5Mrgy63PecXpMnq9IDfQi1/TBnQMtPRkz
x4nNWUxG/lHOCFvLpHS31D2HbWsGy7k0+/dNEfAPbRGmAUEAEO7zIGNlabWIJM4/Nqb0IjUY1lZk
VfsGT/V+Z7A2LgQ51Zu6adutsGfjyo/nkZLigBop4WuXrKX3DqqluQtKDyn8JEt2nR3GB5f22F1i
YLtx5g3oxP9kdKj3A08LAd4Cyj9ZV5Rui6TBQ/AjaaMH4DlOi0/lPCsLX6RxwloqddU7sBXNR3dg
K0ZiMC8ux7abAcg4CwaPqdPsm7mWb6Z4ie/dCfHICBfO8pY4MlMBddf8OOJX9GEqm/ytmIlD0bpQ
tNhVViNv4VXg6SVzhSilNdjxmyyMVbkx6x7Nm6Tr0q/UN0sJ+DJlmvQU3U3G2NuGZYp1Ah9xFWBy
1XPcHsu71glUgYD9YrYbD8eigqo5BvWset8UIB7G/l1lFsNnQyFoG6UYYZxjsL00nKRgxH9AozoR
fz4B8CIUBdti9tHFZ24fumW7bahKfZvyWu649p+i8DV4DlA8alBUXjSs/Pn1RGzRD3NEBvHHw2dD
NSnyfPirOU4b7qxlns8cxF9I/Glp6gYgzAoi0Cl6vZ6Fj2J71qPc0VkUbpYg/CgHf7kfp1GqHa7h
/lsI/RB/ywJ5wSgzUrR7xqqIzwm5P7pGP5+6iMRycAPABdKCksTzZ+cT0WdXYvxIYaW9rPDNua+D
Kdw3U3PlQR66Iv9w30MbMCKMXf5W2Fy8SUPw68bQtpcrvkk7Y2GphbM5kTPXCFZ7bbbLpvULp57y
jHrQb2EIgCPbA2gEzmYmWuLP7zYAWD4XWY8GAvKPfkp5K8ferPyZEf+RANu75kd117c/fvRvvzan
4mnPVNn+qw7b/0KJNQ1T/u8Sa+xuX/u6Tb8W/3MY0urH11/V2fSfPumtmSby8GzX7NYcXWGa8pqe
RNfcvzgyW8xtDdaFGqBPmz9F1+y/Hn+bH0GDpfikk49/Ndf4PG1FG4ZIzgP/5OD3J5prJ60r7oeO
DR0I2rAUuyBmnaznPC9rUGfLJrakineijZV9SFp//rEaEpv0QphFDK9nMe+bRVc450FV8wGrur59
WzSJP21LqtVuZLnTii6p70p/F49e/ilMlZsArJsA2Q2hGP5Oa0N8dXG8Lq4ddL+aaLUNNBVXywWu
gM52cG9US+yRj1M+2KdL4H3q7cGro9qpl8iPq3XYicJs5D525HzpNLZVvRl8MpSoUYjcXv7yNt8/
Letf1dB0ev6fxc7AsK/SvSDygFPhrHfSAkqcdaaDGVDaTJeryUrF0TSH8pJjp3xTZEJTzzNXRnHJ
+fv1Kz9PUp6urOtUAeEcDPEp90iag2PzXNECbGQzULK5WWazORMdHlHIvz6fVrWDicHMpJJB5ebk
+ZZJLVBK8k03ZGaysX01TVG65u4HDFKX3EYtskPZHVShyj+I0Rg/ZKKSKWmDGIZ811ETbtPtPDTa
3BLFrglN2zVp3ziiS6mRg+cHjArEr4ThYY3NvgTG6UcwfAYnklOHF7rjKv/BDMd6iPq2ZxtdxTzT
Ap3dsdgO/dS7aNjbw9YfF+cOpy7n+9IUiBwYEh3v6TZf/eJ2mMz5c6t8eZNLaf3T1vQ/t8TfZaWa
ahlfbcMH/iitZWyh0ix4vtZBVSGao5pvSO4XP5pqbNaNJk0p8tLEybYC8Fa2g4VvZG9nKuvr1qnL
qd507VglO+UY6jNsY0ft1i5ofwTeuCB0ma+BtctxmlTI7nY+hLGkwG29RoTLuHBU0aEFxGx/Hyao
CWwKqx7plzSW+cnqxhhcnhhMnXGM9Y9ysNb5YpzUfLdWveEcyibkLAtLjEKem5lpuEXbJs6v89gj
IZnWYoSrHbTAVRtKUFa0Gkk0x6765rhJsWysUHbd7vUJeloFMIhKdLmpfwGlAhd+yqAQa53mRfe9
DmR95UJb+gCeFYKcDMx5OxVjhLYOzW8e+PMk8xkzA/umrApjOymgxQXw5adjyh/tQf91Z3m2/7y6
U/0v3IMe66mvbELd9LVPq/TXvefxT542H9v6i3MO9Gmdq2kPGgqWT5uPbfyFMZc+ClHLBM2l3bn+
Vfy0XMxJoFyF6FCATyHr+s/uY/l/gWRD7gbNXA5RHAz/ZPehe/8sytLJZ2lpmQtuhjyc9ubzJAVX
NNtqZlI1HIwOqmnuHbDKy6YaK7EcWnddI9032YVJhTfykFXvmq5Kryek4z4VRh5+ma1g+VvItssj
RS+MlZAr67Ju0newYBAsrmkbYR8qNlMmPwY6OIzpt4DtcO9mzhULLI3sONiVYwsA0L3nWu6hrrJL
a2n36I1gj1qF15k1fBpa9X5IIEYvgaTwN1szhbfy3h5iY2NTCDiWwlM7aWSL9gTpS2MHDGSk1AJN
VN7rWt73NjXnjuML0Je7WVYFrqqmNwKPzgsatiU1ehfgSmQIN1k25WSom6Tyy81Mm/e9QA0kR4lw
Lq1DEE9jB2XJVcnRqu1quDdFNwGnV+2S7qxyCNLvtR3U9VWLUi6IfhGSF49zbLp51Jim7BCKmcy3
tTTVm94j+GyHwsvHj+w7C66+me8d0hylrggTWgNccDtbCPDDzvkgHXd6Kzvg4RHKXX7UNvYUby0b
b9AdMpjJ/WqGaoAOSpHJQiZIbGojSN469TQfrXgMd3XolW+nwkQvSH0YXBSS/RqxczACdjQZorug
/5W8YdJg7Ax3dgGhGgnM/C4F6Hc7srr4QgXpBpReVGUpNS154aSLs5c+nh2T8h1w/nLX5EVEa/W6
b/N75asE+fP2DqRnswf9v37wMffFBzz9uLqhfEuLJDu0OBOKTYYrHj6wi4MSo1pka34MWhGWD9Io
raCN+pJiO2fksNcCjI6t8qfD8R/Fsf/vIpSuOfz3CPVQpf2P7/9z13/tf3TPwpT+u5+axJ73V4jv
Bbge+glAIg3CxL/KxNZf6CQAygRKwgFXQ8Z/xinf/At/QTQObS06SFr9rzlH8BcQWLpfxDe0smD/
/0mIeqxo/ydP0leETQdnjHMk0FrEkZ9HqMLMWhT+cvdHYMY9vFircRpRbAwCyUrflgToq4PNDFr5
aukWZ9vDokCVmJ6Y8Q0eBl4HG/xjcv8KvDMAzDwUlbqYwrLo3hZu2aDLV+dkmt/cvM8gQgrPKyB+
QExyTPCgZBC3KDn5xVfO/038t13ayrtJvFQhoFmaacetOI3blu+kafS6Eli4eHNH9eSW5RvTXxS3
nJSluVxbmAlk/wiwhfzNL6/0hVz5eTfoEZcC3QAIDGVuRv1UQoZ6SYrvgwx+xBPBU130pVM4F4Uz
dq2P7nzSp0iiU6NO/0EsJbXOubieNJu5PnkyB32wlFRrkfA46cutmR109KvS75mZ23kKP5/MHguF
0BIq27fzhNPCtpV94qD372ALitYPsa6zNqgeepN91Xuo9kO6oTHdmjfUrRU/e32Mnu90cDnpWKGQ
h5K0qTsV/sk9zjiOWLK1xXcP5BplumT1E1/DynC9wKOgBbDzJXeNuD9zjjl5N/q69OkA54EyAEhx
et1mWHCWFXbwPVmYc140Gk3RAZ6JrQrb7ywd0ndVLHt0bqXE6Ppcj5I84pdjlH5sHzgLrDct4aK5
H8+XD7pGqTCACn0XfuEre+NOFJa+spAECpRr6hc3qTBr862dq2W4yztoPRK6ZFowKK+/gOf1EO6E
5rRDwwGVROS1wKU9v5PeA9605FX8N55eaFEeaoVxzbITcdmh5oBw5sxbef2Svz88+ZVH1Twgs9Hu
jM8vKX0t0bMY7XfHQ5h13i/oY+D94rbTgGF7igiD96UdGHUFOQvw3pfa4KQS7kbOys10ZiKcZO16
AJDrYJVoQyPC6alaYRKumUs7UXyD8eaXAk8PqRdESS21qzfDlDkwr9MSoEATzdh8clduasjhrsSx
ipxMmG11F5aybKutcuvWuoXWV3XfXh+z5+dueDqmLmOjiqzVeFgt7BK/9tiHKYYViPjYt7ntAS1G
xpAbDJYBJJl2ytzao7hrrFzpRdNPtf6SItTxp4PF6YbKOpZ2nHRAjpzeRqCsrl86r/5WFa4ghmdE
r3WKxsXoF/faxsMy/9olQ5t/LTO3IqK2Tdma7kUgMkGmprA9eIz8i+SvqpRj2rUzc4otz4SVk6Kk
Hi8GCcUiJBV4w7+1GWd7wtG4Wu1vXWx5otyBAaTt/16taOJWG075ipsTfjnysxrR1XrZBvm6iLsJ
47zLLsR5JtmUK4qy16VUVU9ihTo8h1fEGkRx65UhPYINDb2ZkGihKWVWV3R8Cz41T+NJnVOWOgFZ
EKkoi0GM0C0azgdM1ucTgJlZqZFj+RefBhrwODpPLlMxBmMSthtzpeJD2WV5ip5gTvjZ8BhOGjMG
1oR0Wm97aj9MtDvOLehHhNQv2QA3Z5OMQO7TZycCycnszOe8K4FcNF+Qvk8Rq7dxZHfeWqa0l2u7
o+uuojAeC9gWErcWPxpkOykJOBDbwttEgfe6aEsnW49wdDrvJkg9nSDMzlgW4SEfXP16ahowTKFl
9N3xtmmzfD2u5Of0Royi0JtWyujr6kIVSr5pY4ixHgN6KLw73GYXvnRUAfpg27id3e090Jz8VT4n
mMRvcY/i8mGQiAW1qXrO+AhOAgZ3nopK5wZQccv869x5lWr24dia451j1/j5tW2OmktRlK2FiXMS
l/NF4rC5fq6CKnaOFIlMJpkfJOQZo6pqUpTXY8NpCGf0NXoZsVnt4vabKo8dL1Vihk3xZUVxDYWY
2TL8BuWxOquLSxslGgLF61c8jUYWQlVIHbFvg5ajy3IyGbvW6ORU2tNnQIh6Mk6Do8Of1fk5m7c3
Ktf7gvPZyiScrKHvkrcQEX3m6eu3cdKHJcv1PV1t8UClgwAmS36+KFZ7HJTg7HQsHZpPOKrUgyt+
1EoqohEsaUjdbezX6fuxCxIiTiNd8EgIUlljHSHLoqsyvZWo6wID3bvZbotgibqJ8+dtHwgjBc+K
V/c1kwjPXLAt+NVGTkxfgcUuDeZhjTkd6hxxlmNXhpIwWh/vNNezWdDNgD5zliVzsncCLQHoZemn
5mkBnJzsnbkXy2pSnf+AZadBEgu01iKJHVGEmSJqt45zIc1pZtrOOdU7FSX9Y2YrvEZPaXvIJiu+
w3RZT2lLpWvZXqQIlOoQqdbOMPeqGBt60itabKy6eCp1Tm1ylGV1+vDZzoHyToyAQY2hGMu2SVTj
DVK+PzlKKHjwa4324QMlATpne8Dj+gZ6YQ966T6uY1wMF+4tlvCF+w2xUoeUtgF59lVIkzTenF39
rVrlXf61CDPfuYDWqMdBLVPt3cRq5rdSaetHXBK6uvtc+K29B+IxQtBZ2C943DPz8yTL5NFQRoWe
wVIxXGiBJ4/WzzlqVkO9PFDR0ZGqbxVTay3WtP67N4IcDPLS12o9+iiKEtxKUWMTeDF7ZZEsO5rQ
Zp/sQ1sME6CmrmU4Jj+zmX32uBJNqlSETDFnwlaI6DYQNi8AuUyEtZ6MhAumfWzwP85YJkNRJg5D
0fe+REsAhl3GkpDUh/jf0/joUJjT0vm/B9sXTkEn0Qk0J/hk9i+KRCY4/dNUF+N5x1s8Je7H0q+J
Dk/prSWxZMo3nCxlco4deeK4zoyidEYDhw4fNAtwKifbkZHVpJCIq993g8kMAZ2NzcqBvZ/xcTIK
wu4ungSs+cgr7IUBL8a4ImUh6DFKUzsX/Xvf64I4g5jhBAQDFuR4izwDvzXjU8Z35oqN6udrS9RU
MZQzloSsFVaRfh1JPusXIbLU5Eu4ZOF4a9RlzZ24ec7elHu9Pqe+PtpPnd9f9mIeXm8CBAlgAGRB
pycb0sFOJMa83Eu5eEUc9UNuN5t4MuLsBt6a0y47JQHzBqDkQYjKqG1Vqq6MYrBnsEZkO+Iaj3mB
ElopfRtMSz0nfxsojl1M8eB4W7y16+K7kxVre1tiWN5+nVazmN45o2nM6xYGXAi9Gv9ypxv20+QG
400LsRDdZa80SvONbbRmuK2qNjQ32dxDf4/qOVDU+GQ1ts4MISEfWQzj2k5LEc2CmmS2Dy0aQHce
UHsHOuKM8ONwaMJJmjH5W5z0l730ycw2/lpM68qxlqnYXM75ol3KuiaDTh36COe6pZjX+8mrrfQ4
OEVCG8/pLXOzcD6loeYlfRduw9Sa8k0CJuMCoFFPf8SABBiHlWEczAlK9j4RXSCRgaDP4zws7pjk
4iGsjXm+n/vZ7t+Krq/ELTuGP3x3wR62D6uPAEUdYaVDqfFDOK9Ffoix3pz3a+0EZQ23rbYtuQG0
2qngm1lmQfUdd816nLdMlUX9CGn/wCzMi6kzs4s+rhQ2xZwD3MI7AK7NvRuYlSLPD6PXIKErf8ig
sntGeUYUqXXewkAbmdKr2XaN/ACEtfdAwlUOWhaXA5bFsnhTwRwBKJiNST+NOBXHSZrSWCynwb2N
K6x+8DRyZBLsmSueTd10XA229QJNYGREEuF4qt/KuF2z5XLCmFGmhykt2W02eTjRsNyODXJnn2ox
eG6HbLqLEPZmsklbzJuhIesKo36xg9nDpNP3+YIZsf6mSNOCLzSkHC631tjifFsHatvjVea1TWJd
AC4Svr9ZMjcf/MNcZWZZIKIF9XGKDOwveZzEdtlUvs7xAnRkQ5sydJN3y9RMjf8+i0U2FXs/t4XV
XObDEgbjOw+hANp2KkRuWO19BF1kfvSTOBYrglUFCOKdWPA9xAu0ZIq718KOW794Y6K1bhbvs2xC
9HE3ZQSCZFenEDXBw9iWvqVlxBfU2mF3s6RqazR51gbwialyV5+sBD8lhdxTEYYPA+5/MHE5BzOy
VjCk7CAbdIf0h3D/pCyRUqHO6R3Z8fSbRpqV7e0zOekRs4s+50vdYatzV5W+DvnO2CcB1tZTXzMB
1op849DDief3mqdHlegPM3wqA8uFrmPYQWmNCmlyyKzMVL8es3Gk5X7E9lmPc+WEGbUkMYiWVyFA
Mkrnh1IcaNS+TVMyrc0UmAvihmkgXUBsTPlBDcc+qwARMF5CrvVBDkj4z28DZEq4lZQ33ax3mDBN
XMHmR+pbDFqcYfAoP/Pm3UXwvSIs9dCMI4JNKVtsoCbuAZF0Lrv5+Txta9vqGwU3aN8I0DQ1rr2u
E4fAXKeQAlCEMiONnd3P2ROvXchH+vSz+VncL4+DQdOS9/czxw1dquT8z+7c/K1tpK24+znU4unX
/x3kp9+jUmDlb32rKbkBIMty/IZjYpO2h7SyFx5a0d/kWtiuJynkWMNL6jByn15UvY49U42T99Ci
l2OGSwwWNZfj4r0Ly6FmlEarxAGKKiw1NrixoU1XIcqNRSe9IO0w8dkUfmKobxpvz6PVDSuIuPb0
TNJKOaOBlKy8ybxYhkCfzo2nV/s0Pbw4LxgfhHb5i53rF/rhZ2+RzNPEbPVlJO6pfHMBiurLh1Wk
zoCbLlYfenifJtI6LAN3yUPqTzHTtuPvEPK3mV0dqmD8+dOAinVa+U9d2LUDB9hwqzyDEu7C2T8k
uqJl7KZ0qFnTYYbgzx0CR7zfdPQt9c3EGprp07lkrDx8O5LsvuuoZesPtEb9xRmTgC9FZejlgJap
vv9q8KCbPwxFgmXdvkogBN1JZZuJfZF3i2/21/bTXEEAJOz9w88hD7Ox5Xbm1M75EHaAmotnTZqz
z4+mWj3jgcwtC8Zto0RfpRujS2Iu7may5sjUY0rZXxYUDCjZ8JrkcOnXiV7OA/sr38tplmfBPidZ
nJcrO0Rxqb4AWmaU5aYInaIco7hLKBuCgaa3HMledXwhaXQLbTrBv0s5UURzjcmkVKSo5Rc3Y97H
FAWmNuPqdJ4haXtVPHMKiJdVz/0J9QSKxLOtLCJM0Eq41LuiZIstd7Oo4rC7pAnervNnw5sz4k2C
QnSeX/wsJ2d9IdsMQ5OC8+7fi9PBkb5oMslwHOzHNQPkoGDAupiO1nq0ZVBP/QNeQah1XPRPjz6H
SccQ2c285jxRnkydu/PgJhHl+tbRw4cpvZ411Kv0FH+qnwZdPjEC5mDp50WqACgN5MNF8fsYYAAN
BHK4UlcGOp5XSCTJdKH9pum5/Ia3mPoMO7pDx7x6KrKAUSvaeD9UCqmeSygVK5+BKpcuvcUcy6ka
KtfJqZfGZs7Rtyw5O1WbvqAw4V6XuafXU+9MGHhtkjwA17G1vXhhz+sWIk2256ynB29IbV0qsAZc
eqv3WVEl/DkMdZ7y80R6FosrpKjRfboJ4UVSpES4iPDj57Ht9R8cyljw+uc4A7K+96bGLbCIqKGi
ONAkOOB+cRLg53QO2at5+atwVp7Kq0q9bZQu4jfYiFst0Lnt00hmfU0l2k6N1B6vptUtY/9Dvg6T
uGtJpqkqrI0KvS/EW+YX1iYrI5Ch66+nUVPR+d1zvNRVqiIlXyWzDst6ar5oZx5lfnPmwituPE81
S7x3rLrrxT9TCsY+3rGj2YWLWwf1b3h/6Li31GacKe/vjURlCc5d8MLlfDv55Dbqezimo7I+d3FA
aeLQ5sNYItdjrV1+XJ3BcupoYHdAS6s3zZqcEi5NOJgDsxx/RWsz8k3hj5E/0Zmatz+f5OldothM
gXjzf6g7k+a4kfQM/xWH75jAvhx8AVBVZJEs7mqKF4S2BhKJJZHY8ev9QJLH0xq7O+ZmT0xER3RL
ZC1A4vveFffHur+t78dNVU37+Ret+X6aMP3vN6/o6/1P4P/kM6O4e/935N0Z/Ik1X/c/mDmgE/WB
zX3nNkSVodel+IcS7MuGVlaRejcH+10Z1ft/+XnJMlNyEpEdvv+nH3j4fpwaeaKXVVPXbtnaDB/G
IqDoFra4AT131y2L7Ot5DxWGRiY7lE+/hyfiHxQzc1p0m8n17ZrwDxdwy/2VSwHT+P7zF+Ga4pGG
Gpgv+8fG1ohyC2RcNvQ+P8ofB5b8ATR2WCu5Goyq20HIXvvaJZ6DFpyW3ufOH43nUXiK9zzMsHjT
Wdj5PsYR7MHvCKZqf1nj9xvOwL7LdZ15436TIwWCZkybedmvyYDCTxrwPAIB6/pQlBV34/HHBwIO
vB96Es0aP9ftLaMkWdmpgvAvgK9fFnqwHM4HrmAi6vdExl/dK8UAhwBebT8XbevzqoM8X7gb5pZj
tjPc/Q6qJoCXIp5Et7/2v9juwLP+Ybfbfz1ZichD8P1iOfoVZ8VB3VL/GgBV/Tgayz1DBogDdqf6
C0vKL0ATdxMhsKj9MKtSNgI480dobUYxEmaMkv91jZhy2UtAVea692T47Fd35Bf7lzoKnBfPLaZo
vrKfh+Ofv+0/QgiIYbh+cGnz5qHDuc5/4aiyybGBb8v8mSxZjjHhWfs83vcISw9by+j8V5/zP/9C
my6p3eBChgHf9S+4oiy0aVW1mT11S8ODIpc88a+DVXLM/byz//wN/iLn3t8h2K3p7RnuNhLEX4FM
FMlu3gyV//TzxJiLbQftV99ZPe+4uH04HUuVbfpxnJ21JPum2c9zR3M0GP3m8iD6i1f0xyudV8Qq
FaKyRQH7PbPiF6BxjUxjDlane6p+3FQzcx33+DIiQOmO2KUFX0Hh0k1k46Tl4cBoQSEP/yiV041b
Qvkf96dXO62HApajhSpYBHD8ce6PzLoQI8k+SVvndz5L/Thm//xN/Po18sVRBGKi5gSSRbv169fo
F91go5y6oM3ZT6bt+yCkeq8ZH1cjHN2/8FP/T7/PM/ki9//5JOv98Z4JFqYRm1S9y8/H3pIXHcql
lpO1jYm0z/8laM0zgfy/24s5uLlV/+k4QGQEEj2JksfNPgUzJO/fRiAr7oumJ1u5+IurYgfO/vv8
AZ+NdocQdyB6FIqtfsUzZ+pRhd48eUVroKZ+MajrwHknXq34y1vwn38VXx1Rgbib2fRJaPnjZ1ln
dr2OuZ9f/RhFJg90hOvI7mr+8eeXyS/cGj8dhQamDZtPkT2Ak/WPv6sxB3KvFhV9MUtg6p+3le3L
fVTUTr2vk3M4NXVi1q62gzigDZdHIWJYi/gFkpqD13I2OQT/4nX9kIj8wwcOhslHgM9j93YTDPnr
88Y04YsCemxPerNRhx9sb9lVEqPp2mP7e781EO1J2+dgvrhNs40tNh68fLDqG6YIpEF50koFInVr
u2Ai5kOdeXneXq3MLF57yRZydpZd5g4V9rHvupr1TJc0lFJHWY2bPSRma/p9nYbaAwIk/NRqHf8h
+sEzSp8lybkntc3qljuZFxOJMgxfvrDAakokJFcsQIGo08ooFZfIz8EpMPhrRSx/jDtsDiEPMf/7
8fpjBZLfP825qG0eKays+3gyT7bBoN2S+VhdGnvk42b088fg4vTVPmQaP2YuBWnL92aq0CKkS/Y0
VmwxXelRI1JfBVU5xv8FxXQ8zov454D1/RaC8Zv5fLcu3IeLoJtAvNh5pG8fVNjyK2vJtjOdTVgU
kScVHY/sefAMVVm9OozjpGv56xC56rr0TWMHKXpcWnay/tgPo3ntnS4t5FgDB4MMBbAfcVkMYYvj
c2zz2azjjiA+z36IcDkH8yHvyH7qXrw1mrb2BR5kZ9qYTTHkXNqhh9x4EQoUHAkeLj83Oha6s3C3
1hbD8O8rK3Efnj1/me13i4ziIbwA52XqsYmiksoXMmQMkw2dA20ZEj0UcPyHpl35btN5sTe9Ir0E
MZkSRkbLo3KZ8LD5Vkb90G8xNPks2PKxc8LXisLsT65JgcRn36zlSpiGyyLQxHXQ1PqtAREyxpgE
gZ0K/HlGdvD0uX8b1jxPymNTVD5NVT/nPwD5fX5dGyzMxc/tmAAtptQmqCSrpI5Q6qh40qZfW5yw
eRvwMmxJuu4sjSl64eHShs+qiQw62IWXexgP8/nZW4VXpquYs5NwJ+dKmM52XetlugJhIXVH+3ay
IJm8BGIgCKhzJ/2ScVFfEYRBWSh3X/G5pCzgjWCyNl0iK2NHrpzhxBIO1GU33k2ozPdWcjuSK+Pf
Ug6i0sAtCr5d09DHMljcQ9mK8X4rq8E8sC0MhxC5Z8UV69dfCjU+25arbrRr5Df11A8HrwcaRyCT
04s9RmkRzeEjOYUdegMlvoq+y9KqUPmeNdykHoWC53AjYG7NGtjpRnkuPzpcm8Sl9+o48yOvQ/bE
z3ppEaWuRfa1w1J4kotV0XQeld6xKM32WblwBnEFdIRxwWnz13nZwk8VRdtADGP9Mod7C4pNngJV
GhQstobh3LrAh0c99M03ir+yR0BNgY5qcKKvFhQUe5alrKfJLgl3VmtjHOg7GJ76yQUI4ShI+3UZ
z06vVxl79UxFYhDRgfEmJjtar1FGjF962y2tQzsqmmNyURdrPDle+C0cvKBODbo7znWETCJ1raF8
XCZHsr/V7Y3XD2R8ZejzP5llr24XAjxuet/ar9DM27ndfJrPC2P2Hc7q6RpUniY16RR2GnL6fbXm
2WnibQuxJQzoHT/Oqpu/dYaxJLawtk99X7YYNjOFrHHbeq7colJVjJJLj6naZrmc/THv8ti0lLis
5HZfrax6yTQ7lXMm175SZ710+mir0b7xKmpiQaA/ePP6BZ1vdnEtbp+pH4cUyBONdr7UU5B6a+sc
3GBoLqpw9ceV9vhjaUK7531MV8SCqjcQOUYEY3TcTzDmbezYVNS0e5yhbdbD40KX8mNf0JOZyGHI
X7ti7d70omo77paRWFxLq5LIfrOCCQ7BArnxloJUqyWcSekkxj9ptqn8VNZqI9nMrD80LZ4PpSbr
MYLcuFa2DpNRm9nZFY37qQ/95baEh5igQ9yRX5oNcTYaHZvymN/6odEKDBEy+qQNhq00ZG6kBK/s
uwd/9uWRg973k0hswdVAbOQD+iE0J3OhX+22UadpXPAhqcn/pJ3sdWZ/f92oVaZLSLkrCfB1/m3l
AzkVQzCOB8bTFRdf5OHXdjuYZJkTo11M07UfSXXqmI+tOA/66DVqhuizQ0f7S6mz9vNEgfy3kQs8
nYLWvnMRPJxIRLLTbumGZ+ZebO5zM90ayPDfN8q3Ub1bGYoxYO5LsZouz7KFE8ksqVfhqS39qwDC
KEHLX54kPv5XNGcOr3+yz5bZOMfSd/qP4IXdQ9QU+spaq+i5Jr3qJu/L7rAEHLms57W44MEcznp0
54emz/SLJiX5iyMnDge7W6cL0WXcPGBt95YzjDfkEc3XYl4cPGVj2Jwyn7Zi1naUn8Ax0fWG/e02
ywr9uNlh8RoC6XzstnB44YGfX3GzBXebZQxoq3zC2qPMu4V5p6NxqKMqxW/ZOFzvujluudFSXBIW
D/nSkiWEYsU8akwLH9UwujlL/7bd6sgdbxBQSVCLun3JnS0iSiyvqd8MZHhlwUUmeJPc+3DKHRgD
bXzFfIs27nb13E1EyVovzOBpMAK1h7fSc6YAy3erSR3GWK+y29lQ+QPoT3Ux3LX5UA36E38nB4AW
1oe+ZoIpx6C8LFGJLNRTljhHNLi+j0Y2zklVzOYdEqTxVdjT1J0Ku3Jcahet4MbNWh0eI7NuonNd
hCqFX3Y38teKOaX2HJNguQ0RpUZO1lxaAx3CzWp0AZ+1b86Dvu2iCQLKWrQ1Y6Lt6ntncY1H+iaF
SvxFF+2hiJR+wng31Rix2rW4qYVsRWroxkOpmWWWcQqmvt+e1rDRY3HaRw8zJWO9rbB7Taqdc3mW
YAW6SqyAySXx6jGb7kBxaDrH/J6/zMHWrrgTKv8WGWFmpTjJhLwZAAiGD55gK9WcI1oNns/gRFlE
nl1Ngx+cPZuygPJlc9bMnuJ16cxoPNscduY1mcHTeuqqtdFpMfXeiOcglyXKoJwS9lhjkKhkYrjR
8iwwZRBsR3TNY7taxnaaWYDLxCTgxbylWXFp6MCBX7gLKo7TFOHelrYgbufSHkSCSVueB5xqfXlf
rYYfbQ4ff2MudQp+VMtdPaZsr74fBrcMqY3yS7+yAf77lvshhHZNRmu164NrjVVxKwtY47imcmNL
Npq4GmIBVwipYCzlVSNcrz3kM8YPKYBv03IRyxVWOStMMaoWAVBdqa1rmWsFTTp6wRrbM6y8P9jD
Bcf0EiTEjrt9HLjSASIES/xgKUN/nSJGE0er1T61bWYRRkDgxkiOkU/yWpugGUAiN8dB4T+thtsG
DGZjuIoq4SQd+AP4ScUivnAIdaF/KFSF7z7vrIUMmprABGwgNu0C3p1lTP74CslcZ1dlF7qf8ml6
37Yif80L9Z6TzFcSez/Xz1R/lYcszPTJ5OGBiXv0NbRcsN1Uq11dtCPG41ToKFGd2vBUIx9VcV17
9bNuKj/V2l9jzDcu5+s01F+GPNuOQVtBL5IXcgfzGZoJFqC5S+nWXdyHqC+c5wBhk07FBAbF9cAF
E6PTm79arZKPqmv68NAHQX7bt037PHb9QHfAkk/ZNWh2TrpmvUTXNJh0qd101ZFOC4/tmKLzaCha
PIKecWfLxb2xFWRqm/eQ6hFrUWrjxvlE19F42hbbrmKTWIY6NaOp6w/K8tsLusZ5uFYao03Uz+aS
dDIvE5foPxVHVp3hakCoOV73Pm/usAK+P2+ZFl8z+PjuVML7pZqbciZ6QeoLT3ke/sKXVSpK5gte
QvbEU0ccR0Kyk7FRxYdS5NY7iOByREwUnVozqo+BCsoHozR1MtV+8WY29WtVolDLWdyOgZ2VH9vZ
HtrYc9r2o2Nm+jzaTkbnvF7KMBGAtudM2bzp3AR5F3v0Bfkg9yVryXmaLfFFFk7wLrPcepOWM99O
MMqpp7r22gHK/gApYMv9TFtU7JRmd+dnmJAkioN5vwjdL67cl/S1qfen9mL3n9spNMSh8gUELSB3
6183XiN296hYBjiwjWaWLphLK3EqzpGYoKfSw0jd259JbB+weFW8hrisiCbBuFZ3CbAc10SxKu+6
9kc7ILwOgSmJNDy+z7R7DL8ptraCVHmK59558M5kjxnhPF0Zg/TTQZUUhHSe/brrGY7WNsmRYhND
3XveUn4e6eLk8cDmeWzHDJVWm3nOLZSiviH3hq41nTPS3C79qD5Le1hE0gN/TrGYquXLMKzcK9yU
7GmjAl39OsGmTTFMIWEb5eScAc9zpFxi2RjmkbN+I25nyo51UAw3LgYrdlnGERoLss7wDhQQokU2
t8n7MPRV9TFQ05KQJtanlWl05mWcA+sZ1i+MUCsxw8X+MBfVaWaoOnP6NfNh6TBzMcpFjJ6oS4z2
4hSzZSR4x9A7rbXpqYNWGHljlDJcRAnR1gWZodMxn3wonlompWRI04d9jZ2SbCW0lJnaabLtrenH
Rt7brTX3KVtFJjnSIr/dVKJJtq3Wk2HaZePe+6SKhDEhu8L5VCFnNZpkMih1y44QeXIx72TR+m2E
A407U8XjVtT9SAXDbHprWsCr0QA4ojJ317SZ1qymmCikOMPEqs0Cph6qCdTKiRfk59FIL6DqxFue
S9y/6cytAr2DS8hpdDxRqugPx5xZrbkei9Gof++7fpm8Q4Euq24O5FFb8jkzbTihk0LANTSpXgk0
Kx/KUUm+B9dAxjWWKKzhJibk97z9b7URBSafY182axqpYvHePO3ZxfMPENlQOxEyVNEO2dp7EuRN
RDAjmzA6hp2f4T7cgq85jYiLf0LvvXG/dVYfiY+jmguDOJcQAM5gs81KoroczXE8fBgLAIXwdmCg
XC5mGZmrm4x5P3aSxGzT5tvikVe21JeFYzPVqVcN49rcOCNvb4tFi/qjJxmud+rs2Rk8RYCRj4BW
OGdzHLu1RR8lBmYcdoe8Oyoi6TmPjaFNJeqo3SW4MrqriBNzjQRDVOiexBDU66pAhycQXpEg9Rqr
2T3kzeKK6qBmlEAR2EHThrcbo1+IKbTyM9i5KYsoW7HcLnIPwbo57gk+sv6gwrF6xV7dD7HdYoqj
Ood754AKpv5qNpIpC1V+oeWh9enPSCfaUoIl3uwOUnTzx/W7+v8c4SR/oJpmugKfFjRaZTRk2/54
V1rrilHTqRGRTREEtTKqZzo55+C6Y4QLYqdRqxsvzSybkx5M1JVLqOYG09Akv6rNzCRHq0vgk89z
dEwHZ1ufemHQypDPRnVgAmVDzErleSe6ioc6pYRo+Uz76LKqmOy3znoKpZBeOoum+aLxBuu4L0n+
MpvNmNhGdGlRxKkRbl2NhSenr7lB0B1ZUEZLMcwmi/yIf2zKjGM9WiGiIbuLmiQz3bY9uKtJWA+9
dx8rmm0ALIPMztsEQFEQ1LAGa3+pKZalBMH0xuENSQZyjlgr1H8JWpNuYkCybPROgFuXnM27jt2O
OfxugQhc4tmRwSGQfnU28n5POxg9TB9o/lSNpMRexz4NaU+BKjOG4oSfgi8mWHIjdtD8XXVkF5RE
L0fu5w0hBdcGCUWjYba8z00dfUstDytfdupGWRgdSjQf3wxEVYCHpcpvDY7h/p3lci4eg7LW+9Tl
2OKKCcY/awJHxWeOSGc9OZNbPrWzk90h38y/5gQDqDicyRSgRJ58IrltpL4qYc6v4eKND7OuCt4C
9jpY66BuOU0D0o8W6UVPFvBhkEZlO19bgBYindHs/DY7xG8knuzdq8YtS2ST2nvuCCk+DnZjvvm6
t+IoQB9ZEKKAc6Df1hhf1nohw8oWqT32E2azqkG4TxlXNF3nPj0eSNg3ZKp5Ni+83KjaJRtsw4lq
gtU+wlzB/xKHIvoUy/jE0WvgwxDxoAJkj07edwwFzdrfOaMab3PbogrP9HIVHBFoqJd5CQbU0EPD
u0SlELy7mhjtuGYAv++MfeLtQzdsYmbqVVCvlUXIZGQnCloIwxJFGHDJw1aDAMSbr5R/kJQTrqlj
1uKwkUcJQuEh80POUqt0ctTvMwnKBzvrSWgYvPVjwGkx3SxDo1VadVP41HuauOvB8Gi7MNAanZ3a
bu+cKrNvQroCqVIzsrWOtZVFN4ZR2J/XSsjzYqj+AQ1hmaBNsz/h1hkb+I8gWhPh9aVOghk3dDrO
a9nHlQ6H7DAWFMpy/mqnuikteyVUw5+9D0ZWqOUCciUdwIC2JotN1dZHEaHEiGsEIpcW5Yt5CGZv
ZSmICH6Lu8z06kNtlcWL9BY9kzTO83liPk8LR3fh/rn597MzA0M7dptdwqp23ogZsfJ4GquPTl+3
b3po27gQDdgjSk8EXPnEJV/pj/TKkFwh+8UgEHCz7vSI7agHd3knR9K41iU3daqFDO6HcWjPg0do
Fxu5vAUXCK6MzAw/gBgLOgGa3P+s7M05LK7ZP016ta9l3w70HU3hvE9rZo2kpwHiCfo+vKKip/FT
+s4ZnGoRLafGw/v+hItXpBpwK9Vc6m7SOd54YHyxbpq1LdAszkSQZ+vyFmVkdqt+NLF0evJAoHr2
O3JnMyUkbngNGfdPFpFwn1uU8W8mf8WLjYUPDivCG16g8G5BfHBS08BdF46fEE4PD2o014wa4Na0
uA82ckMMyURjufWJ54EmUSfsaQgJEM3wt2/nzta/EblipeHCotK1otnipbBaKsgq97ksHLdOXFD9
a6UaC4oOBah0nC/rCPqvD1KBB+nPPKBkPaVw87ir3tho21o9abdvXe9+KIuOU74nGwzNlO5wrCBe
WNaSdHcMF8pp790Vic96mm08JHbqtOYyFNfmWNTldo3AfB1eM7HM3hevcVt5VbZhPbhJ5mqTbMpw
8lxix7mxUdnAtaHbKCNL+GaKINDaGBtDcxWJlr42l2v6tUAxY99evKPrNnP47jfNwKHSYfxfKs4x
rzA9oh4a9BMEuvg5wS2di/YLmTRjPGqvFY82Nw3yeopf16lQ7TezM9aAmHlg/QANoppXMmXiTeQS
FZPKs13czjXYQYOQkreZ3ePkhAMrjHAWX+sPRIFlU5lCEIfsfViZxFJeyrLtxzbtZ9J+rIOpnLHv
Po/EuJPXwk9RYk3m1mUkizdVcDJcZdg3y4galXV/J66fm1F1KvJlCrrfaB7ebC+myoZkrxiNfuAv
N8bQszDflGufVT55S4RQTcc/p+f+yPbCGpIC4uOdJRAEkg5O5o+sofBWrEm5oBawVTuhQRTFLvyo
ZVTxhRsttNRfEJV/5OT334iNG7Jy9w5D+e5RAX8wgYY0KxDU2HwjnWr/jdMPVY3jNRpqnkRxd0QE
N5mLgeVDlJCCP97yv5TEcPrWXj7V3/o/DTR7aWv+/6d/5H9Npvk/mDcTOP9waaSfhk//9q0hgn3d
P4j/+PfDUAiyUyDvf/zb66//8e/73/gR4+AGfyNkBhkFViB2TXOPs/+ZNmP/jXQxEhngUGDWEZr8
PcXBcv+2e5F3lt00bRfr0N+DHJy/UeTjuuRo8h/IorGcfyXIwfue2f/fFHOAyoN0gD2SEz6JWBuH
F/6PF1VZrQtGgIVBgXbR4DwB7z7YykPNFBd2rs+6HHJIO4Scfo2k2KF6LJ0kdQo9CE1PwaRr6zcc
JS7RxhFN3TgYptHWN8jg6M2Yo6k4F4vDUyNYtPBTkwewPFgMaOH10JWVAKgmFDjmQLRc+kmD7GNA
pMMDaeUSg62UlkoNvF3EJ9lW/XVQjXyXtYRm6yVmx1NZWduz6AC2U6Gh94EHpJrA4FQwwM/O4tGB
W3sAY6T41PNzbzmZHiRfwg9h/t26mYiUclD6hoxsYu7LlQStnfDSHp304L+vhEzN6rorDcE4sNIp
wdtv8vxat0ME9u/qPD8utQm26phdZN437mroU+2RsHKUWUMdxZbbIUtWoJuojAnlrYm3AW93ovuy
HTbCwGboJYJ0M7xqKgaVZLaah0EDOiF3LagYCYKiPGAup+MiDhoLkWK3lFA6CKplvj0HJSDWywTC
5W3XokUiF362TbEs402zGIM5Pk4BLE2WdJNBQTKQAaT+/ASh3mwd/XFFu2e4TYvXEy0kMHN229Pm
l7Yck4k3BYfFIKqnZJoctKNs3G1usZzoKDhigOnHg2+1Mohrv3PUDcBhPdyIsZLvlkEVCEHEQdGF
D/NagJxsS7GOGDl0Mz3nxBmYB7cMRrCqxbaap7brHPT0cMvyFFTTPAMIldpI/SbcitTqRipOQx2R
gWPlGwSfI8gKvN6gzwefGsFZBUk7d5G4Wj0bFK7B4pviImTbLKGkAN9Kz54Pbq6X4OivOxe55ZPp
nCFAzfauXff83kWI5iVqagb2xZLDA7gof9NyuObiTQZuyhgT9Kch38IHUsQWi+cYAQOxz4+65Rsq
74UnG3UVjSEjkOSB9xYE5WxiKA7n/bpl1RVH31zK5Xrq2wznso/ckQrhvpsP0D0gv4uHioNPRvBA
wVbmNenskTf0bhtDB/RGvkAYt7v79SZa6IGJsWfafh5bWa70I4ro4AlIZBZXqEV6L8ZgnWVwpBrn
1auhS7M+2YWYvaPgWldHWRnteE00W2FfZxEP8zEu+80r7zye/HMZ0xLn+m+mlbe03zl+UaIawBZX
vE2S1fZ+rXzaoAY2Cvd92IhhQ6NJOoBxFENkBMSOLLLN7rcFlvPO4+ZHjgUFR1FXM3jtF6tkwyHe
uPAfTAzuUeIUG/P5JN0Cn2etL5bsuovRWbObWJMVPnZbN1ZX1aImI3bb3qBFI9gm5gXHULGQFCIn
3UKMKJSvNB9tTFxMGEaxemmYy8WIA1PWOdVsWfgMbu5dRUukR/TBYt4Oa+UVjyhy5YnfCvvaRxtU
7wiB0bD01uAP/uhOxdGsR3EduF3rxhBaPs3B8wiNjiSMxJq8JC4KCmvZSJ1DY4EF0IjO4UiFUNpw
jTz6axY8FaUo/AOnqSB8xOoLZKst0BJMoyddWk7aoSYEKsxfy3ZaP/XI3OQhrGtW81n01nLsiCoh
6V+K6lsuopp0bWMNPy+b1blpa3bmu09xoJV2CL+vXbIBWbkcS54zNgJszZYRwo2sIHj4rZYOxUVf
kNXXRjt7U8lp3mKbkskz2YVYmblD6t8B7Kob9BTuKymyHTPstlv+f5NRNz/73n6OrMQWfvM9pqKz
cHoLCq/M1IsoVveiLLOjIWfCsZmwCY1buljleqGLmIeBPZrY31A/9eGJcBCWNDH5sI26BlIJ0dxC
EjnI55DJR8V2iyNCPjQykN6B6HZuqBwqrkndKrI++sawcE4gS3zUnsqNA7xK5pYJOMEY3q/GrhPH
qp/lHcy3mYfsrUg720RF5uLR7ygdvgLqE2hANKuaKusp9OfoN0WTD2lZA4dXHNgGocvWgIogLlfN
DMquT3ARfYCYH2J4J/9RlBGg2dH1KwlSYXpbGFd9af6mDTrNzv5aCsyQ9mCHyRyFNVasxrW+2qY2
AB8D9M1nVS04M03b4elXNbqrDuRERlVS4An/2vTmpk+2jsYglgvkqY5XQicGTHmV9hMIiOxGyY1o
5bnGMJbSDeRgMGoKibkd9+sEpOyD2HdCO+Mr2PT4nG00sqG3r7oHbgHeK0EUAHtowKfrWmS8bVIA
2t82m2sD2QGBXzGiDRIvSzuPxht/3HYvsweiLn8nDzMIr/c4iI0sJm93CS7VtL/IFc0g8UNF08A/
+tWHQOJ/YAkuxvzFKDxDXUwx4OwrexN3DFgfWx815R7O+8OMrcHWKWlSYjtuinzI1PanGaAFYsc/
ciUYH3qr78E7TZv9Np+d4oiyMLy0xWCtyWZW64Pkk8Nl3RoijzGSW1niTVEhD9KQ1Sf+3PohmIbo
aS0BX+EcoOtmcwouc1+FyJ2B7d88a0YP0ywIt87bbIdtjEs1Ij+KZvVUyrG5ROYsnqPVHR5slCBh
3JAw81s0ZO67Qq7xsTT0dickW1ccaKEeK7/QLw6Udh7nziLHY400nk1WRHrYr69Wxo0tdm94QUoc
u7BAtVFEwMJxj02MOYZeQYCnKEeYhB7NLQ5zvWy3WT+j57Kgw654nA4kTfmTPJKQldenAhDy3PBW
AAOl1E8GzZZjko9deetE0odpDr32Qx/O+jLlUFeA8ap8CkvVf5373nuSMoO2tkxl5Yc1LDPEe1nH
4DfQr3KqMMUPyUT+/gm9LRgq8lxvjKsZAg2M26ubIzKn9hU9oTrjF4Tms/tZfaWol+Y1n/qAN8Yz
CE9yPJwvnK4Lz2EX5yUEhhxQo8FE3hNsRzVbRAPhAuPWVnVsRZmhEi6l+WpoMlEnMyX3t6tDKM7B
Qoz1xe8KSd6fmDWWH29nFMN1Namb7/zmhWAQp7lZ6ryEpq9DBp6maQmUgOqkfSoqwtWICz35H00L
0CRendZvbqljVwqtlC456Y1Rs/sNaLYOG1WCUD+uaoj9sDqD78Xtp4/4UMo33PsdPxbJEife5u+J
e0wvIHzRWI/pZFg5ETPBZnzVUKZmXLpw/LFH7geck1jhhOqGAj8onjV83X//fOiXrKiQyzjdYGLy
a7IhiFVGRQ6Pi24kPzA3CrhZwiCsK/SFS32UavPvF5R1NjqxDn4YJYlDhjjU5d0YtNo6GYyC4gSB
zmCu6D8AXixG82qB7+kJYqnDQ4shKjwCScxPMyx2fsID7ZgGx7XLJxYPAE2IgsrR+9bylsznGa4s
Bexdmg+ta21VFGMkENFpqkuWiCCyN/PJsk0reGGVjVBqtrK/zdpqMpJ6GNSjMVgRhrdg1r9FXQVK
dRKEtfRHCBHNcSyCFk49xvQk8FLOtqqwwmBoI9NRcssPMQ/szcNF10WPeovC+1w3XCOiGJenzO8V
0hdHWUvc4LogXIkZ0koNu63R4xEvgEM9G2pGhc4FCXJJxhphxtT6IcwroW4aaQDPo/NoyH8kWQKN
UavyT6IZAJnXtWqZS8KsOtnLDPVI68pYpsQiITP6vnX+S9v5/7pV/7/Oew1RZP89c+Kf9u+X4tt/
sncmu5EjWZd+lUbvrcB5ALp7QTp9luSuWbEhpFAE53ky8un7Y1Y1/hjqj0Tte5NAZqTCXe5GM7v3
nvOd/7F7Lz5+rsDXn/kXSFGFHE6VDWpM58i0EJj+vxIc89s/HKBW/HfD5c/omP1XDa7/AzisgxWC
8p2Sew0lQzHdx//7f/IXKqRlaGuWhYlEnbyW//O/+ISjb9W/iBjdL//+I1Nb/SVs2IRjoxiIv+ns
qBiMiCT9uQavKSJmmedXTSYUgGJOnS8IZs2rXtg82o1JPE19Z6hcqB/tETe2L7vGfaREnT6XGvgR
nFgnPS61U+CozJ38hVA+ByNbnbqHvKv0lxG+IIOtRjE2qDSX+8paq2uFzJ/42CCyE2eUSEq6nxi2
PJGO1XxBhuSMu4U1229NckubG0zaioKbOI/wo8N0ISEe/jXd7UHbrGKTL27iVAzFEgZafmLXOqXa
UI2ql46LRaMVHzdFcLGafbURR7yXxaERWC7Pic8wq9X9ecDMQC3j5mFQL8D/tvyVHIw1bqPSo5du
eA5ju68EKTPfm7TMJsNi5REwWlSZVKb64Hru7NBZdyXiLjTlTTHiEevD3A+jiZhJBjQjswVtsms6
ZSRoBoybx8da6Y3bno2XUErcnTYil9Fw/cVwudK1ZsslZtW4zxu1b0R6YNYDIk9xuCIBWChesrS3
YTwXRvNCOyHXfeZmCB4sKUvuIy0IEKySaC43uj4ygwdMbQP4Y4v0NK4ItadMDH33s40gGxJNbHJh
ddpM7kVeAcbGy41H0Vi0T1ONDYAwBheqTZS0zNIaHcechwAxVfy5nkQHLTfTQFgVJMSjThkSNHhS
LI/9jDkEgRuFH+cPU2x+isZ8v1dbgxtNl882FUGjhcccWXq/JXk0i5BPuMUUaFph3IKr6Y6FiTEK
3QG3Xi4k7oIMhxFC7ANxozhKBIaC/7+p0ThcW4QuPb3/flPbfWuL93L+sae4/sA/dzTV/AeGEIXu
IYAc9ovVL/bPnqL5DwctHmhrgPlYgsyVffMvMqzJD9EtJAwMSIaKzQzL37/2M3qUVGUkwetcxlZ8
9X+0n/3SplZUrAfALXkRyybLSuct/NhRpIVX8PAvCTqRMLJRVhKEG3k9woZ0kwCyb29IXJBfVRA6
hx8+on/DGlpb7j/0MtdX5lPBYmUSzsSU4pd91J66LBVRjBynW2tHmw3ro+Hpt4NIr8HMupOFkY++
TPaN6oWi888v/4uNz+b1yYunKau7OJ5davKff/Pe6OqOBlDlc3BUCntTTpIadW21qzrpPmHyzb8Z
2lwSR5Qtqp/0tVrt+g6e/Z/fyC+jifV92BpKbM4UOsQskp/fx6hUedPMIvXTdDFPip7Fr4Y+TMcB
fta/HtCfTrMfTy+W2i+fOTRKji+62CYDkb8Smn/IEIWeMi0j9Q8N1dAYH51wdjYmEhVx02Pb5E5b
mfLy51/v9wXGr6eZINyx4sKH+GWBdZLSZlDorPRLPiUex6eZHXK0GwV2fyF3rUyU+tZeOuXjzy/8
7z5X4oT4fM01fUdf//yH37UrLcbutUpLB1OFRfsiDdOjLsUqPIvQS//51X5fzXT/TciKtD5WRumv
3+KcFANBznDl8tw8dUX3mSLxHLYLF159hJjKRLhFFDeV5d88R//mA2YH4clVufa4gH1//j3rodcd
0i4K6IiWeRpTmaFCVZVNHqWf8DzdQ7auqz//tuuX9vOzyyULitNKo2W+Yf/y7MhFGaBxMb6uSeX4
MFWKdC9lp/qbl/n9K8TYzN5JP4Mftn5NBy31Dgsu56c/0WlRPJHFnUf43/K5lDFdtD//Tr8gmNcN
YU2ywT2NaRyA568bgo0csWw0rfJHGFY0FwoLqqiqDDtVTYYukLVlZOgfY6rbdNChXtP27/FY2VIE
TVXinC1W3t/fvK3fPwNmR+ySGrQ9DpC/Qv5+WMaZo0RVH87QbQGczCclLHAl9G423SRJ7P7HexEH
Dmijf95v/5pk/fjMLBgdYonHD73/ZJ56fCs7sEXMkDtjqt/+/Hn/vobWw001uLGzJRHi8vO6tdiB
Up6RyocO4+70dGINFeD6/y5e7Pcn06ZxtULZqQc5bX7ZgHqi7BATrCoqDB436Szy3TJN5ianN01n
j2bMV0xzxSOC4PHvslZ/329RafOSjsvRymHzyx5E9FrUI72q/NjWON2oa1GWY72IfEtjYnMz1BpH
z3/8udpMITWEmyRy//bQNKoTgYfhEh9ri7yIJc9hr07O5s+v8tuuYymGwxawDj1NKq/1z39Ylrgu
lnThNwb7rYqLY6ThTcid/5glAxWP4dQPiA3+w+xWHlH2VtqAlr4+qLzq+nn/8KoVLU6hj5Iw+9yN
3VOoR84e51XNyAu7A1fwZY52Y+bkE7bIgQXFvCP6TMqi3HfKuLiHFK8YjCACgxb/zx/IL2mbvDe+
aDDu1krmMH6/z3C3d3tIYXQvzbraOZqSjrvUMqMY6MfoMAm0SXOQZXwJiwjrS7qUB3SDEY/xkn1L
bMR70K7MpgqINkz+7rn+7SGwFcdRuPH8ldYFluLnD26UyeKkerH4vZo6L20/Fl/orKjoR1FlXZe0
FMpNktNqBVeGVt9TFyZYwbxgoC65IL6Y4Fb22mBjYUPupB1tO5yYzbWDHW26HLgJljnaJF5GBS5x
JQ+07gcocmjK+bDkZmYU/Fm1LCZ/ROe6kFvr9NN2KgsNgZxY9ZhGPXfYNRGg3UzMGr6NhVrKfRda
KWKXqsmnba05/H/aTKkfaEqWH6PZHZJttD5brZJGKcxYyZuAvXcvWzW5KNh3thpdOdrzk8y/2ipx
QsoEo8x3ZBFH+CuR0lIKjfJCtByGPabfzgniCXK6sR65EfVL4WRvTHnlbaLosg/+vGp+/V7Y1bnH
k6zmKNhN+efP34vMMxkXI/whcZuP24KkE6YHm8oa/mZTWE8L/qofzuxVLwC7dTXp0/43nV8FKakc
WsBxsUNcbmLF70KDduNhKK86n/EzjN2lxQU5woyjKZrWPYN2/RImqOZCJRw75MKtfrYwwd1aJfGX
m8hy48vSLVvmJnjNNSZ8mmXhQ5tSw+dMC+9pWywNCsNxiYO4WHp/KQs6axNWRTuEj7Gd+uTLoo1E
uxRLWPvdOtGt6ikPElkr71M37yvZpK9KizPHcxgZP+AARvnOhcdhBuUonR/XDMG6WV3SjdU013VL
TLawbIx9GNo1PjfNGc9YGVIfT7jV7tJewVzBQIi9P0JTf2Q/sDdxabRYLmy7XHxUigS5hpNjX6e6
NXFcMdzMBHOLIRZKuwld0dQ7kdXWDkG13KJcbSsIVurygrb0UBu1vrzzpau+0TFg2zSxzLudIOPA
QHE7Te2WJN7xkf2EvuoydH5XM44fqPmv6lgzQ+55F3OgNpaw9lTt4qjA3N2kEKKuoTLX9yjXsgdN
i4tvQDu7wnNjGMOempudyuwslbtwiO4Gl0bMDkYyHjCl69zvLYpIZmdCmK/hWKIcq9QF/SjKL6CB
eqcPHpF5w0VJwuaqkl92sFgn5xI3zlEwHrNa19m2utRPfPjKbTkjIakNke4SZ+h0X6hm39LZaYx+
j7DhGxrBLyKNZ0rJYXJfW1bUfSwQQVQI1RmuJ+CP8knV32hfqWSJOMxp8vCZJGDt0ioqgyY6KGoa
lQGGS4cWySJUDCvzOG/Bvbu0tqDY3syFlZ5wL5n3sPTQPi5AKHpvTOkA8WLtdzkzlfUrwdV0NzLU
zW7hOH1F7fmQpAzlh1ab5t0oC7xnBqBffOG6+lyjHI92RF9rW1SBTKXBvcCTZuKIgln3omT52k4j
9zETp0dHhIpXZ/pwz3C+D3ImrLvQLZZsQ/lW7YwKD4/FQsTAprmd6WcDn2AqhBV0guki6ew9GKow
I0EtSVr7UY3Sx1gL++hI0ZIfshYND2OEpNuRyWqmAeyp/KWTPd6tClE/Owbili4VRu7LvBouxSIU
EAeTshnIBbmJBkseKbMtHu7kbUQmSrhb+xCCP/T6fPKYOWxjBVh0aj6nVI7eygbG5VceZhnKYOIc
9yY2LmwEU72BzZ9t82ZQzWDB+fappe6qSKl62kwdZI27uiILzsOWNqO+1uGnmczpE4gLaDFkG4xG
ZFxHkq7vtDa+VHkP6laLdH8046fSNNWD7UYPddM31wHTymc8WsUBfO057btHFyDAxio0lqn5jsvv
PQPskXpdmY1fuO18ugaHG/gYPPKN8boKg1jPhnGQC+aXcSzuoTDdibkqT0pjiJc0XO5MaU/YqpI3
dflkwvDkRO4nVhvpL858nBU46CEjFXsYA7vvIBKrzQZGZhlgFX2LInf0IVncqYQF+lgxtkgjnnS7
l36hyFNkyZsyopGJD+0pEqq+g9D9fUDXUDvam2vWH0qcPLnmhATUqhgDD43jd5F8x06AVSWr56/c
7+6lvjw6SqZsBbpjT1MF4yXkr6gxigbZR3QGPbbL49AbW/Ue/brjxxy8Z0YhCG1rDBijtPy2SqNN
bKl3uTHzDS3oduM0OnP9BJeZV7R5anzQE1S1W+SsE/OuiTxglGi8gmIeJdICWKYMMosCCUUM67+J
9OoWu0Hq2U0ILE+vbWohfWWJCq/U08doAlIqy4ULgonZmeeE1ia0rTp60HSeIaes7rJZ8d1+KrgJ
J98IJDMO3N5g5LaNhtEyVc3PjItH7aUwgD/73OxfzR6YdshzdjZWx5JRZlus+bx1Kdy9qMe7rMMn
NQpNPhiiZZ5alE+EkZwWG4EwA3iKjCgZfM2Et14v+Nydm6VjWIso4lu3rMN7xutBrhUnNB6vZRYe
uzYHOiFBDghjCDCiVj7NHBe1itQ3UZvgzxyd7ja38yc7SgjGMJBO8I7tx2ZZxAa31VOKaJ80tGvO
/Yu5vE6UoDld8VF+jax59NljcUY0Zh/UIgaVECWbUWNHLPEMMHOOCjJLOnPjall0k9b1Vy1uj8xG
naPbYwGXefkdSge5i1WRfKc8pLmbhwpwiir+7MOlPLUENG0d1OkPhtnnTws4xAAghsvtRiyIecua
DVqNN1mUbQE37rg17+qJXHPWxDetQIulqTQ1hm5ObrBbOQckJvexauzVaXzAbnvuh/q+7GT6Sv71
lcBp0xexTWZj7XxlUglJN871w4LLh37WnAZWgv9GbdogzCVTzD65Xdid79sG3rZZoVyYJMqcGX2N
vMHvFrPejacqo7hAZu85TXRJM6YgwjyjUbpqccNGN4y3mpHdZnb9GEI28Ey6FvtsGr8T+MCssJ7P
caSyb5TledQGkyEregUcYt+RkyCYAeijnxId3DNys1NW4SSvCo2gkHw6OwxLyRspPW4Z9gEvxFUv
Wf14EJmj5+sXXvRvdjQSOy6NnWDDwQ6IduNWiabCY+QPCKUsn1ystFQ2sWe03SS8TKuIUqfxx1pc
jAEZ0XzbdPOxb90lYCzyxgYOUC9ZviA+SzrkcxziOqF2m1hEAHg15QYeY43owfSxQg/XqWBR0rog
xjTLZ7wJYeWVIyatdkGZHsPc9ktg0qObBI2S7WIn9nWDoTa62ftshXHWZBrhBCreJ3xxPnKUTyUR
eJmM2N06A7Mho2RgjmjG60b9ruQevebXPRKvcSbri6aMRsht4dbv0aSexsiVdxlx8XszMlQGPV2D
gl28jLWV3OTFbPtDHd6iFwkDlQZDXmQHJX8MbfgE07yZxzrAs3QitudmFVIqDsLRsCwHfwqF4jUZ
+anwUANk7J/JGH8FWXSI1s82tpZHU0GOMS+GfUCCRzBs0fITBW24VsvVDSZxB32dtatBXQvwhgzL
tMsKCDGVB6Cg4VY23c7SxXNI1Talg8908MJNY6ugXiDksN7Q0fjE33rskuq0KGLXKhp5XEO2MmzF
Nsrm7Wg7F7rKT0oRfmKl3CIORBlqBNjggqqyHyY87UtnIq4ssjegrBvYDk8VOq944IRd3e3GaBgY
kdpsqzv5hf5pvpXDWAUaIR54OHKLHlgScuPk64B3gak+7VDpT1zYmeajYfVjPZzQyrEKIBbvYnNE
qT+1Dw3O6FaIeuvQTwNYvF54RPWs9I7l2VI550K51yIb5hDtJkuKk1r1aUBI5SqDYv5VjuAeqzw6
YfcBSWIufEC9gImEff9LQrcnCLO5XY8CE87OfJnn9LQ45Tmz5Hg7ltVXezYFBp80PVcON3Ju0y/o
Hi62M5V3w2LFe5OURtKMOboLbG2aSPYwCsRTQlXyCAb4wxpq2kX2YVSae8cSjyYm7r6jQSgt4ztK
JsC9CzK50ba/oOZrvcSqEezajUqUK0oeBwPeCm3mij2+0V5/H3rHxg5o1wGi1UdrUjUvVrVtVebL
Ti4yPTqFDjrDeYhjYdPWaK7Mb642TIxbRTNXuPnyxZjEse1rVPzWEG9y3b5HQcW9oQvDoIjqi0D2
h1wYu0Nq2UBzht2ckrXnytZk6GHmG5rmd0k4IjatoPUxbrlWTfqRtQPhkSK+q+qc+1Yvc1xlXfPd
UPMrclc2f/pInmLVzx28BL+Z689Kn65q7RqH2pn1J6GiStTwbvlI6GZoCZ3EML7c9bYJ/VuLxi3q
RygkzQzuwokbiDDDWcvrm4QD7NgsAjcpVc+G8wpxC73A7IZ1t5xkMr71wAJ8WLTsc1xHFrbQs+0m
THUL1Sr3yMm+4tyWx75HXWTHyR1JJHdAvo/TOAxeDcd1h+ubU2e2RSBAxfpqW0+e6sQaCDTktYq2
tAGkYsbEbYYXLy2eCTzZ20xHIdZj/1YaO5gRz51zE0EPfY/NMpRPiGK+LSbyZSXq4hvFaeYjKRYa
NCm+ZlmpAlv7FN0w190qWXiIJ23HYEi8jSUvbOViB56cJwgXzK7MxSV1yq3Tzc/R2D9XLjGs0xwd
bLvdsZttlH5VdQFrg+t1RQLFeLhuzjp6WNckTzmboS6ZNZecrIjvB9d+rFKioc2lvTSK+TqX7p07
6PuhUNRD6/AxCQcRQD5MQRp1T8YingDTK6fGqa6TE91j4rwvBkx62ZK8KcBMdIxB3mIa5zGvkFV1
2hGd1HFZZIDl8EYqLWUJFQxH9TZGZkkCqb3FcbKbpAzoYxzypVc5WLryFvmYpvqWU85nrTXHoBnd
Q1KEV9VAQTzaEtXTFB7cutjqxfRc5IVDQqMaSJWiVmb4gSf1e1/L9dmtydZGixGQk1e7QIEYrHlQ
mBVq1gqnETWqlhHflE6TtcWr1kITMif3iYKxf3AVpFF+g6Mcv5OsgW+JFEkqNHlVWW4RKc/ZvZXg
QyaFxc27Pc7a+KbpRHaVUdV876qRzU+0HVfGRk/0Wy1vK7pZaBTFMZT0fPyoMrVPOjlYB0dyn4QS
T7e9bkWQwKQtn2tMv3d14iihrwC5z7eJOWiXkExYDmt1DK1Dped50Jta5uD2B/W/UbppCOpBfSRa
aFDPg9nbj1bdxxeNrvJmiOa7RQsfXWe+rqjJD0k4+KZx3tnvaj+dP/R2uZvItfGwRKRHK5pzzvo4
TfMtRpP+TfIBscI6HUpVZVHxxuPVJBt3a9PPEh3FQhrfhCJ6lIbqLSXvW8r8HpMXsMPhgtbzSiO4
9OcWvSCIrTuJqUCSJ5zewNnMQvCvXfhhxml2F6d1UEHy99NK8cMldTZzY3w0LbHFpP5Oh5whMXt7
hawbIIiJ7Z+166M0mfbtFB0XANdBacnqrirb0ziML1my2osbZXhsbY1srfrZhowIpr6kFV7H9kcq
TUHNEaq4N9LllLg9N307fokzIoE9Fbv8nsRPCyWu+ZzPTk6AX/SqFTywK9/O9DJ+J4z9+sbOe1Jc
RvKQvBCRukPjQKXwjJpY38RjO4E2Lvd2Nx6E3twng37Xk/y9iaUWnhivfwCkrXZRMsuHuBbFeB7k
UL5Tl0UfTdk6l7zOmq3Efnof1RqdXeLKkxnLK7OE6Z4G5WaOnCMU9OUiRwIIUUjOO5Ar7GepSiWV
xulZKSPzgQf8vWvlJeE2f1ciQkRQ6FYocnF8PFEI03ENGew8zH27kBPcIqLmYH2sC2q8fFnSi20P
89Fe3JdFKcXRUe1LpKcvBt/DqTJKRKC2uzyLFay3cGnrAlyhsOwrKvohzlCZxn3x5GIT4AJemA9q
FPErWGq8eEwyD7Jv3I00rekCFTz+6gBn/WqO5vg85Kg88954blTFOcVJkd+l0SrGhLtxkzvhyFWC
KbqXpKgfGynR82D+bcfBl/jnMUF3gRKrDPE7+TW1uxu+FiZoU/vOZBsnrFlfp6aa3uuY7hNPzBYS
DDZ03AQnxiNl0DZ1cRhxCB8cVKP7ZAzrfVWb45Mu5zD1W9d61dReCxou0T5XKXVruIWKlEAbggwQ
RoDQLEhoDeEHmLW9XlqOP8oZjMzA3FtZ+UBjEhM0oGdHENvjlgeQGCYT8JNtcpFpne51mqfvqV5u
ZyylQc5d0c8HTQuSWNc3cJ26dDePjVU9RK1SiA3Gjvamrxc6VqiHlCfDBDaoaTW4ushN32iSoDKc
sJOAoTHVk5ZIZbca0nwh5sGP++EyQ5enRLTyw4gfadODlwa+04KJI/W028+1aW9kMakt23suDhVc
pNu2sOpjEhmCTAO0qtvK0iNCvqPoAf+EeYOy8ywKrdhYupm/5QRrvJVdakpU4dPqlLaVdy3O2q1L
4/gb3jeVIQFpaN6Aaukd8GRsnNMO9RdzdDztSEDVr/XaaaZeatJNFQ5cVHh2IgOaY5yyIGfTdbyZ
uyDXRagJFsFdyzDSQHLsvsrZ0gxhXysFfoLrDQYLcj+3LZ0KQdea53sy0Tf3qfu+KKRmUJwsscuN
24nq8KjGSVsdxrDHm74o9HaPaq8mxjdE0yNPL/J6wA4FcrQvyLHb6RXEOGcBziA9+nC1MpFnJLxW
cpiKgZgXhbECGLH+r6kElKRg6Hi8vFRDg+xzSDCLnLn199y1FXXXNKFuHjgrrIoSyIqSBxCz1kdU
RNYFIRp8GPK+GCe05JqlB66ns8GFogQDgXraueYjl7yj4Y62DvuF3IM9tpH+pbJyFlWZWfwHXF16
ii0BnOXaCLFFeow1wPE+Nixdj/1Ok4Y8Tu2cF7d6Y8hLPg9pu4UPou+B4FkuWr84pL6i70g/uy1m
5aNoCsUvCsWpvvWa6Iy7ebQMAuTMwjAZlZlKtGkgX8htC1yy2dOWL0ZfxgBRA4aXhetxcgk6PWPt
YprDueAEKV3VTSu0DeX2Tl3EdTYkHVmn+Shse6dr086d6nsEtNNrldJ+dtWvAvE/cVp3BDtvx7bD
/tTXbDeu2uxHWsxXXHdwG7tYPfFtv8XcauNx+IaDdgkye1reujzZwNxFotsh488WendUXPQbgnmi
8uklkJUZPCr7iDbFWwPPLaXmlzYGkEHihGBsFHXqlio+LOBPLgRGtZ+okvejmL4gegbPiuHFy1yJ
WDhq7vgR44GWefaou4P5rKh1uh9M+eH0Bkd3jF2/4bYdUELFyOUbzT5WvFcvzWyHr5g2ZdC1pKdm
Xja6uJ9h/FXWdcpzx96QLcZuIFtr3nXG6ICKqWfJI2JBSz4PtlJ+RMaEbDNLk9E4Nh3ZjfQa1nHr
Vp20dNqnHeJy3zCzNYUo7qkLKlunPKFuBJFoaMRwVpUzG2eo9nMVNLVjun7c1kkJd7Gx7BNRdNid
ocmUxZYF43RbfRylcgIzJ8y7cBhta69VibADAzk6xTfawxt1jBTrNNWKXh34epNlr46atmxC2fO+
STxCNoZmhCksao5o2lbgvLMrN2YZPfY5ovUz3CC2AmsU/HNe4308Ralc4jXqDmzCUobnFnJIv5Ul
VLFtbBq1wu7iYPyBCFjpZ9jAs/6Q6VOrntze7PI9nM9l2juFmdUQLP/aJmBdDMWXkaSK5GJ0elrc
ZA1jnY0yDQSLeXodQcJ1CTcTN65Vgx/hbw5pYBCacsInZNLNbJu7yGipsDQ7m49mVXAkGll3xxpe
+m076r0IdIQK0/Pglm6gtxIXnSvibl8IysA8p71xyZS63aMjQ+O7TM9N36kO6B3iynCgoHDj3nm7
RGVyYBb3HU/cC0cqRRYX8FPT6vMdmze2TMM6laOT71FvWjvkCqvyY6KXQzbWDtjGEsRLDJhLtNjt
yNfaidKYDjFJXl67Dt9nyVwLFt2gfw5OKuA9xuEryWCYJWmrxa9Fl8TTtiN7qqTKb9t0Twt6Vai2
/XyG8xFzqUtYCwCHSN20dRpBIH/d20LOcq8lTkfRBXyWMqQMg7DKYN2zlrm5F13ZPa5jlS2Bt9ar
bDOXZa475ddGZHMwtOY5CrPsQ0bqfBWqq13HLpmIH3MyACBiiQ6LojwMWonmx1SSLfIMi0ZObif0
vFBUz43bbUU0aMeELaIBKjKLnTbk3/JIpCDrw+ZBazWqGhpyBr/JvBD4V7VfXL60h5jxyZcsKSfs
zW636UujxKuA89BTKsFnOpPFHJQz7a2lhfu5dDrQZBBQF5tK9WKz7nySpV+MEiiPz6RW+8jpIjA4
s3tyvSJjfoK24D7HeH2u2FBf9YnGzqTiwyjkGF5B2NQygO57KdpQYWeoyMHTyvrGaVubZn3v3GUu
EdK08vielDnPmE52AG5bF+emY2XuxzTkPbSNqTqrU9nd6qEyeDYdSqpvE2srxh5Pa+JnFWjSya6H
jzbTcrKCnIONO+yMhdDacGL0tyQjQY6KqpoJU1u/20TehPh2tTnI2nLtkULPrrZME/UgN5sw2SCO
Nz4GEUeDL9yyUYMuK1hh2WTN742dpZNHNJtG2Z8mF2jPzmtszP3rlCNOV3XlKvibbnQVQ8ugMxni
glEuR4XJsbuZGZnd4ghWtp0ox0/DbLprucTdRbTDMSVnWzBKmew9DQW6Vmi8aRSROoLvNKsW/S2G
cYo50oEsW83lLeBlZd/a6AA8B3Hl4uPiyHZFquSBhVAHpi8R7V/i0HK2Ikak7vXMtRnBEiftG86A
kKuW9IljTJsi005LTM9QdS2NNkmhTf5Umwrd/Qlf9QivdQNvwn5A9U45gKJyx0DSZagXh9ouzjVq
dhuUih9NJV44Q2luIjG2H/ac6rdpNn4blBLgUtcsB2qayLersE82eiGUQ1lU8tBYXETNzDVPakIv
K1wUc2c0UwKEdgmNq9Ts6a3uas3dhGMz36zJz/dlNHHzAHkdLEvp3NLAgeVWAf80lz31W7LtSCT3
akViE9PF42yV/bVlKsb1Nam2rH/kEa6Ski6b6C+dCkrUU2DqHSKTlehJWdn3hOuWG6dK84Pbji5p
UUO4B69Lhy5xN0AiqyOP7CEr4+UNNR1d7YjeI5T59iqMsINYW01UtF2aPQxYTF8nU4tuzSwZOZu1
mD6Opd1p0n3O8HWgnymKdDeYarJRKrQFyPGwk3HBp7brtD3xnPouBId4Weoh55qRh6z/2P1G5EL3
WWTltzwtJ79thuF9TDUbtozRdF49oEC1u4HXYabHsFuCz0cV5EwaKHTUwEcM1VvijEY4hUBaGtLm
w3I8gCVY6JaaR03DOqHbEF/JonzrtDQNEJI8FUX21eyRmVQCo9tcG55ZKucKqpbBdQG9YKjhfVYa
C6qqqhX9VhTr/UaIfFPOZe3TV5HnjGocTpOM72mF43VT8vuRm/MIed3C00U5IQbGkTqy22MlFRar
OVMykwQKabZrm4TQ6zE6ofPo+SLYE11SpM5ZQQ8rH5eHRZnwarKJBiOL2CejEimV4gbRYDzaSvpR
oBfbmlgzNgwEA+5e6lOvZnta7Smw7vlLjXkzAO2vfhMV51GiT4nhQ399Wpx6giSUTEgGC6hZBSZC
Jz4KuFMvYREWNCztOeEn1JS9cgQDtXFCCoOBDJUY70wpTrmgrK7GSTzKru7B0k7zKeJ49tp4yPYu
3TSa8LK76xqHhpKdQ1axivjkkHTqxwg1QTbV9NBpO89Aunf0FClCKLv80tFR/rmj4kOVxuoM2t3L
2FSDMi/MbcUpuMW2kQbkF9ibmt7LTaRa9IKVgpZgAotN7Wz3BP+KUxA4/b0S2vN5ISTvyQwpYvHG
Za/CEod5FsdqHgAIjWlVneli+0rffiFKs7gMg+merLRIjuSdqXvcPN1T6BjqqW0U51xFTfNJ81g5
JaKJTip5IV4IsRW9cqrcofASYcB+xtSBMRlDH8J4zT4t9vWMiBCHHXdG4p94QPUMd3zpbjVNmD1z
C7O/DFYpyGpnbBFR+D/WonYuIYrTIFfphWnRAjh3xP52r2j1u6N35bnLOQ633TxWe5sQxiAxoPv2
cu4/XNh/Xo6oGkSvxfZcaCfyCIb2BoCPvI+mmMnwUkSNCvI0dY9Q8WjhcmVkAoSfOWzUbBMqttzR
M1GP9pRj1wz5DcoWAVYKtb2EctB1Rxw5bu218+wcq6xP1iF39WVmp5F7nmr3AbttHvlpXchNDAZr
ZpIpgLRjVveLJO+DGbnavrDnPkCbwNOWmG37EgKkIDoBkVS7WZGAnUfnToGrLYxjRE9F8/WhsZ+M
SFO+4yR1933LnWycY+P/cndmy20j6bZ+IlQACSSGW84URQ0mJQ83CFu2Mc8znn5/UFWcbUJqMarP
zYlT+6KjtrsNIpFIZP7/Wt9Sn3JpVo+dYShPadCIY5la5c1Yj58h8ibHniPWox5KcPaumX1SkgEG
Xe4l+t60iqakjC6ggXU0x1Z6igW+VvvhSGk/XksOhuqipYyf7WMzZZU3W0+jfk0eorFSao8gUhMu
yDKTefoy6KnfrPFguk9+UUe/dUhv9FQUvgW2TaehrlWmTeW0IVM+AEELtj0IzyKHxrlAFQdvO8gK
rN2mVh3qCnYHCxp7tliOaMA4N3ZIfi1tU9WjRT1hRMhpUmHGyJ894Pv27XPSsfqZA8q4pavo9n1B
QS9EQKOV2rOBpoLNU2h6N3aauktO5Ka+EymFBjVPSBbAjk7LY8JFwVBrc8zemtF4v9Q6bOmLWsi0
cj+6EXqq/dDhjt3Uzsj6IPWeLoY+3uYOPUAvbtNjRhrtZzGOP/w+tenI0/uOJOtYFwS3UWT1d3qv
RtB3FUx6PnjnjW5kPw2729dq7i4KJzxmVvM1YJJTTewDwB6Z3yJMkva66I2Ig02eE9uI6iq9lyim
vDUiNFY9dts7zVVAgIqAylKjhwVQAzfbamSoAd4bEqDcmqlYSJDwwLWm9UIZL9iURbqtpOzWfpNW
xxiA4rKMI5X2FRYFJNnmgiQz5n8pSQUZymQvODQs9d5+IQoZkQNiym1SaPVngk69vQOGB6ZsXZQ7
ylEFLxBCCA67Chjo3ntgvNERocc7EIHSoz3tsnYzYsTZRP5A8XjkISl+na+gnAfKwYEPcW4zzp4r
kxAHjT9MjyPW3wfbyfEGFwOxdDesq/Roofr67KAoetEfNWgGLRImnw2JpQ73lZeyR+fP1HXFIk0D
OSkwOjdIVDiQANA1db1cSbVr1x7Ckg3lP6VZpp3xqaPNCBCzpz9kGYiwevmNmAiyYTR2QaA/JYA8
v6q/jGnQ7TQ9j9k42CmIw0rJv5DVR0OVeALrSykVtIJWOSTHGhjBoSMxplqw6XPpeXFe9hq1XSlt
9ejrlDRx0lEDbdIMEg8F2KuiyzeSS1Q6Jp5US7c5+9oz+XeGQZU0EqLYXuX0o40JcNklphkuKMwj
6jHYIrBmTafO2nL3Q2fX32nWWzSC66rEIONwCt51rks0OG5sBK6shv0D6Zo2uzEI69FirHUsnXmM
nf9XUg80Z6ImS7q/9cP/yq38f4MJuzA0/yco2f+DLDFtsiv9Z9/fM3zx73Xzp+/v9X/xj/HPUv+C
JQYuzCAZCgsff9ffxj/NNP+S+HUQo5rQ+fTJivKP8Q8tGHZlDH4qZTEJf2Vy5P3j/FMEf6FEc4CA
Fz8Tpj3xr6zMk8PifxXBtg2ZjtA1DieqiVYW8Tp//oeaPuwocJC8UJ5a2ZufbdcYloWCv41NZLqr
bVoy+E/1W74RYh+UTXiA/Sy+W2zOiQ+CVqsoOI1laI3US5x8pRMAca9KzdpCIs3WFKzqH3+MLoK/
ASrRf7av/f2DHYaLBD7+QY94+YMhFgY5cInqhFlxXMX9OK7bbKoSicrZaLEfXjE5iImnNh8hh6Hh
YygM/oNncTFCBCDYY6xWpzZw1GdQx/cUlxE3glJYN739OYoNOJ5pHO4cK5jitEC/pkYbw1yy7EWu
kNdAsssS25e7JEipuWW/jQajjoulOtjVInNC2rKDYW1DSBx7KA/D7uMhuxSYT0MmmEksmdQkDLBx
syVo1BpcS0NSnyj4Iq9KGuLMiaVYOhAP2SRaJ5WC/l6pmtPH153ltL1eGOQdniqN6W1pzuxZKX3Y
Uofv61PmDs3NoIhgK7w8OCRsCVCvGehELKXZZ+By2cAqHD5HCko2wLBrxgys/7OHOF1fYM8QKh7X
uYMq1oSeu8hWTzKV1S6MKSUSmo0qvClq2GNG9QBDVNtg7Sz3lgzrjVFF2BEyv7n2S955GLZhqhKA
H1ZBWAaX0ynHeU04TD6eoiFrloOLG8Hpmu6pYAZtLXCZ57JHyk1XyF5qHAbveJvAsQbs3Djdu3u+
XfYjZfX482QAOsZV0z7bSkwqrOfoVywj2qV3aXqAE96AWQPnE7X6/AGCM9BiAunFyabcgBSryF/8
PPGWhAFUR58USTYnpblt3CE9hblZ3phtyhQbwDxtiFHsN3BXxg1/HGxTMtLulUBRrwzoNHkvX099
yj7FQuLAasQjeDme1JNAoqahfjKCSidFaBgADwb6MnQiceVb/t5wgHHkFZq8GhjWZi9STB/MUXtD
nNrCcFI8+xOg1sz8LljVScz+EVU3myg4acRZeypKKgmyeRM0QxivCYMp2aQh3avWWLGbfmN5hTQP
ClvIzy3Qw58fv31vV/bpF+KrNgS1McxIlwNTyVKOZLTrpzgZgy2x6uMEeM+36gQsLqiCHAqsUvtA
sdNVAtn3ynOZMJmXDwYLrJwsiyZNdMnn5fL6jRFTijEs56RrrfwaD2bvAqukWkPXwVBPNYIkHe02
cVfYOowINEIMEGRlhTHqrVCt5DfyiAYOSTn+Vc0lHXvRK737pBux9YLYj1TovpKHKNEsMBUR9Fv2
+DaJM1Oay0sAuB1KnO/ZQHChah25vN4A/+nCal96pgsyi2QtkFtjBH6Csmw3ruqGwwQSLHi7S+H2
xrl1CvwKdMoLqBJxE/0sMs35adFHgjAzJF60hIdWnQH18ioAFB1/RToaCJR2pihWuTHYILWNGlHt
EHYj6tI8x+KD0MERa3TP+dZrbQ2aRjsioYpFkgTLEfVYv9ZaItXZx0OKXg2Ic6uNN5bhQeWQR+GI
5O94gWpIi44kBVAvb6xKj1YBGCWJ4jg/U2QDzOE0XrQytFKHGU4p3N22dRlCoozGEISy7MJ9R1Ui
2xQi8e9JsbJrovA6qS5T+gHale/ozHvEWgLDgO0vkwFQKovKbOHzUgM2YdhYJ5MW/5oCPyXWhgSq
VsmNb8hykgcES/g3yLrB2aL7P9GqGFcm5Zv1DKYrKayGLgXmJzJ8L+eklmUEZWS1dVIS8hbEmPdo
qyeOhpdmlAlEd+Wm3yxOXI9Nn6Bw5pg0j2eLk0VI7gBuwz4pBHPvYpDoK5l51sZ2oKR8/Lq/c2uG
xHZo6hb+LkvOLsUaGyoU1KeSiE8CAuWpDZgj9ikIyjeJcOLNx9d759b4jLFxZF/EtnEiWvy5LSJl
qfHc3nZONGK95VgYJi9t9CtVY/HvHxq7XdD9DKWh8s28vFJhIGBzCXc+ddAX9mqHrMpDkbVr+SCs
utLtrzjO35upcDjIdgYypJrs0S8vmOSRaoGQJ249Ftkuoou7boM4OoElS5epyRctAD0zncbGdREX
BhXJML8yc2ZO9NfXBc/wZKx1DBzwc3u962htVVKYOA2BwtJXEKyn76OiwH0Wg852VxJ2HEuZa4y0
LvXY6ZY1k5CU+dTSn8ZaUiC28tiV137Ym60UHkWVby60ASmk0GcTTdcxQ4aF65xk0EDqdtx97jrp
XitM7aSDeTxkbWChqHfbFWn1GbvzobtrTd+8MgHfbszZz9FwcZj2HIYsbTYvWP0Q3QR2dI7rRHmh
FhJ8kZlDEoKv1z8bBgP6Dz1mmoZh3H8XGcvcUm2IZ1pZtqNoX2DyRc/0zsH26dJ7hhdcDORrKK52
jKpcfaK/1JirwAcGu+So5pLcMCQMcw4kxFsGOVGY//odZo7jCJCqNDg0OrN3qilznOJV454UHw9g
bmaQf0aTOpyfNpteL6+9w9Pfd7F3ml4rjdOBUE2cvnM8RoOOHF+h6Z4IRtjFWeWugij6NAbJfVnb
zZWJ887zmjgrrIbMm3fYCkLrgBlVNrnXthGfMr0O7gUiezT9JmXKBl0tJkaIdCrYSL+su5Xecy6g
tPFSsTIfvZqeNqqHdhsLGe+c0MRNA1gxWiauJ6nhIgvZW2U1ruO8GA8D6MQv+siL8vG6996YMd2Y
9zAvLLacs8WBrQPJ0YHHNs+DY2e639pw/Fm1tIANdf3xtd6usYyYbvDlYA/HHkq/vBaaM1F0mApO
egdmME30b36Xw+uW+tePL/T2pMZMQFCES5pGJaWK2UuNMKJOkGx554yC8jdihMbvuhyQc0D17xSa
7TJUwAO6VcBBu23HhafV5jc62riDEk2p87srP+jSqTwtf/wgNgnTRkEw1LOX20iRdCV56p1js7R2
Fj2mh3pAdtqVVrgjDLZeo0aPbxsjzdc2WTP3HEvyK/HwxtvXA8O0M/H72btwWrsc/g4Zrk1Imn92
vLjb58AM1zKgAfLxrb5zFXgj4NypEnF+UWcvPUnXlRlBQD6DPfRXPhuwVdBE/8W0hdIiJ/s1VRPh
zKZSUmaAHARNAFKgiwUS1JMc9H2dFZCym+HXx7ck3j49zp58Qql6aY4F+edy5IbUFIpNBu2ZLzb1
VvSvt11P+2lpBuSobOHuyjsjbomBo6yZhASVCuBHaK2Gh67oSnU9wlF4ikXuPLTYU36gjTD2Jjh0
C9U7xEadzXKqBLS+rHL38W+f3t/LNZGKxVSOI8bdBsU026aaWqsAke7Cc6VWN6EZ8Om1KvS5xkGV
8YvQMFt/fMG3L/l0QaLDDIhM7DpmM12S4ofIAcdkZwNjK3rF27hxo65zMHJX1q73LkXNkegLlYnA
sf7yscSppBeFBfrc5YMD58A2EaVgQQFzdY248t6lTFAdTAEo2qwsl5cqRQhjp+LjzP43XBGN5m3N
MlL2vqCZ/vEAviKA5o+Ma1AR1FiPoRJdXouEmDDSjTo7R0bRPNpmKb7Aerd+mKmqfSUhVP8JeV05
huhZNCJUI+uLT6sPQiBhBRAGm0B5ajOGPQpLawps8rKXKBoN9IFKmPRLwhtLscK4W7APHLv61s0j
PFtMSX1cd1VQAbeWGXzdxkDpmMZ1CdY6N3+UpUuSZoeMluS8EtI6IhabkE4w3909XHhrjzk+iW89
s0WSWhGqCtzexHibDKU5qdpHeixgpbtlMo7CXBLqI4D/eGizl3w87cey61U6tsJNkaSFKiYYw8yL
r0piYMYVru9/U/NexwoQZmW8LiwBw7juw+631nk6n62i2YQKFdNFC6kY40ST00slCS67K0loilYa
hn+29l7bEilkRkpB6qVT3QKuJYluqPv+LtKKp1pxXRxi1jAccHOr3z5+uK9xFrOHazFnqb3aKJfM
CYL35zlD6LFRRFiDzomXkJSlMVeBAIQwrha9lIQ5Yw1Beo60ycTr2NvRD9csB21ZxGX5mKH+Z8XQ
C+vzyJ69XjVprW6EXQDrbqHN7m12Rft08PJnsrEwNRhpcBeR3UuEb4M6qi3QWa1rW28fAzN0XmA0
U8oVYJIJEQTB8KtAmkaIehJPaHC41T1RU3X4hZRMIl0+HgnxzsrEcZKxMDne2SDNLkciRIZdGwQi
ng38muQP1XyGy6oJkZi0eU7fMgnAUo3AuePFoOa5ujWVjjghsErCwZacZJskmWxGMfh5baH2mfui
gL6wVxmGa1jPuvq17mM9XNqFkR65pbxdkpqOgSccsd5DrI+oYdexp8FKSGR6V/MAFiQJmeb+43t9
e6tS43GDSRbAVY354RJaUkggmpOfJ2XYRnNS98bX2pda0XNY14N1sMgEuLKMvF2xKI3rU8XKptRJ
Q+RyeIUE4O3g4DhrVK1XRV66YGMMa62W3XD6+PbefvI51U1VRN1UwXnZszldtoguMi0szp6GMYMm
PM38HvHFx1eZPhyXbw5XmcqV2jSIXOfyhiggy1r6RYE3KPJXlWrfk51ZrD3inbAZDJ/SgkOGbKN+
/fF13zm60pfiYMGDm+rc8/V4gKkdoAKvznhvs++qNapH6Ir+cbDI78igeDzkUY0Mj8VvhebdvqNW
6vwKfd/aBSXpxv/Fz+GVAa4y9dLefNHrlpTljsyLc59r/RavwVmUNFZd2XQ/htxnjqu4s+xMS1FC
Wzqmz6F9TNxIvcG0kV7Z2L7z6CWNJEFTT3KSmUOYzNAoU5Ty1bkrWrFMig4pU9o6V+byO2uFZCcJ
nY+JbFMTmk3mwrO1pgva7hwEoYaKpB1e6ihj0+zERr0Os0lRyCevwP5gVDcJvxXaDGkNRE2oDTCB
WI35EJlqBJYIukBp7wvUyCS7u6BPGpQ5zUqaCl5kE5cVsXODqFCoKUOClot/WQl0HdGuhIn84ga1
thS1koDnHXA9XdnTvO6P/pzmFCGYagymbtCvgAt2Oc0bzYYpgnvr7NBh24q24qsZoVbeF/64qanj
bGEIVrc8kacxbcOnJBX5NiM8c+HTFduAkB8oWRSoFZH2bTIfPVLnuWjjkA1cOVDM+GB0OPitFLI0
ymWgBkGPXv5WZ9DMoM5lf/bQwD1DV2+XQ9wQrR1EsbMugbisgP3tUB6iB2GufFLGXtlXdp7dFJbn
3CNprL+Gsqk3H78j87Vv+l3Tu8ErK+CPqrM9aN6SSivNdDgXqT/hm4P20JAeCA968P+LSzEfbWCz
r/vQ2eMiH1FHayqGcxMUYO5VkiOJ+Uy2jU6kysd3Nf+KTHdF30OH7coSyBy+HG21VhVXJuaAqgG1
KAmP1RlJt730wqI9pnFkH9HoFFfm47w+MF3UnniVKi0PEHWziwKSbgLTarloYcQkfPdTMiV0SERf
w0ot/Gsl5jerLRdk1luc2gVtXn1+SjU0EdcVCPAzmPtho7M5IV3CC/zbvC2NlYjcYqtOzYSxl9RD
Wu0JNUrzRHquc+xSr7wyxd8Zcx4tFX7KSgz7HPXaIM7i3TJUNKQ60J0AXn9GzWGB+VbbFKXo12RX
DFfG/L01AIUFjxpBAP/M3yu7NPQI3AjwB1dRDqMj00VkBMUq63H2VkIS3FMq2Tkn4H5DvIB6rmi9
ragl5Yemq49wILSDLA31scnJbFTUfLxlp49N2UQZ9vGkfOdVozFGFwK9haTeMvv2jxF9kMjKxnOJ
l/I5xDU+7a4cPCVVfuVVm6babGVkl8HeWWdqoCQRl/M/03oWYCPWzobVjHu6FMMe+YXYyBi/sTe0
KmeMrF/3blRf2b9N69jllXndBJ5tlTa3+mbTjpREpfbsjGezHVSYJmJ4ADD8/eORfHt7pm6ybiGr
AkFrvpbx/5CuAOBPOOLG6jnN8Yu3/OvnFLHZwiGYaaNXeX9TQpO/S7y6vbLD0aeHNLu/17P6tFvU
iZOcLWID9jCEzLo45yPx5rWtGJ8S6Zop9chG5FBSgqhcjeOofof+yc65zpoehxpxAiQ3qQmmqpjS
4jK3Wx0ifu/nT6Ly5a6n9V8uM2/kbzJC504n3ENdjekw/u6FxJOXK/Z4ss2gOXWZ8lXKMX6wCR4p
NkwDRNwGIrTfxiizg4OWZLypAzAVG7eKgm+NpwT7MkDbsARzpj8TzE7QXcAB8T52CONY6EhWrnFr
X4slF+NEkCpYc3afKnEMHF0uZ6BNxjudODN6AiNVHKJUEFsdyqy/RQEOGMgnnE/cK3QtkkVqGclj
YqVw8TM3ibWlHlT4YfsxweptFDoJ1C5+aJJqjOK7kjTh1LQVBEKNMUYI+EyEeqVt72B/7ZKMPFHU
6uuh90KxSJKi/TRaaCg3jqjlzeC4ZHloUqmDJfWeakcnxW7vjLQIv348RV9X+8sBoD0G1Y+vPuU3
R05fiz/mKPr/jhTrungiaNY/oCZtdhrp7sEyxJfvsQJlGcRbvynuONaEO6+L64nIZqIfxW2AwjTT
DKyh5eDDs9PHGH1/HznruC1wU+Hp0+SK5MnhaKOEx2TiRBh5bKXzfxj0peq1XUYgf0ZqJ0sXpfJ9
1GnUGBNzNOqNpmrGlcP6m9eCV1HQ4kWLwYeP9//ybulf5C26xOypbYtyQ4Ix6wxPzr9xA8cAh2pn
BKXZ1U71fKNGHh4VV9adN3Vs6ajgbixu3OYMh67t8hcYTdRUBPG0cNXw0pJ1WKwzq452tVrL1ejJ
Zq90UbXNbMHHONYBD2dm+OhbybD9+MmT6jlbIsDA/t2gQoIxya8uf0mr9vCk0qx/GpIOPhTpHCjm
asLglyTQhTGURkn/qBe5+DKqIwcjz4o8PMVCtBuskvVjooODUaMh/vsh/Ssd5/+fqTNU//54SG9i
Z7ZNkP7iG/PrNQp2SnR4/R/8kzlj/cV+1FB5XQ16DiDceaB/KzWx9rymx9CK0UAqqyrf0X+Umpr4
i1oM2H6+c2xq2EL/H6Gm9RdBsfx/+ecfEee/0mlO3+r/XUimtYO/iGoBhWlCJNCPXU6nsO69Rk/8
o1JO6ATE73Qgbbv9FYKBJKQ1SIwHCW2ZY0upujiPE6vNDkEahj+k3STDPqqrLr2y7br8AP/9m8in
YOPJrKR1MVvckiQtVNHHx3EY8lMSK/Jr3g2xszINN/rmOF735HSx84U0Me2auuhyl/3PpamGMRZT
aoY1G464Ewq0pPCY5nhaPSeVt13iBgsUhip9Is3/8cdEefh7nP+z6PTvy7GcIZIlxoBSwmxh05Me
IUQcHmlcEjjm+2XyEhZB+s21M9JlrcT6+fH1LjeJb68327np0DpLfGxHTYDNtfER782iUrd2yL9+
fKXLndo/V5pOf1NLYJLVXs4rUAp5NozRUYnT+hgC3pmK0u39xxd5b6LQeAIeMX0ekEFfXoSwCacx
q+CY2U0GKyPUfmNPK2+HsIr3gE6JEi/MblXGprhyd5cfpH/ujq6aSiES3vG8rVlFoFJSzz96dD31
ZZ4a+kaPOu+TDWXyUwpR7dDHQDyTyFQ+uWFWWIuPb/zd0XWQrbD3ofcmZm+IgwchklS+vCijoVMG
3ZaspWvH3HfeBcJb+OraFMolPavL0Y2kTZZr5oM2C+RLo2KDnkrijwjr/KPIy/rh43uafWNfB1Vj
QwOIncuhYJ1dT1Bj50wKi7IvswPGd+VLhg/mIYO0/WgTtvnVGZJqO5g6DK8mUqsNZ9eYT1mXDpuP
f8o7rwmv4/R/vJZUE2avSUvhDF2Gd6wb9os1uoyV21RkMTpZe6WU8M6VSPdGF0JGDOrzKaXnz31c
UypRmrgW8Mja+6L3QYgVezQ3XRGGu4/v6fVlmK30oO1fTxYkI7wpIFAS5EKhfhuogXbGzVF9s/LI
/pE70djcdJZnPlsusCayIJLou6s0JMUOYd5d2cq988qifeJuKaoZfPlmQ0ucoExzU7vl7aH+P8Zo
9PIxyteJOo7HAZ/T8wiBZJ+QlHhFfvXOdEbvhGacTwrbubnINhn90GqxHGReZO/E4NQ4AX2QGWAF
N66Wete2jNPiMxtvJF5TNgQSGHw6s7Nc46AvE464pe9S2IukjGSCntKZooILq/nStXp/W/p28xml
rLZT3FT/TMT6NTj7e+P956+YTTDWeNciCeJWxrQb6Wb54MyGoMDyXJGvEA7tdsicfFtTo70y4d5Z
o4wpE4NABY5i7Novp7aZRj5RytptDazhJqqF3IH5wFr/8bR+5wVCEaABNLemOIz5SRDgk0tLSrtV
XLVeu7IV29oHSlNpaX3z8ZVe7QzzB8qxEpUDGzNE69NH4Y8zl+URbyRb7TbkYFuuc3OoTpbvI+mv
A07bfGW84wC1bR+QIrCaqjG3iFsKvKeJLM5Wl2V3kvPmXU+umr8QsrSHK2Px3gpKkUqg9aJUSO7X
bMrZaeUrhuxvtbwcbruyMtZa6sQPIoCZPHh+T9h04mwIzkVb15BdmQG03ruZlV+b+9NbfDlUmDNo
r02iWL6Qr4eYP4aKsDylLRQ06EMQ3btxEJJSB+XYhKO3Re7QkVkyGIicsnhFhEr8aMeGv7N0I93l
fCyvlvHevorYejSe2FTJY085vSR//By9b7qMqtmBCmW8cYcI+3USOCeEQGJlWr73qYSBtnO0oV0h
0dAQ1sv2+crsmbZysyGhASjQdqGUwbo1ezYhGAknS62DQv3hCAzAuhWe697JilT7UlrpJyfogx06
RwcSUlouk1RPH0wCSK98cd6Zxq8j4SD+wnvxxugUNj2ZUY1xcHHI/3RNma882e/tBJNV0pbtqrCc
au/VZbHTyej57Whl+8XOi3Sl+fq491XTnGCt5Z3dDca1V2wahNkgoRR7PSnRMUC8cvmg8DDQ3zP1
A7xHT1k6jS/RRwzGXmDePBbJd1cd4zWbLFK+4Z2sk8aF7KSrzcEF+VmQ3UpE+pXn9s5UFuQWWeh1
Dcr+8/YtKnuAhoN6IDilcRe6leQPY1CVq7xm7+Ghu/80OBTXmqb67gsk+radOXsXceqjX3q+fmVn
Mg3AmwFiEVJZ8nB/ytnpP45DVQ2lfiCFJtqWlmtqaBM0Y9H0Zb0eszo/D9REcEzn6d3YW9dav+9e
XiISwLXGKjhXzzU1rfWqEwc4VsZm8B2SM8CXRTiIexJ20655LBtP3XZa9TWCj3PlizKrfUw7RLTT
U+veYu87nVcvp0eQGo0aW9oBGFexMyizbVsP9iiAHfUxLh3tm9bb5S8n8S3wC6RN7Hsn3lshVmnB
+KySxKn/9QkERTeDMZmu2LbOV5Y4xTlSjuEBy+L4XS01pioxQUQ/RZ6Bw7o2cURbbPF2plteE76+
/cBigaPbhWSUHQafwMvRUPzOiHQnPGjVUN64bl7dpDBQf1yZ/+9ehYKXxhLKuM+3TZK+oihGH9I9
+p3BhHZZJgodmLINuD/L2MTMiW0Yg/Bxo95YJDInwNXy9Yk4q49fs9ogqScFr37lDPZ2ZzM5ADFA
sHHm6z9XHpK2gYSTH8boiF2fackdienBxu2Ft7RTcmGHzE2XvLRXVvJpWC9fQepv7F+ZiXTCHX02
7OD+bD9NAGWiMIhXfWYTB5B3bZrivs/yANK/6zHhOg+M3MfP4vVYN780/E1Ou3h0KQ3N5n9NFJhB
Vf9QWjJDLgWuIOmCeilD7bnKonZZm1qxTsb+0WsLeGpdKTdSGcBZcZzAMVpGD3QuArIl3PpkGcW9
o6Xj46jJ8kglu8W85b2UanNuulC/GYg0XKc5vdSyrJS1yb9e2SW83ZCT0TmpkKd9Aju32dbUKoOY
NdW6EcX0fiCrslej7xIsIwsnW+ti9B4/Hr+3U3m6oD15ZjCYIN24fGGYLokYDfOmJwsEHg3tjSgq
0ivf13fuirdSFciqJ7XKvD6rBmFO7IC8SRTNfWhpPmCvx12/HDQConCF+crp47t6uwO22PHR+ecF
nRbl6c//2NykUVey6ShvsN8FK6fq23XsazCQZXpNKUaheTb3qVGx96VcyHObdOOzCYiXtOnD2FyL
MaLSX3iSRMMKGe5nNTUHFB1Bi63NdJPxs8hZuRYjk04gXdPbdG8St3UUncbmVyqVvlO7aBS7ahCl
vxz7AvBIYw7hPWr+IKHlYpvb2IIzv0+qIfvZZGPyS0HfUpwGQ0Tj0gCER6oT3r7nDtbFLeQ8ZHRF
NfgrS/Pz7xoyOnJohFkTJWb7sDHo0McvZd5YySJ3fbzKdJbCO2J4QM03fo3LWzQiiZZln8i1Y4yK
B/o6jl9qT4zwARHMr8D8wL4OsgqsV9Ojkll0eRw9WOpoRwsz15sXXv7yN/7HnrAHq23573ZRuWjQ
YvyuchzLK18fzF+ZFYafOKaqv/Epikc96GJv4eclmTEe0psfiNRjb4qGHfHacLD4jrCGKKpWUd1v
RkJEOFbHONZXbqeGpM4b0SNaD0KHLMtQzlO+nb914zgHexyQn3EgGjsDUoWmGqq4gPC68FynwfXo
hgxeRrJ4jTJuH4IcXIqwUH6VnIKe6swAreH3psMMzgeNqBo0qNo2y0GwbGK//CyaJm1XjlZ3xSb0
vaJYF4YL80LocCgRcoZWsBQ4BuE1Na78rftqeaO2sfkFr/9kw+BDCVktAeS1yKrRMZZqMAxyodVe
To6qrXeHTDHGAIITML1lrYKXAjHlFitLMfOGI1Tqd4TGDLSsyOrRnVWl292uqhIdvEUBVn+V6UGS
LWUh3fsEuKK/MGlyFqtICcQD3i/F35Zh293UYYnmURuGYgpPDEyQZnnJ7ynUim6ia3oSzIYTaO6h
daI4A+Xqp1tfiewXGQrwVGlaM6uA+UG2deK0feY1UKDoq3LALSlLXAV6aQx7orCSr+yqaOWy8rg/
Goltl9/uASdKgiHaN8Iqn1kU+37pAe48J6nmf/GrgoCjCB78T5MgK5TFfmF8KmP0KSu3zmADwA3o
B8aQfg+VqlRGzM5BnjrVUL5CVOHyTeQX8G/MuDvEdhFDZw04OEOCboto57WlE9yQ+EnP0I9C6gR4
9keg17UFaoZUw+GFeI2qWBRJnAocyJm2DboItlJuwWJaxKUHmc2D56MuNcUHTl8xeZqDEQZZsPVg
bxcLB59Uuu2ynmiZgbx6ctjLhI1S0gHgRwptm/EyTpKmWRVD7SKzyDPgxKkXtT/MsLXUBa4A/5s1
Sp0OK4ERKlldrXdrdOq4bcH9xguFyM9nJjLEYDqE8T2iPLJISK8B9e3ZgIYnL1ux6hCrF3stkzpt
8QEgsovU1l6PoLkStKtAxrM8Inoq4yG36wBk+w/D9ICY6xHJ5yTzVJlcdUWi1HBM8/qra9thfW/V
XvdJ9kIAtHGDFnEsA+ltQBi5z8gIAsI1IoQ7i7pTcwjviAWjpdsRV7YqC52tExE+vb0A5asmqzpo
m4hdlopNq61MK1nzqXRe4P1rRAiNLixhJ7cS+zYackXHzJtBQApjLb1TxpA1x3Bz+wfudfrwA0Xx
l9GKxE2iFvZZDw3SRDRmpErEV6QkW80dBQFGhdlW9A89YS21Jq9OJmxO/IAlpYFFrUHyo1Y2oaEg
HRDWYgFlIv8iEM0TjhI6j1pHTgjV7pAdSaOlw92YKCRW2RXLjteKZOeF2WhznuuU31ZgyGHZGWag
EZDaK4+h23OwMge22IDrWXhhNVXtsQHrkLLwZNmjqVclTWiAp59Vre2+SgCcR0ZKTkBKO3ziAbSf
PNdST4KcSYK2k7QdliDM1GydESwVrm1E1gVuxr5yFr2j+SQ3eoF1cjjNWjiD6SIscUqIW9Qn41en
YesFHyd2m4XeOlqyiKQ2qguMJwCNiZcrzEXb2mOyGgy+KUvSavSf0gZkoIdpKJcDd5jvpDL6J5Ss
+WfqLeIHiTz9S2/hTF4D0UyeLI6uD0ZYOs+KaXR3nu4SiuUlKeltaaWS0UgyHLy1Me4D0ISa60Zo
Djv1UfUluQU1JSiM5qACyeDKDc5hgVdp44INufJAExp1dk0G2y5w9PCzMFrtF6VY9yGmjTagvuzN
T5krwZxDlrboq7HHvo1DntzKKMfA2rKtJ80G5zpfSaCWrrcaVbX43ansDnesusC8OgH3cp3bsdms
ghpW56JlUmarvIGnezPBqL44XWVKHK6tFRPCE4RfCtgJ7Yr3qqn3g8QFcBhsH0akYsm1UiDU28aA
52oiBpwQNnSaxk+R1jrAvArXvFeVIiYtClh/sgh7FfGnmVg28QN2At/LaAbtlk0LBfsQjH+57AaF
VVtKHx8KVoLyf9g7j91Ilizb/spDz73gWkxdhGRQ64mDSWa6Vmbu5uLr34q+9YBb1Xho9LxrdFHM
ZAYZ4Wbn7LPPXlXIxln3e2FkQ7Qdxl1izDcbTIQnCGU/9kvVnraSQsLgwLsrZoYqvx1X4avgrpnC
Vtfb6bSMFsi3vLC6AeN7598Ju2OTR7cyjnSr6q1PG47dEFMMbV00tNZaxVXpqo9KXIPBTUl82mAx
v48WZWiPpANCJFhNs/rxmZOtZGMvyHKoYSS8CNsQ1zzeZnqk5YZByT9ea1FP1t+3ZLWDSEEPc9dl
Xq8bV1kduId2qKURXr1sFgda7XznW5rdjpvbf8+FqAYInFP1YDee9quzYK0ipbR2ExNzBRVgnAK2
dQwbI2+ETDxw4ATlk+WOy23DKc80i3qdS2Ear4GJrMVq4TbU+kmnG9noP4kQeMNTs1R7aBvBdCR7
sWUjrBVEIM/45+yLwflDTUh4ury3bYO0REuru4rI1CDFv7jwiVKRLNvaSghG183Q7Phohgt7JsA/
JsRznD3b9Op2KTWFGooeDY1xFOQVR7zLwSjTOPO8rNwJz83fCl24Py6hbSxXK8oewgsL88eevPnB
YUzohzngpiy0HeE+qNQjhRHzf3VNBSRuL7QAZXJJ+dTRobPNXOf+tvZk6XkZGIDBt5z3XMMNuWau
/0RAO4AFtNdny8ht56i1PSIMbVfgkaeQ9kXij8TSRRn25fNILE4RexaCv71W629HzKSljViaiKXM
8Rv7mUUYMUaYlsiR1IMYQKzcXc7cZt6RsjOmj4MjspljycFpZLpOevW6bpJMCCy9KoIGHBDNQGF9
0agVyP0sgWdiFhPqwZvX/LPRhhHX2GZffNORSW8Q8bWnludMmWfJ+is+Q/NWC2ZguukQkCRX8f98
mh2CMXwL3V+SkuP34kxKPW+O3gzAj23ZH4Z5bR5qp/P2HDJwnEoySjc2A1wkgNTMbexnnZ3+TnO9
eWTvEcYd5qgpHDO/IjJ53rgnLY7POZKF1rggdFfYG6Xm9cFua9jT3dmAPY0EQG+1UeJOwR9DDr0f
LalsqrjpFG/fGjSjcQkqm3wCgEUZMCGS1fEyTBuZZuuWOk9treoXeL6p3FVc+XakNDl+qLwkttOW
3tCcfVJEtkiMBRs/k1qdH9LOy6+xWJoCxZj3JGYTWf6i0A1ADco5a3fjOiL5qJ4VqgisCBg2koi8
d/D1yAGaSwqePjQOZZqiVk8chQ6d6G6avRFpalwYHG+fi79Ur/bYWiefXDvoBOa8PrJU46uoU3La
uwuB9aHRbwPlz6rWvYtgmh4sJUnYA3xkaaIxoqKi2NpbwtSSltLLuiz8ch6gahfloSeD8Ib7Ft4L
fZq85i53mjKtA7spV5KPo7rHfhPquSXm2CXIUd8ITpqr8Vdjd+qD5M/1seFDRaBsMJawC5epa+Ng
aEf3wPGaUvqthl5FOM2HM5OYVCMXSqI+pGvPblC52MuPgPrBhrUtl8uW8cMkvZTqw0JTBI9gZObP
smYVn+jF6nf9sKb8gq2R3fXVIc46kysEPEDrfzzWs+aYfHP7vTMdlSfaNfk1yoyudU5FuWCM1Ei/
ByPjVT70WnOQEMYGAZIOObsiehd4KDJisIxubPULQefa5LjsIuT6ekMGzsQnSqVOtUvblFiNjY3S
2BnK7DdilgfHwHHdMa5HbXl3gVLbe2/W0z9k+ppHB7IYmhfn0cd1GnHLVsxaHHkX5oTznbjH3DSX
10DwaMtaNiSy18Qz4+ey94XcoMukLnmTUV5fWxtzM+dHSxbQllb0pZ03+EseW4FyLziOAz+iIpRz
pIbVjkgqzn7lgsz7yO47042DHINHSGY13y4wauDmM8iO0DUb7X4y7W0Mh4wuJ6bpmf9sFSmpO5bc
tDrCIELe2NAG3gcZ58ZlnQf5KFVt3AP6GRkBmFVjh4ObBu9y4ujY9XL0yKxe2FkjYSBvNBb8Ju2d
fZWVdKKBAfhutvTmD1m62vNQ+vgst8kD1bJi+uM7OXVxLU0Nv4oC4GFLZFlQcyOvpIJLWIybFGnG
TnuCvVfnO+FM1NFNV6ySzskT10oQOkEk29xRFwHOdk6IFt2CaJzy4NM2RUs6UsOGJZeN1t1lIgu6
SAx+Qa64LnoC86seu+dU0GN2ZL5/jMIaWAceF7/bzaB2n8WYC7EzcjN7+U8B53+Nc/+BhPE3Leu/
GOeeyKjM/8/T9PPV/t09959/6y/3nOX8I7DZdkD59xg7ONeQvL/Mc6b1D5wvZK+RaMFchgnN381z
DGktYDJsJLMpdvWP/TPlkL+Ec5i0TOM6nWSa4/6PzHPEB/yLIMbDy2uwKUKu+5zX6cS/CWKt4bsd
iTWvGAvgxm+2L5hE+xIQcL3dTYp1TvYmr/OYYE5Ek0uiQH1zvxJUu5deYz5opGueAqsTIYZ2UKDX
In5Q9WHInWJf2NVXMzUgfwf76M3tPUxkwKZEoialSs1D0bXuYfLwFaSO9jtDN2Y7gUYF0sLd2DQP
3jAeq0J7JMy4ArFFw6I14x9TZG910d9lhnerzJpHT9AtGVpKatPg7DLNqe5hW5jPI55pzNG9tZw1
l3Wvvc9eU72rR3IFQr2DABJS/3dkNpTlZ0aXeFbjwBFQrMXJY1T0zGpVQZ6h8+HYNUJCYMjuu7XT
wkvAu6ubbDSNQ6MVoMWpsFmekj4XtO+uBtQYGKjo1+oAtUEcc2G2D5TQzheQmPywOWI8NKQQv5gT
a9LhgrR32xS9KWPepZzyQKaHpnb+lM3qnhpYPh+dbXFxVls27GaAkA49cTyN3vvUYnOx67YAaFLc
dlt+2uz0Pl3KW5/7Ns+coyemR600n8h4ShxHsW+AA6DrH3xPPbVB/rQALTaHYo2slvLJa+ZnXZVF
iD6iIYS5k7ODe7r+tF1wSQuOVDohTB6i9LPdslnE/iNDPZXT9BtwqENEdXAyOz1b2UXW+t7RQlc5
XHbEzcj0Y2kVSeRMX+udtgXb26IZZXFXFqbuS5a5BzybiUUfPHVJ2xbAS+VCjWMfNJYx4232nOWj
M8xh9cKWrQajO7QpRiyCUopqeJdC6G+16pzipl6bZn60Z3/OXhFsF2CQJDJt2g76K/ehLI06jQR4
BkKnV7lxqOaKyzrIbcG+9wDkhQ8OAZ6VTLwgR41rN8//PbvlpqIUjBH9w6i5z4ZYpmeJaPesejjI
Cg3ksGKZzxEh4EbShE7MmczpyV8mAuS3MTv7DnhnbRNVH22q9vYskym65LWrb+FuaSdwcP2rvnX2
ew1pHd9/WktwQvQXB0KknRmKIXMshNO1ILq4USNDZK9F6ApB7006AYQ44ms429xiBoniF60fcrJj
LFbzY4f1057IfSb4oc2Hfi/ZaT/4mgduzqbgCAe9VKQkW0DdC6MwotSeg9hkpYOmzMu3UwcAAtTx
4N5X2sIq3kxA+VPqNyDFLGOwQrNvyHmvDGOHnz44+sagkS+s0hLWz2aQO+h2nfzUtzSNZZCZn2Th
OedlnfXTYgR5khImdfQL1D8GV5eRuNeDGUzOsbMa8WDnjfE7G5fhgd+zvcsWJXb5OFVkQ888NAim
k7pH6CwTkFXrDOWgkUtsdWa7V97a365VVh4DtIsTSzjdu5qLat8VWfCHWRRk7LHvvvOh9XZLNfeA
k3iD5mwqY17heoYyyV6nY3eMatGm2w2UDYsi4GO9bTmUGZYsNPJ8il0YDPfNOsDrUrmMnVqNNz0y
WQy/Ud3mgZ0S8k3GpRwyjO2y8B6yYnPO2N58kvUo65NlNdado3w/IlMpIxF5tQ9Xt2C8gc8kE1Uj
YKFhNll4vUF1pJcxJa1J5rRPCDrx2l04trMZ6xLgjJyJ/zFbr/kFAkS76zme4mrl01upjOrc4FMZ
Sdvnw7PNV0BbnnnuCQKlBaCEU4tysCXCcmFHnni/qIJ3S+gQN0LaQUo1x9cUoEaUG+mRzctwJno7
2Xzju+z9jvAFp9zPLRkDhO/9mFX1ex20/NCC4yH4HcgqVu2brIcrtNk7FtE8ThmsoOOKDtfTQIXS
0YdwUkF7gVi9n8fW3AWVJOuzcwBndyiCaijdKGvJ5IuDxZgju0ivLEf+1jYX0aotWdKU9bk0twNT
uj8sU0Z4Ilmj0XqajJpl7MNg2vGc29bjhBM7sZ3yj29Kolj1exP6ctw5en1mIwO0ccrXG4EIIxHb
iLgozT0bqPzeHLp333kO2indyA5npqMToM3CPNy30jDCtS7aF56ukHcJ1sqAd6aCRTelzYM+cuCS
yTVEkMe/mBcgTog1jZmb/iKN4q2tls91c5/dND96FfE3q4CQ5+AqCV3LWOD7pPa5VvmapGY2wUYd
friT78mdM9GA5z5CZrwvth7JC4UmRGy6M2Du7XyPGAwHGkXiShTarqXvXm0bx473AKX+Ikz7uxNO
7BSyTDIojLusJOkCMvcxt8vbFJWPLEnnJWV0F9qF+J7n8Xe2yu7MLPlK9dLiAH2bbRvI7s1Fn4hp
y2cO/oYcr3DNVQFwhxvXdy45M1NDXZMVB/tbBlxsS35fZfrnNC0nPYdhuSg+cX09PW6af3KRDouR
YMzU3YDvILyGeisOS/+dWvLHHoBnOPKzp4aPV5CJRs9aFA5kOwZpda+y8ckaZy2aegHLvOgI3E8N
ItXT9t1b2PAea1RAFJto8Dq25bz2WfLuHBsSn2NiNaPRqV7wPdnsJWY7DGBmOBSNTAgw0SK3z1gY
9FvSyUuti8p2gq3c6hahlLWrhQ6q0Em5sJ28muNlMKcrY2yJeE1taPU+K/gBt0S9AfHhMG24ZzLI
x55X/Wy1d9QCbW8pd01mMQRJMBXNjpbhtaj8e96MXxioaX1t9xBoQ4qYZybKLS4ogG6IePRTFe5H
rWHbLPwnc7KBC+A7D6JggXRARfSeof+7I2iFbhYfjrTyN7MWXtgtznAYSqPnoRol0N96ftv8FcGO
w/7WYjWaLU1Q1EDLTo1XLH+KLlNx3g8mqI3MiuTaM1XjxXgBula3zZBTy6x6NuxhSniwbQhZ4hl/
5w0IpyUeZ6PfsQXu87cFg0dHTEd+fsZ8vuPTBdUntu5300i9k6rNiiysqBcQJRs7+T4zO4PlRmPi
ZOnZIopJ9eRsIwHmEzBamrAXR8iM+TWquthLoPVHWfk7gcDLtthaWWFliXxXpsbvOpcd8B5nt1rp
Gq2B94fpDGRRhw6a6S0/SIo84CrTeG5bYHW58j4L3xBhWgf+jS8rNxYYfxh89GPSD9c8QtrIWySm
9jLpwcWvYJawHXGvDHO5pNLIzuUKamrxjHtjKyWsAFV+6AXtpoGL+mjWFWDRaiJUxNDnyGuXN8LU
Z5DItPeS87hkHDUHf1aj0VF5PX0GMSYy+Y51kdyWIB8eA0N7CoJeS0C4QNPhd/akA5yB3zgtXgwD
tYyNelmf4dS1qMCeOd5POQmxFOMIMtfq1B2SlvsyGkeGHqT7MqkeCY1NN0M/TlOVxalZfGOo1Ak7
Xj+lVQ+3qaF599vAqAHt+pQ1KSR5Jm5R7SJcL6t91jKEZw9YNDzjl6m8Ph+sqp7r1jjOVX4sWo7D
qe7LJ+KYuqfN6j/qtmQvoTHayJqdFU6SsZ5xkFW7ynPno7eKX3pplHtbG9oDs84El0vE/KmDQk1M
rZ8ae2MZODpTtK6ya09uCj01cBVCxpc+qSfS0z9BWpbk05LjUpjhBnLc8bQLkddxsQX+Uc/z/ar1
QKQUg4DUGG/hUxYTYsOc74lI4Zk39CVWmpmDciBjElUxGXTgz3/4fsa2bwCHLO/Kh+YRVYWuFKp+
py+SYEMSdnYsDBUGubrN4k67oM88/ZKhBTg/Da2gc2I5m1AZyrj5+t23LV3WRM9gSVahKfjjAsio
jlKSNEraO6cZynNqiuUr3TyP3qsP9G7fLFsxhChkPmwy18rdZFnc+dI2CJZYAOqCcrokWZtsOWhh
EgRT74Gy5jSXvvvLnZgK7V0XyQJZqS+quQoFdQXNnpk5mhN7q4VIeMWzDM2x8/i0e7EnRIZMvQwr
l7jWW9Zo3lY2X+JzwKEG75z4HZY5XQbqhpn0LC+Dlqs3Oo2IkYOcblkE9YxIkiEcAJcsJ4g7m98E
OehGnEG6uPHGYptB7ARQqENS8KT7nDWGzW4Lb5f725jBUzZeQyxwWyBf9a57RSKtJAur55m7hkBu
xykbAjBr/3WcitSNprQa9twkCzzywv8yxkGkb8KeVLJ6KdnJ5fan2PwsBnPJgyGNl8mu7jpre0ci
zJiJQxrVp+mAibIPN08Mp2H2YjJpxtAduBWpf8jE8r2TNVd+qLGPzrhlfJ9MxnWi4t5YBLHDvVQx
UFcjbEbvzdap3wJmz7eL2rp93aJrC27QhBjLdL9WXhNPquUec4I3TxmHvDKsxG7BvkPMOLbwhzNw
I2Nz6AxAayrtnq2NKY9Dv84QiQfQtqa7qt66g2Zs2R7t/5W3+N7KUi6s/GCh+yNnuS95l9u7Jp2/
xLKciYMpQw6vu7W138mU6Pd5zpTat8o1NktUQXwdbyS7J3pB1712jopqOgmeNRVZonITzaJrUfZD
R5ZRbQ3vm9acjUa+W1756NfbzWC59/a0YasQXSJMOTPHKF7rDneI7afpqVMjBoaeuHjHa/5slvFQ
apQMZCTX8LMNKh0XqpXWo+wK9bIwAzqpwornZeDg7aCNmDaxP6y9TuschI1fioiAoBIEetAcVE9R
r9YR+uk63pkVgqfVcMkvZnkTIAB/0WjqySq0P3rd7Log01bqCf806T5VKZOmlh2F6dgSs2HYE3DE
bG13yEEkbQPiHNqbbaxoZov0yb8uP5PGNpxnqzoW5SDOm8rvnV5se/a/umid5X3G64Sc3a1hnweP
RQ2X2MtyYhG7TzE6X7k+LIeMxIcQn8FGH0S6uuVKGp7qkjNKj6scLKPylk9s76Ro6xVHaeW3YQ0F
6aFPidfvqt7YT0QwJHlj/YJj+GhbIFB1yJe8rjZhogE11XGaBwZL+bEWzRBhyJ4ivV1+6f365Vm9
FbfeWKLVeFf8tJlYWz+EZZPelps4YKE/b6S9csh5Ask5b27WDuHVz3HOdIvUTjyTb7lmooRf+8Z8
mcYoWAv6GqwvEXzFPzZN4c5aujfLXG8BSA6h2HAKt3adn0tLHNu8lOFULPvGUZg4PdFfxSkqBIIR
LcbALGE/+6rrYl5gENqG/BkzLBZOTSm28jnBq+ZQdagvkm/fCe5ooqb0SA5geDhL7UIh6oRFXl54
j971gQZUDLUfT8Ld4k1NjDyHJtvPgrVSq6mjjZecOGaN9QdMXqsxSxgWkupyNPSw0KwxwaGEEWvW
q8N61eVXwKPMJUo7DETTQ7jx5dEyjbtO0OX2bPXHqZ09Wmp4kxiNInCNLnjGYj0YPfCcwh4vtsXM
eTLBzJfAEVFx1IdpNXu8OQlL9xvQ6KqJ2nSYcCbUeVK39hBPRnHCHHcLDo5UPrV9MQgWcZdBCBPj
tCVwdmiLyd47WutCtVO5xEBBQRmbvIzU7Gp7D6PCpfWLJsyW/I5Hfl/TguXO9qZZJpPymq7U10i0
9dwScchpQkLHeInId0RTrBcmT+R/5ztsgvJaC2C5EXG5yCzU1vQurVo3mv38Rtfmj3KY3jRUoNRf
qNEc4zYoGEylkIsp6PbIgWE6k2tYEt+ud/m3Z8oTWLZDd23+zPGQrjB1+fzuhFmBFxcTeLQtA28o
TdpQ+aukcLYRBqONjqSR3ZHHCWi6m8dBAWYP6NVkoVCRt61DquqJT56sa/qd0f1goRliJtc7q/wD
RDCZJhUJn/K8hOLR2uOendij5vcnX7WhXPp3v2suc68dqrk7M6h48Z3skHrjk0N2dlhl80flpE9m
g6BBUYE2s+C0Yzhfnyw+galcdqAqmVIzoUU0MWLcaemlthpi6zcRZdu2hKmdvmZ9eyTbwGQg1g6R
UUKp2az5wSTynu4pze9yhy9mEB+HhQrdasmrygL00PZJSOIi2u1Jt63zWDMB7YLlEizzpdfXw9a6
D92oxT3FS46iF24I2SHWnYPdU62mm7wbqYkTIrZwy2QcN3X+poRzCiCytgvHgJQ+W6gB6gNJ/ZhG
4NuahfHTsJMVDhKQudtFLSG/AqeE6TUXzPFJkDm0+1v5yika+4u+s835J1cBTwaeQNB52Z2dim8l
3MQ3ppuxrH/0cSFx02WvSdeth8JUWWzQE0OtvRHVpk6Fp7/xbcn1XfwIZ2ac472ht+oSdseHbyvr
96TpnvKmv25IiL3VoTmXACB734HpyeiHJJOYAbf4mkYJi2przqoWn1a1zefWX+86UAih7dXARx2I
nYsDiMtaKaicXSPar6AVzz4Z4b2ZJ3gqlgQvHlFsyL2rUi9Z7TS7oWmbkKAPPZpYri789m717SSQ
pkE7DN7AG3/30tToqpgjgZmmKVPxaBc3m4HJNVVJM85IF8q/NUdV3cOTmx6Z6pIEiX10dcW+KzOs
ThvSUbAfXendWv1iqGdTEoIV4p7SgTjnpdPDKFhr/XvOkZiWptrWA87kGQFXL6nOctuIe6JogT/r
eq7up2Ew9q0DzNPu7dEDu1oj79jDUMrYXfR8foAAW4jjoHRvyPmdp32QLJ0jfiZyMfKb2WaPP6dc
ne8rdoTT2Mq3SqqwttjzRxwPAnUTmG5jfHZa9QsFInPPxMzk4mUZdVGGGV9ixqZb88hDTyLJtBeF
3+e/xVIQAwVOPDin0yCaJ2K1r1aYkeFDNa3DUZGi6RzwEiPcwMw0n+pSihNAjHZPHeqse2f09duh
0geXDfRxmwBQ+uTS0JTN1dn1u0p8ZeSl9mHX9a3Yldj6lv2U+xQJWPTFbVfXWR1B6HjGiEcL3Ips
zFEfiNcP0e6IB2TW5z5k0BnWA6q3HYQtzkPE01ZYDZqEwYnczLtxbDKi6a70QwhLXVWEnd6Thdq6
Rn6nZi8nyR1rIk5QS8qzMofMvK2JixK3otXBH1ezPWYxb3sBYITGbw7rqSESUGVT6+HBG7IG9zO2
n+PYFP589kYER6+dJE7GYQeTuCXOZLPKY9cb7dFfSkyhddXhoTUHjf8mYMxtmBasl2wtRTiYjlYl
zKWwfZC8rTWHOSuyLXFaY6B0mbw2HFnMn04sTTdUpO10lbH8tsQOzEcxytPWT18WUnQ/paLyi1Ym
1VaS93m+xJPGo8eLG72YNBcYQmqrdrUhBEIP7Yp5pyYsQjviXr3QJ1oxLlNz3esN902jtCa2GLEe
qmxr47QZm/sCtsGBJflL7kjeNjbs1MkwV/VQe9Ahp3ILeEAzUuhs61LA7T6lKwMsd6u/RMqedyq3
8QAbHUJx3ens6npvw3x9HLVtO6lqJoO26dWO2RbxRt7MKZsve8JqrL07VVDwygFhuVvSEAGaNjd1
KVC99aAsu4jSjDCcqRkedE0yVAHVRVKhtGO7oIlqPZ/th6GdOEAz3Lup2PF+MfQv8YIIDROSIbeM
rGNWPE99MPNpEl79cGUaYWzVxcGa5QvSsDwu+qBhfeTDd6RT0ENrwJhAaJXzRJi9PDcF0JLZE1dp
plUnqAvFITDNh1ybD6aoUJ1SvI+6MT12mX9jTuNJiQk8hXb1ajkYaM0ipay0ltdc2b8BHM+3Y54B
K8JUfqk14zUoujWx1VKGSAfpnsEosM8yAHxvsfuQVzpCYMUEpxfD3kUN6jKmLsGMUa1b5iGZOluP
EOZQa0YsE9PM7jTdQDSrOtgVILofPWMbHyZ9O7vT5IXLSAEzZVvK5bUOidtrNTmJc3Zg7CRfpe6W
u8zMiD5Px0uzOd/+nO5s0PKnGo1xVy/K3kvS375TpgVJCSQBAnzmRx5MT6xhqMVKphZeNIWbujXW
Y6MC78Zt7eJ+raBMO2s2HgtVv021nh4KPvAMBiW//wEnij71XB+lRQivSa5t7wGWm/pxjPDVQ0Ro
Ne7wnO3HGCefxGOJeFbwpt8yUNMfmsEyElGBL0Bu0nY23LU9+99a0unTHU7mDohwGnySw1ace0iY
1JTMUkCleLeaYgilAKJdUntZ42BjX5Al9/0gZZLVwGX7bXEjgoU4OfxmEKdBcsKo1KWVmsy7SYIl
D5acogAVx7eXRLi415qMgRxKDsZzXxSUfvq8F2adR6MHESjbTONxXV0MUUB/aYdxbe0dJjmxQX+7
G6rKkphuc5c5WtD84EZ7ZWWrpDrVcsZm3qM+TPZuIRkzdJbsk8A6HQ5ybxWRbfYf5tCsiScpHbo8
f02rbA3ZwLLjkl0Nsjw98HO0fs11nsH8k1nnPT4pcj9tp32mPLee23p2E5rF7EW5FpESxXfRGCww
qPalMaoXYkTbQ1e3n5VpZQ9W7dU3LPkBbRj1bVf35nSmZTHCaky3Sw57g6dER6HvKi8OMFvj8aBx
ha7XPyo3KOO5YWFTpHj3Q2de07cto2dtqobdIzWJh3aRG6iesvpqGSiHnVkFY+j5m2JO3ZhEWzvV
Pm2wRs9E3Lt6v+x8oqMje5w5oSqqDdwr2VeWr49AzRCRdM05lr2T7rqy+2lqfbohQuJPNTOCSLW0
u5cqJQO8yHcLskCDzfMVV3lDjBT458rDu1rOUnKCtMHxmi3OjiUms2Kdz5brLkg2NFJeZ7hJOlK2
zg3rutI2EsdTd3W2yAdDBDcKh1N8lcxoUKs3hKSMHMK5iup5tJ4AfTNR6Aa8gwvG6cZlcTCrY4fS
4+DYbNAMpmgSd9ow+Ov6nxraMk9+9yLW7dL7xREP+G/LNbEh9wPp5rLs3ovGhtiM2RKH1dTs3dJ3
b4dxvZdSY5CSVVfGrnKf7dQej2BpnPtuGmo8kOiXKsAhx5bEhHWgna1jaqVJWgLLlvl6aTLNO9YO
Dz+Zue47g0T+Gb00z3iob4TG+Vdk1+R0VZF5BWQ3Sl0AXkvbfWFVCLg63cU6jIO23aB+BveaZuhY
9AJ35xqacZGDne3c0SyPy1QCUavIMXjwM7TjQpnzKw/eGFXSnK+P8Xvfz/d6177yaXjJpSoRvr1f
JTJ6nM2Is6mwKGsFy49T1nyZmKge0eebWyqmmNni9ZfA6S/Wwd/jjE0PI9dyYqStftTsYIzbMWh+
jWv+WujG740daKr19Y2sy7kNSYIz92bnLofcx99bXzeMvSp9EY51rYrUgQxxf2+UpXvsCZyjBAoy
Auzk1Idprn7WDAnA3ZBoFl7pxSzYt7FRLem0aW04P0sDM38/PeCoy/aUdctu8bSPwt2yhIWu4tjz
VB+cvG2ZD8o03VNKeEceHytiYds5bKY73LRW9aWaOjvquONetHFFMM7XmFWK7VC6dPWbbPv9YhqE
9tuNvZuZTZwywlw43tgII/+dxxnfXNKRSpJ4XtHduql29pYyzn3vjM3wWfrTS2PaVeI7RKzq15gm
J/fOPCzFyShmTMMzWXV+OX3bU88MqcRZLBcGYdsokJEl485AVNnZ9P3YstMvFobnp3YObvBGf5AY
ktRWdsmsdgzxSxixExRYhNfZOacpUqup0cbyxADYO8jUcS5DS1UWjUj+Q1FWfy23/q8n7D8C9nj/
/9Tbvfj9+/v3391g1z//lxnMDP7BBUGaik8gLSEBVzPWP5m3wT8IVLiaktmM9/gj7ED+M0nNNv7h
4fm6JuZeE3Y8HYfW/zOD2f/wddKbWAd1iCchAe1/ZAb715AJj7h1l4hCn4qb8FCCFa67k3/bw5wx
orC9gWMnxUVwShd3uwvI5T1oSzBiDRPTre3N6qHPLG0/TlNxKPDa/Dcb8vycf9tN/us1kI4L9QXv
G16Kf7OjYdSZ8XqwxbZOnOXdpg+3nqGJc7/afvy39+X+r63jv0eX/bvz7frj8j9+WoNgO0x1//rj
Lo0mHUV/FQrG4fFoDjiT20Giuvw3/85/+b0GOhli1KW8WZx0/x69yB3vz77Oz0Qd7yTT1i0HqpKh
2Nejcm9nr0HpwwFf0kMxaBgjYFqudiRiZ/12nLW8CB7h5zRrhzW2/i9lZ7YbN5Jt0S8iwOAU5GuS
manUbI22XwjLsjnPU5BffxfVD9dKCUoU0F1odFWZySGmc/Ze22lrzkyL4z1ks1DiDNu2TaQDiyIq
too4xE0f0vLaAFpGMofjxGO5mUyiGKhT1j/wD9jbqpZlslU5h4Vt1PTTqywdue0UGvDNmGZd5TNh
JdRLZ2XP7ICGcMQy59QkHPfWsmu1IiW7fopRv7f6UlvnMtG62D/x1I4/BFzxAtkL7BV2VsYxbUSZ
Rh5KDRlwHKnfDrHtu3DUslO4juPPjXHIaISIaYKi0Dn8v/8GmmaYjETLIl/iPjrTImu6mIm39GcG
y6M3mu1WaPZM71CrSDGOhLiZXFJeE3zYm0z0GBdNCH69W1O/HfmYTnw6763YiDNRmeiOyfiHrigt
+2hEUp3sccHy8xYC4oMa2aKOC14fd01DFFCcp9rD10/9jWn0/wb9tyviGgYVwgOxbBzS7x+IKuBb
0fdG+UdY3aMoIHL6sb5ggKvy5neUWfVChWEsnqURUwkz3XF4YePuJFuEfLR25GTHlIW9sNiNWeHY
ft5aBBilOZ0BAPhop2ojm1Ffdl3sbfSaBvl/f2YW2FYpiTUA/HZMN8AjkfbZAgUSi8bjglQfFWqE
Bbe3rmrDe/36eX38fkjBAlUE8Q2/DKP8/ePSErjZiyk1ZBRmyOFosfZFmc83pRaaJ/jh1nv+ztur
gVlCGJJnQcxgOXh/rbgMM432awi8JqE2WeQ1sAhwt87WzoRGfch18PsRj0j1keDm6A8qU+9WRTO9
BlpWwkaJEunNTjla6h5EHGePnafkrYO91ebw1qDl1CkM2oFu5SbpC96cX0c4iQYaigkwQEty1vcJ
TxhvK9pS1mY0SSLdjgYZBuQ1dzquyAJqEifw0rjFsRJ6N/xN59u0zPaLspHabqxeq8+rsgXgS+It
E1XvVEu6niX0646PJD4bY1Dw+69f01uix9FnDV5LGtYKdAKgcPSeMtdrjMVpeU9xRdFJoFOE/GJw
JN242Joeyypvv0cF9Fx2nb2zhwZfxzQ9pXejMMElJMYO0fdkMNuXtvLC711ROrcO+rNb6YyUxFHr
Z8YuH6f5VS0RpYqmcbNTIJ91QTq+Cb4AIpZBuiMKXz/Gf9bnPm+zMbdRT1RllRY7KLnjhclxLIi8
LqH/FktOh47h7nsbdxQnKrXJba3lsI0uahnLlMSuaHTOdYN9qOnQpps0lp2g6DO2/18/8fWBfvit
JJxAumH+giTx/reGLiQZZ51YCaCaAnwkuW93Mt1+fZX3NId1SBirRh46uLRYV511yPzzROpEOeis
q8gXdSixOpTTXbu0EV7ISV4WdjGhgCv1oDYjU2Kictrbr68vjpf2tx9gs2djrmFYHtOMupZyYJzX
kU8XbH5pHBNxRlzP15YdR49VNOQlBTqaHPOEVcfXTE0lAWi24cTv+LhO8Atce521pfMRpi0b5POD
xVZGi5dhF3dpc2lXDf3xueRYqZfCObE6f3ZBh2mWHCIi09iZvn/wiryQ0SSZyzfmmKPfXDlnvdOQ
nKI4BaleFg9fP+iPnxPQDmY+AL8OafXHc1/PpxMPc48cNieXrxYEh3Vs6f7zR8tV2AraKAIwhq3M
4n8/p1x5XptP3FXcetZZN5Eoi0dDntjifnovjhSOabM5IAb5/VUm0D4u8MYIIEODZkHDbavpXOq/
PzFp2JTJgaowNo7uBebvOI5WEvkZtYPAapZwa/dRfmIAfnYv0pUWszgySp0DyLsnZkcFEUGrE1kS
aT5ubAy+Z1NPtMXXN8OJ6Wg2AarKmQRQFMGDpFG9v4xuqARfGy9moga1q0xl7mr+0X2WZs6BYT0/
gfUffJGV5okbfLuD9xPZCiM0Wd/ZicENO9qCMZOY9JyYyGbWga3eL9UD1ZgBfMhcbqvFm/0q62kU
90O5G5Cw5t4DGyGKx2FSnRh065x59FPAOr8Ff5JXII45OXSWuyS2hmR92PWvqKlozZiImOmdqxOo
0bdP/f21OLCsDCBjDUpiM/j+iTtJ1Cp9Rf9U6N6eGO0eHcAUX4TP6QGpsFMmk9wlk66vfraEWmWe
hpeFWVGHFhHK0Lqf5MosUfqdsrAAbbA52dquQG2YI5UYFiZFkucKrJFIYzfWOI8gU0SG17ob1p6/
aPWx9wfs6ZWfp56z7/TWPKM6RPbq11/Xx+eKDsy2DAu4KluD42QW1dYxNVWUINHI1rqMTOFrUT+c
LaZTnBiVH+dNthBYu2A+g2AwjvFDnBhyZYk+RO9V63+mau4vtZ4s+t7w/oIX6U/sez7eGYYzi5xY
zg/emkz9/i3SaC7MZeJy87y4KBBqRWetp1qmdUACTjzGI3jnuhpzU5zZWYeJtQAZ+/5qxShDi1pq
uMkNIEO1Lstzev/1+ULY9i5cSn035aZ8KnLXuBs6rz1QHNSDTNjZ4esX+nG6cIhF5Pgo2BUYUMnf
/xBzBONkNXy8cpzrZyOaun2Cmq7CKNagWh3McDnkuW5vSdK1T2zTPz7ydV4n5I25/ZNzazYTJ7g6
3CktZ5afQi7adEnb+LGmTj3w48mXCF6XDJuV2ge+7wPHDQdBnHVaSk2TiqEoaR6F0ohOfEJvS/m/
MwGHDZuToLUeRIljFUffUEqCp1HQTkY0VIyozKWH1DA0KRONMxZl5LRUPRENKHuhphvDWhrMUqNU
OyoyOKLU9XCTFw2YET3rPJxybdlcNn3mIZ2e1Ci/MRnYyBLsHBdAT3btM425Em9tS87QbQRhpt7l
VVH/N+4uRwG+DNpbFudEmGoske8/EniZtcAx1PipXLLrCPDMblaxBofLrk48w48vCnw8lDgO8IRT
Gu7R8pVaFsiPhZ6j1hX9mdI0L6hGkZ8Yf2/z//s3ZRIsjPibpXg9Jxy9qTmmjjPkwPzscmx+KPJL
6e64k5Zy5LOnmzG1C9fXvXG477uyYj4fMaigk4zRWuZoQ/y5RUefwbTbzbSFt3YXL5gzkuFPW/Qc
OMdKa9HfJT2IIGsq7EAri3ICmELnAHHgWneWKHVif1hS9LNfj+kPW22GMuUISgk6U4vNy3v/vjw4
gQta3xaXRvogYAr86qYBmdacyHOrs1iMlW3cqbpIHugZNJd0SM0TrMyP75Ehx8ILwXBNrZHG+58w
FLkc85Du6xSO+S6BWMkMskQn1ohPrsLGkDvkRa4XOtq5RWOfpuCIMK40sbmpcfAexnA8laBurd/3
+68FmSmOZIneiQQC++j7j+FuJQM8NL+QEEABTE30cXuZtfccM+tfsCDEVeuq7q7G2nFdppl6rJVj
0qKtPbrtbNXWXoXG1mjDajCdSZov9T4LJeqTxEGHfY6SWI928MmKn2E7Er4W50YybzzNXolLHNcf
qWiPfTAjt7rWgfB5m7FtwqskFv0zvdMo2UzhnHcgExSkhay1XD9RsxP5Hc37H2mXqP5gK11hHy6b
8aWozeU3uV1IRcVgYexoMZk85lEG+RexaXVivH1Y7yzQj6vsgS0DfyW68v3ngGqMY5BQq+i+m54b
WXh/h0TmZ0kTug9DYoLGQoKptl7ixS9hQUkFsY2EJDYsNLZODI+Pr3PdUUgW+vU0ytbt/Y+J18D5
tLShDhh3WbjxEUKMaK/Zt5660vGZl7WNxY0lgTHAofOYJ1zPcqSpmVPr8yp7uFzI08I4UNrUars2
lphC4xGhXyutckbLPzhp4OCGNW71ITIe/uttM6tiDuZsAIQTfePRngPcTBjO0gD7N4UlekObHgbf
ywR1x4mS4W8n7U7tWa7yOiA3wMDXHgtqYBZ1El+ZevJERwS3R19rw4mdwMfvg9+GLpeTJFMFSuKj
GasQKH0aLav8SFlq2Ik5CbcqdYe/dp1V+YGUR2ReFfoV2DDzXNgYZd1+2FqCtmE9eXiWv35Y/9vv
vR/z8G+ZU9bP1obkfXSYGYoBNGG0apKNFKaeES425UQvX8RO5ZOdbDlPuN/MMkSkBRkMnW1f9hj6
Mrqp4P30x36ojGerdNL7gtQBWCAQrvLBWPLAQ1nzLPROPVC5Ch9Qv8CzMVfwBooOkHnsr1cTNoYi
euidFt1WHQ3uDbZT9J2Ip1L33J6UfWXQCviZJUL7W5ht3qw+UoKmPYT+T/1cKSaeupSHDncxaavK
JVJutBTaLxd0AZLyyoSe5sV49GJ2T/RBvCJ9YYPjnoNpFzOoqgr4kaQu9icxmul+ITk63Fo6apPN
1NgV9idmle+TN0XLDvhM+bOxmW2oVAvkm8CbqX9DhJTjTjSz/RvUeM4ERsQY8W0UGJ1dac9wn9C+
kbnRV2hT/Q7p43SpRtwsQMpn+ydCUCJkbScunyx6GsxTkaOP5x455wCujGlKNim+7hpvOHC4sxT0
CNqAMWs9vzCoHgShLb3HriwJNEnStL5DjNw+hkOEVmyhY9duOJyyvajCIbvOVNI/mSwgdTAixP0D
kaf/idY+vazCjgT1SB/cOHCKpfwNVa3cojQmFMmK2lXSgM8G83natBeeuXIGmqrS/jS91ii/Tcrl
SSMl3diYcG+MQ2cb9EMyLMzhxuhyN9n1I5HGaIEn+VLZMH2JGPW+2XKYpq07M/NTMx6GX73g+9lU
Ak+lb/Zt/gtGSg0OMCVOo8yKDjrioPfXlJfK7zEO/GeIetkAXbIVSK8Hung7lIwGp39Hq5A/mhSa
LypsQciIiE+9qtrCU4FSBpw3MF0j6umhKK69oumAJpYg+7d6Xg3t9UCM1BzgtsNGheA8LQNb4jbf
pG7TID8OO25VdxYPelPVxDpoTo+VpegG+adabI36eGVMBcXZrEVz7QyOg32ecvwNIhFJ0w5NtdyP
bgl+Xs0aq6TdtBmkMvoFQZOlaFR7tApiI3WA02zDMnPcwfcyDoXy2vXhlcsWFXWPitDWF7CWM4iG
wCpRdGqVZ6HDLDKJ8qEI+4c60fDxG0Uaf6/w3Ep/WpbxZxHmres7UjXxbgACdQX3zzQuwyWNH0cD
OszTMEIm8m2zntItAKqh85siw7tlxi5KwlzWKT1Sm9M4ujtB7WPEutBeUP2uH5MEBYIPPAjrUrEY
NQLJmMM8+7P5jxpRQCBJM/K9LKfxAdVd22HDZuPPzynKH/0osBv2SnaXkevWbA/GQjuIxJY/8ige
vqvaNdFnsv/S6W2k4HscVGDIPBcveyDZx7EushkdzKbu3fJynGoPFF/GPtRPUubezWxZRCb2nb4S
NlBU/ECNjcRQ1uN8mygLeZkOJsM6r+vcwNaAl6e/0CPgGQ0iaXOHJhwtZ4ZG5y4x3LA6INhXTsAI
9swLD8RQhR/aRVETtpzGg6brEVBrGUjWQuX1tOscBbkIktXYBjQWqqs5V/RM1JR6M2dxtLZBkob6
3hP4lXZk2Eyz77pz/KqiBg0LalcQ2E4jz53S0y4Nk/IhvrawfuGktYaioDS4zSNkQQE9ILbImVsY
v4kStNAA15rmIixmZ7IR9GuuCPx2t3M2KthATAOotOu4VPQ+yzTcDa6Ma1yOfSiw24y4T3S9SB77
3rDiwC4xqeFuMvFMMIXj/DO9vsnhJiocKDN0vQJzNxqHwOqzstlBdVzppEZj0m2uh+418fQIHZQx
me2mK5xeP1OreHrbmDYqzKWZ/+QlQKWd7Hvzu4WWCGtRZLJ4IJDxUr9ThldsyUXvgrxqlzEoirnS
mRlRIuPfSEaIKB38mNvSbeOXQebudIlZvhjOkGkjfbX7ia5P4nGQRQ6dDmGQDjq5cDrLLnS+ZPm7
VM50j1CGYy1uRtSxyqFnJeYliDR3P6ZDc7+QXrDDeXpFXcreEJR7IQGqApbVrwuVbDUZvWCYfCls
bV9G9JCAgwYFwx2AmtrWlrYpsuEBtMmt6ktMSHwzdCw3S3mTNBhcrezAGXKLofMPHO4decEHG8og
bHv8A8516Og0Mr08cEURFHzLro3bwlHeXsbOfdoUzx2Lu1V3F7MI0/sqTa6nebywnfwlRW1ot9XV
In5Uw0MWFVvX/C3AbBZCHiz+BEJ1IOPE26Qwd6yshBIk0GITqxU8VYSciwmHMoZ6oqDThubPKGbl
Kmvq2HWo3wxo+AGPiXi4I0+TvTcFC3VG5+GCuir/rNkwr9nACvNOL25BnapAb5p9IruHYSx22EUD
kCnVVTgh45Mxb0nKb5bKDz0AZe6wuO/b9pn9xkOnYZhz+3j6qRPceabPck9O208ntrdN52ElsbFb
tHemUTzaGqqvBDNQ1ht3bh19Sx15QPzmRlemjblpEA6GP1a6C74yzNoTjp3oHPveQwichwZl/yjq
6MqKYWOmalr25hJDpDEJyk6m+6IT+2nUxKa2sPPp5mPYpb9EW/oN4JIAd+ceDscupOWz4TCzk8L8
rjTjVsRU4mJ6NXqlg3vtA8+D8o+LhGq2FkhuE8f0QgpQFd+b8bCJU9cMNMSdpKEu20bLI37GrVPY
30cxPWvNd3OCDaelv9M+f+1C3N+qK6+MVF2iB916U8x+qCDCRg0+aupDGgnzp5vw4hU+L1Ob1Dk0
2SAKgZwsHNHAdE6G/lrxAW1BQL0m5s+Jrj1+65spsp9zxtNmcJJgcfSzaLCbu0mQtkh5y6kixvq0
1d3q1RJY2RS64zLa2w2UATNKKRT07Q9Dw11fJdltnrRnlc1XkUa6ry/DCwP/pnLn/IDrGEC1ZIpr
KnU3tNPKve1/Z0M2ImfW0gx+ctGySVKy9YFXXE19rV8S7ih3LMzuc8ynYx30yb5CWHEGr+BMD9FQ
unV7mY20naV72aDNhibZ41IwtWsnzRYWbJPGaqLOAAr1+7jLXjnywnUv2j+pUTxMrvgh21j5Xfdr
HB2t3nR1LfUDIQmctuze0hEjVlV4mRW2enJKU/tpoBd5LYw8mtHcyRlSBXsQsnm7FL0A3E7vm+fW
uPdtjorsIdlgeUHfzc2dwrPvHbo+xvQJyWbGKojHp/OdtoKQGXd5YvqZ0S/f06UQIajTOSmDEddM
hxt4zK6l2zgYQxpKabm5ri2dEVX8PDhgfzy8/IgH02oa0RJW+r5PI4v2Ra2JwOpEchN6NjzwglER
rzpoDRezu4qS0BJmLzjNjRddf+NAm91ibV1k7JTtq7Rlu1kL6FBzGQsN17bZjJwsiuZ81t0Ql/rS
YgCjCDwxR7r4G/BnmuJXoVvlN7zF6s5ypjHdZfBFAbmWKZ4kkWchMItu5UY0reu+xkMa/+ytMeTb
hV/7TY4MrqAhrj7xWzebmL56zfan2pxh/1ITOu9LBTwwNJcyD4C+s23M4h5LUCJB2LA/hmjtQ8in
/GG1TVP4isXlDiPuZmEdjH1d87rtghxbbKCza2jtwUwjBpoGO/GFtVIEbSXa33VnKf6RwnXuPJss
iA3aB6fHAobidVPPFaptOdZgfeKpnggYcVzxdw4tHDyT0Y72JmryESqO5skhMCeT0psmJ3a3k5EV
M3NuDvagobwCKluM5p2Zo/+4bphgM19njya3NKki/KltIgJTnzpQxoAg/8JM5fUhZ46erdG1zY0t
8/hFeJqot07Wt09aL8bLau4gFqOEmmlG4oPitpdO7zed0aVX0i1Y2p20BwORRXKJcV5EWMYne4oa
oOdNsXok6+4WLojXbBMllsc8RSIVoMQInyQGvhcbVr0BmLMUvwy4uvzPQa9vLIrkV9lsCqLyxqVY
wWdAcP2kWdt8cQlybsdmc4zOq6bw5sAdIrA7FojcGG28qV9SC+ndM0oeGS5Hx0vuskkUFxCWq2eZ
1eM1XGxuftZ6nvKKHV5ry9Pkgu/R3Rzph7bK5hYaVTaZVuwzstD4yeRteH4oFlZ2FzIsC4++8P9A
X/UgeYd1dEiLMfkeqdIcAy1NMOu6hYO4Thnm8KJbUXWL48xkYFs5MRJGWjxBmcdjTuIavV7UNzaa
DHw79Eii0v2eEsaM4mSG9+3nZT0dOhObEDskvbhIeieBL0whCyVvGibfNNyZXkBFjC5u4gzpTehM
q+EyRYN8ZgN0uMYT5kabqS2nF84ZCQoXc+n7HdHT1ZXAW9dsTBIDXmr+he9OZoIL0BsXu2pD433w
66Jy2UN0gIIlT7u/FWFe/lo8ogs2+NKNX5UTVlcIkwaBqUqjnqax8f6tsXH+lohi4WQgsUDsiw5r
Cecll8oY2856wCxkxDzRiaPYrl8GnA2tRcb0TgPH2288xDYgfJfRts+iGkHjrWnVbR3ghhp+U5zR
+8AtTO/eiQAI8seOP3JRcZQHHTrfxx7b3KDnIAl4r2v6v6IpoQtXaQf/0gFINXfr3JRSNOAQVFux
s6FS5I1X6dTHZ21bxvku0ueo3raVxY7WCTOaHEQlUPaYZwg2wZRYmtoAkYJ+5XoieRZRnD+HeAKZ
NaTi782g1ehqOcVNq8HIYfTnbCi1OsKYXlIqkJu6WFoMTX0xXSatFuMBml3DhjnGkd03I8V4GdkG
HNyIQw1HibpEKdUs+uskdfgZ8JHa56q2qp6aWy5133EGOH9ZCPhXaVPvBjLlA9hEmlIiyIzC2RfS
vkg7vPnEHKUxoq1Su9A5pdLtsN0rHB1ASzjKDr9JfIBcVwobRhOfYHfRYf7AajVoQ8QnnzLAWxPC
LneSqt9uOcNhdsspZGebgY1kR6t1W2GF7LKixVasKrEd385zGT3A3+0eqw7WPiLOYrJA+uEc95u0
Z+H2FPWOoMfE3e9iB9ilPwnlHfjmMrVxCoUNH7vHjJkFArrY25Wrn4serWigOgnsKwWc3wXT4kW3
kJgq3NfprNGT6rPZ23SjzVmk86oRFwExWxeIIEyiBwoOI0Edj/JKt1It2grRyB9N6ZT46xxX/zUz
nxm7sW71HwPRTH/w+dUvYRRa3YGAF3nVT04sN5jBwm9znHjGPp/b/l5jJ9GAuUj4xMIWhEqQWjJq
9hyi1wqXqad/ANcKPoYYzGIwdVSfNmA/h5eciQutWF7NCXlwDf7lLho6nf3E0O/NfGx1f+qWoQP/
PyzzljJqjfNegwfG4lWmOK+FpZ/PLF0tQzlaun0jsyUAkxbd9NS8qy3pD2xu4mg08XlR7gf41LB+
BdUQRbd2W/MxOB010U3mJVij0hnz8AbGCwasuBX596If7Fehs8iwPg348QcTy46mUcZWxpIsewt/
9k8oA4W5lWossIVpS3NGsHb2m/qjc2WqrL+uOodvKmNP7FBobKdfAJmbqzHyKDIhMHxTB4Ab+I9C
G5YY2kWS+HEaffQgjtpuRorvOUyhFmHYT+EGTeCW0vaEUuJDt4aLQERyLSKM4L7a69//R4IG3Z+e
csnplKNnsm1zHlRWVPGJjvZbl/Vd5ZYRQOStTaMBl4B7LLQxNDNuKfXUfptGNTGzjmQl6KznUlGJ
MuJcXNSpZ96YJWVtau3lVsuLB2NQ1AnYHeNO9aDHdR1HPYtN1dd15eOWt/X22xwyozwOTKR7vX8E
eJXcsmA7DIiB8pVRAtKyq/CudFO1/fpKbwnKx4/BRp/oGi5OCu84khW9RGpA7q+ZPqY+38xdK/8S
SMvOpahSpCRjFdjrBq9KnX7nSHOlJ2fRj0W4OnADIrih3/f6ZRfh0xnWwAS316l3pRQdqtYIH0/8
3PXOj38ux1q05SZCc1qyR0+GznguIJL6GvBKzJxQqCT2zJ1qO+MwJDEAy1xLgpQJ59zhx2/ZTAzn
iR4+e0XkBRnblztKVBEHG1O/cjFVkj5QAIitatfd5Eqcytb85GtGZ87XQ74YnfFjiSm7wlITM6oc
S/OaP12Zey9xLfoTvdxPrmI4kI3p6GLM/6Dm002wJmnSAdTrw+SSwm4fYFoYd18//Q+iX8Y/zSHa
HYheJS9hlYn8MzQ5eHgVNixYhRlBBLVreDgv5/bVLmDLIEX3rkoFpWkBoQQkuHKuMDZzrCyMwoLK
JcAeOpAkgkwJstn1Xq6gcm25oOgXn+fYv/cdZLp7y5mnbcTmNfj6538cVfx6GysOwh38QMefelIZ
0IR1HM4YGi1eeIzzOqxi2gnkZH19qWNV0jqAOfy5Jr1g/vPWKv7nQdVTLqZ+wvdRL4RRwkSNfODi
jGfD+V0NenJqFK8T79GwsHQUV3iN0I4Si/P+xQy6xmFeqMon+GG8Tlmct5VlNThB7faAUMfe4RDV
7yZpAItJyGQx5dju6U8Xt//5xhFL4DGR5MGh4D8an7qYCyJGuYothv6PlnYhdpepxFHp5ZTdS+eE
EOTjO7VQltKopNhD8/RYr6xCnTSXmfOTN7TljWN1JcSsUYK4yNIT69Jnl2K1WKfm9dUea05cLaau
MFGYpoxNYjeEZZygIXVwYFOed2KofRzQHGh5jDqRvA4x1kdaAsuGAGWyMGGMwT7ltoUVxAXLwNdv
601refTdrCh1HasO3ULzuOFeZRixUzNBR6P60IZ4YIfPLqKzcGuMJYSeAS4lkBjLUR0oRQBQG2Ej
CtnAXUJ0KDMFdzyvx+baWKiVQ1krnBtjdp2HsUsJg1lj/0Az4rd5WkbdmU7Mep+8EYxgBnIB3j3C
yqOHpNVJQvEihnoATSgwlNKuk1KUlyBInaevn9THAc0f76J+Y8eAW8BY39c/A7oZw1bM7kIs2ZSN
EOiy5aCJoj40Jv1I2HLpibnqs+u97baY1lnnHOP99dKwCuuBMyDMvNneT0MEtJNu6BaCmnuTLNiI
TsxYHxdWm2WD7jqbLkRB1tEMMvZikqJjncpRanMKMML71HCbK9kKuc+6jLLaEPX3s3AX6qZllp/q
7X+UxTmIdFD52TCqDA/L4vtbtjiBgxwEDeb0ZfEap8K7AClJmEXUaLYVRHM2Qd3OVQvJBU7fa+tF
VndZ1C5me5NhGPt2FIFvLLTafSbHsYTmHbYdRc9C0hJx9QreQ11A9aQCbNEiCNsckFUSoxPoyBGu
t5Vrdc6BdidZP/bcZD9MNhMSbmU2q6ssCSlT0623KLEmdat8GfYu1/BSHeQnUREJynDVX8W9bKwt
JBJ5L4Zlpc8MIxEiJqhG/YK973pARa1EBJWhUyNE7BA9DYNn/F1Iif2WprH13EGeH4lVSjvSIJcO
ziKotDNkIQqiDZzHBu5v4fzByykIEzRd1QQWh2DveWxJ2fNTo7elD5rSNgIFRbmhNT4lP3qjbH5Q
/ehviSvKgerYTv9E8BZFWah9NcJhSn7GruoQhl0u5syuz4gsnExsuEQchKXde34OBPB7m2SIUgEa
y5TaFkfus4nqsoaBLx40P1nG/tDVrvdqyba6i2bkXwQKlcsPlaL+32j9UoodQHEKooYEAItTckwo
mHOa3MwurW/4q3XzrAtrejTImNFoBKf0HJvRESQ9ImUYNxNKmWjTKm1l7WldzusoE3G9cvvDFa6l
ogABeQ5IbYjLe4IO0GKBFg8vubv0rx6n6LRSaYxd0A1W8leD+nJAZr+GXsFae0gjc8F9DlzgAnRI
t4Y/0k5tQ4uGS+81FgGepcxfRAclL+nt8eHr6ebj9A8jkQVU6CiAcSIfjcZGGYlXJACSbVt1W1r7
xtaZcJN9fZVPJhmOQIx3dg3EXxzvTeuwrC0+UWB8SWlfm1MaBaUBayQydfoXJs/96+t9kP7jb8G+
xBV5zVxWHM2iU1TpsWuxDxIBKIQz+3u+K/bh2fI3P5/AWBcn7u+T5Y3r8fQwurgMWvdoFq3SchyM
oaz94Ofh7s/d4bDfbP2zaRN8mzYndgcf39j7Sx2tRbSeCr0FneSr7lmtoZneKVG9+OR1vbubo6dH
AlIS6uvdXOwedtzKfr//e3/x7cSNvK357/cE650gCsUbD4jLOjp8VpMedQyd2m+23aO6bPz5djyz
L/Kd8tFi+F2g9kg1yFDfkAF4q+28H19/JR9Xda6NXZuDDD/hgwWNukaLV7qGKkMVD5746B48cL+7
tl/cE/f68aX97xLE37H7+eAjr8MBGnNDONfcGNEzOC59Zaf8V88AOzmd/3IWdlb33rFzDzAODc65
hbQJKvWhiUr7brZSmoEZXJKvn91HTS/Xckki93h8WNeOnfGLMylrJsoODrBDNiFSE78d6QU06Ddy
+jZ69DMvtClIMVXs0tKAxZoYtXP19c/47BXiNLcYeWxerbeiwz+7JXpfFNx5kVSrRb+lUzcdrLQE
Ch3rJ/b/n73BNWrnzWFtc+h4v2nAf5VWTsIyBFh0OqDvXbAqgjL/+n7Eemx5PyYQQrp48wgKhzhw
vE9GJeMaI3gyn4VkHPYSWlCxWWrKdRtTGcXWGOb2qeqzSHA0LvQfSa2790VRx/cqcpdnK2q8VyI/
oHTG+SrqsOlJ9WROT94uqhpwU1//3k+eikDqzCHM1ingHpvwu5TWExqetYTWUZNdnZKyqpsTz/6z
h4KqUwqMKbzsY1PIoANomWnJ0OIei8vQIesgNsduC7MhfWz5PGHA96o78W19dm8O6n+WLGoQbBnf
v3G3kZqXm5QH7ZgcE6+RNfStsDhxb58NpLXQ4eHJpBrpHC8dichpbplRRu6AlQLOVRn5Y5EFKRse
FyhGjvJ1bID/iwr8WdWCPhdI/njhkcnbnRjVnwwnA0suOh/PY2d4fBjQkqwTbzpgDppp4BoUYJF3
znuXOMfg6y/nk9mf8hFzCLpp9h5kX79/vJE3Fgg8kXlJzLGBl8/xy8yWqSVSzdMPVOgT0hng1kIF
VWB5kzYYcQZhwQCvQ+cQ9o5LiF9P9cWv0VYlG0EY/CU+edSSANWDvmj7c/jXGsVT1ZGmRwfl61v4
5GlRG8RXyLaSmuabiPifycdEY6oEIdq+0Um5K1sEhwijgOOzA/z6Sp99JMiRGWSU+LBTvq3Y/14K
DZTNdp/Z1lw4qy8juix80/WNRsnnWzpakFeXuCWnanEOyMxpM2qld/31r3g7ex5NTmvdjzMwsy3l
kKNXVjsKwY3L8UP1GVlLM4raK7uaLdTjYVcHmhv/bVVsbqMo0/eaMSXfmB2s1zVZchWdCP7SEJRe
FfiAq9w6tNCbSIE2pmYfjiZrMJIQBehP0llO8zzZjvoq74OF/6RmUZ54qJ/MKqaLecKlbcbqvMbF
/XvSDkWDQVjMfOKVOT/R5nDvaVkCCaf6vRX65D1CRIhPPMNPvhksysJFjM0S/cEOm1c9iuOJZRMS
B7KNQaSX3bCG17uxfuKgy5n642JCD4XOgwuMhH3B+mP++WroPGcx1FeiBRvkNRtbjKTXxDHHmTHN
UZvpY0VDvbN0tG1ovrOHJPs/zs5sN24kW9evctD3xOY8HOzuCzIzpdRsjbZvCNmSOc8MTk9/Prob
B05mIrm9q4AqFFxSkMGIFSvW+ofJwZVAq77kYeOAD9DwYhHSTS3yCNG6CDvZTY7TxfNkzqBEo0Xe
z0XvKhFbrIdS7HfAR+hY9RSacRUojvWuJoXyXpqT9qOAoJNtEedCXRCQO94RuWHCO/ZpOMIsazA3
FUohA1QbhuxljLKMxKwsNNOFXCw9tKHSx56CT/Ad5FYTp6rcukbxHL/5yZeHu6SagOt3dqXcgQ4P
2o3eqVLoWW1VfgpTIJE4ZGoBvnq0UED0dczv3FLE5rNoDeWtC5Bz1kCL471eWuX4KFl27u+Ql1fF
xsoq6artSzqSNAziK8cJ0a/W6fc+pnJg6i70fQyK6rBHDZvyp2TcFwmqIttAb9Ep7owAnAmknSua
c6Awq2CsbkNKStUGIE7pb8bRbthNdt87qADIPPVcd7FhwmiShVh/BrTPyQBOeSQOIPdMJ6djY6j4
IbkyoG9/dv+JMPI00EBuxgYzCKfpxzth4o6yGxEUq5B0NSukMNIA4WU/C8YNPen63SwyZDRqTp94
a6Xww1wTqTrZdfJhUjdw1Osb8FK2hGFFLYdu5udt6QmkKqOdlOoAXFhd5WzxWXaDZw/t1F6g4QCu
EGz7VGwUmgVXvZP5aLGVdveCIAtYK4k2WbXph7hEXM+3spts6NCsymgLuwmF1Q9KBNPkVY2MQWfS
muFtJyITAzxIY7dphRXCRQMyCwTcIIOJBpFqf4YUWvi2vNqNVcpqudXx52WtDkljgFvsOjCTQ4UK
5IBVFUgGvRz0LRr69geFoiG5qtWxVj1sQAFsiBJhQKDkg7G1pX76Vg6BGLxWxnVsE9EVAjuQk/S6
YR6BoFUH4JpgDGyKGL3hBPdyOyJBH+q+lsOSRHMPkXGamEh1mulPIgoFtqpI8tl/ap7qwlS69gIV
wjbb4rI2lLvZ/BTt07KpqksfNpkNELtpYo8mczXtMrPXS2oCRWfis6FGVGsaBeG/zg7BrrMQMY/D
4lG7njpJbzeVnIzf61rxuytDLVvhSYmZWlvxuzWUowuPwYXmhLCaq1ynxlSnjuFVIdLHF2M31OYl
rqtFeWeLHMikA6w6vkywjwDdUkqWuknqyEKdvETGcxuwfcdtXNv9U2AVATYgHQVuN8LM/KYAUv+G
z3X5HsKqqdE0DNA9gfhUyRvwoKWylQJTaPeOSBDXigY1gDsRBR9RK+fP/ey6tbEaxShu9KYnUNay
YLHEJlWerd3pAgx37fs/9HFsXxsrQX6czWR9VqROEN26Bu/bHGjqTa9Ehfytw8NWdhWZzh6EAt/5
Bo7RB9DTxQ8G+JoXiUz7Mcx6agZynxgzmBTTdAlDC3AWRqtcxSKrUfyTzeADzzPxAiyieD1/1p6o
YEA7ghZGVmggGKTN2ekfsRtoE6X5pk+9rqtj+RECVFZ6jVCUAoiL4cMykILwoae3/U0KNfNK6uAA
XzhcALYl9BAy8mCKVg6v32WTwwRgbkhYFkFc5sq31EwpQlvUA7pWQDga/WWkrQ2yw5CNa7PIMZNv
Ml3/2WP8owFC6TgazEBJHVSCe7AjQtaydyOUx6+6GWlI/2PN9X5+0k5UdhHgm8swKHTMd7VF2xA6
5GgpHTheJTHi/IYyK3CwplEgrKQwn5pNYtndh2/7FkrWY9Mi+e/b6TYvJaP12ljr3qEK1Q9d1yC2
Si9+zDml2hJWqjJh5YHjQAZJD/ts16oqqbqQnDDZm7Zv4zJcVoDYK1GVzUqmfOIewrtAlIPHTQdl
+VKG3oZGNlGmgK9heymXgbtMkpOP83P3e0Etvi2IC91g5rjaQ0Q8XHCmjXDzhKirhxTUdtrgxeWl
t9oeiZgNpiC76ta5Uy6kx+QSJdAdolE756LYpVtlW+yMLVQjN78dL+0taJa1VXecM/HWfzzZYivU
pSXqQOHJEtdy080ncnnbT1BN7lOyizZQu1YSwxPsv8MBF3lTQeupj+YBM/fHo7v/5m2/fDk/22uv
tMg9ozEAPTowgmS1rlrdoC4PuGp3fpDjhYMoBr0dcxaFJDVYvIbS4lw+6iRuJc3orVV1nC2as8aV
PPEq3Py5NVJudeh7L14lbgBMhuhFeYmU1nujNeSdGQ/ZQ1Pi0nL+hY5bR6hMEnjQiDNQx1jWYBIj
h2GBzg8Q6gKQWVDT4Sg7s/jR+xNeu90ArQjRjOa5kuqgvzTiQFpbGseXBlSaDPqABoVeE/L14S7J
J4zFYUpCWk0SmvlJm2i3ud90HzVObg9k1aXvdZnqCC7OY/kTE64yQmmw1HEJG7BsTxoNf4jesaW9
oSTiMcSOK3ftCn1AL4ceoW/PT9mJm6PFU9JOROHH5jxZLAJKf5UYHPp76YyZQd5verK1THiVlSdP
TYd9CvKkys8pmaLvuGnGO/hFarayEk/tqFmEx+ESq4FXMBa1FFEixROgJUORo3dQ1hXUohBlFiSV
qUbu5YXdhNVPPFbOF3vMMFaM0CXvtxnFpPdmypMfK9Oy1Bmh1w0QCSIt105i3lJepUuR+Uvo+nlG
3SLTWbaI2SObeh2o+nCFSru1V+xK3iKoPj60cTi8gLuBnqMk0j2Wvf6mp5SzpYc7XnKfSnaO4psX
dLb125Z2/cqyn3fQIjLPMoUAtNhjiCjMa/KPVEBGH2ykfMyziijYCSx9UeGR0IkWRA1/rJuVyTkR
NxxUWKh4OXQH+fqH43Wij63MH1LPpDd0B2q3vEROe1iB+J1amY411w4RJgGhuex0TzhTODFGgl4U
pZR4/KFBm0AJDAnw6iBh2aizK3JUtFvIZKnc5aNr0If/FkyyuXLEHM+wLc9lc4CGaETQNTp848nC
QtGxKTC2whFfI6Wwt03ajq/GZGhXIDWjl/PL7wS+iRQKZBkm8SDhCCiHAzoCZ1YQ3rGX13bj77jg
0qJsE0n+Fdv9hI1M7Zg/Ta3MVa6Pbf1gwFv4ZSZZDa3LFLSKLa3Qb1F86Gu6wxqKIBNwUXKdYmZg
gd6p3oO0Dr7o02j9qHtTHrYCqu9qF+A4+PMeKKPMmmtI2Sz3deXXhVZjAepZKKl/pg1iCkRo5UsV
Uymo8HG7Jd+ooDro2NnERrz3bavfaCkkV5yhpOxhUtLxEt0mCkSTb61UcE8sMZJB6mZ8VhYyAlyH
04xhiYPfA93NJinAqGp+KHW3YxEMLeoqlvYrGqXmsRE4jdfUVUHB15J664x1MaycGyfmSaWKPEPz
EDXi/Dp8kEaVm3gY8fZpB8e4bKFcwcRq9Ws6CGuQzhMtBOB5QGeRRwahdQTRUjXU+pUa1cZmis2d
PNjtVT6Z6ZOBvMeTgs6McNn+wQWHgkB1XmnuU80IrhvFLC+tvO72gHLzO2wIHFxnq2IvSfF0qXD7
Slbqp8cxmDIYxXXaSDJp+7IC3IZAFFpUMb1R6+Vv2oBhJVIi7XURo61lNRLmeHFX7oGt6mviwcfH
OEPP0A+bdJ0u1uKiIPDcqCetAGVj1d1IIEcaZ5cMCQUUAl9Rbio7wkpIDqJrP0bC3RVW5fzo4q5/
ceSukbcdkGobSlve3GAQmOebqcHnE7uLEQSGGdSKtnIIHAdlMG4WxVcaWgaCXYsQZTXdNIVESjwV
7PSGWkawMZV6/F98EtsEukiNGGWFZQfRqbioiw5ykh0U3RMmFRBwOZg+BpKXh7apBq7EftO6OZnY
ikLPb6TZ4TFncxKb9OtYCwSJ5QUE1Hsq9Xbi+Q4KbgZKQNeNGXdeCxnrF/jCeDs4hT/s4CSP96kD
Is6Nfa16gcdgXmDm7H/BEQ3TxvOh+tRjgR/AttRB9Y3+zGLiA9Wp6TIWqVcqbYwbNRygp2KiymIl
jgZ+W41/6PXsEZGpBLE6V55FIifDFsUma+9XWQklL2jWAPInAgpdABQikfoDnby8iUsDAMsEbIk3
YW34hKVrvqVaaOwTm37h+Rk4MRT3B3ocyOWgub7svpmjgusuiHUPU6hyU6PbsFGjKLktMA5cWX7W
HJAP18CMszNRi5oDAjjjwzgZ+qLxcSFrvQHXkvEermC2dWiJxvtQCco7KOG4kiZhCXtLKlq6PLXp
wyJtHO0tiWuqNJhah88VKEJsJWQRPmg21kUu8KE63+iWNFMA46m6sqx4fJtUDR1sh1zHgJyTydad
3bWauWsbyfwOqFV5Q2qleUvhaL7i2PFTdUr5Fd6d/L3GmJNWZbqbuirptpPTYdcQ5JOMmGSlc7i0
aRXgyWY18s6PWu1L4zSyAaZLBlDUVry622oR/CNISGitSCmQbU8qO1qM+FiFnYuluI/zLSzJiyR1
BmUXAtQR+McbCN4UeebA2ZSDbqCmnyeT16VqS9EXEOxr5NdqBbspGH70JtPnxv3QDiBHu+nNGAe0
EJQMohY/HknkC2hzAPjrteFXqhJPLnSwORhv1Wb6rAWmuXaDO467NMtQH5qlTecAs7gswnmHpKVT
E2U+/T3lLCyvaqfflYmhXqJeEkBsHJqVVXUCz8JBKNPnmZXc5ibr4apK+kFge0Qe4oxw6gxAYDcG
XPmHKZZNyrODZW4a6JxA8aTusqfFhRlgKi6wYlS/1LIz7YCO6fsAphbXOrlybjBnM1ZSUO04B+Wo
BvEJEosoSG64eMiyx2s6nBF3RlwoG+o8Xb6xWeufoi9L6lWVbrTbcJC1xxFCzPNoF5GKR2Ku0H4D
jfaeVAXaNLDjIxP0YoRKiVMW8XMYYWvmCrwLyMOg691qShdjv1nWuFoqBnIW8I259NFaxNBpo1ci
ci7hxlumBwd0jDwMErUPLJrhVE5JEt/XWO3gIZ4LsQscc7xHwaW64hAMda5QmvTZtvBZ1g7sE4Fh
LkzNun9zxrDM5DTDzyRBr8GzkCvYWrKTbDiMUzqRM1YWpLANHJOujEbGfl+QWt6knTlcKKEPPfJ8
PDyxhumqgTqfpaEABC+SSnCMge2bVYOLpSQ2VaG1H5RilU2dBb4b02SjmxWuwXSPgrCFiC6wEKqv
gLX1Zbz3mwgKCvIjXp1K2d634uYKeh75S2mt5arHCSRj2SoyfTKAC2oci5XImUo7hcDi2TnyUVt8
OasPGhbKc+SH8XdJF2SQRoBCPL3V/gmwLIYT1CaN21CdlI9aVX6ZtZDdbNSmZ6Oyxs/QbNovNAam
t/Nf4rgeDSQECJehEfdYkL/f5M+bsWK1VlNWpadJ+AlcTEFbYYjZY7qx05VqjG6VGB7JplTKHCGD
esIiyleHnvamLbC+LdFznLyCyv7szIwT833WldrKJeQ3U+jgTOMh6drTt3dMqjBLLkvOfuDraXCd
Mah/H6gZ/xqNDFgu/l7+m2VMKPNagzn+DMo4fu0mGZ0jGNykNzmged0LFNh6HjZkFUhYpc+wOepK
iA+9QCtxjxglubszXxqxcuruARKjUkR6ZiG+p5cghlGXmQ3v0XUqt6qe0j2yJcCXF45WTPpKlnpc
6LHwyKE6N8vLwe9dEsp0q82tPgEG1HSZvu9ihaaLVuk7O7Q6yix4LSMG2G0FZSIvFDQRHCi0cO/o
NK+sjaOIMT8JypPQ46jmKksCF57BkpbCeWWY7JtNJ9RVjeYiVKUrDCuVC7UbdmBt9taIDiam7vTU
0rWo9TtmLz49z0CpCRFWnX8vrn0+obNorPkZ1Ka/6wMAj0gkq+Y3M8D/3G3wuffAjpA7WDLdpgB5
mF5W8EsB8vAwY0s2TZhP+z73rcsmCOVbR6cJ6VM2u6l7Q+wijKAR1BmGi7TSsD7xKezRTZOh8Cfp
1iz0escWD3ClrSHUN221s3O0EAq5Rbi8sNVru67b1/MTfxypVBCdyBZx1wXeLy/y5ThGmLJxDPKZ
xvGfEZfttm0hrF06ytXj3w/FxM6cQjCVwGMOj0xUbJK6jWDSCb2n25yaOCq3cMCBrxcr1arfaK/D
T8m9C/Qm+xhbBL7m4VitJY0BvrecofmEQm7Vj6Rq0FeyWum2UJKtTVE4eKmmSC25HdebDeTtAase
NmavzGJh0jBr2JG6go6MDU8uU7GfihT+eF9Ub6oG0D+y+Z52oOgPWZhJ9/ShlIcAu1pUtKPyUq+6
YDckmUjRYcC7TTMxus0xF7mpxqJcQ48c7x+qUwDTmFvQ1LQgD19YGcvRQtQ/8xJrND/lME/zDdJL
0kPigybZcVB3Ei7hjYBuTPEM51C5Q7OyT0saGcwj/GBEASudjCnrLgc7rr50gV1eKLlhlJuh1+XL
UrHhGVSY3GZIkKTGq9qW2s/za+TotKZlgEcQxxmbkHLI4rQmHawnTIeR9om76E4R/nBfCqvfO5OK
1duIG588RWvB5+SgFE7ZBjPDZClQjDdHG+mYLQGO7dsHWfP1K2Rgv7esrvcpGaZnvbXLFYjxcceY
NyXFBbcHyQod0UVNIyoQPqTGl4OISIpL3BCUy7ImnXfBrDhXfqIX3sQ/uFxICBGOs6BNL4coXAil
hr0QS2tV/6OSBQ/ECqGYBMSPdGkRCTQdBco+ReDTiBirotl/MQNfV3bmiXRFRf99fm2Om2O7KSOI
ytzRkeEY0Pl/QlM0i13Zj21zE9N9vhrDHtBCNjRjtwuLKUSItgt78DuiGl5ILfApR/BGhFtJlEBk
psAefZdSImqo3ETBVIRhSbHl/Ko89bFmNgRW0XOCpf52DPojc6HOkCQ0rMC5j7V900RZ8DKqVerB
5gz3rdPg1plk+l2BstrDqIP8REhmuDHrrtmhNTV+O/84J2I2JR9K/hQo51bDIpCKKep7lNwyPBVF
/M2MM3TCA9P/LgcOydX5sY6LslSvOBL5UrTQ6ABoh4FlREuArUFgCRx/2IaReQW5bkeluke0osmp
C0ffWJZoO+HkWmTpxcr4c+BaRHLVBO6vE9pma75lREgTMK6oz3jVGGdPsYFxuY4MDfB1jsZyivu3
kZ7mPYYwYqs0uPZOUU6DSsrU56Y3xpX08MQm4RZBe5t/sE2W1RWp7iol18LcSxRwOYEpGZcG2vpr
m+TUF55rNwppCDDSpf61pU+hGnYOyA1uu3gg2c2jOqr11xbyJ5ZeUaE/qaXaptsiy/IL2p8YJ2k2
jzX0chO6jZak/IDO2ZbkchBTVs7Sanv+y5yYCo5x3Hhs8A7k9YsPEwpbBlPLhwkMSowtOqzXZlIZ
+/OjnJgJxmCm0SIA7LwkDsM2Gi09wt1ntBGBmroIn7w0BluOPsLKLj/1QqA2uK3pGAqAFD5c6Vil
0i52CIAYKDjXOvJ5AUo3+fR0/o1ODWPDK3Gob8CrXM4bxhQIuLVcg4sJzKzd6M41IjVrRlwn5o0S
KOVyls8Mm53PvD8iVhEWqt1GFDpjJcgRg5ObrSbpWQVcd1JWNsWxZgbYQi77nBoMRKd/kTjXBto/
Ic104C49t4X5SkOild/nGYqmaaEgEjhp08bOC+tW1TBaTIpcwlVdd+7pK0obIXdkx7XTfhkAga0V
I05MBYB9HpCWNg285cGmlKMTwjrDwRx/GeHSuZI/1Skwf8zIKft29Ekh9zEs5rsy1rASb9O8e+Q3
0eW0WHA+Wk5y1ri2NZAkaSpnl1sDRl4DK5xYF3CWZ3Q6mKhZX3zxxYKIyiF4Jo86Rr0XKrT8SVs7
5I/r47SZqNQSyXUK9/yqw1EweXGAi4ray+Uahf9uQCO3nMRGxT4QhG0UbXDbLe/iognvCmRz0w1y
5+E3VHPfJkXSNiaV7LVoN2+sRYjHeVKbNQpMUoql80/eFTXIVh0JpcLqv5R6O6vRVckv5Jynnd6P
4hIUyVaKs8+W6/ZWH5zyoleoNZ/fmMeFR6gUXIbnVQKO9OjqPyDPgOu8XMHMNWUw1Wm6pbcVP9SU
hh/zYGrR5UWdNO7GEVh8/5HY6he1R6XHrjv9Vy1XqIyAVduaVTHtlUSrVnLG4zwVzjdYPsr7/M2m
Pvx26Nw6Rpnz2SQJEGzbFPYtYqrOdaoNWCLBjbuQ0t5eafScGBTVffY2pAnsVvTFspzKvGsMgexS
40+EeTSwbpHiaS+qoRi9ypfyTUFncC3rOCqv4tHLksDphg0L33WRHXehmai6aCpvqLPmW8iyeSrA
RX21y16/Q+oRTTTk35x30wxRl6XmoipebqB6BTXZT1/NsA1/NMi73IEeUGeYkTV+E2puvq0smROz
M6NSAN0A1yFBmv/8jzBbAX+oYqOsPL0D+Uxox+UvVfTpq63WQcYppWY/Sj0eHxQpGN5GVOhm3rme
2Ru/bI1tBFBfvSw4xeNtTeZ6Vftx8okcY4a4UTyg6nz+eU9MK+sbQA9pI1Wu5eMWqWikVuZxCytr
dzUW8zdSmGkvg2mJN7Tzk5UVexx6keAwFQXcDtkA6vyH05NCfJupnHMDQe5JGoPwLmgpbgjgkyun
96mhUG+Z215cf6EYHg6FoDc1QY3iTQezfYt2ouOWdty5I5K2K7M434QO4xUgPRlVFfLSGRcyz/If
H11tzHGAhVKBP9FTMIGT+piyGX9MmhpcSY48IgCMADZJSpxKX0vVcFYi1Yl3ZVPMBD4SFeqoi2lF
zStF61BGs0Wpq23QdM4m1/PEdfQuWMm/jkG6FggwIChzEkljcXn1wcAdXI8+j+Unue2VoLE/8xqn
59kAFXHbZNC4OauwKx284H2j31pEpumyTE3E9CUJDUyXDA4PWthEEtK2Gb1JM7PDwEMQr1b3AR6H
KG0Hoto6gVr5Gwnp1O+lGee12wGrdzBIIO9eiTAnNi4N4pl1PpuusW4Ov2FZOWAnMr/0ksEIX8lA
xfVMn70xcCV8BFMib7Ipjr+c337HRzzpEeBOrvvcZgBHHg5qBxT2sGpBvaUq/G1JMdLV4l7++3SM
YegKgCGFAIba0OEwgyJ6mIEOnPNoVKEvjOYXc5jg1kNUmdyI1uweXU1IknpZXZWyUbFoY3yF5xow
YpKoE5FKzShHaTc1Kmil87NwHIR0gFSUqeigzVIGi51qpzrtqlKG1oO1wXczDSEjoEq0GU0kXd02
NcOL8wOeyE8RH5Jn8TiTNhAXlsMJkTDfGDE4qD01tOUOUWjT2WDnYDio9SiT48VhD7kgxGpWdvVA
s3ZCEdVs0FSlKeKivhW4eZNa30M5S+4jvxFoVYr0deUp589yGFZYZjPyF4WHWQVhMS8E/aBrJTxW
s6LStgjMmTtVBlFBELG+kx2HMczg2sb/Wa+ujHTod3WDFyP68sEjKFfzmob0GvTtWAeOnhlfiq9E
ZsfFdxFqMilXkB5W0ezB16eEO2lbP5MyjL+FRjl9Fgld4J1DccbfJiUElG1XCPFEySordr5vY56Q
0k6BJYpk5ZtUt9oHGOdG39jNpMjeMAHqV+g//FyZyuOMkjySigHrDOM2AAqHH7yvgLbJtSyhldJh
NNI1KY2m0Rj2Kr3TLVhfHUpjOOyU2uzvKsdqjU0nl9oHasjm7vyzHMfqOW6CIvudH9CkO3yUEjVe
cm50KJugfIejrFw7QvsJZ6hdOWuPgwsDzYIdVE3pr9nzn/9xKkmhFWX4hzJQ3fueoiQxDV/aFudf
59Qo4JpYpYjyzI3vw1Ea1Y/DquXykzQhi6LL7e1QIP18fpTjSYNXT68AziFrjxP9cBS1K1C0MJXE
i8Ki9maY5A4RzOCqUY2P8yMdvw/tAbSUOOToOZITHY5UcU+eVefxiE3y/NrRDSr6fbMqxHbihRxI
pDBXyYZIaheRv8WJSlMqHy5unzi3UTn0nwHwkE3doNjUszTfgrSNXfi42CeLCQKMIroNwquVF+Q1
XU+Eda7TIEISPhHWyhl//HBAuRTyWBRYYHYve0B0FRTfT1OIp3r14SepivZloz3GdtJ+Pz/bJxqO
KHjQbyK7nzn6y42pIfxDCEkkF1XClu03KYkbK2pzBeQz3vbxgFW9xJnmgYFVN74ZNs+iqYNXEmf1
rzUiaPTBnQdpoiCRB1rs8NPHORfBnj4Rxx0YDF2ehr2pBsna7Xb+tIdhnSzR4doNrn82Vl6s5UAS
o59UaDDmap28OCQBbmTTnUF1GeSKLsdUJFDLT9pOfGhcKzeIeHQ/zs/78RcGDw3bgkYYvW2Y/Iev
CoUZriNHFmQHM9qFI1dFihkCef5qbVZPVBh4R+5DnGRwLhj0cCyM+4i5GdaFdljgBGQU6Vynj9JW
ue4KI0enNzSMX2kxWZE7JzG348jx7PmyDmRKx6IWqy65oxEyNXZseecn4tTTMQ1z1vwbn7/86Pmo
+b3SZBlVFkH61SHGeKHC+31uwVg+o+heX8VyJ0deoEFXAZgTXCDR/WjnNvyRkQvFPtDQXFh5rOMo
BPIXZD2tBVIidsbhnOE5kYZSm2Q4r4gURJue7U2UuP/2KAJZDZgZ/Dr/nBfE4SjKELcyV8DcoyMl
/SjTqLimkz7R7TfklaLb0Qsx1EyCm4M4xfLlCyF9pZc5aCfP6XHj62ItuODO/tcVW9oSoF/NWQUD
scdlIyT3JVwKe3Tc4SWUl8CskO2ubWtzfs3Mm+NgA5Ovz7o0LBp28FGhO0qtafCRvfVSOx9eqiTS
XjTkyF4trZH3oJ9NNzDl+nJAmd0zkLT/+6+maybgO2LH71vn4Vcz/ACnHcD3ntkTHITk5BelLSAP
D42x8tWOLkVgQbjR8tlmR0wyp8OhqBdkodQgI6KqBbJbmZurCu5UVyGZstauiaECTjqeWS5fMNH4
ixRpCQiye4K8XWEHwh0dy4heoLfnUUaTQaDkau94RjJgHzFkWnBvigz/uhEY2XtaUx9z7ULTP6IA
JOBFaAT9+9Rq4zXNY3FRoYSqesjqqCDms5wjJiiNEeI/3e8JmI4ztQTjFCjnFCjiEeSD2cIbqWTj
CTcJobtQDgBrUQfFeCtUxvo59NXW8PSg14EDtD0id1bdj9mVbqmAM3MCngcTGyE2OZBwZG57HGO2
easn0SY0C/WukRw/Rgeka64Fak+o3+eh/ZmFY3dplkMq4XMUT+jggyaFKN2Z9d2sShUjaNjjtejU
Qgs9+vjSe2xF/bUTAviDBB9pFNuDAO9s0VvS9wKBxLfA8lXs8Orxq7Aa7SOIC+l7KUdG7sJzDwtX
qInlEHeFdIdVroTRut6XiAWSkVQ33SzWsym7FnFP2GGo8SXyhAoRUJdY2k9yGF0MOvpBF1lghpNb
0YNChLQoIfpjHydvpEZ1vmdYDfCCEMW+lrjf6q4sZHyspBHu1n0b6gQFBYlEAHnZgCOSSEfT3Aqj
wmYqjScknBGt5TMNWKbHO/qo5bcuKzIVvfNmQmSsjYdn8LqqvrEQFHjBgiHLN8Jp8SoBc1tbbgEC
vdpAdaHFYCgj0ksNPN3S7cdSvE44Gz4jhE5fOS6rNt+lrJIAMGA5FFsH+8Tiaipntls55Rn1f4G0
LPYEFNM3HaLbncsqM40Nksp0ozAQwuBqyEtk8bg8qsPGnElq0Jan9COemoFNhKS96gaDrXzTFBAn
buAYGAyBoBKvwskmGVnBjqyOwm9i42HWFx/gIsTw5Miiek10QwfXBwqKFcKt74aCvKx4rdKApY5I
WEIAUVr3ILeoLXp5aNUzUd5GhCMbw3L2Pk8QkGA/hW7g99YL6h5x4WmhY9+V2FjcaMwmv84KZj85
rdOn7QTBESvcauoBkKezPwEL0ZrxdgleZkWBqwZVWULe+RB7DA2cZZtmUhfVGGW+XhxGngalKKfs
KJllqElAInPyDfsm21dmb4OAmMyNmsTdBTq7mqfZGHbBFqV4YoOMUsCGuOTR0ZYQ0T2ef7AT5xil
SA3W4b+luhcHMziiif64juK5XNr3RZ4OT00jO2uvP/+axRHDRXVuns10DsCRh69PIUTN0J7MPKmn
59BPO1938CKWn43A2Fm58QqS5ya2Jy8b8VsddQARVSDf11m3Ujs6ShQBNMPVBX8N3FshaT18EEUt
7bZX4Q752uj/cPBj2OTF1FxXJtZCfzu1LEWq+wj6kyBTlzkcqterPiX/m00DSuui1FL/V9lYf+0a
QDttbuZQw4QWwuo6HEV3RsNqaOVgWtkmu14P9OcoaoKVu/eJaQPUMivAWZSY6N4tRjEH7pgl9ZHa
7xJsMupph7PYLDhqrdygjhck6Ki5UwaG5gQSpdboSFv4YXuGzaZIImvc+SWw2PPf5hjwwhfBkZJm
HNqEM8b98IUEjuRNHGGk7qD/gVFRTt3Em+RkAritYVSP+WYXvrCV0XGR4rF/qzTSE5DdfTxLvFdi
LzSRdiv75MTLs0lA41FQodK/bF80YZXqddej7lHn5hYmoL1NFER3Vl7+OC0h6JOUUJykRnm0ZgD9
WZFazLZLfYSZwBAmT0i6tB7s8GpH39S4o1bnfFEGDQPs3ICXpkptiHBZaTxYShq/DKLCt4xyufOs
pY7pUufu/34qTK6TCpAY9B/Itg8/kD8NcR0ndHKcAJMRWW5Jgh0oKuen4jj1ZaoVZa6OzK2V5TLQ
gWVNIqUIoVTQEz2QNeGO7cpBFEX6l2kwxhcQhIhHYQDrZlS89+fHP/HBebvflVvSUu5Ih2+ZqFWD
LSeFWytVMJNzRH8np6mystpP7F6wRfgp8ddce13ECEMkZtfHSjlb3dQI4wCyg5ZRXaa+nq+trfm7
HEZ6EB/z4gInAcDxyAHALwqO84rLhNXJDyGeMa/x5IwvIjLCS3Xy0wchlORL4AcR5hWq+aZ3ifFc
dVyWz0/t75vu0ZNQ9AIGMPu2LFdQSF9K9iOAeCayYtHV6E/y1zAR7Q+uIhFwL4jyjdtXfW5fIwim
vSp9FYdXnRmNqZdh1PXk06h5UZIC6788EbKbqoXYj601hNsUqdGfqMmCJ1Wp8V6nzlg2u2nq5Y+k
7TFEJW2lqB6XWfbL9vta3RRBQT0x0ifz5fx7Hn9c+iygGmk0KDN3e7GE2tgcSgWUoYdObrwhs9CR
J4zVrwqkkZWhjq9PkNERcuXuBFgJIaDD1WpQQYbQ0jKUpkXqVS2rk+2WcaHf2Rp9s0uLf4EM741q
zU3kxMiQTeivUuShfLBE/5p1NSIHg63QoPbtax4je42tRrPTrEr7robJsNP9Knk9P7PHYZLqGV4O
fEfipfy7c/hHwVmblIYVhJqrPTUgRv3eMN4Q8zJuGz+ayGSSNQbysULerJOLein1C5qefNbDCU64
8sipDpkiSZTqKbMn7JEVyJ3argpsoe3HQAtqHNo06TFUHXiCdlKmT5aTC8zI2jR8iHqfy05RSgh6
KQBInxIEvTcaNqINSANkcPc0fqqfRZPXj+HUF3QBjTD6hleTg2gpPlwPDZxnHB5z+kgYYUnC1YQU
p9syKJLkZvATU3IxgqxgbImyhgZmS5myMXWwMxtuYfovyRqb/DLGCVp3CaoI4FY1FqXRlIxfa6m2
whnT6IvLISBLcXPu6muEqKMNAaCCbT/XTWZfqGWuWRvYkWJdiCvZ1DQ31PkFZAWsk3V4CpvzK2RG
aRyEGCoW9gxT5aMhOuDM4f2PFRLAtrLlqBOUtK30NlGhhM3yXPUlriTVJRfuAAKFpd75RYIw4Pmx
j44Oxiaak7xQ7qNtvVgrUL6kABYl0imQwq4AImAMrjravw+o//o5/N/gs3j498s0//pv/vtngWVN
FITt4j//dRv9xA+0+NX+9/xj//9/O/yhf92Xn/lTW39+trfv5fL/PPhBfv9/xt+8t+8H/0HNIGrH
L+KzHh8/G5G2vwfhSef/83/6h//n8/dveR7Lz3/+A1uZvJ1/W4A/zz/+80f7j3/+Q53383/9+fv/
84d37xk/94TY//SJSXz+cfRTn+9N+89/KPL/o+48luNG1j3/Kh1nfaGAN4u7QaEcySp6itIGIdfw
LhN+f59sXmx+oPpMk9Uc1dViIuZGnKPoDjWZMIkvP/M3H8hPmB0y610adIvU0PBj+RvrA81OTKUW
NLVqUT7xNyVdgfg//2U6H+hBUe0SPm2EopdMWlbdy19ZH2hZArlg60Iho1j817+v7s17+vu9/VF2
xU2VlK38z39BAHy7OcnWwaZQ7Cybw+XXnYxkDL6vRlsMM3XQts+Z6eHxqaeR7WtmSqNEbVRJ9jvj
fKu3SHDGDqXmoDg3RZOH+3hGbqaOPebFWiSPHqnhfWyMn2taTHtMErXrYqy8S0SWoitvKvtD5LZV
HuD0WR1K8mo+eNs8YGm2xjRH39dQM+lMYc10MSazu3ezSK7RcmQ4oNNKurQMpdt2oZ1dpAJOrAbA
4tPopFow9pYr95VXTZc4z1mXWjrel16VHEZ+esu4xfD4tYOBJ1cEfDi0RjBHrdzodX2bW3SFvLEU
gZP3vbui+RRtnQlD+lwaRoApfZL7YvI0X8SJRVfN6PBsSvLxNq1V7MkRMlrci3RsGBtza5hpfYGf
+LDFcNPYFLrTfxvwQt4Iw/whJORXtcJmsyIlQo3JSy/sHEXKQcnbtWKI/oAecH+h5U1W45FIX2jo
dadYDzF6Nr5mRHDMcxk/q+WkfNWVuQ202kOss8Dt3dKS6WJEzQ7PL21UPs1C078WXers2tZI8YS2
G+9TpLXoRiZTfS87Iwoms893KA3mf44R6oVZ2W9GvI9XMu6mHbq25T6uwtAJytLYtkItd25R14+D
kPOqE1Z0wAbCuZSx1WDzl8l+V8VSzjSgcuuyos+9IvjP+zzzlKOBFiDYl6LaepWaBjhqcGgkRlEy
4FASe/EkxGOQ9CjoGItQdTDHF92ATGo13869ad3qpY7SZ124+6ozvK2LXNbW86S87OfE8jsjsy/s
rM83eT+WO2dAihTbVPGoI88Aj1DLNouGzrZZPO1QHU8Dyw2toDFgiII1zPGQX3QxC7CttjWHfj06
20nEdM0w8z0ORb2VbeZ8HRyH/4oGEI8OjxBndD4CrGs2Q0tXNnNAqqlp41wsLdJDKTl66aOjFsVM
OnBCCkHcmp09J3axj4um3dUerSV78LYFwoNPpOTug2mH7WYgc1ZotuB6mdu5u247u19DLzCfGVxg
I9qCt4PNqpeXoVcCiFDl1IGXcHF6YnSkPcd5jBRm2vffIojrQIwN6PXuoOuBrEdt70qrbXwV+vMW
wZ2QPyBpD8ixrnX0RXLsiq0Q2jliswbqgeuu6vjHiXe54MjohbfjYMOmzcfPukA+AOfo8Sti+dZD
Pw+fMwUnYVzojKMmeoa1eDQuxdUWoQft2jMFfib5pGwHu+hfXMY2ZcEjajEvOTTNiMtSWdQ7G0/q
2Gej0WmTVowJZj3l3VND0zqDDau669DqnhW7nR/1Hu/WsDeHjUQkVR1h0ZWK1AJdERiXatlz5SJ9
MphO+JFPtbtKUze/LeLxyQk9Z9dZNH9RaWc3Yr1tXI9meocGPU3odkQvNsmyG7xew8DMWvQSF1I+
QAkwmWuvSvvMLyvySVsfxx2s4u66NXoEPMdYu5zcDgkNzZbG4jeTrIwmxBldG9X2qjDVUVkPGLkc
9K4tFt/3QTbBSLfvGGdNehnjuQP0NxPbysQqOuzmrwqarMjvVvP3xqnyBOFje9rWtYxXtFzGjUTz
1dfm3PuBdY0SePy+rZJNaOjkxXCpZ62JAfi0qfPsMVNMmGwJDQqkkPF1GS7cLum966SC+bxSmi77
2PCpHytSmcU3oJxvK6U8uJEwA8ON9D1HGcqr+tgg1sPYkB3qmOXDWNlmvVfVqNxSzaGrneoj9rW0
XJNCudCdaAjGKQE5axHu8qav5yDpUfx2E+Up71r7cs6K9EHv7E3hDe5VNAiF4UJFE19n62ZVnG5H
OwwwfookHEYv2htm3F1FvcrcqTbNrV63ZuBl/TejoanudWmxN7rJ21CkoBUxsYPikS4bNnrMU3Kc
bxKRzocErZY1nedtVchk45nlNzsTn3JZ7B2vf3by/Giq8b2tJEi1x1HabezSthNf1xgNLPLLuzar
v/R0CQ8KCk1XIE65WMMQO2SAJeImrVEjjh9BapuJlDTDj0hTG89KCL81Qoz4ImbCg0lCWD8sTazP
2FG7oK3tcdVkzKmbrpetb87VJz1vnr1+OmaDd+22BCjRi+8tTe1Nq3ewGe16TbQYNmnmjMdZMWFg
81rRKpaXraNjYWS6twYm8BtdGb6WcP0+thjlBgZacQEaIDPHtleuFvefIHE9tGmzuAMGl3I2KrAJ
7qJQj65z4GxB12fuLTrnWFt32RVul3mzwofXqmBoD8XORAj/HlGQ7EsxVynGvm7kgMBLwj0dq2Yr
E2sk2nX5R+AA44VwtXnrQgldqTIJV+hbVc9Ic5cmNLhO92unsvd0Y42voVbXG80uE6R/W8O5hGth
fa/iXL/28kK9FZj+psAsDffajDJKc7ROdDedLgYnCp+qfrTSy6Rq8psxDL9pw5ADMeYQs6vxNgIX
ca/QBNwOI1PLSLaW3zho6XkYsQdua8WfIOUz+mtqQ/mEgG29L61wLNdqae2dhtOFuOzyh2Vt2Zhq
kDIeuLT00b7OJmycVlGu1bfAO50vTNtuerRx+g1p1awBtZPlgVeMBVULpftmmKfuCR7VR1nxRY0u
zuTYK1V4Co90CbpoMQ2tcawoOuNRD5VqFzUo7K9KUk+A0oh8BI0gifBrT8kDK6/t5zpBtSWqDXEZ
qk14sPW8PsYi7e9EJMe9JrMmiJVmXk2FO9Wrykg5vb1R+cY15lRm6ogQRdG7zjFqQu0yil0MbaIJ
s3bUbnRL6GsMHsKrObaNLRx+Q/MHffFTxp43XoGGmzdeF28VWZe7qi8Og5tqfubkXnTRm1gFKn2M
4RUewLafdSbM1jbO/KoXWbgews783ELXz3zdpaFXpsCgKMCd7+BHRlot3nTEBC5GPsGdL0ahiYe0
dzuOEA2wZw9HdzVoanPT04JsdznqZsHIx27t4tQGsox4n/aZqi1r/cjF3VlXCne7GFFunNBV7rN4
JHBVIWVsO9j10yzS5pNYcGdXuTuEP3Kj6bT7OCxHRLNrZ97AiEZMfU6cz4JqK/e1MTH1TRklClT5
ptzCZnUfzUr+KQzlz6q1jfvBC118xnEkiDn28Txp6+KLZ9StGqh52mwz7MSOwnQ6MpDCfZrtWUkD
/la5gMC61dw4JyOJq3vTlGILjQYPyz6b76yUrYIO2Mv0dZV2rdioWJWh+kXyCDFRLwLTGttNywu/
thQaa+SSm5EOBkx+J17joZb+cIvZCRb++r6bOEkdO8t26BLVSIuPmFkg6vWI1nq77ovPDd1SjORK
xPRU3o2TZFelRyYGbJhU1dpqxSc0O4G4JMkVDm33kbBxdmmV/kvaWlhxtuJGgo/fk6fcCrPZ5HZ9
FCL+oVfe2p3Ku0b1fpT5fJeM5jcj07dKpTq7oZr1K8QcHgZ32OOMeoMkuLbGbWE/4mTmOyWajLJR
iJyxvReRzdkzRuOaQJithEVOP6hBbsZbfcrnr2MaxoRN5tgBLm1pugljW6JW02jeLkyqod6nXVUo
txXwSOdWyZJvDhnsLQ7J7YPDsKXz49ZOwQhM0S0C4XjJqMAsK0fPg3k0ivuwQL5o9sY56JrWvciQ
gV8P8zBfe9Y0vWiQ9KS5SWhfMspAYs8RURRYkTLcDmoXASvNVYXxuUjvoo7/BDUQT2jTQR1qZScB
LO/ceqZaiHNO10I1472CItmNM1e2u6KknDF965MfqikiSq6qWiWWqI5xGPUrw0msG1MXYg1iFpTD
qM0qwdiwtx1Zzpgg0IC9NM8TB7l13DVF7PediNeGmROFse/ZZUNYrvMQkjpaTQn6RMQfzl4oP2mr
DyvNjcZD0aLxMCTPCDvwICQakvtyyskgcI2HiDaujK5wMiqsVLupJw7XVHfv8rktg7J7hjqHWK7T
IRY2q2sHN7adbYRi47qVH0WWc1EW7XARG0a7HUTe38aNfpWbzY2No8GadlzzUVWEcddkU+N3CGMF
5aTHB7tZhEcGvG4dxG+3InWivaUr4bZCN2k9kYJfO4mrH2Jt1DdNYZtbK+8af0qd5jYt2N6zPgz7
ThYDmcV4gHRx61i9dmW2g7If6jk/hDi7+6qKT/fajqci27RJX9zN7fi9QydpN3TqEEwaCm3gESKs
p5JOKa8QzHbQepHSAvA5Jo8OXUxAGOCutGnIPnZjnunrNuwjcz1AcH0Q7uLmbheeufyCwrmKEpM/
MsxVklAvx9Vol/V6Et4cYPgy+8qs2TS0sWSIzfI5Apx41BST3QYBH3GpMsHgPqqVZ1HhJVIUOW8L
I8QLF/+ei7nHNkrPjV3m1uVN0wuHMjKNbnBl9FBpLos7y5rbTSxUTBDs2sHdwR6/il6bgxQ0N5AV
tW6+13VRfbRaKx/8diQO+REtBsh42AwPVmg8jY2roUBmZ/d9M6nBgEDmpp1Fvsc1NzskqfnAZiD5
6dpJvZgV2aDCUptwSFH7wZ8wTNaOOlWczynvN25k51N/mMu9xD6OPON1MbXuvYhqckI9ke5zwca4
lMNCqiXBOHSGg0mAmKYHd7ZqcA+j8jWcp2klS5n8qbW2+2wrU7rPUFN++I/KKpq5pQHnJ5YWL1+X
XIE3MHaWN2irxFG/aG46XP5H5+AYRKPD8unQ9zsV0gWICG+EaGkfUfAJV/TjI7KF5JayMz1qozbd
vHSlfqtB91AV/O+05/amV/ff6+Ftf1RL90ue/qr/D9t3qBf9qn237ZLyxxf6ylJ+6V438F5+7mcD
T9GMD8Q82DF408H4gF317w6eotkf6OlC+aWHxj9AVf8/LTxN/wBnHRwBvONl9q7TFf6rhUdL0NPB
ZtGXReYVhfPfaOC9HXlY4MYA/9FZBGLlorN1qkdMFTb1eHlcR6piT2S9raH4Qi/VbcgPretREY9q
Ls6ydE/0EH6uy1GwcIdeZkpLe/1VT7uArUoRl1zH0drUKkIgecyigC2GK8ZmP8xcXzP/yLFfzZ5f
vaG/WpivW5Yn4OmXpXV4QwgPwFNl7Huy9BQ6TT404rpPSGsByjT9OvXKeeMkbfqo2LrEDUnTJbM8
bZD7fDQExbRtD8OKH9CjzZnL0d80UF8ux6R/yhVBM6JMOOmwA6ONbHOKr5MyiumiMiPKA5lTNvrD
gqtjuudheaaXM1nBUAnp+GnRhMySvTwDL+ckSEQnUhPnxkTv7AzM6BegJlDaRev+7RsqvUyB7uQd
47TTBt8EtSmwFxK4FCGtOJFgz3WDcniDbuyvn8jyi/8ed/x8IAtOiJek6WBOlnHIq61hTah5xhWe
MmyCr/jQVl/pAdsBGmbJRa4V2seeJtgN4pHVk2qn0erXqy9v/x+rOyAWuGPQNKeixWRA0rakd0wj
ET8l9th+1Q093kStHm1/vdLb0cpf94nmw0KgW0SLlxfw6j6NOB6bWQmPYWyoj64mmx2FmXZmkfdu
Z/EHgHm4EOas5SJeLQJUPKqi0DgCoKvJWaPxcYxUdd02bfv4+7cDgAJcHZk9jm3LPn+1Ut7rVpsY
2XWn2d0DZMfmGlvl5ueg6M2c6PXH+97tuPS2F3AXgpGnaKeOAZcu8+S61DwyssaKi71K2/wuxWLs
DBjpvdcDwBWGKHFioU+/vZ9qGEINL7FrU8zdum/jSADg7Mg3f/+xQc+BMwPRkHs6+cxab5icNkt4
WNn8kBZ1hC5OeVbP9y1e4mWvgcJBMIyvGWzGqQRp2sKtn4vkWuvMTqDgnFclTYqmLzemW8QPpVG0
94M+WyruUXTM1jJ1C3clasSXtrSW5TkN9XceLnhAvi/Qii72rSd3PSPeYRW5e0RRU+x1Q4od3bFz
0ioc1aefMnEVNSZEyBf8/Am4p2aiLcJGO+o6w4+0Q7Siq8qPcZ59HT1xBvP9zg0Bu4R3AMefqdyp
3iG1XQHuZjwOIcWog618oBqADn+9V05ohC+vkR4z+wRBG9RWT4fOaRmrHrOGozf1+kWxGAUUdK5Q
k3ArBrRM2ppQN9d6NdHTh2JmPVuU/WthpgZD9cbdt447PfVNGiLyG6EZJ1T01wwlTe+sDkD8r692
iV8nkZQgvowadQPM/6nkkNnpdYMywdHWhXI9V3391Y6smkLN9ADWRupOHVTr7tdrvnN2vFnzJAi1
sTp2aWseU+ayWGS2ir4IX3mYjwCLiY3aDn2U+hBS1qx8urKlrdz++gLe2weLXoyjArAAWrjsyVdR
sKulB01RPwLNHte9IuRhjOPkzGY7wRX+3AcLRxFcIQwhEAhvV5GVhn5Sqx5JKgzmK2OFYV86qtaj
NmkphWPdQilHbcrtcTMs3d4XtluuzVRVInxZ8gVdoRTKOazAifLHz8vig4OvxESatPXk5J41nWSl
MY/sYZQZRBXfaW2Sf6X5rq9RwEyeGmMoA01Ko2LmaI3PuCFqiGH1Cf/keTe9qZRbsWhXl501X+XU
5mei7QmH+a9LJJ9ROQ/5jE7lYfqZ2kp66rFLUu3CgbaYrvKs7y9kL80djdfkvhOy+mSXY3UpxJB8
NCTAbj9pJHIEObn8Gp17fT/WZUbvQKkffn/7ICwD0IrE2OSce/ti7bqTi2f9URFWuZWlJ3wQ490Z
dPI7cdGBiUNCAJyWAuIk8YgmLUqyqD8Wtba4d7Vm/Fioqc0wPUSTrMTH6Myp/V7KDe9L547YsLRF
l2P91VdRz/0ANFweR7VrLxkh63hTpCaK4oN+M4gSuqIymePnwSlQ6lNTxnuwr/r7ELan4f/2E+bD
ZMIHscoG0nyCV4AfWRmxK455pNjrOen+VPUxP5M6nNDjXnYZZtlUNx7KAdSCJ/fblroRZrE8FkK3
VnSt81UsaLOGYUwS1szO3kQGIqBPwjAYQkXFCC/E1Z55U6us5gnrS/Rp1DNvYfn6TuIxF0XFtwBD
0Ck9OQ4FiiEiUcRxiKkbCl37hGDRj8FVv4aVt7KxepOOce7AeiccItWAmCbhQKWcOFkzq11bWlgp
GoPJeKUWjR+mJhQgzaMzZWo8hxors0m/QjL0o7LETaO7taZ23WrV52jJQX7/7b8gfdn8FtnHaYQy
3AbVnfLozZHYs9HLYEG2n7nrf970QhHlHHrJCKDtvd3tShmJQVTNsRj1+BHcgnzQ4HD+9p3AhAJy
AJYPQjR47reLVNqUF401HIvOFN+MAUzLbGX1mTv5Z7rNIi6aJVhvwGVzTyJFqXiVYsHtb9VBv69x
Ot2H84z/Utpb0Np+/WreOT2oUuBu0PEwgYufSoxPtpqiHyGOTr6UtGjtRreMXJMnQ47jvB4wVEYf
JTUeVQR/98poJpd2XNefrI7St7FVQLKK03vhKkdMv/GHdsqytTRkPQRnLvQtFZnsDuwUssaQkWET
csWnIcSCaGuE+lFgKYBZa4Iwhj9VZnqNCTLMO9ARAH/BSSNgaQ9S4c92mnYR/Pv8NzfBciVUDnxi
6E8vbJO3myAzxtyNm+low5WCjupAxVMT9cyLOd3OLAL7A28KcGQA0E557ZPrRkobdceh5EHnlpZe
mxiAnnEC+McR8bLKUgWTzkDvPxUXoQeleb3XHO1CmPkWrLVzkQwefl+SHrU62c5WDPGtgC9xU1oD
gvte4+HsZqufzrzd5cN5HSZPLsQ7ebuJAxVQr9pjYkp54BihW60P3Y2qDodGMe01TsbxY4X/QDWV
3kUuy3I9uaO2c+wIq6NKBzdx5i2fJrWnV3QSRMdpTlIRiuM8KGqzYAe+h7nMb4eB4V+YMbduIXms
sywGw1E3vxvNltWRUVk8uwA40ax4u8cwwQbgYcmjUzDndJuWjFpa5wT13rvFJcQsRhmw+9UlZXmV
IISzaVbz3ByjCWBHbJvlltO79OdU27hFFT83YwTXvh6LrYwT9UyU+8dxvdwiArBEbMRZFmD029Vz
pYQ80DZHKV21xRhE168KOeEZGDvF3gXNdKUAKi59CAkjwmNuUSb+xED0hwUlxVnZMRKD9Awr7TcZ
bS+hxkVTgu+bQhkgwUkANtKytbRcUs9EHubGBWl90pt2vQpT5Zlgp/lIpQA1KE2wSqXwAqxZcH0O
07sKnPBVVeAkeOb7OC3rlodFToMUJBkUKPmTmNP2hVvZRnts+wkvDR3I3ictkY67EAohPbJZ212F
z2yzHukWJYzB2xLT96Yf7rUpiTMsXxCIX82m21sMVbpumyaTMfpKrmr9Bdqa2Y8zV/xOvHaJ14ti
FBEMLYW3r5fTRK3Gqjj2DuqDayMz7XjlqrOrAWNCAQqb8Fah2RFBjFoJ11Guu2EYedukdv3219fy
Xixd1GVcXimKGacHqsi7MbL7mrlZg71BzRhva+O6co7h9W40hcy/oMZBDBNS394yQJsy1ZPllo0S
YE1TiK9ZBXRvHTXL/BRE+ez3djc3qznOtCLIRWEd8ciu9JVqgOY/E8FO8wj2zCKKT76CMOxSsL69
HLcVESQO7yDdycP21cxvey2OPydzPdz/9gOGd2mgs0Q44f8nn7ITh2YGhO1QTc64N4vCXo9Zo5yR
iV8u9+SIoAdpICdASKShthwhr6KVQ4Yedrp7qEVn7sJw7IKSZvJtluGB4nskBbtf39Q/oyNiW+gR
4U5JKwu5lbfrlXPYFyQbB+C/8lkVINUQ1x1KyNigBEvfUAHXXdKcbAai0DB9L3uk2M+8QuLN6V2T
mTGHgltLBuQxO3l7FVRT8dh19cGIQXqvsgFX97WRKu3zKGbv2TLa4REeIPOJOCMF+4b7IY7pSgOc
7makoQV4OjJj64DONjDXwnPKBnRu7HX7wovmbKszJlYYt0tnvpga5sZKZ0jF94CgxD5o4W728xlt
r5Vut+NRm+vsHs3I5htjAsBEeIYtVuGzC1vEmUsTmMqoxD2GZI7ytSu77LZPRIZjNSfktxb6ybEa
xumbZUum4QC7JNAjJCp242RNxj4qslEeWrtHHazprOLb1Bq5smppkaZBhZPsnTRxG1x5OXUGFBg9
7DaqE3XTatb17LtT6hiDo16g3MHHx2+112VJYUsqs4faPnyqS2PC1BIENhTQDIG0wOkN4zMAbb32
e8Vi8BXNs3tNQMXAiMUBnlTAAbqLMcUNDLg5dJO2ZIoFCCyNkSKYGrsw0XjQ8NzaerWn1evBhWme
BK1I3ORbm6kM9CVcDjOIhck5QuE5lRuM9ZQJOLlwC2B1Veahm9DH+L/zU04OdYZzWFk5itG5O4GY
t3UI3UW0YPLAd2xCdDTGG6/s3a2B10qEdKLAxk4aofZnmSaAFFpjAFDU40UAoiiMhgZUA8HYR4EU
XejQFfOxQCIGa+HWbjL0r+GEBRhxjbzALK8sH+BelT+26ZDT4jLN7EHvLdEFXi9BfVchXPIgHCg/
/Wa2rWZttNGU+lhIiDCYvUjcIrrOcanbuX5ro8uvHU0JGMDvw94uVoUltXw9y64TO42Xi0CvjNxV
q0Pb9ZH0LMMFfctYUgE2DZDFS7QfUqHDG87K+Lnq9Hy+KNWKfkUE0vZbZWdyPjbJVCIqPzuI92RR
W923eVRJAN8uZCWg9JqGx6xm3Uzo5dxFc8MOUqcc8a+uqd0SPcjR8VaV8KooYETKrvbCWgIrkO5Q
+YNlpOOG1FOL6P0avQ5+jAYr8nUTsN5u0CZvjcR8IdZ4aZjGlZ53aYdKWxp9wVK9VTeRUSICi/Tm
gzHpdrHBKjvuN8zBQKyN6Zg9qKN0OQ3VLIGwnMj+pg+H/lYDkGQAgamQGUxGT/9uZxACN6L39HUx
J/0l4jUwJdAj8vOhl7sqMmJjH1r8mlXjhbY/oI/xaDuTVgBIFvFD0pTalWOYCqT4KMbxVmpz7Bdu
3dl7AMPtQ9t5yTXuwojjJ3FCaGtoHj21qlsCJBljL19382ASQ6JGRkFt9uNflui/BXr47yEa/sex
kpax5v+dlcTH3SYy/uMpEVFS/rGXCz9JvsY3QGrlX18ISoptfkBZnk/sRf8NJVqSnp8MpeWv6Pah
DUqjAnct/Cr+xje4HxY2NDNJ2p2qikb43/gG9wMit/DNmI3SC4B89jsIh5NjC+V2gA20Y0gJFpOm
0xbUNAtRjxKpSmmKemUOOO2VEjL5vEUz5c9Xj+nmZwrwi/Hky1oupyMZO1Jw3MTJESnzOe9lGgZt
aUEIiCLgW41aI4kin369kr6UXa9ykJ9LkUcuKh8M0KBxvclBUHv1vDDhtmZ4AaQfl737hNbKEGgY
bm0KIRJ/7Pu9nYUKAbJ+Jh8KkGy/iZOo+lwYf/bRnQJFa20phRpgu4X1FupEQCRXvWkU67Nebidl
w8v1okvO0Ao7OxpWJ5231CXDHAbNC7oJl4VZNkS0oULUdkDdcqEWBwrjtfWvn9LL0PnNU2LmyQ5D
b4puH+3ek8wJmDnIu6nwgjp14bE21S2Q5z9z3ctv7VEchpDIUyhDdYgxpsQMUFubk+0deo7SEhZ0
0NTg2RP3NjZb4MMqqimyBznYHOr+aVSyYZNoGrAZSHgUPpDLraKEIBl5nycLX9ysru4HYd+OvQQ9
atIJmuLZXHW2G68tJwGjC1cUkerQ12q024TwZFBE9VriC/RRCmVljH1yJnc9nR3xNegkyLwI5ogw
B09zccF5PCRZ6yGL2I2BcAprRTLyHaYHtZpmOkEno2cKTTjBMrxSQ3occA79uo7sM8XQad3981L4
TkiOuSRAam/38FRljon5nBeoHhIQ/VBwStYYRqWFW6zmJm39PFe9daIHWawBJ5eIKE2mAOvXfByQ
dzrTtv9HpFiezN+Xc9rXQ3+1crK+8gJPAQCMch3IRkN4AEyfxAAe+czePP2AWY19aSBhQFlqq0up
+KqISMaoMI2eQVkDE8b3hrZfRzU0rV+vQqw8iRMsgxAZ4g8G6Ayi4NtlChPikwZBB7/VkMRobD8b
Iy73TtIdCmXs/Sidg2l0jYs6BvoVatbF5NRTMPu2E1s7aefqKq4cubXH4q42sPVI835Xls53o+yk
33uotWvhAUmCaEWSuAlLvV/XVbJVMCjGI2vJ4PujQYaAsZD3KOBwdaE0L2ubpHeWAI+biGG1l9TV
uh5S+GFFe9SmwMWUZ99ERRGEaJcGheJsS5fcwxxfZCzCL4qa4s84fIoitbly88KH04M3BmJWvuUR
UrLksU/IRly7oUlSQdZgnXiNmgjsnr6szjznd/fyAmlAMZo+OY/77XOOx7yhCZ97sEDzaT2NK1Ku
2TfQNdm1lvIQ93F1qamxvbEnRtEORtYuSle55a56fuxMy/Zk1PPyYRHwgJPQqYY2vGyKV3vL8equ
dREODtDxi31DDkhZqZXqq9+8wa/lIP2aXPDMhn53UTrF9PAWRYPTRdUZlmMdsWgZ3fRt623odACh
F81hTiCLuVnasds+/Xp/vxvOKDvQW0WOkpC8fNSvbrWE+W6CaOB4t7q9pAUB7H/Mtj3PtIJOgyFf
99mhsvRxxfg8kY5eFr21czFaP3P7p6Pll4eOWjKZEKLyAIdOolnYWjMabpEXMP4Bsl4gbRCqBoLY
kEmR44vr1QzibNVEo7gIRYoHnGzdte4gIUdWcoF1l1LBxBpHkZ7pH7wo+pwcgyb7clEcZrTM7O/t
Q8qSHLA7lX3gFZ8M4I/X+XSc4K5Y6DQvg3w+HrRMAdjvcaicEak6mF1GtMANYJ0WVhtkuLwyI4C/
Cdwf5QfvkywMHPpkXKxS4y7RBdBlmXrb0YOXpDDCXjmlTUuw88M+PTQuGkN1oXxCSj2I8Bb37eyL
rfbL3JfdMeZX2ZDuEKzHJUaJSjyjafq3SkOHw46/gGxS/XieIGhq85UTXTcOtaxSFLpfRvKSpjhK
4oXCJJ8HHUVjGkAIc4JkjjIUd/LbJDPPuHm8d1IAbbGWqEqadyqoY8VNjT2C4wZD6vUB2hUriOlr
eJqPMOHFz9Dy/6IM6X9QXosff6CNIP/YdOX3Ly16BP8DcNbIo2OmgTQncwYLDRQaTK/iwCLL8EY2
4X/911KRvFeYvPuLfhYquvaBLcrcnwwIbW+w8v+uUzTvw/IakUuwAQa8FBz/VlKw1Q+LQTW1A7nr
Wxi25X3A+Yd4x+FqUWHQlvsNIPbbLeUgoYBk6LI+5zRSni/5/qs4ZtKc4phOZjrqwCHarht2+JRf
NCl8vHDh6L56Xu9UKu8th6wsTxqpNWqzk2BFs8WkRx3DrvC0mAMbEkLf5i2IsAKCdao7Z06k5ff9
HYF+3p6LdrOxVHyWdYomziQxs7EWyjt9/oBCoD3gws1YLR8nJL8kB3hYTe3ei/No42GpfCYEvm28
/1x/0cpGiGWZLZ9+sfiHJppbU+owM7b3jdooqzK1ztnsLcnUyV2Cq6HLzbgBUOM/VoEZoukLZ0Wv
ATqluqz4SGk/FSqGa79+ge88UGRsUf3DTQR5fmd5wa/2i6iBaBr1NCMw4ba71lPmdWHh8kHTL99p
CcoDgLqtNYyiOUCsuTqXu7+3Pl6pnLiLKhRl6Nv1TbeaS/AHMzbC9DjR/Mq1O0iKBgI/HR+bH1uF
2Daig8KrUkUdCjOGeMM7hghVKk18P9qD0SFBZGaPSARhTB0BNE2ColNgBenm9D0JO+ebWhfJub14
clK/bIYF/6fr1vL0KAvfXnuKFVdXwDTC2rX2IFjBaGowOF97qavcFCPNxFFVDmEZagGm4AJ9/hSb
D/j1O1kp+TXfTbLT3S4PlDBU9r9+r2+zqJ/XZngaCPSFFPKP8dqYuG1Zh+EcKBodxwEm8TbqUM2j
Ycng1RFBkzhhIBp9/N/UnUmPnMr6p79L77liCoZFb4DMrKzJY/nY3iD7+Jh5Jgjg0/8ffG+rXVR2
pXx3vbBkybJIgog33uE3XAEVXogI5jbU2zgqm/fBblEaG1/lxcVfLm5deXTHZT0zs1uiepp/6NPw
4fXXfHFSeDcKc/Ar1KGbCeTzTzBUjfK1YrYjXDjFEU6u/7aKnSrwMS24kpi9OPrbowCesZbk1Iwg
nj/KiJ2hMwZcv8WQW1Gp5Qm6GXry9PoLbT/42dHnKdSwiILjc7dhZZ4/ZY1b2+mZPiGtO8bBYozd
Ibf7H77os9BF+iKEwC+vxIAXn2x7JnM1m0iAatm+u6EZcsinPsd1o4nVW1WXHZ2LOEXGoE8irzaG
j6+/426syObcHkgHhxE9CEIujucvibo03gawoKMM4hueJNB2+yrJIsP2GDQsxZcBUYM76XTjh4pT
dVPVg3XQRH3VDeB5VfufH8LucUnAHHCwu+4XmKSKolXjm67aeiPzoXtIStc6qDJGXMdoK6ZH2ggZ
v2yCVczduS9UfZATt+qVJbn4DcgPgAMZ6P/twV5ObaHpiUoheiFyDAsvhrbcLIijmPSFSipOoG/1
yfUyOvtuGWNbMgxhXyzmaVKdHqWu9Wh1XX/nO0iocW+NV77Zy32JeJRDcrHBLpkg7g6a07Zt2lWF
iNoOu3cHMzfy/PHgMTWj6kbQubjObLnwzI1jsMFLN1k7Z/dM2dm1g4SEHklZvneccn0Hu716j6DA
l2bM6Ex2wJauvOeL+wjDQ8hKIHvh4xDZd+fPdjJKT8ypo6bourtpwLWGjnAWNUTTj3o6/91o7A/f
6+JjYqM1emUbvAjb2+O3CMNKQ/b7deX8dh2DGEqXevD4oPrg3kzK655E1dqIrmPJNJR0RrJSMw6Z
V/gwmZoqGnO7OS26PwR0r8VBzIN5lG3lRL3iAmdYLw9g6kckxVUVvf5jLy4V1x7nBqT2C07QsjRt
Vk4IjedMe4NKgQldm9GMjGlqo6LJ6Lt4YTWU/5AiXrOyu7hOv/TymBbY6BA+jyDMs7JMYVoUicqj
6otRxS3MKrnzKhNxqaQ4UkjVH5nXzldi5Rbln8dnPhBwXJLdX92CXb40tIs0x85hT6q+OADdb0NZ
T/lBq5dvf7683G0bUYNsE0Dj81f0lQPC1JU6QihWdTJsxCrruP571e23EJttGiELaj3J5CKz3165
xC+dvN+evUcydbBqjG7l2bPejIeub8lgZtc7JIaRnkB5ZrexSQf69Rd+GQK5xekuUlUBR6Qeev7C
UrpDXsQc9wblTtqZXX+PbXl9Lmp7Qug3E1f6tJc+pbAJa7+QUdSKz5+30M5Cud7VIzxkXfwF4uKE
YuR3JpBX8Vcv7xlebSsK4eFS7++jp6ahndNz6Ud1VY3RhppHy2zqqFjs6uQjaAnytHFPszfV0ayJ
FCapdA+1nl6137Uv7F+xUQU3ox3u+m1RfgswOC5XTZ2aetR7Q48XVyvCKQN1VddFecBTzHujyakN
R/DAB5yXcXPHGD7MliF9YxWNfrTNcb5tKJDPr3/8XQNuu4rBIKN/Se8cZXCyguc/LF0kI2T6btEk
Eki8qXnuvfaduWxy8qCFg2yp1Dk1MxGhChaHC5pDBx+n2qg2LHXlkF/aiQ5EOlKCLYfeMxussu+x
t5BGBBQzDuHNZ8cYpDeSbHQiDcwQn15/+UvH7ffn7d59XHNgx71CLKxEmSapWwzRnDa7gcHgvgNz
qD8qvxqvHLdL4ZvQzxQNpDTRe5eEORIRRXcyjKjKHQoXe/JunAoBqdFvAqFjhg0+tgQxI7WD0Y3F
6fVX3sG0//29YUQC2IG8R9NztxGRhqHyoQMeJU3tnOkFt/cG5PGjrVCh0eKS0RYSemG9lYKJq/rb
0YrnTbp3DUu0uaLWQolpwtfy7Aw2fpgUh1cW6NIuAFu3GZ5R8lOOP9+RG/4MTRiLQ2sU4h/833Vo
0iXAzalRx6X3nCu77uWdhmyvwKsTzLpLs2h3tShaWksBejOC6rXBz3Gm1CG1nOO+agKzMx58p6ZV
aiSfXv8UL0MCz92yA3r8PjXb7kvYsYkQSUORKhYze4/7RBNOmFZf+eAvtxtPAe6J2RjobAL9bjUR
QBJ2LIxIEvzfeq3jhr4lizAFdnWOiwXtRUAhN62If3iz512J9S+/5fZ00vxfSv0ACJ8/XU55pZDs
MZjJpYwsYRlFaeElT2XdWlHS5dfsw1+e6A2l4LKYNHEwkdgdLmWUwm/TwYyqhty9Y2YViLVG8rGs
mASLKgEtlNk3f/4h6TpuaTo1FS2J5y8Jl6Cv8u2hem2rh4TMLUJT8w8ViwnUnFeD8YTP2eDq3OH3
pLASXA+kibyfXR8M0biHpVvkOS+99UqGue2858nW9ij4EfzZkoJdRoAbKwIyHS+UtvkSgcybTvOq
j5Fs/ryRub0V6AJgmGR2EH2fr92QTDK1y8WMJn1djwpybzrFSZQ5+EKPy/RnSNYt+vE4n9yVFi29
5r1aN7ORdZxEbUZdPuQhIlHrjemDl8VX5dqjLlTbgDC3z7Wxw0nFd+fb1NqO2wMNQ1w4ZTR5rRcm
XJxHa9SX0NPqORrhKgRcFNlnMDBG1KKWGxp9L64E1EshABnhX2RtOmb2/oesXdFbYjKjmcT8qOKG
Ea8Fr8bQ+2+LqgCWwDt7u4hOHcdU068xgy6dSbDvYE9psBCAdo+fuFNctPEREpvN/MaDqTibb1Y8
aAMA2kD5kvraUbkUdbhh6StQLhDSd1FAS4yxHWmSASsT+qHIHRjxGElFept+iAvtmq/lpReE+sJ0
jkY8nYRdkPOWYjaymEAulyw7W/ocH6oyRjlP1u9EoU1k81kavB5zLl1arOVmZKeTSO+T6Axl05p2
1XZ5LMlBa7T21jTT6YQdWP+OYcQUMBjQT06HAODrT764uI673Si424HnfH5iu9SSSIjmZpS3JkBH
2S+HShm4T6WIgfIxr52jS8EIKBm1P6w8FCZ3q6vGObcRrDRogw/5AfCuOGLklR4N0O5X4t6vKf8u
8FEpkAWAyaIRsR9zWLFuKoSwOLKDNj+0I6pSupYFVp/5UdWluLwY7bFc6rNfGv7D0ur+fW96T7rX
akdsAJDzGpT3zkmUHaRce8CVQd8iJXW0cCq5QRwxPullg4uWlcGDS6wbXaTGEzji9C5rceYRY8JQ
VPfUKQZ/EAylz2xgoB+lLYs6A/VEPdhc+zuhcEFCeAJxR8uQx9c/8C8ZgherYJnIc6DtQGGwSxmK
rNJbxGwoCQZLu698xIVxKEWxtXK6MyDTPvKxsziih2ljb2yJ4zSgTZnnRXmmk9cFeWfJUzm2wFr7
qb7rllQe0m76Q0/hLZZjfvB/f+bu6pim2izWmSOQKkzsnNYc3tGFaXgUNJHXl+TCnudRDgNE1oQ2
9G5F4hLT0ralSFLs01uvXD/2RV98GhmWHVJvXa/Zklx8nrehKqnJ6LTtzpjrJoDTtqTNl1P8rtLV
eDPEvjj2srKOWEYVV97vwhljtIoKpkXfj7/tnsfM3vNHRzOioTeSh3wp21Cjh3yYhmW+csYuPYp0
Fx0tqh9EPXaxeeWKcGU34CmRIUE6QlY4WbIzYD5ikvf6V/uVue83Mo0GHdIjEFXINM9D1TDEPd8G
tUdZLdUUppslxiwmlQDvzrNPaHQ+UCGlNwAp36tiniJRFNmNhaXLY1Z27efWmAMkBf/J5WA89LOP
jko12I6NzFtZsffHdAB41c7AVOImpffWjhhF6n2kzT7aB8o1ADWv1cz8B7MqJVDki4F8j6gq12HX
te4nfcTRGWhVLG5jrZvd0ECJFBHWdVBvZz/rb/2yrgBzTZb8AGwC40V6ssixkvFD9V/L9E1ZmiWu
M4npfBOlNQPBAtozRWpznD0Zbl2LY+qaEmy/b0gvEAvkiACq6fjFj8vip4FVOUMPCT+vQ7v3Ly21
vL88NSqkRE35CApk+Yxq6DQFBMz+2KLnZJK8jOZfFTVVefTVBue3gLhbYabl41eVd90HfRHGUXUm
/w2Evv3Y1m77xV8y4/0oySSRxsIpPbbRdKwNjDjCEUbajD5POvxIxCa4zyAg1kMAeMQed2qGv+B1
kcZ7/TA9vb5JLu1HOE2cNNqaXKW7PZIQYzx4BHpkVas612AuAVyly2GYi+HK1t+Bfn9lnxxoXO23
GRO9ll0YqeAidGBl9ahAuSAJB+B8RdBiyMHtqQzjc0Fhhmy4aTHe1uYyf0wtC1l62jbZ5zpt+5/C
qSuwNqvzw/PjBOupHn1c1x2+pBhNvGvXFH3kmOvnewcP52luM/uHtJb+Gnn9QsKzBSZQDlvFTB/4
+bkSQB49c0KqtpGEQ5wfh5OdOWCfhPdG2KN2v658/9e/08VbiTIBYDlACzKPXbg3U/gzsp30aPAL
N7L8UdzpVWre4BpxPzQu6usVNk6t7nVHH7/LQ28tfmjTvrxdSLZp9LHvy82oR8u5shQWRafYlP7p
9Z95aWkAj8GAB1xkUmY8X5rVG2ZTX2Yw2UnVREvR4wANdTVsxhExkLhQ99N1O+ft1XdxbgO+4DQM
ZxCK2bbHf2suKmmbswtpBh5bwcB+Jc4dSnvpo7Se2r9R8uTbtFZePAkvkSnq8XPyNOXe/GlZqviD
6tD/B7Rbam/0CbrOlepj2wz7H8fEUWfbbwz0Pa4QnwUMUDE53UCgLip9y9ehRRx/9nQU1wdh/vkH
MOENAs6ll4mrye4q45dtPlcrazHoNuL0M4q8CehWB13ft0UByNusOd6vf/ULQQSUJm1dNiaNgH0F
0K/e1NXuSMHRZQm9WpRAV/AlaJLa11SxLjRsCRx0NzY7Lwg2e8cW1+0aLC94QVAwZZQsAM5jj73t
qtEAfmfGkdsM8cFXK4Vd5d3NSq+PWrfkX92huSZ/dqG0/FXUUdfZFLn7uVk+KL+PRUkOVvsdJ1ND
I7hK19t204DIdVXDa8i7jWKdRa3Ir/VSX0JBNvdH7ndWAvADMWm3891cmGNKM9Xq0QavDJl9WO1V
3A2xKk5+JWB1jh5t7aLqnzyvkB/ate1v27FlqVIHMO1Yz4GAhxE2g75cCVmXdj7oy18IGxAM+624
zj6Y7YaWl1Z1xqnV8we7n0+m5qW3ZZIvV7KdnSbnr9sFENxm6077HBjvLkD68Ml0b6GVMg9xGzEr
M4OiXbtTpleMrDNLRWbdAPWxx089YsfmYE9XxlcX4tAGHeac02Ghg7TrG5mirRKbyUGUbIc7g68X
ZGoyb14/bBf2HKQQmP6otaEBY23L/lu0c/DpMYZSmUjcO8a7ZjGXqE0WtH6ncT5CY8J6WJ/6c21n
yVlirxq9/vhLfR2aGegckKqiGbeHbjEhSstpGaxonWjE4UG5RpAI3SiPEXrGUUdEDcrdxzLtPiNo
zKxwlD9GxJ6vxNVLe99iGajQLMZ33CLP1wEhPFfPJF26LF5hq3SlcyfB5EaLZ1THcfKw8KFNTyty
9g5eOZdHgdx1KGNKzBxcLu4rZRFZmXgPmfOaCOiFa5BSAinJrbNNHbM7l5k/rTYcQjOCjTBF6Woa
b3tu9rM1MFcqLKxwlnW91im49FDGGvQrOQO0f3cd0lmaQKCclO23HGTfF4+WRBc2c63sppT4b2CI
cmUrbAnb7m6zSEIJfFs6BH7h+SfIbUzI55Yn+srCV8Sv86Opzw1w5r67T93U2uaLaE1baXXCvX4K
ptyfPxZ+/630cxVoou2v7M4LMQddgw21gc4DJc8uCJTobsuma83ImrP+g+Y68qRN7dPQ9s7JrMr+
StC5cPFRFkPVp2pkBfZQEQzlstgqayvKDFEd8lZQwcjNTdOX17SfLsY3cLq0Z1DT2Pwlny+24OCV
iV9aEfPj8S4TZCpTOuahmg0cpSZYzY1COz3vNTrVFWJHbepcdS69+MKIUXLiAIzQJnr+I5rehodu
4C5vFVZ87uCIHSy59Lfwfdtbr8sMkuCuPmQ0UrMgHnPvuAIrCxKEMoG11/5BzxGhUaD4kTvid7++
IS+dAFqCyDXw/cHp7n5dXneDyiVLhDJDh3S6WKO5KtwAdn00pJp5rFb/y3/xSOBJG2yG825vP+m3
aJwbWTPP9kw0XtPxsTYU5itxD/Al8ZqIJVwwd1IQ415/6qVtzpVP4NskKax9F2EsV88eqtSK7MUA
DoIJzI3bxjO2TZNAKHH2r5z0S5+dPj5EWKYvjJd2TUjRKlmXMgPvCChwRV3/BDZtiUb0Oa682aVP
SDYFipMakTtm96TEH7IMJQOAGFri3rt2WdBUXd3TaMOp70ah3yVWZv0XDwUzw0BkA0HZ+ys1BwOc
JTYOSppdK9hPyWkd++KIpIUJYKH5CCTn4+sf8NKCAjBDapWWGijk3WGejanM6z5n4J64GEl1Nm5x
A6oLxYBTweuP2smu/jsxYpjM0IzlRMVwfxlZaSKMXlm0d3Trq5NM2Q2UuzuZJzKEakUEqfzskFIR
nXq3NOGRrvN9jezMEd/R8c7OyxUQtNaeW9LIQ70aJahamsELvgWv/9RLqQ3pGxB3NJQMgtzuMCVD
UhTDaEWoOrjMnpNvtTT627TvuxBP9eIWXc0pMJrUOIBCu5ZRbOuwv80Ao0IsJcwChdwlFHVj1xK5
aZv0bZmOJVaNAXqW0/tZDu0J9SX9Qceky/Hm5fz6a1/aDD5oQ7YgNBLwqc9fO1X0fERc8uAUQdFe
95I7d8ZZiTR9/G8e5aESRSUK/OGFl3eD30aMZmY0xHUPJXiqgjI1l4PXVePh9bf69bNfrKe/Sa/R
X2IWuH3t30Jj6mFLY8601zBWGh6NVkrQ38N68DXjO8ZfHdqyOEB2c/c3A1KTVEEsocAq5lSuJgA+
iVekhhrIMBShWVtk7gQ4o+wxjaF4BolTqruEC+iUOJUeNGmsQk3rrnGwL8UjlL2o7oDbb9Pn5y+x
9Fq5JjmyIwy3Zww+KiCxtd3ddm7XY2A9TNy/yJi8vnSX7nqyKeRvDfpy5Nm78GBpiyzqQbF0nczu
CiJXUMUAM2YXSZSeAWpklfYnWTnJqWnG8m5qsJt8/Tdc2JQbFRABe8CwsBC3f//96zFeQp2NndJq
agCKU7VvWs/9ks3VVU73dqx3GwWGO9p5OpMnwOe7Rw225WNDZNqRkUyAXEcm4a2Yf8KP9Y5O0Ywn
nEhkqFcLda6jaeHMBXXlXFyqarZCmlwdvSkm8bvfgN+bq/TKoBccT/Gpm+wkVOYoojq22kBM03qE
eIzzDD24c2lZfdiieRRK+vl/Dhnhh4DzZ75jv4yBmbHG2ghVNCpyT94VfmKfi9Wv37aZtgTIIV/r
T136zsAqtkELJfqLjh0mckIkkLlhbLgi8BAAPOepT6FEjXv88y21sdC2WZKJgfzuLA0JLm/KxEmx
12NOrEiJcwJx87nTrn3PLWTut9Rvj9rfJLXCZDNu2L1546cBHiL6wRxUdyVv2NGmf12tmErTbNhw
FdAKdrvG9WIXXRvyoqVexm8OPY4QDAv2WwC9z8NUEJIMoz7ryNacPGuZA1+j7ZhJQIQDVuQnb+Op
vr7IF3cyvQE4XMxyyTF2130690M3b7cJvGMHPCsAtRTp8Ggw++6IZk7/dxYvSPms9fqAhEVzRtw3
PeVqNA//1S/hBoBUQq6zj2LClpPUY2Kn6lbvBotNI3Rj/PwmpDRuhsFf3zp2od03I0OhKhM+MFU/
vsWE9pqQ74V0GQYNeraUxvATjd0FKxZAS33D4U7zFrexqssfLNk6Ycqtzs1RiCvp8qUmJXcs/UAk
iylC952g1hKx6GZIO63+1rbwexL1/BVTM3GSS44x2VjhkteJwjtkGAc8qD71j9k8FJ9SZEL/iO37
nz0K4QUkztYk35+6NkO4dW0GjsIqM9SYHKSSyw6zxMFtjiJ15TX6/oUrkwkF7fgNoE9M3aXwbY7D
1dh1VGF9qge1wtRswKQtxAcL6TCZR2M6dVd2/S/Yxf7AE1MQ5WHVAT3vPrFrr4nCehdUHf3Pgw7D
hikluiWEtx7lS7eLfB93Y3+TDmkWcsdSVkZYy6y6W+u0fsCAEGfLuqvuPRuOn8f84Fh0tRYxhy6D
yTbrG5WKJTATZaHiUTanTuDyWM+Wd0w1t3tTwhY8plltAs9wr/WTLgVpGotM/Gktcm53ibG2TE07
NJMVYcuQ3FZlrSL4qD06GN213ONCFmwzOYDLvA2pXxRgCFvWubRXCwhhlUUmXdzITFPn1NG2iVqk
8U5mkS7nXmK//Xq8uHRKSbwhdiKVA+xr9wnhHfleb6d4rHooduCDOrxNHK0JcK6LKUV0/b84GEi2
onbBuAom1u46KibHzUy7IyoM7hKa2ezgbZ2AmGwRJm0yy7l5/f0urexvz7N3H9Fq9VVgrkhSV8sZ
y+feOvRaeg/UZTwPtioeZY/eAtLY/RV14u1F9mdj61Dxx3V40d2BTEXOBEoH3gDitvjpidq7zRfS
V29d1BPzw+KhYuOGWecmRyQBriGmLmCuMeiCEUpI3HSM9vK4uZGzo5bOpHsAAs6Z6h/W3FFzuGI4
dRuKunU9nP+WHCs7ieegN9I5hwis3w+m0wdYzOQPCv/ZRz1xhsNEzvrh9S9z8c6E+rGZKqCkS+b1
PNk1Bq0zELwzo7rToLrNa4msYmX+yFZrOaoeVV/gBN5fZVI4RwxHFPIyTvkGy+H/qCX8Px2CLn0q
uIn+Ju0PUnEPTxfFaIyzgM1kG1TAIzC3EKcL+4zzZXLrSMc5ycn+spIgHrOF3taVMHopzvz++F0J
XKWix5oPANg8D/ZTTMEPG4POFnrm+tOVNb903MHXboAiIBkcwedrrvW9VhUUj9GaSz/QcRD4ElOJ
3TalP5/T2lOhu6br200B4KTs0bzpoK58i23RBQOam0ddTJL5yuCGCvPLxykr6isH9hIebmsG8OPg
Y6CLtmvuZVOOeEbagHsqEjNS5lIdpNLhL9uiOUtYIe8TzxzuzXatSbTy5ZTodXpuPS67uY7Fe2qX
H5WZf/ApHm+BQgpYB7N9Z6u0v6fqW75ppQMAPXfiEDUlbNJUMd6ncjW+SPQWwQRNY5g3uGIKUTSn
2Z9AqZhJfR8zdDwiO+AdsZ607gUT3lshze4oS1MeMGFTV4rBS9ANPjFTFroGDH/2+TTLYNeGBIXI
nSjfpSmsWdQkXbC9SRzC87fup1a6t2a1dA/5tLZHL23VHWLKDrZz9vqmcXEaZ2DTBFbnItLVyvUT
ikPmm0S29cly8toIsnz5Zy0Aq4rJvTaquLSxoVQYWxYE83cP2aDppAyzQjMZFc8sWqq0P9GxKE4M
Efor18ql9AcCCfMXQBAAvHZnSNjZ5MmJuRTGp8WRqUkWaLmsHts2bwJ3lnW0QLa9Yopy8f2IX1jO
8YLuvg0N6Z/aVTL3EG4pj9Ykqk9Kud8M4FFXFNguPQk0w/ZNbYr1PfXdqFyKN40n9b0azyDAb2N/
Mt8WrnUtH7j4JMbHmzEVFdreYQ7qSAfzlWtDjWV7NitUr1bcHtEcUtqV/X3xikIhnrYz8lekj7tc
gB0/2Gth/mrje2eGVmj3JJ9np+mi2GvaE12AfzJEQ29dxXzLEPE7jezpCXdjP2wnr37ACxtr4hix
2K5W59dD5cWFcBBq5rfRFto3i9eOriGwNnYUMvMQbrvy6A4kZ1nqdVcqlwublzSTmSqRWaBssMvB
qkXQbI2Z7/RDMp7HxEpOwmjwjvMX+N0FA9RFuzrauvB+cBMhfkJYofGxJ5D4Nqq1deubkaM8/9Am
dglwScy4NvrXOsyXPjTQESZEDAltnAX3N31rZv8GJcDLaW4yyABBqw3JfV/22LLHqPmZMt/0XMv8
iG/ygnKcXtzbZdWEcZtXka7yMeorZT0MU+2gPOU0n17/2tsS77K1LQOhUhXM+ui+Pb8XKZmNjY8K
CHsByGu76G3lqR7/+TF+9pTdh/amLFd6w56STardpmmZhzaE/5si1a4RIC51M2lsw9Xe9D4ZiO9u
enStMjHSYAUiIBJYdcV06hv51qwM5wSBWQYIj+v3JKn5e7+22jPA0urKvv7Vv9uvKqeboTwjHtLR
3fui6Yzl/MLEbPL7+rQ4QFun2HcjZa/rTak1yH7hj3qYIf8fNa1XX/MUhe/U2/QovLRA0Y9kFeNB
BhF+ArIUPZiIdFcc107z7sFseu96YO3g4a3mn9Yck7u1jOtTMTXJKRvar6/vkQsnho4TE2cUdLi7
9iuqY7XkOwuSCzNKqXzCLL9d7fFvTfXD6b94EqXDJsFIUrtHGBmjBY5kA/Hgadp8aCxXnXqZ0sm3
LPXv5POPlML+f5MihpXx23q+UPqinfOt/va79PCv//Af6WHh/Iuk0oBlhhQBsIVt4vR/pIeNf7FV
gZdCG9oA9xsHrW5QKv3f/8v7F4UB9gD4YMEtRHuTfxqwsuefkAgjA6DlAy2FQSaSeH+i6QV971ko
ghMKzogQtGmUACWEovY8FAF08pyCWV+YzlNFggYkqMb7rKFk68Fy+wjY5evXaTXsp7VNjRK9dT/P
GOJ06RioeZw+qGyesY43CuvrkHrZW0DUyOd3aa19XIrV+qHWLe4PSX3b6XH7XgEMQ0Zdm9UUNADC
76zWqHVYHuj9NsRENwQ7XryTchT3hh1vXZ25F5/mIsPlmCy8UXRuNqS5a9OjQcLWGPjBa6J/UInu
t5urZPJ50CX+OCnq9KSvsTEe9THhjdy4GD7TkI9VZOMo2h3MWXe/9bZM3nVtDJQ7lVbxDzYblEO4
/GFBoeaiR2FQjTiB9Hhs96QrXJBoykyBcAbPJrrV7l1nEvaiysSGiAZK5SBTZvOwg2E2JKSOMpIv
45DIh2lknIWovE93dkqq5V1q1Jl9Ajw43Fa6p8moqibtTb9mdnkc3BGGjImZ+hQUrjTWoJK+gN9v
lTMukQm6h+d21c0bOHZu+6gSbA+CRMzuF0OQA4e2i9d9FA+Fn541VYsqkC46Uay9qonRaLkJ+IFb
Z3iE+XUDb7YQZ0uJD0Uzxe+13E7kSQ0WkHp6QsZ7rUqTMkIM3n2w+X0JOZsrZJhY7vqU9DG6EY6e
eqSLVawFudt5eZBq8QKzx04xMWQN2zooK83/7vSzlYatI8bvxizmMbAKo51uTL0SH7DoXbLA08rp
oypKl1GwPSzHNpFdHMwpjVVTitusLvDbgsK5BI3024epUkJE5ajYxzOgk5+eZnHHoRaFSwrUiwEd
2KSMi0BH0wn0cElPKBzz3lkid5qsFqckTX+zdTB+WEPT/DOtjv5zblb9jdMv4AvRjGVENNLorsJW
AXvDy4gSNjBtbeSTdUv2HajlqDAmXxf05b1h+jrNcfvVrZs0CRcpEjTFFptryMEFAcEf9bDqMzQ9
fahRUcaAz8PvACHwr7kC+LS5coVMv6eM4qIY7UMHs+VWjOOm3oo9+Ipyd4oWdYVtSh0g7dL23xmG
lI/x6pfysKbucJZZAhLYm6BxHBYUR8TJNadtzO9IE/m3QdwZuYWUXoL+zke0GyyUGrIUHeWcFlId
ztlUM4FNimo9NX0+vev9pcrPJK8+skF1aRlwJFbvewtYwAnBDBkmOrpG4zzOmimp2vNVvTGMrhkD
PZEl8EBUIe56303vUdbFTcfW51k/GU67ZIfRQnskbFe+RbD1QX/qVZ3+U0Am+5wNzfpNa/j0oak5
zhcwKjrfTrfbL2WqtVrQMLrVyNmWTU8nF1WOz4KPvdkSp/NHMPzA4VVhTo9Ti80pphWG/Crm3Pqm
CnvRmBakiDhXqi7e1OuqfXOlEFy5TEx/uEOiuQH09eFjtlbueLYIf+khHcbuA01k4x17jILeMVuU
LtaxKfID9L0Jde0FeWYgFk72yYt1um5jxcYN+k7Hmx1oJRTtujFbeTfarW/cSr1V8+NkZzPdIIUO
UxjPkxxvncZnOeyu78qwErjRhNLUyipkWt07H5suLWglji0oWBHZeU6Qq3JUaTa7N3WnMLEoHkU7
ZO6hTwdk66axcJeHXKWJ/caoEv27ljNQCKCuxt6pLFfHDNeMvDQSzjjPbzrhNflNR0ezuG9E31DS
Oq14K0ttGd8166CvoT3UWYwyO7XGe9vQUBTp06XBFqXL5vgWIpfAzHaFxynNwJ66xZkDF2Mq9JZ7
IxsOwyL1J3dVTh8tIAeRO7SZz4Ypq76i0oF686PpJUv/ibJiLP8pygIDCDAWnjqiooaSiAfzczkV
tBeIEktp/4X8svd2YC8OqLTx/yP8DY3viWi07xXnPkfug28FOHMjTBleNX5kKjOsuI53tX/MmZbM
Rw2ax0xenqaPWEOo26GO188ZljASB0o/f0AZyDdOsTehsp5Du+hoTTXt38mYrH+LoejfNF2Rf20h
Ot3RUjf+ijnQfxutStdQjbiiYHS7uD3dptX94Solnyz8z/WA44YMh1XHMg8gxCE4zaDR66nRYsDd
JhKKf1nT7Dd3Tq+5QziuFe693dgPB9Pr1opbgpAj1ZpasGMaog3gaZTy8mUFNTD5+rxyXzr5fYas
9gfTqe3lRg2t+ISJeKnCfJbLk9mW7D1kiRNomV0CEctSqk6DDHMX8wguqKJFCg9UBF2PpcWtkSVz
ETgrPqJHY8LLKShQ8lHAbzv5SXdm2wL/Z9sxHGi8bLHG8YwW/w8rf8pcNXiQO32YlCPwWqgZbs5T
cz8u7le/4n2Ixw66bHjMhHbWmF9NabcZjXMD2q9XFuV0zCtfgHQS1U8XO5E6bEqn7Y+atPIvddPM
n4SZC8qOWHe+j147foQpb3KD2ugkBKU5MP5e5nH42200/zyN/vDDy5bird/JhoBhT2CsezH41aFN
RfluqbO8mU/ctn6t39VVG3+Sedwt+NWMHQS4UfN/Fk21/Jz0xP9p2K1OdKrsx8xaIaZURT+8EbWG
BkW8NA9DNY+fa68r08gyxuYjbnUYy6wLUi2BRCzknGUGkkyeNiFgXONAc1+OVpIFfVZb48FFuE1G
xlqOGDu5ljwYq1lZYeotWh2MqaX/cNS8LhGgXbu5wTs07iMrT8qzPk9+EVgYT3/0LGl/rOHf+kdz
yZs8UHoOGU1LWnKuOfc+jmCHaOsh02cFbltrTWipSv+s1870mU7naB0Spy+yAPU8vBLoJq6PjOwM
GQ1SDufMyTw7yFroXdJOSnx8qxwJGpFXyRM3ig78wC+MT/A8TIWDwBAf0wFBlGDWdMb5S+qZ+Da5
2DAczbku/4e681iSHFvS86vQuMc1aGE2vAsgEDpSROrcwDIrq6HlgTgHT88vbvcMecdsxoY0brjr
6srKiEAAx91//4UWN83gvoxWgwhrpXN6H6Cny41lZeUz/jbdQ+EueRrNuqaLUKZldeZQz77GwJ5/
6qlMf+hm1TcxM+0nsO3KKTTevjorx8QzzD2+6ohn3hvw3+kEj7mbjA9YWGYvgvDKJEon2rFw8ZSu
R4lWls/wT8nGRWzofqipWE9Nmjv91rGWIDh2SGTccFiS0TiIPCE4Vy9S47UnueghDVRb7+Gkyx/S
SDIB08XsTkYyLRlwc2PMJLwhMQ9hb3noaoqbjtIgBHpZ16LaWKJwj0Sb1ms05ZaF7JCdVhpxD5cU
TXPWCb9JuwQOwszZSMoTLkv4UqTbtJPkA4FKG+/0CDVRVS1N4sbvA/GWIYmdI5FMMyq9dIBHK8ag
lqGVo3TcBwl5UJGGjYu3aYjQuqpmVSmLAm95tos+e2utoENHSwoRltuNmb01mlp++5Dw001T0jqF
jUFue1S2GhQnu84e0cVqfZgCXD7XXWHgPlMl6V0++ERoGXqniihopDSJMyJUMvS7LLhbPSO34oLH
rMHH+t1qsMnbF5q1GqySluaoLWWfRbOjnEPZu/ZLMRdwzpdB8QtaRyT3s4UILlqahLDqmWhpM1ys
xSqjYMr09P9iwP0vJvL8f2uFTYX7zwbi/dSkX4P654mYf/GXx7X5N2BeaAqkdaIPxR3oXwdiw8X9
+gbbQQrGt/cfpox/zcM2AzH8QABp3IH4ixvZ4q952Hb+BnsO0jI+12RjoHL9P5mH8U7797iLeVt/
QM4CceGVWA7880DctoWYSK7pI+Frn4nc4c/+lOGpgrNu5ewts2qIO6shzgq50c3kbnYyfe/Va78p
UENsvdZworJp/U1R1i+JqdwtATJ2jNUX5lPLQsfVtNZW0h7Hk5Fal84yx33nuF+kUxYPXuF1R3ft
EoLGoNGg//lQi/Mze7t6Sr4GYVaIWiCNpW2yPmBt1R/9OSFuamiyk5lrWtzlwqDN9eGHI2tLHyQP
fmSNiBDXIjmMHT0USUgPjhZ8Forq3nXrOV/kWTMo5po5arvM1dDbTYa2nTXNukhXs2Jdow0Ns2Zt
wcoTb1tVSb3DSLK8SjfVZTRhTPycZm0f65xHcc8s+ypnP9lbToF9gSXymeHIzQEj3XzSnzvNrCc+
ovbc+RbNuhwYOWwznd9KIbuwyhOGqRx8ZO9PAxYQvpdSHvpJXw+dF2jPEz9xu5zduMTSyax40uGN
x41cE+Jy7CU55VqGftBNjCwy9DEnz8JNN0rleFWmwrFJ88ya9h1xy66hBYizVnWfaynTrWYoXOLy
wtbo7WevfLJTLGtDrV0nEU+4QB4VR3oQa3xQRskk186WjUlmwqSl2GfmeZyMfHX0kaUeekOaQLSj
XOfIoA3Gkskz32YlcTXKVH3oy17tZVf9spT1u63Wy5ivblxRsP6oqoBeNdOmnqSOG4NoXU9G92ik
e3r9eiNLJhtyARH9l5zvxJQCFnjZpN4VteUkOaW/tEk/oVoJV0pAlObC2q29TYSZsp8U5mjQ15xf
sMd2mkbwgbceTC/5bsv0vhzWXSP1fW3UV0Y2PkA18q2myn2YWGz/FplrA5CsiEJuSdLEo91chXVJ
awYDIUUx4vbzySz8ajcZdfBgY03oQ32XzhCrZB/k3nROO7wnfWJGN40zfFuut18bS/+SAR14VGRD
utLDBmjsZowa6YqCO3elNITVZKpXZU78OksvtW1gNtW5Iisp1sv+UfQYO/hL5z+rXtSPUk1u1MwO
EYjzou1Hu5zvAhKFQuA3ehjbg97jZupUNpQ+NAGBN5gHubRpTDipHldFJV+GPi3DAlziPHUV0xQo
1oFuJT2YSeW/z1prXZa5RRZaMIhE+ti9QPv/8CYC5GUn3BSggWyKCSoKIjrMUvqSja9dvGObyqp0
QDcZFJa/qW0vZ85rX+Z16O/0JkXaZyb9hn6c0ObRHEJpOfnZ6+df2NIDmqiB95UUirlQYQiOwH+G
doa7cmjwXONii31upWdR3mJmauLJciF6ML2uopNnR2g6ijGnOZdZ4H6AqD8xv3mRaIunPKOmdhYH
lTk3x4VT7SoVin7P6JoDVnL3bRPs2ChkGPMq4p3NqBsv0Prm2JKee/Knpb8gv+bxfWqHOsBk2kWc
ydoMJuAfzlqYoQkAtSlnU0fLmLb3Sa+fJ31xd0ie5cFaPe+aw5oObyf0sePY5/az09gpa+9CVmcV
5i5HbKpFqilBgbqouBkMtuYlMPJd7ze7Km85HNz5QBLfJRl51MTyCwG3FZH3tlX4N4CkpWsSEVu6
aUAknO4x02xSK8UQr1NQxmlee+i3S5c9vLOxlPGbgBAt5OMcZ8A/mpSF6KWs6l6GhmFLF+61xjj2
MWhWZ1sZZXXsEn/dStdqfxyZkuDblcuDU+fFXp+b7tnRhzjHHisv3TzKBialqX5VNhGUw2yEpeMc
m5nYx8b4UIbOKeF7p7HS7Ehvc6hutggOEhJqSOpD/pzVsgIObPTxAF/tKElodJqC3JblZvNXNskY
eb6tNuaMX0LDEr70cy2Gu8t3UBbEAE0i4/o3F9izOXb3VbK3nZVoFPUjjGLZ6VNX73je5J5p5m2e
J5PCANq5qH56c4Iaq592dgjHEgv3bzA/FEP95aToQ1U7dnExjwA8qxMNMxkyWcLKxWMEU0FXQ1A1
75Qy9ow32oOhhHpI+ryMAITv69V/YjNzKo2WN6aXG0/kD1rSfSzI/uJuRODumn3+zvRccdYyPHsc
PJFHGqXpEdxpTtw8lhjne1cTIzlP/Qan1LjkYt9hqmXt1GKtl6Aw5Ouc9uMeBOTgL0W5c7ICD5QJ
P7MMjOZoZXpsYD9STmflCzdEgIbffuZ3gAAqINyyFzgPUH3Tot3f3P+wGejecZWhhx27p1oM/rFR
N0TDoGSmg0wOy5CLXTvVCcf3sGxQCT02oolhmY7HG4u4bkWFsFXoRyzu7efRuJvNYtlM6+wiCF7H
OLMLPWYUt8+i+Fh9GIxKTzwvLNrxao2as08U99Ywam+ZKLMNNyHh770ePEwl2OqYj92B8mDv0W6r
qMVpZas3HWGafAR35y5LgnJvuMVUaSlJNYwadGX1ZnUm1DF8NdPgvVhFDqUDA19b+NiZ9zUc2/sg
rX8GZoVeVJSMLPlVcS3CyR8/qhTfmL6QS6RTY7bumifvvTYvkGuoeUmhOxEOoQbjXSbP2FMCGs5u
/0mw1pyE9TokMbnJax5jLwHFzM/39Zoy8y5QfYOWu0mm05YT/W3px60ajZ3KtdPaFWdZvt8SumTx
HozVnetU9+R+x7Zsd05R8LBl1tU1WB9Yb7JVT+RtPKbldwBCawXVNg2Cz3rQNkZ5Ichw41mHsp3e
zYm6OgvwtPbenqw9o92mKyG3ZT0qZF0VnIvWeF0SqR/7xt2khhyYMoeDW6Rvto5XWq671x5d5z5b
MET1B+uhlSlVqo2Z+PV4nGcR592OeXLbutXRzt9V72wnPRh2S918lRJaGtyTqjOftGB57/TsCA/7
Toz2/dD2DyM3zLrkSzii2NwIawVq8/IhJmJjYcZyDrgA61FD1PkGHQRcSMNI76os3a+d2W2Exnfk
M0Gis/30yb4Is9z/xKsJgznB7eKPVIa5xXOt51mTYal79ZYiRjpeiSdDYqXOoehdc7+UrEYb/WMl
iSgi1WEF1kweek/L97ZL3vqkJWvYS/tpqvgqS11NMTLm/toN/C6379JfuTZ8ZmjWYtOsKNZD6Zzw
5ml2BC77odcAQ2dDss2H7FIr7XcWeJfBWbi5tGZj9cOPyvAvM0HCJPvdMduWI91Xb9mxlZMFZd3e
FgKfd3o1focepV2PHzbNkiYz9V4ZIOFlMdfv3GgARlr3VpXL3eS7v5pJf6qZYO40vfpNY9YdW/Z0
79ZgPdb6ePPUZ8DMstDVnmxQYn8W3ErmnNwbYrn2mXGdWBoPHAYC1zMuorWdHMm+mhfa63rafuEJ
CZ+sSiV2aL+n1o5gNW0TNTaXtaLhGSo3mliKfOp2Vl/8ucTGuOuC+7oqS56Vur/yTD34dfWzGEXc
gsyyZ6v1w4yJXwxLXoPrTOoOqkfLPeM4twA64e/e6+mpRYjF+sL2nsibh9jtwI548fPO+0av7BOz
t5TnpC+yDRlWadgrD/yv98dNNjcc5giZNsYCxEkeDHmBHquJoMzzqHXdex2IN07KlO4izQ4z8Pe5
bUvzjiFpisHOP6Ykubq+C0FwyM4elX7s5iDOOhpwN6v6U22IbktFHiK75D0aLRukdpnsL6vtzH29
uETWJaZ2aNEVmiBSBsdhOvM/i6U/pYwMmglkEbqGXZ8I15xP+Q2wx2GvZnhypmO7dMOTzFZxPxNa
Guq2Vz9rLDU3roduLkzrG88dpPFAtexP+gA7MUdMC/CsBbFVpeSQBWXw6Xe4o2Bx10aCM323LjYS
7roQgOU+UYZL227KoJ2OXYUFVG+bX0DDwY/i+WDHlxZXEjJ0sI6iiKQ34iKlZx+ZX1pbzU2NA6rK
5li3kAdhWEzDYRhS40Ua7rohZL3lJg2GX2Yy99tSqFMDnsO2toTCNEzU4TnQXDg3o3e0VjPbtH4N
PRd6cOjVs4om3tWrBq+ijZbe8e5lxpFkLoa3L6FN7SfI9uGMsZO2J/MiAcpWb4uS2Fh7HUtY16im
+yLo1D4t5Ue2wl7f9IHPZqXpYQsizkjuh7I046Hy1E5xUsZjp62XchIBUGbX75RYrc9gac3t5I7L
0ShoBiLf5iTGSF2PAmKAQ61sI3N2EU2uzUxskeiPIgi0YwAZ72SK9cUzSv0NNw6ShcS0vGIKOr5K
jJKiZZ2GkNMds3u/QUd98+Nss7y66tLBn1OlvX4CtRYbo2lkPHiJuFQKjE9OhXHfB6a63UfDHzMJ
8mRFl+ZlsMZdbjRXGbxVDarzcKyBM9v2y8hYqZVer1HJE3PPwqYJiSH6FTTC3i0Qb3GvUgmuLGnW
7TxdWudCOUnkCsN+yHPnow8056WdjSEiP7cKR56zN8WGKYJiCyk0reUuwSYrhDXvXMqsfy4GZwZv
tJ0D6ruau7X+wGGd9nOQGzUU4uhWqD9IdwdwR3Z6Mm9PpCyDV1aubNmx8tzqPc6lnZ0/WKn4o5Gs
sBerbs6t58gLg7l86GcjiMepeZ+B03bo5tjhzeW4acxl5ThKl5PHWvxcLAkMUJI8SDhp1+JFb9V6
VwFrU2fp9YXWLTsqyJoFMvJn075byEB/9zFz2M/O6Mb5DOU1aCk5+uJ5e3JV8M73MnLv3QCDdH88
agafhVz08ThDrTqgF3YfLWDVfe/N9a4lPLGB3r067yzN1WNrFCbOH4bzbfnDeCf1KZ9oAq3lvudM
5yTK7B8Niaxr1fMhtbo+7pOkfqzdX1m/T/PuoR+NX+ly88U8mP01a8fId/fW2HwravqxXqcswhOh
3geewJHL6wPazqXQzug2tMfKJBserfP8atmUWq1PSVjoOYInf9D2tT+nZ23KN7ZWrNeitmAijmlx
kpZX/rYTW0LCG5wdYRzVc+UoDtbCbMNeX5/NkXhxolLla1YbwXuzjMwti9l/kMTbHFRiFZ8QGnxa
qcTg2JkHObCHqVkFTFB7Ww/64tRXPy0sjjwa8X8QHEsGdOZhYiEXa2SpDjAUrDX7qC2cbG03HU/s
FVIzdn0YkTuWTnYZ2dLGaZCmlrluHtJ328bQkf6/mj5S2ddNmOEScm3cpn0o+Yy7ChtVL3JSVZ6V
ZS9e7DS9cd/R+h1ymBhVqNAnQ0LHLfRiys56c1m63cmKDUAEcVsLSNq1syFqlmR5mmRDrpfFS+Lx
0rt3em5Ur1qH+0ptaOu1FoLJ1PCglA6WT1yuzPrkOVssWpelb70HeKDO72TKiDelJaaIseuMFlG6
8AScwjt5tpPvWnNSXYTBNqGUWJJ9OxVKMpxvNURDKdNzb3ax02vWRhmrx7DQMjIVQMyL145HHao0
+daB1pcnt1xaFK0QgL5TBHF10psvbclsQRSzON3YMifJaBVS5mCrQYFJka35rEVzfEWJLqpWsTMT
/wua+mGegjbSJzaGldbUkQ0GcMzwxIkItu8uaVfIgzPNR1kwMBXaqcms52EwIrs3CdBOMcxgHEHS
nDwSDtntbXqvqG/w8ppYzvsTuxEZDOxj/XU32BfS6MooZ+VsJuYjn+JgOuO77XokJthxMfnZZsIu
1R+I3G1vt8F7vyDh9owdLvqsAd3Iz31W2nfwcoarQvGzcRwtdIo1CHOnjErKettb6CnzihKzIKza
6FlTx8NcRLp8LSv38ZYfZ9akWCv/RlKI856UsUXuFxbCgoI22wg1cvfqrKJ9ZjKcd7r0/yDCsIFg
wHA7+85oh5OFO7Ex9+vJzVz3GEwly62i2Pp6+gvazG/LUOps5+WeJQIbKcNtI2WqOYSF8wp6wW4E
TBFvO5sFNCtnR+bNzvGDEz62zIqZc/It55cvbj3dnGebhvBIOnhM/W+jp01NeCxx5oyKRv+tTJpv
JN71lQocex05vEYBBugt/s0sB7zDBKzMbHNLE3Vf3w48pypKKIn4lPuNAcvGpc/THf/L6spNXphb
gL24DligsN0K5VCRK2v2keySzVQyaKfO1WnmDXQeXIyzKMnFD15696xjLwFj/NQFL+y4b6aBdnYd
GAG33KBf2MBY4e1+ZOcqeDl11+I5hOcS+x/MvfOqKaD9/xbTo2aqrb10GFukOl2vL+PKamOcKJ+Q
UMQ+q+wb2UQG6afn7/scp112uJUXPK/aDRbzT8ZCFgiu7yVxqYPXnbCag4WQ+YhTnGuvGWkIA5KW
Q7tnh7ubWvmlZ+UlLfjEoykZBdzYVvLTZQNN37CVlUdxr++K5DxkmQxZwx2XarjSqd6VNvgwm+Ii
Zq/60efOslnV7UxPr3Nz0wTCf2NnbB6IIEKn5SebfHHGyLQhCfTarikgfJSDEYQEJhhhO/T2gar/
WiRdRIS9v5mlOLORvGKYlVbmwWDuZ0Zkbe4Q1z63AYtGekZHrqDbtsXdWMfpjKZi0e3QHjyOn6F9
aDXiyMYUBkgA7YKkFHzicQJClMR5PUfKb/eL15xdvd4r6wHQkbZ/kdsO3wA7WbJQLU0TNlwaMLDx
WJXMt66AviQ8lwDaRu4H1YU4O4NgSc+JwP0eFh+6WTnyrGFvNM4B1DxwNoCyw5zaKUD7dbVuVtva
JnW/lsVn0BsSijksmbba4btIEHr5uxsSsHp7HS/sqPXHQah542GwT0s5I5cp/PQ1qPEAaG0zZxU+
QV1y7S5kDvpC1MJjk3F3t9rFrTnwKlnAXpo3Q4oBGRDb1BwzJK0qsD+G4dXwWfgGwT1W5VGfB1uv
h9434/2+VpvB6EPLfkryc5D7m3Ymzmuxk43bHQO20Ev/1hm//dz4ojlfMG9FqK0J/6FscDtiMXpC
BsYD30/rSaJr9hL9oR5RvDigrRzy340u75lADvWyvAk5nHX1Fpji2vQBtXIlsgBeRb0XVvlW5MUu
Y0xxYX8QZy2iKhmO+TRScKX2opmX/Ga44slo0KcT3LfQh2HBqjcyCSJw6rMqm4OW+3tWr+lp4OeW
6WAZMiqpIanatvNOG842OBVNkH30g2aXVC/gDmGZvPTL3exyonjrk2FOgPzjNg92M7hoN3q0oOyo
AVlgP0ZJ7V/YpkB9PBX9G0dRSM8RgkGESN/YX1xzOlJpL/B/UFCu1oPrvPiTiAzzw1HfpXhh08Kw
xzhIPRCcu+0qT8MYNV63FT5MTC3C5CQywDvwAw/dsbkbNTC3qQzLhjONefJNagI6WVudVn3ywi7H
QUzYqBHwailjk0VNVJn+85wFOAJL82rDDbj0YmAOMZMW7tVvW3rHumxj25zuK0a8LcbC5dHuWDPQ
v2y0zDdOJBA+s+C/6wvtMGBiyV0Nu9/OgpqhcSQdmhDusw1bYrVgXReTt890xlATMquu/MdixdXK
Zb9NRt3IfKfc9GRCJmscC/KBNkzexYJRpC92uvdHR52Bs+zq0arG35Qg0A+4iJGdTWeCfPWwKG8n
+aj8+6RAb7uIgJ19CfDB8csy4z1JU1wT6lU8LpCktOauNPB2XSye5cxy7/M1cA+dGoBwpye7BB12
GWv6ntIh8c1ESfg+jrY6e0RX0luzqpvfu06FyGI8Qqrbs2k+rAOV1tyVean2YpHBFt+aJTak95xB
H0G0cNIL/b7rXhcCfnVRP5fQ4cQ8bsyx8rFwh5hQ2NulZrnWrP8ATU2VHvMlXfYOvAm8m51iX0MQ
AAJcuwt8P/dQjt0lh6/miY4cuuzaAeQCs0CmDZrgEcU8HK3FkfxbWjENxF23ur2XQHQtAjytW0ak
UC9ZcWAtgDtRUFSXNDkVpjPtMSzEa0JP+n0wtcOjEXjvRZ7mByH6YmNgb3/feElyzD2CYbgKEQpu
7xL09aHO2/ss2/ZWzaLU8L9b/lnoYDmNrVxJHBSpXbAVS8/YN2CrO4P4tFBrgmHfEt43oetbvJwM
x1TBY3W1D4fesMQldE/zMMaap0TI/qDC0WSW296nOVrGWKex8KEopzTNz8ptkMuVsKKZ3q6yCL7q
xd4Z5nxeXD/frXbzpirtDijhpXTKvebIvdH5j2uBj9GoTyBWRHxDdDySOPFo0dZNgjVtNRFxO1o5
JNHxBaLoQ2v6XmStow34m49RXfbLxRBYQjj2MsfmLP+AT2mEK7Sz/dqW35lK6BAd6tVc0ldNev5V
+F/e2j96Tl4COfA46eqCq9aLz6SoAb/vcouuKbVtA9fsFu+43jnAwQuiorOzaOj6p2TRWuJG/bU6
irEkoUxkvyqfLR5s8sagEsLjXv3s0Kxs4NuaTlhX3G1F24S+5O5O2o2elmcoIIojZmGHUGtNdiT/
9gjElmyXdla7uU/cTVCJKkpta9fCIcvcgZ9RLeSeiZSBFvfptVr1lxS9YCgX927Wdbobtwui24Qy
Z8jDRSMBNVmzRiTesm3rH6m0eZghL4I60iOXb5bf3QREMbkF0qHSMrarSAuyM40+TpUz3JWVdY8I
Zzzw1mCUj359GAeiP9Pe4rzp5LRJpmEKLWF5e9cYP5MMWSWAhQl9BVWKJuqt1IwnHr6HIQeqAcfK
6K5MI+7XkbUubKYw0Uv57la0j8OiFia1oT8tlV78uIPdHnwiHY5rm9LYz1gSs+bGvMDItZtRmBPn
2EVsB9jnh1464qC5cLaDpi6jthxu7R2RYSbC7khbg3GDOY6ImhaiA5xWEKO86eMh1X9Kmb9h/woK
URQ7zNZlZFo3i7xBI3HV795JTUYIxLix8QGjrr7EUhTYCD5vX+G94E/axVpt9hUtztd1IbVQBMWT
moZn5SUf1aRrWxvy0ZnWsAthMvDGBmLtAkG2K1D6pWUAzv1hOGmpNhww8Ste2nX2z2LqHDwMwLMx
dQRhVvoD3gvwibrqvnXNZpcHY/szeva0l+agn/EiC77VIrS3tmzke643685uJwXuiZ7Uq/tPQ4MU
V7TrXedm9yozrxrcMUBZ3gBh0+2T7BHMQLgL68Ki35M9MRJG8FMSBJUFcxN7JiZnwNA0Pzkpmz2V
IKzpxeEpFXZ1sCsfwoC5uNc0RxtWe92LG9DPFKYPscBO5lhIf92nTaCeRznke7+sBdEa4lIbev7J
EmXYy7SBxzbIS+1yDXHl2s153h28PLnZRhYXPP5YD3k55M6u3gJCxezhrLgem/qQjbgvDdaSHwi7
3rZ4vd5Qr0ubVMM9TNWvxBFVDOuBE02spoiWjLZh6oTYBDgOB/pZpfrXCHqQacZWE9kGyt4Nm+Lp
QZkAqWuaSFxjBfskdDHt2qpq92aXW3+6K/2/0xih1P/VUhzzNBv//h+StW6v928/Jv7+L3+9/k3/
809/iBsWZupx+j2oK+NONf79X/60Arj95H/1L//b73/8lmfV/f4f//1XOzXj7beledv87zQqHFf+
M+LVdflqfv5JifSPf/An78rS4V3hGRt4DKYIkiw0h38KkUz/b75r3nhV5ABYgW/zIn/xrjTjbzqL
QFyPsFzBipL/+jfilQaRCyEykUBwuFzUwjgq/OtHf/hTlsdV+w9dEcgigFj1v+R7DkmrBMUhd0MS
aeqoNv+dfK/l0FVjwOqhzBwIOAHHvp4mwaHvluHVNFFBiMCt7jLAmkd4iP5lMRz5DRmVnMkiQbqa
kZGSTpa4G8ZZfpgSoEiR3fbstFa3nRahDk5VFa+rMp4ZKtcXg9E/kplIHymW68keOREzpUmejZn+
2u35c8Noc4AtCxI5j9UZHME/1mMy6+FY5Va6LWj89E1nOkmMIGp+L/0eaU+RsbjY5I3nfDo1CRk3
xxqT4cu1xL05tD6dtjO4YZKIGseHhX576F36cgkby9/WGHxUkV7Bvg1tzqONSlma4cbTlTRwFlsj
GsrusbagrpDeM02vwjUYfnsEUY/1Uno73gqHAj4KUU/63oPdKaY621iwxXG6gytp6Wm+R2MAUaSq
NkW6oUc/itt2LbHyO9vN9NONuFXrnXxYvPfAmh5GSNyq0CQrn/6P3vp0Mm15hMl5nIX/PZTqbDUi
TvDaafPjMo8vXq1HTjkN8YKwQdeHJz1LfjSU5Ee23u8d58uB2dW8H2wfqVJJfbSEtzEL99sEwzkj
szhyqe79zH6SQd/F9oz5Tr8oGERZ+l0UTkV4m/8LnvdAR+eBCtTjjwtaE3V1YHxQ0D7yPjgspnas
gcnCDCbWdTFUscO3qf2Bi/PkNsMf9mq8+AbjoqPv1WzE5TBsId2XUYN9xbbHQ3wD3xY2PLKCEsZI
O2yLzu/25Aqwz9Dsq9vVzwMr8HNhLl+ORVhVmCf7fsY7tcMPkTDfdTfj/WCerIkeT7b5sygo1SGy
QMLRjEU32c0O+h8torbe1EBcPQAfLZOZGSKVacIeZwhHqzf5PB16ayxeGWfVEbJNBJ0BU/D3uarc
6UeD2j+k3iZtPnpnnBwGeWFjpIE/bQt3wYz7LvPRR9lDtmG2o+w4zm1idzTLaHjPajo2AeIdiEYs
tc8GAXJfmu41D2SmuwQST+nByUzmkKEzAE1H2eTw5Bo06qJ+1VLI/KgyQidjXdan053Cv5hqGMBp
7AMcXsR+scWbCS95sOqrtahNnZpP8CAJ21Z0smb3OKVVviVoms1jUIrTZEkrquz8g6361qXJp8xm
NQqm4CgqPg8WE+dGZNm+m/IzwSJ16I+rwmfDP+Mx4TOsYBFsNzr0ckfcwcLXj6tV+lFppi30cdMJ
21lDe+GR1yLt1aPL7yBamuK+N0phQjhMzoz7diTq6qyNK0KhBvKP0Oo5ZiYj7bGeyABoU7Lkc//Q
KGk+a7WTPupOkERdyaVEd6lYDaAZCwNM0qs8favz4aBVf4yqNJ4JNuxp0F3ttXFtcTD6YJ91ABQN
+B8yQo4ny9jDe2LO8BHjSa6HXixOLIoObNOFPZIIwnSEltWMwbrAN8WH8bZa9t6Wib81msXYWcL2
vgHqve2UAdBidWN+KBlcU9xUEk2HLtQV+6yR3+TmPLYZyV7IylFGbQpWHk9iJmQEnwv8zHEtDZ06
KXaw+iNfFL8SLt1G1AC7XeL8yubyoPpyU2XZa9qJXyTblN//k70zWbIbx7Ltrzx7c0aRYANy8Gpw
++t9q25Ck7sk9i3YAPz6txiRmSV5REoWNSuzmmakRPGSBA7O2XttGJenvPc66gCws91Iv8GjT6WL
Lb//bYZuAYn4g2UptErIH2i1UY6FWA16Pkc7wr9fjPQzeQaoVBGNxRRWfXmqYa/c5HT477gdhmXN
kt2QhYBV08njk+WN874J3YtkIDouiGdGfowyvTTDmIKLZRDiIwicmSeOruRpqJfkQlVOeqgy8sZ1
wHluwkH5XMYlHRHvONi4yt3gI3LhajM7oVefOAW48Z7F1nufsn/euW7rPrfzyKoeJi9OJvh2OfOY
ilZL2TF5bhY5kSGT+NuqnLzXeVoFSU6IHHfwrXPLvH/j6tS6dO3JHj+XlImXnjMOL40OZqp3DHyv
tbDqtSPlAfp1Mt+lY1TY3Q7tsWQamU03qMOK8FpACn0eGUJutZdb1rGy/Rtg7ONNNdX0TIM+du8A
mg7boe8p+AoTHRLL9OiS/PxS4kdA2wFDdtOQBnXT13N6oFGC76zgWLHKDHe5xTQWN4m/cfwsOzFM
MUcNN/t9myR7r6puvHg49WNypBHW6Kk8OSKvT+5SQvOZ1mMumZhoAOaTWwbfrKjpLl1tE9erywBb
gw6Jou88Js3DTBnKcf+AU2SrAO5f9lXn3BFct00YAzsZ9zDp4N2g8YJioWoRN/roFtXnifCrQzy1
8tkaTXzQslIclYdh1yRqPuXeqlQJu+BdYhfNZ8sl7QyJcbYHDFpduxi43lnZnJ5pwFlHj/YOnY4m
vShEZN1YZW/u6cq1HzM6QNaqiTbsniaMzxgcMLrNQ/Aw9FZ9VXGCeDc4Tf2SMqJ/zLQb7+xAK/qc
MfLxKozvotAudwEd3rNyzPL6e/H3t+rgf1vdfl/c/uf/OEf+mpD4H/8sLv/kyL/KXr722Q+FMNaA
fxoQLPkbg2Pq1pXJjYQUWuQ/K2FAnb9Bb4OFy/8fPwFzxX+VwjgQ+IyxLgCYcOQa/PCvStj7DQ69
TQkMtwW0OES9v1MI/5EO/10hLAEqrmjYFc7CafVPoJ8QK+PoDMu2py3QHKQVRIpZWYh0GHUkwt9B
MABk0lxPkgZvLGi95gLrGrnAPv3Mbgho5c09dSTj7EM8wpjaDHXiFmsoGZ9vgZFf7+RS2Fd1kq4a
HrKlHlJRBcXGsJ8mhwh1LPlcCKWOLLhZelBthpezRIER7aZwWmvXJLS+ahxowHHGpLps0r7pN2O5
zBf2PGq0qZ0k+mssHasFtTIRlYg9PrqcV5le6aJNpKueOievTfKnMC6rr4yK5ZkcKznS07GZVbEr
aazuZh8xUNsGw7CAdWJi/Njbbf00Z62yNpwn5o9DUYqLqWg5jgaIsJl/xXL6xCGaBDJPm2I8Iunx
7D2ySDRJUBajb7Fyp2ctLd9nBDl7HA9Wt1KzMEtEMC1Uv+nJkUMsaavwkVQhWoLskEBzrMpllgll
/XNNz/bMkSQHzMW4CF0eKZe01Urrqp5NO25SUpTea5j6tBpUGdIyzpyw3+DK8ORmzN3pMul60lOG
UYwfc6iTl0XX02GwHAIXd8Mk27tlbhGQNOS2MTaTY37MWwaF25YgLDf35wd8KeEl7PzhY+cgYFiV
0CAaVJhlgn1oCLtNly1BzWHfF9c+WRY3HeJ7d+ubiBmQZzjZB0z6/d2cu8MlNvzigxTsr+hMB9lc
TNzc4+BVGqHa4DKeZyKeMGVLSyfcCA/45m6alb4t+SuCTegr72ugo8+1WTtHSZEPSOwCf8bZWZfB
7dxGEI1ip1dPOoyWL5Nt9D27jTcieUVIfJmhEm2PYsYgHYRJt3XbnrQJr8pK9yH2s/prrUzzJbWG
OT5P1ChHmA1ptRsCk99auF7HfW9En25V7mlxwiXqnuK6RJApVYz6fWlHBBKt1VM5lkmAa272Gd5k
E3Uqui1C+giRoNcarvIt0WGGOYhUJM+Knlp/oCuHZ23QYXNofY1ku9WW+egsyLG2tCRxohd23964
okF62VQNz9uuneaWgolzW4JjXO39dAk/GVvZxCnWspj3KL2D6do4k1vivsd8sBkLdNAQpsYu3GGx
LNMDFun6oqYBMx3CnL94j9BkKWkfBsy313Br2mCC2QiHsyX2GJTJDExDoYpkY1cyftKuXX1z7Fy4
B5e2KaO0BBvdgM8P8IBuKnRoaqDLy4lBNAdjzdGHRhS0NVNTU87YzuzwHnbqoekNGZF1JD/GghP2
BpcU3ha76K2RkNRWf+vRUSnKETTKNNAr6051xPdsYtRhHD8TX21b8KsKOWLjBKi4HPJxnMGyPuep
623rTiCvsgvgQgTKlsE1/m6km7TAs4OEeeAdlG1sNJxpKfEgUycu6bxUWCeDpj1Y89I8RSZw/b3x
VKsu3N7JvwUMiW5zWh9kDiLuMdso0qX9EIkk/RzGgiWI8HQfBXca2og4iEeV5WZt86oH/PI0R1GH
thx9gS3cdIbF+h5aStajRzO/9+S0CfcT1cRhIAwoh9LRdzbGTCTd2w7ewYeqSmg8qxkKRtfU860Z
Oxu3Y933+9BKfbRhUZi9xGM7fJwI3+SjHXkHeHTNvCsCnE30lmf7NZyMxWBRm6h7oLIsekpze3lX
lpP9ocoRpwI6QhjyyLGly3BT10Wb07IbXHNbWUNpDiUJeNkuQRk/7gYUGstBlSSn4R4to9s+tggZ
27oNRfu+TsI6u3ctUECbyCjUDItaQ5VKNeXmavFjTn5a9e11q+qAuG++tE+q4bfaWUPuNxfSstt3
rUnrbpt0fjvB0nQVv0zThcil3GlgnG+WHieU4Ehr7SoloXg4Skv7LJN59A5NX6qdkmYoqIqL5mMf
pTYdGpNhvM40yuFUZT1fLAGNTyafGHzlLF7XxqhkuauXcO6PUTMVR6RzNZODlsRAPoSiTw59U+iH
QNPHZnw1CSSsKXIiBAhOIPStHIbYPttSE+2EHqZub/1l6edDWtYe+aphoe4sHiSd7Yl1zbR5Hu/S
DMPz0XKa6fS/xdtgzl8AGK3ssH9fvJ1fv5a0Mb9ve/7+J/7BU3JcKjSfSssW1EYCr+a/ijfh/QYg
jw4nyRc20ts1BOUffcxA/ub4hOiwya8VlbNSkNQfPKXA/Q2+kpD0RiVu1L/ZxfyRrUftF1A4CgiU
sAxton+oOr9PVDC98e14JH1eYofoG3xkJu/0kYWMJrlh1S7tVv1hOf63ndMVNvldubhSz5EXCWYY
DBMoXd8YVsfAT5ku8emiH8k+T7OuDyzZ93UYTnfTbPu/uNyP/tj1FqHqgXmDMQxuncfw4y1yioqb
wu1YKWTkHUH7tiv1ptzZOQD67578P3rE/6ceGT1m9aD+3//9y0sBonSYTLqEvL6hKcdj2dojnZh9
4liYC2WUUt9yngMli0p0//OLvWk//3FfET3uNeGJBvmbn1FVfeNUTqP2jdsXxNL24zGjgvjUIVF/
BJkU7PpS4DcRwdhfQ7j+VQrJXz3G1XhM6HdAX/0twZkBZBzo0uohK4TVZTsq7O/0Iq+GBZz6jM7w
F8/xL6+H3N8GL4fd+e39RuiVBOAIDG9x3D3Qh+quA01NagMguoxK6791OU5UGHwAfr6FzHWgq2Y/
8fp9Ky25i6ySureF0a541U5zFJZ/LKB/66sIOJYRIepIvvz19r/LNlGGfM5sNvhNQx2gyA+cO3su
o+tKJN3tLMA5/fz1efuurskiPiFx9roC0dUTP16v9FFPegUu1BqhyF2hmKBh1k5x6dTZx59f6g3K
mmPhm2u9wUdGjAjzGovLfqxrdS6Csd4mpeqpnQBbWwm91yQRd/AppnuviezLqJm9Vcfviv/GTfPC
2pyYybFhrvTjTc+5wfQMFX9vogpAkLRmioY0u0RhPL/8/KZZoX9Y5bhn4YFmY60Goxd4b+459J02
gVLdUUNHZpNlyD/8xdGPAxDxaKuG+TXhD1b7NOniw88v/XZlAGnls+Ws8AEX5mL0ZhlqnSLCxZBU
++pdtrduPLEdP1jH0eyWx59f6E/3yErH5sa90LtjBXkzAXN7Jg5JF6V76WGXE4hdbluC2zm/SDz4
ALE5HxeY3cVsc8b429fmxSK9GBahFL54s/xNWeBmVoPYziun7NJNA/uE4U9fhSmuyi5xvsypN5yT
pZZ/c90Fn8xGGbA/E2XCRrx+WN99qGMJ+aSjZN5PZd2fuAiiM6wjF6YzNoYs4H6Yq6djB4p15ybI
e35+33/+mBxBVRA5gv2MHfT3seR318fOEdEyVulekSV4ECv0z407j8MnaPa9IIB1u6J5kWYNQ3iK
sfVg2Ugw/kDL/MV+9+fnD4ocZzObEIkFoXzzDFRZZ3Y6MOrSirO8CvMvmdesAZtpfXT6qcFTA6dq
duz+F2/4X184tMlwccK18/TjM4jnUeUx9BtuV00nf67CfYFz5bjYbn2TwMV71mZ6CJb5V+HKf1o1
yb7igpDwqctsdvkfL2yb2HGQdnOmzUO1s7RpD2Cu4VvhyPsFDfcv7pExHt+v9NF+gbv88VIYxPJh
6k2zrzudXM0pTnAViOnMsBCrtxLOwxzS66kjP/vFG/7nK1N7csRknyU+kg/7xytD0ZKMtOZq71Y+
esfCaj7Sd+aQ5Lknt7GSC2/gLccZHd3//N1+u8UTxkBq5Ypbdm1JjPSb9wlTCDRb9gNsCngvAJE5
e/Ip3MvQuGAkIuv888u9AS+v7Up2WuHwRPEPBnRYf7zRrLFExNDQojflLJ8Rnjg7KdKB/h/AtVOo
4/6KoyZdtXbK06sETN+1BDHyMmCJ2XcZZMyJEfa5nVv1xJRyOjGNmX/xMFhR1/X6+4KZEn2lu/xe
+1Dt0a79YcUh0akDw0kHYpVkVlvbn/rlk+M2bvkN2GLV3Uh01/qqYkxOFCVjb+hDcb4ER1AvbgkE
bBb5UTOMKx9VBgTDR/znkeZlj7HIPo3xaNs3EWR15zFOxyrCpKGY1rld47sXha5TdYoBzvmfJmGa
+kTvaCl22N16i5N7Yye0PmUZLxdh6lblaXQde8aN0KrhYOVlWd24sxt+VkDfgvfxQLf2uvWmvt3F
jWuw74P1LDe5NQwv6C2NuLDSZELyoDDR0fmCRwWG0s2wYXfLQ+LqETWkXuFilSgKb0+/1aMJoRqc
um6KOaQiPUoc6sgx9tMYzt7Xom30qfZrMCOJXvMFEaH623GKkmdODjbavmpYRdctbco+jqz6DiYd
wmUr7SKEEgw1kTEtrXXF0DOHtjJU6jOgLhQaqd/POEfY3s9dAnUCVemETGiR2HFR2dn3fScRuPb0
ID6ZGUn5RdJbGlui7uWNDrWFb40zCY6HMPbbYxHFYKAw88oW+RENDcTxNcp9eitdtdeZKI69MJnL
YFGoz8x1e2fvSWtAlwlmZ9vnlcFnNfTYcHOV689wFaabsZHBfJgtFCC306Q7Wm9jmzKvyioHHoXT
jjPWvNA6l0MGSm3pkD7x93VbEebyBpls8w0k+FAfRR9G/tkE8EO33HeG+hdEYHKKw0ycQbYt9ZV0
7NTsYFS13UWa2NaeJkZkHXvfH5KDs1gm39RQ97ytP4Bg3EHYCG5kiXkd6d3QEUZPNyvfR3Triaee
BVjfLk1DcZgDLYuLzINLtk0to5iQO4wyc4qr5OhWlWayZlKE17ZCT6ihwKZ7q8thxQeqqmmNOJ2X
bUrtNOM5chDBwpBr4684MeebQNk2dBOUKzOCASsB/SWX6YlGrokBwrUUxNUs0g50CCiyXRxMDb5q
7AB7rx+cGheVC5zbQz3/5IJV4zH0K8nWqHg4uERNNA+g261y5wwiye/t2YV/6Be6usRfnFWM7vMh
vB0aHCQo5Rt1A8vATS47x/ceYXFYjOuaCIk+fcQ4fGyHur9qF1R7+wjxN1dAQRnSH5tG9OqVSXBR
pJnbH+l7gsEg1qo5jr4X33llr6oTezhpD2WbT3xOHSBdZuMto5aaLYhkKp0PLPYIMZ8dFcXv2Fvg
8yypHcbABeLobtTEc1JUBLTnq5K8QXwCYkQZnpjmJWBMWe2pFC1vI+fIZIfazrvpDr9dbt+LtIRd
TLOhvF/NYtbRbez2IGwb71SZ9c3Az2GP0Z1pgy664wCClhYSqNte46vUjximneIiquzxKusd8m0E
g85XAMtk2Q0a+uQO9md8ptmGaV9TPQFlyxzJ/1wIhk1TCSUURkk3MpCKXbIS6ggdxL6Cj4WXHA+Y
hdclSL7kDKqWfbKE4toqOYjsUK2nJ+QEdgT5I7RvB0SmcQ7XI0W06m7RKALCq2n0b2AnygEJVO0T
wFjlTv8eCVSw4k4V1l9GPcjGQwZM6e3YOhCXnD5tGdAyMxrOTTPXcDkaGcmDwXSjtoko5/ngmxYQ
Tgk28mYE3meei6nwJsoBsBfHfCDV6MHzO/jKXmmTuW2MH36tbBqr8GY4qu6zoItdpufMtnSuIAEP
brugVrNCJmi1ow8LjjSChWYJIQWJE0yegqC6GiFxtICuxgljn5HT5re1aetyB98pcW9H2xvfSbuX
9imxx/k+ipL0KQ5N8KGCqWM2U62Qw3A6iU+Fg0sGm12M4SLVRRttFKVZtpul63X7QOqZ+Z1GOr+b
KnBexOlm7cK+MxOUFpisfi6S2Df7LK7zu6DP62jTdClofkCoknN5F1aPugkNCyjs/EdZ18krQ3e8
x5Ro9K8CbENfC0NFd24CPDvngu88OdT4b4vjMiI2OntRESLBTuW8C1RGFB2omeRrlTDX2jahnSVH
LLXyOdKAhne4ywv0HqGJ442s4onZmb+MIDtL1ARqqFHGxQBx7CYeHluNKp/GOmTbRXkC+1Ie0yV2
Bp0sRxMLPIpMD60PvVqWb+TlaKz9cIyd07jE4VapUaDirlNMapXpURjTyKmyA68Uy1IiFrCuUT+v
4Tyx9dVJ/eEemo9pz4a0iL3vElG9yZ3WBhsFZ5dhgWWLC4zEHiwPoBewGV3UBIeYGhqUpnJ9vaVQ
Yica68asdkVHpjv60ji10wDGKyOtyRohcFN08H0Y8TKnpbqyUxW9+KlfdIdU12R0gRTrDqbtdb5j
ToNTqoiy5SVxJvDCDWBejRuLsccOY0Zw24mOCWbUBMSDS7vAjJMEpkXkETP13Vapukib5kviUVYA
12zkjetKhY64Kj4ju0ovlJ/W9m6ZG7Q9VCf1iz+VLaoP7N7X7IJqQnxj5EvjdYwpog4HwlaPAuvL
EJVwx03BbIxULRQpV9nQ+Wqfm15de06GtkLq7mNpkCpuACyE/aORcxwdW+Yy3RZlTvLFGhMioIgd
cdLnql+KW+TUcGkBBS74QPxSUBpaZfFqAKOd+yAZg30cxADEyF6IngyvtQdHh/E8Lre1CbIUzEj6
YCpe4zgHTtM6YwrVluHNfNFMei050YvxlEhLYyre+5dGjmN5Bg8LrWNeouLCHhz9cW6NOLVhgUuA
mSLFQskDr3atqWtrP2FCe060nA6CEPh2P+Ma+BoPoKi3DeyfeUeTK7rTHOPTE+Ifh2ZQaYcYEi2M
RYzCpEH8YWfhRVMTB7tdeju5b72Sp6VCJNxbxjS9cx04gVKHcmzhOi29GyXgUEI0+V7p1An8bCuV
O+0hP7q0IOGTGLNMuDd9zLXbSmtWrzLoa+/UCQfdfcQHbQMan0x6EOBCzUWXlNG7uWkJtglfqCY9
95r0xdXQkkYCuT3+5myBIubr9v3k6Oxd7WUL9Hjw+AUdPMlsZxo8/WyhSUCimYVP9ZKvwvcuNvNF
Sv39ZaYQpTETpOKptqbkCX+iak4WIN73S9vM7RdgG0DQvGFxD5HSurqu4wAI04TlJ8OnIXRBdZt0
w5XCZ3Q1Dspvbye/7y5yOMztoZU10/YQZtl8ZvyTy01Umeq0WFWAFADAXodG0kU4YfwpqC/6pSHV
HGI+h3xr7lSyxcFQ9oc0Hqzqpp/sKT2EyNcBNgdqGk/t3IEkhGlUpCeT5LOLLtDzqnNJCFi1Taq5
dLY0wuaPZeLHaHjTug8vKXmHDOFbRJg5opFw2S4iHD7DUMcegJQfXkqGU/dScHRTMKz7isomjJMT
UwtXMnNrDXgjnbona3YbtnXc6eOmcBz1Yrmj89oOyURdlGCyXjKfTMx5xDKznVKvSrZ0eJwnG3+/
Ac8M229bDms0wIJNHtckRF4NXWSsDtLHJmh1oDWxDYe8sBCZZ4BA3sI/LxUp6ceTvShWn4IqdyuG
Ipz22sThSFuzze/zbmBNFJ1Tn4RiYzxBl2wnKJLRSvM2IvwyZJ4ERYw999VKPVyDPDVWPolKKkO9
a3KNV2Jm2OmkWZdhem0qdMyIMrHDlnIednMl7HjTy9z95MJg/jwV9GWOisEkjtMxqq+zEqzrXrcy
c1Fzuuj16HHUu6Ho+UKzcJQFXaNZnPvWZdhboLjB0qUcBIk0CUYycvtKYu8Kuy7CsxDO9VbkBSLT
OtJdTSFc9znJfI482rhSInylhT/c4o8PCdNphwyHlKcsqpB5psr2M8yGjBdaRMoQrP1dB9rm/cTe
pXdpD5Jm9MibQuDRovbTEBhGZr3UmRcMpSdvLyj1QINQvW4mt+jukJfKp0Tb6kLi94A7MMcc9AJb
z4fG89HIjHza8OBWpCbFmQU8GXNYvXejVSFpKTFtRgt5eEF/QtJEbEeBEwsw3pGgXJ8Hys/KiylX
rzO+wTYgmElMX/KZTuCFZ9UKEXjWKfdLGA7m5E2Aa/Z5mdUvsKs7NDOxrl5z3lK+FG8c2Stq6ba7
YmYEt/Esdrpd1zg1UcmeLL2VirUcZTTgOENlk+CmThPGwLrW+QGkNV6gdh6as2WCcjlNsrJe+U2h
s/iyzpHjtJx9N3U5RRem0eaBU+zIBg7/eeN4AV+ZYwmNDGSJpnMvqqjeOF2yXHZ+CPJs7FxrPlkT
UgqYjrp5KKZ24Ow6+yRH+yPPg3BiNfc7Wa1Bdn3hKVZfe36ecuoE/jhOQ/5J03iHfDx+ZwUkzm4n
RjZEXDsCmIIHfw0BAzsmnqoO8HoNuXyfpDqurgCF55AHmXE9F5Wd8ZokgLnXXuu44RyDUkeUJacz
zWfbnyK0UWqzzAMlXcrsuuITrKlYHIgpmvI8CA+oNaZDz5Fu3MlSlNm297P00a8g7mBgz+znMqzw
dndJE+5HoyZsTLGCQGs6S12ojPymM6xzpJlhZTOlh2agD0Ob9ocx0chYbD0If++4GjOYj8cBNxgH
o3wj3RkZppcWyymvAtXxXeFYwtlUOy/BqNP50GElfyT7or7KvMFU93ZFuNI2TXPiSiTRrwRmOOEg
dq7M2PVc2iLJLXOh4MkbiSnFQwsO11Oj9FjYxBDBsw4rieeWxsWlVZWmQd02xvYmK60Ufa8ZMKa2
09DewP4azbltxZwcGHjx02UqqHnlaxIELkWXSuxGTbpMW/g+jXes8gC9TJlEwZ5fNI4fQ588Lg6o
jZ9tx7zy1MFvl7a/HQNLZV/LLE/8gheFtXo3clfMW8gXICmSLEReNLQ22FRymRh8HHluTv4yQCwY
cs/u9iW43eVI0yGsaIEBJg0Ixlqeuil2QGOFo3kXkjMgDr4Tz+e4qSGHWWSYBFtNsM6nRbTWSRP+
UG2CJGdPsrN2/OoVarlKrHFhGQFVMl8h8kodrMEC539ZNMjDMsoOfdUIp0I5hqYOz6mjGEA3yK2Q
V8APRnQcinzcu8XU3ce2Bn3esHuo29piB98gpsYJMliS3OqQjczatLmQyakGHwK4rbCi7lBSG087
gipktlus3gBIV+SJxoFHvvc0Gr/bWa6uvnmlJa/bSCzi4CbrI7F7D9iqN3XBLuCIBZwjoUe8dRP6
hRteA/VR0g4L92HhsBHyaU4I3qJhBr4LDACMu6RC015qBc96qUafo7dwLvS4JOE2Z1Z8Lw0K5ked
er3Z+iOat53jOcOaXgRr7yoKtHhtqh6uL0sx/hGaBfCItbOi6PgzPRBCP8sddOVs5uB1rEgc2K3g
SqILJ4RGDW3ybFOBWVuvnvBTMN9u+VyKcGAYtsxherT9IMXGVIUrfL0jtmu7VLaFuxz7itwX4A3Q
g7m9SCDlFWGydyg9z4XLH93l+Txe00uQGFdxMWUohn2I7fBXe3AioajE1h4zYB9M3LLPWqjxJqWo
5UNt3ABcDu20BJ8/+yUH6Z7MF8TFyTunyjirx47WJOElEFAAB8qrxbOGYpsHbfwNQXP5Ug1B+Nxb
CtcDiqmMO/Amhh9L2PaPXNI3Fzhzm3cuek8w8QGWntT0zXJqI2OJU8pJkh1F+QjD6raTt1SIiyEP
OKs0yRwLPlRmhG0LjQQK8bagBcLas4S9ZF0e1E2ukhSKKAbuF6jvKxCXyuyrZUr5Yg8dwMUFvc1V
pkOcCOiPwCCXJV2Xy4bGTbp3U9+/IkiCc98QiCU7wza23/VsOe89IoIgYwxz8QwM0f7SSUeLm7ar
aZFNKREXO9vjD56Xck6OTdslAbqfLsf/nAjGx/TKcHcv3iuju2PLdiO2U+LC9oX/lx1HoufiTdNT
2JNh4Cx3Ac74s8lN8cVF4xqxM1jOC8vH2D1QQ6fBSRFNFGL3poDY0WcoeN85jqV7x8bItKE1ZOgs
Mgr6kigr1ltOzVA86JDZe1+5dGyURNW59ZbA+qQ4GnJgjuC5HaXB83uZLUDkNp49QR6JUIHtELS1
asdGvrgcT5Xl4awAa9qOWZsTN15q2olubw6wnOk10HsEQNlWQnJ0LRbyaWUmhw+VWxAVYBEPlh8m
Z7Jfxshjh6CFyWDKRxHymAP4DS8Bj+FFFt7QYkTNy5k3NuIgeRkQpXpIuhEBlxwS2I92IgfwHu76
zQK7mi7YmKriwLsQnpo1JQFSulvclu6CI29shp7AlUSJ+CgQCbuHNI9Gcqa8gFPURLv4E0sd+C/e
h+SmKKLkq7SSFDu7jVdmTx8655F1cpyP0Dgie1MlfA5bUtDhJ1udsRrm6OB56W5N0bhnsg0rlse4
bUa8zSenczlPuW0Vl/tuGiIguv3olByxO4zPVSl70JJT89HKcm85BPE0P9QrVw+RzEK8NeGXUEZl
qvXZGSpyzJIuqKpToejjcQXFOgSBusWOwBzqTNZqaz3SsOmjfbV4AWUPbUzvMC0jEso+GVI61VFT
NIfCSU0G9UNxcmelcBAXe00D+ZBwwmEbxGPHwQUQoMtEYJrKIy/dcGvT/8a4UUYcDTNnBZctC7jy
uAVqapZU0bkNlxVVYyU4uWjwVjdpO6a0olJ/eUcvh0FWaEPdTZeYvoYNYfGD8jo6DSJI34/ROPlb
Pw+I4ho4hxD2ALim3phypcH0dI1jsC6GmKQWAviXnAWLppL0zBEGEa5p6YfdcS767plfx2mh3pTp
ZcvUKNrIaRkuJX4YnF2i9o8sCJxkpnnR47atEFjvcGFDt+TE12KTbzHLb6wWuwvzFiGbE5UFKVNm
6UbnoJ2Wzjty8J4TTZiHGpP3wmTfWSpHbplBTuPVUGTm1sriODqY0vHVgYV+aq5gMFfhMVyCKDrp
ya6oapIhBBboZz2KYaftPtLPLTgBLQGhislUdycjeV22M2Oq6Wh1onwa4HZXJ+I5oIwgw3HwfY/h
R4xpKFXxZKn7wO395jIv7eSa337QuzyMrdsYL+uwidgUVn9ZSkYO0Lia/rOKvavMxGRbBD4xANio
ACnv6XKly2YgEB20EfPvaNMJbKGHklhQwOBJUjzA7E05hZTh/DkFm+1vsjqW1ooamd7pjIiv3bKA
VtQL06BdO4T9BytpOG4b+g6EhzESrHeh9GuFLNPnhOWgj6XJ26jiU296h+PQpOr6esjBm+IoWsQr
JsEULbyow9eg6MSTB8sEhSa9XqTCQkNIzBNRHBKSPL9K1QO4R4fcvQ9AuR2DLqSVGMUWbIFWVsSF
pNRvQOJT2G4YQ6laURTNH9AZTC+4guiTxATAQlJAAHususUwHcFC4MEO5O9H4lxy/h8j/JP7hqy2
Yj9YTLiOAFOziyIgEG8bJUsXnipl/IeIk1HOOjoG6g4nauTQDsI9TIN7efAjlad7MBdNdjQeKpZr
qr81aoiGXHzpgciOHzLmE2oHMNKev3UWmJ2eRymVfGbcEpFfZxhFHhvQt+6lZXSe3osKPOzNqPVk
bsM8b6OHRhDScuWBDR8++UWEtLVwkH0Ddc7VneMXFQZ7z2mDX8mb/jRKJoYJVUJAaD1+cPlW2OhV
rQk4NJK6E2fzWQ8waGzAHnsWOVJ6Fl7Kn8+S/+J6eHCIC0YNEdnIOn+c0cIlV33KPGFnMUnYedBE
ToFHdq1KCYQs2T/+UAf8r1kKvS1Kh5/obesvTf0VYeiPilv+zB+KW8ri35DHuO4qXZBgjZmW/8EN
iHz+g2M7yEFREbqOQNzxD72t/9vvalo0tTayDlRbKJnUH3rb1WOFzsQl3RRJV7Q6sP6OW2qd1f/X
LJ+sSY8GmYcOdfVsoZnh3/29esjvQy+mvvcPVYU8Zxc4TCvpb0ZzeTm3DoiLtdmqb2ZnzqpTl9p4
HsKhTJbtd7/Z3R8X/F6pumqY//Tv8FyEx7ysaC3WyNjv/x0ps0CAe6jXaUFJcUwLhlA3Ng1ovYmy
zv5m6irDjBMP5eviRvyDfJOBsim79Bcash8/HH4QiXbMFWxoUcAv81aHqEUSqU4r7yC65pU5hf1a
/n/SzmtJbqNp01eECHhz2g4zmBl6iuR3gpBICd57XP3/1Ojb3QEa29jmMhg6kCKUXYUyWZmvMZLh
hwTb/4xLyx6A52r+CQcljoGDqFE46Jfj9snF2jYZ9QuZv/ouofj2FAItQHENyiwK2bBEsRSQ5r8s
aL5sYd/+eHvmBSZusQDED4CRp+iIVBs06ZY/oKEXalY6DC69SZ2Lg9jtJz1oMvc3ouiY8toaaEBg
LssoFmaC9jQozGpaF99QZefqS9v45XYUMVmrscBil1VxFdsi1V9GKVi8QTBU2qUgS/cG+u/HTkbt
exxRmLkd6nraULoGj4GpgEG/wFKXoahl4gxIe+UytGnyZNSN+RTFcvTldpTrATFXwBlV3bRtcZAv
o0A+L52+lvrLYMXt2Sxky2slpBT8Lkl/3A51NSAUSkBYAZzWTP6aq1AVuYyUGg1FUkrs+GQkAHuo
Cu9M29WAwEeidgJHFHSmyZpfDkjDfg6JbBwMGhwGinMdVihC0dKioTBFtvLr3jEZsBhA1pqA1iCm
ijG/gSYGcWQ7van4l7hDG5HnC7Sgoza07df74yD0CzoNQgXY09W6A0BTmF2Hln7pIFUKJ1mlQo+U
9v9flNXc1XQbAr2EK9VJVfdYUEq49BWmWLejrL+QIECIWcONHkD2K7n37ZxVYaypfZIPF9wJppeg
TwCsoKD2RxDW5ePdoWyOAoO1rWOVaouf8ubzxHjxJXHdDsiFQPweA9p9B6Qc5e/Ybed7G1Zbn7QM
zNZByTIsxbCAEy6jZTjQhqHcCm08LdIuTVjEiDZahv+UaH2Xo1Nby7h18A/di7PQV5+gwRlAltA+
zY5a2CnayW5mDMgiX+7GQwwK65uOqEp/NCFJdX/gtFtUnxskp+kGYBYLDRc62USBcSjnM5I05cci
g/l+qnWnbB/byop+KGreDK7e6rgDdHVHMWfIZiV/Aurj+I+Z3Jgu1FCnc6GtKtkjIMwWhFTSyzVv
IjXJ/1Dlvn42lTqnndNq0vivFtT/IwsAOQYZzLhII23+yPC3l5OmSCmDAjVwmSwMuMZ5fBdP5S8/
m/+xQvk/9y4HAmmGuHfJlUmWl7E60H9xkMnDBYUMpHNHTTvxCLOxekv3smPxv3p7UQCwlDX4MKpN
rgHrYAWbnTBnyANVH1CiVqSnvmWakf2fLxhlSh/k0i6eJPAHn+4eH9keN5OmCiLV+g7UeESORYgZ
t5nQeooCaE4HWfexlulKqMH3B9O5C/njEFFWl5PZBE0eMsXjZcp43fPeHdG3h7KLhI59ujuUiuiU
o4pTXVzuq1CJqpgB3mZQX50QgnWW/DCHMUNiutF2lsgSCSyWI/g1gyDcT7aKZMAyFPqnvdaXIy7D
BoY+zpQ6XjlY80OUZ+pzIUvjN6dDD/+AKeseOPf6XCQ0mFebDw83bZ2gxj3eZXaWj5c6i3FT0oq4
TNFwATNy7J0MAch7J5WtIC5/xgupYB2usp1aLbpevuRtqVKYNT/W4EBPVOiynUji3FvuBchE3MVk
fzxFOIyXcyrowYnpO0D3O+NX0xpwcaUp2TlHrmePIAyE4x6RsqvlSMJvtg7e1pciKsNDVZstKqNh
dwSyZd2Z0NocIm9DrfZ20ZhlQHdOvpS9oh9GG5+IESrP3XcXUchkeNAbDsprq7SZHCCz5RaLsnnK
qoNmtJ2bhlD5/NAsduZu4wPpsjiHeSNqYg0uP1BT4nCgVJF8URAvO0Mpnw6lXhk7u3j97mHaoPA5
sMvImw1FW20th3YRxVNKzCDs8ELBJkRTD3kpR3/VEOrP2jRTMrp7jeuIfaDVYUP5ZGctB8bNZcpo
NwkrUPUr+ESKkyllaGpW938snrhknJZY4zxDloGMDGpzgu3Qxcyj6Qs6t51HKTSknIsL2t1jIpmB
iMPjkfecsdpNuoYF2jwLRfcg9p0H5EFK1R2NtrYOBSi38eF2OPHLV5uXNyNAPPg/1P+N1VfLOltC
0QDeTSdhClLV1Y92wEfhdpCNpbEIsnqbx5zKkWbPnBBKCEQSvSGcQcPxKHXT/AWyZ76zLoRKzMao
aH/wiNP4aKtJzJtyhnCh4o2iUb+kjQH89OzjNDMeKiU0uyP2KgZND6ws2Xt4v1rHSA9L8GgWZrO+
IidPetQVw1kwpgC763X54/aUXP9CMjKTbF+8ZiFqiPPuTepKcxQFIxK7C0p0Ieok5XdTaK3dHwS+
DfUQ2YJetaZ81tiJFzHo7Ituy9V/Mh8tCv5VtBNFu/68nC3kAgoDMnXz9b+/GYsy6VUih8FwqXM7
6M9FpAJMTjKh0zqqNHjoW2QFbZ+ywQQFm1ezeB6zvnrB4U5SP6AwXqbvMqt2zPbYSVqNKgtiBTUS
zz66O2MXAIg1a0On24+Kv3l0MruEEsAXnB60fB4N9EfkSHVrzSg/dxKN7QNiuAF2ehLu1V9oELWt
Qv9K8iPPqVTEIGd4mv0vtTZLCe88sLE/eWGUGjBjB/g4mUj8yegC3JJuf47rOwyqnSYYQeTBhq6u
zuGgmboipdFymWw9PUOli9Hw1R1aBQgQ3g51vbxIxnj1c94r8LfX1QUavxInfjXg5pOP7jT16qky
kO6+HeWq6AZzDB0A3eKoshyd22W5itUCDkPZaf0FhYq/MvpAv9QByWQTatMxmubyOeimAiHJYj4C
DlLf53K++yOuZxV+MbVHZhTOuCOv9jrYaxzmy6q/pIAIDwFNyW9hb2mHlrbEu9vjvZ5V6pzUOKmJ
oy0A72c53MRErTwT+HcTtNVBLsiEZ8DXp9tRNgbEZcZdrINRVqjdLKPosFDzmK7mhedMju/trH7C
f15DCLpSvd8JZZB1W1zd0NSWoWQpaVo0RwgV9+kntB+F8mqX/5ClIf6dUUGB44gwud9ej+w3hwQ4
/EEqI+RIqkaYbwJI/Y5oq/EOWzVkjm8P6/p1xndCSQKKGZkpTK/VsDC68B1ceC6Vgw2MEl26xP7s
tP571DNpcKZ0e28H3Ppk4uSzbJ4qvC5W8zhboJ8cUwSEPnbiyZuec1mHpsUL6+55pMBGuZAKM+e6
tVZ/qCK9mnKk6S9t6OPPAUTikBngWbJynC+3R7WxvZEWlh3yVIor1hUzF5/mDjHMUb3wbGmiQxwn
AeaE6YzXxEjGWiF1VFU4sylqQYMbLtc7nJhsFUoBXf07S7M2OZ6JKBsvGoc2mCyqM2/Wz9zquqTa
/BatmlGw8aUZeYapbR/hOvR3z7GtUtU2HSCGEFHWlZ4OCR8bBhg1HikSpRiG1CO5cSiHYk+V4Xrl
IGQH/ZryFTcDvO/lsHKMWglSqhdnqr84XQoBO6dQYhlO4N7+mmLRLzM9mwxWnCpU5gz24DLSZLTY
1oEspPOedh9SszHQLLCjnTWzEcVWObMoauv0hvTVHafkmi3RhkcxHnwelp7Y3ouy8d1PNHRCSPmh
iys8p43VvRNZhTZLQxNg4BcDG1NJBtRDIBVDsTNp158HKQnSY9adKppwq8wVZJODGHYQuk2OqDKC
/vG54x9P5uybO2fI9aFFKB4ZdNHo2VMxW34fPak0f5JmGIBVjtpqOXVkChKU9I7ecqv80Q1KJzrb
2e4gr7+Z6ASKGxzVHHofq2tNGhPf0c0ocmMSOBBrOSKHvNym4t61QSWQGiALkE9GGWs1wgQSqJLM
mXopEBAFpIcyjgV/YCcdvRoNlzPlWVXhhOQxaq6i9LhQRFZDOSIHp3JsdSjzqJtYO29qcdwsdhNd
XRJ4i9aX6LutO0VpqzghbmLjBcPWFlSW0iLIZ8qtnB+HLEaHl+qjI/3dqjp6glZvkJD0Va9hLXZ7
V1+tGn6HUCuAX6IiirmeU4GixoQRAFmjZ8/0fBESNMyX1FE+DHnanVCuLHYibswvUGnajTrSnSLv
Wq7Tnuc/dFeqCeCTK7ef7OHSQmDeEQu4ioIavQKKiVqd2BLWKoqZ90puyrnpdlklYxEPVQSEf76z
Iq+2N1FYJOw6BmJwPi7HEsGSbjNnBlHYTcBeI/xZBrX+lUPaP93+TluREDUSFR/KPeTmy0gDsrkZ
LuSqa2XqL5P85FuBqOURUI69szLFzCxWJmPifFfoQ5sKz8vVCVxJYa2iG6y5YaFjUojaOcAo+LBy
Fk+fM8kwETiequexLO4uXbxGZmz0vzn810IeKCbF/QgC1lUbM+WRE9hwTZGl6eLW35lOMYirQVqm
RW4nhmisBjkC+NE6MFRuCIfxZXIGGRv1sP4aSlXqmTO0s9ufb2M50skAW8o9IFLL1edrUYDUY6PS
XDjV7cnsGyB4I1a9t6O8VrpXw+IAptxAI5WW/pX+SDD2PspIqtv6EtRcs0wsQFV2hXkuhKVJCGZi
dnsYgNalFzmojHezMVXfZlRKskcry5Bc54Sdo6MCLuBnMVRwkSZdLorDqCZG995AXWQPgLCxskUK
w3HI45+zXV2ubEPz0YwgHXClbGwRBE3Dc+hjZY0WqX3v0cMzXJNfd6voMK8f0HBAWPqIP7i+1KVA
Dab2wZQS+fH2V9gaELVECtocCkg9rZILS03AgNqIjkcN3GGkdZ1DblBFivoofviNUOJ447WO9c36
lGt4HWeRUuouiFOQs1pSHvJIk1xYSPc+XZk6tgmB0AWhibQaVNgDqUduU8cG1pw99AN0FI2VbCcv
25o60EhUBEgASZ5XURBqCzllJc3VpwE77QGItYHpxMkJU2nnmHutLaz3Chk6+TlvZLD8q6xlarpm
APKnuxhmtpdhMJ0z3gMAcwMFTQJlzJ+kRCuezWaOv8Qop74vw6E4WRLHnqQZSPYXqX7/qUQln4uY
OSbFEZLXb98otuTAByTNcou8id7rxmj+SKVqfOCaCQCjSu3OJblxCorOARMNnJLSx2oKcjVVKvRG
sERLHPkIbPxdZ0mnLlKKE9zDX7fX6tYRaFk0clXK+yBXVkegA65Y6qXAcNHTKOi4h9qnNnb+CwP8
v/aLt1YQdEcyFR1O3NW9jwICVgBUFF04ldm7HmnYU0kJF+pYoOzM3saAHCR5cKJXANUhSbP8WoGT
9+XUE8pKW9PNpJS1k2vmzgviKkEzbdqa9F84uBAAX7cO9DJODQm+qpujTXsqrGE844KQfZm1rMDm
SS+fYhO5ytvfaiMHEE0R0XEnAeaVtBwaDsrgw+vEdMdkjuF6dF35V8dPwUhxGOv6MU7tpD+Mk+r/
CXp8/nE7+sY35EmGEiZpKdBDAVh8uw0KAzz3mOnkbugJn/0yLD9npqS7oYV63O1Q4n+1OgQcsI8A
ZwyOAKBBy1BcwcgPioEmgAy086soDwZf9OafCnA78OQTrLwxRlO7DzZWPqPbweTyd37F5nQLVC4v
Dt43Qtz07YBDgMttMSmmC98fa+A4RTjzlKDJ/SLDKStgz1bdJ5L08oTekXa5PQVbs83n1FjAtLWp
di2Dg2jETxMrRbdv1cZFGHh4kCXTvEjaHO+Mc2vHvA0l/vubGkzT9y11u8Zyu7zGF3AeVWhjenG6
PaCtKDYlLgSaTNLI9UM4GuZey+nSuJYPk09XUgfRDiwMfyMKOQR/DLFyVmOJHDjwNhpULno902Oj
xd9F7Wpn828O5U0Q8e3eTNigzRaaHaPpolulX2Rj/CzPMM1uj2TrhMEMlFtA4HBNa3ULaBOAU10A
fZKhfeb89pGCqJ4pjYX4ykd/6l3S7Sy5rWE5PH9R7kK4h6f8clhqbEd1nfM4AxQcfaPOnzwPtLPy
nXRva2XjeybQtLQPr8rtuYT2TxylhIms0TNLUHHVjPt7KKOIdXsOr0NxewKVFmUePNrWay6A5mtB
yTLdPCKZEPDeU0bdCoPH7NdvRCJfoTFDOkZRaTl3Y9iir5BgYxqpA5oxuYS7mFJZp7bK9xoJ4jMs
D0cGhWYmwHEuIR6Ey1CppszxyE3uTugo4CDM6zacFUzJO0W9+GYbPf7G0IjEQYik5BUUPC1qXEVb
4gWJ3H4S7UJ0WVR8kIEH76z56xX42tUCzeOAN9DXPRKLZ2WWZgVLI07DB7kqpaOTFvLp9oA2ozhC
lRKol3y1s6y5lNGzYUBxgEUvvOP+BS2fdKcJc32HUeNAGhVlfIFNWrfg41jWGlGxdeEAagc7hIbb
DkGP13k0oBuPJdMAF+PY1IP6MCgUm24PcmuV0Jb5F0ZBBU5MwpszymolKrXWwBmVDgqELB1x56ar
XqDtVK49Jf5O4n59WSL1SSFQwWWFor6yuiyLOisw/4TFadg1eJ6xkGGyOVGQ/Kp76lYnsA/2RyB7
/jschq29M+X6sBTRQbSBOTDI1VfRlaJubacd2H6OMfWPCdkDbJqh0jPXr0Mc7drOMX9ZU8NT7PY8
bywm0YNHJJwHEp3/1T2dpI2p6bw8XBXi1cmBBHWSkfza+ZobBxli3dTOeH0I0M9qz+u4JbZ2Ghpu
w1BZOIA61FxXjmqLZP7tAW2F0ugOQTxha6BYu1w4fVjUcmqoDCgekPjDhz5/dGZn/hxOZer+RiyR
4lHBFHCGVawoyXgI1pnphj6CGdjgpM/RwJVXRmhf/EYo0IFgcIAWs0KXw8qlUgClS9yFa3k8FQYa
HklFemVR39hZEltbASkOqj3gl1ScQZehEFXBcUKryXRaa3rBf0Y9qT4E+H6w9a+6npcPVYYablTu
njlbi5FqMdkA9UjeQKv5RH3PV/uJvHnWI+NcQ0h1Y1Oudsa3FYVsGKwj5WKDeMvxpRAEo4lOh6v0
6H5UQ2OfhgGZh9sfbDOKQ2EII1SBYFrdqLwqurBKDcNN6zjCzFLPXiT8XD7fH4UqPdcOK511sRoL
qgA62mOy7gZSAF9DRhTATOR653Dc2FOIQorlQBuZpE5bzljelZpTyEbsqomFRJLiI+cJDJclAMXw
zgFxpZF+IHdM/gvabLUE6KVGdJqbGK+O1EdhAb10DYOl0/1RdJ0LTiHZ4ehdRSHFV7nQrNDlUKoe
BmuKTw4SZTvVratpYywiERWtVABfa85VgLhqXltT6JJ4ob46pn77c6gC+5RGMrpp9w8JrJzDo5NL
+6rq0g9JA+cK1BbqDMXPDOkZ1K1Qm9z5PtcFLlASzJoQ7CeLI7dfroXCN3sngQLtwj711a8VAqYK
untRNcV/SMiQ1SesZeLqn7IMLIwAEeVBecJotepcFXisoIHi49wdj70ZvZ+wJqu+356HlXA3YGqq
fKSXnB/cM/SCVosVQeU2lRoWazVm+TnT4iH/W4NojeiBNfYKprCIOcpfZ7ZUfSlL9FI/T7kcUTfK
x3449oqZt+HO6X0N/bMEZIF0CRwai0sRS+VNOoP6i5OhXh654GgRferaKsU5tsB66BMFQ9v8hKJ5
/7P2M0P5lkpxX30vDavU0ZNB7eIZfGccnCVUPk1vjsgLnxSrKPdQ6FcZH7+RX6YJJANlmjWOSKpw
4ikMOXKDuk3QtfQDpT/aRo9IcQ6MI/+g5JlhHHqhJQzOn9nCW3mQnZ2FfI3v4HFNuZZjBqwDIPHV
mYaPUV7VGU49SBm09SmPWNXQ1H0//eEH3Wh9QaKjGDT0xKI4TA9qrhnpn0UhV39VObBN5Xx7QV1l
ovwcqrkcB0h1c8iuHrJJJEuYwxaJqxpTRh/aQbJhnn3lvRIF0wvmQOXOYrm6OUTzVty8ZBS0vteF
KpAfnV3a3H2OZCCE1CrpT1b63fUMEQW6GqAudgndseWKBBpJ/xnBWFeL+vEES3dGyEduL7cn7zVv
Xrz26EWDeNIFC5ein70KU+B6YbWI1LrkgFQVUzOy8Lzq+gxRSj0SMjcGqo/20Uh9xXiiFFZieM9G
+dnl5Zy/HzNVm1Gk6p3yGGB3AD9JRTz7pLZaX51jSdH59EMsY0vWa4jM7OUK13uCbi9zBKCD8i8v
7OUsTVbnm0ZZZy7KZGhfOEqAbFiQYQp99O0S4glFVKs/S2oaVGdYRbh5ozWgSztL4vom4d0KvIjO
D6U8GvzLn+FQetYn8lp0hqf6Yaibn5UTxB6srb2XyMZqB9H02qul1k0dfxmplbFIBfCfuCkOWl+h
foYnBE6Tr4k6mae5y6WdBbKx2AWqCdF1dhcZjPjvbw7GOcmqEv2fxI3lMPzQItk5n01k4tP7dzG1
IdG1hwcKSWk1LvrPcTDERuYa4EjOE2Y7oUCOTc9j3M7/6dNkryp5/cn4VAa7i8xJPJ9XA5NaLVd9
fS5cZEXSd6M2SWcjFfp7TtPevTqEfxWkeRog4GXW2cygOizSWahQm1F4NifbgHxaGLD++ji/NxUE
mQC6guqDhu0J/N3l96qCukd9LSrc2c6bw2R20blFZAvb++Y+mydxkS9Dib35ZmlkkjRPRo3HeYVQ
2TFXh/FgDWrJlpONnRm8XvWEgkTBDidhd9ayEiPCUXKBAJubGOj5dEbqJUqP4UgroeiTWNNOuOtF
L8KhmwAfhRzKWS1Gvcmo4VToicTonzzFDXB/XqjNTvq5cZEuw6xOjW4mpxgDvtXoIEXWDLH/p41h
x2nWA6RPacqhoqOhLBmY8eQ5fd7+Z0AuZ2esW/uAPgiPY6oMvCFWY8XNvJPoObJg5qh7j12f6iKB
2T/UyJHs7PGtUAD4kKag6QAQVVsuGNRSQGv6iXg0xh9gv9a4owiEE66il9vX2tZ6AbSIQxxrlJrR
KlLdhaktKU6KvjX60y2i8IckLrC2r1DA0aMdeuDWuEBe84KgfU3E1RQ6bU5iWWaZK/UIB8nRpDyg
Op89tL0a7kzh1sp8G2q1ZJI2sHyzCMV913H0T2BRs1Pf9Km5c45szSBYVgPQLdcN9ljLb2UptaNm
dpC5EH+DLxQa6n9atDouKhJzT0rcmztfTJxLyzxEh3wL8g6IMu3V9RzOmErA/2AOS0SOTogUgkzJ
/fpD48jB36R483ut63uvjFpjp5C6OaV0JABusPyAWS1HOmpRPHYSq7J2OutZw448u4wDgX7j0wnJ
FTik4K/puy/jzLmERjgyI+4UNuiKWj44VOSkduZRLID1PJKbUyrl6Sd4RssoOIVQgMWIxOXthvZi
Y5hfJnb+J0XBM95MGuUpK+1uD0+4NYdAj8hSyYHoW6/2m2ZMBrRiM3UVCQhlTSPzXPOE/nJ7V2/t
MxoSNPp5s5OsrsaG4QQiAQljy+O++dMY0jH9E1FWufhAtT1KTrejif/beiaB7lLpwlwJnN/qemMH
yFUU2qk7mGr6FYmK9CFxjBrL3KL5pmax6t6Ot7ED4GnT7hdFblr/qx2H4GeGkmqcuuC55exzlU1F
+U2KnZg3TVrP2QHx+Vl/RBc2D/9sy7jcu2SXP8A2eWsAioOnYiJDQ3IpPvKb+xxJLKuIpFD1ArNX
z1RHyifZx9Sp01qTVCJBJDYdJjgKAQ3xe8b+39C0/U3xV+yRZejO9DMJxw/V85Mp/VBmTYbGWKZ8
nTuz/yZrKBXyi/2j1ph7r9nlV/5vZFsQgACNQstf7X6/Ntpo8GfFy329fwmiJrz0bRv9QNoKBDDu
ijuX/nIN/xuPHqhBC4puBtyE5UhxkVHQNJKIF1nKxwxJjZM8VxiSJH2zR6Bc7sp/Y1Hb5EAFv2Vp
V6SPNuCA0GY+aDrmpzhLwkuBTcHOPnmtjfyfjfK/wmjwJSkL4Ny4GlIz+SAOJ131TL94GpFSTkvp
UQulZ1kOvgIdPcu99Xel6R+60PlTQZcVk4tzZ2iIUOYqzUXT2FlNW+OmvwD/hGMQkM76BymjbOcI
R3pjRfvCbP3kKeNmfri9Zre+pEkWTFoPE5NiyPJLSmUcdnNZaV4UZ9ln2GSJh/KLcZ7rea+ot7VI
MYmFlyeqh3QYlqFkueqQKSaUXIX1X/Ic9J4WzuZXHzLPIzD89vH20DbiQVajl0EBFv/Eq4MWJUOd
cqvuNRxK71O09U5OqevYI8j+RTYr6y5M1esK4pCVLQOHQMB5a0yVEiM4WEqj6qEAPj+iTqyeIlmP
j7dHtfHBqG+Au+fhAup9Tf+ozW5GsMHSPNuSmgMGXTFdw8w8BPiR7+yJjRUoFBso8/KXka1OlVLV
/Aaxas0Lm7z6NFhBgBvFLgNj9YD4d94YDJJQnNa8YVc9jKGvBj0NZM0L5tZxKR769IBz//2UTT0Y
VMQ960OE8OxBKsb+kvSdfx7UdK8etrVaaHWbEFFea8/rxKbuZKwZHM1LRxJJKLON70kSvY7DPDgp
Mu+xv/Mlt6YXEAnCbRQm6IyupnecMIkvEl/zqtifTkYM0yov2z0im9hVq3MN6dpXLBF4AVory13X
W3VJvhHonmEMvyD9fqkm42WM2o+TonxGif3j7eX5CnRfxQNIYlBCoilBZ3Q1jwKIDSqnNDz0UUHJ
OKPWR4/Ims7DqUXsHRsSVPN5Y2Mh9Cjk21rXilKUVJO5LvOfRoi6+6OEa9nHMugN/XM2poj++GMf
SUellFDhxOcVZecYwsJBs3GJuiDFnKpIe6EcRYkltjDL1KwuekElK3EeIhTvvhjmPJXHMgRR8Exn
naPGn1U5EUmsUaGa3Ns4amFW1h6SOY/671o16SYXdY9pl6T4uNyEqNp9pxeZ2udRRbviBFMVY565
14vSC6n52Ce1puKN1m0JCVu3QtU8ZKPl/8GXb38qWToGJ9RrkenU/FhCCNQxJZrUZef4F8Y/pIeJ
R+Vn2/LVX1NQoEjfq/qUnUa19LULxt7Sd7M0u+q9IeOT8MLrqfHUwCrzY1fp9R8hRkbo1YZyh/FT
FGjpQ0X5/UcpyYlyQKpaR3+ac7K/RIqU/MLwgco3Eu/qz97PTfwBM/gLz2TWUX5BpTWTT7akd9b9
K57SEYVa6hLc5mvKLe04yWmzmbPL9Gd8GjvtOMroWN9eghv7ikMC9reQmrnOAIucZyzmLboXSKpx
kOGSHSV92hNj24oicEwEQUOCct9qX1W+b82dont104UnrR+t8+gjO3z/WJARozBMSsk1tkoCBq4T
x5Z8xmLI/Re4+8N3ehZ7KLpV4+j1CEbZQyhukD+CaVsdEmOVlnUI885D6s3qsBKEyfhS0NXUvALp
XPWU1+ianRqMC/zj3AHdP8XaVPzKcH7XTmGXq8kTUlfWu77B1gM186zaq3RuXRNCMpA+KhmaqA4u
JzycikTWfEn3zDAwv8FKUD4hVGRZRykztAdqXA2y4yyxv6Z6QMjbUiYPJ7+9yvXWZ7dIQ5ksKmqA
NJe/Ao8Ygx3O8YZg/vwhMfPpnZRp+k7/c+OSF+qiROGJCHJ6tbhmW0djeCL348T5ielH4PZs+2Pa
9d357gXGQw1zWA2QNtyF1ZdPJyQE0spXvVAIp0dGbh8zyWou90ehDWSzWwR92V5F6Q0jyTlrVS/q
YKRLWWwfhoKT6naUjasOWMf/jrKuTZjWABkPpJiH4kb/UiaZ+RnlTPWQDdH8pFRN+SXtC+10O+jG
gkCBT7ALKViQPKyyF6QyZuzNMoaGncZBapzxocotY2cCNxYE3UG6MyJZoG+yWhCBFLa6WowaplMU
54bA+S7LE+ZYRbKnfSa20er+pnuBJTWlCVHDWn2quQtjs6Y64s0N1q9Qyszp3E6YBFyQ0k7em5X0
OQ/n+imuff3b3VNJaEbHimeNrFeJBu/cwMZK82rezueUg/ws4C07q+S1s7keISQVFXS+IFBfNRfo
xY8FtnFeGtQffEP5p89sNMfrDuMt4y8nik6x9M2qpHcciZ/nZFKPVJw/2omUHMivTljIFYegGz5F
zfSxrc0Z2fY9cZGNRYXVO4xWHmTUf51VFUXTA0jzEzOBjVX1FEyzfQniStrZ+ysQw+ux7wjFKhrO
8D+vkFCki0LVtNM9P9S5hkO9qHpU5Wf9fTSUbQIDWwu658yETvuizgmWbIo6pRr89nJWyIMSa+/N
tjVwXk4WmFOWAHWr5fGKKH/s5DU5cdb11rGaw+wsx/ZeK2szCvBbGiP0p8GoL6OM4aS1jE/3KmNs
L4Xa65eor+rfWM5At18JglyV6/duNA9T6KesM5K7/lzJZu6a0nT/VaEB3qZkD+mU8axfubyegIMU
pe7pnRxcehu7FPxS20tZtPdPmwgl6MKAA0WTeDltk53GqdYU3MByQPOPFHz4boXJXp3g+qwT/SrQ
RQolWEddjwiriC7CuEfz4H7T97BiijFBYjikrn6x81zZisVbRZDzBZ5/DeMpLC2tdbwcvaCygmfM
eJujPtiSh6uMs7Pbrm8nIWgDq0PTERvg/FnOXtfhtjVKhuFhF1M+GHBH3uc6Zsw0tey/Ij8cDnh7
7MnevhYdlocdUSmN07WlXEBlexk1ytpcsRrZIIHkUfZ+Dq3s7zhy8tI8FTh8ZUectuWQp5laflTt
Xp/PPv7C3wcbbwqs6lT6k3KVOR9x7kEeYUyGoT4MSTanj2mfYR7M+6krL0ZZdB98Jyz+jOuxUo6d
jpPkMaG/Ox+0zAk+1kURfaRzoHylflrXB7WJ/S9l51MQVqU+ltzbN8krhnM9bOBjfFfUuYUgzmrY
VVJFRuOYHk5g/qEyMu2h5tzH84cTRW9xhkhi81PTx9pD6hfJoUxMi+HhpP3sSGij3/451+cNv4IM
QVxutKLW6ZwUjZXZIcngZXEdnIqYhxWmoXs90K0FRs4ItNuiPIRIyHLMahfORlKrpqdH0vhjHNTm
mOAW8uA3UeTNc2se+r50drqGG0OjRwMn2NKp7bGwl0F7Re00o4ss0oXghwIO7mPd5+b32/O3cWVz
WCOHQGNBJKnWKskyml6356b3vTwIjPqHbEkqRvFOgDP4IcVv9gmXHpMaGMJyqsuVrQcezlOlf8ho
KjbNscJgPjo4weAHX/xiKj7YRaUmjxY+vsPBB78be1E054GH1nVqHWq9zLSdJblx0nAFCOD9qxDC
Gm82jkPOn8Dymhwq7qTitNbiIXMuKm0Pbb8RiumiYke+DeF53Q2Y53xO2IUW2XZqXiqU5E5SVkhu
UnZ7WsAbnx+KDYNCioBzao3vwnOwl2x5YlSAs3BWBM+N9/VeyrYVhWKSKM0xHtKC5SIDLuSowZjb
njRjyc2rPD/06rzHZNyIIrq3JpvHhA71+gB90zlSsybF2TvSPdID5dKa0Ygh/Sjd1agVOZdGL5o3
NhebuHhWmfxUOnoUR7ru5XZnXOrRweO1GPekiK6zeOg0AtjCZ+EaXTdQJz2hrsvGpcKeUUOVk696
OD1Y2jyfshCbXt88h7P0z+1tKg7V1aErXBBoKtH4o7wtDqg3E1hayNSmTmJ4Fic721MKPybs5e92
nStuiB/W/Y9xkR9AzKbeSMPxVbX8TcC+z/Bvj3vJw5AqOpa6Fp+wXrzPfkF8McT1HPqJNG1Rn5ZX
w+r9IJatbrY8zY4xrAq6zNNGama3J+969aF8RDebc45DgjNiOXm10VgtybXjBdRNP/oFal8RWhz3
R4FtReIE4YJUZM1e7Ot+VCe/djxLlCY7tW7+NBP6onePBWAMX0bVkMFCk3w5lij2rbwBRe5lth58
HDuUtFNMsb/+RhTxcXB6ESNanQpDbUyhosS+1zZd+TDbBsb0PFTv7uoIJXCOBKBvkMrXdHIyggAl
ktD3EHeTEXHHXnUI8j3izfXWQdFO4HF5MMCIWVcTTRirTtVZjmdqkR558lBrH8oAR9JJoEYv+uQ4
n++ePUBo4oEvbI6urAryRJ819NsdL08U+9GXE6w0Kwysbke5voqEjCNQqVfSGbpJy5Vgl33XR2nm
e+FcSKSME/Z98MS9QY33uHUbG4gsiycQ2CUH2v/qdcI4K+xFE9/z7aj4Racxelfie7rT+d6MIgj3
jIUy4Jpt4fhOMQ9W5XuqXLWnQoHYIWML9eU3po1amahe091eN/liOwSzURLFbkr/LKtBiD3inL4M
ogp7fyjQZRCUxFa64mGFqpPh6tb6fJKqOSpqbx/xYNMwREj3UApbc8exwMPxtQi4Li0ZbTO0JWZx
Xu4U0zvEbKLLrEbB7wyIdFTATxCBXWujJJXShoNErhj6VvkAnpq7Bz7EKR3y7vH23G0NiLMBbAKp
lnZVpukN5F5MefI9CI7JSUWN5GKlfbezhzaj0PKlySBKp+sKoxzATbAjjXZkOCd/JPn4NQ8zdSfF
3jqAUOcStw/TdiWa20s6ZqdV5HtViQYPLbrknVKEEcI/oHgsec4f7p86Ci/cYKxvWoVi0G+u7lDW
U7RN2K2tGRefeyvUXjgmst+YOgvRWi46yFFAg5ZRzEBT+jjlA1HOGM+zFkyejuPfp9tj2TrkoCoJ
op8QybqS5zQzWpLN4Htar0SnQE6llwBf9oeqyIbL7VBba4H79LVf/NqrXg5IrwsFTQhCVaSY0FHq
6SkC0rQ3b5sjehNmlfLU6HbHWTtzKBSt+iJHxnupwJ6ilLpq5wttrTs2kGgHkpewxpcDChS8aBt8
Vb2uab/2mhXDMRyHQ130WDYZsKNvz9/WwBBuZhPRGlQgTf4PZ+e1JLeRrOEnQgS8uQW6B2PIoadI
3SAoSoL3KLinP1+Nds+yMYhGtKTYWG1I2uwqlMnK/M1luGUZ1tIqTW7z3HQ+9yJvf6ujAepzlM5H
+OvXObj5cvkBFzBgiZnyt/yyxAd0icwVIPvT6lj4MlPR/NlbIvqjzObK9O12sqxgGZT22amVfDkY
6M5CQXsHYjvnuqRybG5DfEmtIh9H+9EpRXWuOMHeD7Nj/Lw+nTtR0NTi4kCNDl7FKyMHZSgLzLPt
xyRZG9+kKnFOh1o/WCO7UaiH86ShTE0B8nIip7aLKM8wFs0uGnkiTW/jVk0PsMJ7UXgsgxoEREt9
c7MSnTlucCShSIMV7BiUwK/OduccUZX2ooBMlLJ9XLYAuy7HYi1Nm9cQkx9VvZyf3ETLKL4n7c2P
TC5ycm/oiej2caZfRknXLEY2tXUecfAd/XpyI/gTaBZf//qvNxMWOTwm2LVMGD58l1G8xFZsLcvt
x1pfx1NZ1d5bmrTuuUiGI12619PG/790pYOCIuXBNwPCAbQoFLWxHxtnxi27x4OKFKA+mLa9AUlP
SS5CKaK6tU7oGx1jYoMopQq6JElxp/LGRfWhrZkHa1rOzeVbmaHIzI6Nw0vopTXzy+GgzMqk6wlr
ehHubyJXHscEv20H53UkZXw8Nw7qdLtD0+hU0qaUjJfN6pZEoWSdGVpSqXowu9P4yW11600Bn+10
+7KgV/n/oeS3/GVojeaKKs/lRlLU5fOsYz+BZ3EV9kVyxFl4fXuwuDF5kMBmBx2RzQrU2nYty9yx
H6fU+mA53Z9G3H+Le7f3ARP9eX1YO0uQWIA9aJhRh9zOYGkXjtfJAl4Krt8HUdSdRb8egVd2vpPk
PZNKgMYhg5WXyi+TJ8TsKZ45O481Tttr0KaKhSTCXOsnSpnuQf66F4wzmVSBtBJl7E3xVtUKF897
23mM47nwFcBNUuH851iwvW6ePGCs1CSZQc7XrdT3NJVeNyW6+7hQlw7UwhnvOhrYB5tq5xOBEpYz
RxWKTbU5JbrWmbs2Wd3HqFq9YEHJ5KR09V83D4WqkxRfRV2Il+1mJ/HcndJCpyCgdYPiD/VQ3he1
fsTFfNHg2hwQZKz0QWndUMrdZv2TbtcKRCmSSqp23WM1jdnHDgj756nOHNtvYUrqoeeI7BkjgyI5
5WsxJ0FjmdV4ao3W1tl0Jf+IVqTV9M2c1kYPOidae9+eBt15ZAU2HzRPrOuPmHM3+lkow6IMPhx1
BZf0KYuT9FtSd1ofgCx3j5oVcmldG97mHjTLGaac5/KOJiEvH+exhwtuzOPDtNjrh7yMvlQY/lCb
T/N3fZ8Wf1z/iDsrH74t1WRZHgWTvDmjzMrFLhc2xKOFAkTQtU12B69reooL++ftkWT3TVLxXti1
lxt6dCNjQcsresQTwcWPXFXOlK4dyqNJfHAf7yx/EjG6i1IBh9Rvs/wjNxtMNa2URyUu43PkFk3I
HHQHm2xv6kDIoxwn5w+Y3eWAok5flaZKlUej6ZY7V+AcpLXxd3NQj+we9sbDXUXJFeIueJDNWTga
JTpXi608UnJ1T+OU5hawoWk+QlvsjYiKBPx0kgxJzbkcEW2ZpBnqJH5ynLo+rbicfHXcuL5fV2cK
r6+GHcgFS47GJC9eEmbq/5exjFZZKcx2yqM2zm85ez92Rv1lafQiKIsl822cIX27qj5imRyao/Il
mZejAsn+b5CaaKgWQ+bdVpfIONpOA+DyaOCE8LeFiOJ3sajryUVs4a6IbM/Xoj4K87JzTpOrdx9c
MWhBxgl+UAR4aXxuTgE6lpKzIu0fuFYvZ8MZLEj1VNWf1tHyisBcEaH5ktPVS+6WGS/RH2oxR380
Jt4AD0Mfe1DnSDua2NeySolOJIVRe3aLXG+DaBkL5XOfLop5Xl2l8+7GRG0WhEoi5Qu0GG94V0BA
SD9NtlAQhx/MajjnrVq3QTGUTo8e/+JArASHrD4iXNrozzg/c5aqUdqdLS/1im+T2cxfss5Annpw
Xeit2jBHrXSl7/MnzFwA6kIbfulO2c76oIpuVj6jv0AxwG+VtlvfWIOblJ/TsqnG9820xh+qcYit
R62MbEx8y8r7nGTFrAWRHufekzF5XvO1WBaU9cEzKZNfGInXlH7PyzP/YsFmqsKRnKE+8XBJxImH
UjMEUZ14QFK1eRJ3tTtUyltjcooidJvezh8Xxxpmf7ZKTfMtRedVYLqidYJ8qYzFn2igOPeQKYbY
9SkEdn9mqlZ6d/QPB4+0Spsjft2szVkV1Fg6xo+FWvXLe2cp8vaD3tVV9VWZu9n42HbwLX/CdouL
c6HpnfZuhvjk+BlI+kY7LZkTVagRz0ntuzEih2FvlbFZnHAgtMwndOnK4q2bemlzivXV4iG72oXm
3X5kog9IdZ/ERFrYbLZ+jNbIUEZa9LiwOJ4qE+i2UcZHmpE7cAREDkjqgCdSwwPadLnOu3VRigQv
QkCCuvakF+bwJUu0KUgjCfEGMjE+ONHQP8VdPvlzNXdnHKS8d2ujis/xWufvr59COwcrv0Tqjcjr
D6WCy5/TzEbbjugXPzq5awUaVfJzprfTv5hbaatB+UHquW/xT6bW2trqccfaWeJ+Qs4ioWvb1gf9
mZ3DWyKSqAxIUwpeU5djMfRq8jI9j5/KKIJi4NX6J9nsfptosXqETNqZN0ActExoQcN+3V591dCV
aLIoymOkclgHejR+boe8Mw4m7iUb3hyLoLAR/eRlDWJE31x8GQbIC2L7LJdxfVtbdqDYceZnVfKG
c/Khn737THVPvH3ezBO+Q0b80LvL7PciflfYxakD1TJoSzhr5V1Vlr8PRXuX5e05L6FD4BQTLIi7
Wf1S+6lhHlxwrz8HmTepMa0l3tGYlV9+Do5JVBpTu3oqoc2ckbNF2rHw5rBWm9vfFJCGoOsBFSQ5
0LfXWJXlhoahXvXUerBZHxYtjeZwGvLydH237DzVAaTSB4b0bPDRN18DA898LlQzfgKQ+k1wn/nU
yRVYyd3b0uC/a/t2yiOnkYQiUKdkKrcI1RLamh2vXfxkWMngm6W2PJBGjgfVjr08gAAyC0HSizbt
poHqtak9R3MVP6lugVFkmYVJgbWCDRrSsp/taJx81tkfXV8FS2a/n4RzcP/v7SfmlNuftQL+fDOz
RRMbZZos8RMEGu3PVMuF5rcdYLXrH3A3DNoagLSpH0I/vFyTdADapEGO4imZXfOU5Z3m1xAdD/Li
3SicDLzaENF91QxaRmXS1jqKn4rJjCm61SNIInzBjlh5r5cj5Sn+wGxN8hq3YLJaaaATq2b6pLZw
1c8Ul6r2XK756PiIDzjZ+2Lyko8GDjJHYq2v97bU2+dbwe9FiXLrtwNktkDHqM6f2IsP5D95qFIh
JTHPP17/YK/LOihzSRUzDnW6hdtSS5YXg+oCXXtKSW3GoFG1rvRNLN/fO9q8DH41wqE6OLj2YoIF
Z6ODOuYtsFkk6MX11trG1VPDZ/ywFFqXBsIc6t5vC2G9k8/oD9dH+XrB8AXxMkfmgNX/CnvqZK4B
gLpKSTs08T2yW/Uh1yr0CG8J8yJwA8oIviglJVLNraoThT92xSKKsHYXys5Z3zybVX3E+78czD9R
uIARU6M8Bj1nc5bEoOPBNa1liNT+DxNf57vRUI5QTftB8J4HYSR5k5vLxaDT5Vm1jkRJkxuw3SJX
f+TlGNXn61N2udD/OxiiuFJcydkC6GoDzcFkQRY3V/siADGjP+Wp7vl92uYP10PtDonGCAmF5MVt
j3pU3xQn6acyjB0Dn5WsrnGcb+O4jm86a/8zJpY3qiQAVWgLXB6C81LxdMqQnejrNjorcRXDIVTG
m9b0P1F4r0Mie+mHbu9K+rDFggMTMiT4SwRDkjV3leEsp9snTRrt0WoFTfsqnSav7StDRWYlHcvk
2Yoxj8OrZpqOcEyXZ8J/RsMZhI0yVRW6KZdz1mLwqGWKWoVI0fanUjXb8ZSaZpMEMaV0GJUmAtI3
XSP/xARlBi0B+heD29yJZt+6U94gp9QruooDcDqd8zQ3b6rH/icKMsl0oNB+p3N3ObLZSjnq0XUL
1RHxQ0VHW2uqtCNB5k2G8Z8wKLBLZhQn+pbOsRp5PYkYkHvniDeLUy4wMT0cYqZPejx8VnjxiNF8
rA3rfl2WPOhgf/yL049yLZeVFGDlOrkcaNbPvVFmaxUaRjmcxxXhrSFRmoPNtXdgUAqGOO7g9oT9
zWWUcnWF6hVFFRYM+K4RTf/ctEjc13Z2ZJu0d2AANaDATflGMrUuQ1n6nPEY6qowmxrbF53t+HMS
36xvDX6GOhVcOrpTbOXNC7HTxZItY8vK7+UTMaHEMTzX8SKiJ2Wxqr9u38+mC+eDI5dw21f4kqsQ
KdMKpTIEi/xmTLs3DcWIgxt+9yP9L8q2PAokt+k1Ez201qzHu1XT53MBIz2wxXwkQnOZo/2z7sHD
g/lH6dQCanv5kXBYRw3TLOpQHx3tuUxbKi61E0U+cC7Xr+GIfGJbHIEI96LSD0NZHlYXAObNWi8W
I1/TXKnCxsBX+DzMcGI/k4auX+219H5fIHt1/ixUrf0Xpz40NWl7SqWWJONyuITJFT4a3y8rRJDi
GzD6wnJgHNy+TjCOAGBMFHANm1XpJfkKiAEFiq5Nl1ORx7AEdXGEt9o9tTgukClhJ9M83+xmGuq5
4iDXEypZqb0XZl6do9Jog9br7c9KGS/BnE7qAwIx03czQbyvXsclHNzhiC+/+0F/+SHbZZRAvUks
1B1RwvgWx1PpK57yMVe634Z8aqCrzF9vn2CUJCm100vlj83IOQzGjAVUh2bTJqepV0ff6tsjq7C9
I4xXH3550K5k7nO5XKI0ae1GY50CXp+Dpsi/q4WX/ovd/muQzZq0cRuysyquQ0tPEQwxF8CN6Ird
d452G9rin93OFQcrl3IXq3LzmWDDp6mtcbAYtuJ9QQ8x9w09yg4OyZdp+V9V6HUYuVp+aQ3HZkvd
tGCXjWL6oa12ULn6J09Nf3fU/twq8Rtw0O+SefAjfXgujOlUKX/X9tFjeu8UlYgfLnOyLxK9y18B
g1G3Fa0mP1mm6CnzxvpBG/PmUYyDffBul/O2HTAFf9Yj8D2A5JurThW1paCYXIaAFP5GP0uhHDE+
aNX8NWuTI12d3WA0winxSI7Jlryg2bNbJTB+w9Vp+8z35lppHybFWatgzFJ9vM9y8rJ/kTeQX1K8
RDMMpadNsud0ozt0zSKFENc1cLD4Dvpyic/xpB51nvY2nbzNKd8gj0aj6/K7JUOhN+aIxnA5N7Qj
prUWXWA51ZTcXT9D9hYIzlUy2wKHDd/tMtBi44JaWFkVzuQMH3pzMs7FUFN0NJajVuTumKjfg12Q
BmTbgzpqHR3VCtKuYcCW3ahi5c5aC+sAGLY3IO424Fo2RxaX+uWAusQbYE30VZiPJMzjTJs9HUV3
7ktlPbjg9kNRjZNsE7g0m4+U1ctQ1GsDKbRowQjGLQZuQTy2SJPrs4k09PVPtTN/TJrUIoTZII2S
Lkem5m2SGKB1QmDznPmLvgTuZK4HT9ydQfEihL4Ftg47wO3xqE0A5l38KcIMYGbqW2Kqm4de1AZA
kG7Ojzay/NGbU0MSGyT6kWXxSpBhHhOrTNcxgwcYg8R1gc3EfhLnXRPYbWQUz3Xj2cjjABvq7o0o
cfvbbx5sFdlilBw5J7dkxdjCTznTjSxUy0W8H7plfkgVx73Xyby+3vwBeQiwJJHIBB23rWxW2qzo
SLgVYWtpZfLQVlb9G2dHciQQs/MJqSMCEqX2h9jFlrQ2WX1pOLlWhAOFsbPTuFHodrYRZHGcH2yB
nTVJKF6/bDXkFLZdo0Jb7CItzCKcdYsRjXN5X3vzzeZ0YCNfEGNQh3jpbhUAStA15twRhUZvGYy5
YQGOqYbT7Z8HwBjOs0CfgEpstrMp5k6KkRMFH6KfmKCWgZVHzt/Xo+x9HDogXCAerycukstdnAlb
qIOCbGlUetknpOJd2Bt6Jx4KZYkPMv2djJSkjdyQOAAYthKXC/mcmMA/oUfTN2+SquONW/Ml71pv
BGOq8TREl6kSB4tiZ4iyP8DFTF4O0ngzkROeEqqX5ighF9kU9FmTBZUxVUFjzEfl9Zen7eb8sGUk
WcyUSr4yUfglzWqNqoIXHhU8MrQ/FC3Bh6Gxf4xV982dSsdfEbV+1gLz4JLZWfbSE8yhJgOCjULF
ZVQPZEImlpnyXDU6d6ut6Gfb6JzbMypq24hJ4koEt2hbC/YSAfx17IowddbcR/Cu8idvfUA7dKHv
Hf2LvYwTCaVt2RCkn7kZlCMAbeueTp8gcev3TmmbaVBSapvP13fA3uSxJl+cJuDXbquOE1Yhromn
MZrfsfBx3akfcEoYDs71oyib6jNqknOMdVkRqk1t3LsRgpyGnU8H/ezdKNTKSAKkIssWVI2WEOI3
VsVR2/CWzvsFxLsl+tP1GdvbULIi998om5t/tGd+ugYmJBLRGNhpbQfZPJVnPV6PBEpeD0iK4UrW
s5T1oHJ/ubLHpUpVp7ANvKpnKvcIbXytjNn9eX1Ae1EkslT64dKc2vammnFI4mXq9RDom/Cz1ejP
0KyPzqGdw4FWDcgpkKy0BihFXA6m6sSUT0qqhbFq+pWyvLeL6m4ZusFP1SbM9eytY+b3koOMb9FB
tiYPnsuDCWo6ZW+E4FBmAot8GVuJkxovMQzGC8V1xF0+GPlXo1RwM8eYpHqMyjy+DYEnn5x08AH2
04rmryjvXIbUTcHzKyakK7zhHqj1TKcxORL9ebkHL0dGzYobmYFB03q15l0vi4Wnp23otRl2SZ7M
yoIiFn0ObbyskpNl42oRziiyZeGQCdGdjFxEnW9NRpH5UxMri68mczE81oVmKPfJiFicbw563t2b
yPDEZxzzes9PnXxEuipV2x8pMhB/jwAIyhOMI/790gT15pP/dkuQdBX6DCWlizwoI73o77wq6/Jz
Xxv5z8bqXeXd9eWrvb5Y6b/DHkMbQKr9byuGgtRNUL6j1EO3LguS2q7jB6W1BhwahyFGrwSnpAlF
pCl9NxiI+wTTtK6fIzRWtBNpQYxNkjYVGbp8VT6c+lYIw6cEGWtP0Vg7aaCXxnBEYnh9isgfjWQ6
2QDd9a3WtqnURhrDiA3bRXWe+mRKac2OyZ2qidu663IlEkpqRjIWunLb0p814OhVDUYdOkbbnAqx
iqAby+7gfnx9isgo9CokPQdM4ma9F/WkNHOn1KFdDE2IkvHwnESNepDN7EaB68YzD04i99blrvLG
kcdc6tZhEZfemwXpgTuk+6O315fU7sdB3oxaDR4qr1RAjKxRvW5lLFVOxbKuqyRAdH31S2p8p+uh
dhevCTYGfD9EyC1vpnDbqhVr3YTpUHRvRyCQn/ouE+fYmpawAxYZpGl/1D5//c7jW1HHoHvFvQLc
/3IWm7JddCwCmnCcZv2TzeV83/d1/Fw6sefHqtLfiZoepOco1v314e4UiCXdTbIM8MoAnyA/8K8p
ouf0SoQMXKij79Xc5z1wkoD2N7WUaWj7b6YVWd/LhB1zP43qkAZLEWX2eV5VcJY9LQj7IAF6fTVI
GhGQDHgCtNq2+fGA3OyM+FAdat2MU3TpRRi/aRUowzYp7qammH+/PgVHATeZnaolkQ4Etw5VJ/8g
xsp6F0fT+FG18uU5jo6MFHejSS8gDykBKSxxOd+NHlldJxheklfDR1R2xQdTrezPoyqQq5rEwffd
259YB0isF+8N2myX4bTVTICEc6y5Yx391uMdEkx5Oh5kLHv78x+GOpRGrtfN+lWzBcFDlWNGo0t4
Tudc+ZTPRv92mZX42+1fCyChSsLn0TncKqpFaWNiMuQSqmumP73Ore6VRPXQT/bc0J3j8kAkYW9o
9PJsBMegnrI9LycQYFm7tHFbhw2sqbdN5KBsXdTGWVMz6+H2oQGjoXhFMF5sm2+lpNGoWC6194Su
hsB0aAVsKHDMnf3GG534Ua0VLzu4rfcWCPVo0hVpYQaw7HJ8SaToOcxXLmtj7AFFl07XPE0oclaf
bx8dSQZHKhQStvVmmynlMi0iL5sQDeAyyO04/mwlanFSQI6eFa1YDwa2t9FAQ3Odw22iybb5cNm6
ttGos9EguilBSZeoDSoN8YQSb57HZUG/4+AufB2R25x1KYXRKPtspWKSZZ0Xr5JLsxp6P2q9xceW
96ewly8Cw8ybU2g+Fo1ZFicw1VcSTwCtk8GY+jYcV73KAqebrdPoLc6flpK7X+ZMsd9f/4CvdwIB
ZcMSlAp6o9ud10R1w0xmXWj08BLMXu0/9s3UnRJMzr9cD7U3kyhrIA8rQY4AAy8XpW30Jkey1cDS
b/JPUTEPuR9Fqln7Ojfig5NngOiuh3y9D5BuAKUsHVrBJGxtQCA0OGra8vFsJU/P1mzmpxWFnIMo
e3NIXYtmLEZwFAXl3//ltiWTx0M3m5swxkZ+DJVpXn6UreKup8gwsoMPtjckiABkm7CbaC5ttnZl
lcU40v0ME8gPQZTU86nz8uTmPBOo1y9RNvvMsZOxy5S6DVFeSU6VmRqnbM6PxA5ep2VEgZvPJwJH
Tjn8cuJmc027dp5Z7UaLw8aia78hv2yeJ6urPyyK1k2AfqL54AzZnUEsKuiFShXhLdAsmRAjUIqq
DeO6bqHIjJYtAivG9/V0ffXtrQvp9fnfQJujvzZiIzeHsg3LISoe695SziKtx6/eYB4pS7/ONZlJ
XgRkWB5FwRf/0V+WoCNy27JGuwmtRUNAss4bLZi13jxVmkJvBgKNeycKMw+dsVwPspHdrygF42Sf
C7jbZpj2iL2WgfpvWKXWQ2mof2EyglTlMoRtl92l8fTj+rTufr9f4m12gECFak1b4tlRI04mFhF+
rkfJwUm8G4W6AlrqL6SYzc02VjV/Ony8ceyqgDqyAMGH7N71sewtEVAMfDCwUpImfrkDnHTVjaIx
m7CqRHxPt5CjKtbGTx11sU/XQ+0N6NdQm1NKKEa9lDZLRJRxZgUGyA0RlK0Zff4XcRAbJxsmwwKd
ejkkzeoccEyiDSFDqd8BWObQQ6Yo0c/X4+xdJ6Qe0vJTtqbdTcldEfOYlQhChzDklp+KWApqd4VL
nQXnnFDpFuPouNr7WGQUdJlAfqNYuzmuYs1GJ1lnSeDsltwbVWfdm3U8P+m9bn28eXB03BE945yX
VePN4Jw0MtSIl35Ym82Af7g69m8aoa3ZiT7z8LNFE+b2XiuNM55mIFYhQ5GLX343oaYFPSJwe2U5
2z+qZRaxj8x/daTfvlOiJJ0CsSdzRp5C28e4owpOInOuQiUX3ketsdNz56btk6m20RuwBu7XvG+z
O3O23RDYnffVWpT0yB1j51tSCuBtLFU7oZhtkpHYMBbwrcAu7QJIZyKU+m4ZYZT7SuTMN782GPD/
Ym2lbqrIxvMl1ZjZyVCCxctt8sihDtYOl9/r62Z3WC+dE4k6Bmx++RGNquydPOnrEKHG4R7Xtf4B
1a8IC6smOxjVznmC9aFsY3M+kpJvDkijXgVOOQt2uynGrboT1R/nxktu7jbAev4lyuZySQW+2Gkp
pH9wZt/PTj1/q3DDOdhuu2NhLdIKArUPE/5y2ubVyQ0zZyyWA6eohct0Fk4zHVwpeysfFgVgGhY9
dOIthcPEGg4JFxadOYrPi6V0H3Sau/QeEl/Y02PbTXeThrm3ZivBanTDwUW9M0rCg1X6RwRse9l0
fdktQ886VIox7f20mbyTWYjmNsksWQp1yeggW8g3hfZKw3MaIL25Pcg28F9J6Llrey561fVBjhsP
UVfcbvlJPJ4wCP0yp6T7l19vGikyw+GqwG1r+Y8589SP6rIeqcbszd6vUTb3mhoNTtfZURUmY9Sc
xdSMwVB2f1/fv3tBUL1FnIbKDn3WzaYSBQLsdexUoY7lyZtKHe0zi+GIJ7Ub5UUsFnC9TbjLCWtL
tDqKiqNeA4nyNBZD8sYSs32QcOzkpEDN+SQ8vigmb+3monW1UwqKYOshSvyRZ9n4TdML73cI5W33
0akN7KWyNXefyGwnL7w+kTvZgbRJlJpf0m9zW8LGZdKxpqykhO0ZT9UaxUFTzc+6Lr7VPZnC9WB7
8+lQ2QQiTnePmtnlfDpWBfW1A5WalnnzVMY24sm9htvk9TA7hzvVa+njAosN0PvmhoY5NTbJmFFE
rZLl9wl/r6BVi/yUqKl3+xtJWi1RZSGHo+ixCeV5o8h7lcWOu1L5O/Qf7aG07NudqilOgaEB7seo
eLlczhu+SEWJYwPrcNCVN9HUWaepHI3nUrjxwdm794koGdGxBk5G2VD+/V8eSC2iTzOXPkcvooen
cirX05ofZogya7jsEzIg6r/oopKzUci5jJJE9VQlkVdBMnOn0+ylAYqBftNH72yn+4tXdebT/TV8
DzGCg8WxO0CWAMIdmqwdbebSw7JaSxq+WNP3XdBpo/67IuLyYE8fRdlMY7wi8Vl0DLCYrSyBZwzN
08zK+KB6vzuPpIfANOXxtPVhq7AAtKwGz/ukaibgBeqCqQNs3Ls0EfN7U0mSZ5uOzWPhjeSNpi3c
8/WttnN2yXI+1XVmFK7sJiEYbKEtSQKBa85T720da9kZYRz1A9Zd9tsqLZKz69ROyL/sHYnk7Oxy
MCkUtjEXQXPyJYn4ZaUmqYMSgwI8dfCc7lmHNPYNrT/r9zq1xe3nFqcjCGZQ4fR2t1C2TrHadlBS
MKOwvc+p0OtnNdPtL9fncmfNXETZnCV9nCeGlgOCXZsuf4rVNrbuba/p4rt/EYfDl/MKQVVQXJeb
zxPp2OOqIdNsa/ANSB+dny8obh/stL0PRMsS/BWfCLDXZqc1jVq7M42eUAz1uVga8+xO2W9NW9+O
GqLNS8ohEUPARraW6Zq+aiwGAqVJ5T0lffsu0rwjU9i90SDyZ2BvikIwx/3lrGGjUqUCg9bQUNlK
QyPe2audnEqRLX9e/z4yQdocjlLOiv9QBObxt/k+9biMet1rRGrHIBKwjQKjVo1zLoZBBIXmVj4Q
92Z+uB52b/lRm5U4RoRGAWJcDhCTAcFZkpZhZs+272pNfjL18kgubC8KlCnOK0myo5V1GaVYvRxb
OtDrVlZmeNbo013qHGYA+1GkFhGiCNRMN0uvEGBTjHYoQzd2It9pRf1+MuL8x/UZ2zl9KadQG0VD
8MVt9nIsAyKmDZgOonjF+EZZEM46W5CDv8W5qIM4ad0vioU8gZXESum7bXZkArCzJils64iy0wOh
GrH5ZEq3arzIAbSvK1yDUsCBy41xflpacZsGzMtb5SLU5u1QW15mZAkEULh/zsntnB/oUN7OcGdB
0CBjGfKW5by9nFBRmk0x0C0KU71owbL3P0Y1tu+vf7WdtcEhQVkKpBIWNNsEoNF6vZxi7sxKTQAq
oSIVamT55+tR9j4N2pkIJNI0ktfU5VCM0ijdOGO++iKupJPXoASjVQxv0k6ZvlyPtTeif3jnbCpI
e5tnSmq0Zo/WgWRPtPQVPUkvU+Pm9pSGWxqXOQkPsUFrXI6oVZauAYzBYpsy1/E1sy3CHLWxP64P
ZmdTAfzj9S39blgDm8Gogzk3WTqS62bD8n5dElu0PmpKEFbN2u56v1QTsZw80bcI4SSJeMJHGgPc
4PrP2JtTTkK6Hhp1RTLvy9E2fbMm9RSV4TrHfyxZqj27WloedI/2xkrHlGMQxiZouc2Ulr0KvhFr
09ATuGIj2uYGsTN+tazhQ6Ibb4xsfDsOOl7G2nqAUt5bntxkbDTGB+pmk2tMkKhHrSzZzo3lnHiO
qed4qMGAt3lxsBN2B/kC+KbnAi56M0gI/muj2fCxImv4sy3mU9073Z3jRd9WZ73DUuudIYzvpVkc
7Iqd1PSlJ0HDgPctpejLLziIKG7zHNJZVPUt9mhWvH43Wr3/5HZK53xC2jiz71JIOt2ZYsKyHlwO
uzPMNSo9LGTxbzPsEsfpNMm9MoRdgqEV8hBjgE7reLZAoOj+9dW684pnYqW/uxR/faWnkZp13joG
ubCWIt5oq5XRwTkaDT82edo7uYWlyvWIe/tDbg9ZOOCpvYVrLJGpr8XE0p1rKdewKBbC0ZFq3OZL
9c+9w2Oe9pLO/4BIcvkVoaAJZVHcMhw1r/pU2uMauGAVb6/ROmDAeAHxysZifRPFFI3BcAD71in0
PcVqmjdxNmsHO2FvzuSeIxnmviZbvRyLufZJrQ8siRoz71ORNnGIz4nz8fqX2Vt4v0aRv+KXdxEm
QLTZkdwMvd7L/qwbxCc8L45/L6JJvf1d5Mg3mCRx49iyRZlYpSIa7nM+jui909Q28WkFsHv7ewUl
TbaxQRME+pkc8C8DUtE/RbCLaaOjm/9pN/gA2rVr/HV92va2EJ0M6VkqcaNbETKqHsnK5VqiMzn+
DsHyozb2XlB0yuhn8xESYifFZ0iUwiyZVL1S7YARgFIXehbhMvbPGMREb5XSXj5wIdqfYAoA8jDG
gwttb1nQIkD7BIsTKvibJV5OjaPYDhVTOlptgIyQ5TeJtgYScexfn8q90VGRAA0nvalYGpcfLNHy
scWyncslFeJTqnVV4Q+6FZ/7aI1+GxAzPaMmcvPuYglC90Eun3ct6jibAaL1Pye4d1T3jts374y8
dIK6cLrz9bG92sNEkRY7Uh3kBSN7OTZKSshdC7O8F64xF896Mw3re8eOivrW70UgOgRsK14w8ME2
k6iMYMCRSy7uIdF18FRNbAZTr/azvD+6PXbGJKEXkCHAwpLtbM6lPlX0KbPd4j6LhOf6KmnJHcKf
+q07jCLpC9sct3UH7IhcNr/uY80C794m+T1LJ0EH24q+z9nQB7GFB3yQa3Zzuv6tXi15+m20VwhF
Qsk5tJnCRPSzNYs2u7eSpPvoKer0M2on8QD7wTvAaL9GEtN8BtaEijhvW2qL8rf8MrjKWoYxybrs
Xpth+hqzNT2Nmb68w3VAfO9qwz2rivCevHHqnyosi+/rvkrfx8CUDgb9+mNyVMI4kko5fMvtY2As
rT6yypJBT+XwqA55fZdmmXYQ5dUWp4LPK0BSSmDsAV+4HO6YzNY4NG5636m6gkTI7H6ccFgI4nQV
f3Szuryvp1W9uXYro9JHBSvOU4RteBkVn0WH2sGS3qti6T4JQ50/dlSZb0WOEYU4GpUk6VSyfYUq
U8aNY5npfYsYWpC3g/BbihYHM/jqvpFRZNKG5YaMtjmuXLtstHiy0vt8csr3nZG4kV95iVkAeW+n
vywTiOj17bBRouc0ISSS/bxpWKUsjc0GTMtRoCLdZPcwrr3oS1IV2ejbWmcY7zB46NZ7d22MMjAy
q1wD4Yzuj9m0u+hEP0XFvKzJu+FJp++vhAaf2Ay6chC5v0YjngOCU1EXFOyzunynCjdTW3/Sl0r5
JBWbo2dt8qbpqUDfE/eXIVfScxalY/dwfYivdzwZHC0SOZ+UArcnGc/xblWNRAkVO5lq5ODT/IfX
VjGQWyfrv18P9uqBIfMeNph8C2OAtX3iJ5PRxDxtMpRImubOWYfmaa3c7p1b9+Mbs4jUP/+PtPPq
sdsItvUvIsAcXrkzZzSSZUm2/EI4MufMX3+/Hh3giuTGJvY5sGAIMDw13azurrBqrQkgGDVjp788
trw944bg4YX1l+QUxR7hWz9dNuaglHFjytFVkVL7ZDY5AJC43hPl3J5xUlPyfaF2CwJlHXobiV2Z
SmNyxgNnbl9IEtXkzHRTA9E0v5l/BFfRJdfKTEHSPblAcibaGpxBzp8488sFZlrAz/al4OpIpi+7
SS+pyL7x2D77yDqglASfGNpHzHavA1hkvJHmrOfoqvWJ/YlyUZnzytrque1bMESPF7U58RijkiBG
Oxjc3ZAOV4LNr9S66CqNyt8zQi6uPilvgyN9nKV6xzc3BwFbNg8ApDzvugirp6925q6QCjO8Fqpf
n1q44K9czdWLD/rx/HhZGzeh9AkwSLA204kBwr/8Vn6BMFzWplxkU6zEHxoUXIzPQ6Laf8KHHHHB
TKEWu3lrZTu91ztrpH7B7BWpIYDhtWEQyygv6WF07ZteOZg193Tf2slhtMc9KorNgWONPDvEzoib
Mbi58sd6HEJaDxwFO4b6rknK2vWVYU+3+N6C8HsyeNq8ogK23EnY5hDHDpL4ymxqeEoDibVocnya
k2IPrb9dEJvGnLrgSSWgXYMPB2meCwd17WuZjf1pnmzlc+rUexDH7YKI/i2gE1xT1CXXHaDMrIK5
tkP1krZJ8ldqk7ejyhR/DWo6vs96IaagThB0HbSU38cyf7oSc+K8UjYylafJ+JLVgVd20ec8V/6o
pvytqcunz5cuAF3i9ud63Ez+yeggBUw1KJcybO2r343zITbU0kOD/ukJbwdTgotQaHORbYtP+dPK
aoB/IfB/5SLn1pfZTuYbWPPEVaQ23HlW7nwu5g1oy4gsgGtRnPSfLHVMZjGXrCiXdMq0w6SX3cEs
TfnCcPGeKs72LiThwANVHjExFrNKOfJ6SgfThry2CPr20DEEo6TJ33YsHWu6ADu+ccfZBb+iIEwC
AKWva7mmFqhyA6Ds0tAX+ChHffzaysV0euyBd62QoDPyS/Ypr0d8FHC0JTM9yqVtzOktgiPnJIfx
XpZ79xuBgCZ0FKw0a8BJyfx2LwSaLk7O/BDiMwWlPnjTo7+rymz2Oqv3rQlCNDFGuymKhHbA8Fdp
KTAtDtZBGZT6jHB7eU7L57nkSEGJ2QhsILalUrxy80bTcykClnKxw9p4iao8vuZT/TS7sbAiEiMI
UxlVXxNMNJFjJ05ssH29MtyaXO/O/lzVOxnE9knEzcAHM9QKWIDsc3mQQr8a7SBMVKaTBMmhnMlZ
c0Y8MntVoWlX3D5j6gxJJCuedlx9+8EMOlvAoUFEMPa1dg84kKQornVIDOPAeckgaXDb0bFRbS6f
Jv/jjQJyInBcoD94IJeLlMbRtzp9ZC64pr+v2C0CFPbUP32qBLwFh2CGh2LSGuUB5FOmju1MlyxI
B9eK2tJFSmjaiWG2ZxfJUtIxPhUc3kAjl2spw2yejC6cGeMJhwMJvnosW3uvdrRJGBgAB24B4StC
VSL1W1qRSsl2mnQcGZXQtRfbz83/9E4pTzkU6d/rebaPTejkv6dIte7s4tYtuDGYUwdqSrxEfrS0
LMsDQ8zMvVyaYKyvWR/Mh7qzYJsv46cRQeJy4q3ihoInhAxpaSr1a2sIGYW/NDYjsczmGrZLfzy9
TU1THeaos87il8kO7Rgrvz97BYOQI0onGOUf/ixt62oxw/0WmTxgiv9PxNzUIUAX55+nrQgWA8GP
Dn8H5CtLK5YcW72fdwaUU6EJI5md9V/buNT3Wh93PhrgJoBVorQEWm0Vw6dOFodVFmiXvAnlE9Ov
/bGeUJmJwPbs+MfK/3kdBRoPpLW4PcTLslyS1BVTIOshPIlW6M/upPVBcMjlaa8IfdeOieIKBQbO
wrpGm9RcvQVgqps22dJBCUP9FDJFsXMJrq7fH6tBi0KjzIgI6IZCppjnMYyxUudx9zdzXVZyif2g
r49ypk7/9ZmdaLdoso09teW7y/vJ8OqABzwvYILM8lbC5vZrSinkS0sT2X3K/96Xp+PHovUiGPSF
3/wUphUt09ejkVe33CKZy1vEYMJamv78v1lZrUWyqrJosqy6GXo3fwgL2/kUQ6GxJz0rfsxPYKcf
i2Emj3hJOOCaWFwd/GJup6S6xWH/arbDrzkrOxhdN7tjCd/f84viZaQNTYQLZGa1KDtI0QRus/bG
xKM+HsGjlSnSHrO8N1B7zwWJbrkJsUUVY3V2wW+1mlUkLSSnDUCqXII3grZfMU6/hF3V5x9kPwzK
k5ar+nR9vMY7O2oA4QJUQPsF+NPqAi70PtGpwnW3pgWedOhloCFna8ygV65bXzP+SrJ0AOH12Oqd
BeOMzEzALkQbei2MVZhKNRs8Kbc0RuEoMUz/YhEhRC6RonzwlSp+sSW9KXfM3jlxQLA0TaF3KyQR
Von5PNZBMqQzZlV0eBHxdKKXLJzVz49Xd9cMGEPRXuKTroXhnS4vEycK65uBnl7nzg0xydcwmoI9
LpS7hgCRUsCHsppyw/JsQ/yU66gucbZ7K3LHAGo8qR+flF0Qh45W2XtBWMx0aeK3+OkGqZEp7CSI
NG+aWryOktVdDWX2L4/3bBXtYITxfHFPcQoo169PdtJZql9NTXUbjTZ5scrmr66qKAcFdvZip+pc
fvID3wiPaa4We9z62zMAKI8EncoGMyK808sFFo7atBLF2VtcDs3nskzzxpWUYYLyz7LQJzCCpniy
6/m+XoHXFJAPort1nm6YmWwNGuvVCwKRQ0Ux/3OZMfpyKtNhuulW3x7pfbZ/Pd7me0tF+pcQGTAb
w8ur0K6W2oiRErW+KTSu64s8TiBHM50wDMKHNFLdLi/0aec8bE87gBZSHJ4fUXJZr5XBUQXVRB66
KR7rt9LpOuWXHGKC9IPkwG/lMiUmRdeymJ36t8fL3R4QUbIF6yjcl8rV6oCARzHHps+KW9D62Ysv
ZRkdjPLJSSnxLanVghmijU324Yj1/3RAGA+szWkYiltXjclFUqvqE3xAe626O59OjMfyPKB8RiF/
9enAGdt5nKbFTYYv7MVENPK/jLn3I2llngEWysqdwOju5gFvkKnFkc6vK6a2noLLV9XiVgdDAjda
F13CKKiPjz/RKm79sXkEJ1wscNTw0C43j8EUQ28T6MQLcyoORWB2ruoD2dMKf6+MdHdBjKsIhDm3
zPpermVf0RiMYQcHo0PCdshvWjruRQ13F0SrhjljEMUbb+dBDRXAE8XNj4mHgqiej73eD5+HOmrO
j/furkvwfcSYO6W4damqig2rYSSmuKnhMA9uhkjvuS9HiBeUybBeFb9Un6ui//haVLUpZEJ9D1Z/
+bXUoCBORYzpNiJi9YcBCbdbyFb0OXOsZMcx7n0t7kf8wiIGI4temkLlAeEqecIxVKU/wXRlHkMA
Xe7jLbz3tZgGYISf6EsoICytNGJYZNSD8gZvavc1Tmvzcx84jRdU8t70+T1T4OI5UBxVIJza0lQv
tWZVp5gKSbkPQZN0p6nNjePU5eH18aru7d3PpsR//+lGIjebK1p+xc3R4qo4Uuk242NJILjznNyz
AwKEI8ULSjFk9Y2UXJmVUQmKm5lp4zkJDfNS67C9Pl7NvY0DLQHUiJ6KKGYuV1NUAJmrKkZxIC9L
/5WZ4lw/oBrY+i9Dbgd70fhdcxAB02jHya01fXMsD62dWzOON3XlUQ+c8IpMauZOapLuHOB7+0eM
+GP6UPQWlytjcgMyj4Y7nV2bj4WWzW5dttXx6f0TXVGeQVHWgat5aQWtegc7FYe2lQYDFZOu/QZ5
r9p/oKKjBDvW7rz2QJAIsKmdwqVji0vrJ9+LYyPI1dzhbvUt+Rpn0G8G6uROCAsnqdQcEj1Idtx9
cw/SkGX6WoDIxNTjupITSUxMQAyX36xMkj+Z8VtZoh44t8cBovTT4828a4v2FO8IjSpKmcvl9bpa
SjUy4Td7DomapLSry3OR13y1Joi1T7VkDTuX7sZLSCJIDAlPaRcIvMLSZJkaoe7TwLnJUzR9SKkM
o13ddL88XtjG7QkURDuHdiKFEOwsrUj+qKd2m2KlMIKDWrf6W1FM+TV2qmnn2rhnSoyyMyAAxoTp
iqWpaCjk3M5hrh/HQMhAh/W5FFd7G0fBc9D1d6pIAQpApIjzzBu5NCXnvZqncxPcqiw1rr4kO29q
Z6WvdWvKzwabooDPqy96OrR91xuolXJYWJMR3ILYCo+TVH3Lk2lPC3HjfkLJg1AWKD7oVmp3y/Wk
CEVaUdNbV9WY39Dy9iJ/sF2kS770kv9kf4A7neYQDSpyZYjW6YQsjfngPXINFY9bTHh/Mls/TF3b
j/1jxf/25MzQuzFKAiKG/oE7WhrTlTYQ2jL5LTZi9ZiHs+POWr4HlHwvzi9KSGSYQOxpT/ECE3Cu
HhPmmIfCAd96s9XW790075ryEHZRpl9Tw24Kr4W/ZHwB4Iuicsnr5uZDFL5VodIaOzjyzbcUyS4X
lgqQGNDMelDbmIUejW2zvVPuVIfOd+QruD/jux3X44cG4phpJ9rZWuRSpmorIkbBZLp6CUoZufG8
atNb1Jr1742l+K/M/2aJZ3eJlR2Bz0TKjsnN5QVZEXOdovyIQC5/WX5Wp21toy719FYzQe1mUaYc
7FHfGxTc3CjQJzODDpoLvC1Ip5Wnhg1OPPpGfxsmujFEKp0LKUd9KGZjj5L4/TVZehA5O7xSZGEi
LVqvyE45DUFTtbewC8YPujKh41OFTYBFOX51UgQAbcXoXA010Uup5vkreZv15xAYlovye/TkcAUH
h1oaDNoQXYGv3EzoMswBgLTK6luOUvl3cISqWzttsuOs2+9IDg044z2MUAFALb+j3Cj+PDpBc+t6
vQtPo6lJXtdDZ/BssCfSaHIzQWj7TniytDP7EcKoYdPebElpP2aFkZ4nrUm+p/WsHh+/eNsl0cID
X0U1kIXRTV6aYixgSAepz29FDFmya86S8blR5fHLYzNb3yRyBU9ACxmV8A02e0orjUBvxkxr6gci
GDjqOzLcaIYc+LGpzfmmNMBKBCEz+GIS9+WKptmumIMs5lsVDJUbln3gJrGWHGlW1h6aXd8fm9us
DLQYaF7ePTonINVWsVCjV4C4HK27JXMcu2nZKjBcQrvD474HIb5jigCPkQ5xa0MIvnK/qgtkezKm
/lZ0wXS0WOlblynVS1H6TxeNBBqa/jGVeHjHSXaXmxg2uQkZXqzeugxGAujdSqawzGwnMBG/8OIW
oa/FIBQ9NBPk4gaaMZulU1ZKqpINtsE5HHwLMdQk+rPXkR4z8lJ9zSpu1J3TJb7IxiqFOJrKgpZp
ndtoo+ZIkzOqNxkt7VMd1vVpbu3o7FTp8KbMbf9i5Xr2Vpup/w+8HnsFi82Jo8ADMk6wk9PRk9ft
Xr0oY4YunOkm1aZ8hNB/hGSweTqBwwr5B7yy4KDwmVVODyLTThOFU9DkY36cevM/o6nU42AqezW5
9XoIj0gUBQ0+lOQCZLt0FZ/B/jQZG9ljMkf6OHDOvVLT91p4a1d5t0JlEVohwSy0fnBGwtrMiezZ
82W7FPDWL7U+/KICb3Db0PgDFPP58bleXyPCINE5xVqCZt7T1WFDkiGeLKj3vTQzRzewQvM4jaHl
6lr6rcnDXx9bu7OJYuhCJX9DwWtDOVhXRmlaSTV6qNgXR72W/EMbtdXO1Sg+xc+eT7gDvQ+NeAq0
XMbr/rgkImrgd4MXJHnxj1Eo+rEY5/4yVn569atG+z2N4/zcFrsh+z3LCGhRSRItDrx/6SSt5leZ
YcWDpytxdRybuTmqVdMc+XWms51ZxadmhM/Gr2rn6+OdXV+aYs3ERQLJD9kFtcil5Tody1kbht5L
2lw+AcWXDgg3yG7uz8/ezyqBBweBMhqVTxa6ennGCBiK2uWt15Wz+QWqAya/KyX8Ulrj3oTf+89a
fkpKThTABQW/SCBXF7TTpnIY9UrnoWYTy+ihzlnoxVJj9l95HNPoGOpDFn+xhzoIrlOvhbPbjFls
vym9EyoHRwYl5BFUBdJpSuUxOBo6GkU7N+127zWqzAKhxqO1HfEZdH0Y1HHsPOaowH0gHVh+7GO7
ODtdugcVumeLvBCYBE5MH3e1IUZfRHGDIq4XZWZx6CilvQ7ZEHKWyvHrY5faHlYcGUg6cvK8/RsK
zSQIlZyJc1wqKZtfHbtVv05p/KROG+0i4KvIi8DOIgZQ1qAF2c+Kxg7Mxus7xz9EqZkeAlNvdz7R
+5lfORIZCXk0rz0J+9pM5czQj6fIx5QQV57VQS6vMqKm/40BPJptG7enpDSnlxBZkDNNafmUFHJ6
dox52LkC73xAZt3e6YLojzHivzyomW/MY2zLjZfEcv5m+GX8oVbbkXpWNu6wCNwxJdRUCGxYNmxn
q2JSynM/wlnreFXcpp4ag6epDKm7zIH+JDsYX5HOJoV7qoBUQwjdlqtS56xtej+zPTktFTeom/gc
BKW/81itQxphhTeea050qbnpVlYsHXQQsbwXWl1wRqzZBpcUF1eYtf1z0/TJV52ox3OyLDqXk5lc
Hh+I7e1OXZXpNpEQkqyvm5tzlvfo3/mWVwEK/DB15mtF2H0jwZnPhAzVee4V5aPGsMPxseHtI83H
EzO+gmuKCd2Vz6h+2xjGHNuebqW/hxVE6RDZJjBcppPbBPJeELI9+Jx4OOa5ygQGYP1+wvJTJ6Sg
lidFCTyeQTd4Da/O6fGi3seElkeSEgFeI+jxqBusS4Nh5ctEwbLqVaMy/cEoShMeVA21OtCHodF7
xK1yd7RANXORO2P4b2NqhQIVcmUXH3O71epbltVFBGqSl4gWeqsqH5OstqIbiHX/tyGim+BO9thJ
16Yu/A9zWsAN7TI1YQTQyEV73Blb/wA+TFADHztvFsnt0j0pTU6kQ4bi0fph3GTyW1lDuWtMh48K
pZfhnEuNAdKgkqg92eZUKjvDpls/IVmni4GPopxDsrv8BQZ/buG9DlQvVdCrdtFibe2vQW5Pv9mj
Zc2HkA3pdi6ZjbNgSwhEMRJmClinuIR+6gFIRAiMt7axV8/peEmcMDo3oCGuj53lnhXSXAGuJNfd
MDdOul8YtIISTy+l0L/pftWVBzgTpnTnobhjiNFghmw4ACxnDcVlEqxVknlIvNQuGaOT8/ZUBXX4
5enlCAYg0FB4ixj3X25aXeSMO2ph6sXBOLharLUHgu698e3N/U/xj6kkasfgPACgiLX+9GnKOjL0
cfAjrxigZjLjUv1QqPBkaGr6pKYhwYgwRYVMAL2YUFp1t5o0QY7cjGMPWNF8lKrRP6BGYz1ZYHy3
IgAeAC+oMK753Jq8DgvaNZGHsYocRUmL6pCMYbF3A27SMJbDKy2gvJQ7+E7LncvtPs2dLI+8fqjt
X9pk1k9pXBmXUZeDD4MlVRd6pMqTZQKxOvrTYLwE6y+Zy9IopfBqjFF/80LEXv9knmP6M7X78DW0
+vjXSjOHT7EJ6+bTnvheRuKjCezHupoqG/2kK4kee5kqZWe/imTgvVybz1thDpBJQKCAgJG05dKc
2aY6q0eJZ8WRdtIDSC99Rd9D2d7xd/yceBKgNw3d9TMZhmHSTZmVeJU6DPEFrTB9PmtJEwaHzMl2
cWz3zFHmo8iOsg3v1+p4WfCC2Jo0lF5VB743jDz7dqOEZ1BH+c4lu3lZqPdyyfIag4UlS19dssXU
l01blZXnO9pQHh0QGelHJiPM7ACIWUWzNnJKlZBr7vpLoJUwAT7+gNu1ojACgo3ilYj01p3evlSN
zmYgxtN6Yz6y0//IZVkdwn7eO+Pbo4clNvSdhZIWxupqDII6h8iwrTxYVvwPpSTpqLJb1i9Va2vH
ZDScq2HN0Q5J+p3lQarBu82MJbQQ61pZ2ANpNqK2IIObxwuTj82hGgEF9lWS7xy4e6YEHwRlW4PW
mb465X4i+47im4VXKaiIU2xR5/gwqEPTnJRW9qWdmPXOdtJ6JVxmQopzt3ZSoALI2DnEGzw3w1nx
2+kVpM30yWL88ZM5p8onxJ/6vx97yyZOJzXlNhMSBQTr5F3L446Gbp/kfhN7FmnBG7Rt2knOuarH
JIdYIC/DDhXrZC7TXxCGkvtTm2XWzjaLw7cILhld5eUjvqSbKYjMlr/CxOy7NvS2dIM8LULF3LJd
Ho+9FuMdKzx5XNWOEL6nare0Uk0q3Zeo9m9zFYSfGLP7xkBrvJMx3jMiWlCiKM4jK6+MJOrcGpWR
+rc8ytJzPqXtQUtgaX38zbZ+qTESAVZUQA9IblYblnClhKqeB96kQG4xQ1/pFRnjnaEh7ZEcbU1x
aVI/Enk/SeMaA+8wHpMb2lB4GbNh48FEwAhGZ0MyIoh5Bvi4H69s642kMbg+ulJQtgOMWX4kKa36
yazt1CuTVD1mqaZ5Kc530oJx/BChIHdWrNA6lk0wnIZgeJKjm4NAxsoTwRg4FzIllaX5LBXvrtTN
HsJZqXQsdA38iE7Zo3dRoJj2WPW23oI5qjYMSrK7YHuW5lIG3aPWKmYvSyf9GpaOfUSDJDo93tPt
J2QWiH4QmFGKQwSxSystMcOQTuHsBb5J46TWrMZ12oyGkA/Z114Z8K41i1oWO0jxa1Plb0ekvyVr
8hS5ai6G2SP3U+GlDWJN3x4vbLt9vHEInaGEDECGlv1yYU6UDzDqjz31cK0KKIjHMYNCOtDwx3a2
SxJvqe4QNvPcQBi1spMD1iNT6z3N72UXNcXimkJUcG47eU9e6t6SSNHITN8L/WtKHqdB7GkGSOJZ
UpddZSfvzoEE++3jBYmNWV644ueTAOpCzmTzrpWjNGqMsSieJYOqh0JMy1HrCpHohuR8GPszwbr8
5BgyZ0ugo4mVgXiQTK1bhVYeKqNvl4qXANk4xqhmH4I6sg6dkzwpcv5uiuauYJIWQNH1GHKdZbM8
Z5HiaSMN3alPszNKg8nOudp+K3EfErq+rwms+dItDLWcIAXWZK+nZHqqAwVyr3La01W7awUsIsTY
IphbF3jCSIGzJ7Blz0r87jxVxuxqbb1HyvSe9C1dgq0SZDsCsEEDcrWYaZ4hg+lH2ZutOhjP+Lce
/TemmZq/5KPaaheLUoz+qZWmvjrUtQFZTi/B/XPi6gmHj6ncVeG1zMvOvgaJAUAzNPxQklw5qxqD
Ac4stb8pU55kJxn+df6HPke0JG5CIlOjKZ09+ap72ybmpxU0uSBWXrPrxKNa14SGE7X3ePymMnD/
IoD6eydpezUwSkQFDkQWjwYV3KUPBASpaTt1k2f5Un6Wc0f0jxL7oAXVXsXqrikRuICGZlp7nf3x
WfwIVU4uVr0AVF4OTKFBP+VqVd18enw/3Nk8atH4mujnAOxdXax6qUZW1sSTJzdI601TpbpWb+8h
Uu8sCNgANUWEWxnkW5+fKJ0CSF+m0WuLurpONcwlUZmFh2Jq95QctqagC4C4jjYjkdOGY9vQJacr
Yr/yuBrUtzSVlT9iZ9ReGLqRdgA590xRbiZ+gUrnTsA0RaNjjVrtNYTtV2RZikPbG9BTl/YOMnSb
LsD7whgktuj7EEIsfQ8NjFCNu7ryVBWMlZsEmWS6Ut1LlQscscjO/aiExRnscew8/SIK6U/GK+ko
AjJfk0MWbWEbHUfeq4pJuQFUbE+NpFjnLKIv9NgXt28VYqMAj0Qlgpm99XBggCqbHpZm7dW5lF0b
K3WurZLnh6zL+kPfyeZO+r71fRpOvPdEf1RlaZ8ud5VKrzF0hZ554eBkN0Dg+imQ+i+PF7V1Eozw
zWgy0jPlFV4aGZIs06t8zrx8ksPvTjBYx4mRlRv1hOH0vCkSEtHDh4dyg7QFCB3J5FaZR+OqO4Rp
Zbhp7QfHvAjD/4UpwN6MPZLFUvFbrSoRhHKDP2ReZxr/anOtXhkvC45B2eo7CdDWKQjGQHvT06aJ
vmHhcia1SBEmrryBluhfmaXnhYeWRzedZaWJQ4+EVzGOjzfynk0cntxRQC+A+i6/GQg4vYwRV/CC
Oey+QLnWHONMi85BXEZ/IMvs7Ni74yMiM8Dt6Q/ARrMq0wZGIcuzlJfe6Oip5GZqac2uXslVQuYl
l/89vTrI2ikb8Yfm+DrG7ceBtjnNAa9MJeiudTV1K1v55o/SbZzH8vzY2p21AdMXtxcL2wLizGjQ
Sw12M3pVaGadyy5X6hO6AXVwBY/Z7gmP3jnTYAlpyZEtU2lYN1ftrpmdMo0Amdjp+EUOSGGHss5/
fbyoOw5CZxyWk3chy006Mkw6fC2t39HxLJyzYkYhQVBpXFrAzLcEIdKnX2lQOYK9ClAmgvXrbo6e
R1SHuqD3QBnYbqAZk2eUQbPznt3ZO8GVC46KCQ5wjCu3t4a80FSmNb0x7gHEZU5zi2lWXR/v3fYt
Y+aAn84FJeKoNRgnplGgRlLSexJw1m/yPPVHfU7MS+tbxRFV9+aDNGnKs1c9PiFmm9lGrhDIpZYn
Opej2IzgefSGWtF+jVQt/FRX1vfHK9vsH0aYARfqbMShfK+lkWCyozYPpd4LpsG+TnGcHfIk3GPJ
vWeFPJh4l0oCeJNVEyRTtcmRiM09OynSY5vpvas7814JbXNsxSGCMI1+PoSStNyWa4FWx+oK6MXo
2k/WRwRE0QOwqvjjkGfB89+GeghQY8qh4vVfmYpDqauypB48aZAa1ZOdrB2PIQJHz843cP2Q71De
5ftTjFmXBVtdGvjy+eBxzPRfLamvXA253a9Pe8H7DA/RErkCpZjlzjHagNZ9jasZYzC1FKy77taa
phHtZPYbPxBim7RdATTTCoMDfWmn6/y+5SkZvQjfPpI8jq9ZWNbPXt9Y4ZZ7hzPTdrVXq2Go2elp
6cueMqXRYR6a0C16Jz2V7S7H4cblhCkOKUE74H4O0HJBcaB106SksmfCI5a5me33BLl8IALekCLM
6fF32tQfDYZqaEfxb8Jb6p5Lc+OMDLYRsTLgjvFZbjrpj37o9C9tFoXnkKAEfKcyHjXN/7eGE/f2
2PqdxRJfUAcX0n0kk+Lr/twEHqV8BJsie1Go6C9mYTkoiOXRIdKiaufx2Fy4LNSgeylYKgB1rUfw
Y9OIO4sxAU+mMniY8u7jYOsnSU2Gk2Vlr3NW7HElb11TTB1yoMVALxi1VaocaUWmTaAhvLruxso1
JeVv5vWcZ1HGQkfUAZumCfJDJh7XvjlpccwxkD1JK4Ec9hYnu6BvoZRWs/NobT8XHFViYgfAlmhh
rhKwGMqEBHlnxZPz3P93aMfhlJdWcdDKTt7pN98xRZIsqMnZPYERWHqGk/ezlNm17/ljEVVuJI/G
SWZy3fUDZ3qWj4UtFBk5jRiBjqFmtzSGqiPXvxP7JOZS9J+Za5mnqdWTenx0f3nvOdPAl8CKUVdd
WqlTJhszP7G8JBryU1eqgoW6LnYyha2fMy8AoELg+PDytYy5Dfw09OXE9KQqKs5JFCStaw6JfWK0
JLr53TAeKBg8XcZF7YQGPUMRhJv8feXreRC0Cc+O5WmlNrh4T3GR9HLaWdsm4OQdoQskDFBTZUOX
O9jrCsBpX9U8rdLUk6lV4S9xSO8k0CTr1Q604tk3WVTaQWsLQCTJwprXJhR9SKKC5kWrUDBniLKA
ncRPf3vyEuR9FJBl4PO8MUxyLVfl+/kgIbeJlSTw/2gnPXedrB5ex24edjZweSVxnrj6QCiRYwna
2Q14jnajD7GS0p1Le8wwA5pOc0dlkPbGQ5fH94chQuh3gUMxnLP6UkPukx3MQ3+uHSU/B2MPFqCv
oleUi/aaqfdNkYXQqhCw/dXh1YI4pJcx9eeh1U6jpjUfC6XtP3fzHpL63ubxQgL1FnhqWiPL7xQ0
DHskjc2aWqr4gxO3bjZpe2wn4n3//3XpHztHasBAJrEgz/JqOSGaPugvYaVp9eAlGHXjLEVacwAU
Zh5SYAe/mIU0vrRyt5PNLSOBd8PkwzxUuAfwwLUbVogIxSpiJOdA0aQL0OqQwLAt5YtsjvUxjiv5
CmZQOaNE6xzNVN9TM7rzHUUALDpoPGib7kKFwmc8z9hvcyl35SFJDk2UT16Wl/FO2LFC7v/PWum6
0voUTes1oWop6bUWpeVwnnKoSnxfdS5SXvcXTQ+aowlxvNsp8/QixMaFaqV1ihSkFCa7tVxDGYtr
l8Ghks+J9eXxVXDHxRgepcAo+twiL1y6WJjUzEn0MXvQ5sppDuzC7fvcPz62ssKb/1g+Fxpv2jvL
1fpTK2FiJnbeDWe9Bg2UA/t40xkaR6+78Y/JoCVukDbmZTSa9iA1SI0FjhqfYqtuPz/+TZYX+v/8
IgyfMYNPiQk0xHK9YyK1TZDlw9nyQ9NNHVt6qRiZAqPnt+e+lJ4bJP9hz4TZnVwBmltzjdELIBxM
BgrWZzOKQSoFNOI6pShpyeV7/AxbdxYzZgR/lOBtQBirc9zMswJjvsbSjGH+qKWJ8zUr0uQUw/LV
7SRB923RaGTohcr4uokKO+UUh6M9nGO9ItdqoH5wQWEgB2a1/dfHn2w1diz2kIUJUWE4UKnEr3sl
A01gJUgZGTKb2S9f0r4OureJudzhHIZWq/02Jbb5SZ59J3KNAaixkStGdQgkZy4PWhjAm+aqSUGc
srML28MDmIzAACZ6m9d6jdzQQYSU2mQNZ99Ik1/sFNW60HGeI8H4sXwQYOALwCTShF9911TPpLp1
sDLnWedpZq66pey0O0f07looAohXAFjvmpgwsYLeBFQ/nufJ+Q++5/Tg6GO8Ew28I3mXbw1vJlwH
YkBRDEytjl/Nm1JKSjWdnSHuSqgr/bA66BCgte6oNY50gP+OwbuiGezypMt+kl3SUgvqiw+5WPOi
TJOaHTs5TPRPxKLVdEjQm65vjUkJ3p2UvtmrLd1xdDh+xKTB+5TeOszs51kN6xKKn2y0f5tmCNj1
cPgObHNPYuPO/hO0wNfGlCMh4LpfoTGCk+q2PxK6FJJbZk1yyPxxz8r2+hPSUpS8YahhaGqNnByU
ajSbpJ7Ogzgn9QzET85etAAyW6PVdvD3IjxZfWzCP+CZBLQC6roqLASoTpQTY0TnTEqzg9XZau42
tjafDGOKXxKUzs5J00ffH18X73n10ix5FfkIHBK0LhgzXl7xfewkbUcX/1y1hf+fz5Rxc9H1uI/d
wqkU5zuPz/AN5pzUeimioQtceIoT5ew0SuScIjPQ/5EcddIPXTrlQsQi1fy3uLbsGGkqvWlPSjMz
1qYISeF/7U6dX2kwpd/auUpaTy/iAOJoI0f0opIz+0XNkF53y1rSikvkq+a3Ofalxh2HIVQ/ZmU5
N7T3Z6YEhB5ReVW7yUS+0S8H0+vGcgqUkzYm2b8yPGr+xc+0suR0GNFU75zMrfvZIMIoVbw3VAmo
lpsWq3NvMhupMbkz59dwzqoDyfBz8GpxlZEIMC2E7g1Jr7nu5Yd6Eo+WOllnJZOTt4L5Ia+Qy73p
iG1AS9DM4JVK1w9IkS7W+lONp61qJbVayzoXUpl90rNROg9SML2FqLcf67oPv/tM8hx1BmV2qnZ3
LDPcThmSbFvkVavKSAHbRWH3pn3Wlf5qjnrkTqX2F0pjN5i73kbfLF3ff7IiiaY7Ey4CSC7keajt
r0UilNxWx9ysjfOQ1upxHsbpHFWKvPPYrW9CrIjJx//H2Xntum20a/iKCLCXU6pQq7iXOD4hbMch
OSSHw16ufj9c/z6wKEHCChAYCIJ4NMMpX3nLSqGjfgdz/3xVE66uhD6nczTQRQ21JPN/dn0Z0JB2
0ldlwS8TwsvDtRlt/cPd5D2zaioxUH856jneGigVDt9m4S/fb18U27uQCVHsocROCIMEzTZeSnrc
X1cOwlG0jePu+mVpPsfVmI9h3U7BD99R+j1d7ytruHoAoSZCrYSi1uZqGgton7NbuAQMqBb2WSOO
I9fMAYDLPejUtaGgrMEipbALGmxTHxlc2RjezFCDZ/WhWMxhJ3SEolOx3EOUXlvIdeuhjbgy9bcx
NYbBoHeWzj2m01Ts/CQ3vyeqxVHBneL341J5u1d/OHrg3CCrNyxVmfX3/HG+F1k4ylixELk9Jruk
RlHeNfI5Qte13Vtki/9hPAIvmtKE1RQhN+OZcBmKGOjYsRaZ98wo8jiXi4pcr58PpaHJz7fnd+XT
kY6jz7IqjKzg1fP52cIlZF/HI2+Vf1V1gUa1Iee/Gx9PuttDXeSlHIJV7mOVxAUVjC36+VgG2pxD
Vxfx0ZuG5hvWSnElEf/ty+5b76vC/9jZfuOgfRVX5ik1WlShFBza8cExkvmp4skYEJwrUn1vSmE3
a920qe78yO3bRB2MDJU9RGMsoAq8uc9tCkeqtjXvmDlLsbf7uduXY/v79kpcG4T2lMFhWTU+nc0D
iLgeLTKUN4+2wEAAaqQWzm53r9ay/i1/xibrVNZaCw2XtWC6HWVOVCHKwQqOxTy2D2PRYpyY9vph
cvrh/VzFyYO9ePrB683kkzcY7eG1k+RNpDb1YpG04tvPv3YulBqKXiSRGMlB88Qyjq7Kf94e5Mqe
YneuLy/ND+6f7furlsKvqmBKogxLamIdSEhJWNDtzPZNvwQ/jLjR7WgYu8D4GNuLHgvSYaeb9xDB
EaBOKl+jHjGKoHuearP/7fXW+DqnsvWJwVlhxVCDw4QKsr2z8ByPRW8nadROoxtZonSivinVq/QL
/38UVgIKG2eVsuT5etexXVnZUqRR2mX1Tm+LlFJ4Wr36qzIX6DNEHJA1KQ+fj0IDf/bmqkojy6+s
0J2E3I3UDe/cgpcHBEQx4fyqGoWw2RZcXAJwV2jCpFFJQZw/an83WZ2804W5GIVaCcwcF6oh3+VC
x2mYgjixq4ZRjCA7tOB/dwIToNfOhb8ZPCkuz2DE1jbW+Yr5VpwqIbQ00go3RgIu0L7X3Vz9uH0Q
NkaifP6XYWiVUWkn69I3D8eiWe7Utzga6EPp/rsEk7N8Mb1UOSEBR/K+joOiedQGbdGfhbL93xDA
W3ckEsF/Oiy6bMz23QSS8udQ4Yp4TAIj/6SEDc1tKL3hTZJMS/dopXIU4eIsThoNYLCz3axE0oa6
JZG00/Wk/9D6PSzo25O7eKSYG7JoK2cXeveFAvNamXRjUibmVqMUaNvVE3Sm5VGr8nt0yWtD0XJf
nYkxrQZmd/619Fzg7QYdJnIKF6OEEm+jjDZKKILsHg9hm7LyxagErwACSuu8wZunRgrPHcc2gERf
l6duta1xBucn1/HHWbrve1whXr2KL7XXVX0fn6htQqQhrqh8uxWRI9w6XDDJRv0wxgmItu3x9lBX
ThYB5wr8IfYkCt2soggQGxV5LSKVm0UU6M24d3LrdcYML1t+jTrpI+AEuSoonX+rxrbJiM1ORBo0
2h0C8XLvGW18Z/NdnQv5DmUMOG3U3s5HsaZuHjRBeSoj+zuMozHuhIug6u0V22ZzbIa1NUEkRsZK
WWwTGzloC9ZZZoho8LiGalvaT01RGlB7bK3tQtNph9+z4RQPNjr4f98e+9oMGZfKE7UalBY3V0dV
jknuNYxN9lPvg9Gc9xpy0K9Cnv3va5EBkZCQ2THYugJ/RNJVPVa1rnlYrqBgva9SuIHLgv3Uf5jL
KlEJ2oYmwzadKworWYZSF1FeOvrOWzw4C4sevPYVJIqljQQRhGIxQdbmTs+bvhuMtMgjc9HSU1D2
ZOBt8eX2VNZlP4vfoPTQTOcfcPs0EDaDjJltzcNSF1FX94jBLlRjOssp5xBUUHb0VGP8c3vAy7uP
qgwazxjH0TuhW3X+hbxyiCGEUDxy0m54t/SztVeaqP9x8+LOVXQxNYIgCiaA6Gg1gthad+Qfe2FE
ZmjUGzOPjElr9Sd77A3saBPU50+2Sb/4eZIDPJPb07s2KA0E4iNaMmhYb6aX9DqMvJRLya+TaT/r
4xj5+EJCb4YKGXZ8hV+3B7xYT2YJGnE1a0bPgJT1fJZWVXhxDOE2KiZTBYc49UAeVannR50t8d+9
Pdq16RH/sh95u7hANtMjkE0yT58ZDcWzEDX/7otqY/8nV7T1JtbcV1plcKCZ3kunmMuX2HbbK+hc
2CsJamtR2Uz1Gy02jA8aMPQfqiEpN5LynrfwtQlCiyALp2mwSn6dL2dHBTlfwANFcp5FDXdVG6x9
1yXiVI5e/GGqx+Lh9pJefkBKQ+QWRKIcCNCE5yMmcVFoBtpKUSwXusKo+j7mfpa90+a5Ot4e6nJy
DBVAVEVghVL5tjHeJtC4ismSkceHgoKhq6+Ol9G2yIcklidjVuq1ZVhoESszkW4XpS9YH9vZUXnK
7LID9NnPCbWT4AtwufZOVnJlCVeygu2vzyfzWv/7Hyc99xtzyugjRZNBQh1qKs7eDzx2nxc7Wf69
vYYX7xgTAqMD/4hL89LtB1JQXcxZWUU0duxdk3N575s60O7pCLyoV5/dzOtAK0wbnDa7cbtytpYO
JrtPRUlQiE+jm7XtLl78bDoRDqMKN49BHlZ+VreP0s/a5C1XXfJFeZk/A36p63e9m1v9z8EV1Gfj
InGwHdehMoVV4TjxOyUkPK0ibaavoHKcageJM1keoeQt1uMMsttF7H9onENfG8b3yu/7VIYUAKZA
hZ49Vq+tpK8bhaQPA11iutUl8PwbBnJZ5qL1y0ib6JoNeWy8USJbvtz+ehcR0GaU9YT8sVOAOpmm
zK2SrxcItGcdf1eVPVYrZZkffGTUWNdUfZa1KqLbI68Xx/ZzclGDGoIlt5YRzkdWQCnapFjRz9jd
nuCIT4fY7OudMSn3I7oi86k2kuyzD2f4TTIYbOP/MD6EOQJALCUvhI+UnYwaIrVyNZUsEdkqxfdU
y6ddqbTirWrNdOdgH/em04bga8az/9o0mAIFvBoeDkjrlKY3D0cPgsRdZM4RjXP/wbWG5V2fE2bc
nuSGkro+FwBwVho+4KIV2b75vm1Q0IDDFyjCJE91D/pSdE6YZXNrPdBoVXPo5qY2/Ep7S0tCvfKW
8oGstDYeldm6elgZow/DVHNTtZPA/PkztdtqpyRE2LD1vAmB+aLWs91Y2DCf20DO7gOae1I89Vbe
uHe267rpzzfN+sryrnO7kddve6isEN4KoGyoBA9VOBeFtyu0/jOyNMvh9spdPg1rsXu9z7hwTCS/
zrdnk48N8opAKREtdowwyGbtuZK2jGoVq9DqjeJ1dj0vn4oyAkhOzgI10G14hsCAv0zIJERzlRSH
RWSfg0YLdoGZ3sNbXF7ZhLi8sNSeoUNb3iZRnKBM9SRvVZRAyj8Mo60fdTXcwypfXi0UkYiNAID5
7L5tO8lclL/0qaWiLoj/5qUfdvZgHLhH9R3CVubOrLT3c23fiR6ufLd1qyMFAYmOSvLmu+VtotSI
OGy02HMW2cKcd009VDt7KZPDsFjq6+19cmUtz8bbXGPYJaeAh0cV5V6rPyzWgKk1ee3u9ihX9j26
4MRE0BEIore7sfcJgMQ4rzIQdZDt26bwZjwedWuPXoN352a+soR0cLmUkF5cZUrXH/PHm1Clsuqs
slJRVVmg1qbx38lKvmZS/l66+OftiV1ZPi5/mldchdD9tvEzyqBanEuiLKn0ZpdgDLov7eBe7HA5
CkQ5aiMrDM5nd2/yfBxsbB8jij4qAq9dBXM7LYzdoXotXIj1Wq1LAIwCmyJa2WTbgyhz31OMM5it
EdbuYpzcpLD2t9fscjNQEXkB9q6ibRcKhG0au7g4LV2UmbOZ7OKJZ/MwOKawI3cp/XtkgMvtQON3
rV6x92hXbRElXd+IvrWnPvJSOEqh3/itPBEzFNlbXHDz6r1qjeZ1jNv1Mlyb+7TAmCcyi9s+hqZ7
hdsaOm7nhiv3fpNpu2KxDGrf/b038nI5V2zXqv9JJ5oC5CbDoX+m9NrQ9CjuhnGXxlm2V6XfPnQQ
su7Ibl3sQ4I5Kt5kcDZ6QBds85zNLieq4lHS1NO+S+r6uGIm7zz6L5Cls1eSv550BoTEi4DkVtOl
MeI+xy4BE/dRNn8ZLhd8ZMgka3dpPib2oZd2822ObbODFhNYy/xcikJaJysHv5rc+TWXc6YxQnxD
0kPj4sKn0i7rUbP6xI6CHvX/uPP0aPTxbbh9Jl7IX+dzBnTG5mSP2lz7W+0Nb04rVwe+FQ2lky+H
tvOS5q2wl0zu6VFpfpi5adGF/Sgm7Qk8aGATzisjf24pui1kfJPRG1/0rJGuHi2zVw9wQ7pZ+6vr
dejyPkVb+5N0ASkcEJcZg6dUVRBkihp8vaqrdiIZqJJu2eeeWZvfg2zxvjagRYssbPpCebt0Mcr5
iQI6IsgldiZfS19AEB7cUalQSbf1Dkqp2jjVOkjGp14XRn4YBuX2b8tAgayvq0EkCBrb+bBf6tRU
/1Rl2321itZuwyFx0iaqRWsMoV9rMMaVMsAE7AIagY94a3XtPqF8J2Em2co/+d4cFx+WJO1cwvx4
dg+x0cTdlx5lHm9PJpWNb1qQB8ERQg1WEYvjdc1BykIE+8kbtYVSzjSPp8E20diJi9T8YgXLonNq
Vt3+GpvIf1UFpPtbqSMF+yO24kJ/LvxGFIcm7mX8z+3vf7nLVm4b0TyBxgt7+PzNmpQxtYI2YNQG
rdq7nZHscKtRp9ujrO/EdpMhXcROhmJLa2kTtDd9HafcFG40j6n6jSK5fBaNq5D9UcXzklrGIZe1
ONwe9OJ+AvlDHLUqhtsE8lvNEhGks6Yqmx4mioSn0a2MqISguhtmeU/18OoqEl4TOsFou6gWp7Y9
wBDgEKHDMzxLoG3oH+r6f5jQ2pYDtgI+B0mR8281qyKtszx2o2BIVoENtziUIPWPsp2Hj7fX7tqE
VuoQbMDVPWZb/p7yrjWU9N3Iw4rwbY2W5GPsBOq117pP+EI9lRYWxVVri6yt9abotWrUoqEoTKgV
WrwH6me8dtlA7kGxhmOzojsv6mKpv8DiGA0v6vzK+4uWZrzPaic4TnZ9z7H6YssxFNsAKSMiM/oT
a0jwRwSoDy0PZVD5vFNj/NOMy1mgkGdkmC0g4XDngbgcDE4ZU6NRT8kPbPL5YL5aSoy9tSCS0EWi
wdX8X2izVru0wzTyzlgX+wFkBGW8tdpOwY+c93ysxk00t83cIGL3KxDJLZWkqg7uoaCvDwN0idcI
NvlWb0opXwA+tYKoLEf4tq6okC2P/VdvCCbD9QumcyUZbnnKmRZwHxtxEI12p4MIWHW6xND1e5XX
zT1T7ytT4l6lTsr2Bu6wPUkwkzKdwjZTSmsVgjLukaPO7z3jV0cB6EDDAPXXi0ZwauUoAlVJHA2V
Hef7pJLJL2qzyz17hMs9x6dZ0ykqP+y4bXhZTG6Ncq5wo1hkdihMOCrS7rrTpOf2HYz0laGI1oFf
UX9h3231T/EHGBE/tIOobcR4IM6ed0YWu1h19M2rd7fLomGkAwQIgvp2KGi6SEElbRCptgtCfbCD
XWLcBeddFO4I52A9A2Jf9WPAzJ2fodrzexQeZBxBfbbUc5HnWr0TbeXr75RtJaD0bSy69sqe2x+L
7ebisHimdq/xcrmswIthJ3MhrsjOrTydM1eaZYgpwOed61Zlvb3DAjvY9eIuU/9yU5IOU6xb6Y2k
dVv1CelIkWtk55FRtnp3SMdcLzGJrqx7z++VOSFNxkDk3jBEt5lW3DhJ4+lVHDl92e4Kn2pTqUr6
ge487W8/jFeG4m4nT6CZSo15i2Nuudjt3ta1CPc2dMNq8+9RB9BZgsl6/Uhr6ZH0fm1uwm453y55
kTdYftXJqe2xGjEC5R0QGfaOo9BenTRyLcEX5kQzno8tx/lQQzzUsjfM5JTb7d+5D853amftsP5f
d0okV7bEWtMiYWQ42CObNyvVJLDvbE5Oid20u8ZZ+p0djMnh9ke6yLz5ZQQv4AgJOgFHbp5hMWWk
Y6ORnFRVHTWAeGGQuv9U3UDSIl+nfkLGTbMISP26fHBR2Rjni+dYsoPK0aenNO79ENwtVfh+Cu6U
vV/28FkITezM3UQ/g6Yi6drmG2lm2jpa1WiRrVl2OYZDMGX5u1lHlPn9YuIFHPaiGVwK8ouowwoT
pI+iCXoZ5i3iuSuARhZRlbrYIOsdJmU/+kJ6BvDZ1I/vBI8XZ4QHgoiEsHtFw6Ftc74ixpigHJUk
5QlBsb+UFGRQsvxb4ht2p7p3sZtYeO5U6g8wR6ntbL5zXA3wv3IlT1OQp3uvat1D0FnVnYN4sZvW
UWDU005i59LyPJ9OMxuLrBy4H9ZoNtMOaYeqC5cB8f0QwaCheFz4kfdURC/XkBCIlxZAPG8TgnDn
g/auKmhPZD4ZEzpBOzcYqVkiBz4tx8zuknuiKhc0VBpm3Go6snMAeigfbXZxMBlBKt3Fgw9ULm+y
ckoem9go/9VnBEYPEO2yHt3eIcD7uZKpdwqCrBp3lqal7dGqIffcyRgvHkseJ1I2bj7CQIQ7NgFn
GWdYKwA0ieYs/tHNS2RK7dFJkr+TKX/OGvcvq/aeS+tel/myBMS43BkE8TBx1tb2+br7rSWDKkkC
1kEZRmgk0gr9LPZ3fasbp7JPgycjaLOnojKnD0avmd9iu3Q+376/LtLl9UfQ3gKLBtAKOOb5j0ir
wbbxmwoiv1WZfqQu4jcHzIos51QW6CaHflq17/O0hAt1e+TLE0WpiUIQuuxr/2arWLHAJYSFNAdR
btSqDB3lzfR8F2f4L+NwWZIwI1aBLst2hm6FfGQXwG1vvJ9JvvQfdKst74SQ12ZDTEDJkLiOvujm
zqQ/mhkteyuqlOc904jHob3I5v3r14wiA0eHKJVbbzMKgWrhmwm50QLyyTqMMjfGfWVM473O6+Wd
QKYHW5rqJIkExo/nizY5Cc2FiSCfrDnbgZFTT4HX13tR1Pe0yK+t3Opsg/IaBRuiqvOh7CDX+qzI
Y7ozTfbNhXMZOXllHl+/cpB9VkNChEApu56PItsmxjgujSNryOdDZgn91GvCvfNKXN7fLNsfo2yW
TYH3aUmI4mj0MvlOLk71qFLbPHaZZr6hz+4dbs/q2ulddZ+JO1Zq+9aOHcOnYKIaRIRtuP2Du/g/
8nqYdqBV4NLPj6ICJ3N7xCtfa1V8WbkLL2WUzaUFBwAdCqOMoySd28jXG7FPp2D5cHuUK9sPtgkD
uXQXqONt9kSBDZfpCBVHWtwmEfdfcBrLVD+wO+65oF8dioYQxZpVSXsrvDV2I2GD1a+pkvNllhOV
ZU80xDyyuPPOXF06B1zzilyE5LPZgraW09lAGzzCsbUJe1PDgcLunddvdCQe1vAQIg336+Y1LxrX
nRMhtSgo+trdxW4SP9vWyhB69SdaVS0JErlZV7vW8wPFEz/KQKbJCQhG+U4T5fgkNBXs5r6V328P
deVU0SSB/EUwD6BgSxOxCrWwoF166qWpP3Xx7D9ITWs/+oXbfXe8prlXK1yP6VkAjOsyMfDL/NYC
+maTN7yTSJLm6QmD5EmFY2356d5sUhuyvKs1v4hmY/9YjU4qv1h55zUhQght80/v9Y080NnWaxGq
uC3fwQWxxvc9oh8ogcEccELZVKPcSc/rknDx1WCDdurjH7E2pd2Bx3aivoZ0ntq3wkxEqOeL6/90
ay9eWdCGnr6NR5MLxlBt30VJV2i/AqQJfB62RlZHo+3S4CDyVofRn0Cugfc62HqYj6OW76xu4heM
1tj2u2RMxDeJeDgWxYGeFZGvFcC4b3+5K1serDEYGoiWKxFp/e9/FCkboLn2hMvLKRjT6iMSqOII
Tec/vIpraA5IiCyRoHmzFfvBq0DqzeiyV6lzoLpS7uqFIsd/mMsfo2zuduhTrkXqmp5iQ/yw+37a
K+oY+9uDXLmNKGQgZwQ8ggqDvR6FPxYMuckmpbjPVs+HcSWlK9qppXFIq+W16iEUI1cYLq1bLnPq
RJuhsDSa7bIoMJTDg+QkHHKMQQkjWht3d5buclb0wIn01j+onm0TSgnKpchcMzuJNMkOHvIvh3gK
pqO1gGt+7QLStgV5uLYtXjQuzhewgPzt+gW6rYjFWrup9pxDkHjOh862szs34OXmZiiauCuOBfz+
BVs/LlqrdkDZpnQPQ17oOjT64B6i/trarRxbePsUTeh+n0+o7sQgrQzOaSwzOoYi6HfmnP2FUNI9
3vzlSGstA6nYVVKLVvvm0YWZmiMlqFen2hsNsQMNgoJnKo1x2OtloN/LqLfD8X3W9x26DV19AsDN
eaLJnUu3COKo9GeUR3yzMPNTlhQJ/ph6ny53ykHbUGkdDv4fKS5tE5hgmzvdUWatew3VNBQhQDeV
mXoyBqvYt1XWR40P3bTVC/1OHLN9uV4G5TC/rCtgtc0Z06jVoZSKrlY7G+knzRvaw+w09oOCwPCG
KPeefsw6iT8fLsZ7IZKsRSKbqW5uwhhxhQUiuEZzMENDSrW/pWl8Ldrm/egXKFoY6liK8cEu8ztJ
1pWPSe6zFilX4N+F3EdcA1VIqiU5paZVBLg2JOXHGcB2exgXV927iq8s64p7IprHeodgdBPj1L0d
N0ZnJScjwVNv9CURfdZiDpXk03Ecgnm6c4Ftj/q6rgCf2DfgQi5Vw10vTbVGMmBS+1MY+A1Gn0V5
z1L3+igvUpSUEskkzo+679eyRAQ9Odkz9oA4mTV7vB1fy/ZgLi+wVqYDY4AizPkohkVe58g0O7n4
PsPfs2XzhA1Z8py6TumGuJo4r189VLeIR6Ehr9iPzefSZ2xSa7tlxK4r3+Fl2qOFadwTUbuyBdeW
B9V/GN2U6DerV2TB5M9o1J+0Iq8Oepo4b2fNNCOzz+8Vfa/cJTQoSSW5K+lubAmKWgPkNs913rNa
1R/TFLCG4oI8WGkTF+GMMXLUO7VzhzFwebj5cigt0BZdA+Ht4XbmJTArfRGn2derIcq6wRye7MQx
suOIcnj7OLp98auLM3zEcqPpvf3Uwax95auHmTb4q7VmA5KHauhm+4yZ5hpdWuanzsmqT2Pqz5/6
vlMfbz/j/+u/nl9lFGsCoCKcA32te59v096cLLu2SDTzScrm7eIUQ3wMtEwNnxUWuL81SgraU1dX
4mGKGzM41Y6Sy4NYoHOSiXSJddA6wPjPY2t79Yeyn82iCXnO4dxnrtu4hxQ3+SBah1GHWWRjQVAy
BL+GChndnSnVWIcQJ/w6MtumsXf6sKB0X+VJLb/pcWfa+wSxHvdT7IzcCUDga2/fLYA+HxLLHJpn
Y0mR/437JU0/onzk5j8TibN6mPS2oZXhUGpm+2Rai5eigxQDF0CTwJ8j0fpa9wm2g2HtnVpXyIbE
dad/j81kng+NOc7tIS0zrwCpg6rOLocT8WEIjAz2pan1CFOC+SFpEXFleynF+Kk3YUmqxJjDtGjG
7CQrr/Z/i0RZw35KjcZ4RiZgcXatcge5H0srbVcj8VmP8qIq9Q+pj+PFXgaTPj6lUg+KKGf/eftB
Vkh9BJpTWp9zN6iC0E2Fbe+okidpOHZY3vRhKzAEeLtKEenPDtB2hCoCE+cyFF7kT8TOy/5dPijf
DMdJr5xdJxv1e/Iogj8aizaXHxrfR9+DBgvOHprCdmMfiAlWWunCBthP+bR4h84XGfvRjlv5ptZK
rz9qmquZJ2LMsfw0J9TUH+ImdouHZsmdcT+uwiGfJpjj5jMgrQIbqDbPjb8RQPNGuM0AX+a3jIJC
lw68u/ml0Y9xfyDsHHMtD4mUB+RVMhlij1sVhxn17DQNg4nYKgFZbPTjW9+h/XFQqFxgwVgECVY1
DRdRSlfeccV7o5stHbE+t0Poo51niKwF2MluP7ZG670RM+BhSCyJMvekovn4vnCqJPgNqTIJPtS1
MtSHwBqGItS9wcrdcCm1tjzlrmZ7v9rU7erD5Ftd80+jOZU1h3GZTsLYKcvQqk+d1wV8AF914/RY
db3VPhaim43nBqpDFRVakCWHWPUiTh9yXnXzKxxM0/xnnCzhvXXxdrcwwDLM/stkUrs7NppAuSQt
JmP8NgMe6x4K+noZZ03vJ3FYpTDUA/rmU7pbkFERZtglKYcpHFJR0Wgwm2r6lxLDaO5r3pD2U6XF
vnWkjirTD9paNTyWLSC4Q0rnVeySYLQIgcfZEMdq6oavjTKa6tAFferu2DNDE+JmKjD9WxRfZWir
Nj/mdW/J76BwcRFW9uRpD6ZWdB8WVyIOHtrF4sdjaPrtELxbqlb6H2WPMNp7vR5N+JeBHPVsCZvF
dykMQTsgoMkG6bzVB1pjp8pNR/Nr6RTjvDfRhw9ChPvWv6lDKmJvZCLtHidMGLKjsjtHDztvbv1o
sDIvOFA8ieUnxVNshm1rZd9V1XcWVmF921lHhBjTn2RVWCUuRpvHp8VYenUYFA7d3zSnS8XB1wvb
AfnT9Ha3K9NhLA9Gb7Ye3PIxV8cU3Il4Z5u1ZqUhrZik3iPw6orQKvxu/DliezQ9mCXyajvbkw05
khzMxthnWVYZhzGGYofgCwb2X4c+MIof/qxn025Y0gCxOjq53m+jbHAoCqfSH7NIZp2xG6z2wTFH
MBt+PfsHy2nr95YA5bGTnVsn+8p1h2Av8jRpd+hytvUHga31EzWSMT+YKLEM+ES6InuO52bJwkXz
cgFoJui7D/4CBzYcSzlosH7i5Pta5Eqz0G3GZtlREovbf4Um4s+90WTT4yL7uOiBcfiDLPZeVqb2
jsLP4DdhQjexQ/dlnoh/wn7IujIPucuE/sbICnt+MOwCjxF3NjP9SxOriQ0Ql8Ww7F2ZayjVBhCA
Bxkadq6771lZc3moAjjCn1ANcMafU9273V4OPrDTsGvTug/RJJNu1ASla+1k340SLo67WF4B+wGh
0L1VZa14Fks8KbjZqlmvb1O6mtgBXczfZ0WTpaFXy+In+lhDksMLbrpmn3kdSrmLo/ht7VAqJPba
qXaNpzrW0v5hsQuXVVRtI3XBto07P/TQ1vMf9cWsjMcgL6vPAcCX4TE15laGWbCkj2U96dpJsKrO
UU197YajYJh9Li3jWxvYeb+bsLGhUWenfbZfULp33+Q8utrbLGFHTGGtw4l749uNYz7WdTckkfSE
7/0UeSyWt1gMDy0vVm027WkSs68QpB6AzXyI3SBu3sFHMT8GVU5iLRe7+8sfbONXjGRtEkpepniH
wc343CZ9+Y0YIn2vht4uw0bRnzhpme5+g3I1fK2lnKYdFczFfsbRxXMe6awMWZhN0/CvqBfndzxO
gzjZoq/zk8TRmmtJpa1O8hQ4CKu8zT17mr82xgCDA+BR4h/9ckk4RVa6uB7L5Mb9x8KZrezJ74wM
e+aa97jEKURN7hvQWEP+TwFj27aQ07Sa8qsBtrwE6NzMXoWVmXTNIeTELWWkAL6VH1M99bsw7+LF
jno0tszlfb3+y9eiEjnqFFqh7D5l34LkOAay6YedjrDIL+nGDmZhAxDjULSi095otdW9N1oqmI+a
l9XJGg45eSjqxOyJLKTU99bSOz+1qcsQ/BGZcH7Z2KnlOywuUvVRix1VhI4LluxNH6dZa+4dzDb+
NUZhfOY8afFXOTRldpgNMxP/5gSn004ChX1tL4qIc42xASD6dANAcpxHgjWqwE5m2NlJr9v+CZ2V
ZYc+lvk2i6V3p3p0mYExFDcRAtGratu2XtmiAtVVppedJjn9QxxY7ytahdGd2Jbfu4lswT+vDhEr
G5cSyPl8dKcTWoPd/AlpR/le8zTeJFcuP26PcpkjAy4jJV+z8lUaZpMO8WzWNh11OODKyd7rReJ9
1RxlILTZOvmbzK7tO7CRawPSSAfsiH8dsfumfGQ3bj5Z45xTPnLEs1kkxmNNPPiIC1t3lN5cP9ye
4JVvRaqMpPOq5IXcyWZbJDPclETrihNxf3M0xz59MDNjvLOMV0cBCLMKIwDC2kJuhD4ZVonV7kn5
A4mDKIks9LHJv92ezGXyagR0w1dAIKVsqKDne4IoWSfom+XJJPLbK0dzd3SSAM0Vlru/PdSVGZ0N
tVk3w8qMmQKgPJVcEG+mtJDfdX+8V/m/TJHJwBFmBvrHuaVOej4hXHeFmuahPGWQbR5Kp6chYizO
x9mX9dfM7fS9mHL7w2unRu91JexzsFYy1GbPq15vBk9IeWqMSaT71uzjNa3R73HVLr7Wit0E0+tS
y4BWv4VXykWR/xiqOk0eb2Ki+cVPrmcLLcly+XR7SheniiWkwAX5DvGRFUJ8vo65QpeZ4kx36mPC
JVvTc+hA41d07NHTtV5NZEDcDyItfFOXIgN2sptSjauyZhoDk+GwKN+l09KuuiNotDu9cacqdLGI
3OlcFNSgKKghsrhJ8PW5FVgOOPTh89k7kKa6n4OxyB4rzOR/317Ei6F4QfhYADMg7jLmZl/UQ6ab
ZWWnJycx/Gnv4PDxUemTr+/nRdfulC6uDQYBGkFy9AuBVG7OlwlNHrpWnJ58ZGM0nnor+VyR5887
BVzuHlr+YjRUHWBsAZGmbI+q6WZqAYwjr19YxS5ghLz3s7Av8iyqhLonW31lqLVmCMQchRra8psP
9n+UnVlv3LwVhn+RAO3LraQZj7zbsZ3kuxGyat83ir++j9KbzEzggYumaPsB4YiiyMP3vIsimnlK
u1E7aGZMPoJGyZptoqfZyi7ZZLms6qMj0qC7QG4O1KTN8fNU/axpwklqGgKHaTW1PoJHrH+r1cFp
fT1J8jcj1eOnNOFBd6Vssmr3/nI52yG30WkSwAmAjoKxw/E3V2nJmBkpoycgPHtgJoeyy75EO/vX
KNCVgSwZgwydbQ7+avVxz24tYBH9oJY0AzDsnEIVV5ALW+Lp/gEeyumIDzesUc7IUxIxW2K7aVzd
w1xrbtQYnYxKc/o1Icvfm1N9aepO1wiilK3NwmJkMOzbTh5qxEHNEXUVH6DBNPtGumuoGn1/lXrp
JZe40/ljKCiqf1rLBmjoqcN4Jib4QivQK/WvFZQwUqOp79MLcOf5/G0WBmwbm2MwN4Xtgf96Sx4m
yJ4ibPcgUvvrmGq3Q2U3PvDI02LL5MJgZ49E/Pl2qLAHs+HzP44Hy2r8lmNdGgeYBe0SjmvPPavJ
yvzb+wv8/+jp3x/Y5j6K3pNdcaPNY+JzPJI+llwmPDeJSr3m1Npzf1vUPFKtKtvgpLVz58+W2U7y
ZeikML+IVq+1zOf/yYx7urmFFdoWgsH7rKT9f4daMBWBFYukjogUkdpjleZlcZiAesCiPBLEdk1O
wrG/wGyrf8wlxIUAgrM6PCDnTEXUpDSmdpqTd1kw610ah4BEqfIy6q1LkmS7NsVujQ1l3jVUN7nt
e6W6/J64DZhhU+oVV+Wic63DvBDxGjSJoS3YC0xDfidFWWe3TdthkNRYHseaW0gjDdoVxg9iwKJN
7p0EA8CdNcVL72elaqw3Vom0AR/ljE7kgzM4bvWQDpVhP+okQZIbl/RxFWjLmsB3drm936RV3SnP
q+Vl5jVrxmluzDxPKl8axvqNG3ir7tLZqcW9hlO9G9HnhFziaz0a1YOFwL7/XUgBFAGsaeKAXztx
H8RFUVT7FC1wHkquVtouqbeYlrR0nd8Q6njqBRvXKVLzqpv2slpLLyA4Jv6eliWmf0ZK4Im/uopV
+stqE5aUTfriXg2xrn1jydcV8chZ3R9UaRFlj4COTO1uKEf1eWlW+0VZ5rV8HMvYUnZZXDTfUE2p
v7NRT57XXO0xXMOKFHRZ2bL8rEIsA64bY/aagYd6oWPb3XPuSPHYN8qEUM0Syu24jtayr0mJTPE4
4fjy9Xnt2sCpapSzpUXYd1Dpc+ndFqVj/VArUOodRXepfQZpMdfbpPXi75gn5nGoNWY2Bl7hpTLF
JMWRblDM1vBS2y2Cbcz9+z5Q+8rrQk1bFrBZJGfZfEXehYdvtJqq7Uuqemt9g4nmQn5zslbz1dKh
4LtJY9P4b+lNWX63k9StDkBrrXKwzNUon2ePjY3YDFVX/KFzvMfelrMhg1lTUu0V8af+UlWrme9L
jHLqxG/YFuP/3LZz818gqtVrnqX5dKU2xWI9rAmtolA1W7rStcx5JavErfu57vMhCSrFIqBnzoQm
qSTUBq8HpVVoL+nl6N7VaV1M902uqP9VEubIQU8bN58DvP6c6dETvdP+WLw6fzNJ/kkeZlF3nxZ3
1bRPNarznkZmsQI15ULakdt3LQJm1VnKN8srVitcB08jiA8c9reg5Tb7qz4RI0dKuKH6nqqo4rYx
h6q7LZw5e8HeRc1obLPyfSNfY/tFLJU3/s70GN6oWEs19fs5rt8WM2vH+2ScNXtvq5OqXrldYVvX
TQff9BZqYW0+5U3c3xlma2G9aKNHvmvidMhCbUB9BiDUgb8ZdBHkY4vusXgB4OdrLEGXNZ/llTqc
BFTTd1bitg84o9PcsHAO6IPUiDXP1/AArnalUqDkJrAMWyjg6CZaEqJYd3oMGrtzVFR7QWbWleGP
hpp3IRg6KH3qZO4PVbFkcQMwl1r7lcM1DcbK059wYSqtUKbVWGKEoI94r7vuCKC0JEMfGMvGEwN2
cR+EWdLBsJ3VngmWW1u435PRzEGmD/SHzEkZZt8aK3CiNrF7I3Qh/RLK4rhFHi16V7mbxAKbvM62
x4PjxlkZZKlCrsdUZBZeLo6ep0FP2+OnvpDC4PcIxmkJgrjlgZUn8lPG2ZXuDKNXHxKNy+3O0LLu
HukyszsXYx+R0NT9sAe4hDvTyMxH9OFNgau4rMpgFar80cmURqSFf0ykGxjB7dLRc4GPNFn5ykpm
xs7J23aHNbn8nExJqd8Yqx4bVw6Y9a9C6SuMROZmttiLjdgOlVQ4nwU85i5YOZY0v2yK8Y4yr/o6
tTqpO6mez8Cwevek0Q77iV+6/D7Wc/pFH8H3g95LOyMYnNFm5rSirMJF53jgEuoAkGaq9aPos+Rr
XriLF4wjUmQya/R58RWJDjMEjnHTmyUu119snkbrw1pZNL8xhUYHDd3aFGaz2n62Jul6xKVIiR6g
Tj+7jhJXYSbw3Njlk5vD7puJ38ZiqQJySc3uyewq79ti9I0eCKutbgY6hhKWf9pdZ54+aaEoMX4n
XUGXg6958ZLtvLzXv2NdhIs/9zvmM/WURPOL3PNW3+oBPiEk0ki/WkD4Ywpix1h2ep+5XkBnRNLB
1+25DUso4jcxiQ0/qkXOXMOzfPaZVdQrK/m1P8tMrcyosLWpCEa7gY3YUEI9WAUE6p1RIjULssxx
fzp6q7865qoqfsISppGmc5efZDX0cHbmmQ24yxT4hF5sWWEWL/PgjyQok1vL5v1fPDmOAWysFr+8
cdG/xguxM7tyGKfP89zTRJ1bx3stk9X55NRTSfjsLMvbWE6QndxumvoAOXUurtOhobOjwNL4Ss6V
zn9dMKgO5UC0VNglmrhDMDqW4QS9+6A0HjODgo3z13V6fiNuGnUWTonFgcGVb9A4zxrh+qwQ9akz
7fbnkHB2w37I9SqIaw6fXecq6xNvbvk8DrWl+Fret590EmY6v3fAYf2+T4y7PBGO2HndkNehCill
8hu4scTtoDX73JAsN/v5km7nqooTFy8z7tgY5rwtdzDl0vt+GTHdlGmfPqtmPqZXCMqsiEtfZSBC
dTrLH5bYTvd2NdWfyrZ38J1eS9D/WcfnC3+tkY1G5Nwvn/uqqnYQAuIyLN3a+tQ5dAX9sR+MMhDL
aj1ng7JgBYy5sruXitk4OKaWxhdF8oXw6FObBe6gNm/lao9Yy+Fc+bNZG7cPEB3PNDBiiehAm+jC
3vTDWn1TsCGz+Fg0j+82djN1tzqDwQwrYv1mVKoW+6ndNPEODmihXtGKxA5BCJ2+XJGlfeGTJ8ax
3LVmNWHNYcsi0Lq6vaZTsBZ+v5QpbiQzCFWACd3wjDn4SoMaOu4dls1TAThtda5PDo1ahIPs3Cxo
J8caruTEnO0KaeZ94JmE+AVCGdff2GNbrz2ecl8qWsCPtenNA/2uuR/93rNl49fNvHLazkX3C9hq
+qUCfXjs2YPx1nYQBK5VtVb1q3Se21tjkNBz0UdxasrepBVkx3ZGH7etq08UXu1rVdTDVyvWkfUY
Wjk/kfjZ1Xtu686nslu0zy7m6o4/LyA8PsIByty8WpVPDpSB55mAZCyO+wKLAk2oKdlpqSGUHXiD
cSsz0xnCypJYjjezrEd6UpJJ6vuOBkRs2bHYeprddUF9PD1kWu0lBEaUxXOuji6O06LStYNsyqUK
50URHZ8HZ19gzLb+U1/ZAsO2l8tX2+vjF+xbvYY9nZrKH6VOFqqJ29rsa4PW6Vdy8BYlDWxhrdUh
N9wxu5qUmq8R7mk2HdrZKpYfE24m6x0FuKmEuZHO2ku8Csxeedo+PnRdMck9s1RWV6JKbF4o2XnQ
lyezj79C0UjXBwqHvPlsWkqv7GpXmH0weX0ublv4QMMT2k67C2111uKo083SbHwCHdm8/anJR3fX
qHpWBWk/pMln0eYdDXHOkx927Mn4DS3xQtuljpV6N6rqgp5hLvoRERjHyB20JbMLE7133Ld4M93a
G60+1rvKHbviekrsVN8t2AbIvR0Xuntr0qQbv1mjOyg71S10b0+K2mD/QDA0MQWasiZ+UrdTSS5v
P0ZxDh38q1UTOXbvJYkiI7muix4Rmrh+7lk//avpSK1N/AIpR3tXIQ6072F2mC9cs3VlxyTlduon
Iq6nQOmJ3YowQfaGG3vouOngWF1PUb9odXGzKFrp4ge41O5tb5F8GDhzbtn7rKBNy3HdUG7Cbk/y
QM2nVhwoIpwFAKZt61DjarV8p9mgGG9YEq0QIPQ4d28dCtDXroGHv3Uqaw7LRuP2kZtNzaVNAWf7
Qk5rmbxMypYLEyhcX5qgapqhebNQiWoBAHLHGZeQQjrj9TlOy64Vs9J8W6sJyR2JMq13Y3JbNe5J
9lPKq3bVU0FnzayVe8x5SK1jKZo6Sz511cTbiawRZVSzXc73mqgo/QylW9wbEpEXT4ZuBcn1dSHP
aw07ssZKX4+txrqBE5P1+7zyLHlALmHhOckdvP5Z6Rlxw4RfT9JPrDnWAqj8ZrWvIeXmobtwhf1U
mu2w4ruxOvZ9UbTOFEoxkk0HG0Guv9pO0L3yRb1i+yWG2kx3MLxc97qeRd7tmkTtn/tBaYwrOoot
Nxm3GMiBb1OoVvdAaxo/VNa9t1eMNU8XnxgDr72268ZrLsAPZ1jHJmFmwpETwdaH13wMCsx4IGnq
JItIpp3+onPvf6Pr1353lSn/RITmpbTgc7iDHoa6GTgCeXioVo7Ha+OuN2I6ONEyKEZgt477qa3r
+gLYcQZJYbSlcgbBqARI5Ow9HsWu40bSzC6jDNYW58RKwp9vjG0KiQgL3EumB+cPBdC8eUPCoHYQ
V55MouiEB4GlzCIjlkTZpd7U/+fi+PZR1S69AIwdYOJtusZNTnv8WGYLRkNDOcfNCe/ZJB1YjTqA
aNUXl4ju5+sClQCxdDgcsSgg1h8P1cbxOGpEwURK1XRhYXrTi6Z1QzjbmfEWe+4liuH5G/tjvrw9
Gw0A6NPH4432ao4ymfLI7tkOSrksNVaAtXo7VrXy9X0o7J9j4R8HkgiH66zxlgLrebGt5VG/9gld
8Lypgk3+85LOqfXpo2PRiQWmB11G8QoCd/xcljtVdtWaZYQfpXE90BO4p4BSbhZKvguf8obfHeN7
W9MXL0DUMKD16smiL/R1KVgXZdSNVabt5iLT7e9ZF0NgkyBYj32LQ8aDPsdFfjunTfmsju08Hz78
vJuXPSITAHX2k5P3KDepZcKNMDKGNiXUMZ3etBGhmJ9bHJvvj3X+2ZFAjwU6JgnQ7CFWHc8tjBw8
F1Lgx1bOyV4MthU6IrP3749yZnANA4GiEjk8Gamb3vJkmJifYOuVXkXNAi8J9IwmRbhW6pwH8Orc
l9EjKT7iHpZ1frP0Yr11sX2TD1wtc5OiLJHqQa6u/aot6YjZaUFybTjic5SFMSequKZad7u3WMkX
FVeipPCK0EudUrzUTut0O6sTa3NohToKjMKnbnkhusSabz0KsXhn9s1Ho1f//8DIT5hZDSrN9v38
jX8bCFnxfqqibKqnXZ3EcUAx9wr4P0Tvz+35l4h1PfsLXwYySD6T45GMzFUnMPgqWrQmvdMc+VU6
GU/Wr58/PhD2XGwsdHiwvj0hKmSm22gqZXsELWYJ4lh1dzVnXZAiJbywXrbffPwZsl06Os9F84At
9GTnFKIAOanLJvJqz7pDYuUFRTm8YfMsIqpMYwd57/f7T3f+IaDB2LZpPEk4xM/YJVyyG8DLKorj
xQknI5moJmfjwy8L/IxeO0AIPTL6nMcvq1AV7G9yp46I4cgIO1rG8jrlk1hDAzuOC5vZ+SxuzSsU
rSbVFDXKyRpMLPRVSQ1Ct21abqjYDe4nvTYNh0QOCVBgb2klplfe+tGIqi01DCtf/sB3Z02eNGTM
ngcrxNREDjVu7lc9zRh/7FxdXNi+zhb/1i3mG8PHbfvSzmwYNNOWKszHaI3X1Tdj6Hlu7NWBwg59
Yaiz05wNEpXkFrsBzemsyWStEHUcW12jVTT6byEqO6imxiZpUOuoktv56YMLknGQfqLUwe2Da9/J
UkmMHusLZZLRZGbLTvVqJXTMyrywRs6W/aadRu/OZ437gnZqiJyCkWSaygVqxhHxRxsX6xecaibn
AmnhbCliQosCA44EZjxY7p7sHZaoM31pLDWKF7Qy+eh10VSicfWrupB+TtMr8Zcskb8+OoebfQWf
HMc5zBPrZB16BTgHYQp9tI5ev9/Sb4O2LbMPv6lty2AGYW9BnzmdQ96hMZVwPqn/sW8fBMDwoBSX
eB/nb2o7SphAVjncoNOvuc7AZQq3HiLTVKZwnUYngFAwhO/P2PmL2j4jhoHNR1vn9C5TlV0B9N0N
kdoLJ8h7LE2X4iZJihsXAnlQ9ualXer8u2LKtjpS21INWSbHW6KdmXTHBMeikk/rc9V345WXiH7f
OLERjUWzXNiCz+fRocyBALcte244J2cLIrdRk6o2R/ngJYFDtrUPXXb68DxShnMbhKjAnkEFcPxU
TJ6B54IzRrhXJL+dzKB8w7kl6YJpJvj5QCvRe9LqxrzkkLz9xUdH57bXb9sFhwySo1Or/XmIp2YW
JWJF2ay/VWNud2Nayxt11arDShWIz26RW28a1+Sr99fO+cxuQ+NByYpH5vSnCPyr5hmbKs/lkC2R
6nGElvW0RnpOV+D9Uc63fEbx/qS+clukm3w8s2mR9vpYzUuU9Rotd/zZbo2OLrE3yEt30n8NhTcN
nFboXYRHnixNzSVFgovGEumtYfqqEP1udTMn6GP3UoV8dvHgtXHfZkEiLGeBbl/JX3OHcUdDzZMj
KtDK/CtawqSlfWsrIsBnirSbuJPxg+ZM1rc5FXMZqMnYfJCIygH6hxEFgYjphSZy/BPGnqzCBTvl
aEnRvez1GUPtb6UKXu1U1rg+LHQuuwv6138tGff/Ww0qbZi9x2MaY6aPE52wyDXBBdUJsSMBG86H
P3mIKPi7IyfGdP0MyliB/OKpZBQFBciuaXp69uX46f11eWb/ts0fZw00VE4CE4nf8bM49L9rfCvm
KHVShNm1MrCLxda6yHtQWnPyK2PUHrFnWTU2VrWM/dW28bornUQZ9hoNoP4qLnuIsmnTLqM/ij4t
dugBtPySUQe/5HSPIMwekIDAITz+Tta1VLLORLoyRyzk5TnV7OFX2czZhVn/Y2VyMgyfKbsBTEzI
zadVIFl8hZ0S0xdB09US/rOFGVKryH78NB2mJihUUWUh9tl2duhMuf5YdEwi9mSTDGrQWG586a70
j+UGNcxiUzYBE9g9jl+RlnfCGek7UuTX7r6w1e4GD9P+QqV4foZucc84C3GHMbnAnJwwTiFpo2Vs
G3Iy04S3rGZaIPpS9/y0w9rjDjKJ7G6sjJbFhc3xXw8I2XBjKfFq2VGOH7CIoUGtcSEix+vHG6D4
Jy+v+o9/tJQ64Frmdt8EhDwepDb0ZFnyTETlsOLyn2rVrlPYht//ns43XyxlOanZDzeg8wwyEFBG
kmZFmjpSGYYozZzcdwgAsHYOOfQftc3FrQsSNEDIxiXfSMrHD2USbC0KMikirZ5r7NtKLhDZqpvX
MWrYC6Znf9bZ0ZfBYDD+uZOxRHATOZnBoo7JwE0MJ8o7t/2d0Xypr6ZxcJWDOrPzh2jwFOd5bLTi
zcBBzwhSLPPLoCJWoaVraxVfU0QJYIprklYPnA1O+7jORfuq6GY/Bl1VpM8EO3lo7rNusl/txMg/
q4PU4nAe53a80ceiqIOMa+7XWS6ZG9KiqH7SHi+rqPTK8rORWnRqF4IVlBCvLEQvlrEuTdTjwGJB
9lCL7IW+kklQBr3Ret/bwku+SDRvv0w5lvoPAgKrMprqNZmf9NqlDOjQf08EgSqZ+SwJ0+xuJi4f
MKx0qtrdJONhDEyNFoM/C2e+FDNz9lEy5SZl+pbtvQEyJx9lNU1LmmeGFSmj+oo9p8kuO18pRYvi
sSTt1Wn7C/vf2QJmRDZYEBle9CauP15RVma5ch47O6Lhvmr7wWFT8BMEY1lgyGT+cPUFr57KEW9p
CKsGH+jxcJm59OUK3ykqLRdfhxZ2y1jFP97/KM+KdQahuCT/hQ19O0yPB+G8GNOZKO1IIXYymGpt
yGhD6+OtWaTdo1oV9oVd4GxDY0Bzm0aucHyVp5ZS2Dp4rZvOXBw90iXMGB4KVt36hVf1z1EQ+6D6
2To55smrWtLCQ4fpqZE7F/OjgCr5ui7JJUHWv0bBggAXa2BdC2TmePJofKeNgWA6Sg29O+RqLX14
LZe6DufLDnUURw8x0FsNfmpLqnvJwnpLrQiZub5T6L4GpVbDEzCNSwfd+QOhvvmDMYH1wF4+WXIO
TAU+ft2KerH1CwUqwBw/3wsQxfkDAZiBoHI/5EZ61tbYPEATfZRuZMYiK19UryCNzdLytviJ3475
/P4KP38mjgGLb9biKODcOVkKM72ORfSdG20e6p/h+GZvZbFecmL55yhctA3DcPhzakhZT93QtvHi
RpPmTm/dnE43mpKJt/ef5c83f3zOsNSovWjl8W9MGo5XHMm3qoko34tAg1EZIsEfs/2KGK0LUCka
xrVjrO6vUWjFf7HSzflVmqjj9zpDareHBCQ12MplrO3f/1n/eKHoAzafzM15mD/Hv2qpysTt4opo
wEJL7UexyHk4VFZVyNcVQtWv90f7x1RD2MZyim0R5ORMCTQkc9stgtHszAr4Xqy9jf1N+P4o/3om
dD8k3IHDo3vb/vlf97cpnRq1iAcvWgjohSmZq5HA7AD+6zReqPHOTzJyOICqUCUQ8M3t9HiorXKA
pcJLtcy8unIpxXyJjcp11qu1rySW+svILn6E/5hFE+wJ2Akvmk03cDxo05aNigQtjiYYqEGrllWg
TsslT9Pz44VkrC0LDg4P3iWn9PoUauKoGXEcpSib75ssK37g2o5v9oxNYgcsdOE4+8dUUlhutuAa
3QbUb8dP1S4iNi1cRKIxmTxfUXGlUBM7f1GBIkNP6/WbZpn7S2mI/5pL7BjJxCbcAsngyQtUrWFO
4yWPo7rkpHbdRb3ydHlJC/TPURDQYyzl0HE7taJdsQsxySmII0OWP7CaWXZp5374Zk1UM3EpHDbA
/fRpth/x17Kv1N4pqNKVaBauHkpTV/ZlaReX6mX+lpNtjAoKu/hNYowY7WTC0g4RGoeaEglTz4Je
t6p9ZUsUrLL+/v5n/K8F8fdIJyeaauEdksSM5LV4nDkYXdwkqsUnPDVuBQdtIMa0jJVh9/6w/9g9
2J8BmBAQWjR+Tw4dvSaENtWYxnLO4u9gCNoQLFPfycBeuv7bhwdDiUZ4y9aZpL98UoZQBZN4B0of
mZQgj4bWwKCt1yqcBtW6ACn9Yw3S/qGyAEJjtz/VKsrMkBCKnDjKRB/jFtNhtSDsj9r7c46ChwO+
cJiijTzFGTKPdKxBmEqEpz1UWjWHmG5P4vDhafN4EozeKa82lPN4qY9K0djJmiXXsTGUW4Cut6ua
3rht6GM8vj/U+TYICYE9lgsEIn7W/fFQ05TNcGvlGk0i/c8U8S8vN56l2pB5UhZX7491vvQYi6iH
zSZW3RgWx2PpHaFfybysEcI+gx41VvJYxru4IXlL+P5Q56uBoTZjbC7YKMNPm59rZmduYekAjKW9
BD0UwTCT40dNM/80s1QwJ0wPwG1PO+9J21BZrYsZVYo2ho2T/hilZ0OLFM2Fg/j8ecB3QEod/gWI
dmZntjRoWTTuJrjUyEfy+IrrwhvEBbTl/AVxztOY42oCloSfw/ELKpw4S4lJ06N4TM19OxAr60m3
9ktNXgqY/ccDEceGgJkXRCvc2f75X7s5/e7aqXphROiCN0cbF16xKJwL9fz5KEgDN+0yU0c14Wx7
8F+jZAKyOy4fdlQAcuAd5jw6DvHkH11r1L1cgVB+I6SjPXw8CC5P0mic3ImGVPs9Wkl2MAthXihk
z08LBtkeAeEhZfxp6ypOFgxm2sGJMNypZ99oFTRRhS0/c0VW4H3jjoKrCLTPjzoDbm7spLHSXUeN
yI3opG5ZRkUr+h52guiH7pA607M6tfGFpzt/T5CuqM6B+sAT4EUdT2Hslhg4tCNlSst9oRci9pVO
nS7sP/8Yhcvq5tsL3d0BYDsehV0prYCW4shcrTqcraYOkgFVxfvLAYiCv+e4hth03mzf8K7BE/WT
z0hFI9SlbRZH5SgcL1Ty2dEOw6yl3zFcGN+STpg/a7NRlb2RjpscHCP/zt3CzbwV9okFYT1wilkv
7/QM0Oi5L1tlftn698o+zuPJuNNpAte7winr+ImLqmvvFjXWxn2CP5SCGEk1pjsIeq21d2mLpYgq
KwA1TW/QXCR1MSw3yNiW9QrXmwk5old5xU62iWOG6thbUNazZhquse8stVtrtUa79POmHYodisJp
vZpwrJEHe9bKeEdopWm+moqyvGVLX1ko+HCVe2rxkDMPtaGkS+j0MWRxdTWqUoSTmG15KKVWWpEh
AFwCa6h6ul1r2g3PK/nSBkKubvjdV2Lo75omp42o92PyuigYZ4ezGsvkYVwMQg8qtKh9KNmFJSoG
CMWh0/XWy2yLNjnYhqI/kCeQA/5TT5q72kFc8CAcvX4adJ74Lll0o9jbuEZ3h8kx5bLzslLgMqSX
phfNJt5neYiVfrn6Ta3gFaXlK7ZDTjVOr3M2r//l7Yh1lCKn0grmXLPKZ2HQ9yFj1FiQ0rHxwFcs
oeEQdIXbqyDn0+AQ4tSCqelkkrxGFGJzh0YN+7bqCe1i6t2lKGArehKaIu6BLVPn59opavltaIVI
b7QRc9ArkzAr9YvuSORgIwl2yvWq207nIyRGbIbk1MrT/bJkizjQBO6uO7DRz9bQDPl13Vn4DKI/
VCqIoqZwQzku2rTPa+JMMN7rS3GlmRPylaorrfo6twifvXYamM2hxWbaBc0kRuVgZnhUhCm03foq
Lyn0rhVdE5x+Jq/llmv3+mtarUm/d4SGTk6BSvqtV63eBRuw7P4g274ed049JDhX6Xk7Y6diyKcs
jm03gBufZvfmDNhwa8lBm66px6f8ys4xzgpT6KdYZC1kp1ooFgUOB2tr1vgdroposcTriuFGVKKI
g7UyR1wyGl1WQT/FSuJPg5GLUNi5hQrKUsbZl92AU1NrE227WWZN5fUQK7Pws7Yw+oPRQ1kOC5yW
h52Nod/KWmnVLqBgH5GUKMTJzs+OJ3i9CfQkEayZ64obr7dXYz+pMjExC5yWcbekczJfNYmF5Miv
vUGfHz3aQuQVLbGq7PACb50vMfmnw603F+6XdMzVT7gPel6QxW1a3yYzlgu+WmJh6o8GwsGgkD3r
abNSrALXnpXYlwnanWBuUq0LFG5sMQCwLfIgAwlZA7tEOUOhYmbCh0vrkd0IIPNQr0r+Sdda5ZOO
C0z+mJAvpr32i6zEo8Z6wW+aXPb12u4K4fh10Q3VV+TpwxTO8MOV0FxKmO6dnbjThODYKtc+ECRA
N35W6URep8bifrGceGmuMmF2BjotmuDfx5TET6QGqBh7MMPFfC7HtPxvslqtvZp7Yy0RF6jzG0z9
vHheHYjnDw4ymuUwAHj0L/h+8f6zwWveOmVOtBApnYfSQluIKO4IPnjIR8J09x5Ogt8Gay3jO41A
yXSX8x2L7+usLWS11XzuNzM2ski90coOt9O4TqgeoPA1AVKYcr7agkvt3ThY2uLzlTCFyNdS7yvb
cFxcIdKcen/cMiQPqxOb4yFOHW/YeyVx80HnkF3+m65G6wbjMiU6lp0Sn1Rl8TScGQEB5a0zkvH7
lHU2qshmXXr9yVaWRF5Nyawue6PQh88ydsblIUF/1u0ytS3bcOZVksLerVq/q+ZWivusSGLUuL1C
YDXGZeOgEjEyKWY4LUqNWaXVN+YtR22MwquiOblPraUQ16QrmO1NKYZxiSp855QHb2oL0+/TxdFv
i2lB+TUYnhgiV8b6ekvBbRk/Yt0Sb6UwZuPZ6jrPeS1aV6k/x+CZ6ietTKciKic1G/xUCkteVXo9
3OcS94K9naMdfyX7bbC6YOxWSwnteF4XznwRI99nmWB1iWmqiy4PX502VNHRVYh43F7ZnNymZF+3
mBXvqy4ulkAMyqjfk3Ui5d5d2rYJxjZZWVgSWe+V2042EZjlOthf2LHG5rvEpExxgkYtawR5bVzP
e3pj44ujrOYaTK0bO9eDQquA7SGRacQHrj3Z0m7U3ST6UT94PbnM35DXlf0+zcEf93QUSs3wl0JJ
0sdsxXYXDUhrlTSZTEXuhcUtG5dFLvx47yXya2rhIDD4+horRWj17JvIa+qme/CITxmubXbCB6RY
bf1dFX0Shwj0uNRm1BG/aF1xZRoLVzYHOGIdEWTj/zg7jx65jXUN/yICzGHLTsOeoKwZe0NIls0c
ipn89fcp3Y2a3WhiDg58Fhas6ipW+MIbEsCWsFFL65eZRGLxkeSomn3O3UzjFLEHq2WdFyP/l9dH
DM+e4iqePzcFHhNKkWrJDh3aTnls09TmP57prRysCsVHHyXeLvTpAloURFo3IsS0lMXZedWsf62t
okHysK3gPy6L67xEamunwewsKWaVuamg116obX1QeTvVk+3NxDVppeKzHfGVxgBmr2Ht+I/c/KOi
R8t8dCfKmXtbxB5edktcc5ImrT+Z6ah8b5K0Nz86c6bhjZksxlsXRV3yKVVcwbFc0GrhNlOE0f4Q
CnJ3sc8eKYcvy6A43hcPkDsEOzqHxsHNGxoVKMsjM4jSq12dFojQr/hDmTAO+ZEhz33sGNg4Rgre
4vOsSNuvMp++If8IJof7d3kCaGCqwVynibLvIFa2v5IxqfDLbobyB7TBEBEykFk/JziBP0coXcth
SSVuaHR6nfs4gjAHQ1ZvsmOCgvgvLEeT6aDDO0s/W7GXlE9FVAid4HCo9crPR8hLe5n4YTdRzlXy
PZ3SrPleohoLk1wfgKdPSNWgGDAa40f6jFiEl/O0KF9mW4eI5Me8Y98sMLri80SyL/YF/dkUNmkz
v2RO3OWHPpvb6nkchqh/dhR1mB5g+qpPAL4xdIudLs1ZZqX53Kq9SZ84hSl3qto2dHYu2Ep1B50d
/hTRJb8IXYXyU2SBxPyk4qxsn1xzsv5B1Zzd1rdxGX8I42rCxE1BmeyJMtiwPBIdL81DHerJ9JK7
aVPukNKenVOo9lr/00G08WOxSHlWHJTs8VQtWjJ8NIau+M9t3VYLGrPTviuDZ/b/eGEo9EOJ48v8
xeVfCX9s0mh+nQsFNQwszZOTIDgNNIRPrB3sDGskdku5K+u+7qdjVyyA9Vu9okDii65usAOqXcRh
zwZatkAsBEywHRSlkMfWCKvk0KqK8TVyqfgdJ8zbARAswsT3Bi1S1/ELxYT03JtuypXtKVW3M9yo
i/8y4tE1vrix1dXf247NAMlFGhxZ/HtlH7VSBsUH9TIUT3aTFzV6mmlBXZLNan2KzN7RXio2nPjq
RrXeH0RYKuap5LYHjGHP1pGs0ECFI4MV8FgW8LixtTGT4TEzm8x9gl03VA+Sglf/m9sizA9t5yo2
+zmHXDw4BfLdOWqy3Qm+KmhMzCCm3G97XS+PgH0d/YOuCCU8lEkcIpKJqqjaP9WovqmZP6lRgb7L
FCXKf7kbZt2x6KaFxpACq/iYgg83UZhOFk5PpEpRT9pLiGIJrrRqN6VT+NLXwvwSiRaSqNUkU/us
JNhRBJGCEfAuUpXiFRE+NlzeeJV6DENYxP4AFL46jXXYTx/yOHIKJGGp5sFnGcw2/2Q5E1RSv7Mn
KQJfguZ+8oqsWT7Nlt2x3ZRJH14LtURMNYUKHO/CKF08H25qpvpV5eDVFfMU2tJKNPpRj2NY7ojb
QBSHixfvR4NryJ+1jrCLx83ectG5LtahLA+8jJ6rg4fZmlCG+LPgns2jMwu+iGPXLA5cVV641wV1
VfgtBSSGrXR2ncwS3cp6MZAzmtVXqG1VGSeTYxgGsO9JAJxQHBe3M1/MGTmMTtXmjSRdpvoXyTPj
UWQFqYKnnUobnj//o2SjkQ3y8RtKAQlFas2qzX+6nPOVTlO7x9gsfCZeG/5K7W6Ln3RV/ZIjuxpN
XqmvRzH0cuQUk6aW/Jm0Pa2yXRYr8wfo/8hZI/711/0agZzExSRRCqSMRyEHaA6tvFXtPyyL1CpC
z6OMbESnxEMGeups43k2kB1C9+VTJWKEepRibpHKNt9rYUS/C+YjhTEqYpLJs6pYRV03VLXBGoMA
KvzKVZIXWBTYISZiy7vtdwF5NVW0q+h6ARNADWwt7Ke46egIxQuDBiXu1J/cqfsZQWL9UiFG4Pid
Xmc/qixeRr8gWPjsZZHq7ZZMSf5595JT2NQoBNqW7Jqu5owmr1oB+lQCpLIrf3IyceT0dkfIWs0R
qYg+8OICX4+kjfew3T/fH/2qfCf3Fv0JWqg0AWnGXe6tln7xWI50/wBpzm9IVxTHobHFsUBb6BR3
pG/AxJDMuT/qrbPEkaWJSsmdRsJqzg2hUudOtJgiLXvNPXpLaTw9an3/j1GRzMIn9zMb1Zj7o944
R3BdqYZj8YT05rrM1vZqrpBZKYFwOu3QhTVxYO5MfogY7P8yFP0j6qJSXnHdKh5TiO61NSqBU4fu
AeGmzp/RIaCeEG0Jil4V9RzwpZSSPRW0Bqd2VTy0FcfMFaVHll4MiLYPWB4Yi1pu3H63RqGYTFUc
1g91oNU+USq1KLkX+WKURPYlzOsdOKStbsKN3Si9IUGmYZUsLXMudyMiYOmku5j6JqWSfuvgtn6e
WEnj3JjYySrj6FKSQbhaf7i/M27sR8lcoWHiguHhFbscV1vqBQBflJ5V/OCg2Yn8nPYTwkOWiSZm
2aWHaNLGz1nciY0L93pPUluWmB68bSgxr7uDYBbsZqYOckbLfdo1WTx968m9dxSMtgBe10gYzjjd
INsCfGXIt+xylqEyQ+idsvJsCA+nVFxNs+lHNLVR8pKpTUfVtes06xwDfbceNGrFX2cSnvYo3LBD
2MY2EFZhI6rd9/urf2MNdIeDya7iZAKGufxdtiG7VGipnxsVzWc6WkPkt7QhyXMJG4/3B7veYlx0
IB3oVknMw9VxaUdDpZeenZfRQCupHRrP75H/eZxQAUCnyFDj4qVOi3De2GPXJ0in0gl/ju4siL31
3o5Jl5sGJ8VzWQtFytyQF/DYvfviYRSPkqVOMxiKnpz+H1GKkaWoDrlpfkZNRPmWlUl4MOalx2gk
3Lp4rg+NxPBx6E3JSuf8XA7V4icMX5OipFXV6jktU/NUI87EDbEIJLISaMk5pFVKGO++ixiYEiEe
ZXSd2MmrgXO9hXhb5Gc9VfoDwm6jX+dz+N6eo8MoMNCBkhJnYjl+OYozWKjboMl1RlXF/mUUkPtd
YxFvodt37wV4/h4KVQbJASPw0S+HUslbOLgMFXqNThRLp8F1s1/3N75clYt4h0H4+1UXkQ7EyNdw
OxfRtaZxFz5Xlrsf0UzWlz2gBcrCWQYct3Yra0tn4taWJ4YEGANmhYtV/vkfm7FtNbudxzw/F9NS
/DX2+fLopKhIvX9iYDhkD5L2vbcOj2loaaIqk/xcD6pzxIGH1Gee+b+WgM0cMvX947EnQGJSxQJY
tD7Ic+PWbpHExTlJMDZclvx7S6/T77Ih8LT0v/uTu3HIAJup7HUeRWk/fbmEVm/3HTqTbA13XzhT
darM/IseEx3Xhh4eBreeqaqJjVvkxocDsA1xmvYTpABj9VLMXtSVGTJj50wp3Ld64DJkV05bYeD1
xS9DfehC8GNAeaxTKqG1aSaFAc9GBi12oJZ/jEsje2ydZZPjKx+R1fYnKSKmcCV+xV1TKZaFso46
h/VZoCu1+AXiHZ2vWijJU+F3MOcZaTN8VZu8/Qj+svkxinqYAjWMMCrh5k7bPUSQ+UuZobPnJ2Pk
GQ9z7xn5Y5O1hv7gWouCpRJRp7LHd6XoD07SZeO+X2grnHlHaymJzhE7ZuRdjuurSCsvJ14j6e49
9F33M3a9LkV0gw+yy8CJzAfqCui8ZoaoonNVdpGzoz1Y4FqYaPF8gKlPeoa4MaqZVNPD7EEBdaLt
LMi+LvjOhYACdbWmeoQbXL3c35c3dojH7aCSp6FGgqrF5b4M3dZkj6Tl2aJP84ZY5vQJl6YtA9Pf
Sdjqq9Hfp+8u0UZQ+OXx+OMG0dh5bt535RnhNqN+hNLueq+49NCdzRZK7b6qo9N7piFIm66Lxdg9
6YkRFXtEZuZkX9mD8S8yrs14csOmFtRn5yk+LFFd/FQg11qBSIHz/9UNatztegqwUXB/nW5scTR2
4PDIVwRw2+r8Fsj2htTeyrOiZMpbzh4cwLOp2mG2FevdSgDw+kirQKbwD4aJqycLDzd71ihPnPFk
7B+6KY0OiWPURzpiysa8rr8/1xGaKeRupI0g6C4/jNMif2VQiOOGWGzjgJZJb6DgVYzx8f4CXj9b
FCQoCjAYCeoVzMNJvVRzE66ihbi429V5jvJ+Yhh+FuJQRu2TBsb9Ea8/Gdc78TiBze+nchWOVqhq
Ntls5+eKc7ZD1Kzi2NFIw0F8C6FzfbtLWDbQM4Af4PbWq4iectGE5lycNVE0e31+Lutyh8cUxUFZ
TsadtJDKueHG9X5rTT3JjlMBOBGTyhX441TlmBRFmIMU5yjJUj8e3H1i5+ZOE+brwD2/8V7e2Co6
0HvUyR0SyCuZpFKiicvELc6ECvG+aI340Yzzd1M+qFnZthyCKBtyzuqgLejXaUj21We0RbBd06m2
Am9BbJjPubu/QW5MSMoFSfg57Dyy78vl64cI1XClr89DMU0fsWKLHsIM15X7o9z4SGAf+duBomF7
vQZWucgfQS0r6nNbHzttYNHKdPTNibaOoWxsiBsz4pVXHYlzkhC7VdYwxYRqFcqU54hq0FGAtzjG
cz5/uT+j69RL0qZIuVg2Aqg1E2M0eFfD1GbdZjJcQvuMVpaWw3uzKgz+JnWsdxk2XcvGSt440GgB
8A4CHYTNssbBtY7oS6SW63OTN+pxAhLsW4Xi7fEZeDfgnKcKyhFoFpldgm6/3BpGqka924bVOU7H
ZV9botunYtgKZm5MiHNLwEsySdlwXW5fYuAWS6PX56UDg1REwv1SAJ4/GX1qvzsL4uHVQPeRmMMF
WtuvD2hW47RSizM68O2BiMbbFSI1d7OGo+j97XFjE6L2RREAZTrERNY1M4mf7tOhEmcDFVATdLun
eIfZEP1WlenWQDyOUn0Iow5kUS4/0jQlQ4rGvzhjfJqifjFCEVOUrUz81igeCGbeLUjxwHAvR8nz
2Ry8DrlFxJPVD7Gy6C5SqEDaNpbt+p6AGwjBEnyivJPW3J6qLdA6nvT+7IVp5DwY04w4eqJ20XiY
FQ8xymR2xFZYcz05gj5eENTvkMEi7bqcHK61dFfnqj+3rZefB2IF+gNVlWQbYcb1TpcGXTQlyMCB
ta+PbuN2TVtMan9GQ14c6cr0PnyydgeFfKs6fGtKxMe24/E/cBHyp/zxKLa63VMJt3tADnF6HAx9
Qn5F2eK93JyQLd97iCI8VKuFg4nmAH+MhnOujcWz4oA0QKTZMlBkU2B43z9R1xcuOZwljaZQ0UOc
Z3UbDYaVtg1govNgt2W2H6PRc45Gq5A8WE7eJ2fK77p3mvMi+vj+kckM4N/TROKRlJv2j8VcTBtn
GrEoD5kwSntXItlcnszKA8cyz2CdnpoO+8O9bk9Debw/9HVMJcsobDiaC4i/rIUdNLOLXTfJmgAt
isZ3SmP5psUW2tOLGj0sNOg/NrbR7MD7hRvLfb2DeDlNWvKAZ6DArRksjSFaMRVZG/SKME9p3fKy
6ckW7vn6vLOm3FzySZM5+upemSat7kB2tkGmJl+GtMCuuajf3Lj617ba8OH+Yl5vV9gkEoQqreup
Ha0G0xITOJNqIxTUJKjVL9F8zMgrEPbQtjD+v4lml7meHEti4qknwtZa7Zko0cvQNGNUe0TUOnsR
gwnZI6Teq/upTsxMQj3BDEhIz7LHf1R9ogEx9F+k7SWut0AItc4348kIsYydug7NeaB1R0Qo6KsN
kSEtY0cxgMtKnejH/XX6feGtfzz4AQrKpCjUslfneoz0dNREXQdtni4xWNOmMD6aBjIKhzwv3Trx
Kbfn8W6cqtw5h7A+013eGkO7T8SUAatOBwLvpZ7b4YgdYRQdso6qSe5PUaG5j7XaGGb9qZhSQ381
EQ7RT0rjpj8tvs7iZzG3J4qPZOD7NI81zQfplFovACFwLx2pZuefdLxZhn0ErxeVMfBuKV45UV6/
3V+HW/uFIN/iQ6r02NbGSu1QqoBLzAyWGjAXdc5fiRYs36nr98dAjqy/4eJI1E+RavWIIzOdGCMA
52CQxZtuNIcTvtojTrDRcrg/qetz7aBcgIIaWoXMbV1TF63n8baFZVDxED+DDir2ue7kG7fH9WVN
SCc7wWjdkS+tSdckK23tuNiN6+7o7tvZTh6buP+sJ5+7CYFCfDLuz+rGp4LICmCDQiaJzFqxrVCA
WVlxLwJhxflbo+lLukd0NTtZelXlGyH4jSWkNyn7LbI1gfTY5XswLFppzFos0Hx03ySYMhh47zdm
dH0zwnuSrw3JBV3edcUePHllAVtoWEFrfEABdFnQuG+7JFCjzPwV2kovNsh914uILjTPDPExMfIV
7Q6eJCrqNY9NnKfx16kxR/ShFa/HyZ4Yczzd/2Q3JijfF5Q70BEkN1zteWMUgihSysQBSxj8zLJF
A4IQ+4EjlqaxCQp9pql9f9BbU3RploPvITy6olrryuyJDl+noC7r+iMUjuFzXrniKcX8ZiNquN4l
UOt4bWDAUOvmArncJblZ1BjjLF1g4hSv+U2RuRDlmmbOjvfndD0QTo7Qq8HUIFV1hTNRNBzgCsyL
YT90mj8ZGTjUyHg3kxsWN2EeZSTiESogqzfBLSJKzZbZBXgt/YgscdKK6WWsO5g3vfr+kr2MkAnH
qX0QxK6vD4FftGrFShd0Rpe/9aCsD6CEx40U/nozMArtalrzaDxSbbz8Qug9AU5VRR+M5VQ+Ipbm
+G5kTxKcuJW13/hGlEyZExE5p3ndr3JUXLOoGIzBWGfKDqAGLvcSlv/unUA/nKsdCAWViTX6ZlJK
uiAmlX7E0PAcwiP1g6Ity0YYdTUX2diTlxOCJ/ITrZYthdTkDDEw9gpDjZdOzWJfayt34zK6uh6g
p3JowBLRsJA008uPY+aJl+j9OAaZ4VBJ6TX1gEEf9j9KnpxGM9L9+2t3czzUF0gu6IUZ60hbVVMP
TUcXJbEp8j5Tax8P1TjVvwY9zk6KFsKfuT/gVWjPBPEdlNQ1GSo6q/uvUXLsPTxjDCwxm4ckih+m
JXmbRu1EMvpBC/WnpTC3Ao3bg3KydLaiHPxyVTFrEGq92Hw7VX3znGVHq7Hx2xpHpThOSt/p2g9j
seUdfS0cJ+dK+YA8AhwRMcHlsDgOpq3eVFPQRMD4B03dLwMoz7bQs8ewU5TPOAoNX6eyTMB4Fo35
2Ram+WsKrW/31/wqLOF3kD/+f61fOi1c/o48nQUobXsKotK0Ud/tRfFJodEc7bpQKyXZqVQ+Qc4l
D7k/8K3dhcTHb3o+5UJndWa0qadQpHtT0PfDjI2d/VMAw23Q2/e7Kvr7/mBX9xqz9IgiqT5xf5LC
Xc6S6rs99gm6jzEF+Q89tiwg/BX7LQytX+8eiawUKBXcVe6dtbjsGHaowC/Igk6YnpwxooLU1mt5
MA26fbg/1PWtw0jopPD2oKJMJepyUgtasnmdQaH3gLi/Or2T/cgaYW3coDeWjn4qxTmuaCkvvFq6
WNNTMZepGuClmn4s69x5LAol/KgPbbERH1wPpZODAtaELEtHbV33JAXNjbJVp8BNnfGQhs24n3S4
RnFSDe9eO4YCi8GtLR/wdT5HoVpzJphEQTWI4YuTh8MroV6yEdBdHy4eU74RVRp0Cim9X36helST
RGTRHGiLmHe6cNNvUSLF3wZDOWp9Ap4bMNTGY3RrFUF9cpECY6akuwpLYPa582QWc5BEwCA9OEnf
B1bdV6po+fbeHUhvECFG2dsH+bQuA0XZ3LQabLggoRn+kHfApfHnmPb3R7k5IZdggZgRhdq15q7W
/5bs0eYAbeivM3KAB/Bt0F+x2dkY6fpEgX1EQhWgGnE2N/Pl90r03HHi2ZiDbGoWbOu80Dc6+GH3
53N98/FpwOnhF0GMf4X3XvDUmGyvXAKa31+qrg46eqB+OYv/arQN/5fBOLoS/8u01gz3JtcqN4Si
Fni9OyN54SzOVxMwMMwnWKNnj2BP3+gp3JwfT6mMVX5bnV+uouRV2uUwLsHkQvbb1XYz7YQK6UV4
eguoq5w35ni9QUyNthZsAT4a+2T12fCgcecZ3EfghmUTaIiIH3vPw7Gv8eYNKNfNoUCLAbFC3ZKy
/+XcxhbzYneZrUAS+k9kLv/hwjkduKGajUld70UmheaLI0Hzsp1xOVJbzWHoCsQcdUdJjknZmyg4
UWu9vxdvzEcCCWSdgKYdCkeXoyRzOWi9WbkkuFiGDUWj/DALGEi4xFqv94e63hYsGtkfyCOX/tla
4SjL+9YqSjTuatMCldYXUMhzw4gOGpZr2Lp6yrf7A95YQeQjpOMLsmg0n1cRRmMsGPvQZAsWJXWe
owU0Q7eY48ZuvzWKy6XB7e78/l6XK2g1kAxxYHMCo3NLblmvLP9WsyzfuNVvDEPZVG46uXZ0WC+H
SRo3Ixo13WDOk+ig9DkWMHSl37/p5EUrpdeoGIGTuBwlLb0O+9csDLQEZ/usEN6hJ4Tb2HQ35sL9
Kk1IKKUzzurDVKUWZ9T3XFK/Of5lFYv7Qc2ibOOo3h6Fza1z7/FsrA6QSONG66zMxT987p6dvPL2
ESLZG5//xgGSIQRIEhJnymyr1zaa0s6BnekGKjJqiOIJ7RlZUpyBp2xL3vX3Q3dRhJa6rjyDlB1U
gsu1uJBdprUSFUhEaGRCUfuEBKbfCQcwCcjt3tW+5w706MJXMZYe0mrPuuxQfsAhK0WGc/4SYw2p
zN9n96s6t7sifu4UmCB28TVWXkORPjgero/CmP5ulF/3j+L12SdwlJcmFQTS1/Ur1DtR2mO7EPIt
wFQaeZ2cx1qPdkZtIhQeDluGC9ffnvHYW7+raRz/VeBFmqoMcwp5rDLcCW+YstrTo9qC98h9evk9
gNtTGKSuQAWN4vHlacFlrYO5tSAY2NZDQERG7yGB4e7DefY+gkLLzkbXiCfcJMtXsqxxQzPuxqoy
MoeV0qsk5q12OADYysYnIDrTZ4gDlDZw+ca3dE+8lvAkpVtqv9ecKurXFvsP7oZs4awFpNU20R2U
4SL4Ghgkge5wSgCJUQlAdmdhU9qfMgleeFh4apT9DGnzl2UVEuMSm7l7ePeeAiEuC8Gkjzz+q9kn
fQrdusrjM17C6n4wR/2spQoEEgRncRH19veHu47liaFk05FWPD3oNaqgQSiPJk7cBNDvk0OnNWYw
TaP+6IlUPIARTR9cexm/3x/0+gsjcA7tEtAJvRDqwpc7DItOJ+1srwvw72049wmaxFDZnMQJMCBC
0C6rlnarh81VfLWxScIMSZeR4LUro8IwlhLJNFSDqO1dZZegmT3smqYd28NvXsLTMFTLN1czhLMr
RlWkb4vX9fbBhiP6oRsoXCMMpeK8W8bYMGRcSHGYFVxBIF6oXtXQkLMEseodNMvC+pYsdVj5fUTE
86Lpg9H4dg+FKBBtb2afmjmvlLdSoXdBW3uyeuleX+FfVZRpsx+tpK/+yac+cugGxG1ESlf3RbWn
o5I1X2ZdsWI8hhUKsk7eDsVBHd24x5QZQe6jBZHqmzJ2bvNmJXGWHfApcLyDLXrVPdmTFPVAWaD5
1cDkTY4igqz6mIXDkPIzHUhl6uA5ML/CScfL1NBeYYZgNor4Tf85yca+x+azavGcHtJcy3ZAfZbq
pCedqv6lmNqoPGj1srQomyr18F03SRUzP4xyTz3UbZhpr+noudNLLEgkfmGInqEkUETzlP03GmET
P+ktojGP0dKjjppreTPu9MRGsSMZ8uh7mqWxdsqKpYh3bi5AKlHKsTP1MVYrl+bplM7pxNgZYk7O
YXLzxDg6mePUQT84U/wlU6soirEZdjN7l2Eq3MArJ3rygeFp4wfPy3WOgjdlYjcNCWTChnKufvLS
2nEemHbW74xOTeqP4dJlulQbLdvXXuSKhyqFvtQPuAmF/wqlW4pX2PvRvzbyJDgBIukePde15ob1
zihDaN9jm8Pxz/sKWYuWShUqUX3VCn9Ieks9hPSFsXSvOsNEHKVV1W8tUW731e2aSPsyU1ymwRaL
bggMa27RWELzOkQVvkINJk4Lpz8kwETFxyHPhr8XAynpZx6xwdvFCARF+1TNvYXe7ojsFWbTYbPv
c3Q5Dq1VpskJm9p+epyRKbCQgCjn+sinZo8ZOnffg7FUjb1vssmOz5mTZuNRZe0dP4FC7vxNV9uL
/hWT1qd7bbQ8AdMlb+D/lmpRfRBtElf7xR1F8SBqp82e1FjV/1qSOU9fEscScVB1k4BI0sb42Pcx
GskvIhZQ+FGOybtdFSra58Gc3eYpSREh2eWjPlgvOp+dPmCHMMOTo6f2M1JReLYLLHDbp4g2qHZE
SXBwPs8w8uJvSRUW+YfEA++yByYkujcRzcULQuzolhQsVHeqHC1SzvGQwhZGYMXWvpdu4/6doTyC
tHKB2tmLooKYOMZ0RuZT1tgz8iq6G+qqX6ZGMR4Mk+dTC3pseY1vTd/EydfRUmbtgxXWaJFmEAJx
MK7R60sUH8ekWcfJF6Oa4+RNdMepS4nwPDnoR+2WBMns50oZxWtCkSo0/NAo0uc609qnaawGdMIL
HK5PTtMZluK7sP7e6OqHUwWdJPeG3Ee9jCtvj9RSHH0mA4sSHLSTrPb2ZqQ47bHFm7itpN+vwqyV
KAuPBoAz9WXOuZ39MCz6MJgpjr8CnHcTFKo86zuRNmL/YB9HJIjiQbd3cMwVCp2xcL39RMFS7CcF
VS1kUYpm5jhm/YRpilchzubMeIhpuEZjp+5aWNV3YnQCF5Nr73FU4/pfI2abP2YIkVU/BDU8N1AM
vIzfrDlLf+mxmaRvUIDC5rHVpuEfyHEuruNoSHn+qNaqu1PcaDD3ixXN7mng1VfOyYTJ0YvqTZER
xIJv+9kasD04KanhFH6pRSJ+jSaL0hzuiM20b5DHEGjmGJ0ZqJkbGqDunLJ4VnkwZ8xBRmuBz9Il
SKPGVTfuxjqql73TT675IV6S8R/glMPrMHat+jIUbuaiyoZSo18m5Tz8d/9JvXrH6VATQct6KUAU
wqfLJ3UccGczncrkbdMtLkUYAnhP6/mTlSrtmXfcC9ze3DKKuQpIf48q4VKIq9OIWqUJg0euhpKR
GQhksiq/0pJk8PPWSjdSq1uzg/9F6Y+2DVXhVeCbGaTRuFVYAc3xfjhwxfTJ5wHbTGOn19VcBb2R
d8PjIAyl2wiQbkSHuAvIoj23AcCsNcBTpNwfcbUYENpT9QDnbdori1k+Y8kUBwbqtSd0ukxsnYbm
eTAF8jouMnj3v+5v6dPLmBzKigVvgVubKts6RwKp2IgqNo0g6yLsC6clyooDgSL8tHHA9nzmnNiP
om+hWI0FuelXQxNO/V0rlPkjt3wp9mWy9MioGEszWr4SaplW7ITulGl8wMU+NxyfG6/sz67b9kh1
gDZqf+kZl+A4lW5/DNt2UA6glSbPFxDkzCNHy/s+C6MhWnJSAHP+1Lddtat75PGODcwRvUQ9jA5l
4+uTOc6Fb0eD808xauHywQT0ML43dkYSAB1EtiN5A5NcbUdLoLdFLIWoyZL80xfjU9MMP73M+S+O
wy1Tv6sY9vdYsqwAVwkNBPnnf2AFRTlbdU/zNGhgYCEHpBeI0WFxtktrAy47lda3+3vgxlnDvAPk
EFOkdbmGDiFvNlu6wuRKvSoOkYXSZNQYxsZO+w0LuthplLzpJmGDxI6TVKnLeY0N3kZVqXtBZcNR
PUBdMnW/1IFI7SwL2bXdjMJg82ihG5nv3apdeJLyGXIZhlHKo0gSPX5oEysy93EeWwlEMA87+oO1
iGnYh05Tzo+mLRLEmlJncANLGnzZOz0skAZT8tZNvndoBthHHdHFb8iYjRBY1ahddjy2RvtNQyCq
+1aDUYfi7vbxX7G2EAZYyaT+V9Py7IMwHaI2sKos6RDus51sX4CaJAAkj0GYA18XRP+ayFV3QIiK
jt+XK/O51hbopPkklPrBCpN0OaAKF77WtpIPvtd7U/LemhT4JQl8oPkNoAMkzuU6p3FspnGuIoyJ
nE+ys1E+g6eOmORGe/162zAOubQsfwG7XKNToknTe6GjGa7ZbRp4nZU/oiVWbW0bfu3lrpGj0MDX
gBPB4F6dBoOIFmg9CiyIj04PeewmO9Pot+5imftejYJ4rqxLUjBaO82LpolJYdmbIGzKV4H87MFM
wu5TZXhx8N7TJm97ybqkOikhkpefZ2LNOnTJ4nNtlPk3XR/EdHQS9GXffWUxDtR3eEBScXZdeVfQ
Uk2WoUzOJS4Uxk5eX41PLBe7p7mrEcTs7SlX/4fJSd42TB3mRq/+cnIRqOsFcb7k3EbacFgUMWOt
RxT7/iV0AVND3ebE0jK8HEXUc7ksjpGcnTwen9yGvlZmtdbGXOQ5udwTsFN19HCQSFGBe8n9/8c9
PJtjr1ejkp4X2ja4K2rwMPaEkTCM28ZcZr+BBrf4g6P0tp9nRbdBKZU7+3L832x+iUjkdNE3vBzf
sPBJLhtqgHgITjtEdZFCdpIH1+i/ufmwtabXJwB7bSomKsEAlZN1vRy+aFv2JVJDoRA/NDUfjyUE
In+xAKq/9+tJT0m2JX14KW+0+np2hKEwrV2i/jyh9lYU/1rl+G4cE38zZFyq/zQsQLatHmzHrhK9
SRSFKl9CmjNMBNRieDfzjVF+l5cxX7EprK2u2j51XOHkc3SOyin/Cb6gOk9WvqV3dX3RUv2nOOR4
SFRTElmNkgK8IIF3orOa5RSuyyr0gri1t3w3b+wAKV3OfU6/iUhwNUw0N32bzUV8VsrY/GQthhHg
wTWd3SHR9/e3wK2h0HaiFEt1UCIlLrd22uX9UrZufEZ5dNyp9NyPaNymL6jR1Bu77ffGvTxGriTV
m/Igw5n6DSz64xg3RovEowZhdkwrc9j3nlkPflPWvFm51VPtBsnc5D+aUks12x901EB9z4WVubPi
GaHfxXLj/KkDhpA/iiVKtKO9lNDQS6xh9MAYsyHeKFPf+N78XE6jtEsnLF8FSiCPq66rtfTcm9QU
HzQK1cZDvzSkofc/w/VAMuwD8aCDu+EpX31x2yyWpsmi/Ny4bcU7UWQfLS/Z8rW6vsfk8tOC4ymi
E7N+E7LMxIwDmYZzn6vRC1qS0l25HdC81SDdIm8aio2n79a8AKqgsgFwlu7J6vCbWK6mGK7C5+0X
FLtQ500OSZia779kPMCYEnjMJgYIv1q/JsWp1kgcSP/U689UAwMYB2LjGbg+KzRKYLaQgJCnEqNc
npXGE45WmX111idywl3jTilqYL3ef1IB1G7Zt8mTd3lapOAKdwy5gEO/S78cLXOWuU86aMNuNZsv
NUSFhcp5rxQIiTRoMWrAq/Of8ViUE3C/idIU9zmyB+/emLLaQCKE+bTEOF3+CkcJW5IwCvhOa0e+
teTKE/Kbytd3j8JLBFwAAJVMS+TK/3EzTFUiitC2wkBEmfYMH6XzMR0oNr6fPK1/rqhsPqJWA6ed
Bwl8wmpFQ7dWi3CEXI7mRS9OHpSr+SEq1CHzEaNdxofYRTHVr6wQZ9/7E5TLtBpa7hzqC//H2Xnt
yI1k7faJCNCbW6YtlpFKXroh5JreBoPu6f/FOsCBkpkoogY9GDXQgCKDDO7Y5jOUW3AbVkdHtSMH
NzUH9q2TuijIjho9eE0fOoT6nbj1Yy4rzR8SqVKlMIDdWH79GbJzC5427EHSQbh9qzg2ukM/FUVR
BV1RKbtOH8adrk7Rxtj6xvMlgqlLYHkB9i2/4p+3CGsjwmFlroJ80urviCeX5a7sRH8YLepCpJ+1
3ZQm9ve3Plpg0AuYkNyMULPWsRgnNKg1rWwDWOh/03aqP2hFMR7UZSwczk56Ai007Dphux9fX/j6
oaInCqyQI4X8B7Ouy+0OKl4PCGu0QWJ4mAHBKXxqukrfOLTrmL1si6EdnocePTiaEJer1Mo4O6VZ
iwCDt+4udhnUyU4bjqmeD7vJNNLTW3dlMD7zKIiAhKDts9qVzFE2AypeBkKl3W51PRB62rMbu7r+
HuDmQpNa0k92tkZrIF/turHqNkEkurDzdYum7q6x7bHaO7m269VzMk9te9dKdctg6+WWu/wWF2o6
w0FqcrBUa70d+gqpRBukDUI569ED//bLifLoaC5a83sNoDb6YKJZmr1tqQvfzrypPqddNNpBOtdd
tqOzoOk+2AwsK9ghFWTqwf07KJM7p0fPnmT+OC9d6ciH2tnHx0IigPOkJfX039xN5m+y/76ioe+m
SABH4ZjetUZuOTvVUug/IinaikOLG2kOy1xLwlM4NhJXh6hTP3f0zGm21wWyS4A3u9FHz7oadorq
hpE/4l3s7IawMOz7Kcy98HEeOrs8ElEnayesYcp9glQqzjLtLA2B+FJH9BlKePtpRKjbe/JCfHn8
ROpM+ro2+c8wRif+WxlzN38xFDNOzwDJ6obhHRaViKnF/ce6MNoyGBX04vdFVHvm/VCNarg3mmgM
71Szx1vAxYy6f2A0YXweQ4/nVhW0fPaoMhhMNpQcbVGltq1vQF9LEYyi7L+Zwqj/6I2aWHuEzdti
pyAEod3HuQu4O7XoEwQl2Lq3Ki5yA2HjRHqKeQ+Yr/VdZFfCi7SwoUmae1OQZTj12qLTPjdzp95h
Q1C9b1owFT6d2i1Pn3WCQQm9OGGy5vJhAPK9/NYzpyJ8y6kNSGtTl2fWTj/12q4brgZv6uctZs51
bCFTQj+O6p1BPXnh5Xqdy6TXDhsRNMiU2ad6UKz2wZgLO9slTWN/jMtMdhtt/ht7RHMAnUEuwcX1
c7XHCPAUBnczvHmNqwhFx9ZXDKq1zJjfKr/G42R3QBA1QhrMoNWlq4fVxIUObz63uB+W+VhzblBZ
+lrVXo1Bg5fJ4+vB88YDRbfXAr+DZuQCpb98oAXM13mm3xLEKshEoKNw8Che2tI4hJEpPK7eytqS
B7jxRF9EbHie6ObAULtcdIpTW4+F0wepi8+7n2hqeFC7DnWlDNbdRkV0vUP75TLiuCwGxmvtF6uM
Xcq4cQjIe/NnymB8yqFCnCDHDe9llm5lLjfWW2ScYIKi78qzXeWfYTaij6brc9CbehP5SYHHjy9V
6Oz+HBc9sw5RhFsA1usnil0mRD/+ISeF5nX5RJkqKpgC9WowWHb1lI9lfirtKP7ZEqU3Cr9bS1GU
IesEOAca1up614Xemfg26AFS88mPShEjWusM9IPWKuVGwnK9lrPQaRcBE4ZcgN8vtxU3Wi/p0RjB
bAzyjrSGYNrj8jQ4qJC99UMgXSH5oeFDdoQYzOVSZjMhPpLENoopeUjZIKeHstWzD7PexQcU7ro3
rwe0lEi2aBssco6rOrOaYpSxTcUOcDxJfSVGg6PI9GOt6x/AtYiNGPYie3mZQiy5AzURTbqF1baq
JKQ1xJoCZCVIe2T5dkgO9PkuD+tc+RD2eTiCEQqFSsM/Y7IwahES0qNpVtFJUe1RfolHtRqPNM+d
X68/9uWxrn6XjugOfAa6/cxqVweXFlymyRJBgrHDsaDAvOaoK060MW5g/nW9DnMNJsL0J6EmrbUf
EV8Q3FVdzKmNQTtVi07h2cYhwfgom1TQ3m47G1OPEmPw7jSFgLD2Au7dxNjIbuqfg2Pk8yGra+ns
0VUw1Oeuc/FPjEt3+FTNuat/ztwsN/acrQZjGFUbreNg5y7TSUY8yo6BnF3f17IM4TiMSdn86Aah
1o+5EYfRkRiVVftI79z3WAWn3iFcPJQ+2wxQHxhmEjt0lOtVLB0Qqn9gYFXh4oZ233CfeWaT35Og
VEEFtIsxKIm/ssOqyv1cOMP4i+IMbM1UM97fZ/DhTZ/GeGLvwGpEho9PCQYf7WhYf0QeNu4ZKG0B
lqqcB0wjohY+auvmyryPcfHM/+Qm3hN/sqif5V0fG1m4Z55rmEERAg48zjImhqsyLea/VY3V0Tso
jWCNY5Qci6MBtqL5JfK4SE5SLQrumZDgjM9BiG9Xx0Qj4cqDrdPf5ZC/I8zf9TodIh+tsrw7U9Sb
9T7VCvOdU6Wyezcknv3VcMp2OmJBzvw5Q69AOVqjhyZLDLbDRcWgDhnA204Y7lujiJ9xyCu9e9A8
GPY0LfLYmB5FI/XX7HyhA5XXu5xURxwoPp3izgkzYWJSOFTNIZSDpj50uRpaBwjPQNFixCmgejhN
gXumIwwHGckm7sJj6aniCYc/lAmBsinasYe+9Rv5U2XYNWS06gNTFyuCS+ph7FWKCRMd1VXm+aDE
DB73i2nIL2totOak6nnzZcKJxwsK+pDfvDgzG2r/VI9PRuHl2sHGnar9PI/wkDY+mhufpvOigkRu
sHR1Vp9mk7ZcNbbXBK03mI8oVWhHMVTO+a0BgM400myopUHMJMZexl2OcI9FXN4EphOWD6NbFaeE
NGXj0rqxF0ZKZI1optFzW/cRnambI8uqqsBIigL8Utm+s7Go2qgRbwQZBtTWQh2gbQF+/HIvmgj7
zG6jOuhMkMH23MaHsG7ak1FuUo1e6s1V4IRssbTAbbAXxLTLtSJtrHRtph5NEwMloEJPqp+JtjjG
W8hW/xldlLEPEY4tv/U47e+NhG+vwV3H3k8Rs8ydYWWVe+yl6n0wMyNKgay0abszc1P74kiFWUEd
omNz55YDkQyJoS48eUKbtqQ6bj0z3szSkFj6POtuQV44MTzkqQ6saShx4HLG93OmaX88xXY3uj3X
Sy1HjXdDvrv01Jb//m+3RzEtMRlpE9RjMr2LolYBZpmDKURGdv/2U23QWVp6WMQlY/XtFFGnWHoc
t0EtteLgFrbYkxJupWLXp5oRMCWfAVqaXufaytdTEBHKtLEJ5rFyuLWZtfShGW/kDtcJLau4zEwZ
7/CK1tRXhQak2YqErhGDywfEjKfTpMGknFq9v4/p6W5kRrd2xUdKz5+pAn+unl1oAVMBUtcGqY0l
V15FxqFW+3ZjVzdXQcPYsNSFlbqObt2UlxLYxfKGkvTQyALUZ+1szYFvHTmiGtugg0sxsPyKf44c
VwlQ9iJtuZulvVcd6Z1LT+t3cq7CjQ1dN6iwPaBjyqdE85QAdLmU0RlkP8nAa2Jmvyv6+Kvbp6d5
0AxfndWRlKQ0cGbTPrx+0m/tEHVG+lMLpx95uctlu9zOytDWW/piabpD/1TFvBLbVtLarYN4aykG
W5SrLLcwfS+XUuTcYzGA0amlWJiloe/MeGjvFOOwf31Pt078EouWigpavLUKFLYXK+Y4FG2AJfaj
g8wVGLJEoq9ZFESMcKscvhozUixybyD/C5F9ERxe3YFFlyqJUFlviLL0QUu6/F3kOvKseNgHm1Pp
7XNJmqlQNX8dgOk/DXGFFSfmtd/CqCuOEmDILjJgxHlNJn0rjJSNW/rFzvjyumFchW7lkqcDwVoj
OUcx6rmSYlsYFl01Hz0rIyf1MtVLdpSJJeB1tU3Do9WAbvfdpo2Vfdta3udYDNNPd87swY8Vp7X8
dDCr4UD72x59J/IIjCHGeZHvQSJCCkKbh9Ef4ch3vo2l5HPSUcHunSEFvZkBpY43XvVyZtb78pb2
P1AQmsdrG2fSw7BTAdcGDQJPOzce5KEr8Gt884Fa0GvIGqH8yZla9QSS2FWcyqpEMIV6tzfKOPnQ
oM2Dn0NbfUcBlRL67QsScFzWxEyCxs7lpwK4d7bE6IogwtwBuDGelGk9ms86Rt9/tTQMN3LFq09T
Y16D2wh1DfukF3i5XkNVCaZr6gPLhQnvG3pN6J5bnCp3du8YH1/f3Yve58VbY5Wl/4ds3wsla/WB
VpUI7QYTXcS5tVZ9ahg/D3ALmsIDIGeWtebHw6S7uwSCuXPo7MYqfuEKWSHfHk62dselOjr3U+em
2qGJ08z+1lfou/lT1RTIHAu7xTCp0Zxw3ldd2HvBHId41lEK2IkOigJkf3Pfi3yEvNshqf2otcpA
PRMNGn6KMpbeqS4KTd6RenUxAmSRR2d9At2qvh/HOhS/Y4WS8U+J36T3uTQqiiFTRaL4QY/tTD4P
bef8sbSo/EFLfpl/AZtHiC7JM/k95d4UePIamefnuPCGh9TOnacRhEr+0UjM9BeUAPeTuZCE3nvT
bFkPcu7y8aEeaTu+NfrDvQG7wsCVt893tHxe/9xvI3wWcD+9FjRgBQ6e1wG0TgBHItW/xQm7PmIs
hRwwCiovEpyrIw2JysV72NaCIs3TT02piD0tPFgH0kjzjUzx6gJYWulkiMg/QWgkwb7cVjRO+FaX
nRYoo2n95w1dDOezc82PyB/Gp1Krza0TzV94eaC5bMBRo4q3yPau1TgUs1OAJ85GkBA+msM4zSI5
zLNI34u40N6qbU+0IxWBV0jdwKR+3XsqE45GUwkryJJI3SMk6vqt2se+oY6/Xv9SASde74wHibWN
yw2HQPAq9Lnx6HloRc8BGaQS/9S70eufbXUa5gNNMTga4dSDlxFa14iPLfSbrzPan31QJPCFdgMH
HD4EXS08TGXiPYjS7OkWlK6o2ycdpJbn+kIp+/m9Br9l9iM0QspnfC+TaleOjf3Q0L/PAJEjS7if
tSG1fcXRJhiccwZ1Ihs6vIOiBB0FvzajeoSmkkfpEeDLlO0FD6U8EmIm/cM8VbGzd7XJdZ+l2dTI
OWSdZQCzL1zQ5X2OZ2zHFyYe+LcyP46KPY7PxPxw3vXSgiukNq0Iv8eGG/9AtJDxVRTPVnoMvX5Q
Tzra6vaPQk08AzCIVykfcNJzrYOCD2x0tKwZ7C8ulZm3a5jYYys8YzX/UOWu/bPoZRHuhmH0Mj+d
R9D0FrXcf2rHWI84UXb2CQOhcth7iZVod5oR9R1QgiklhyiAgWr71CnyFFO1bkH7JrWuhH/B5mum
n1TWaO9FiejVsTDSJMEZe4o/4ZmOzzJ8N++/ZpiV+TGv6vypRnD0A1kMVsHFPOXxIZeK86On+wcd
MES/xB+snupEdsuEKokT93c2qxO9E5nOiT9Paq0fBUcfV99QiX8jlBUWfgP2CKPrKkm075Ey9NVB
j3Npn9JWzu7O6xI13lVunsPOxpEE+vVoq19JPzrvXa6jB/o4TDKrjm6eyvTORTAoP6oxEvC4yVMo
Dr7ea8J+Z8V63B1MpfSwc04oqWB+Tilshtc/h6uPYQldiyrlMq3mVl6Fy3aMgGd5bhJMCed/mCEE
YZSBzXfukcWpqXYOCd5f0jROt1z0rhIdlrYW+RjEYMEAXCH0SqURWgaDF6jDcAbPWwPrraJ3r29w
DQFaIgsTTP4BMcdAcN0BgVJfw7m0qapqb+amdDvMlY3YVQE55KXNJIvibsKxo9OT02jgQLHrm6nd
Ale+FNirgIqUh4XDKCGcS2P1Q6D6MTaDQxpoljTcZwzlY++czSRLO1Maan1SALho927dJxXZdYtr
Jf0hq0dcPIrSQ5eWY/8O13m3OOVWGRanRlExlF5EeNo9U0YrXuB+NSJiXql8L8J6Mujq9pl3rDG8
7Xe52xVfE9n3X8k+cHxzpCjMfV962bhTe0XVn5uqbvTnrsiMn3aEsvNRmeLS2lV5PXRnwpKRPJo1
9+vot5OYVL8rSwkuv9Ka9K3JG00RVEJ0hA6YAwLKv7ztGiQ1ujQBMwgmVjup1vjboOd/qNvE3UhL
bxxCpizI/YBl4pCsG2RNrMlBTk4ajJ5snrK6VH/QSk7Pbz2ETMFV5M4WBzD+XGUKbtGjM9Xm+E5X
mZP5k1VmzkePKTFoLZyElLNZ4E9+TApVyfw2bpEE8qUsrO7b67/jarfkQ/D2lw0zoAeLfflca4iW
UWJ2XjDiPrHr6Eoygje3BHmWv+XypFOOvZDlUUQEP7/KVUYPh8FKKF7QZ70+HcH74vo5q9gVu8LK
HgyzNCDm9KFwNl7m9bdOzU+FQR6+EPXXFLQStMbYlmp23zZ9D4wiOXaaI2BHd3csOvtDJsp9pSYn
q+6+vv5kX2bul5te1qYxSEnlLmi/y0frxaMrQYNm96oMe1r0et/8Vlw1+2CnESIdUaKKz2mlJF8B
gNT9eXTjmHinoBaCDVVlPUyMub9DqPFK8N3loO9d8NfigFTqODzGUu2S4+u/+PosMHVaVIwWLBso
6dWZBK2eYzYd5/coHsuDqjTjKWOgsnG/XJ8FCkwPbAQCwaAS13hlmkzmHClNcR9ZrlVhqlbNnzSa
hMnRTlSMw6uDN47T+9e3dp0s04emJwNCCe0E5sKX78KuO7Ue9DK7x/fBOVSjrX9zjFIhrjfpF9Ou
q7eqmWLLBFDCgHi40B+NK2hiZhnJAL/8XkNsqPZNbhzcdpUt3t6NV/aiALMI4C8k1uW//1Pb0LmI
y8kdsvvaQiZvkgAwq2jcQpdcvzJmErR8aPwgr0EQvlzFyyc3mgGVLB366azV0fSuF079fhJSPGd5
0v+y1G78/NZXxgNkek+jEHQnAvuXizIcMKUeRsW9m2ftKakj7auLctlvT2m0fdXX2kY9df0okRlE
XFxbQNwkPktt98+j7Eh3hQT9cA9Er/aTmW41dUGxe31Xy99yGRQuV1kO6j+rZJrJMA/U6L2amPE7
G1ICMvd43AtAeht5zhX1Fbwo6Rv/h/QfTfF1yy4e0i6b7Sm/HwrR/men0iNFiLvaYiA6y+zcGm4U
Hu2akeJhTs24Odi2SJSPdAIzdxeWOgepTLwR7628gDtQRE7/2bLr+kfSeflfQrqB/sfE/NYQpmgP
pSqbCdQhmg9PNDwHsE+9prS7KW9k5HfCLPJdUYaRAxqRYeC+0hRhHLDZrn6WI0s/0WUTFUbysexD
7Mbl/AWDbrN6Yta2aXl49SJoBVuLCiOTD6TDr9RitMEE9BfHQUuOtbdilEuEbPVDXdtbHOzbS73Y
VcI/YhB2+c6Z1heY50VxIOzEQSjXpGII458FFc/p9dN1I3enl4bpJ2UsoXyNxc4SKzW9CoqLwK7K
B30df7WdyDqbqa7tx2aS0HeG4d6dvHYjwF59PcvjXAYv9NdII+zVHgsMCNyh5nGOVuee+cTUUwcy
e+M6v7UKIx50yLAZWWaKl08S/8NswlpUuXOjpnuq3bF/DKvUees9yF4Yh6DhvFyH/O9ylRnEqgJe
XLlDMjx5aqqxvs87awtHd2MvFjMdAs1yDQJRvFwF0hv5fiYRa8IDwjklVVO/10Fg2efXz8RV8AZK
Dfme/FljEg4r7XId1E8GNFXSKFBstf+Bj4L7HZuKDoMKOU7Ox6EqRH+arSzcuuhvHHtwUawJ6Zg/
1ohgeggLDStU4Jy2CzAwiWu+7aKlidN6XrIR7W49Tp02MsklHzPthdU2MzoPI7jgQHSO1x8ZburV
3qpsYs7rz/PWQrSjUNyjQlWveKd1mMVFHoYs5OGMjnSNODN/Tj+/fRXa/S+soqUBttoODGdEn4sh
CqSj/PUaPT1kerjFHbsRLpgy//9F3NXnRICHMwmemnBhT98LT9AatULZn2H+xz+bpDN2jWZnhEiT
3svbN7jA4sgo4PFezdRVZkm9dCtA3rXwjg5Xot9g9b5RNt46/AQMCDCUj/CY9MtTESHO0jdxGwea
M4lj1Vdy39QfrOYJ6wHzmJMJb2zrxqG3EZFcWNa49sAxulyQgSDupZaaBHpomj89o8VEdxztWT8w
kpq0jXj/UvZepBN4PC+8v2X6DWprHXbHjk9vqtIUOpOj4BAB4WyID8JaRhuj6yCdREhg8jVHhmJF
u75TppGbGNw7w89RGfE/bwaxl7pN722OB4Q4jdSls6QjNKbuW7P2tPuqjrtuH8qOEZAK8OdL5Xrl
f7Joejg3XmJ+nkFHmY9pqySmP2NRPLe7qE8t+yNqAGQVRdZb+tH2rLY724WRN+/LbDa+xpEKrv/1
U3WV5xOvISGAgWbCgInAKr0C109gjwbsV/EqRTxHTHuBB6E/KepTIostguH12+Ymw5iJu4j6Fnb9
5duuY0YmKXIggSghC6gpQjUYHuY+qgdvRgctXBzk1xgr4s5EDXO5FEzGsGlraFY96q3H1sqjU12V
f15/fNefC9MLD40MgI50QNaSrK1Z2WGuoIs6FW5yML1BfB90N3+oikrboww7PGVxv6UF+WL0dHmI
Ob+0vxZoAHF1zTLuzGxqqJMhO4gst20/G5RIPOkLPuVOSUqRxn5mDp73pI16XLxHMqs2wRpaAg2K
UlXD+BMupr36RUn1bP5eVr3y2GZzqfsjpzfZ0e9uP5lmPz1UI+RC2FIuEl6RKEvhD3WoI3VkltD9
1Epk37IK4VtfoFHcn+JIKbZKqeuQizDCIsRAtwU82boQrduBnMNu26CPbDH4uVPMp0mP1WcZddMX
ta/lqevSebgv4kkYG6nANcKWxIZPAzM6amCN2HF5iDQ9m3Ij7UVAXxqhCZyyEIBC6yi0n+rUk9ln
meS1eGiyxq0+8Oin6E6TWfkXRHdsfLUbMek7NaFF+eH1c3d9py4uYHDMuU7phq1vO48EyOtcUQTS
oP7XJzG/01DG+O/1Va6/VmhlHtBpJs6MztZmJonTJ6D4IHM6Exh+vwYzmuzGiCLpDP903nKvuI5F
CzgD9WlIugt1b/WwUdDRjTnkY8JWuC4Ppqsw77HAz9a7ObbHr1ZmWL9f3+HNJXmtNoeLqLQGqrl1
3o4eqtBBi+PXrhtU+9AItz9WZe0emjTbskO6ud6iUwF4iNbsmiVoY55QoA9GUBqHsD6mQxx+0bOy
eGbyyxWTtMxRNi7YG0vSC8DXHWo9H9A6Z6laVSNtTuoAiLQ4K3Hb7nSjjc9Yrbf7DBmjjXTvxqGB
oo5KEf1L4K9rtRmUzWrRuHEdmFPWHjUtnx6HrHXuBcp2W5/nUlhcBsKFzUpw51MgV1l7GjOaM0fV
luBM9QiISSqtyYFW4NqfJ9RUZZCK2n3fmUP1Hlw+M4Gs4NjurK4zi2NiGIguWo7oJkzxxFAeXj9a
11cDz4DJCZAjqkt4fpehoxAiy2jdlYHbFBKhXuMgirT5S8Ok2I0txf1eDqLeSN9uPfx/F13ixj/d
EqRixdyF0OBU3K6OIi+8vVZGSHGqWvU/vGfmTu6LtCotp+Wn/LPUhNS+AVkGrrtZaseS+yLQ1ULu
sVbfEj55aXGu3zMpIs1BynT4DuttMQwC3qKVQYjeeuI7qoKOZGSEwxPfLw+3xYSn8nXphf9NfeWO
D/o8Rd/ph5mtH+Z5+lZ1ZJSCaY7jrOcSq2jxr0pEJR68Rgvh+deIR/pKR1dm7pK3eiWzCjChRYgN
qjhgzVUG0ynGECMgXgazyDAhtUwBWtNpNlLiG0eGFEJdHi8JDFHw8j3agzkrg9KAoo6Eckb5eibw
lXMgQ+Lu65/EjVtrKXBJKclZVNLOy6UYC899bNrwv5nrg1Ooseuuc+uNWgHLY4POS5sAsaMFwni5
CuwoIZCxQLFgaJDlV2rjSc6Z2L++F2h0/D2rQ0mzlREJQ1jm3et+a+H1TggmeAiwq8rn7wkw6vmH
Ad9BPBhFVObVbla4vr/lIlMKJqJJ3YiD2896vysn7EI/qrOGpRo2N2N/sJO4VZhEYkJ51w7KpP9X
ZLXxBRRAlZ5o3uA+r6cZWtGGtJpoN6ex8Uk1c6oWAZTEfaQ2TJF3tcdGcw+t1YAm6nBZsM9xOWrt
fWtRKvrU36XYoZWZNe9spZ2rxLdSLXEiXzTgPVNflKkSnyZHj7R9PiG2uq/c3qxgspT57Du91eYA
AUXX9T/Uqp+cs7S6ogwSJVeTnY6Gdn0yraEnxIZ9J2HjxU2xm8jcfhRhDma17nUt/tCXhVMdOhJJ
zzc0YUVPGneT3JVpOuUfogiMVun3Y6InfqrqY39EbNbucRMJzfJcNrlj/y5rfZLQxtypvkNSszQ/
FMi3AZdmcOj8Ti01sgMnrdTiABEjCf+w29baGcINbQAjoaHS0S17+yFKpIfo2ox27rHmbT2aUySi
b25j19/DYRb0OLMGVdKWNmxzwlJ1+DHRKaz3lidt0x+HFu9yJzGV5hybikyenQlpV6QIcYhsfQOT
vvyEjKH+NepHaNa+ndTpJPco6Xb6HzFNRC2U7tBoFX3ufJJy9ixEeFtALGWLQEqWlDjUuYV0cMeI
bYE7O4ZwefE4dwwdTqEaFrqvVfPYHI1QbZR9JsPE+TIO3O3+YBtifgb82Tg8KRScdsA5J+17Y9AU
9HvTSn7MRlLqsIN6sz6gweM6Xye9lB9yNUdgpstaMT96aizyU4f4x3jAmZWb0ndkC3naH5su7e7S
qFK686jVPVrPjkekgu/JofNrxu2Fb5DLDUfM7/Q/g2HP0ZfXv8IbEWVRI6BLt4w8rqbCJse2KDOl
5mJI0ewXc4/0c1Q13kYSdSNIsg5g0gXuTZt4FVM8pHVLDCubIB8zKNHoeaOZPEnYQj6T9noLWnpj
W0zBqJCh9QG6WBc90E0GHWfEJoCr1uzVuAk/67A+Nki0V568REqaPIADSBDx3FvD5c06tMfYRrQV
OIMXPgOQ6b6DL9c+5CBru58RE575HZlsMZ+nusQDskq9hiPbl9K17mojtbLHaXLTZufVDCiDltuw
2ymdo39FCFEXT900TCnakfjo7u3ELBqKoTD8m0R9jlx5oxjpJ6ub1fgdJ97oHtN5tuVdm4DY9Eer
h4mqKh1anigFuMm+gqRQ3L1+fm7EcDJHdA4QJjEo31ddwxHmnqalVh3IOHwEz11+k6b710AC6c4c
sy278evXCpaeUkNnwERCvi5w3LROEexyBNl/m9/lQNseR11MG7fs9Z4WOBKQDGbodHfXQPcmMoG5
INIQlGMW/lpUjhng2nn9pIVmqO6M0JM/Xn+Ky1O6vAlt0KJMM+BJUSivuyC9hsjwkI0yUPuiGQ/S
bORwLtu+MA99lkeRr8CwbM6V42SqbwnXkLtMkWH46a0/g1EOv4BwgJjHlSar1mlea5sTVAKz1hcd
eAS90shlXmhBK1BYexEVAE2mxgakREux/7z+A16Oy+WDQDSYihkpGBIdvozL1MOC5jItphIBIh22
tR9nr34XCiUt/LwNsdeWceapuwlJsQfXVtL5XpZz3e6NftI1v8oKJoeOq7QGnZSoTHe20oXyUJip
sHdoDjbxSYZt8kM24/yugDywpfV0fXL4+Yj/kqKhEwra5vLn5yrGZ0NP6TYCsPKbqt9XCMTtItE+
ULpYG4nnjQKJQQ4xiCmYthygy9UyJII1pLTRGXPm1rcIUfsah4KZsY45z/dExY2R29I/WL8d0nWQ
7ODZ6EAu2/+nYqHUi6tEZlwW2aQ+6oYsYZ6KDhODvDljJqcGUza74Bw7eyPMXH/4bBJJVIQjl9ny
eqSk9HaE9GBes1Waxzniovsm7LbYTzcvKahPjOEY017D40pjRCc+rAOjKvudIrAAnctW2btqOm7c
h7c2hJUJTXu8qGjarx6lkGbEbIClIjccGt9IQ+1UZma/8caujwhteqIYZQkwG2vt2duq+qRGatsF
fZniL5qr5hPwYn2HU8KLPF3yPQ7taeNlXX8FNmAbbjgAZ0girIHUkaf3YSS1DvbIkE5Bk6oS3JOX
KpGPg+sQnYGQ1ltWyC8ZxOXhXOjyC2ceFywg46t2QQMsRmawaAJu0lj54CWyVT6jSCHle5hEffSp
8uZ4AtJU0qOCkozz/axJRe3gt4BZ3OWaKWe6DEX9A+Szl35L9BbEcovfa/R+kJ3tnignzR9q2EUJ
tB2awp8Ts1e8vTXU+fikhFPSbvRnrk8JFwIENnQqMR2kG3L5wYWN4s09RhaBa+F1YQ/5/L6ke7F/
Pepef9ZLqwl4PWAbTspLt/yfz7qDo42HkJRBQ+m1L8kYml1I4tP7qjCSr1Yx5scIpad7GTvZ26dy
LE4RiP8b3TW0GC632NtDJ0dFyGAGCX8qafr4toOI1OtbvPEgGcYxYQcNQc25jlxzojAqilnFzhUz
MEat+KrW0tzIB6/jx9JKX6RtkfkCYLtKhtzRi6oytniQZTp9Mex+fKQ61M9GhWHE/7Ahm8/rBX1B
wX752GJu/0EXpgzgh+noGsA4a4xcP/4Pq9CCXFqfEGnXrUiBpF1cGHEfkIb2+6g2BuRrq61OwM2X
AzYPXCjYaPo1l3vROXx6Gtd9gKC5d0y1SZzQyJ+/v76XWy9nGdK5XCHgVdbqzXWrtWncuX0wF614
7no9Icw7FWgkS9looFwvRbsJShvzQPBk0DIvNxTKyhFzOpDOSa28K0w3+x0KHc4E47uNAH9zKdCm
mE8tk8a19C/00qj3BDAbyoI/DkBiP7YaegO9suUZev2WIH3SSns5cUA2V28JHM7UVWayKAYhzTEp
FaKuiJQcXn9L13fH/wMSAVAmh7qSJIj0MUwxVRkCKXU57wsGKyeIFpX6nES8Wuqkxkz3r695fUmS
hEGpXia4C3R2BUoAjw4oP2dNVwj7/WT3ky/LZnFS0bPANuzkqLjV1qd1Y6OAcJAMQoedJGA9R8d9
AjkPdB4C1eiAx8Wo9ua4UTzHrt08hJW+5Xh446BQDiNMu6hmokW82qTtTDA6encIFAmFRdqYLXlh
FR3TtvfefGtReVMZU/DTviciXh7/DNkRmFbFGAhXr85g/Mc7KKRbUJJbDxAqg83UHbEgdd2ltMwe
fkAWj0FTdXaFz0WGnU4l9WQKEt2Rn4s519+O1F/Ib3Qy4dtRHq6n72XPuNdOGxScMxCbIXRKVGuy
3Mw2rqtbLwssB581Qk9sbvWyRrNKcQDoxiA0qjbIIls/lQZuAEgGNRuH/8ZjJGuiTWIuqlUMnC5f
lj39H2ln1iO3kUTrX0SA+/LKWrq72C3J8iLJL4TlsbmTyX359fdL3YerIoki2ndGGAwgQFGZzIyM
5cQ5NDxC4am3VmjWczwP2TluXXFKcI7XwSj7A3s7S6MOhGsErwyCeN3A661KtRuYPm8qyhX/zshi
wSEYWmVASm8dvMd7a4MjyzLl3A2leflbfgps2qqNak6FdpvqSrm4JWrehZkXH6sFDYI6PGRJ3joS
GgBUuAAYMdanr0dG8jjvaqWgbaZnrvVBpeZ51og3vpZZUb2EYBg/5zMEQo+919Yvy2Yo+hSkR6bk
Z79fZDUBpUIfarwRdKsXLVUVP0IV5PpuK+R8EkVJHE2suIpEGadIl6xAutasl2Z+pjsE9wSMIfXw
7sQINAgUYNgAEEIx9n45nY1WSdFwrRujZ0ZKs8NPi6I07+WkYdaGXaPxT2NRpdl6bwWhLjMtUE67
CZeYhqTPPIcwNftVZb6XmZ03BUg0ZUJgqkwwrmMoyhhazKDxdOuAQ/uMRZZ+k2n5ybFj8R/2DoyH
i/uVVN3rbm5eUYGeOnW6LYyX+32oZJBBOEfP5fYGyxouRgjcCajXgLOyVbWlnaGx57grCF6Omq8k
w/Rko8FxeXzq9kwxrs88O7EHBerVqRtdKzcdUS834bh0fYk84t5nGGDMngbgdP97tzUTqAZkwJLP
ktGD+0Ph6eiJsV0q5Q0PrrHZLs7tOLpX9Bvfy6fOoQBWBUU87gJ8yHpCvBVZ3Y7ZqN6aJvLOOjqS
J+itqvdvHzhY7hDvJJnVGnzTwRY9iWRRmW4sxYk+O+S4Rbg8GZlyxO+48UL0cskPZG2WbEFfj2rr
BkMGaG45N5cy9fdpSrqzGJPs8+MvtLXCVAGuFZAqDz7P/v0XikYzi0UDRWYztc0Tdf/lze0E02yP
zWyOnYFEHa6UeWaJJV4H1WOfu/moZJQSJJ6lSDzEQo0amSFrPjoImyeKq+SQedMI5/+BkrpfUW8U
UzNY3nDr0zb8zR6y/tzli/Y0q3l3bdvqCJu9XRpXF35Rmu/gniCNubfHcD/8E7k23mgwK8/GrKf+
2Iv4OmntwW3aWxn5CGmJJNbmXt1bmmvGyjJLHW8p8tQXWlq0CZOpugqtEl/MuDrKiH9UCu4KQNIr
ESxJ7nna8eulOb26RA71wVvYxdEpZhw8cAqY6voqrF5dsF7fsn62AkjtPMaqde+JTuj4tACZu6U6
ooKzUZqvhjof3cJNVMAuI5UBpaXGt7acVWEqTpy+6g1luuVONfuLaSznqeqqD7EoxlMD39qvTtYd
Ta9uR3GohPGCGuCHkAWhnH+//ZOw6prhIv3WU871PodpPxe/5cbU5b9WFSM13yJ3MfMrQ9Wm/kbd
YobipavdNhhjCKAvbdhZIRo8DUG115jaR2+cLPME3spc6GYXiMyOuojCvzsaKK5P3yJX/rGVyMqz
q6pOKrP0RVo0p3hsE++5SzK3vvSIBpevPcos3pc5rER6JgauWp90L1e+C7irYz+puW1nKH7iyEdy
YjaGc011KjxVtD2a95YE2B3wGuDz5E3YTORQli0Gwhnj5sIBqgIe0MmHErSEJ6NM2wOnsj0GGGOe
mPkfsnXSlvsPEuZOa2SLI8muPfsvo3Pr6HPdjGZ51iPLKJ8a0wrzG13L+WjuY1PfY5nkSSA5iEAo
f61C/NoqvSid0dNIG9f0DS9rn5HOBcrW981b20OCebJq0V6qzA4/P/akW4fNQsHZklozIsTS7xcN
E3AxuaYwbhWcISemMIeXwq7mg0G6ravBCnRRyKGA68favRVdLFOuh4l5iyN9Tn2vsrPmNyqewsMa
c89w1xTjdBBC7nxPRJAA/aLuQbFiXVK0FAhJ5xGjpIJzf1psSL/oTymleRL6pHSnHDabCNQe/ufl
8a5u14v3Rv6c0tIPMY/VBxWAWRZrNM0beC3bODdVWs00xRAWuMRlXIS+2UR1c35sdPtyAAmSA2wU
iaX8z+pTem4PMIOxYnBNnvvSRiZmmBF/SQv3iP1we2BlV518hkzbBKW/eqQMa0qamm4GLI7IIBt6
+LHOxe/jAom/OcS/twrSztVgHpyi7VmlzC7ZEQgASePW8uqSw2NMDXAvsw3UI0Xk6Dz0SftegCEF
EfACkhFTsgSt58MRNVMZgoKCYXTc9jQJI3rqzMjyBVylB19sOw9OFkUYgy7Uj6B2DXNvTR30m2jc
W6FGRf1vN5MfnDIgV0BWaI86T4Cfw/BaREXinMMmMjRIzmlHQMpiFdbTlEa9eLONUEecvKfK8lwa
IZEqXrytcrhVBBpgndWU2dHogTxL90+5rOzgL6kgAWNe98On1Ivzoi69Gzivdrpl6mgxW8GwYXbO
R1tLgtIVWnNC6RUxG1dBeerS9mX0++MTvz0QeExoUaEgkuN/6081wnDkMCEU3lK16v+IMgGJHxMp
vz22soXIS2QiIEjajhx5Hut776W5Yygh2uEN6lIuFdAxNLgtK0eaqBgohz4jIAEjbmZJ+MdYogT6
ye0N6HtmEF7Di9I3w4veZMpRZWhn+S7lXvSYLMB5zErc/66qQPhjgS7gVswRTWxyZk/4Y12M7wbr
yBkMOSoPElmWy1fXvZurJBJoKwYQwmYnbWr7J6WGCOXxPm+cJneAuSXZnKc0Q4XhfjnRmFdolQgK
C4A7Pnp13D4L5mE/aE7RBYoYuiNVho0XwyBcFyCr6ASRT6yWRZyrLKVCOdIce+8t7hD1eYK2SlT+
nHTQXVdOmf1rNssMERCH68DPbL4eIBkg67z4fD85IHa/XFhrs1CpaMmj/k74XdKVhfPDy8qDsGZn
W3mJiGsltQh0xau3tyqLjO5qTj2vixflmutm2Pp6OlRvEM7FxtUy4unofdjCmU1KliRNuE/ZzVvX
YSEMRcN7hth/GtNpODVlWmeXcoi9X1xtcjTfdfvo3xzRPWB6YO7OwCKF6yOdnH6JQdiE58dHa2ev
5eQX2A90QTV05u73OmtF7BREmjfDbplBsIb4JYwt8fzYijwvd06RRUPKKpHG+GD05e6tTMrAWF9b
arc2bLPnTkAm0SShd9M4fgeHZ+foUlSXUyugcnlDVlc/LJe2oFOv3cZJHc6JnTqQc1jQHitTcTJL
xziHmjp/bOzoaN56b5GgBCEDYboD06soI7VHI/KaBo45aIfegP3OH+UU2t+lPQ7vfe8ZiCJZJJwB
viYZSO73s+jmFoSvpt0aMKzP4AecZz0v8/dOCUsrVE55zKTE1LqopEDBUZPGcD9SIZ6SRv9utaFx
cAC3u0b7TYIu5MgpDZf1riFqmhSRrtzCaFZ8wxLJpdLy/jxDr3zQmtiedWCOnEKpbwjBwPpoAFxU
tIVeKvX61vw+O7P35EKdeXQONhEA/gSInxTxcZidWifzgsZALMp5DDRlYSbCIV8y3upYH2HPsqLq
21Imcfq21AVS3v3YhCAgRdkcgUo2i5WzgTT0ka2VGKs13j61wL0vomiDHCYo7VQUnUauCy3KUeV2
8wF5AKUJPAj4NwpB92fRAUYC3cjcBmomxnM/pfOvUIPUQbzoypfHbmTjsEmQ5AwBzINUZSh03Zsy
kcvT+9wYArOwoy9N7g2R73Q6s7fw1+mVz3ja8s9jkzvbiHQIeCrZg4FcevX0giWpurKGF7vRIepg
mg/qOlVM771pYDYh9+G9k2UPPsL9wkIXFLfdmFLZwKrEs5ovxeeENOmo4bKzgZLKXgZFFPY3q6nB
tmrqYoyBabTeGzIFnfkUNzmEI2nndjN539GI98YdS8Zligak8AAxEOG9X9koCqE0vbRYe/0/udaW
zyhoTXCwReQohhZ/K1vbQcBnRpbz8afbOZhgc4AWqPS1PP7cm66dirFIePkCCzDSs4kC8B8NIMMn
q6mj/2SKSRAif/zYOsFUF6ez53gYgz604eETagVF1wIXHtzPi/3343XtHEka/TLaNIkGIRi9X1eU
IGQqa/BBVtnGX3rZmUGv5kcZ2N7uyaFmGj+YAjZ5b8WFZCbyBoXZ2kJPGUCI9VI7heboiNdKIWr6
+nhRe+YotzAfJPkvNr3VXJ9EPJnhGEQQ/pwnp6uvIhy/jgtC148t7d0B+pwUNUEFSe6i+4VFRk7O
mGZToC7T8p3yp/hriCSFIk0MWDFRKCm1g+Oxa9I0JaOIfLDXjWpwv8NYWggTRNRjnnNDbWy/9FLr
z07MRQ7YNoKR/PEqd/fzx4i4DO82cpu5lqip7aRTYJdD8d3W5vnamiZJ0Bi1Ry/A9sEDcU7fCcCk
rLGs+f2x4tR5Uk5Bp/fpKVXw0b7SlPFz33nVL1PpDB/yrmxObmpUT5UQ3fXxWvd8jJR6YtAVz8ab
d/9FNWspIBIf2d6xRmdekjsiMpq9NPN3WLH02G9duAbgfIEQ+rFlTf7Td4EtUG85QgDwnBa2uV66
gD7YgTdvDKa6nrobE/NxfaoMJ4pO5RCF/0ZoLya+GTXlp6hth1/gDfThTIJ48vEP2fncDNXxG4hs
iOPXZKBzLQeWACTyCKfiWqPmczaU5O8BgpLnx5a2CYxcMvVlGj5wABNm3+92Euuo+zgJ94fX8KNa
KdHVLkZx9RgiOjuTN1+cUQO53kzaB6Qg+1tkKfqF2O/dDHz8EJJDGuFEBUD+V36w8lLVSNViCpJe
IPBqdOm1z8LmAIixt7NQ5agOXolqzroFwmB6IQgCpqAWnbiUWlV+7Jx+vBDjHbHy7JwmWXCGWJ6T
xHO55rlUUuY3lDKaAreBa/iznrfwqpEsp29TkaE11Ibo+EG+Oi/axZgY8TgpRtGV1zxSvCPC1e2l
knTzqBeSgJMXrn+LADMBj0HEyVab76XX/9G79ks7Tl/ggE/9Wg390Ox/f3y2ti/bvU359z+BXual
zkRTK0OgorJxEVnePhtKbT49trL9ouRnKuPL1McY6FqnvG4bJYxWysfaKZw/RN0af5pZWid+6IbT
P//BFn0aOQ8Pqc56ygq9LeKcocYWpBwn1Ryni6J3ymmMvfd7fEkq4KCnwfQGr/bKCyI9npeRzrJy
yJCe5yTNn221KK+T6x6djZ3vJJsVKlcC+BUqTPffiTh/nooYbjQtibNr2zXFLUfW5SCTl/f33rey
IGasgePhZ6gf3FtxZzg9cug7g85J62teVr4XfxSqmvlTFVfk8pRUH3+t/XXxlnEJpUC9fm/RVupO
Vzu2sBt5qRLazK/VUKcH3Zfd8yeZE/lW3K+1r+YgAJpwYC1p+sS6DEo0+fhP91Qa5VGFa29Bshfx
g/ee0YLVmYhCFUm7AlNd3/TU0CY4Q6Pcvjzetm14A6U+/Wv0sdg2Mov7bStI10RZaWNQwwMQKhZS
u2OdnVqGf/2iJ2P6D+bQewJJAciQrPPenFaORm8XvHXJmLpvUon6Uzvpzr+DqinPWQ6lw2N7e5vo
ypqShPzxv6tTgcpgksLKNAVhndGgEsUiSdVdWHkf29nZRv59GnJUdHD+61jCmBvPEEKZA4OKsvPq
tkCaz7kL5RTWxiW5xfB9Vy+Pje4sTmZooHkBO8ga9v1mRn1BsSUb1KDNpumyhPXXxHCsgwBt58Tz
VkvMmsSWI890b6QO21nvnUYNTKExl2fH9i866diLWbuoZD5e0DYYBQ/qysYRfkkCYe5tLQmC2lnU
DEGSwQw/2SkWEA9YLsDjbDl+lYw0fsb+lCZK8m1urCMU4N5if/4Bq9uACpUGL3A/BG09mFcHTUff
GJTpk6JV03/4eD+bWn28aigiGwAGMpuMV55HLzZ8I2PU8fGO7kQC7Ci5C0EWT8t6OmmZXQK6Zh6C
zHWnk+DE+GPEYCd8YfmpjLW/IOL3/LazD07N3tH82e5qI62wW8JmHIdAs9LhpTPq7I2xyfIgnt15
ZUhaZBuA80nzdLWHhsKrb8YUeEwmks/EvPE5tLXwE5Pk0T+KCrdq39RHanJ7W8r7+eOEUjyzVoc0
Xgy0tBFgD7yiy7/OeV8GJsIyn9LQjq888u0psdvo00Ib5L3zHf8X0IQDAVYhY5L766G6TO41OctV
xmV4iaLhqzuI5jkBdXV6fGy2IljSlMRy8p7+gHXemxqRSSvNhPpLCqD+SU+QLfW1JqfVUHgu9OKL
dhpKA9RObrYwepbe1XRj7ymNKDcYU9tdNMYmLox0qYTdnXMNl+aoz7UFXsnfyLwkkFBiDDTI7n+j
mNPYrpB/pYvWCd/ViuJNmJQe3Kw+e50RMXOH9nu1ROKaVyTwoOb1G+gj3S/4Z0+jm+ooAziiO7hz
e07EolJHxVGVeAl5gH6KhLUWkemmV4cgFRaSvW4a/w7IN3pKq0NwxO4FoMknx1Opja8RC3OBoBTt
rjFwFgqb12QqispPkaVtfNfqjDfVRjDwlE5xfRAH7d1vHjoyODkus+lqQkWRms6ckbOOdltfrAYU
pm+hEWYenPldQ5RfZNkYNNu6lAXJAerWbgGVr9sMp5TBBb+hfnbgjHeeb6oAdKyYn5PTAauj5I0O
AwGGiZWyTnM/j/v+VLQdPCt4T1C4QNoONQ/3jomER/HZ2MXN4KjVGKPnylJgvDBT4veWWG6pmcyv
GvHRgTveXR9sWySmthwUXDlKhOwsxQNFE3iKM9A4MaPaL3QblsshVt/KJeoujx3I7meDC5cxYxks
rxXqxGArWl6lsqYBZ+bTMC955g9ov+gHT8DeygCUGrhjXjeS/fvLViQ5LcGxI9UVaq/7VqYRkvfG
PH0VqWGKK5Lo4qCqsGuS8IT4n5QN8MS9yXwB3awkZFBerMVPzdiXvyW16gb0gY3PLW2igyuwa494
maYhfVGCy3t7zdDA1ThJpsQGnek6na8CYM0LYkT2yXTHXx9/uX1rIOTAjeJY1vVOI0yLNk9UMpxZ
gY8ySe34o9k1ISmOPT/bcSP+fGxw76jQQJHJFPPTlMHulxctpWYnrscXBAuh+WIsqVXM6ZGo174Z
8MBU/Fw5UHJvpuxLeJMTOntN22WfM62dPraEdv/lWzlAEmiJ0lFYp1NzbA+LGGmZaEoX/anEdnoB
opF8y8ex+jpm2bunI2WGzfWS2TwSP2u9ES1szHHAkwTtOGfpVQk74DvtqLZ/PP5Ie85Keg+Zz0ss
sYzcf3rTMr3yxjhHh5431L3YZSauIyJZSPHp1kHssXsA/5+pdd4b57q1IPLDm2b0Cawns4CWqX9V
Q/Ol7swjyvq9F5T9I3sioedwrPzH4oEyEzWnry0z+3ksRX/xWsa0BuGZlxnSDciJKJ0fuMe9NZJL
0cfGJpd6FUPC1VSAX+GSuSCXL2PbRYx8NPrrEqtu5XdpezRHtZdZccOkTAKsiwwz3H8/YVWhMix8
v6zXdDBtJbffrwYt/9KFKBWO8yIueTYrvxRWYTa+UEr3n8cnaG+jUSYBe0iXFKKb1f3rJsa4YGcn
E5+6yfOHAjnVk1bM3jf4ludX6IU/oD9vxwc7vXdwAQ7gYOTQFTC3+4UrpaX0LmC+oB8B6Z7CLLN/
IUpKP1Q5T+XB0d3zMYDqoBeU6EHepHtjWVh4U6jSzMjrrvmtHYw+PKmKgwTj473ctSMHUPEdhJjr
F4GOJbV5u6GunWuOn5ZM8PTx0Bz4sr1Eh8EGWr9E18AiVulG2sRGLQasONE8fHLR3LsiezERE9Xp
ctY6o3oZl5Igs7DDg576zldjKhTNbuaV6JTaq68mMtVZiOenoAEjwf3wrBMwxMhflPZIBW7XFPo1
RLEUwID93n8zBY4rw6EBFLAN0RfHKOCtypXCuaSl3j09/m57toB0AmMGdAjF08rZQB4HFlFL5iAN
kQECfjcihgcH3xLfdG1ojupDO1eOeTz4FMHeS0jlamnR6M41ampzEJqNhs4JUdR3AgZN93vV7P8n
MbfLk+1CDvf+7IAbzqAULxLDMev+gwq7s6tF3HVl0rPnmsmgt6is8pfHu7lzC8CtMBcK/o/xm/W8
N/2lRlk6Dgmwi+Il6/ToBMnocn1sZeebObx7oIEYZ4EAbHUUS3iryxIFiaBqLFvS7LVvLfCEL0pb
YvCxrZ1ngbyRsij9SLz1jx7Tz6+s2UaNYnsc+x4+tizpTOvkhZaZ+2OSNuhi1Zb2/kuOPRpxlIk8
WqGrM+J6U8Jo0DAHtPDbkDmY3F5edajrkY0FUfJtIAFCaLIQcYFQDvT470+WmeiU7hLMNcmC/Mg/
LVmbKdwrzTwH8HEXn8fK0fRzXDMadrLbbqoP/MrOjaCcDvkn46/UajeYZ7oR7qwYPIONN4hLFCMf
c2I8aqkuWqbP9YuoUvHRSYQWHRyjncMqsyE8NiV9pgtWV7+Q8xwoGKgBZc/i3KlO+tFpbesAW7hz
WAEMyCfoRzVg/cimzEnRt7fUoDQbESCsB0lWDJNfpg7ugamdXrLsHoGHlV+OStHqsRsQQmKwqNOC
xKLW5y8xxVIgJpD62sCUXhX5VlyKMUVNmVqQ+k2UYQnR5ZJ3sZ+i85kfnKS9HcaxytCeKX9jnXKm
82zHFKfUoLH6xO9TdbjoCm3tx1d0a0XO+FFxAujFKM96tgE20gl51l4NxmksP/QKGkCaoygHa9k6
AthbiNJknY80Yv0dvbgGi0uxNpg9QAeTpxV/19U8/SlglmPA30z+9+5V6XxCihBwMTDoKlf90y2s
aiaYaEebwTxX87/DYs7zefaM+Ci234YUPHuUWKhEM/e2QXskrT4XuNAySKrEeBvsPnq1SyWWdH/1
L2keWpc0tvQno7HEu+8fmEqdET/IphiHW9eRht7R6tJEdqVIw/TiWAvNeHPxvN/eu5ESugnDNMGm
R71qFTNBdA/dc8n0Tm/X6RU06fi2GM5RNiad8n13Fa59Bp45hBIjt57p05BV8NSxrwOoELtzkTu5
38zWr2C0TCog5cVphklSA//CZ/j78QJ3cA7YliyJhBT0xtdECVaTmr2Y1TpwlXHu/JihzlOBAMt5
jpPeL6uuvxp55ZwpyUNRlmvVb0aSF+//mvLpB3jCBcGfrnyPMVIMWoTS8igvCZqsidpnJxuF7iPw
+/YiyuhJhmyk1xTCVxcjcQCWtYXS0WLTnS95VnfzGSEh12OEyoQQOI30evn0eIu3Tpwkm/iJ8jtl
hM2En8jMSTFr0QclfZNPwLAq568G/WNxngq6wAd+fGsNthyEMkiRCNasNSU6DaKywCv8aGJUT0a3
6J96XDVKjuVhyX7HliyNAK9n9JzYUO72T24GAmzPjJKsCtwxjZ9tO5UyeUX+rCy6dvDSyw9zf0UA
tUF0yOgzSSf08/emEtzZyA5XQaXW7dkSU/fb0uft58efans8JGWDBFMRHEIyvDoeqg6PcVSrVZA5
WnMuK1t5RexzCFyY3z7D96UdwCp27JE541h4eRj7WPOHwE4WzlANicBoOrOH/8LIZx+SQSaewQtk
sDkgiDRc371IjEkGLmrjBIr6/VbGiVEXRmYLHgcHetZu6W8dSItLKPr2NRMwpTy2t/10zCdKD0PZ
H3qgdZCWZ3FPuZgGW6SqX1OjU64RsjmXx0a2L5HkIiDbAlANnd26d26Xkz52BgAVNW21Uxwu7mfh
DfNTGc3fHC1GsFc4pXuh+fzHY8PbO0DkQEZLpkctlxH9+90sI1MPJ4UaAQTYw/LBIzH6Pa21efgI
jNZ49y2QrBgEaITNdErXF25yxqRi/o+yXR1lgTEnMTpn6niQ1m4/GA0gCpHcBS6BseatyOtM6k3E
S1COUzSde7Nz05Nph9ORsML2+KPbC9gBsD0YHBLL+71LwjELF7i2gnSaitfCjYcTXIH1JySzx/PA
W3mQj22/FcAHSbNNMRdc0bptgpBYatd6YQSFrege42UGfCZT2NTes1mZ9i/vPRmMBHHNQMdQjECY
6n51VgM+O+VeB07T6qdFdNU1sqb4Q5erysGV3nnFCYUIlUGBcqlB/9zbakaU4L057oJyCPNnOqHw
IWRx93enw0/FsGsChXDnKOiXltHHrBdJyRSKMRsHt3Dn5AA+ho0WTy3V6leXQfHSWOFvekAQWXXu
ujxT3uxIuM2BS9l+SHTxAJoSkLGvJJr3y030MC1rKxsCo3NMGlE6vUQA8spL3I3awZuwXRNQKooF
1JKYrKGAdW8LdIVW9Ho0BcYiOXaQY75khCcHGcI2k0VpCQiabGcgVLMuyA9ZlOoDo3lBPVXKn2Ps
TvPHjnLgU9aO0e+g31LljBb5rBx8se0VZCiZegg0o2QKEO3erw4iOM1pKjEFy1hrT63ooTIZLGR9
qyz7qDD8+e4r6IH1ZCchSaTzsKZ/7JwMMYNkwoPFc/GXmqfdFbJW85wwYnMQ2m4+HFPXAO6ZLeBW
kNiu3rmhnKyRAR+DLTW1y6CNzrUdknczFkkr5B+MmBF28Yjfb2BsFXYDfMkIyJP+1dza9fVBvPt1
wwgFDolOka5rXbqlnlJ3bpLYQT5Wcf27KJymiE6pExfJkzZX9j/oKXnThyjrsvI5EwYku4992c5e
ol0LIpjSgExh5YX8KdKrK+aAhzxTA4+24bVTFRc+hVg7qDNuDiPyLcSsEE1R7CPnWn2xiKvBBKKn
BgMdorfEnBiTQ2q5fTObOrnM9hiN7z2OLAVgK9ErhXd6pKvLnYSD6PTE1IJOi+Jvczq5vxRq5n4o
Kj17b19UmsKJMCtEx4Sizf0WdhaJgAhdLeibcD6HcwcIlBmeg7d7ZwsZ1CbeYkwOfaY1TRzaDiEx
gmMFWWtPv8UJSjVTVSlneEkLhgGM/Pr4YGw8MY0Y8n45mUpQTjJ+vyo4kmYPuXgrcM3I9i6ZITSq
bi6iI1dtcYb05bG57Tnk+QbVQVGIVJHixr05T60NVAY1K/CIGKpz3OgMZDPIVH/7D3bwh/RiAWQy
jH1vR02m1uoZxgp6LR0+FklDFCmq9uAZ234sCm3ADuhVkmvgPu6thDVDsELkdsDFe2nUAsYiSwQo
BynnNK2/Pl7SzpfihZFcz7zLckLm3pgaunXiVoMVIFaTnA1PyX1mSMtzEtZHQ0g7puCvpiyL/+Vp
WQPborBzvcGenQDWSmf+u0AYyPEboUYxEkKUpQ4CrZ1tpBEI3ofKCW3BNYKvH+ATt9LQCWzq2Tea
X07ja16XP9mRClK9a5SjVsXOAtlEojo8Bn/WKY3wiKBsW7iBXfXjtVPS/hrmWXsdh6Z/t4eS2nU/
uHIkh/sa8dnZuSXUecQUbA/V2XN6A5UqEUGWgraReuDn9xYGAk9CUyhfY/f+kBRJXA5zb3uBHjrT
U6/UvyZOkj+3un5wkXcMUaewJGkm7mMzoJ9oTQRl2RAGBdMKwZS4g3Xpmrb5w+wi5d1z7QT7DCpD
oQHNpARA3q+KsbO8iCHVDOLJRoE1Cd3+T6XNAXQA5f7+7msGkE5WKXjESApXkfiIOHBMOB4GqW5N
MLSJ6rlxQMsqjX1+bGkTMrIqSmbQC1LCJjxYeQ9w/bVwkL8LbJibvmazC0Gtw6kv6wnx4LRbnkTk
xc+PjcqtuqvDSKNwnZKHEoHz534rlzK3U3XCaKEY+jVz6N8mqXs0/LG90fgPaBNVVeKj4KO9t6In
eKdhsHjFluLPaly+gKx2qU02DqQn9d+Pl7Q9ihhzZX2eSjYzBaszjzJNjWIYXjjS6vCiwXP2QkFY
PBuIux1Azba7J01JgAjwR+rKq92zBq/r51GxmMCGT/MC65abXgyIZN4flTKR/3+ZIGWyu56rEpEZ
N2GfOwyXm/NzHlvWM1ljcRBsbE8gfVQKZbIyR9ay9vMNzalpcgtHViJyKFIgpfPE90lXX6zO+1R4
3pfHX2rLccSLjDF6qfSpiOtXAWKh1HaS1KMTJNrwoU+bM5xpNwWoaj28emp/Tcz2khWUp6Fm/uCU
Y3SqHeNo5kWeh/srwI8gToWFQ/Z01vIMTIvhsphgDWynVlR/yuv8pFOdfIZveGn9Si+mM/yisx86
Q//58Q7snFXg4jJegMqWtuDqYqSZYlpdWDnyrDY+GBiUIm2vPFkQNx183D1TfFRJKCHhPZs7WDVx
qjiLE6QA46E2zGxKaLQAyzHUDjzZzrXgRv0YcAT0tvGZqSgdiATZ0arJmv8VjP782zj1kT7JnhW8
CS8OiCk2b7V3JEcQvEeJG2RTnH2qnDH+0KS9chCMbK1gA3kQAgNu3kYqJw/FkkO+mL6WkWMweMWK
1BM8pWP07k2jZgxKgjcNKg5KP/c+stDKehgbM30FUqP+YAk8j0uk+48P3M5yyKHhQpRVVQAFq0em
n0SVuUjLvfbZPJ28yvqYVM3R9PD2qLEUBlxZCa18OHTul5IoM6F+ZKWv3dROFytZogvc9ZrfaWry
7rgD+BH/Bc4PQHUzc2HEaKjkZpW9xrmjZbfJdsLhROdiMVC0DIujofTtQ4af0vkPVxaY5Zo+tS+c
UNKOZ68wa1S2v7SGOCmNZXyI2hxkYEGsdXn/ByMa4M4S0OApV2km7OtxltVj9so2N9e2ZAY8JUs7
CAP2vtjPVlaV2zDTGcfRuuwVmIXn17qNLOBQd76ok/xgQUemVj6/QhK3SeKFBVmie3WXRv9o1H37
aXbm/r3ldboiDicRumGJH7NWV6p0BJmegakJ3Sk/SkfHb8H9Hlzc3TPB28WDyxbSPLg/7QqV3LRC
q/Z1kCT7aeI9TZ0DOYn91jeHUr+7u0duRHNE9q/XhWGFyhXi20b2OhLIn7ximC9h2Cc3Nx2PPtTu
upC0oHQDbc4GeVdN1VTgF7PXxFg+IPZ8ZiwePUfNOjVDeDT2vH2EqazLCgecqRTf1kpu/TAXTkmN
8rVarPiLg9Kw4estT5OPlNxoII0p2Ty8aein85I7jXHgF/f2FSIduVaeFCDU9x9RqEwmGEWevTIj
b3DubVTkMsB43WmglHRwBXacsOzVEfpAccgAtvz7n6pvXVMNeZNypzvTyD4Q1VdPVPDDgwd/1wqQ
aVrj6HsDrr23YseuPfU5pz8ZJ++cINLzPHXDUSlzZ+MQkSN9YLoDCZl1V8SYVZ0CjoYDrmAWS0Jn
QSM9dC/waR9Ove3ZkrAUCZSQRHArLxVXZpFH+Zy/DvXs6RetENF3JwzbxZ8Hr5pOvah4nEvHZt6t
jsPs35K5Jw0Us6MCBbChha8Ua/m3b0rvQ5W6nuITQKhHcl97+86kC2gdWYukGXa/70uvoh+Xh9lr
Rh3tLwtG58s4Kv33x+/Czu0ETEWRk/IqAM11BTedlDpJVTd7nRX798xInl1Ao+cls25Rph995L0l
yXiB4ypjhzUIoY7jYqmQvXuNdbe61n0laSpmECUHt3DXjjysBMRycnTlSm0OqgYleP5aK2F+jsN5
8GMnMc+Pt27vGBEAyW0DWAGq+P4D1YgOJV0v8tcECfPJVJSnCNFuf5ij96dtVA4AUsj+PNC29dxa
ZXmNMg5m/qosGSIznjNf5yKero/Xs7drsHGpkjZGRgmr9eSliDuKrPlrCaH1uZjz4XUaDfOv/2CF
5wXnKFsw64vOC2rE8JTkr6Axq+voZs3F7AEX/X9ZWbO1UWFWhR4p+SsT5clpHFpCYdSO/8M5k51j
6EIRyGE59yfAiVhiLLDS1Qkc8kOm4wnq/sDKzjkjhwbBwB/6Y+tO42iVitlX2Xybi6ipmI8nNn1T
M6P4bZ4ioz84BbvWpNORPTBYV1cvmBMniYna/XxrR+arfbc07VOoZca5TUz12+OvtGfLlmgTqqbk
k2s+lNjKw5RWy3zTa7d7Apqc5b7Ofn7T8ng4eMbk775Pz2WzlqQHiLessqycvlDHuRyEtdziFDw5
uIUu615RLFMF6hGwu18yJa/Vk5t72VFQsr1Y+FVGCCXMhfbL2u0t+VKZQOX1G/qh8xdrhIMxtRir
eLyZWytMU6HXyFmBwHVTEc4aFK7yMA9vemQvVz2cqxdVG8R7cWQgm2UsgGSopBJZx8KKVjZLZPbh
zYVj41NVxeKlV4R2bSbj6J3efjGZkEsCvR9p4HpCDAUJOGycJLzVeeGcDGEX33Wohj4ibuuetVnR
/rYH491IQKmxCcJFaoXSEnD1+yutM9Y9TygB3WiWJotv915/1mc+32lIgOk7w4Ci2P/h7Lx23Tba
NXxFBNjLKSlpFcndsZ2cEE6csNdhnavfz6z/xKKERawNBEgAJxnNcMpX3vL6h7s7T2im1GuZKEXU
6yH9Nl5nQ0wMmc16mCxeCvOzaQ6933YnCsdrmLvu19fHvLNZiC2whUG9B7n4bee4GmPH7GdXe84W
d75o8zB+4CHOdtoGd0cJeFMobQLH3SbwCPAmXlXpjJJqgMRdZVYa693OyX65Jq6PNupuymWDeYBZ
2IIkAj+r9UQrknMpbDF/KVKrrMOOgoT4WoHTy55Uz3AOq6wZpjCGRjnOkcxtVOecTk9y6glJFUfC
WNV/Jmhnvw8yAL5nPe28GUeLui+PtlUOfQh5IHBQPcyqMYI9UOw9W7cXIjNhI6h+OvTt7RMsEb5q
bI+ZiM7KKUAMif2fI7xORKKQzV6y8tLb2yycypSUmw2MT/RTr3deEI91kDp1epbO4urHERG17jHQ
k85/cGNhGJdpbvgxE97FwTeU++rkiV9YGQ+azGghoMxb1wCfHa2LrBV/6Sp04lUmCDRq81dz9EYt
8ldE/d/hlmwO74cinvOoFxi4/JW5VRU/uXbXzIgYYLH3bR6aYNrZgLfrqQQHyY+ojhr08TeXvrP2
stOFXpyLtiKPHtbshFtJ+V5Qqzu+fqJuA2keTeBxVNWBaxPYXK+lW9dIyOR9eR4Ce4FaJstj3/s6
QAV2T9zIN7uJQw2A/QHEkHoOuDx1q/yW/PltUOixKcvzFPd9dZDYu/iHwVvLz6aZO/pOPPUi0Hi9
VWCV4hQNCttQYn6bezGmq0kbhOGwu0+GOpRjZ40/fJCA3mEsqKbX4VBneMSnnY3kWChy4STRjC1z
+9FKMVo951i4/7R6F/Fc4ADCPRV5YliXdOlQq3GqJKi/BVluLoc28cx/NcuNK6jbTg25P7G09OgO
FIT/KE2SsZNmScgfS0pq/96pp+Bf6k1dHpr8nuAsx1UXDyUK0tPON765z1BwoLGm8I88tPBrr9cc
MivOy02dn6dlsMPV0/JDEZR7cMRb1B5wMvYrZRnFGqbJez2MaAdZWDa8uj5oq+PaGwg3O7WDmWpc
hVOSmqFVuu2DWTsI/tDCfBCrzHYwN7dThUJswzZXeBtKDJvfkIqmJrwF/4/qg/lkzLH4YqSp+PL6
obk5n5TVkLRSMEjyG2jL1zMdA/QjZiPokSWN28Pqr22UV7H54OjpXnvmzoSgf/KyA4dUBetNdtM0
lqikdPtzW5o/B6ewkYyx9nTI1P/k6pQwH7JO5IVhfCPCpS6J3w5lUaWtn0jZnzkKhX1sJUf0ENuZ
Yx20TszOE1qcjnucKXX8oo9YrKEQlrb3iqhvs/0VqKgwPCQ4Zrq59RDwEp3nIvdddU3z3smmHLOV
an6Y0s4BGTwiUlMvfvlvMbv6Dprp5hYkS1U6gPAZQE7R7bhegJUaqo1Rozhjpfh9KuzxQzyKb07n
WyjUp+XOrXQTOanqJX0V4MKoX8LHvh4NPdXY1rIMg42mdx9j3YLe3uZNCcGxqWIRrXM9kS/3vty7
D2/nCVdUNfPxEQKovJWkQqvP0TWltFL1KII+zV7BdDvTSE9TN7Xlcx833Z6Z3+1nZUzVDiEiVmC7
7WGpujYf8ng5CzkRtZT1rCHq0sdukB2EjrnauynG7eRD26bFt6YRcj299bQSJ5CxE7chwkXx7Hq5
lTKIMS+uUjwynO9FGehPNq54Fzx8lp2H+/a0IuXOVYv2M1EqveTroZQbLfZvCA+VZjZ/tcd8/bCC
T9pJZu6sqCp2gDyFVwwvbjMhGmVar5fcou6KkW+EqJg+hJoHVeZYN9Panx138OJPPUniFOpUWqud
W/Z2GxF4AVdmB8M2REHneprjaNiibKDFQljVVCGkcEXUJG6VvYOlhChoDzNpj+hxe+mqJIPUBhFb
NDG2QWaAUiGgXiHPSTE1h2ScgzDQwR5CKvn21g3D7UMRHGoV1mnQAa+nl8hlRO3FgKeaOe4j4hPi
aHVG8mC0i72T/d5eBQ49Bk4HWGXgZduLBzCdXRdrZ5y90onRBRtx89Km1fxMaJh9toypfj9rRroT
ENxZSs4hUq7w/AFubNugzlgS7w4gU4NZ+I+IjMRriGtx/ylt0Gt8fTFvNyuQKJYTbUZ11W2vHE+J
rpWdY55lRSEdnwojJc1P0Tw+dXQChihJi3H84BrV/GcyN8ZeB/HOXMlMFBH/f/jHzZH0YmynOSDJ
2V666cleaffHCH081ZkV75xLsm12xvUT9lJnIK1T9rzEGNc7x5iGFbmqpTrnddO474fOtduGfAit
t+ekn2R+SAxDiCcuSt2LTJHa2h9lneXJ126E4Xq2ASd8nQTSh200u1JHLw0vxFwcBj+W2dELlCpu
FuRT+c2N8XevpjIUNalpyv75RkLZRyrMjeSS2Hgd21pxQn6jei541v1TsXTiCyALLSpcRImrKfnL
t3EgLTJ0JcJs8koD8XgEJ0J76jCTK51yCEXRV01Uza53EO76C+vw5h1NTK/4aNiZYZ2bekIbZfCW
xwBf4ieBQ2Z+iFv95GmBFEcH4R9I7HIQAQg/hHdDHJGp0+qtZeQdP773P/Zli35ZFXTJnIYWAF8/
ElrgPTvWqhhB6K9Uljmv0Tiu2n/9MBGhJ3Cff85dH8fRkhnB+9ofTtkM6AkR+i70R6P80g8WmZ0v
J2lFHk9pmMgufbAQtBwjMlnfDZFQ+1nHhhUOJtK/sTs7R59gcQllW+sraDd/AdRsSQBUTnvIvIQD
ggfuHMaxu0QzfiRjNDTuyVpLVCrtWj/4PKBaBMcOJHudm2n8z8h/8NPG91WBJ9YC49XALOrIytM0
Pxb9KEbMgfHxiZBqbNtwKmTgYUQ5wFl3q9gZHrJEVv3Bwmq3PeIXkhiP1JfiH7a+pP2BjzNydutx
XPipqZRVmAoEJyJh69rwNBpJvZ70tZJi5966OVWAlqEcUfxE3xCe7eYJkqOztKtmQ3wQfkrTCcTB
FzMXuR3Oni6+vn6F3LyqvKRwuIDgYvCkbpHrUxWkrWHO9mifNeqVRycfv5d1tYfauDm6MG/gD1I9
pgGD+tEm+kzcNdf5Jj43cYZCpEVRJomkLQVTkqX/SV/9Jo58e+r51q1W1B+1utXTndDw5mVVvwI7
dH4ACLQbmYDGb/DExWn5vNg+ve1Ep9sX9OKd0+ZYMAbpeHh9aW+/I6Et+pTKgpWa2o2JyjwOiNWO
yMMZAi1SL1myf9I6DtoDJfbu0+uD3X5HMNQq/6fTrPRsNlex3g2dnlK7OU9mXUQe7LXDUjd7cO2b
UUDTKy1Z5Q0DfHrLnaSK7CQJF8ZZNHnAVdYlIoUrENfBzre6WTs0FsgBoQrjUggFSP2Q37Imqymn
OK4a56yVRu9GpV0k36bJ6v8dsOrcwdbfGQu4NE+YQnohbKH+/LexVqeZ0inzLcyCRCcjJNeE+7Tm
pWkcvHhf6uXlU1w9ZCCwKHIgH0gcS6CwOQ3arCpG1UgxMWmnkWLiFMShXlTj/CGI06U5rHkVfAZc
kmWPJraE8bMj/Wp6xiFzGg49bhnuuyYhWnuWWtVkOyt/EzXx6+j0KSdBDgkLc70afp8UPU8+NA3K
wEc8otJ3fa8vAAe1hlLP4rXvqh4y2E7F++ZwqoyfDayQSGBrtmpsC12zBO8w97wuqfdQ9UE5/0iW
rsQytI2n5kgWL98KsUW1m0iNMrFyK+SoXs/UyosClmyrnafBds9imPNnYKNvLspRwgD7CZYXWR+g
a5uwZXQyvzfiHJw8Rix8Zmf45o1d/F4Gux45t5/OUP1typq24r5scZhBNYqh9rqADKkoP4+j5z+k
9eCfOn8WB2/Q43/dYk8V4va7vdhMoIpMk0kpdl0v4jgMWbsSzAEfTq33pBElrmWz4ZUHX6za+pBq
fRXsXKw3txBUG1WAgkON2u7NLdQVWSzyMWl4IKciPhW2hw+dkP68M85NeA0UiuY3VwKaJRDaNkdh
tJGlm+J8PVe1ER8zNBnCfJ5+BW0RfPWsFZGLJrY/JfW81969GZi6Ku1wUB4qrecHXC9qTZuitp05
ODuG0X4f5OI9WllfRQBvkG91k7J87Iqy+LutB2Mn+LhZ25ehaQApRXtkCjdzrrqZEuxkB+e4iM1j
RsR6DIrF+v+MQi+NOh9bBl739QThe2VCF7hIVpSsw1mL7VAge7Pz/W4vdoz8eK3oMql6uL854Is+
DYU2aMF5MeMmQs/KP/Tt3F/chur4G59flo0BSEyoi/KPm2PgtUswSRfEsKhy42+qiu27uq7S/14f
5d6+QAyWqxk8KuBnFWf99lJ5adMMMlAHnOq3/OnhGfLBkqKef5Zrirmz5hH/nmxkS7yw0Yzq5+vD
39sb3LOccxVJcXdeD7+2zYgvcRLwUMZZpBzOj7ocl50H6CZYZCm5M6GOMAYsZ/UrfptkubZyRgbF
P5fIb9gHN/UEqLlCpmM4lnqQhxl+XH9b7dBJupQQKcEHFPMevubOrwCPYhO6UW9H6GNzBInB4UKS
Zp3FOPnO0RyX+sOoy1UPU3sOLpYY0yAsc1PKA1rkqfndrlKt2VmKOwuu1H9pk1IMcihkXC+FoTXc
DqMIzsGa1Uc7jhEuC+phZ5Q7Vzh3N1EW5S4Yb9sKtRZ7c2v2PofRn+owj9s/m9jIQsNq/jRW7+0P
Pd03dLZ5E1SDcRuorlls5it6pVDwJv09bJHkEXju8N7qsXHz7HiPB3rnElBFfl4JKvCATTfRXVsk
KQW3PD5PWO6hdOA7l3zOgtDrXblTuntZqevIDjgwgTHEEwgfAFuvv1ey6IiW4BN6EYsvxaEgKFBq
OjFmpUlRW58Wr4jLk4t07n9Tg9rBBzdI/SzUBGqsZWpOU5RaOAgcJmNup+9NXYjumy4LIu0UDd4q
rFt/9Q56EiTOh5blXT4YTVUnD9L2lp+EdU71UE31mB8mtEX0y1gNfnMo1pjm3GIWyXgYXewtHqup
QyrbmgX2E+bEWQ6nrh/ez4OW2JHhydwIi2BM8o/2WHsgYpzezR5aGhlLZED0GA4TaEn/UFaxZR9n
sdT/lB5uAQ8y6a2JQ2pPTRRohvNj6jK3DudgsLuDDtEFzJ3W5N3jarmyCbvATUbU6tXlbBRyWZ/x
Gkf412t54Hf2+O0uYM8RdqvqEY26ba9SUjKdOphd5yzz3HfVqlMNgTk2/wDBGn9/6zXJWEowknQM
RtXW2K5bSlMfJ9cjlF3rY1LX4rm1/L3K++3dwCgEy4B84SgAwr3ea12+1F29pP65HSkCtfQ1ory1
99bt9m6AuqwUx7C2UcpDmydUWLSTxeDDt8nmv7ROflpaJRDFpRRaHSJgr6/cnQAWjDTlRExt0N3S
N5cuiQFQ2pabCPb7ekQGZa5p4OrFu3HMxmPhW/KjERd+sjPs7VLCiqH2QZqpAGHbrLaYO+DY6aCd
9T7I+m86PjMc2NnUqp2M4877TTgJ+1ipQNA2V/P/7WmDhTmnRj8ll9SPu89VN8XZwZmHtXxEZt0v
0tCkszuETu133qfJh7e5UzC+M1NKBDDCUHmnCbhlxeEN6k1el0AEHcf8W7Pq9tFqJnenVntvFMiz
SkleXbxb6tlSuLjicu2d59VOjlm6ZJFti70DcHuk0ZfgqxEpuESr260ZBB05goBfKqa+nkPTK+Uj
kkdLEmldvWfyd7szCXeYD3qzsPlAJl5/OXwy7blrquQikmW8TJhnHaaFPVlWVvpEsa75gefZnu/v
7TpC20MeFHABMeWNQkMvl6BsJj+5GOTeUTD0CUFs92bMsqLCo2hJFVDJK20vkoI+TD+lbnLJ+sR4
sitf/BHQAQpTc6ZE/dYDrrD1tNzh+lPY2WpoUqRPwGNZycUuZNS4wz/I1OCa0wxPLhW/g6/tHLjb
PcJ4tLaAyCoVma1cYuaXRhrHRXoJZl9PwqTMyoheqv0t6Eg5Xp/bnatSCS6TBagKXLDd9UnRaLLD
pPjiDB6NJrn8QNzrV+zqUwhXbc+v6gV0ex1rUCXE8A6wOakwDaDrHbl4KFS1faydZ78z8mhUmerZ
daZE52HNNP3PuJi4OdM5TosoAdSFejfQu+ZhQp1LD0VaGvaDUTjOcBzoTP2JUjTtm2E2GwS1msHX
Itdem/bX64t054MoPS1+L705iiHqz3+7AV207z1LdC4S/+j8g0P4lQMxe87McidXub1qqa7B6OA2
Ry6MQtb1QGtAKDEFhXseAHbAR6X79pmAapmjVPOtDzhrjOel6tyPnZ2Kf16f5L2xKXcrrVMotTck
xann+TcGaOJ+ol9mbzIjV5QWHSVDYGCGdt5Hhf99B1auefPNa6LpDJYF3e+X8uL1rH27KtxlRm2C
Ekx2ygdXD6nNBjs7/c69xPWOHIN6xMjTNs9Ymre5I5PJP2MZ7D+OTW4dW83Zwzbc2SrI4L4oOFIH
vjlP7WRWSG92NA0cb/ljpUvkk/CGM6oT/73+vW7RVWCrEJoCv/zCptj6fQbVnLiNZvpnGxeNNkRb
qC4PgT8OT7XjjcnB6ov5RzORZ4YE/nkD/GwQWaS7qG8dX/8td9eWEAEKKPkvaNzrLzg3fj2Uo/TP
qaYZZHvJGtlu4z++Psq9teUtoxtDES1AneF6FNGnHkwblwlP+RRq7jw8lHE9hp6c9/KvO9ci1Qqw
R1R1eau3VdY8tpa2tWhMgIbs/6h8fTibkz1+RzfTDP3GDD69PrU7L7XybSVtsHmxCY2vpzaa6+yU
ZRvgVzLIWZEvusdGGmAo0mb4QnO2itKxfbO+v1KDIHdWIgd0SLbYuEwYjbEsSnvFz1FPikft3dxU
zdF3u+T76xO8t0NU+5tWBXcM0sbXE5zhZMZpzOmTE+3SxBi8SMh2z+vu3ij0YIDK4lSiarvXo3RZ
ks5Ozz40FjE/a3WRHmH570U49zaH0sxT5w7G1LYVkiCrm7TVQhIzsdvnOps+ZmlTv1s8vX5Mkrr9
9/W1u7fvyYuVpkZAnW6rKdeaXUDuy0HPCRge18Rwvq46uotualun14d6+Q6bB5rqEVjGlx4gU7xe
wdRHoSmWenC2nAVLOn5O+XEMBssIpZztIao8b6ze931jpKGvWcgwml0ntTBptPwj4oHWt2Fya+N5
LYrya+Dk5bfEdtYfLQovP+q4WT/CV0n+zO0h16NGaN8phZqnKs4BHYhgbh/muHOWR3toy+rY4jqN
rH9RSu/IWTB+2KU/6Afh5wOePllFbc0oKnsH+XcL2WCRFcqH0jlKj9yv10vgJXA2x5gQ3SxTP+jC
slz0Mcx7C6gvWhwOVSZalkvy0zdL1/orxYDdP1iNY0OfzAA7nHUkZ2tSTYAan+dydrtIh0v3CCOj
xV6pr2V7ioXI46daH0T60S618r/XP+Odtxy1CYhWihWhtACup2CmXg0omZtyMSsJwsBMDEQk5+Wx
b9amCNts9p/GZZ2OhtnEb09MLaq93JpAjKkDbslQOppYsqW0fPYbiCdBjg4Akdzbc3xye5pGYJWI
lwC+XU+xKBx4QgvE76VYJIUxCsAAJMxxqA55nbVESGP59v4uDzuiWMg6AQ+9aVV5XtXLekkgFgoq
Pq6oM2WSqIVLi7XZ61/w9o4BMM3dAvoAELW+5dLoWLNXOubNl5wWFdj7VRyBTI5PfrNYh6Yol51d
f3tzgj8FJ60zKq6FW5xSksR2IFa1nOUyHVNqnQds3PbihDuzogGA6BytWgoK24/WGKterE1aXpwi
WzHotB/WkqrZUsUnzV+8nYjv3mig2pToKGcZOaLrLTJTY2oCswEwYRTjodP7/GTWBqLvRveXWzn9
6fVP9sJevb47UYCG4QGDVqWlWy5SsRDVd9lcXSxrMPMHcmDgThp8OvEY236VX0rRNO3zYkMjCBcJ
G+Awr05gR6me2z+xYPb946w3ojy6sgfu4/Vr/36GFgEYuMjnvxvdanqKmVXmUZ6slurvlde7P/jz
KH7aLSVcxAFG76tj8FwcqqUJsj9SkCryI5HF2h+gqBT60SyQ8Do2WjJ+HnvX6MJuXs0+rJYCdo7V
LfJXwkafQjkN/kcXECmW4WY3fR1tG/qxQ6SeP7gNtN3DzvLxNTarR4WTih3hs/Jx3bw8i5aa0sZs
+0JbIY0MS06Hqqnk8fVRbt9SoL/gZFVPmwR0K19mgDdpR6erL4nmOF9NbfG/xXPc/Bjs7M0kccr2
dEL5i4ISgYI6cr9ljWawcCl1Y33RE9MJkRvIj86g7ymw3J0Q7zRNTxoFN1J9mTcGJajJ+rIijX9C
njM71sD8TtW4G+XfGwq+qeIEoGRDqH89IU1zMxSf+vqSZrF80PARQRS2Kx5aOBE7n+nOdUQBVzWR
FFQcjMv1UGkdVFqqWfUFYdbx1Lt+fFKmjjtb7u6Efhtl05mksNnkTbXUFw2N87/HGVyLmDzjYTHX
fOd+vTcUBSSFd6WMcOOQIrJa6Ch+sxnE8Bm7SGz7hiSNlmXaM2W6t3S8TRih0dQhod9E2sVSzOD+
kuaSJGZxBv2QRWWgBc9vP0e/j7KJMHp0UDoBmuHSWm72dc7sOPQLKS94Rg47ad/dCXGEYF6S+t1Q
FBIr1TsNN/qLhSV3SK6pR66W+Q+vT+jeKAwA+I02GJJGmwl105S7k2k1l7J046OG/dGxH+o9/8s7
2wAuC9MgLKKgve1aUjJIs6426ktFqymkIT4/Vn7/uYu18s1Fc8RjAK2CW6TDT0q0OUEGbZxh9LkX
6mXKaJAayVNSjP7b98HVMJvdFqf+4DtCry+TW/4ycs98JAmYQ6TB9jwo7y0deAiaU/A7LbRrryeE
lGLTr6NWX/Ix80+Qk9ohyq3E+QjEMPd3Qoc7g0F9JMnjUmWbb13UgH1ledm77cX0y+khyxBQadqu
/LPtvD0FMhWFbN49Gm/IWal3j92nNuZvz4QnkiAPurS7KBEOxIwX48MwrO65WwsjMqvMuZR+b+/F
KncGVdLhSnrVpHS8CY2apvMSfxq6C87D2nQa3CQeD6kIpi+vn6pbQAI2bVRqFHz6hQRzPbmSrMjs
V7fmXlg+LqJDy1P/WbQNJMr8OW+sLEzW9Qu24N9eH/fOaVbVMYVGQiUBms/1uL7Q1iWPRXOheFZ9
79Yx+4itT33cGUVdCtffjpAF/AwqdQpqtYU6ZK6cy5QTfcnWbDA/m7V0k6i1eVOoLdZt/+DrcT5+
mlsrtd+NDvDAcMA8e4gCnrXlgk1ynr43JYX556Eyl+BdPSVT/ykxx6x5J2NEyEK5yFQg/j9O30CV
df8EQZ4nz40tk+rs0kv1HnDtlD0GpU5LxJTwyY9BBwAT1Bfkp7MOEtuI9FmQgc2jHv+Vznblhrq/
Jv9604IVk9FOTfdl9lr5yXSqcjrJ0tY+l5SqsLMVefZf0LXpdHDj3PxhtMOcHnpvdsedW/72xLGU
YJDwR1JYym1nQEP9l25n2VzWEsK4N7pDNDpwG4rCbnYO9+3muB5qc+LSUvZDZmfNJbW84jhANjt2
EHvffMQYhd6zQnPx4G8rKd2yoMcYdLyQcaI9GLllRS3mM/+PUahq83LBZsYy073e6KM9phk+ch2X
xCq9x8lKlxZNidXNdxZN/Y+2W51rTz0q5L4k3tcDLWy12OnZ6nHRGVHvL+LQLTOO87bWj0/4H0tj
53Td2xHcwIqzS2mZXv71iMIvs2kgv77Y6eD/cry8+2Y1Q6OHDoiBnWV86eHdTA84LSY+RJ03fE8v
SAtLG/oOpYDOwR3QKUT7afHbdD2RqfU/RiMe26/+isYUFSnXqA9isNflwYn97HuXVa0ewkDW64Nf
d3kAQcCVqCPLPv2zhH4RRH7H2xtBzjAtGoaBM0XFIMv5q2tPpRcO0+D4p1TCKwjHoV6Dz1zcxfpg
owZrRsmYDFCJqYmtoe1njv0wJG4/hg2X6HjAA1pqUdIa3hriJGg2hxp/s8QPfYoh45PuLbI4mHWa
F29++kkDVBeWdhUhzbZ1aFhxVg9cZJc+gF8St4MWxp1RR/Pa7eWGt2+kGooGNkBrgJFbEwotW7U+
Xqr+MrYWRXFfn9dLEBfZU9WuxfOam8Ox0uO393LghkKoREMKUB99lusNyFdWjk+SDZhl7ZEqrHYs
grwIecn39B3unC5a9ar5RuGA7vkm32kgGblDa3eXfsUjpRQTqtrCmkDISP1Blsnb2QOISSDNj6iY
skzeqqV5iZnSdlu6i5PXxd8SzbQxbJO2p9usZdoemvzOhcvUlLI2GlMKyXS9kBmiSG6bMZquSxHB
icsjL42N6PXX+M4mUc1lalhI7wF42FQEA4pWfUGucFnoRn3mFDbfirGbD1zDRThbiXzXp0H57+uD
3rmkVM3CA13xUmjaBBrWLAsjyxjUKRcznPRy5JD7v+xqlof/x0hsQwI2NglKNNeLWAfdEjej312S
YQVviERHh1hthcHU0c54O3dO971vRgTF90JPnlO+iRCp/eW5jkzRRepzfLQwkfpgBHLPYPPeN6PD
ppzOFcFu20oJcjuPnartL0GnS+cfB+7dHJYiw201b/0muGCVbvtHjRBzD/lwG5qCoCRAZPfDduJ+
uV7PwpA49s5ef5nMqf6rIABZklCDSKmFWtIYRZjWYkCzKc8LGVqJp/VhVlipu/Ou3ttAEAIIeei/
Kb2F65/Rm0aTTqLsL47R2Ke2t5tP8Wx3HxyZ9U+v76B7n5QOErkttSLlxnQ91JAh1o+NTn/pimCK
HxInNd3TEiOucHx9oHu3GUaXqqmvGNPbRm0/GoizOw5fFXbqc1JqA2CObuqeA3OV31zwpDuImTsD
Iu9B/1mdfgUsvJ6Zq0kJ+0d0l9ybQOZY2d9BWhehnxQZIOw9pNidT8YlTVUeFAHz29bmnTiZQSvw
LjSa1X1Ki248ZkL4n0Z72YuK73wy9R7QzVR6oqAyrifW5piYmTPXC3A/kNuFXoZLPdlv/17oPvL8
gP4kitw2GKsyM2Yap7w+hClfqBtJWlxZY7535sX9A8W5Pea+es420dbvA27b6xJsJmJUbncZGqMk
2Eo/NWX5RYJWBzL+DsDVf13g7LTY7y0luRqpGh0csozNaz5mNUvoeUxSakYfrasMqgjVKGOvxnPn
TqM5pEzOQLlCDdt8My92vDhfUnGpVy95HAthnBJ7Hk6jaY8XexLdoztXew/6/UFpFoFvQctzW+6Z
qyIJ7DLuLzXNlKe+k1NojrGtNO36Q1bzLJXNbpPq1lObcAxFcwA1XCpUSTZ3qLFaObCpRlwm2XX9
KdaK9oneqviE0jhoVLcRNdITZX3odasAU+27xQXGFVZvmQPf/PVb586xBDxhwPKAn6igh9dnJU/g
jvCi8WNqF6BGtxwGgLNRgiPtDmDpzmKj5ofMBTQ8uM7bpyOeZNnPSN1dZjGXPzNLT/7C6bF9hqWf
fwwsreeNbpKH16d3Z//SoqOZiywzIfdWDMfuJh5iuxkumi2L97KuvWf45PXOKC959vXRpIyA2Kyq
2KDXu52bGcz4fNqsotu1/bFajBLt/d5FpgFjU6xec1jrpTyURTY80wtdD9VQrgezrMfTUI3ohCG/
Wr3ty0Isx55B9bIpm/KBtwhrId3ZzQdvPOs+lRUrbuunXAbp2ZnlHolts8pqKMDUZOvKyJi/bQLx
rM0AXfbZckYQUgvNwEhC/m339KZv+TKKYsvzQrLOCLpdb9USl2zLW7rlrFulHqWO3p+IDNadgHiL
ZGAYJYkHa4WLiD7otrQIRaEY+iyTZ0tQBb6UQZv2D3O/eqRQdCRAbhtCNI+tXVvV0cUN9WemCXf6
YfnTOIIlL/RfbpnL+lNtpTKtwiEb3D8L+LzW0bJr7yK7pgUAoxWWdRSJ7r3RuUb9fmYAYZKWO44o
2xIKrVvfaFdnPdeLS+UfLkbCbxhBZVVWubPxX5x9ftv4ajDONNA9sll2/lYDN6ASautDbp1b14Av
RoWsRzh4RYGEfQCkwEUxTpT5Y07RzAxLg/rwCccxvYsMM2/GAyZFzi9BDjv8MVetm31I9GIqDnZX
pwimaol8CNZ18sLC0MZvgzl3BVlJ6fZmWA2tzwJmQ198mwypdQfbGQfjZKUIlTD2mjc7k/Wu3181
V4jjKnulQAUxb3Nvu/B787Ys7LMVoIEC+SUfDlLTk6g0Y+fTZGXVP43Tv9Fx5WVUdiHZtEUOQ1Zx
vevnEUERrTWtM9G84YY2UMIHCUWuCm3xVlDpy2CU02GlA+WnoqiW4LeyumMJERS5tM8oa1lcYak8
QKvud7osm8CTUZQVBdclm5SoejslyO1m52WefV5RkHyypzT5YpW2/87JDPmIFe+8Q9a6Nx7oR8V8
4zzAIbieVVYGC5IYKAxkWeyGdOCaZ8PN8idrTMAB1P2ert0mUHuZn093AqMN6h//k7f5bRXjIRAN
ckrOmV+U/okg2nxq6e08NbD6wiaVxnv65vIkEHjfufO3scX/hsbF5IV3Ak5x8wFFY/owQvHz67Ss
D0HhpQ9DvPwrELR6mrO0uvSGkx1awvuHIg5qHCcDbBFW1v31u3oTVrz8Dqjp3AskMjjBb3btUMNZ
7im4wS0u3RNJ7BLFEA8OWtvstW43Ken/hkIQDW0kpWm1TdAmEeiN7BLn3BPehFXZ6IesaupDNTf6
o9mP53Fk4HWocOJLm2Qn47/zrekVQtoAwwIQe2t1WUF8KJ3BxBOykW7UZeb0wBFiYZ18QDWnTY+Q
vtEoKsZ1J//YQpnVxK+G3sbmbS9crUvdc99183EwVvQ5Ct35YJutd5KwxqKYz/48zfUYiW5MHuzk
jQCol5+A5ZuSpoIkfMNataHGFq2fu+csr9xTZxhjlIpuVxJTtV2vXxk6RTC7CWSQTqA1dn2AY6Lf
BilQ/dwZ7uKdpj4mYR06LAmPU5bqTeihg9mGpsiMD7bopuUwDbSZoj7wqiGSLqZjO3nR7WeHQUMD
AaFtMiNzS/8sTRQyh9LSzyJtz5J3aHm2hPeOYBMPbc95n6NRsBOY3AZZJLXsc7XOACK2zw+A5BUN
S5tFqJzyqOmpEWIquOzcILeniSuSaE7BICnob2ucsig7+mCxdV5HZ8YLY5yeBNigQ13GyakBPYwc
vGx/IupEcTed9oTc7kxSva8KZ2QRg21r1t0qKYNklX1ujMZBICjILh7d/52jc3cUusbcO+Sb/ha3
VxtO1ZfabP8fZ+fV5TaSpum/Mqfu0Qtv5kz3BQCSachUSil/gyOpVPAmYCPw6/eBpne3ksyTXE3X
6apSUcogEO4zr7knSNXveOvl+yItvSvGQb+A02fLlm4W7SzuOcqd51WqDmdflOc6715vg2q+F3lp
pOiFCeBm+CN2Q/Ngat3gnNA3HNOTKtxAhnbWpD/91SuSx6HrJp2Tq7BL2FnegCBAFiFY1f5sFO5e
Nxo8Mt0J6z7x3puFIWz2e6ryMNd9tOGE4wjAnVpZ696jMKphCXNFFQPfncn9jmNoM4AIydAnjF8/
+l94uRzGAJ6QQt7C6LNjyclAvMm0sO+l8JsHgQI4nGOv/PL6KJfBGJcXhX/q8ShjsAefHwlU5OwO
er5936SJfKrLdXxK/RFa+SysHQ3aed9r9Xzl0V7Y9bgibJBPMhBO9rNBbTP1BnPFwrYzxu7GdGsN
T0HLuiGksLFzC/JdH/hFlI2ivCaV8MJbpYPIXUpjhdLW+cVuVm2ObQ3Ge5h3zTEKW05cTvU1SdWX
R+EqQ+KYGvH5GaOPLFEw2969nFW1o8Fh3+FQdq3S+YuCfbYxKLpsBoIk5hs25fnk5UaPaUAGoblA
ig/fFA2I5GLgXyT7YS/covyylrr1KBc9fwqY2m9cc1k898P8DZFp9fjbS2lLKSnxUuOlPHmeV4oK
c7RBwz8SFOkdxfXTUOK240MgzKZEPgSaVexfH/IyPKLuszH6YCdA/TmPWdI07RzoueiFNVpyGqfA
3uWLPdw0ttSvHOiXU8ps0ghmNmk4InBz9q4nJxWEgdp9BTLADdXkdWZce25hXonqL5+J6XTBjUAB
YtdflLX8RNJjGbR7rZfyS01OXIae6M0PyRJcU9683Ijb0uGO2BogFFzONiKtHr0JVp+xkqLxIr2a
7SasS78VMYChbAh1u8+HaLYDZSE5X5i/ac9E4OOAESMH5J8A6s/v/6Bd1yE1mvSI67MfdhRmYynF
599dJQyCmilaejRdKBg+n7osr8fRRorx6A2dG9a2N75H3WCNmilzr/QCXpo8QAq/QHwc3uf0DcNg
zlrU/Y9tW5s3PWYIezHWzl2bpcaV7fbiUJjqEjhhdUAG+PypLIh+ZEMjVOepedvndndDyfXD6lXi
SsHxcuUj6wJYefPVAMBzfkV0wVhk6RCkx3HQtdOoz/U3I7Ob+PVJuryIuOuAaaEJ9EvM5mySpiSX
Jbqb9dGr/c3tdWo+9+MgvneBMzzIIR0fBUp6V6br8tE2qTGOq026Camxs65trfDRKt0cWJ8P5gdm
Df8KG837/vqzvTAM1ES2F8E9D3neSJFQD7i5xw5btgHYQGXnDxNX8uH3RwFVx33APiLEP8tZM6Kb
IhGgSJJqGqMOyGJU1cY1XsPFsgMqQLeQn0/NgRrA2Z3TJS4AQbzLj/PsIwQ6TWM4evLLsJrT7vXn
eWGkDROLTQLHLoDV7fO/pf/1iHCiX5vDEeCPAHahf7VFD6Y41a4svRcHokYJ9YpTEMTm84GQj91o
Q9pwNMs5iSqXcCA1qhKdid/FR/9yfgCDvb25jYp+ft4Bgeu7Eize/TiP45O1Ot3XubN+E/LwaxSS
D5vMg0V9IXRCJj8r6hcozKX58tSsiMKuuTteicsvVjWwCkBZmGcgbkWkczY/AzEaRyvSI6M02nju
sjQO1qviR5eTQ1mAKhr/o60FVPX55DToewRKQOhCMcoydvnqloegDqwlNjssQn53ydHBoa4OH5yx
uJmeD+baGCkMVhLc58uaubeNb0qKqE2tktCElHvlXrqop232mtvFR4mLK/A8pOi0tWsVbf57xxZu
6FZDGbZOttNk/TlTzTVpvpdGw2WPfJBjiD7k2fEgZw2d7XRN7sF4mF9lJ3HwLDvtdiRPTUMndX6z
scsq3NRvKGtTzaGbcZ626dOkBxrozaMF1icWVT/uJqdRA1LMY9ccCJF/U4lvG3Ez7QLCBNeBQvpZ
fSOvUmdccPDGZHN2fs5VMHzL67y+Uqq6XPfbnoKyzNUB5epX7fBv51IF0dagCyWOiDmZ74MuEZ8g
MYmb15fiy6MQbXJSbKSNs2dpoDohd0XzPYBov8PvmnKjWK7JpV3culS7mZytGrRJNp7XF/EEwwDB
Hadj0Kzem1LPxW7GvODOKnB3Kt1F7arO+E1sJdNEYgucjoAMzSdID8932eRaRdq1iMLoVi6jarL7
WO+nOoRoc43JuAWwzzKks6HOjvbJodvV0w4+mrW/Pg19YsWB5gD8Nqw8zitZPgYqq25LrVx2r8/f
ZXLGJtvaOWS5pJtUVJ8/pdu1RdVm/nRcbTUexaDNyJlDLBpg84KIDCt/qHdyHrLbMgOTZrtVG09+
mUaGv/hR34O3fP0bXZ6kBMF0sug0GVAZziUyeQvd2stpOTKAcwtuU3vj5X6zk8hXX8lhXnjtQOCA
H2+93K0r/vzZUYgV1mhn8jgPRXWAkumG1TgvoSH77dQJip0v5F8kNSp+/RlfWM+IeIAGICfEH/6c
WkC7ZKk0hGSO2GI2dykoqn3Z2fPRhwx+b2Fe877wi2utpYtanwnsATlkLg5KmRc4GRK0tO7bcj7W
eqtu2kDL6ru6Lb2o1tFZXxE9jyoEvcMJQI1xmB3vqoztC1NL1LyZNqAdtfUKnr9vp83noRvTBeG5
ZNpLT+WxmFPStymVt6+/4cvWCPsf80JSNm+jP5+ziOaAoolU1oLnVDo0YZP2nhOmU169NcpNOMUq
ZPKt4SnXcDLMTIur0UbPf50FRbOkL1Lnypy/9PDQzQiwid6AJp4ttm6iy43mCAZ8Nc5/njMH0bho
h0Cv+8OVZ9/ygbPjhBSFJiKlMv5yz/f05mHiTrk8JsIKljiR6NtabhkrJfUBrcFCfp7sZdbxUlj0
JpypCoYOXl5XGnHGS49sIYVImIL3CLrYz+dbh9Hb1jP7y5wHUGZlEEy7zs2Ck2PWzjFPja+dZSKg
lLcy/1yU4jbT/fduamdlWPrDPjBrO+pShA4OuUDa8MpB88Luh/TCRKBZxXY4z7cnBfvfKXXJBTmZ
zp1D8RvPRy1FbKEc7eWtOQ2pG9loCeYhDYdUXbmgX9iPhDn4GBL/QkE8B+TlGPAFszbKIxdRL2PX
R8yxdkVyaxT0lvygnCKR6n/1Xl99XfwRxdTXl8llpEVAbNOZ5dDnHDpPxNCP7oVecQjlU0dbtpIP
JgacUU3AeiM6ceVpX3rbwB2JWw3Odtrqz9dC3WH14BWFOvZ1NtzqIulIXwTEjNBW6YOv112ILPxw
7Aj/riWD54Cd7SqH5wljEfNDSrnnWLokL7Kkzxp1pNpb7weEEWgT+di3FFr3qCXIX1qjg4GGELbw
UWLo26dAH/ABKYJpMGP8W9c0NEZH//b6FGwb4Gyj/jduh9DmFwH/+UvxtWUwcfcAqM9M7CfkM8Kx
sO3/wXmA9O529rATARacRTJWNxtdm+UM4+jFPkuBKmmmCTSjSQ3MBFZ7Ny2lQi3MEe/mqey/V14+
fXr9UX9ZmF88KwJxDu45kJjOo95609XuuGSAi0zysC5+ujP1TEOVAhXesfLpN1EOPVCG7+5TDtLI
d0Dk+anWhVmV2/tcal5s1LV9W5SD3PmUh39/Q8BEBw1hojmIJuDZEh1yBPKx+FFHvD7X+2ZR65MM
UOUJM6vv04PpluPPKy9lSwvPXwrHz6aiBKCGYurzBdCLsRnnWanjogVd5Ex9Gc7ZIt/wHd+xVjF5
7Npm57VJENve5mvd6fN70TnybqZaCvza+x+EorACsW0HPaeD3zsLRYel1FSSZ+uRlgs9bV1XhhmO
7uraLE1ZHkTvDXuros2z+Fr54fX38UJchKg3YHfyoxcIbhR6p96EI33EAntMQ2QwvMiziPEHYKlh
VwXZqarK4EqF4MXjgZIebHD0qQHYn+0P1E8rC8MvdfS9ST8q31jbaBqErh/KxtQRTHa4KUIzy3Us
3yqZfdCgbDa3JVJsDlLxZT+EJFr+xxaX+M+vv5EXDmniJOQ5+HKA4M6Z6ijZJh7SF+oIdBU5kKKA
DB8amUe7Zu3Tk7TkOFy5F186lGiQEKAB3LFowz9fk1i46o3m4B+0DlhnaLJy363TWl8p117iGTiT
Ab9vp/HWZTuP88ecZ2sSgU0R5Epjb6iUyFtb2qG4DTxhvm1Ehx9uJSkAYPKL+08P6Qb0ymQa18xP
XkqCAnCxLtcSHFy0cp4/snRspJC1fj12jcrM3QBJzQy7BUnQaEBgaa8De/uemtgOh4FdF+OeRoOZ
hAVdWiIaLEy+L7nXq2uv6KWZwCjdIIzb/n5eVBqDxdKSbFyPyWLZH1skK3QQYc66mxubiMExVH0M
pgDpE3Sevpd2d1hR27rNg5T61gRH8dOKZEBojlJ+fH1ZmtuWeH5wQSFCoQYfF4TYCWKev7Fel1Vg
NLV+xPat8qNicFQX1qvWYGuULQZ60Eo074rENm9tYTOHmGWa8+2cLN7PXAvyJ0c2zZ+1lP3JxrDp
bT+q5T2uy4HcbbRkAO/DCFm+N+x7T0MpE6TPlExXYpLL9/v8IbbP/1YiQdnfdfs204+mQlBmqAIr
QvgwuH39XV1GwYziEWTRQ36hl6uGdMOOJvrRAi5SHEsuyGXnN51VvdHXziqi14e7XMzc8ZD/N3Qu
RXAkpp4/FaS1oEg9FrO2euAnrbG3ulClOT4zq1/ux7E/zeOwPGqeagmBKCVu2HNteaqQrWlxDZPo
hl/5ThcZCRkAeQjVNahtnC1ny0Xa1VokprUeAbUsbTg3TbVbQPTgZUat4V7z2tmLeqsp9dhRbuUc
M92Zfhp21l2JuC7P+u2b0FCnvrDh5s5rp710ObxRYzh2oNT+qvzCy3atrc1HzTErMjJfRiUyWbdI
Zvk7L6PsWYwadQ9NVR+kyrs4kwiiv/56LtYh3wmLHHi1yBr6NBvPZqzQpyGZR/1YsX3r0MqKygmR
kbFk/PpAF0H4NtAvuTPIeFSpz5aGr2vlmqMJe2yXqiLSqH+kUn7Seu2ncNoYHPPe1Zv962NeZuL0
4hiWWhoASALws4iiK7t5RYPJOHrukh/crjPWsAb8/xGHQTjzak4Edpxy6t8Q+2o12L3CKsK1tlws
xlsDcP2VL/TC6wavuYFVCCZBlWxRyN+2vbKyhoaT0o+9PQbijZYRRt0ZXKUPomjSYF+T7RUU4Ozx
tkLn/pOGU5MfeouOixxO8gLhf1BLxIYTaErkbu0rofJL3w8uEwrRcDQIRM+CwrSdTF6ZMI6DNYr7
JNCnt4WjgmvZ+bbnnh3hzMvmRQeWn7I+udHz12BMwyRbgtOjWhb3T3dsQNhnjTZ3cVOmTh1pHOH5
nY69gRELsvIkWjHH+JqNgQpCOXFRWmHRmB2+HQMk52uEhl90nGffj/IrFRzohyRHLJyz7+ettWaO
ai5PRW1Uzq5bDKU9mih7JTbOjgsm5IY5S/XY8N/QFQwKPNn2iUd8et+CmC53uqcpsatA98PDL0u9
vxEZto+fJpEqGdddXS0fc6uwl73pLJr2VCX+LH76ql2HU5DknjOGhZmL9oewClpGIco0jjPEKX5L
9QrRbLGaOG0GbO5dtZbyuwt0JH0Q2F1Mx2Ysa+3aKbrtlOdvZGsw0uDm4CJYuSReuNIUMs1PfqlM
gJGo/vxpl671Ra7FAup0NoUR2rjvgOO2tcL6rAoFyb230qKOzdHI6ifYMcI6vL6htok4+1qcqGBC
t+YXy+ns+IJzmBR9XmEn5mXLm8EZx690G5I0NlxtCd5kntQtHGxwJLx5feCL44wKF/ospPebFuUF
4k5X1JbSxsxOUwbT90YsXeofKkTfcBWzRQU+MxhPsKhSgX08cqpX5uNin1JLpcvM/+lNQHM8u9Sq
pUWMyXWzk6iCRYR4jc7vTY+I8PWnvHy9rH5CZO70TRb8HD8/JWxJZ7Wak5viIRJaU7D0b/US9dYf
XqFZH1VX+u+cAobJlYPyInDhwqYlAMGH0wFs5Pb8fzsnN20fs81RWelk7t/2WqAdWryGD7bTaldi
pMtXucUGG4WaUJd3dnZHBPNS+9o0tSclXHVjYoJ6yHDyiF9/k5ejwOQAE8AwVL3oCD9/IC2rzFZM
Q3vS+8qBUiS9uLX67kpX4SJlg9i4PQNKGWyLi2LTOK9JUJpje5rsoD2g2TgdFr+x33vzHOxMQyMi
f/2xtlv7+f6j5Ux5xwCTDk75HB6VZwtE3ESIU1+Xm1DG1Or5wbdAiu6Vk7vJG+LSvH2XwjyUO2SM
vOWrveRQ/n57vYDAgTRK/gRZG0Tx89c7r4ElEPTrTlR22xtdmCrZr5bfGeHkGVfJDy+85q15sglP
wDCkbPB8NMdslspRmThpLKld09f9TeOr4GZOLbMIDfCz16Cul/sBpBujBcSwkOHP8TFF2doKAK84
pbJwsc0pgPsH5ICfHU+Tf70+py8sVcKTDdkG4AcM6NlSnXyp50rXxcnILTFGtpXi+6mbE5X61wd6
6TXSIQZsv3XbiYqfv8bCwGoPWJXALDXXIwsnsiP1KvFgTqPAWHeRv93fA0VAiYcL/dd2Pxe60IfZ
93O1iFO7kMiDmNbvUMpc71yf8PP1Z3txwgDV2ZgScHqet/Y9TOun1WFjLEng1hEeX1YX906QBrfZ
6C2fXx+Nyvn5RgR6SVTpb2jFTYPlbAPAJayWhojxhCYyxsdBJCyjfYPqbn3E1b6NLdp7n3xXO2r6
8q2AZr6r16DZK0FtXxF0Rv5azg9yAvAQYlA6f7dX4f5cVBMpSZ8uSyvjNoOIFjaWWIYInweSBTMv
Q7NrDS6GKjuIukKBdGyC/FNmqKMYLe8hmFwjHGxNC9tms+otg+pEXVvey8H23/R51u8Ifme8C+bj
3I20frWkUidVTmKnZ66PxJWH6N+qsk+5MkRL72yYdmma4f4yTTE/at6bk/alHooHN2nkTaej0rbk
yVSFufDqLPTSoT8BjzfSuLD8+l1jOf09siDlfSkT/dA4veKk0JMQgc43TeJXO76VPPn4Uu+7qVTd
lN3Sv5Tpp4JS/hNKgPK7IeqkjDsVlMdhE/OJumwZ3AcP4nr+zktA4Nx17srLChDODj44WKEUMVBH
pmfrz71fmpkyRdVWZncTKK/93ssly8Je77DQajHyLPeqdqlZh1ltVszI2hDZ8b7tRpxgehtrcJen
mtfgtiO8H769FPmNL+dNf2Cs56XPTmOyVuq9q8N2v8FDxE4+gRTLBzeaCrQXnEifjHG5cbyy+2uW
DihkP5OZvUfITLaH0dhEzfS8zPL9CmeB2A2GlR7XbK1+l2iYB8SWGpZ8j9yYWHeQZeW9BvHpmzn1
HYakLeHevPZuus+MxZTR6I0oMi+jkmasF7rfRk4PAjkMUIjGKkRfBh2V5rkSN2M1ZM29DHpjvHHG
3JQxGULdvF/gQI4HWsgz8oVJRWkcPQeXAAF/Kv0IkssxDlVT1N0cdkVnQh7xtXT4NFZFr723knL5
a7R7y/nQcBwNdWTTcSsjo9WHYJ8FpTcfYBMQWc9mBbdUWf4gKMJxx+4xL5ibnbGULVpky+R/Me0a
lQIQS1MZ9h0ghiigOFbuZkcE77pG6GWU9yqpcWBL8ja0g3SpDt1SdtMHGy72+iXPBpW/E9XUfp3x
yFE3QuSqiJtuGNzQa52ufpsMHp3yMC88aDdu1lNns1VBAuCgdpL2YVFOhRnhFm5mZIRDVX21uqyh
09r3szWF80KLAVXzYnpCYsi376YyrT4uskpBKkNbGx470HtWBdrCMEeG2cSzaP0rWLEIzyV36YBX
1skZOs/ddlDij3ejgxPsabVbSqXD6GG1k+fusuxROFbVQ1Ik2fRB81v9L8L0Poszh6yNDYRF3c43
hCrxu9Dn/q20VD8+DcHYjZvAZqUvJ5xlhBViqWPPYU02s955baF30do6FMNd4W9iWjimBwNlT92c
y1ufpN6MfbRg3I5i42pRkh5rV7svEQDz37aLtDIFNyOtaNvo3tz+aQNfCT5kxdhlsVjdzo20UVc6
5fVpQpZPegskZlyoD6p0/OXPxKjb6kErGBSTEDMV+2XBod60E58LHrBlQYu4yIriYwrmu97bhT3P
oTBGTHMSVBU+ZSoVfeh4eTa9wYFYNaGuymW6RyOuKQ8asbYWkyE4Ctr0ZHtvXWW1Y4TAo+2Fujfa
YqeYtzEM1r4v7uzSq6e4Muuu3W6tsvkrcao23VWuPa8HJcaqPiaIkAVhUlimuJ16x1xOKjcRcZic
Wqdsj74TBJ6m6BN4oVkAc3HtdPPRcVkUUZ7UKcbPNkZiB7ouXX1LFR6DrWmd6L24UKk/IgtIxQEa
D8xurdLt6RFPH4sCL/s7iIIhGOojmgeW9q7Vzbx/yxcZtM/LDIH95BmJzHYNC9y98brKWmOUnkYz
Zqp9K1z7cv3kpGjvtUxvZmecFpTEI2+wFU1xRNYX9kCSmE6EKe7gxHVtoJbNol+mnbcUyj90So5V
rOmiyx8T19AaDtFiUqEPUH85CBsSXdiThI5hMw6reFSGDefLkCj/hY0YOOsGflh7ozbdwdvGKJz6
nrmT1c3a1xSEl6CrP6aSUJZNJVisZdf3H6eiCOq41RvhhJAEhq8COZ3Pqe8l+s4b0QtCHBGDxPuO
Jg1F6dTkzM8lgD8U5rqsPmQKhklIDjTAOm8bmFdaNbvqFgW5bGZzty0+DW2b6+EIGvOLLnp7iIQD
CfRGH6S044VjUn/XJp1K4lK2KgvzavOD9hsUMUNZ59W6k8rtnbelP6ridiinUTbhNGuWpNmqNMTr
7KyYssgd56D8XtiTPZw6LcBqikMrESECe/64pwdtHdse1scaFqqh2u7LZkJ3VSarth+62l6/G4Vf
dntXJt6XuXXaIcYai9qvqYtJhmK0kwbxJqxkD0hFZGaI0HcDC0dhbxsOprTfrc3a1HuHb/i0QvAf
vnSrgZ5BpLXwcyKOjqrd61CTPuX6WrecQOvaPKYjRh8U7eAnxbQuh/QAhKwEuLHkqtsVvIVtB5Wp
CjXZ9UGEvSG9fjWP8ksPVkbuWw+dk2hujRWXzGYJzCc4GFP9dkb3quvBmtZ5GTVtPmlxCufbP0K7
tz6vi2OjkS889VCj9glQs7Ks+SP2JnK4G9e5nD6PrsrscE0nbbgFFeU1YW5I3Qt738mGHWjesjog
HFTk8doJ6Cv0JKf1NqmGNf+sGt3r9wP91jxCp2laT4s9T8te94fejxc7DdSDY3XBB88umv4m6Qxz
eJJtDzTQ7Jykv+m9zde5axOUXIC0+vNbfFeKal9q/qrdc5mIz2hP40QftGWOdShFkh+UkYosHnjZ
9Lcd5BRvyhT9iAez8BrvC+kfIYI1etayc+dOm074uJnNIfWxWYvWAZeFnXTaquRIstr0BJShxr2C
3endwO7Uq6iVqW3u0SwjFKT5Ma+7lUhlaznT64r8unOycJCWvR7szkyrN6Y1Il45N+k83AZDr4y7
YM08nJoaAwS6YunTZFCiHPaU6xs31g1qvYdqXAlfRGGmH6XPsrhj9YOs0zMqaztMwip1j1nc3O+l
AcE1nMo2K98llpWfxtozushN5oJjI7FUhc+WMbW8nEUkkLu3fhy3npXFZt0mPK3vNY9LjszrPrdX
sz7YBkHYPp2CdrrrBNHtrkozoT1hmmX5sT0MmVaG6FHMBHq4swTJGi1mVqlvaTAUQR6OlYYtkzaX
rYiKSiClAbO9FXut72iz9j4GqpE3inSJpZFo2kd7TdLvaTGa5pOWif6TkRg4B8S6o+Rw48JIweg7
y1t1ly+58bnXbJBfyUS1LgwGN5F7gvBOvQlqG4+Yvmn6d6PZBsFtiqdbExLgDd0OmL7b7NFHzdBW
s5wq4OLqpo8Odb87o0jc4hbBgREqIm+kPMiKlY/E3tIvcdU49Q8DgJcTy2KU9k07rdoHnQDMC1m6
joyn1fCbSLqFpZ00qdf53hLteNdaRZXsK12zFLYTmdOgIKA1IyYvPceAKT2bXCqFwrfLOI6DOxRS
Ok77pJ6aW5d1P4ar0UtUb6yyftRM5foEYIS/p8UyhBVXZHsqdMsldfh7K91oxohURmrIAu8upXBv
h5pWmU84D1jFjd2VjRdqitPnvluVG4R2h4Yh24RA+MBMTUlMWWc27ts6sdX9uA64Q0nfQjMjcYRk
nXlrzpJBHZCTaJCivnNNr2tvCTjGNipwX8ZnIxmXn+VqesvBWO0s3Sc02tfQlaPb70tR59ZuQQI4
e8teKOaDmDKaQiUmRz7JWL22x8ZIZXWoNyGbEOdFxKYiJEnnt1ZulMX3BLGpKTYGrchkVHdCPLZp
Kb6qrLBR0XPzpBMcBNbo37egY9OQIqqG2y+5ZJHsoQpuyWE7rHrGPa7m/KHUg4m29EKr9E6ZJF0H
aiFB8iYgoLL2gdSDNC6bbB1kCH4s6U8yt1piL8AlxU5X0MlvxhaTPDcMkO2zYsfM1+w0t4MQcVGP
3hq5BbjJiP9cDw+ba5p1IISD1kzM6Od3kA1wGXXNkUZu4a32k12KhQplsQi5MwtClM9Q+IWt6A1o
bvCzoLs2nqwcGZ80XqYqB1Wl1ynMdpCWmuxDUBXdRDOyDgY/RK5jLn+ADFzF2185+v/6If8z/dk+
/ndVbPjXf/HrH22nesysxrNf/utN97N5GvufP8fTt+6/tj/6f3/r8z/4r1P+o2+H9q/x/Hc9+0P8
/H+PH38bvz37xa7helRvp5+9evdzmKrx1wB80+13/v9++B8/f/2U96r7+c8/frRTM24/Lc3b5o9/
f3T75z//gBr2t3LF9vP//eHDt5o/d9t/Exe//ee3YfznH7b/D7hldPEpkIABB5Txx38sP7dPLP8f
kEhRXaRABAxrs89t2n7M+MT7hwVeCUb9vz+kJgnWYfvIDP4BKQWQK/QGSA5Urv/4P0/9bH7+33z9
RzPVjy1CuMM//8DD9llRhXblBvwHtQZGEfzgBUyTpNWpkhnVYJFpOSIPyGDcpI3TWtHajLdZklc3
SZsMQQzowcYPUvZLdoOLYZF98IJllqEuM8TzPOoF5Xuqtf4YY8XXdwfwsxbCwUPbEToOw9g91CMu
9HuvUWl6IB2W6T4gnHTvyNVr785dh03ashx6S3ydUMNW75IW0n7kaEUAk7gpNfujraoBYc7GT0cA
U25t+IesyowvOpJzZdSWOM3vx17T3TABA56cphQkLjxytI7itK+kFQKA1HVuxaF4BONGxQFeWcOF
wd1U7ZCfndSHrOY3hYlcV67VoOaOJv0b0x10o+SvAmlgsXMtd8IRVFeja0fzXHYU+CbPLt+KsZP2
BzOxp3qnhBhHKD1t3mp67Jn2stw5aZKpEHEmz44Ks3GKcJrUTJw7eam3yTMZ73Or0hKCBq/JY7Ms
pwcNpTWxS6ZyykJLqoyWU56pN0OlPlSl07phXzbFN7+T8xujKGYVN1NpNSHCW9YS+Z5GapgsUJYH
uwBKsnYutuHW7DjIqpDHxAJdkzpGvmjuoh7VoGw/CNdxeBnIKlBCXFuQL2lmr9qODF98sNE/WENz
boPTXMHMuy0LHDd2HR2G9K+q9ibz/dgRyO05bzs/UiBO5Y5gCdAMSiP5FCFg0KRU4IL5tKSWXe4d
6hZAJdKS5ZSmUy3AMtcMbTc4b+yqoddFxHHZFbfO2KQf+lRqa9RB6qx3VKPXNeyw9fMijWrEu8wb
dZC9kA3mnR9U/p9JCTx4ZxVdU8QDd0B2FMps3pEnr1XkCSv5KX2lPsLugpokJm1cbzC5UyLqUZ6r
Y7vU2mFnO7WZ8an/JdV17cbiqq4PSUPafhdoHgr4buqyxMxpDmCFz7Is9k3pM0Bt9cs+dyXaT40n
8Qn2pSb0GAE5xLknY61YYmIO+v3SVP47tbjeCYrZr+vKrFVkpZ2dhWCpW8oDCwFWaNZZ9abK0LcI
V5oSX6a+9rn6GtWaIVFLX4dkdmI8SG/01yi1Ux1HmSUxvZMCBKXiNvH7+rar5+7bZitQRJaRjn/5
+VSkseOUsovqdUg+uaMiEvWl1X1YM2caosTpDC2q5nF5KIo+SMKtvEI8q+zkZBup77zNewyDaWuP
DuAuv4Atp7i/LaybEN0AZDb739Cym7IYZ8vFC9sZI022uzs86VrVF7sl6e0AngCLbD+b46rw1uD0
OC3TQm5Ztkle0lXWHGJHt7U/0Bowh53lJ7g7w0KkFDENVm3t+0Hzy3ji7v6RgIBN46x3liEU0h4f
m3wav5fcgn8idI3Yna7P1GZYCmTNCxTgsNPorYTOvJqfysJNzDAtTZVFg9epLy7FVjgOWu6yqDPX
faz0bG7jxf3f1J3ZkpxIuudfpR9gqAGc9RaINXcpF6VuMEkpgbODO+vTzy+kamtJbaOec3HMztzI
qrRkEBHg7t9/Tf0sIgwwZS10AbiisirmS1+tGK1TwzvjzD0UnEPcOu/lnqgU02FK4ApQu3U1ZD8a
tFs5zmERy7HxBKhaaepIhNnScHTIDdA6xxvqY91mixO1rOVfnApHeUz4SdcAbUxVEYecm7Ok7VTN
B5+FlJJOrB63ldP6fG/Chq6Cwa/3We7Zn3u3breonx3xAZk8+HWwjfYVDaBIADfggndO6jPFTCw6
RLoXaw0YWrMUYiiGzNyBIVvvKlt6uKcC/U7BOixxJuQ8HBCxat6q7acVhVNEYY0puRTRalb9FF+M
pFbsbkDpSeXU6QdwpzbFMqGUiOxSWESyiFYRAqcd7jmBWvZkB5sgCmqbOPjkd4gnE2njErNSipk5
8Tx1qxQnvwJH3uziVtAPdc3XlYGWmQ+lm80Q5EWSlV2FwDUr3y2ec1UVnBDLoHlXOUrerbWfNKQf
tAPQt+YmGKR9pdfuPp377XLAcmIvmO7F6u6QN5w9av8yKqE7s45Z/9tjnYuui7GRJjMnz4fUbc/O
YJ7ybJMJkJHMIqGe2eMoPazSd34TFE/lOj+Dg8udyUV4Zn5J5R/fMnM5kB/6TOTnCY2wT9c0+XxZ
6t1ZaXooQ/fzvM2Pvja8eJhWvpEUbH3yNh5Zq7whoyrdk7xxkFvxufXKJ/DVMTZGfe5t5XztrGW/
spjcaD8wzosAXUhGsy4+4A6+4K/TGutJZSeqeR97foJVphyUtzXIszgtCImMmNmpyEzHsT/mg7gt
Z9tC++DFtelcse2xyrV2MtWZfWevU7Anwc9LI2stsx3yzyxJ7SV4CBvPPm5bCaZJika8IPn3/a2M
IQjKImLG3meyukrn9qynuo7FRLmDWu8qWT9Uurw2ppWI/3lwyzfwv5vSqIsrxtPlwW/YUbweny4/
6H42llsqesbHemo9RO2rcQRafpoHkn352qco8FuPFgllxzlr0SFoMnK3CdjB++g80Pwl8Wd5q3sI
y+FgN4ZPOlD5BPdTJciF1zvEGDIpi/EKsPRxsOvw2DvlTRqmzns1TVgc8tp6sEY7iGdXPCwDuck1
ipqPrj3w2nUf3KcG28nmmWvcaLbq2h5uAcCGKi5DKYDAm0a/n+au+UZOFYxh0FqHcqIIYh1N70Yb
S3tnDurNLjJx6o0madeGdWclnqji0VNhnC/9V9Vad8ou7GLXOE59NNesfe91M3rfBQ6lVih81pBW
miJjFuOhqqZbJjA/Abcr2V0143kg5/uyCwG28/xxWPIXs9PGA+TvGOOEG3aUErykI7BwNWdfqkp/
NEXPkYa0Quc9Tp/2ETWg2Kd9Kd4ASJ8Ks96eqhqQwDQdzi8bIZbrPEWzI0FS6vkgprCP+7wqj1kn
PlYcJVBCOW+jUcaeTz87B9kd8lvjvV9U7HpT5aFnDOhgLdLrzjbLE6EpXL/PmVW218xM7m0F5hZj
275R1sDTTERTcQDjECfthCejRPFBv+dD2zTbaSVPL6mUX0SzXe2RI9E762X2myuqd5SLfFjt/Bsw
2fRgGPP6aLtl8THTPa0cp9wtLDtGCkNqNXhCZx/61lFExLboLPHt9sq20GLmTfo5BXs27220VeWN
bY00NMagOIv7rc/abalZBaVDKWMK4B3VYJXq3aCxt57tepgnAZY5hdU3JH02UoQyHWa988PW3rpk
aU0CINFHBXlY76uZRBy219JQ7RcyGnQnd61eraVOOBOgBL11N2MUaVTSHFKfGfZGsueB3y0XSDRg
vn4ocvRx7zHnGsurW1PrM+/mmnOUOAOkTbI45HXeWs7jUBuW3d0HXm0u5XUGmNs09wGtVYG6n8rQ
LotPBFJkfZ2gwky/mWHuyzpq/ZZLUp2HWiIrwE9zNWygH54Fdjw53nIYRee9K8KZ47I5lGB4XTCz
kXsTnv3bAaRVPBVN0H0g76Uzd+iULPOlk7lj/N2x9F+aav+vs+ov8+0fZ9//gVMtuqM/TbWPLIjy
7dPbPz41b/94bD9/ytqfh9zv//rHkIuq5q+L6z7E6YbZmTwD5swfU67hWX/hi0JkhbbqopcOEGP8
Peda1l/fg+k4YZDtidz9X3OuZf5lfu/BQaaBvgDG978y5/6q93CpHECShFsfJ1BIWLJ5+fOftFaY
17KFVEsWxnkeD9OkwJtoR0p++nT+nq5/nqa/ZzX8SyqE2B9b6PdUQfzOJvKS33RWAzCk4S1lGpOk
lDLIjfnC+ALTEwUQ1q8lN6cRrdLoAXPXYrF2PEclDB0OgrvVbSQ0fepChnj4kBQVrK2n9itHc+Y+
T8tY5aa9UHfojHf4NckU24Jg+cw5Sp9nQxjlIVtq/bwpJ/epmSXcIpl6e+1gfiz1SsrIcD+sTpZd
KW/DBJi6q3hATInidqzGQccImlcIPctg51VmVnAKqXQwngq/n+45i6NpHqZuuZ2CPvRo+CpRrC3e
2g9xnzr0CTZgbkhWG4bndiOglOMtby9GJrh9m8GYs5gNq70rjVw+SzKXCwyy3vjc25Uzx4PTkLHK
w7tej5VfiNOqBudkwwWfV9wfYIW1DaLeITiZSf2rwGEDiYCJoT/n8OmW7cokzruJJstpHusNHiCh
+827zWkn4/w/g1J0jjFjft3AXwUzdcaQD90Zw1kH7A19WU8o0Uv7Foja/lwyvJRx7S3B259vk99u
RgyhFx2nheoIC5BJ/vGvN2NZL9r218GIxabCo1rYBkORj/9BnWP9agrgZry8DJ4395IJx4bym8B3
5ZCuEY8YIL/NfCql/05Nlp202lFXgegoqUjT9MpitIx5bIvrJQXc//M7/RVc+nEJGIAJFcT2AwZ2
UZj+9NhlRZcuTPJG7EMJ3VTLII5SSTsCAu52o/Ts//AA/qpI+vF6LDK88e99f7+/nnbEUjpmYcRd
zSDrbK5mnlTQWw2Vqn9+a9+7v3551lnRCBgh2oTsFoyXF9ngT++NSJNU0gMPUaMbaRyou1MfjHXy
7GjNDQZKIRp3SwwiuUGgXQUibZpf5xa2DX9fIa7pxMqDeAF8uesnrvuQbqEGfefMi09CuzpORdaT
98Hjw8DpFcFumbf2qrNVeTmj+jeMwcMP1fp/x1Y3fR30OHz9Byiv+sd+bN4+0d7S/P8A5Vo8Cf/7
n6Dpv0O5avj0tfp5n0Nnyv9+B3OF+xc+EjSYJPPxC3K0f25zwvmL5hI2QBMjGdHtFyvhP9Fc8dcl
N+3yqDMcQ7ryR/9Cc9FWOsQn8SLEFxKe+s8L+39Ac8kF5Kb7101Jog/hE0iJLz+KS+Ep+PWmpNZb
Sd/XA1zkUhTJ5lbbhyGth4dgsbcPlDelYi9A4b6uvuieGxvbzT6b7dl/8PN86GPRYhrZrSxRItlq
T+5BhXl+vLR2by0dysQEmXucCml2UabcrSM3pGieTeYkChmzJtETHVWJ66SMGJPQyt6lLdFa+9oI
erzo/jrShiXaxbzOCpqrkqwfnSJZSmlYexkE1ZUDMX5iA7BvEISNzRFpR4GOBFtgHk/p2qe7wWj7
r45iggVRoff+SjuOkV9mKAf2Tmum0N6C83tvMyBnp5kaBbQzyHFuzDFP2xNgdmMdEQWNw16IUa9x
JsNxw5duBTrWDRkFkZeZYLAt/WvjURjtyGQxFkFADHbRf168sVqQOTTwuRDC1kKKQtCYyeRW3rn0
SEs+hSupl7F0zNREYCBVG6fAdDVDjluKSHTV9EBGW5rHgADzoSD1ZU22Jg1pXx1HJWNI5MqJTJjg
mz5VzTMMoF+jJQjXj5yufRy7YgFIlRtl3nZA2oPQy9zsQ3MW7U0qxk8FOOh8pPozT1FJuEMQGSRC
5YlXSJzQtOUCNhWDYOieoYzlg27s6g0oc3tHrwEEquyK9Jhlve1GhZCIAqyuKnZO26bINhZs05FY
UxI3KSj20ONlSIa6VIY0vOekNUeAZKsdtS1BJNFSTvWW2DP3XWyTtuBEljmsoHtgHirqmrE14m2Q
4detDWjxWwfKf+Kak8LbhMwi2Om1ND5eesyLpPLb9eBDoRRRhWbvhgSwKY9FYxlfQoSVwy5XIz6U
EMrXOajNDT50k9OdkbcVF8skaDOmUk4o92PWFbeqMGfuzFHqNKbYGW2ZmVrGt3V12mtUJBblh32+
Lii+9TCZKObCaTg6KK4mGpPdNr+DuxbuDQB5OF/VK67rOWrSYW0+lEhCAsYY0dPeReYqU4vbhOah
2/zUOzSopJak8PIMaSn5z2OMNAnLOSe/4l0hFoQ9Ubg2FKgbOl/Po9lU+dG2WyKrI/DgpjhauBGK
eMDkT8NjSRJWXLgyfFf3oqmPM2lpF4f1ZnfNtSiDTL0pEywKGsw9UubYfHLnvoVG12tgJ17XW1tc
knj82HIT3DZykdc9vFse5T54Xjl24X7roXLCKaz/gzX835cr7HJwtqybRCJihvh1uapbdOcGm1/c
hkqxvQHpqXDdIh4+64dt4L9jZ+v+QGD+DxzivjsS/rCf6U/V+ut2xjHsx3ZmBUxtPt7sCwHo/9iZ
fkxt3l/MSpdsZAwqNJF4ly3w7+3M8f9CsHXpsUJnjjfgYnP8eztje/we5hzCM5LljpT/v7Kd8RI/
b2bfN1JsWFh7TRPA+LLX/nzCQpnUb5oarSinmZd0Y/OTF84W2LAtjmC9CouJlf+HLFBcAJcf+9Me
CoCNz4qtnZnT5ths/3ZoRftaDo6lTRY0lHRP3RwUzYn9q/OTMCWxJGF8LLzrNl27Di4kaP27bU4t
NyodtMtXBbrC4czWQzmLmAZqVVC6skdMPIPbCSZu2HV8tm8IW600KUpoyRjoOWz3RYVr8jVAvCqO
XTj03dlUEuTdvZBXO4awJSnLkjT5rmSbp53Q7l6gy9Y3YypEj0TJlADdZgjP5qvpw1SizEbdIDc7
tsN8Hu6L1ezee7QJpgngIgpuK/Q0LlBVpeJUbaHzwTXGDYVZ4OUrl7bMl5UocHwi+XlSl7gpJHEV
PXscvBGDoshZqEoceguq1DWxWMb9q3yavKFKtF8Rt2EPgzOfdIpr7J0KZcr8kU3hobZGXJe5Zd3Z
xHvmoOeO+Uq4+Z3RU1uWGFs237BtNnt6nyYoVDH7H+qmVg4brnJaoHm/BeSq2sV4r4RYBbplBPrX
5paaiANRVxQHK7fK19miiWthPQEgGuBqUR53r9CSw53ZBPPnUTlSRfBeQZqgaeeNtvNlg8S/atef
zRY79c7pXd50BQRaRIFhW0Gsjdq2jmYJ7gUCnofJaCDuYoA0Sx/IHB4mxo39foJ6dBk0K0E3rZdp
GFVH77ZxrkRPlHzYj/eSPp7pPQJ7XjP16v7VZF9BD7xiShAKbjTKkNecC6nb21JBRZyJfJKPvtNa
co/Ma2442aTFF7PWwM6L7F25KxH3eIdF6I7BfKPjADlg3XBC21B+E3rPZCzSu6EwpvktEMNiiXMY
Ys3dIifbzO68mmPd7pkSxzoee1moe3Ta3StSa/4TEp7vfiJ0QO21hALKogn3U3vHS699sR/StCl3
uBHT4b5Ulijve45YDDfr5agGvkcL8EFrtMsJvQGmelj6wcgoclnbhqPhTI7TfM/u2RRPdYd2DAni
xNELJdPlb0foukcUuX//ZrBZcjouIShBkoMrFsxQi++XyUBrkaJyh3MZ7LA1pzB6iQybbDy5Zep7
QI4o0ZI1qwFYLgJw42Xocz61LZ+4mwXC4ddJTp7YGf1cD9E6j7zrRlzMqFnXBQ9N10h42Un16nV1
F3KQU4T6hMhQrZHMga+X3Xgh4WKKzPj3BvCKeWj9xSqfJhyza2J2y4rtfWyr4tnX+QBp4UEGPjJj
1Qq1mWTd0IqAqx1ktJScFgr1KB2KaE79Ss5T0iPg978wEBR+4i2jwubh981XrQz5rRqs8KJ169zX
vAHZKMbWQuJqWeeytIY9RVDBM8bcMtzPrnIemTL923a0zBswpWOe1VFPKsvCQhmjuisSe1qdqLD8
g1T+qYCa/TgCXyDwGPfo1J7EWk5HN+Or0lArokdsrafRvw+ztrrvXdOIxxqoJvI2Os1EaaXP0xaM
w660DYkq3G4ekXh969t01lGLhPtgVto6jdvUhBGELZ++FLc5i3EV96FDkq3FQljRMv1m16l1YTO8
h6qtj+Uih72fuS/TRWvYNLlzUeA90+H6teZ7vvF73Se5Yx2NZVYoyrv05Dfj50bXd5cc2J196ZU3
U+M9ehOOxcpfk/DyxaAFiDTjy3lYw6Q3lifMfYdOE1ajcompSM7+zaRSgqOn6TAiPjdWae1CZcEF
jO0t1BQLK+m23RKNmbxFU/8c1GKHpHIjEZDeaL8NwOEL2X2wMksge3tuENoFNtyaaWXncQsOcIT9
Ga1cMnilc1rDfl8N6fVGqjuJJewFYtyuMgL397XL4X1MQ7k3YcOiXugroSsWsbF4xw420xHGI5s5
9RlT031abMGepcp92fz1UVRICXXdmMdcQbGm9jaciHU5ZRhWCJEjJyWdPnab0cZDAzfY94j3kU+i
1y/JqgzDYSABUBzAdaItDBJBI1lmizdaC06GVR0biaMdenp9TUuO8FQY8S3lM2oc5Ed71AXXwIOP
AokQO/8WEfhLTMFCckmUwplh4cKbVMZE8o57cxLBQ0+wrEv+Rn/jZN4ZE0Z4O6bug9lNc5zX3EyM
Uy/T5D+YBTlYTFXXOnSPU9BA+ZTZLakDLNzAU4gkikPWrcWONPX1tK7VvUt4I3JCe0f+vciQeJSw
Iq5iozLKRp6MLvxcTGqZI0fLoomdyWMOM1kf6e3d5ocwWKwITcS2c2cCEWn7hIHWZh8NWukpRm/S
fJpRdzMndX5tJCh3KjKNXSjzop96Qvyq+TBZjctZ3iueVjOday41C/iowZjhRL3sA+dkdAFyU2Nk
WOMlOcMeyzMd5d1jo33rU9jX2cfQ6PCBeP4Qljtr7a5ZOda7gWkyaSumIz9orDNdjs2nPFWDta/z
FVa4LpDzrHQPjsuQoftyoeO8Mq2joRBdsRt7O3hU3WgUUV7MNAWlm2Ps1By2aJR6ecNYU7E2Zhsj
Bsmmr8gbrONg5v7HDiPkrm0ZN0tOj2wTWJ3Q06/e3WiFn0y3r3YEkjki6iU66wN+ttb77Jahtq5D
zT+LgjHLTFL8ODBGfjB1h86bxmjWoxdnm5Hf9ahEvyEqs1F7tgzg7WrIFzfoGHDstKBRioDODNmN
ixerTIHsdk4qvClBLYxk2TZhI2O+xuDFLCp9C3WPjgNiyQz2jVmaD1nNlI0Ho7nUI80pgvlCGbc1
IdEcubrBP4xTIyK01/kdnJg6pAArn0NzKo+bOZvnoMRlGPqZ2A1Kg0xmBJHE3oLMx16KpYsqWfUs
vbiBYu7UB79zSdZcx00kHmF5eFXtUFIjNyGkakvV7d2h7N/3tPwcbX53iYO0tU6mxDbUWaq8hNJk
0xfslOtBqML60HeWqFgSq4rSA2fJ+4hO1vyYtYXzQY3Ipcp61PY+m4xQgbBL89mfw0MfQuhKFEXH
1EE4ZELyFdFgsOa0KnVjBBbOjVX0KIsRjb8PFv9FIo5KFFhzFcFiHBkgm1tJEgfQinfARGMd3Is0
PxmEYT0OKrWhFYcGDqHBD9VDx1MCJx6wecijwwJ61L1dnNDXVqRP+C7LoXSjju3wyu+N4dCMIuSw
U00nDVyEIqT0HibO2g/jMDKOZ713pV3320Ki0qmrLotwHyBriWA8kMvXqF+isM2sG+xm5tlT43ab
27KqE4PAC3OXpXX9pQ8UIb2FmppTEE7N7baE+xEvAjwyxQFxvhFmxjlQl/47TcoVoA6y4oNlbDoJ
2sL4jGYx/wBfPzCwhF118nFIpUd/ssJk6aogCg2y5nEStldINsx46eb8K3uqQpWj9QywtgznNWeo
oL08RBQzE9e0uvMDS8/IwJxLFzd/B94S5MN43KypOkzGNgZxp+QA2gahXSq5nNOqNPaFveknLYQx
MfQb67FQZnGlEdnvayCa15BBp/3qtKlHfKn2wvEKgYm+K1WIYgXOhn7wmlSnqHIMbIhoxPR7Uj2C
GzH4FseZanrHRGnm0WYg9TZTmsXyYMkws1Qji/XqbG0TVVh7Hol7QTcQjEH+DeKYW7qoV/tj5lsu
ai4vgzaiTC/unaGb91T7WVhYZjM8dE0G3w8nE8BtoVPoxbR+7mZiUvYhRFAeD5693HmzEYgzBI4c
jp52KwTr4EnU/WwuOhIEbYBSYTschmnwzzk6wkfi65w4r2qFj1As56bG2aoooN8BRX7peg0rvWlr
unYJ9jViXqp/MJZ1Phduk0bhgDvPlgSMlmaJ36rKZmu/OQpJqpguOiijR1Vm44Bc4zGdMmc3cdzJ
7nK+fqRE3UVQhkiK4cZG8SMc9PAHe/TtJOXOPArf/aSmdn0nPV2VuPRIA0s4imFb112F+bohvp2V
+nrMsTmNk3xOvVxesapbV0G9ubeTHFDqsGoewqC399PoItljFb9z58bf2YE0OANk8glYqEERuZHY
hNThZmLETlQhnC/4droXwGZ1TXIz8ofULA9NGzwVoupPKOLLa9etm6dh6dV+I80Ct2umDobTtMeU
IMxszxrUIZgfezQNJtofwsrmm5IG0hiDmNnuiMHgoL9xN49gm43TL++2afEObmNy0JDIUoYkr1I1
XiGhAeVb+ykRWMW7SLLlH4htmU5mA958beYpHcGgHeeg8eh855Exjj2hWHsxNEtEdpbX8aKSE2IX
di3e67F1nz0VXPq+mLuLjKd2dLXNJr6py1SJcC+teMOltrL7dPG8fQ34f1P1jf+ckWf5rQA2HSJt
mtsdQoU7BkgEOD1Xu6OnzMFNV2GKK3s0LAuug/AKahgbnKdb8yoImoINJ3D4tjpJBN+wvdMDbVQg
cV54qOi1vfcI7wpBb7OSv6o7FjB4bIBMH7XceSQlZYkHf9l24KM6ntNKvvXttu7QjnT7NZcO0lIy
wPS+6T0xxa1rX25IxswrKFnfiDpGy2sD1BvCFeVg71UTtioeefgM57NHcd37lajOM7prPFwmSVoR
LKuz7iCwbfSRDBgyyodgynaoXcpksUX2ImCCX90qQ1Y5OOKdJbC6u5huEfP58kz3oOCGxHXxiLTT
CmOvWZw13so2/OayFD2S6Pu1zhZ2XdImvDi3FcoXvvmQEjsghBdSdwZJK20nvgym9hOh2eA4BpBw
gEhpYT7VZXeFHrA8qUFO+IvyvkaWSSZq31Mxa8hCzvAXut3zyqjvJEJfW6dZ5AyjSAx3VC9sbvVJ
zQjdxm3RxwESAyMj94wdg7RX7wmBK28w98pHXOzlrbMu5Dl0euPTJwOAr+VMak+57+n0tXapVwJ1
e6zxbBRmWbxVqlJkXY5SfFlHUX5CFFXzxa7+ZwwPy7lzu+4ATt2ezCGULhIfBKQRwbpkVMo6mx80
NXV1VOV+vZzGyXLfb5hIp2Nn6+ZFT3zpMZyFuKY+2ZAR07RkCOQwhXn4koS7VRp37FjK8mD3aFKh
MEv5UNjMRLu0tL2PlZURDgtmU2Ps2TqVFdFa6Oro2+Vm7aFU/c8zapz+uqT/2o+DdVvEKUff9Klq
1v6TaaDzWgiHKKOlNcKBx4hzKZ9ebgwY/TAAxFNZ1s5ViRByXxdB/pJ7HYcf9lBzOxIlXn678Knc
qH5ut7AJhryxkSSMZDzwiC2itl5BpzD9anfOrnwp0pe+9h/Zv7Gm4y1o3xDUo6vscCURRlyu6lOJ
bfQ8k002ME9c8C23mvhv0tmbL+wLU34ipMp/gKkjoovVcniSONBBsHIB9dQDuRw3ggCGWMtuOmMz
7HcojuZHqQ0KCKFYOD+GVv4ydgFuhcqqrXhAQvkJrgRgwQXRZlJKJwOsYZk7UZ1GETQv8MW1u883
C3TN0D7IQLmSuoSvUMFvhVqglCUeiF97FnVgitwBxdK1JT+S+scGM4wtSEQOpcX+X+cEEdiDa3Vn
WC7dxe2cD1/41xz63YmjhlVW3avOjfSqUV06MzoUZVfumN34IR02pTUxst6c9lXnO5zsL8GNjqqd
p8BSW8zOxF/jmRTcvOGEDywTdUFIxvffL77jTu4FO7FlLU5BkJ2zjBJFIiI8uzpJ7AboE8t5uISa
QSmOGOBrcIftWCkqVmQMNNi1d3VW8GHYxHSbK6Jeb6uvKhKMfFTlK16tvfA7Y9v7ZOuTuLHUmbr3
thB4Zg2X7rVxXD6rjkKhJZ6DlF+torbrKwLKzfZJ2I2ySaB2RPVEVgVfP8K4QB91PrILGQXeuSpa
5l6UN8R82f3nuvGBYGoyooB/vkM54Fd8SLYugILGepDVdV4Y5NQ2vZ+2u7AWc3E0Z8NcYs8di+Vh
SfvuFRUkP8B2Cz6+H9iO6DgvXxlURlKkq2gI2HlEsau9Jxb+TtjSzb1TbmZ5h9WFfSEOeAgvYupy
4C1pJfj5mu8J5LXrmvbOQJJlRwBtVn0FsVir14r4JJbnLt3aJ4JtquWB5TIrDoogwfLGcAZuypxx
HRKN1vHCjdegGMtbi6Wnvialenzh4K/0MxUk6fBkwSB1+xnR3mVDy1J9GJGf4JEIiGe9qdXGhQ5z
61a39JFyVUFAKsoJGNDo46aGYmVLp6GzGBQrysQ1LFfBkrchuBZxjAcKf1Inng3IwB0yYt7iUjlc
vm2PGOPnjnhoObote4ZTXxveqqNhWJxnuQQ2U2pQHGvX2uNj3OpHJ51mL/pfpk3q4ALIH7WafJCo
MdcUnwhoZnfnQKu2p6BV7utPQoH7HxzBz/qvX+UuZDASv07yIT1Voe3xHF6EPz9JQoo5QwcgBXet
Lfq7ZsGceMkq8QgBMf0B+6c10qD759f8Xtf7E13Ba6G4s5EVWBwEEcD+RldwmMY4xuEp8nyjewW9
o3gg5W74iqtwxJGyuWdnxXgYBZOBSLoaG8PYr0AtEU6L/qGaCVqC2zPdHX4kXCYYVfcrMt6PPan4
c+Lml9iWfuvY7Fe0yg2Diw6eHM+Y3vs9ZqHQ6q2zbsmFSUKvwH/y5/d3ufzf3h6lNHjDg8C0kRH+
9pluht1ZbB84WkE2ubfb4ZTlZZ8o4S73w+zMN8Kfm7hos/7xz6/8b98mBiJUfOJiwiOB9/eKi55H
bZINbORU2Bwsqd4+gRrnX3O3Y4AIYaD+Y7bsJQ3q1zfLoRWfIDlqRI2hf/z1BhoaqcapBkYa6iq9
3ZwJTto1wvNSoN6L+jQMruuy9+8Md+rOTTDQszEQCUDSTaCMvaHb2YryXNjjf7jJfudpTXSdwMlw
frCFAVrKX6+roaOl7NnQowoV/31Q18t9kQ8cFwez4Gzw58/98o3++iEElnNJOqMXyL4kif76YuGa
em2rLPwrYc1wlVcYaeIQb/3pz6/z+5tCEQfPhnDgcmdd2r5+fZ112oqCZ6rl4SSJm/OsIfHLtvk0
xkAZ7A1/frnfb2RezuY+Qp1GHawvfk/LalZLNqxHLcapy8YDzX4Rd66AQIcgLVn0K7VeQCg2BpDl
jTNW8ucLsJx/uwTuKUhdUj+hVL0ff/7T+iRnm3pFeCHkmbofX3IU+MaOQgTtwUAa2R1nDmfaGSrr
YAtyVb4SsIQ4g85TnIejP5gXy0gGYqIhFW9VluPdSRuf8mptlx4+l4D8qDjVwmljZ8FVigeR9YOe
jVkyY2z2dsRyfvF+EX6KJIYlGluJ2VK/3GWdkSfuqFn7f9AyLjqaNYFIuJxBcQW1dzbY9AAl4AxF
XBuL+hhkqyOvcDtK+xYmwusSo/LW9ThU2tT31bzwOeNIt9onZgs2VJgb2EG63Nl09WTyg5Ht8Mmr
MSWYg0i4y9Y7Y73BnEYoxw7PmXvVU777QB4Fv9vTjOlGwyz8MXJY8azDTP0RO3GB7zu2p5qLx+Ar
DxqbIT8qENmnrFs6nFeFFZxrrGlF4mh/pGmyDL+ZImer5DOWnAFSaIbzqAmBeWnCtOJkkuf58zbo
7YGcVc1majtcAmZdWCmMo/AtcujY0Ct/4hCiA2PZjrm7ruNXt3I4RbdhPhrvl0Kk+rS29Hkd1OiG
gBNkYltJuwV4wVoR8HOEBEna2VvfrCQJcKRCg4OrNilJwVZ7cBp5MJaCzzKFzdmOqcoMfdK4I21w
qAEjwI/ziIsgWJ4X0p6XvRQEjl/C3RfzqAlJqK9IA6hRCske+HoM146Kse8/YZQOLzJC0BRJq+be
xwcqZXiE2/v+IRAvFPnQ4CSVGC0Xu3HGL+KZ3ht1r5ewo3Oy+D/Unddy41qWbb8IFfDmFaATJVGU
lHL5gpAyU/De4+t7QHlOlQixyJvnvnR3d0VUl+EW3DZrzTlmTfMm710qzZ21CjTLeJIV+ExyKNLn
GISu2Ll1nSZLN4/wLbqC+epGGELClN6CnobDTtJVDpBxFQ7C9vcurUczlPFgW2AJBfZYlcrmu5RF
8u3gRZJqg8BRMdAm6RhvOTal55a9mfZBlnAQc8DGH44vnMwEJIOftxKWHkW5IoHJn/SyeOvoKd5y
jcxTpuoKoiMV/o64Uh7B6UliPvmiSkZACyeU2LIP+fDhuPikRTi9Hf3u2GJ+9/CZ+AvAjP3+9DjT
5Pp5kkdZQEFLQq1I4K+I4uJwHOqqaluHGYpvRTAefUtKfmEygzLrh5aGCwYVHrFAoyial+4oZc8g
99z303/Cl1s8qThBUdDCIfdOnqMZR2uQhTTRadxAJd9nA9t4Sk3GLVpqRBGKNvxMvIF7cHrU+a7i
Q5/JRhGUFPfanF84PTgfswIVoFQ1w0tF4nzDrDW1u+O0fGnhyEtn5v0v6xzXiX4CBSqqHeQJMxkN
ZriwBxI12qMfWDf94Hb5AtDTL8T+TCWnr27++kwaV44aE+FP0qUPF8jn1zZFtGLVfVjYnsVRxOZU
Hwm3WZ2P6dvpgY49PGwd5MFK6E/gNR++P37jkdGgYgvoxyx60zQ3gBvux/wLVpuBdyzN/udvQcfp
cfnyZ28ugFskawZoMoWttzrPdWLRS/XKlTr2PjURA2JVbQdVLDM7GuI0X8pqpv8MjKh/14JM+qkJ
dRvjezCr18pXgnopmEPxU87CUl6iVdEuIzqIeNZcK741klZ5mISehMNQ3bQDpBaPFs3o1ySQRbgK
rmn6dkh1j6W2HShk4r8jAdVr29c4MCfJTmD1W4Dk0OblzhpeFa2tCgerVBFeMTvTYir07I1wTKFY
j5LcX6DNSM19L6H+pZdYesFzZpkEZTu+WgDkAoZmJKBJPs7XcJ48lPU00hIaO4nhEhqasdxYUMdk
G5reiNIyG1WDdlraChsEN8zaPjE3jV02wsQJ/KgTWGXOv55+FJcEhXPFdcJZ39yr7cAveHEepDux
zty7yPAk2rhjV4vJttFdFPCVWeeoh5ok4cwrV1Cy1NTPZBZOa9x7lTIiKzFVxCojTjAY4m17XbQ4
5FfBqDKRpV0o3FToA+77j0IQWU2QxunZ/gzrdKqwBZZ4U2kJfpoMmQ4154FNghWa/VqLYhV9dIqu
R0rb9zhWtBRVSuux8A+mCF7NQBV3VWkhFWstUutFXuYNVCAyT6hwCpr7FPhId6FeNtamHz3lucqD
7lEz2VlAS9O1fCtkinaZlhj0MJiHZrBMLbNal+E0M9Wo8Ta0q03dCTKXJRBTfa06Zt+15WUVjYjT
8k67/L0maFQHS+Y1V4iufheFQjVIqxcYntOjskz2BLkXsB/7/Z+nE2R6lyKZaeZVUJemeoVONXru
wYAs8Dv1+aYeRktfRHElvAj0Z75hjoioHiFwHr8ji4ku0eBmCRVQoaBqzjZ3DTBHW3WD1dWr2Opd
zNJj07jXIO3deFUmdQWPsymT5DroqqF1YozZ0kJD4CPgAdd4mX/LX0a4WDJqDjBoax0QKRuYgaWT
8nfui1i11TahAzc93LAMFLAQepkREzz0/frjy/8jAem3LOH/5h6HAwvgfzUK/m9Ujk6mlv+uHN2+
Jq/Bj9cD7ej03/jL8mfo/+JbovLwN9mGf+svy59h/kuZzhlMkB/a0cnX97flz/yXJiM6paSD/4nV
gp3NX+pRCWEpGfY6HPaJc0+Y3Z+oRzmsH8zUGtTPyYwhK6xFyIvpGh+uEXId1aT3SOFqlMSitXWO
P68m7trK7oBg0QDKUqgAFPqku0wSeZ2lKqWxNEbYzGlSwpx0VLHtFSdJKtouoiCBc2380b1GkG1c
1ayFySKh6DEC+MU60OixsDECKiw2erHhgRzMkQNSXjQyHqw2esprw0uXmkTP0fWTuwEbUO4UtUEq
qO7BZ8YuHgN4ANumxg7UFJCacmEE3hJALTSOwNOUx6QkB2eRKqpyxWE8ey7i3LKp5VJkon7i3iAf
RYWVRq2qgTJrcDsXWiXtSaLEpu4rSf+om0KcOdApR9QGEWI/JwEEIbDTHIwWB565o+sY9YtWlvpf
nkRVFWVj0j+APxQ3KNji6VOWogv+36TBZzhIT7R75DcDphKWDNEIXhsiFzu7gAwJ7cGjrLysGzQO
S2lsxMehEdQnGtJJsIFRbL0ZQVFcwsbRKKMbqQBKgVYAdB8waSFyBVP4JmEjEJj2mJIstnPdBXt2
ybVH7JWKU3HqfM6NShgxXhGSYo+yWHHKg5kw2EYtZZ6Da0b4bvVhK9kuVWh15Y2tuSyV0njNBNnE
fy8E9bOcKP4PCK2IoDI9d2/kDpElJXC5VBY+3qzvUoFPzh51OqZ2bqjqeNV2UfiMWtZyKr0128UE
I2scP6uhvwWtEHwvaZNHtpAgs8Mebim/WliRAX50sSemJyjDVVVpwXMru3SQybSXHUFlerN7pCPp
SiXlAoWpwJkU74tf+ivM9uot0sYetGbtd1T21I4kN/ot+N0+fev733vxz8XMw23j9PWg7OUfAKII
X8BNdPj1hFmlT32cYEVTOl0GPETa0/ANkaacq3sdHgYYis9TnPzBk2icTfHMBkAbLPZKyQhXuVaQ
mzRORo9OcEytRFfkWywFRdBe5fzTvYRn47fk+48m9v86ax/M7Tf/dz1vkx3t1Eyfv85wZ/zn//II
aMq/eBMoLv89vaOJx9E99X/Z6k+Rk/+e3FWNyV0hPgVDG/ZnfKf/ntxlDOIo6xVI+GwcYZv9kTVA
mZe9+X1wZUSkcdzAc/fhTzg4aTChAs6K0v3kLLk0BUpR6Noh+QYizNMeT4vRI8ho6u7BtGAWTV/y
unxRUenGmn4RdHh8MBTQdBSN5ldOIrZt+awGOLgANdIiHXe9kn6vav6Lwa0lu5tuQD4JZAKtTk+O
EkrGfuGJmuvEgeGTrtqlxA6Hryp4PtsYhWDZeVTDqcRJdp4kyFoo9JA766NLdlwwJ88Q36FChfJP
bxgSYN6lbpveTeXVl0GY/ajHUlyBLiGrTTE8tOP3slhUTuOrrVOXFhHmnfxkZsMPlRzfDXxvfyfE
PjlrWRs/UdtIrhWKqJuwrNfRPtzjZ9zUlndF0qBH1LoZiRfWeNlG3p0QIzDFnp3TrJdiHH69sBw9
77kQSZICZ2bayQ8rowrTbQEjG/LFoEJDVlahj+fAss1B/dFEaY54UMOyVnU9qyHydRgmtuvCsb/o
6DgsBCPU7I5DAIn2C1iqji7/CMHVto5OeG6K0pNUKsqTmV0ALtmkUgzk26iV91woyxsPOdPCFRT1
mTSt10QhLSkxIpXepChN7qlwbSnJz7BCnVB5KMrqUskmtZG3lsUeYZLblvTvcoQuIziMpjcXI3XM
5aRu31ZDES96nQ5JqWrdIqc5DOtYDK6TrgJ5kSHutqQS2jpnqW81PKcbqu3GeuxV/BhC618FuDwW
Ug0XmdiAhSHEb20sojcg+Z0yIyY/GUo5zv42fuaYLgEulJIdFW75ssmL73ELKSsdoJNJBamQStcb
NByztykKwWkG4yUFac5tnIDyhSUvQyXtHbB9/kqOtXseXuCkledt60mYbxR6v6GIfzugHUT/HrvL
Qs1Ep9WG7B47grdG+PSgKWK0UhPonG4oS4h2U3UxsTW2I6kCe7F2TaTNg3qZqp33okwLc52CKytS
SapBxE35R7jmXoGjGMuhnV7yJiJIsMAKKMZ0mZVURCbqDdk2rBCWoCvhCNxWAMkLE30kwlQHPpd6
xUnSxIIP/92XcSkEecPjA/9Fqa9hUfOMdhmERUrJtSzad0TN7XWCFYTD0GjIy6ij4UpjsgPnswqk
1artYMlI0QiwVO79m8nFsgwiCoGmgKUz4oTsRGOGnh3BzqoiWsBmSSJb1NBTp3ITfwX4XdnELnbr
Wh0itLZR8QxdEE4XaQROI9bVWsbVcilVfbnEkK0RwDA0KBlZip0sQ+7BfRDtlFyEJdlJNa48ziUm
O8ILX5ZJGxBALfWN6y1rL1MuQFun0HBzyRmUBB85LDw7auGwGV77kNLYdYJWeTRi7dcwAUITUXml
ZgSfqtefEE9J6z6TDCcwgndD9Sqst6hVwTYjQm6GGxCMHKQEL1haZaLufIOPGZ5et/DAXuMLsdiN
sWe2Idyb6yET0NOVWXFNYINyUVqUJLQGoWcAMGYpt64ES08mqRd50TbN6EqVlHPt0vPG5ZCAVGhw
HrLpZJc9eFQn9CR47QTNgj9jZFuPK7YjgRAKUyzTDee/9iJpxhe2HzTuCA9YiO3oL+CUUnLvkByb
ipYty7wyNjhW9BWsY9/+tLwd2dzMOiEfq8eURStPLjcksLPej5DmwIFQhO0pwF4meLo0PgYxN4ml
Sx4mr46TSe7F6TE/arafap781ezwGBNOiqQgqp8NGnU5vtC+l/ZqhrK9mDolyCHCn3XHnaGglFT3
IvVd41bhk4KFuTg9/uGGzmB4sEs42zjEE0StzxtQjazW5VQ93wPRyhyKOWz0RTcjfUQyzoTfcfL7
VN2F9WCxOZiqc6Qc8xKJ05/yqdGUU/LRdC+I9oT/bWQxzTh8aedSLw+v5+sgs6Zk1sdTsnAY7TMU
fhiZzcG3O+XMQzt3JbM69UDbHuU7g0DRN1d/FxXYNR7nrx79eXBYH+8gJcXZEVVJrabPJ5PJ1ADZ
igVd3h63wJ9FZv1+HOZ0DjYQ2OnzCrA6lCooQQ8vlhhuxViwE+I+ZI5HY66e+bCOPhRK+oBpRbBU
8xx6w6w8QCtauBfVfNj0GNvXQQFsRjTyYHP6fbbYkn55yww4ueRrobegW3/4lilM3FEsqPHer8EV
aKMJZq03lBtNZYVsfbMz0Xsi+kxIUllWIxAYqa/MZ271C+C+FCGLmi2qBO2oIdDn6ZSWXoCWk9Mh
WuXOUs1yoYhCtbDqsnuOgyy6DMpy2KqKhNGFAtgPdxBb11a7Ur0p4vpFbAf/0urpFqW6ry5NarI2
KRLmNWpXbHe+aeyTkGVAH7JnQ9H7u1JMx7WmNM+uar4OpGfcSV7ko8NQrcvB1AljIYsxIaVhawzR
GwUJb12PYbuR1JbN2gA3BrHzfeuX4aZVGvmqNzQXISr6+DFWdwB39A2SHQ2hRxbbRpywcLbxiwhE
wFcV3wm8dFz50WPSfzPH22zPfF0b67YFQxSVjZORV8CMH+LKY1tNL3dKeAATmHkaASCq3cI0XudW
kiyKqirWBCioQB1TmqcK9YVKrs2tycHNKXK5W4V5RlDH6Rfg2LvGcYLThKbQCJi3UvDOjQ1sgXA/
hhRKiAMY1aesPdOoOmw0/J5lPg8yOwZnDcEak1Nj78miQ6PuUY6t5ZgA2e28FU/8zDVJxy+KI82k
JKI8NhsvrrnWOq7DPaIT6jiB2+0tX8guMt1yLzNeakeCSbA0BNm6lBrRv68KPNpwOfvumtVZXylF
GG97HBvr2ouVM5HOR/861k2qG5ijv3zeuuL1xJMW4Z5sAicWs0UgGmsvejj9YKeF8D8L5V/3nAVS
pUbIKc+c/opPywe55XmolmawD1Q9pjqTd9+gm/4A0oQErFb1Gy8hmkNihbmCtqf9UeHDxJ4Ai4XO
oCqbIgXEOdiHj68y3c6rd42ebhpjuC8tY9ISnmvxHpv7DWYurpPynTIfB+cHXYJaj/fS8CQ4kXvm
Jh5ucX7fxE8/r8yLKpJPlLnPzw/BtsD8oa0wI7f5Ugl+pME/eC1ow4EktyYgwFxKU8EexPqRxPtY
d/ee4V3rg79sSFk+/V4c9k5/XxINP2oI08Gf0vLhe0HGG3kVkLr3Cj0WPcW6qS78TFsJzZmlZaIb
fHkDP480+wp1MUxcDZD+XtG9m7DpIIYL8gXefUcbiGWTw0WEOtmquo1ijEtSjnANKU866QPKQLNk
8g918gKrxpmV/Nj3Z2ooDInwUuDpzb4MjkmV27ldvC+NH6r63ULskf86fZOPX/p/hphtq4gjRs8Q
YoJMhte6uvesGzlfudGdF1tnHue5i5nd5NhD0CIXXIxGkIGVYGJ5qCDgnL6c4+8MN2za+aBem20S
CJvJxpj4sL2oI4ruWwc2sB0YF5lRnhnp2KxFtfTfI03f+6dZC0RiGRCMFe+7RhWJi0IqHgajsqVh
SnAye3oq2BxkvJzVURya9szwR54b4aRsulGZT/qy2YUmrptrOuyKfaXhi5Fb/Wp0SS/BRFqE+lOK
RfP0jZ16OLNvBFyziFyYE82kzpztXV3FCugLe/0u8GjQRf2l7j8JhrQKqx3Zp4KbULt9LqzSNop3
dJpOIG5zxOj0Tzl2chvtPApuJLM/81Z9nffYCVJEnvIMEFtMuQ2fHwNqLcH3MObsUukJMP9SL54x
kIPE+AUYcZtbd6dvw9fbzu1mzWB3DQmOxeFwuJ5kI4E26LDLg7sueSuSl9hiyZKihSi9nh7qyA3/
PJQ2m9FV0Swz0KvDLkKVgsObI3yUJ1Q/HhpvXwyLvlidHvDrCsUZGV4XhVbU1lRvD69NiqEUh5o/
7sCqh+3CP7NqHP15NrrIe8l3pjZ8+PM5jdxhgFC2K714kUnvint/+u//6PAdbiS4ABNeNuY0SeJd
PRwhzrQCIqgw7Jr+hmaKTfFSGJ5KcxfVq0rdJ+qvuKNUVp95BY9e2H+G/SAzfpoJchIEtTwKxx3e
LN2686GTnb6wr5OapWNhQKGFy0vR5hqUNqCulIdJeBOBelOLyyBwaZqvhfLx9Di/RbCzO3gw0myO
1jGA+UEUhjduigYbM1yxIuvqTfFK8yGxLE4FQEqfS9MIL5I4Vy8iFRVmowj+99QdyzfDmMqqGn+e
2BuILoHP7Gse+wqYxyMnRW1HKMHojLh2lxAQjAfP9X5GjaE1zuSH/zFaILJJkq5WZlw0z9DdvwGz
kHG26iRzaWr7Dc1l2C89kA83ZSbL70FHhNAGOHVyCS80eTBjJvq80a2V2bmoG5K8vysS1BFCLtS3
vik8+kZk3faykODXy8R1PBAXCAwu8nedp5dr/M4QHHEeKEuDUAoT6prZXrQVXu4JHMIRs8mRmsCx
sVukZmuljfSLiB7nRYjPZJVXbnOZ4PS8CCU8Ql7RjltV77wLNWMdCMfaXwu8MHbMvmpZ0XLBFlbI
4AJkdy+xq7c7TlgXsopJ3qsrIoOUwLPsBiblc5cmwg3R7PAptE5r3zqzi7cEoJhlQ7G0fFUBLHSB
sBlDVBxBlpB5oaMVEdtbAJXqOu0L2K561i/9LKHf6gciJ7licFowNY6BeenGbfNy19DneaH9J/zM
sCKvAvqo9wROCZejVYyULmvje6HT9qSHmtxoJWSQSB9CnrBEhIM0aP73spFIrGR93EVa8HNErYXA
ORYxZ6rBirimagmfyFhh7CZo1HC7rUvMxILuOk0X38o5xAb4VOWOFk2GGFKiy3ohx6HOr3StU/by
W0PmzKWCGxPkoYlip+qI1UsXjeE8iIHkREIf3Ym1kTyMWWneReivrv0BN0SmqtJlis7oBp+uuQ7c
Mtm3EnCSXPJyLGVNsx54g5wYFu/aiF1ob4oXONDRUAuI1BYGucqpDIOwj1OjtiUtNraxliqv4qAI
71LNPsoKwd/ppqxeECDeLFvSFHGziNxsjJl2aBIZ1ZiisCS/rV6Rr9suZK1qLsiKlLaC0kBW9GJy
Ul1O48IgwUcHo42iLJTXOk5hJ4BFd2bePze9zKZNBKa5UZZRSLayupKt5yJYk0WxcK0fp6cX48iK
Ri2UWUeCmMkKOtvOUlzz+ijtAxx9vv6KvBppGQSYaguVAXhITZmqAdC7NERSWVhIAIsQxbnI9aLc
GlJEdEYSCYuq/U6N0dFqS7juyxDce/OST3X4wqihzOJ97MZ63PuJ2L2ZFW+MDNiyqjvZqWhZOoXY
qTcpJ6W1ifdyGXZ654RNUi2KMs4IGa6VO5Psj7Ugj+6qddUCj+vY7SHBQ+6o4qeB7L5NoFEZEVRg
PG3TdguM8/qapN7mranjdJXo1o+BlAs+f2JtyEuzIN65yjU4S7welrmSsZzeicPYUWc3C3Rmkd7e
Y0OLNwon1WUZ1e9JpViXaqkpHDFEGNY6AfSgA0rfwSsCVITQqGWTi5xEXKWdJNP1ex2gVBbDtlu7
lZhvfIJJlkVM5AX4rZyuESb2Lh1E5/RTnb09v8/PUI3ZhbLuEi91uOgKXL9hDU29Kyw4GU2WXbIX
XKVygX+2NM7w2mZv0MdgpoypQcT6NOWzHg5mhfBIR/L3dkZCDp8mXJcdmZkE99BPNWnhGPIK0BeC
S+HMVR5Z4/lmUS2gBgWHN1+CJQgluHAk/4ZZLrNFshlAV3tn1vkjm0tws5zF2B3RTJ9XOGXXy+Fa
jz5alIXS7iNtiTaCQN2wWZx+Zkev5tNA07//acfiBqEwMnsyUHvjIo1KkzN712NbMWp0Ji8EYl3y
4mdvRepLQ+ZXE6NFAbEx+A9x07Wovbv3MehuXV+jYitfFx4SSr/7lRf9w5krnHbHs50MRRbuJMY8
rI/z19LoW7Jfw8DdGWM2YFnXE2uN9st80BD+2EVGUpBeV/GmDbVhUTVGcYUJq1p2eUeMQV+ELyBi
pGtD0dxlTKKRQ8Ky90ADLllYhLHYJeiZleuK1qZECbtigXiXJL0g+TmuICh5ebkAMEtAKeyyuzQe
9Vs/hzsqkeJ11flyeQ9JSVzogdEvKGlTqh2tqH8ZeCq37tAat7mZeO9uaWbfPJGd1OmbM2OF/655
mZxfVFnSODrOa1FAubR6kK1qp1r3orBhx2YHJVAzIVoM6WLCo3UeU86Z2ursqPb740ULSCVRBoA8
gSQ/v3VNVMSGh3Z2l0j5gk1Hy+EYGiIARXyKmgUwLfHXvevfn77aY1/VVFqF70iHAp364bDQ9qoW
vk1wEyvGdYYLyRZc+XEwiq2VxiSdubenxzv67quGiJmQaqJOffFwwKgvkpTAW+aK3Miu9KDur+jk
W8tOa1CBEwJHLKcotsyVsnWj1Lp12Yy+sEXZ4p4z102f2ewr0D//KfLsT2m0EYyJ7t/0Ae5wcCeW
kt+NSn+mTjVbA+g40eRE0YWTkRmSM/fhMFJDbGUbaf4NLmSHlQpdzUMxdCzfd6fv7bGJ6/NAs/NJ
AVdjSCTVv2mspxBBY9y7/2BqhEFK35YIPFqas4c3FBaBeWZDqULqbUETUbSfmeVnn8HHzQK+xxnY
pBtNk+7wZlmjlYEi5n0cBXaQGDUSNUX1J9j0vha6jnaivzp9146NiEcDKRY9YVits8k4GahKB1XO
44lN45KDv3E1Yu1aSmlhgdrTWTlFoEX3Yy1rZ27nsY/BwoxCqYQm+FSpOrzaGNGWaLqjsiMSZ1iH
nSI/JFAd7gx5TC6swgV2R78Feoeer7yQJRVAhbWSR8l7P30Tjrw6uI/06QRNJggNy8M/RDIHpYOe
quzyON7CWd2eqyIfG8BSDBkhHFYRyrWHA8hFGpHL7Rm79ErSbtL4j5vsfGWffn7+EDH2BJUi6Lu6
3cbg9fozO5wjU8XB70/f+Kc9QdaqsWSM/PnUf9P2p2C9I9k//QjkI4uyZcF0Yh7WmfE+ePafxgD+
o+KGDfRdbsR48/RAMIjqIAUPeLreGcUSWlp2O9Ufh3UBqWZBPxafhNuSplR6d6bk2QB+lVXUGtlt
CAVh2dIIe42wMr4UQMdkBNRTwX5KNTr9p88e7u+1i6/HwsmLLXoucYiscOxIcqx2LZkpfqTfy5Lx
9kdDTPPCwc2ZPQAXym4ckZW2M4y76KL8K+vh/1V7wBWAVebdFCfAMj292ftjpogCyCmVdg1i7yys
rjjAP52+gtkrNA2hgQlV0YryAbBLPnyFBiWTQNYnxs70UQ9ZteA/AmjqOIC1zZmhvj4PKtF8azJZ
J5Te5ltljAUCWJ6xpcTgWRMaR23eAlKxzzz2I1fE7GVpFNpJ7EVLc3hFrUzDm7Nhu2uKyCYaFt7W
ExiYM5/ebPmc7tt0pJj2RMwc2vzlCgqKDlo6dDu3V5ax8qA2/hJzUd1kZy7n6EC4wTmAsy3hLHl4
OVJZu5041t1OkkgXz/NBWEJcjjagLl8kPr3FH78PU4Pw38PN7l6RGZjAdYYritCmIrDAB0W26s/T
o3w9E3LPOJxRGKUjyXnj8KLkJiU4TjS7XdthCgz0tTnsVLWzw/C1SngN1fI6zaLV6UGPvRi6yAmU
V08xv8jlEbUPfVr2DErcdi/v9bKwA+XMhvnYS25IFOM5EWI/nLuC+cxqpdLzbqcGgKYfXXwOf34V
nweYfbCEOTUq73i3Ex/haNnqSoXieHqI6e5/2oF+vNufh5iu8dOU7xrxAIGSIbyNGOK8+OmMyAOz
t9OjHHuxiUOBt0I3CaDG7GiRijU0zIZRxtYWAETatb7CNXZ6kGPPnLQzivA6aiCkSIeX4hlGU3V+
1O78ylrRy8CAktqq/uv0KEcOZxN/A+fuNCeYzHKHw+i1WRa4adtdWvFh4q3v7JbCKIrs+DKCfmc9
Dt769JjHXrTPQ86uLBDApCte1u6GayVbdunm/+/nZ0+n4yBeyCY3rvJu6/GGHOE///0pdmoKfSNA
4EM59ukdA/ksS36TNDvgTrY/NSSqMyMce/SckymZ6JOnet6IL0mE9XotaHZ++CB7+iJuvyfx8z+4
iqn9NkkpeY9nH+MYGYMKmr7ZoVEm3lpF0Ht6gKMXQcq8SAeOJtl8mak7t0qApLS7RKbkfgEPvE7/
wYtkfRpitsA0pW5IYSO1u7ratsPmHP3o6xVMXT0qFvwvkWofFsDPD7oVIzMs9WYHH3ib19W1Xt2h
qTt9m75+DDgQqFgxEIKaL2t+nwqBlBLRt8trSPwrqjunf3/6fg9nRH6foDaKkVj1NX32nKVuiJoG
zeJObQlm0N8beiT+uHVhscRqfKbpenQwkBITqgr2zVwFbBJBGIhE5u4siVSL4doSY2cA9y7WGuaN
f3DnOOahZJt4B4omH85cOeJWi6l+2HmvubIxzTM37sjMiLaY2MjJQsZnYs5+Xx4JV4hK0n7ph+3B
HtV2ZeYOaKE7IKuEcpfWgxpF90KLPULpHk4/tsPXAj013wyJlZPRlf41p4zDiyMtQuMQ3fu3Zfi9
kd6Hc/qwaY79z2vx+/fNyQwLikNkeZkXHqCnIeI3lD2dmO8gK5/VcHiOKdcTNYQzwFr0tfJHz+tj
yInGwQYaBsWkejy8JCw45qiWqbx33fv+KU7v//iOmUR9oluCmkfZYfbzrpS6WWEU1r4VySi3foj+
n+UJTY/k8wDGdNz8NB0MCf3BQmaASrlGhhKqt+G5Qvbh9/NxixC3c1ziuDFN/LOVkYAKXag5We6b
znD89lKFgtirt6L6nvs//vh2sa2gAaAjpkYKOXu7uV0oLAPJ2hfKdgr3ks8U6b6+wCDGEFgiXPk4
O83mZplU3qQKC2EvSHY6Etr2R2vkdKuo/1FJmlzgEp/IdCs/PY2KdlYpy1F2m9Qry19xGA+yi9O3
aPoTD7+RwyFmTyPH/g1nmyEUaREiks3JVnM6aXl6lMNV5uNCmL8+jhL4Yb9g2UI+0bHx2vDWtOpV
K1T3VjC8lJ35dnqY+atFv4w1DOKIwYwGbW36Mz7dL0/BnAbpDj17fh3HN22zMmgwu04lnGmaza9n
asyxp2D6NxBKsYE5HGjQhEoaTC/Yowl35PhVCO5JlTh9MbO52UAOyq6FphzvLpQAypuHg7Rq6cGr
U719GrZwgxt7EPehBdf9KhXbbWI0+HvJoHMfT487f6mJsZqsp8zNE+UZ1NnhsH7a5X2kq+G+ALX9
Kz0rvZlRBabrwqRH8ZSL0/nH/AwWmEQojD46lt6bsuHIqLsmR0/ClWXkjixiNUiGVLUhdos0j6za
aXVR+S43amPXQvYsi50CXgylA8Bm7ZZQo/ZiEPVfvaehd86IozAsVPik9xpLqdVyxxQwY1UQYvG3
Ft2UyY7bcNTJVsojcFCVpWH6b6XabtVqXOnoVjeZrHVnio1fX5npqkFDUc3BDj6v2kbuQAAWLIJ9
Jm4sGiXZTorOHG7PDTF7crEWqBBYrWCv4cV1BdvHFsiK/sevB9fBBwvwie2WNpsw4gxWO0GV4T69
0vCgnhNhzucjXg6SyuhoaZROuVuzFS4vrGSqHXGbEJgo70LzXvcGeOVzJ8+vbzm9Fdp2HEAo3FFl
O3zLqyTsfasrmj3AHdv8ZmTCH9+nwwFmawNbLZj70wA9kJXBzuvF6eeAEvPrdMfGiS0U/zNtESey
yOfpDvJrKHoCNEsjAlgZp6nkyEYUbGo57DdZn1e4SYboGQq979QsYOuOFAsRHrPl8o1AEUxxy1xj
hPbaol2iSoII0SKLhPzzQ6sUfW8RALP149B1V7A/XkQxpFzXE1W8oPmHGidr3SsDdzFm8E7eiUHY
O1VDGkcJ2XrhVZp56RUhop6mqTL5QhOJ0Um5Kbs2q5NvvhXk66FDK+b4ivfeFyAZxjQPu+1EplmC
W8aUDThoVXYNmQ6dEi08oXwg0KYFOJhUXgr/AfWEY2Vjt40g2KyUKoEf1fo1aqH8Je8tbd3mcoK3
w+IX5N7aBSK5NCTGgUruQVjjVhIqgMq1+6T4kItDGIJrZDb+dTURNOC9ZzdmLxR3RgTeOE0r8/sE
Ih/QQLv+lQ7C+gEub3Htq4m+NXSvXDZVagHq7+JVIPvqW8AEuDW1tFnoXRutNY6hP0k66py+MsSF
l3fissfkDjtY8pYccUSgz/hHBU/pVqU5/CDsmBiFtH0x/ExdqFFTo7GTdSce/GJdBo1py55/J8r5
Mxx5kg+qXscpBBOfzL3+0oM3BfqBPuJCVvp2lRUxd8pV82sgQemy1tuCLB0iJnDTTiGkvnWdxeq4
AxaRrkDiEoSUEEXiIZDbFB5E9SZAEBSEam5jzW82WYvZSsoVUgjACzV2IWQozGrRuC7UKL4oYhnn
txmbt5IhMkDYy+FmTOtHsgFJVoOcvaoUsGOyIMI7K8z6QkpCTDlxo14R0yNelXpHKGCsjVv2i9Za
I/BopbcxKSe9aOKmtoRwRTvDVH+FjXaNGRhDHmm3oGei7A4orcor06i/yMyV1aWPqu9XlYzPqRm7
F71ZdtuBjiIib+Ji49Ya7zLFKi6bJO3evcZ8A0ZZOuTyIpIjDtVR/LxfcaOFmxqU023UaWQjeLq/
kVKigcysV27gPEk8Uwx0GOJ1Ut8rZeWTQE9kKknpuleAnaEc4ViJ9wiOtV0NQE+crO59wMZG8g7u
EkS3BgkzIcVh6ZOVcInb1bwYpTLeRqKvOl4y5Bdp5vOAw8m9BihqVYVqe5Hy+t71TZ8EkMcq5bZs
W8KvGnN0JEFLyB9uXQfbeL6MyfReQRcCAxVVhl0NKEVJUnwlsTFdpkpNdraaV5tGHEr+dYEgICFM
1rAZvF9GC1ASlxoQTTMBDRM17mIMildzgB+ZaiIKxTGFQOXVF4Cxs53QtwV6Vr8llGjQNhEYpAtM
w8NVCe16VZCm8z+knUlv3MgaZX8RAc7DlkOOUmq0LHtDWJIdnINzkPz1fbIajVel92Cj0Isq1KKg
zGQyg99w77lHw20E/zPCDUOOaA97l8yvdVJMTre1gtLj1RFPVXUOOiIiVmMqdobo9VD2Vahki+O8
lXVUuLDivfHq0xlsN57S9US2UAP2zf2Cx/1Cv0GgYJojHaBquyktRN8l4Ro7wTcY+gRhFs2zr5w4
qN1ELDDrp07lyWyVH9RgTyOGMhLYA2l/N8XSx94wf1F4EIFqpcbRzgjWyQgyv9vyLD3kdX/lIK3D
ySk9LXFVkR17SBuHWqYt2thuvJ1W8pQqxXJAVdgCQs0UWM5HgkEAnr2zjc9jlY7+PZ59sAJQ+sCx
E9KQDy6CN2CER4voC7iPU3GYKg0VREU+jJ56RKk1/RxX7NwyogyXNnGIuXlcrpz3ep1uV6G7x37k
JDNGTf8BMW04b/4yJO2Vz9ZnYxdRQntRka38TucgwzPX1UlV1e3OrIXc6dc8JR9F1b2hACnUucXW
1G3c23l2MEJ23cdWtMFNUGjaycp1XBp5UIbSkMFpkunr5ATf10r/phrSdd28haZf5eBxZpaQzdK8
m7M+RZtpb5EafQ7LsirflrUeDktTywejU/PPTc9K8oon24x0d5qf57YrzhyL3XEkLObitUZ7JySN
GFyhfL8G+aMxeW3SbtUSUYE9OcqYD40Q3k5OTn7E3q9HwxW2MYHN3BNEtCRaI/PdZK3FhTBOLVQa
13XqtOBbvjZ9IgtREx+HR8l2F/HNWEYvcWVJvWVOxb1yNT/J2xT9IakV4eaI6bIqAGtLa5M80ZmZ
RvxhQXAUAtFn1boiqmTKUNq8PgZTzrvIQWUdVVo9vhpr6dDx+ZriuL8uatdxedc74By+phNsAXr+
KZCFX8G0XXMADql+Iv5Jv+DvAjFcFvA3PPU+1J7+XG5Y9Puis/dgOh47XW47y1znHR434h3RizWS
obgiae+E/lNGC0wRIm5mNKSUZOiMPZgpRfazDUi1zt3NDx3SXg5a1pgxyRtzxIM0v188603mg/gw
Z6XF1pAOd+ja5RuB1mRgZa6Wx5q5tBevsIgYb5xqX1vzcFwz04g0A6/X4utcOqj/0SSL92mxifnr
BwT8Me7uErE5+5UQBqHYl/OamyFP8i7Wxynf1/DY79dgtrF8gtrfSWqMi6RUSLzGqqJh9GF1Bb23
rwZZ7CAXv4NegNa7dOapAKelemncSinekNlbcU0cZE1iByiwsEDSzM6rGXhCppZ8sm2AJF1e8Qxv
8ORGTuqODyzMCCYYHf1i5GN19nWRJbrvrH44bHVwNTG3RujVo33SMk/Ew+Jp90REwWmddSI8ydIK
BTkHl6HhuY7uciBnURe7YYKLaFk4gciwyV8VrcyxvsI3yLvlTzvmd3zYcAfR10QdkJgE/5SxM2iw
wnnOVNzNKLEJ2/1V2Gn/I3OMn+r6j3J69tX+eMqGEb9Yr/nBLTlkPwqXxsHIgDNXvlkdlr6rfjLk
MqgryEk0LP3dLrIfUlnaj5lWfDfZ/kQGnW4+r27qRxMbV84+besvRalB5iFJIK4CSxwIfmBdOeK9
zYNMj1TeDlHur1o0dKZEtD9Xsd83lBvDvN5Plf5DSFmoELrkm2FtP22HhKZ2Ytka2oRGRbrw8vNS
NXni1nBplDu/4WXnMyNE3iLSOWjKx4lHJgmtF8QwDubmZkgaGsEi1lrp74PZvVNivViQf0bdTnr7
pRevvgiS3PBZeCmPWKnZxvSygpFIp/YXJK+fSIpGYByDCFkFuxH4zOU8Ewqwg2GHU31iP7ZKNcVD
qZMB5KLE8N1+juxg7JKhUu3ebzHBkg1hx6r36oMcmvJWcvxcoCA14XLFShC/oe/6rpVR0/NFQILR
Ka8coycZU6j9HKR5TFMg4rpI190UmOLI3BhKXKl/b2DLHVZSKCIiJLuTVVoT3og6OHUj9vPVEFw6
kymSla/+rlqcbW9vKREzhN/t8sp9t8BORJbekBNYTO6ZQFFnj/Aj+6IFIPFaiyK+HMvpWPY5LBbw
RSTyBMFNpnmXPiAUTzab9iKq1U4m4DsvuVFBh2owR3U8bsGdFE1B4hK4NCAzq8tbW5aTqK+K/M72
H1cf8oppaQuzm0VE0h7fG2JBb9S02bek2f1wDUqwHL8KOS0bhQK4VXnI/WoCra5kDIuhjcfJK5Ol
mZyDqN3xjZVyellMv7vJ1hbZRN0aj71NYWtw/vPgzY7FIh+46+xYHwL/rvDn8r4aqGXdRX5Zsp58
zKE3Q7Cn/bHpra/sw+wE9uCS9GnzsVIwJW5AFlIWcAj5UPLhjg/ZFGMIWe+AxUIUsjG66m0OF17k
xRiSBKjWKF2abud1OinxUHl6RlQyPWdmSc9uWNOwK0m+jiGTpvfkSanbWTjiloNuPcwdjMTUKfqd
3c0ViB0YSUabT9y/VT5x6qfjLRTwKmwLSfW1dibHD0JcL8wcMTwOg+W8E2ZcJHVrZ/FaevOzTbAJ
T81u3tutqL6UrZcThtXb15uxndAJ8TXRGM2RRst0IvnI2Q8DP8POsMeTofsfDQu8pGtAdEnY+/uh
y8iBLRaxW0zlJA2q8hBAgxXBjAxiqAsHnE0V7F1pJ2BjWgIvibuu6RQANHX5bunWt5IREXoDEBhC
ip/wdBS48VQ9g3ZksJE72WVdcBXRqNSwiqkfLXvWdhk4cZLpTBGZ7UD62+ZnIgTRtD0ted7dEb8K
i6hGmEsS7xAc4IdJfmIA/feEtmGAaNPiUK3G/JY31nbr6lIkJoDHQ0cq071vZetLQQjrqdvmNbY1
gmIDsXa3Wqo5x37FRtauc/BauV3xRcOGknPkEXeZaRoxUTRbe8BoIBoD6xE6qxQgswhAdc2yf7KW
5dnmn7l8mpmu7CnSMjDEVv1S6JgA6ADT1xlGEbyEqgF4Mai4GVKMDA0iVFNpuH+3iZDdbE13rb49
0Xi5wMhWyBUyQ76VUswd1hSK1JYb6kczNG4yWWK42xqIk5axkg9p0BmTlvsuuuAJ8pYWLn49hKkq
3UNlFc4tqZnFo8tdg7EGjoaN+YGr6BYX2IfLpdugQhrW8o19KEFIQZ7tsslc94Hbt8m20fkj9cdp
oaBw0ULXIaGC7knl0xDnLiWovnrWbT8av9yirY+KH+ve1TY/ViSL7XoOxpi2/CE3hDpmPrasqlL9
2dWXcjcPBkS6bDZvPFBtET1vdoEw3T80JvQGo2mcZHUnkrOla8TEhjWHvuWbI8RgtLmTQJY07gTb
m9lcGW4ygPGb/9TA6IbEP+P9zagzroOHEc5JVBn2Vxek3KFbGyPUy2A4IwTNaDODFxor2GszNdM8
ZkFiDiBRgq0z4nRuJBoNyyYigPrctWfnWJhwOm1zGqLKt/jN51yXxs7JFQAvD8XO0OMsc8HGbc9a
blKBOTwMgC2r2yKYmWkivD/NteN+sXM1kwdqOfucRBW8jFId0gm0dVEOyDaI9iZeVmtBBWvOl2Ws
zZgsMxEpZXyAgyujlo3qTV1Ub2vq9Me5hCRsbelyN3Zi2eul+jl5U3AhzLaLC3YVnIRyOYqamNas
50jPtKI5S8sLDrXZq0SsFEdgUHnUkdL3NGa2f5onz35Vq+WRw2U638xg8o8rTKBHLpzgki/le7eQ
ieyW9Xd7thZOJuvCL8S9kZVZ7nRNHxNzdJywsqyrHca1yGCmE81aspSmxiTZVw7jbvJp2TqAbXSg
YMJJsEsjMU8VMK8Mx5KiXV5Goidhng/RAgc0dOfxZyp7BkLYG+NB536wfQEjeyK1M1WTOLDiJcyQ
NNKTFKrc+TnpEx1qd2kMR71rzAM/jChX9hF+m3NnEcn2TK6ZG7Vj+1IGfZrYDWZ5IqRc2Ih5sevM
hk9gVMzzHalgkAz2sS2MVzsTVqzqVCWdN+hQhUqGA026JlOgT69lD8YToAIeTt1Se3YF5o4pOJN5
DzffnnlXQJpGQ/LlRjt8VHo5RmuqNXvcpmjiRzqGGQRpZFTXUjSzy7AgtCj2yHon2l13LvkwckKT
IsL8r6G0N4V29OT0yxqcIVz7iTz4yhuSwdiwq/o1GOvZLh9lQZHkdUOzz9TaHTW1DvtBInWpJykO
bjf7u9kmu64O5vGWj9AkHYlrtzYI7ZslXcYfpMd8mwkngsE9FolDrF0sVK3vsJlQEmSevS8wW7Hh
EICQ/Jn2PM8gqm0CvvuQtc9SFPIO2/IvSdBxaHTlFLkzCMpRgRgM7KI58D6DqC5NqhBmpMmsZI8Y
F7yw4wXDfd4P5RkpzRvSZo9TjRFJZeblHY3KCuzQF5d83UqqHW21j11ZEnaoqeBQtoM8i5H9gRqB
W2Ypl7sauuLkmbX3Ggjd/DFu1prw2JzCbcAqM3SWd2gLfo9F1pLUOhK8e5Pi1I3axWFsxnkc2u1M
RlxhRk2HU3zoR/MghrU+elylO1Ye3P4INfZ60RkP7egDL9wGneIxzffKLcheM3R3J9Ip2M2jP4TI
xvk0nU0KItTwgyuqedfl/rfONsd9w+ALv3u+JEHeWTyluWUXgIh3hZPPe5kuxl4YPJs2mredR/hp
At4uoJ11sdl27uvc9/JggkQMa5qTqG7W7EHYRIJZIANvgR4OcWqp7rgtpgu9b652/rhAksygN6Rt
Xh4J0mXMQIZLPK2mDVEvdw+CjIxQ1lObcE9yGBLRt2vJbts1ftt/qLTLnogJbWJsnWbIIjzc0vw6
JaYfVJHWW7stY4ah9plGOkMX5BH5f5IsbitUwxUjb1XmTYk1OGo8gy6/FSmlmmiac40Cdycm45VM
Wj0SReqHTGmmMFfQcpidkKBEWgIhmmAJsOA2N2hol5MHCnqf0uskWFLaG9MfSUWH3rSXA8JWvMjy
FoeuikcYWxGMA+M+g0B5UILH+aY1PzdREgZdqmknGyZyWz2tp8IGAiHGlMKByPg9X2R6mMW1GXQG
TJubo72S0+zHtadRcQLAOsGclKd80MznLuNI3jQBl9LPdCJLhzem4zojlk0LhQeAZa1bAs9J3XJ2
PsOvaNJKYz/ZpKKOygOKaFYtk9/+RSdMI17XzkrWpUhDjRX4UWCmf1QItQcDHeiqtSosKZlCA0hZ
VPvBGtEnjgzx6M8r2t6v9YbnorW0Z9dj/jd4qR61Quk8FsA9YsCqKS8GJk9b925XDAdYCnuJ0jsj
bIqtv78O8SGA+DydTW/9qbKxZr6EE5P5I9axfCrFgbTtKu7sTvua0g7cmD3Dx7ysqBTo3kNr0e0d
+QnTI+w5vTmXha29+fUCTNoeguRKpTvMRutemFRC3DL4cklSWW8zoyx32uwT9BdM3nGpvenZwRHK
4aNP5yXX7f1giXFHAU8AdN/1fHKc2ItJFI7lkyKP6K2LZoKo96k75Wf4YVo81xZiGtvtX/MSLGhf
Gf3T1DV+TcfrL1FbldMtwbJabJalFWmaNF/Ys8xgVqj/wkZ2WOtUQ0aiVedJitNCBMRljFV1v2jD
136+jvnV1kVlJme+YdXfEHjaxY2v+o+yDbAkkjB+Z8pMnT1Sqvf+lr8UWzqer1DsUFYNkcKMmyVj
+BwHrseUNmlMKhx7EvKLbTfmLzvVIbSPKhCwtTU4mT5ztdGR+qVZgh8rMSz7rlAGk6eKapCw7thZ
Vv9sqG2LTQ68fWEW807RuUfMVfVw0NZyR4BneUMmKHHSMhDUuQ7Zf+uc1XBLt0osoRuI9o5YcvFt
KqWGSonqalw2K9JTgif45aT3RJkuu6ao7G9WUMPo7D0mYowJRCwyEoh8e3HOI16ICwzBYdfLYfs6
cO/ejXpbZ7SAvg8yFqv63MDNNPr22WZdZxvTe4o4go0ETxvLyasfjLC3Q2sY2r1LoRVaaTkf0mzT
YmfIje9+UOu/aAK/OWWqLmzYdHjpW/ECHmCCDM809QShnsxdyuPHjmnbXlP6s23kIuyAMnCI+Dsj
GKwLd96LNUhfxYaa6md9wu9sZ221J1l9q6lJt3pfdWxRY7lWrZ9saM4pcbhZ6kIyuO49544+8oMT
cbpLCVCMmmV8ZEuYHSoeBYxvqRtmkwX7TA4KK67RClencK+QPo17quw5cO3iYcqdN13l1Vlv6CWK
Lp3vej2n4YRtFGYEh5A+ZhMG1ak38FxukjlYDadr9mvYVoZ2s7JZiAkbWeKBu+S+UMwH5sGZaZJp
7g3SNIhO7a2bWl/nH2Dtif62hfPmuSmhpQS5LHd572pJa2XmiZA5JheVBqlYYyA9MPXsozrjzMcd
of/aamWA4zerRxOD9lNOIu8X13bGW6ustz0VxRwbhLl+G9n2m/S21XfNIOtLK8b5mOmdVYdqWYYw
L9KMJ1M+vY1GBYiDiOP7CuXnGvrKCk6cRlVUen32NcjL9mRt03hWPBujrthkXADCuCXM5X4ZjPFg
ulse+yyzEvov6PerVhShIxvYf61pndu5HfatT9x0a+mQW7zS25PMRh6qMNclDiq1foH4UNB4dExf
ey9rj5h/gEn7o7GXOTWanKwxvrIYfmrrPO5cmV6fz7RZ5vVfTS61fZBLPq/FUqwt2++pNRoHwyw+
FqvcTqz/XiHQvfiF/PA0nTn0lMHhiCw64Jlgns189qfgScpFH/fcpdVe0wBFq2UclkiHsvHSEebw
gQh5zeNRmP5NWmYWpQODKZm7NQ/8UtwMlbQe1mqrWV513sl3eaaG+7Tzzrlvtnu93bRb3tcWdqSs
VXuz7spI8/xsb5UQrAFOKloh7hmUG4WwCLIpl3U/8jXt3VTM37LCKm5gbXWXcmAH02C+I9zZrWKL
JeBFGmJrEzAAJEb4rBljAutrlnKB9lWSyhMxUbYjhwlVZArZ73J2xLvZaFgUZsT02emYMWfPsnOK
ivCkQ0Q6ZCkjkmny4ReQT0Q0sMFepSm5K1l4PNhbNh/aDgBCDUTqkT4MDnFnz7slcNXBMaii7RTP
KnGB3q4mK3sn63lj984RMKHnj8ETsXxb5XYgxiiFJ21S9QuCLGbhl5FXEp0wlakbz8raduRlDJH3
kdaYtr7NXbvyJM8YrAEvpMsO+l+5hnCUzGrbZIRtAoHpr/Wa1QgCA6vth931+gdTbFKRZp7rT3Pf
+Mk0iSUqZTUCtRwVnUOth4ue9TAcAGjoK0Q2zUdI5w2ec/YWb4lsdzSp/xiDL0MOJMCF2bYVUIiv
RdoQ1H2cCyYWFkuYSG9ZK+nj+sM3MrprqANUHRzwQD5LSMLROK1vpOvAc+h17pRZPPHcs1/SK9ud
AWv5latuvAddzQyt75AklFZOm1aUbCyZMHGyv1euV95brJGSeqncqAyM6nGdAue1JG3vRRucsYvn
pQI8JyoT7MXQwkacMcyNzIi90n11BkkwfEPTHLiCyGhzNs9bo5VhlWsFuxmPbSMNEXiI0aNKL9pc
jzDKpD+0VXbZrpCaZ8ajXjbxUi7fVcqPPNwKOR6DwZ1rStXSArmxlJfJmkE6Uzi0JgYR3XD7nemr
8aCl28gbmOYDKeXihBHIjtzGM1/XCgdSWGQ2xUrgqbupa53YAhN4doWlf9cqm4rJGVK5c5rFjLjn
MAeh6D169C/PHu1TlInaP5NHf0X9GvJr0HMn49Vf49WFV9OnehrTRAwktKjiRKy3yWYRGvrGPjYa
NcvbjZBbE03Jcc+7WfarNvk7V0/1r33TMf/WU/tUrHb7VJFP+ixqDBZpgQDJFULQJY9v6TIwTnSb
OipbvWXiN83nrB2aXUFgHBCXPDthOOP7KEyKJo/VNNiWqXfG2GvX6lkj7+WD1Z//lqV2QQmwzL/a
Npc7+ne1JwyxfCrWNDgQVpO/LVhHGXzSz2yACGki65G8sLZ89liFPrJFZGc6a51Neqk0zBJuuH43
mYznlT4DSLe2fH3gacguVh8mkqFTYhf/CvxmWkseweTVVImrv3ecttsFk6UnPiOPKTE0az0zC9zi
OfPYyk32unOs6mIVzXy3aK1D9oD1UXuNTqXIcFpZzXi2tro4boxu2TORGNXlmvNOrgyzzNbTmQY6
b2up6YmXqa0nC0H/mVH3h2rVRGSZ0rtmeYeb3kCXVdCVHDecazJQG21hFjdqzHykSIunjBvnsaxU
8cFAbpp2Trvl92wNIafzc9nPk0QQ01UirrjFswh81gqKts8uYMzI7fE2/VhVzMANWQXXHJvhgbQf
E37aZN7nusUGsnXvZqqeB4fGrUNiU837dOKnupkoQSiC9YSE1+4oy6pPjP5gas5Z5MQ+lIrw7DCr
2zV2LX1ItmqE7NN6hDSGUAGam7wxObG7rD5ZUyo/bI85+bJq1tklG/5bNi/EeYlqoPS4Fm8UKjum
/GzkPKEnbICD02iAupzZJWVur115+2sXtT3HSUuoW1eILGpQO+aCn7otLfOOxYP5jdSZwIn7jeId
mXoTscRAG3DV2fWR66v1pcUxccCjzdDB1fN0X2cWM/ne0C4lgCJal6xPtHFwWFERfSChqaWADNdx
7/Rj9Ws27PQVC9r2UBS5+xKUKcOqQlCFaS1rhcp7VFZhD5FfcFz+QT32T9/wVYQJyRHtP79Ym63E
Zzlip9sCw4Lo7nPPvPVY+5KqkzhTfXa69c62mi+jSL/ryAxkOye/f+3/lt5dBdOYsTBrIAD9bJud
g07fcg63e5DO/T5Qh3/75/GrGeSnoJhlDfeZCJ7lBst6Z07vDI6fidnvH/wf//32CQtnq0ECO/Y4
978EkEujwzU10zt9qW7LYI5Hbd79/iOYV/3w31XZV+ktxgWiJkFAXLdG/1T2lRNYP4EBEou/MJgr
aWQDt8jGzlU/EoXg1gNBDPaWCNtTocla/5Lqehm3Df2yVgzVz2n2N1rWOdNPs5ichDlwc6wglDCg
ppMfmUYyTp1Q0lEWsALwJHXMH+6x//s2//kxrhJmRgNXGyFgl08CRV0TwmHkOl6EO+DmDDxGmKVB
hYOqYVNvOLbgvtk2JKUC+YNZZNf3jN4rpAxgELZRV9tBPXxjZoCejhn59YmmXlKA+9HUAgKfzOtA
t6o52xhp7Lq0JF3dYjKDDmyDMSeluTNI6btZ6cAiZ6SiYh05xVttsOIJhmNF3xo3phZELHtfZpyv
MVE5bcxn1RA89N5BaitzxJrBhCaYuTd98yUFE07VpBuhFJlpY45H8kNpxpFEgMoezhgytbYBczNl
49nLR7nLvbq8jNyyT+s09RdPcd80W/dcLul4lxv6cG4s9E3+0WgJ98sW0YUpMppD2y5avKj2nec7
0DqzG148pSH3EssY96gl4gID19H0+xNlK5V0lkt1gn/zk7vHf8hm7Hu2O2+3nl93R1yl6jVnMcBU
eHZJUlyNlvuDHm21qaDJaSeBAwPlr7VyKljduhYr06p2Q8Nsp3OG4UnmhAMt41xcKsQVD20rSmcH
Q2w7rv0VqU74RWItbn0KglXgJeiN/JkUGSexJ22JqMneTbdzj9tVV7TCDjvVqeGO4dJ4ROHg1Q5L
/p9bUiM58egteCxDM+PaVtVR09bicZDtFCvPmBNLtogD6yH96btVlqj+zuhAxucEPwC/WHOTDUhe
k0ujK3m/MvP7aboNE+KFHVcbAtgjlmhD4zkMrndEHbPeCNPsdlUDL7vVAsY6WmBD0rkORYDgi3Pg
Th85886HoPDa4+BtFNuGVlyMTVbHjTDguB6Dek8bTX2wlgM5LamuRQr6+UMxyDXRh44NtN+tyFFm
J7V3q88wNDScejqPTBJjA1q9HnYu0P9w8lcm++72PsNGhSbVGWWYqZIVhWe29m7aJDVq1uYt0/oM
rqNyeZ55W7kfy1WenWb8zhYj/4IDlclLia4Iz4S4dKO+xAU5j7ed5zCP12Y9Jh0Ud0wmWxk6haWH
Pp6Zh1b7tg5fxyg3zW2PgpOoFOK0v/hWe6/18ianIZnrtL7Ntwk1XlbFiOfkS5MN1ve+EOWT6ADa
b4x0jq1Rq9NkTNklUK1/w9OccRvvAPBhWjkLZbvnnvN1bBObFfRXiQzwS2NRkWzDoTdUzxquaIwk
xyvA1sZbHnSPvZpo0m/9uryng9W+ab2fRoVx3eoxPPQvRHEGKDcdi/WbMOKOdW2EHaA6Mr1VJzBC
KxukiWZ8aKZtjzbc3/fdlBqhOcSFmVR97Baz+dWfkXPWNk/qkMIBv0Ef5KyXA81hWwh8bseixbwF
6C9OwtU+WvyCe+J6fgo0PTHI+yDhLaS/0K60u0UTM1IyQgHMlRArUEm/1plm0M08Rs7iKgOtdO9Q
tW0Qz46pTiZnPl917qJHM2jGTVpj5S4/XOqpD6MX5kmUXh6zoLJvtSzoz5q7Nslm2d1NKtWctIMK
bmApu9jEOvIaHTJmVhMalZ8TeVPbLRNcohDEv+LiwC/HvWWDWjID07Hwp31SvW+9Snvhjsa9mWXe
kiBn2u70tMmfhN16b6PvDl96H01gg0T8X6YZGLgSg6t5AFiGYQc4Tf/50NS1lIzmBZF3x3pfJXq1
G8s/lC7/dCfwNPYt3Tev1ZOJ7db8y9ryN4NRM3FcreMcXIjtWj76LU6HZPrT0/9PL/LpqbnVlbRT
ixexVzY4RCLGVh45Rfz7GuNPr/LJAMF0guSXWgUXCusNToYZmejppn/lkOOC4So1uVxUfFwu8zO4
q7CQ8dpzlvPgyKedWEiSL9b5T2b7z5/lau7H42fZuBcpNT5/80NpDK2ud9s9K0xB4uVa7ktEHjud
nfuJAPbyD5XN1YTyn7rmysUGI4D5xcJZ6lDhfDKpGEpAMZdZ/SCzr4iYN/UaDEy37s3hNc0b1IN/
suP/8wOS3wCPAwkZNl3+jb/5061djhv0v7UxWaNmCeqlUY/1POb3HP3+pvhc235+nU/mHoWZks5W
mrf2Nvt3+eaviSbL9PvvX+VPn+bT5ZtIWEV3y6dpSbjLmBO9a4igpz8lgXz6MAFsLiQy+Io5FFzk
iNe38bcf65JbRLv22fAE7DnWli4yev8Pt/enT0IH4/HnDQxJoLiIcrzW8X97CZwcqZXpVfrEFpe5
I6O31WNA+YdT5/pT/M/tdu3TOE4BANF0XJEMnxkzjZ1pqd5J+Tia8VXe4MXrnwyan6xEvISFERsr
o4uKk2/502mA55c8m3TpHlMqjNxq4zQ79cuh4L+U4/3h5/P5i+HFbMu6+pjxw10hZv+8alY3Vbbf
TvLR/M7qtv/y+7vrf/x1DgFMk1SzOvCKT72TpiyizFO9fqz1I+W+/u/aS64Unsxraj2WDPyR/vXl
//aVO86C/x9F2+OsgjB/wALwh6vz3982GVNXjB3eJUIq/nJ9/e0FulxVs50azuNuLYE9Weg5mj+4
vD/ftmSn0cLyQeherStR9J+fAZpimuumah90RyUjqplZR4n9UqNH/v138ZeX8x+3LrhQ7l42QDqW
QSf4dLWatjEHCFzWg1sNFtWkceodDGHOiHZPTvXdVZjFBPY8DPiitoXnqnrBMfLvWnY2rh4Ld4Of
6/UggBPxz89btrZTD90yP4pDqu0b7d/eEtc/z0+Te+3qB/88SzG0LkNy4syPpr79cFrnlVzP31/H
/7qnAQq4DhUHRimfS/nJll9MOqpkFGuPK7BU/IRi9/u/f/3C//E1/XUz85gBkQs+8TMGYlEL0k5+
k09V28XaWJ7ZO8RYLSJiJI9DKROhsaX4/Wt+/kzwl4AH8m04qMMoGz8dOcYgnakpcJ7TeHReQgn/
//f3Px3/ttnKgU2dfKiqB+I0MN/8/u9/vmbXUpfxzF8lwHWM9ummyoN0SAumUPfOlp7HTOwdezpV
s3fVnUCf5KBumAj8/jU/ecL/q/L4fCOgSC0yZTY1ebo9vna7uOkDN+zW7KNUsKyWluUI+qiTJocz
8OyHP7z89TP95z75fy+Pedvn4ABs8+k7W618RGYnWDrBD+dx8Tpt7AyRdcx5nsfznLoMFjBGra17
cqfiGZT1H35rn0NT/qq9ONcp9TmCYaR+Kh7ysreMkZ3Jg6lZl0Ubb+eqQJJgbr98ub1SvhAYkf1Y
lv5WLk7s9HkRsu1DfFH8KDT30BdXKaQRLbUfGWZ/Rnaa/P4i/a/ikMRGUMkWda/+GZ42zQIfIqr0
h6rm2NsWFvwBuXA2Ap4GU4wr17h3x/fCK/9QjPzPm4N9EIEdjFddDvZ/HnNDOxilXVT1Q4kdaFj/
D2Xn1Rs3snXtX0SAoZhu2WRHyVIrWOGGkCWZuVjM4dd/T893gPdYHtg4dzOYsdnNLhZ37b3Ws2hE
S44p9HUr+5FdyRpfPRiF81821y97/P9fFP992S8P2sIoIW0ViyIWMw2TfTP+mKfXJTnbqR9m83MM
g7fsbhCG4GtM//KU/5Oi/nVJ/vfVv5TG8D1qLFNVddYKRnfYLU+l29jMEnDmONUPEiUKBtSSI3CK
Dp9x+DuzxM9ydO5JGthw3ts2q3ulMAWxcx+EzkxyNhT6++Z9SluNubh+a9N62sL3i9TENdq1uvUu
qgFadTviqDfsFN52GYefdYXxxpYJfnW8ffQZDYnVRHOiXOJovvhi0pnI5XV9xkBx8goELt5EwA56
uapOt0QqhpbFgknYeSdz3g+xog1qlY9lnDw4Ur+NC7XB+TwH4ywRyyyhoeTRa4xILM39RESHXyNk
mCUI3Kki/lCNKRm4jIIEttRNbFd0pow8bGpz1zrm59iIN7xDWCmnPmora9PSO8qQQaK1QNqbJA9N
1g2bvDOfjC45ud5nwUyZTuR3R9BDNIZxpy7w9gmd3yaZDOQ949VSi4dZm65k3kQ16r7NiGdYdcnd
nx8z49ci5j/LjvEBBRmVK2/GX1c7+wCNN1plZ93xbplYks3ozwrVjHacE3OXLg32R7wyzrqz8vVk
zPFjmhH+xxSc2c6bHLQzjom/7ZDmbzskykqGG/+UbyAuvmxPVs38MxO1OhfNh82JkN9JIJnQjMcm
3/pM7zVCwcYHa6Ad0/7ljfRPtOGvzwJKG2Y55KACVeKffr0lOuKt0VkK6jpMSacV6dHW0sw2ynqx
oouc9Z8t6psfq9/Xu9Zt1U1frj+Y5afHFUpYpJWWcxzIYrtpmwUTVJb0R0FjfatPxfDx55/vn/S8
3z4r9DfCr2jZoL369bN6qP4RBNr1ufUP2fiR1U/eCozAzxlv3wqEEflwneivSCWDuvlmufqPlvxz
e5VX7XxDuiDR6GNoeW+yQFAmf84zC1MDHGlgyy0ZZYEqSKyrWc/o+Ba3fv4/4Twuqw/wD6BUAFaY
H3+rXrI8UUxwFnVeRX+Kl+K2yIjnnJgf/mWD+5ddndqSQEWuybyOo8GvN4rEd6M1UaidZYkmmElE
+oFQpNz3mvsxy7m6yXwxXwODWE4ooBGzZ7P4n8rDf76sxx7GiY2p4aUK/fUjOG52SYDt1Dlrvi+T
fSerFdFHE6Bq9st3oZd/ecn//grlK/P+pJNjMzX6moao6Umt2wU3N5G+8y6mtUTiQSR44vbp3q5n
gNdFK5F4Gujqeybpf16bv1Z2//m64PBIu9MZNH3FCGn6gFCtkeqMkgRnMKO0IKnlHek8mPcW/SAS
gnF85y9P76/18H+uCuaNkpIn4rcEgQ6uL0OAy01Oy03c0bJw5/+9QuDG/t81/nko/+tsmbmx0tax
V2dh7nwm9/1C8Kn9HdUsBq05HP1IGtlhGeRfFtCl8vjysNM2tejNCYiyv7GeFYG/nRF73FHDfxg9
A3HT+Lgi+frzD2f8fh2OMGREcaQwaEB/bQQ2GWJeU7rtuTPsmy6Wj1pNsAtW1oQ2EG6SECrRA/yG
Qy/abT2tVNBthJRqJD1R3U2F8ZeVdNlwf/3ev36ey0r7r/uN5bNaVs9rqchu7I7diZWDujfQunY7
FQ9//va/vxAvFyPmhB4hxfFXcNMM5WbNOhvjU5Yd9Bo59dAfVq/aI+/+yznkXy5lAIyhE3npS+pf
++DZwv63IJxCJZrfO3btnwtD+dDmzZ8EB7p/uYv/8qtyNfcC87asC2r717u4uNNg5GN/uRrFluq2
uiujyvzLpvP7U8/xnUYeLWuCt+lL/XoVaEDZ0Kdzd1Z2G3XV8OZiSLctj12giPK+u8IR8ZfH4vdH
/nJJjwYiDz3N6y/Fgra0bjkTqX0uSGWCzGBoJ73Rpqc/r4t/vQqsPQ5N+qV78OVYYPmzVmE/7c6W
kmc5invLSv9y775mEvA6tGnBmxYtSuBWmNF+vXlImAWuo7U7e9XP1qw3zbSgXf2YPY6ACmfuHAp5
XnEo5X76l9Xxb1/vvy/95RmzcIYknnf53Tq1b4wecduIWeXP9/BfluCle8TbDyQM6Osvi0MqbDsI
qu1bdxwbgD6Wc43zuTqtGemLf77U788WlRvwNbh8dBh/+7m0fPS7xcmz82CTjJv3KIlTCwrPwow2
VE3xNzjrlz0KwRVhEh6sfODb5u/bRpHQ4B7qcTmPhic3mqzUbh10MyrKRUW+ngwcKjrrL3PC3y6K
mJU5mm9b+M0vPLhf10tcmiUWm8E9e3E3bGPD58CTLsVptCd3O3N/j8WkFX9bpV/qCiCgEGgvYxQH
1AyT5q9PQkPrpJx17UwQ2XTQW6PY9j1ogaE2sEp3hNhpbjY9caCEw0OpfPSSrqg27VgUz6tbYP4z
0zXf+MNUnjMFeIF8I/N2TTIqlblOjzVz8j8vhi+L20SgRVeOMplwE4BF/pf7NOeZ3yZ2xd8PssZJ
d6N5/+cLfFltXy5Alf/rDyGwuHqjQ62TOGTeVqjfMnplooX89L/RLIn6unwX1Ew0Smk38hv8eile
tchRGqM+1yua+fe8DKr5bzPgf/06/3eNr8jXS6iktBC3nrGICPGErR9RSGxZf9kO6Kj8tpZ+/TZf
a1RXn50lrsjW0I2qRt7re9/KvBrIkGUu0GFhOUwst28F9utTJ8y3EpdWZLioWeymzUMFw4mmFH8A
HJt3aBsDRWvVXQSopVZme2H1CZ5AzO6YIyHxLon0fkJRdvb15L6kbHphptZPonPdc45WLMyXprHD
IXVppGeW3YOvMP29rEoQd21SRClOl207gbphC7lowFMjMGbDDRJ76oMWNxIOt8cShcICJi7E4Kl2
6GLfvZ6APMWxapM02Suqk48JKXuUz00PAKgDqdTBXMnWyflE38VhzSxwtjMQ2FUFoDSY2SYkmDw9
r/NylGu1n7qe4EoM8BqKdxzqTmd6m2lNrU2dtdXDoCPNvsb0nsFEatG+4IjA4p+JPshMyBJm4fiB
bzQydG0c/+zXPngRqCeFOcd7x87VrVmX71aViAjFufvi4n/cWUCLdrJJh5tE0xGemuiNGLLgzNIJ
yuy8yoy6jF1HLwpoG5mTR5rT23edNXYnXeEXlAMVAOQVdSjkyJOSNWJvGHH94vZJt7OngaQVE5Oe
X6PS9lLLPUpj8MO1LLWoxfcYuhYG6LgdXzuROBtpAzyOBfAOs7Wnx6VxTHy3yzwAZAJJtIiWt+Z6
kTC3Ksa34VlFlI1DFq5NYoDLXaYmQFFl75IGUI7vy/6x7h0RFpWMgbMBf7oqCUW7MpPqZ2PoCXrm
2juMw1gHiHudbbtCohgkjmmsEiaAQp7+KfPmV7DIoGjw3UZkDDnRIjNrrwTWM3TO7XVWeN6xmtp+
b/sLs1tmn/yUjnFKk+YH68LdkuxmvSRED0WFCTFnHBL30CCmDBKSPCOiVj/M6TSRVzDK5aFxY6hE
KU0zlabjNwK4452dx/nG81d7Pw/LB4plDcOmx+/hyYZ0NwNJV1pC7VJo9XaEY+WR18n+0DkoiCaF
6jO7Gotj1gTayGABEbUbYL40d6h2k73sJrEn1gA+FOgEBN2lheVnEgV5kcPPdtJem8XmyNe68S52
W/NbJyq6fgQ9sS8u7jNcksUJurLChpoxvC7mdt11ZeuiUu4MbJoJ5v8s1W7lVHsnJhD9trfzOZAm
cvlhyObTBCwFcSDQtT5tkuvOFZ+aT0jt4PX2xmiwBI0lXl9RuK+zkdOjptbdSMTG25IhcBD3xnww
smrmdWll122RjocuNuK7OFmzQ6dqFdRzU9/4C85Nf4W2iEkOwJ+ssjfNxM0tBEQP0lyTqCozAzun
5X0jjFUFGSaOnZfa7w4kRhxhKLyKxvsBiw9UG56VjVeYWCaqmPNFrdoT7mZeenpyPQFSOMjYo9+K
8ZAWSHrr6eMcpiTKfk8qxw0s/nVriYF8SSBo2zFfyd6w65X2pIY9LI+x7WiTuVUXa6etpAqbQS+D
DDsfFMWLOW7GjVKVFy5aRWMKCWly5fCvm6yDsZMOdQa6q1XviYbxE5AUuD7hajQnBsJ4e9tF9O3I
IOn6bofdL42AFZYbq/dk0OfFjNrcAVvoeQlrJqnDtNcdrB59d3LiTAQI3MbNlDTDfUKDbNtfjJ6D
Wutj6iFfHiVwAadeiVNqVjr7RRMH/B9ED5PKiNleveRDZm2KJQFT0GWCj9xy/rOAM0FE6IGSIVNO
UzAluR/HUVs3flRnCNRWiFXbSisa2qxS/KjiWd802HU2WeO+tlgONyIrPibZfSr8JMwW8o/R1p4s
NcDzm613GVeEBLvcANEo3P1e827b9GxcM1YbYxhAgFp5Hq7EuyJcVOk9p8qCkHeoJbLXHtpi5mM2
ZKflRoqGrtJXtJimwXNMtKKqWlyDnrR2DqyCYGooHEYhEmYu8HPkuCDxwjXfPfI/8iSW2YyVNGs5
F7BjPGZuh1XFbsrvblU9OkgRn4ZBq04TLrHjstbJKYFSTvIMjOXtcBFxuhdbPy4o7V0knh9WEtcc
7jZUjX6CeJEQ163JcT80Ut85ysT9FB7irBXP6FXn+pCspk4LKIJ1euAdIXQ6R7ykHZlIOyrfmZMQ
0ZhXUBl4TrYY8527fDCmHYqj7hqYVv9NKZEf24q991LQXlEpF2Exp+SI1DYxlbkidiBx2e60in/q
Ue8Sq7BVo7/sKg2GacqgiKU9DTSPMCbhU8JBKKxlw7t2PZrjMIVr15n3Kk+dER3uMIB7BoO4y1Ad
B5Pu599F3PFWN2tbvmsKdEYAMwoPkWi5mfqUnPP5gnk1RwxiPkMuv/be/Fz2AZxFSBP+ika8rAuQ
OaXrBCb2PVCTorgCNf/sdvaLPQzfFxv2SGuV2R2sxALpPDWgPVIyOM7iB5Bc2lM5aMmtnWFx97GT
bvrO4kg+kz+C8m8uAwnMFOdLZghrH5c5P8KS2O1RKsHsBb0OfqMkuTH51Zg1gDR3CS+OZkrcbV/i
dJEXRgzQ9jLgnBUHJVOljUsW0d5KZRmUvVyPsyvmrdla+aHDCvZtLASjxkRAOI3FZ9Uw7erwwB31
vu+jySi959gYS3htVb0vbaYhbgXxwMPgHzLaNZ874Fz4jhGXYfFY7Yd18XDZDiLHrpEY410FBYc1
r8trQ6CQn7Typ1rZIMldheugOy38To3gwUsiamWPxZ7JyHqj0Dbwn60uuRLOhBIZx+FpubRNYRsl
IW+8+L7rS7FL7E7seh2cVIkfGvPLoL7LhobVUDXeho9qbDWUb7teYtjb1FrfAvsd/Rucz6xjohXf
vdatA6/VjBDml38Ll9WLhD6hBp57ntaS4gkIcIqvUn03pda/OZjdsAIVxC3Y8VphvdZXNnuzGDDM
i0k/G00TP8RDAtpiaOZdIY04THy5RE7CUM2XK7ty7Png3rRq2K39kjzoYDPu2hkp4WQR8C58Zkhp
FbsHlYxxxHFSPYiLIxDethf1GjsQ+B+mgrOVb9Hakhvu6XmYNyMWU5/+dj54947sYBvF1JApuew1
oc/Np4VpBapjOTHRx+VdGs6nLhiBNZKStoPxxo7LAguIpi0YbJj2lkmWHiANFRdHqgcSe2kf9H5E
XJv7fGGky3V1yjOjf2j85c3p9I4SaPhYZnhby2y112Nr6mGhGx+zffnlZvprjjJxa02et+khKsCP
WNL9PDPpYSCFTcBjb1dNanxLGcgEmmRH9fps3apLKOyELXMrFmO+j+dFbbSUJzIty8cJgXdIV/un
Z+Yulu05O4I9vRkqIzSRs1bbd6WnDzpaWjC6nNMxXiy7qemczQQCIdDnadghOc72c74UjHMcY9u0
yRwJay1Rw8dlhK4M11KXAEPxKIRPi21whsjL/phlZXNnN1W+b2aHMlzvpmu4yP0bN37ZmWOBk2qC
2R7lRIZzYm46bsFcnohgzTHYFvEDzmaM1iBzdpLjLHw+D+gpdYiBdD5tT2ZuDE997YEMRZER+kp6
14i2k629Uj9ZyulvYTJxINDhs792OYePbdEu01nBTWipWMfmxS3bq3m2XxEuKSySXipx9thNn1lh
rJj2XIo5gL2YOy+Lshjxw3eWha3aHqPG6cfA1kefcPQ+NozI5FFdeOyh8Fw7E+/n0REuaXR5e7B7
zIqV66e3hRRO5Huq3hdr5gS2ob2UXU9oXUOc5tpUFimJBgcYr0qB7rZiZSKBDrXacLTrg7iEM78p
e6s40CpYorHK01tDjTnT4bh179PMh5XYivtxwqORpAy+2Oq9WwKM7TB2QU42bYPPBxC1278gPUQf
yajDOyoKv4M1atm2AWNwAHzAeJGKOiy5epiN0wfoC3uzpB1a9a6AGiVgWdLTqqAHU/LoTuHjp1TW
IVfuk49gaqt7Ld95anFzspkFMo1fyriXG1EIE/aomYfFdNkGcS8GyslTDkyeDbhpSa+bbuEvhvok
HypASHnoxwQuYU3R+KRGSQkDHoPd0s6Xa4AjNgCB3F6vPUPdEl78MgCc3U8Ozr9gsPD0aaXf4tiH
9eLOehumON8j1ITVttYBS13ArdjvWJCYNtPvVAH0jeBcfjhpMr+7ejzeLozq9/wFM2yWPv0G5o9Y
+WS1yTP33TFmPzDq577CF2lKzzq4+ezuTQ6fJBiDlKLiGA9mNrg3RdzyjMsLu28kKgB+VFOFbbeA
e/Fi/4a2FYAuu3tJXPdTK+k3mhxAjvMktSeEqdquXbT6zV9Ip88YYoWIodQm7WEtaFXaY7iLNaae
FjZF9oONrTVERo82rS9mfYEO2zxs4qS9ciZk/7rlWYGHUIWNXKM6mCybkxRJgzsxTRqbHdywW72b
vQBCjBkZMRQbO8lJwS2A6XmdyzNruesGLowR+qn89BOoFaqGRG3IRASSwi3MBF6MPM2WMMXGgtlH
E2HtD+utaS/mYc0kEhpeUdeJVTgcMXzFPtC2O2Gr5KrtbCzele1Bl8uGm6Kyhx2avOGVstt8NUZt
F/vJjuMFdVZ/QA0+bivY8c8p+8sJS3wR5nMBeZRFZd5S2UJ9qFMQa3493AMV+xwnEPNpP/oBY7H1
ykzvh3Ibe/ASOP/wg5iF8UIFO7KxUPgoze4309AxKO6VG6VcLzQT0w6MXnHuw5xZhFmaFqG+eP6z
qB3s0DZ+/h9r7L7hG5oeE1PWh97WIMzr1VJnB+YasHHsxgCB7qW98zMt7PlQtDN7z5yXUakzZlYq
RjRh4KqMqqWrv3W9+eFYlnaE6DYHBGuaKMPwrPF0ZfjjR57+lVQAmAbOq3Tcfm+VNV0SVxjUfy2m
5tpizChzJnS4Yb/7+vLkYrehuFrgynWKEk8rtZ07iHhTVDNkNknJihgLDE9R41YBf8/TJ/h2bd9h
y1/P9C9GpH3oRZg3OzfWiKcsc5n25Q0g+qzS030m4mTvNbK9S03PvedLWYHjsjgzD+lQN72CwcKR
JrAG61RRAY1cABX9OERTUYmnIVNZtPSl9cqW319h0qKaarrE+7n2ZRf27KQnYnFdNsYOXI0eP2GP
QiKRahL2FtCTXsD5kmVr7jt/TEIsnj/WthgjaCs4iD2L3RON6Db33RjPl/oxw6J6pL8EPYWkYIia
LYQwcUldXxZxJ930cc2nOaTrAxfI8mqc0GgoaTzyNDnD52S65UYZhdqnQyvYfvj19HQwD/Vid3f2
KLVTa9fuKQE/9c0V5bqtCq+IVpC6NG0VX8O4HPu1F7+26pvCnSlVe9nS2RP0LhICeaX9zhvlk5AR
iEsoITZiwajdazOWqsn2Q+eiF0qyzOWteUGVO95wk+EyvHIlrzkJs4LP56SEMphNlOj+G9PjZqsN
cuZ0aHdv60gLEpkttVU3bU1RV98oC8enWUJrsto4DTg11mDz7HYXV0NxQWJwKliVU7ysGJ+3Uo7U
GItdRZxnIOHrCzZq1Zf5vq8Bdyeu+RO8BBI7ta4b1djA04T3UymdhGG/LI7suPY1AiIZin5CFZUk
VnvXVMPMAb68hAe2AogqdpOthxV1o0GF3ip8e4GVVz/QuqY8tu1HOkM5wVZvWEdHsvqH1Xi/WMmD
VFc06KATU08TKvBZxDix6s42biqs5BFcZrpxYrTCob9wK3Pvyl2hzFqoV4++x6ZAW2sgp6fwYCIA
U2AEDkRKS7Xv5dLp59EyyB/rLHntF577jBGQ9hTHUnI1bVDiK+Z6MCX2XrjdcnGFWhGg8SoSDhBB
3cz7UEsGExZT3VUvfe/EJwh47T5NjWYfG116CxewC6WxgmLkZ9kM+WSerEviceIkZgDdyY7qCZhT
Fefrrs6JqDKx3EftbOCetOCK+75R7/4JqGiTbrvK9U1LB5euq5qdQz+JdIsRBeARpdrW6KACdEqb
9oziYDl5KT9HORGHkQnnMM1i76nsoSHRHKFcNxCO13Mi09P8wGy8+ebD2D6a9GdPK4xNXiytIX6O
pateHK9/jlWZngwIVLuig8QzZ/lH0s0TH5+ur1gbS9KdGnCDZl0Mt8SZQyaf9KkaBQHZLfQbaOY8
3zYO+yXx9aiqrX7Pw2ltSdAQ2NxMddTaWd6bce4+z6v3w5Uz60Vnv8En2W9rF/zQrEnvIOymZi9p
5EOneV1IhhEIDUlSkFFo2ctouv1Vhgt6Y2faGKUD1g9tXTE+qhLHXaWpxzXr4fjTloBI7vRktfFj
GBz7SuVvZAcRwDUUhF8H/Z/ROfbLstrj0WbDgJM3mwCGW3165IUnLm1d84DiQr9JFZ0J043H/TK6
F3QgL0pgxYw8BdSRSlH82zTcP3LkLWZAU46qOk1AfsihrH7Sd0UV5rXsyMswO9fUcuNWViIL68Yi
6mgs2tCyC+f7LBCa50A0Qn2MCcHwC3eL8w3sgGCN37SzVoaJO9e0Mfp248XLTHHaj/b14NCUW02A
enVnPOPARCQwN58YC6c9MTIwPuapRy2hY3naMqcAPjMpubUMK70223qCFemuCLQgebfYRZ6cRTwz
S9Mp3NSrXaQdhviGFgAElf4gGnSf2jRHZhwPH1blGwlNXRyfDDQJgfR80EgSDwROpr59NisTLktb
deGI79iUzxeg3NTdm7XgJdFL+6fH9n/lVtMLAk51JComkB0tJzqZL1mFBnlOSI+hg9BviIfhYEkS
SQSCl52YOvgld2E1mRVO3qF38/vRqFsmBTCS4Qm62ziX6X5ShknhjjSE/I/q2DnMW3n47BQt5ODU
cLsG/6R8Q73Yq2pjwN6duV1E9jj4KScUa3pJ1QUwLbh/G94F4t6jaQC4dyizEEfDOu6qqhL91qqs
ONDz+E6l03SdzkOcR7Slm+4xQ1g9bPO+7R8tUwwbvct8eD4dcP0mtfQjBE3vMMMffYpbvQt5gBlI
Ol18SBZ6x6affmegoG+kl5C1QT7aLsYdv+d4Ex+wWRihnSfTo1cTPrMOSb/Rkq7c5cNEI88f6wtr
1Q4bT/2odPmjqCtjAwAT87nt0mg7jZwl26iMh9vSg4U4eCCWiQkhfrhOzYgw6pQub/FjMNggR1WV
NB0EMxV9cOOnRl9qiurZb/akJ0R+/kobrY6vpBxc6xpk8oSUdOyzbNcyEf624mRF/ySyHQq7bOMB
fQlk0dLvqgzA9I7mfKwF5FmJ0Qene/0el8mlOfm9faryk9NsjfvLF0AAHdb11nFOAoAXaHkYT2Ku
DivvkyBf7fumAaBQx6SMGFZj7BwDIGvPTAkAkj/RYlT49wUbxqKG/uiibF+TUQuWvHjEQ3Hpu7XG
Ni89+45UpB+LaZyWonhYefR3OtpGQjRozZeQy0kkuxbTYpB80xE2oWef0IFxvbgnd7yt8Cba4BXp
eZqVQwlflfHzSl12bVaMezbuoqU/lZiGh9zxulcDJFroL4AEcDobK296LxdRXvXj2dWt9eiZ2atn
dd8TpYMgL33oL8ZIM8zVgIvPdcsPLLOND2v0waohLQQCYtrNoPTpJGq4YXSIp6DONExmGn1pmdGd
GGSd0ATu221+OaQCAmJaYkGStEZQ6wAQpqCUxNWUBg1+2kYlgw7244W7tREThKNRmSPU/SHbgodC
stxVxH0sMgUeSsOGYAveb8IdHrqZsUqTpe6pzJcXdnZz5zL52LDt6Td25eVhjFZmI5EkOzz4GKED
HTUGMkB6QIHA7cfA0Lz0gXgNBWU1dp8VZp3AKrw6qjvKNlgDZB1NyefszmlE4tMqI8Ydzw0b0IZB
C0CleH7DapMHllpWhjI61Qk44q2pCc6ImZr1D0PrupPqoT/kJLwECb0cIBo+DW4lJ0pURZbiUvd3
eZai/h5BlNy5ZiWpklfVbBY5vVrsU2EJ53oDmufN0+BvtKbTLPRsBwHuORdvZuIZ18xv6mubvYQP
Yv+oORuf8sRZAJ3aggEK3Yy0M1JsJgYT2iouOKqXL3qSNHu8Qv6RFvSPPh0m/tqcFmEum4tLvouX
sOzH/r7xddq2MfTxuoGlmJVVsrHdJH0YVTLcyKp9q7zVjETjI0XMeWtT0pVBAVR1BBvrtgvDmOFJ
VID4YUFW19rQVupUmUV1rTNRclGa9zOU2THfFiM/kIY1P5KJXn2z5tK8UfT04clJykZ96B8n/ECh
lWszfHR1SSgwv9eCFt9iYmYfbDs/rq5fHB39Unm3/BYMVjlMm0mzbZIiDVu/77ft6LZ7BjekNTWS
vExnBhtR+yZbn9QDnzZ7GOf2M7Gg35F7eTzVXRqtWWzuSZGy9/5sUsrF/extGVkud6OF4qt3J+sA
LWKOpq6rruq5BT7ZeSs+LNyxMMa5J1biE8blsBSFM19rq++d3IQ/4RF4U3eg/+bCYC6gm0mUdC3x
I5rLsL8FhGABcD2nRpu2oR47rQ96r0iuW8DezGhcM2CsPm7LLr5lNxGkMMXG0THKYj/2IttfELSc
cwg2NHKfswJJF1ExA1BGG0+I50IjC5YRsk4bwQHK/ZY5JKkTcOA0Bh/o9mc6uts+oT+uY9V6NamK
mG8kxWY2mu4043E56XZmvhXkKwWgwWnNtGC0IIHWe0+M5dmgONsl+XAuCPfc5U5DloIojes+v8i2
hTWGqVOuJwTU4ug4tjoIDa9D7cVEZLVZ+5pmmYoSgmA2gjJ0s/qVyRuFrZ9ghYK4FX28t0ZGMvBS
uhMc/RZ+bN9FtlzZPlIDYbdhEyxGQ7AN/IU0Ir9Y173vJ040jiLdTeXEkHl9Wpux3ZN6UUfuKIY7
9ueFgREUkRwv6t4y4uxKma06wUMBYmiNzZmWosdcaxmo8MCTiibJb7p2uhdUnXtttuiL9ZogsO4y
nxb6m+233fUiMFdIt3cO3WIu92ocaDhRU2xc6hgJhstK8+qmTR0v0vzpI4PL8ZxM0kmD5UJvcAp2
AjUlH9W4ONvCy2KOzlPBWFvnD4wX+p6cxJnTRPLW25bcEZlGjk9fMNZNmnxT5O74DfUwEHm90XmF
xQ0qrsQ/EpLkH3kLm4ekyBWK3woMjSqA7vMmXrti2dFUbUMK/Oa2LdR0LY2q2LueN1wqQ21D9gx1
8qAte0NTElGDQ3G81CCcJ7qoTm4/lmrwdwx52qNyuktWWaNz9B2xYTg9sMrYB5hSxxstmwgBn5Ma
0vQFdW35NeE3/k+iEt9bDiRMqN9tNBcHx9PKp8kSxXlclmmjt8kQYcETN2ShiqgYGe6adiKPuV/Y
Rwhn2S6visdcuCWnUEM/dbY5cwN6UCuygJnCzIaBE6o2Z0JUx/xqOZh2nDwVyfIh++YFU026MXjp
b6q6y7YMUfWtq1M+Ca21iZAlMGe2Xf0miREt+27RbWt7NQPCVcwwY++5lmWXBsWyMCJ35sexLrud
5qclYGEGAZMTV+CfDe076UgHtJjfltrItswCvpHX6G3X0X4dzT4N7YWXq2ewxGGspVc+v+qOQ5rx
zQedd0a9WmzEDCTJ9eF8x0PpfVCjGYA03ZqJUQEhSPPaw9IBk7EW+xUEkNqjMEVQ4sdQjYfZCiQH
421KxiaPgvXq5Yz4ELw28FMvB7NGf17FlF35Mh6OnGjwNDAOz3jRahMaNFoDGar7jSEky0Xl1pkA
suLaUJAr1xSL0JqmTWRkihTCujVuzMvAwJccDQX6uMB2yO7D3VydncTxwDNMTxPd0i2LLA1pesEq
Mjp7v8Y+A3hHEz9jXMWXB4E/zyljE/s5jGtX+7Ad3QXkqF78GYJLOg3DdcFmvc81vk5i0f5RnfiO
lCC92JLW/UrI7MZZq7M3rf2Tw0cL/ZyhmKGb8UkjVzAs+vQFEQ/0YWE/mGPmhkaSTg9e7bp8C5C5
dkFnCdhSf1C9u2470Dze/yPpvJobVbo1/IuoIjZwK0BZtuTsfUN5HMiZpoFffx59527XrimPxoLu
td44Tm9NDJ2YKxqHjF5mBMX4fgj0FQdeP1WRnxrjwZTleJV6PO6GIqtfCOWyQgpbzMBIHIr8CKqr
g7hT4j/H1If95C3WR0LKyKvWegnhkg0tfZAlaKTM0mGeRS01sE5FXgpSuHRMQQTlkobeCnnrrXp9
mqYJixFIFFH/cpOicrxYohu+KNyqz4BSNiy/G7+QicS72ymCGpM6UKwJ0JsQYRdP9Pp3MXhsOZin
/q1j3H2Uhrfu5zR3t1bKOtpDPjaaHTSYkU3iVpjRf8dGvada8kKrFWUQd4nOXAIGks3jIUMT6s1L
+BuIBGyiboBDZCWSoe2Y1qOTq/6fPnbTm6Gz7eRsuKRRLzJiOSmAbblYByrPHlgQE4LppRvIQhHH
SnxJ6LvSiBIf/cEc1wmBXMJ8MaT1qzt+jsKfIuDZtPLAMLr45mN82gxOY1BqjjNyFJAYNBfQE2My
6CA/JVQYymJvWC18vjblj1aspoBOOzIqqj6Xm4mM8Q+UUOY2m9xXbxDmk2W35p5tC4GOKDpO+Jar
xXPic5x363ZRVU45SfyckZN5gi2sXkcHZUW9eOXZEEeEUT05oFr+ThGFG7SNS2Nmw8Zje+jJICn0
J6v4D7EsYM6NqDAmgKDnbdWBnjPShwp4f/WWV1sDRREU4qWrvycjf4jXBcLzSlf02N908wRIQ2cy
o0ryQ/w5dyXAb0kO9J3W9y5yeUXLuHVEv7fFC1UqFGAZYeE8t8bJcUAiH5P06GV7oosz2B6dWFff
2zsdg92Z0oaY9gy/qll5bMp1Pmy6hSyNX+9+Lfei+vHdG6vWJtPZFoYzMKSxsv7opxHgs5ZR1nOr
kGHEt/VVu7dGf7XYo+rHNNsNLtiec1gaemjK30rtSyCoQQvMAZKqOS9gStnBmK8jEJOEWCynMchR
fRXcbf34R0gWQ8LvoIWEVPfyPFc/EhukGT+sybdR9TQt0dziI1hJ+23SvCT2h9adjTY/OHDVwr65
nb/l2js38V1g00Qtv3kyiUN6Lk+63M7DzwJm4RQoGdmldPW2gEsNSaQmFAYsQ0S61eDapdob+dFe
Tl4KxWqXFMXv9fJWty81r07Pcn3xRmB+IimnsQxbi4JvL/BGL2ymn/u3JtI/FksKLTE3r3Q+RI73
2PTvOgdm0hbHwtwp40T9zKEqCedkceZkkPp3nlJfiA7VICl4IeFOPccJ7iVJJO38wwm0qcgWlCBx
dnvsFRcPge8FPn+9fmvEQYA+UMa4yWK16axjitiIJ4aLJORTF+m2M64aFa32Z9JcS+Mwpj/3MHP8
RYFy+AVeNJMGo4tf3RmwT3AV5d58omsGh+ryb9t4WeY3XFAbSI7BvsTeroXKQuGuoccZdzkSmsqJ
RuOnhEutuFaJ185WjbKsSxM/ZDY1Tci1iovHRS4oS7IHvds2rLgEviP/qhqth7ud7Nd0cuoD2O6X
WZjFA6mOkbuyUBUXRQWxR98b09fYz6ih7KtHo3VlUQhc0grLoUOGtzjHZndKyVU0yn3p1htFzxe5
a3QHUCBDwBD6XKilqgjd+WLRa2Rz5PmvU8fJ68OtlcCo8caeXsnHDmGHg45xMC92GYyywliGkHW/
JBlOxueZiqnqIihzmVnqneEjJ6maGBY4Xs+6FKQm+QWZZeOjM7/q/lMX73I0mGv7Bzq50/o3fX0y
/dek363ln6LzAPqq6Yy783yvTzmCtN29TcN0yEpfPrPuNaM4cNL3cTIfhNKDAvVG12Ca9UmFB7Jn
WoA/OCwIb2wUcD5h+X39PBhvg8V8qe0Zbg+Nea9woK4i+7WlD1FfkUoPDU79ZDvVm0r8m0n3q/Lz
yrclM+QgwDhLHDh1CYZEkr4AVFdvs0Oshf9D9xvX79UVP+j/giQl890lHw+4fTV3kjSsnON2gY0/
3IWQ8JNVevEXg5GEA5FngD0p1Mo6ygbtbUKBRnDsxotvhXOd02JfWP+Z6NqXmuBboNek/a+ZEiRa
L0QH3q/C+b7121ZYamgA2o1P9UleMpJWBuqUF+pOdZZDehPq5WJTVWjhjpjjd8dHkJHGx5g4Xzfe
jNmPq1HhYUVafqI6auM5uOymq0EC39TDhkMXMbNy7nchzeOnnsqmhaa91AkT661u6NjmNzKz8SAK
aARZQlsoT76wF5EMIB0PxOLauHcT77/RvCtR54diGcNKi/8NUxsWKRRDfRHLQavepfp29P1S7Qym
poLoSv+rca54gQMiIFlaG47oY89qWDu7mkoiRS1UYWAAvnGvZiQJOkGptGB2v1fOXNV998WL65zZ
LzZO+5nIT9RkkYNyABUDqsuHNUfGvlfaxZv3mMtHj/fhKimBqj605hOkKmxt1lr3Sxuek3sDWLat
qp2Zvw3Tt1u3uwWVLYIDJG7PNqk6HRLDWpPU6OYc2SRqVF92cnUH0kKbA+wMhv7noX1fvFNFocD/
DMv0ybD/8YMRMk7/Wud6L+Xztb0jnsr5D+qjGX6Q2O5JyWZlrja6+VMtNBD6u6U75x2XJ6f4SAiz
i1LRyncrcnQPaez6KJwrt9uWgTog3iD+60BJ/ojQpcb2dyRSJnnLp5u+fFToQ4zxpDFkJa4/7u/a
YiQaGSeSIPs3R7sU0bE0Hku6gnZ8+yPpoQ3V4pZIT51VXhUGKb74dMv8Egh1mxTiQQkuWD0YPqhj
jh3tLVN0TDrf7vw7ID3JSbJ2ZsKH1+TeUhTxMARL/qvBOnhUCY3Iq1Vqh4hIF0fbAShSjPGOqiwS
8fpA281uncVjTPEzrHZkFNjUETqVQn4uhrUdkkPlfcARsEuX28p5T+Nf8TASqKJX++HLO3Tjo2j5
HyeW5c1U7Ub4uHVKDio9CIL7WyKE0/V8l/FMy6vFqVpUnBn3A8L+qbinKLkmbOrqVtjD6DVrnjzK
ItqCL/mTQ8yn2o4AvLooQ0EjMGeLZ2DAWT8T53mQ59z/Jdi/nI7JfKYjbyPGy/1Ng4/mJTr4TNzm
Q9Y+xSZ0vONGdH3x036bMlqY8oBH1PDPBwSDOOHq6YP+nr2cfeXFpUV5QPLBKiLpvWvOg2k+Lsah
H9hl9b09u9uJa8PyjoYGBzFs7fxBwIuo9YY+FWn6w9I/LerLNXhiPsvsPy2lx9xDU09FTatdZBfC
/UckZQb69Knc09pcSZBsoAXb9Kwyuhy/gHu0et6TLVp1L7qF8PJLd0/CforVK6U5TXJYnW2fniqC
rtYddvXArh58wNhGPZb51UZsm43/ldnIQ3ByvNfJ2c3cYlmCV+XVMV+S/Cqns55Qgo5AavzIxZFU
CLl6zCtRhkeVJ5SY1CffpD+TjJ6tmBzex4/VePRlxCYXOuM39xFMN/mEglvudxY0utRnj9JdpyTa
Xy+jnkBUFn17vKUFIZ4m+b65vTH0rehwyaCNirmc9XsF1qWi/ilpDtJ9ynV1nsz/EhnvStMHnqYn
q39gowmE27P31JsJ1mLWd/gKqQRsI8Z0BmbwajYATejU+7KWpA80amxcLmCvfsL0jP70lVZnTrv8
OBPPXg7fGcLpqiY6vD5Uxm86uZvOfM85AEw9xwKaB+DQFQP8DJeYqF+5pKGWLbh4l8d8qAgCAbg1
uOb45xvDG7lvQ6sO0r/eO+gpjtmuNIMtTByzG7kkvbbi2RQEGavhSSbE1K82p0wS9vHn7KDbV69x
eyljJ9A6eqfAqlbnbxqqcE2fVfsVp4SUoOrMOQ8aUMteCzP9cfCd6+oX57FNtsrmxkqqTayhleaX
rui29U2kiYITT5qvdNJHsilJUE++bQuWKv/tphr+AdU+YhpuRKrN5XHC1waxzZlLuDwYc82PrFG2
xNTKuqBHef88TR8Ui4nxkSh2pBec2PG2r38s6HUyUiE8/xovEtLeGXFMWnLOJt4dUlduJ+On63qi
janBu0f1yKo/tKCeOtYccqyR9GofWj4fmloeEJrcsf3kr49pRN4bKNw0CnSWmYssfVlM8nKbPgL5
O484kHfu6qCo/2s9OiP7t1FYb2bRfa262JR0KNvWT1f9pY57cuhmSEjfqMoP1Wds6GjeYP5gmteJ
0rprq3Hxpm+Z/5qaRiR7ZL3rvxlVSPxSL39+R/EVhhvjUxIFK/nE6d5eD/dy6IUtsRT/JfSG9mG+
6vvJnc5SvKhuK2BxmYMpkd0YEMJsPHr/Q2+i7L4c69ZRMg3Fls6nrtmWxqN0Cf49OK5BmUKIESNC
OxGMzIiiznaS8keFss/Ub2N/kvaphxQX6U9lOcEMajxqBxN2tAXJzY1X171MmrFD77nR2aUImSAU
mW8ewwq6gCC7b2QgN/JttqhpkFSBlrfZ+6Hk6t9Ko4Nd2UTFPjTWC1rVTdbMAD+/nPF2/NBrJ8M9
VPlOFpRT8tkgzZ31yXf+JB3CAP9lv63Sd+XGpItyGuFEOmo8RZAEFG2c4Zwt57dOWgSiLzAkGVo3
vCtkteTlnz5f9O7FQaJan42chxOrYKI/iBbR176/13V4p3Zg93HOU/VnCREm1Gr0AFbZi5AwTDQa
tN01Fq+FcoJpeRi7GLKfsezdQPe1EA3igq2z9PEADPHFJUW5qZ+r6U3rnr3+SS27qb/RhBgA/wKb
H52SP9Be++HTZIOx/dOQ6YcGNKNYmICwGlblGx2wj3P20GonTIG0fj+V7qkSHznNBOsyBq6gZzRV
jykBxDS4rQZcPA48C3S1YqVOmev0/G+i0KGV+6S95FQ1Zg1rLrd3Xf/4FDvQyb3LjB1FfpZJAznJ
08kSdjl1gkm7l9nbRH0D5jYI6+9Mffkj/0I0B5r1UZv/un7apdYSWvqBjgIUXTzHqydvUqPclmRW
0SDXIEZ77GucgtN2pbxGdFgwbGqaCvXPRty36AUhS/KMsesI3BBvcPO9UXIRrJzUyKmLY+wD7mve
A57BYC3qc9kscOQYHcF7qB/JlsichuNAehe/DxdBg1fca5/6q0XeizQ0HHFdVMWY+zs7KBL9z+sR
JJlzRAb2p5/gHwKMrWksn6p6h6zi6I7LfqQRRb+rmmi0Qh4/ksBemDra6PXbiM3HHik6ud+sYP7O
Gkb6ve/dFVPY1fa+W3jZ3UUdvCb5kHPzYdva3l+nyBP6uWko/GzXADhsI5byCqAZWdN8BOT/dBgQ
hT8dlZXf6OwLlVq2WUsftuk2ZDsJ0uz0w+hp56pITqmlbWsY/w10xm+via2s5qdk0SHv4aiUGazO
cBh4azIf6XxlfaJ7YZagW4XbuN9khRYQ2PNsu+i/UnGore6/ufBEZDaEBvilfzS4cJF5B7q0Np1m
RSvR5QGBzzj8/pbqNg7Pwp4YkREom/59mys/YISuKiu2xoxbwF2O65rs0cJdSx9qyPJ3dW9ATlLW
YgyXuoLRqyHmZb+f4/hqZhOxK4SuyXV4kGt1qrUpLCDyYp32H9Bl+nlPHgf0JlnjK3rCy0yWT504
72Y7biYuzbEwMfuhyjGTk5WUoVzyV4NkrNlcX4d1iHz+jI42Ui5J4M95ZHNwdDQIrsuKPIdmmMRH
U7HuNMc4D021twbeUwSVKhVB77kRbOVnp3n7olGX3piDBovlQCEbRCZdwcs9Y1I39qKfn4Aj39Uk
j3YRhzR6UWhIIy0RKaw9971WNcx2A7g8RTTeQhuBbT/q8kfGzs43tX3GfZLqTuTAMtO+BlZEdXu7
3jSHK1jw9o7LekpLpvcCG9wojKulT5H4X3MQqX32EKItC9K033fDSFPSuJP6TFMOFWqQerSqHlyz
CQUOQKu4vz98di5mNM2/PtVrynCPg7GGhDU9iIaJbTLV8wSINLrtNtHA5HSQn9mZwxIUHmjqV1/8
p4zQosCZaOhmhvvtG75vr4pahysKgW1nIjmzGCGpDKY82qaClsBTBDXoPdSYHwpVhn5fHnS9xuCZ
77q5/oRILqnaThP+Ndq27+Fi7opDsyZSn5aY0FUzYYDxFqaYYniM92meEGnf0NMVcxsI9lJTZKfC
U1TgJLt4minX9jWERF1Uzu2pSTjLvfXVRvc6jQzEHfH8tKvBf033Yl0fNFDX+xOaokOxEPmKmy/2
UxYSGtSb9YBaSLLW0fwqrGf620IKkh4pJyqJoV93VZ+8dzy8dCEQfiNvteWS1GdX7VYz8mdrfCsm
trwBV7whMAfy6+TI6NpnZyw+80WgBKQI3an3c5XQCcFkJVvGOjyhyB9rJGdVOMMqxUZ57qHD2pEj
memHxyPn/uhk+7igmRxSXgqjDjyUD8hX8W0jA1855eOMei3ehLZjwGDBcfr0WMfjJo/bsG6gszE2
0IWGILIN+oaLiHQzpNeA822U9t7eBGAlsTHKpzkqRndjFtaOKojQdOoHxswjRl82LYbiUQsSorM8
E/d6L7ALYbZ08UFmNXiYTa0lBAH6grwJnBJP1tgdfYrimvvOllK+WxnD3mbq7WX1R08EvWjW+mEo
+LZpuUxshiuwbEuFteEtAXgdLD1B3TUnpsA+VMsCZM/E6Eds/MX0PVS2HehKcxpYCIemDAxNbTkZ
Dnf1+TL0oYkyz1flWyvzo5xzPUAt+7imMS1idvXUOIgUEU6wGWJey+36Y8CQxr4G0WKhiM0N/dJN
gOUeH7REM8VdAj/LSHZvc053OLMilUP9rnyLAKO4k8I4ngPSx7ZW7G6k8BAQ0AZYClxk1M0qhOEu
kHzRWmAmWFL5PhdkTZnK1QZxF1/OvTN8jaOWhK5yVVUgNAdcI69CgTm57XWuXXxDqRei0gqS+b6v
d/S712fdw2hscLI0Q41AyaRJWvxY2EuCpbCD1Ibz1z1001ylOl10pcCvPwy/DYN4y+fVVsUX2p5m
0UfxqkcW8F5rWBcD6L/Dt7FJJoJDk9481fb6YuXWHm33jnKVZyI9b9DCl5ZfzjSLndSi2W/ARHO1
T2lETkaxwysVYiWLYOZu+sioChHpYQ4kh+PmVtpnq1CIelB/hr6ycGDFECnUsR9S/hrYzHCp1J58
i/VN1YeRiZ0WRhoQnZkoVarShx63s+nu/Pnf3V4ztfzTcEAMKHTpq56qcBQYHvi/BiVS2cgobCcr
ynf7eyGnC7n9F88eByz2YRvt8eiOHyXqRqvMHxUA3TinsMI19q7klPXdDis/FM8YiLl4tO3mYEgc
cc20M0X+hP0bPBR6Fub+oAvzYNj+XycymmYLDDhp/dwQL3rn2C3dB5PhpZj98SDhy6vYvjbGGOKg
51MOFTWZKAwtDiTH/Vg0gPhxcB+YPT4V8kGKLSdAHoRYxf0H1ibEkv9etPF5lZjT1IiSMk1e/Hq+
jKXEPIj032mJnJXL3YE0NTsgZmiNDKcgjalZDsXA5WDjTUR2fSdUtIjWewp4VUOB6fJp5pQxexM6
HsclQQ/zthlkpWSEHvUjlR5QAXFLGIODmruHYY3ScabFCrFazJJKLeX+Ltdc3OFCRfKO/KKTKxe5
h2L78WZr62T5eQZlrGwzahPxrifTVsa9/aBUA3zokWPR+Ow0XuhCKseCbp+JUEy388LkvjpWC7s8
tlSddUL0w0NXxmzgxtlqs7/G8n59b730hHy29LDZ9sBcWB9VT+CFZxH9lR6dpNzfBTDMvOHiIUK7
g0BgSgIgxjB7MJN53VhOQlUmAHyjcWN7ALkAlMn9MtRME288+rJ+QW9EyXNXpIxySm5yQVhG1SUR
qobtbNI43VJ1CG+/nUqI1wE/eT33zcFO7cAkUKGbHYZuG3iFxITVAhMfp51b1ugqJYLzvLarSBIC
86Qt2PNzTHQPTSsIFCUkmTVJv/m8oG1Z9TSveneaaDJvhte03paGzXFXZSmOzqn0vvPB+6f3uv+g
Ox0chEEK2dtqQWOZznkYcrd/bRB+vBOXU+4U9q1QORJhtEAgZBFsuo9d+mY2XVPQ0G6Vj41A+YV0
iMDZXZwm9dmWpAHiY9DYdpwPOdndiXaY77UY5A5nYYZnvBaUIfUFbXpp/EjoNO7OZE1n3qDURIMH
kGcSVqF7b23bmx/GknhX016qIpBzb+5sMO1A8+j5NGoQh2KK8+NkOsfWJxDD7vFTr6Yy/tfJuMfl
Ul06okB2w2rjc8N5uYeJHaOucBEtDej0ZoGreMQJiXoIHxMGteFSmb/kx6OszemBsTzX/KLoEqHW
hCI+aUe4vjyJj0PGUl8VcsaJ6ptQT/ionxCjpYe8x2EARpJ1oLFd/iIL2d+qwUHKD2s9P2Y++DGR
+6S4mJh1bjlJHB4JJom6qjZzv0XlEFSySGBPj5LUYqK213DsmMqhQUN/rZZnqP9tktDy6C4uKQ8D
nUQjlSSgUpOqvj1jXbcy59vTSxI88CZ9yVlTCeKoAXBnIm8A92SY07EDrTgvVMxjeby569j8FevI
jps1NVuobQof8bVL1giWYXN5KRBLRErqz9Wsflq9z4+1Y1wqpySbI3WZB/O6IPz+ft+OHj5jh3yV
q5+17s4xRoyRvTI+oJ/9F1TJ8xtBL8S90yHBS7FMp37op21Cg9FJ94V8HQcTKtivVlxhLq4edFk3
nhX7WhNEEDW62f3oaCR33TpP+xrqlGREkfGu5DH0Tp9YjOjK0n5cUZcHo8CHKzP2CkwF/3vsayIp
ONaKvMO33On8fa36LnTiUPyZoGJrsZ4zrzN3jkJBwuzSFtoRtYoOOD0AWDtJxSFlAAqDB5ZvWGfv
es+1drZ+VmVndDFmSE+PPLZ4UZnH6nE+TGaF7ENI+TrNE74M3wMD1P3mlS49xtNJ44wuMLbomzK3
8c/l+N4RLw42khBn3DV3mqdVvvvPz/oyutu/iAOYOlyJBfGnYmAsK1tnBshImKiz1AsMqj4BbDl+
aoKrnvkrOJ5MGPBGr+SDSZ4OB+h856JFgscOYGE3TNkv+dMZkmYFLFQXPlaFDv4r7Sr+a22pLywb
Po1hDR4RsHR1ltXClTsQ9rCkCG094NA8l8ujRpkZVXLFUWaKIrP+HiCVIZRxmSxcv923TfFtxetL
Vcy4WC5TJq5eSg4ctkwSOfx5QeqHtGaf9A1Hudk+58xRVBOlHKXV3QHtxE59K2bL40KiToCN1I4P
FHXeYyUM51WbJagm9ZlbJ+Y3XcQ+zpBBLNfRrWjpaiYPnS4QQzib9OT6rLCS+fejWIwGs6U5HdQr
AQLptOWj94dsWDtef/BXJkLZhBVVX5SilsmP5Sf/MZ+sF2Oum48SYMheXpOyBfCONym5GjGRBssK
G4btlAOuiuM/s62N98XAaRH4LckQW6eJs4Mbe48xl+CzUnZ/sjWEhZVGZRghbz4Hyv3AKFcjmp0s
GEA+u5LEplVQO9kP08GxDaj9hKbs0FaY+7COytY8W66K18DF6tMGOF7bvYWfKCAPF4x1IsY6tKxu
el9FJsM0B2/NZxPFI+gVJXtJuuW7TQ4avdm0Q3E7W7nBU7hqhnNSxDqgfWJdOJf9R9V/bDGOhCqu
cf7aaIhNhrTVi2FpJwKYNTHrVIhrTM6iWz+0Fc7bVprFg+H8t8w8MqOZRRNRSihi2VwIbY7B8zWA
NDUz7ZHKDWfcDEHX2/FuIP4J9CfvtiqtsEHqaad/KaNi9EZ3NWYGjpWqZLTDN8GQjruPgHGd2Ko0
FvhxUfzw5uvFFlks75Cs8BLBdW96M+Myos8VMTR1xTLR2WMqpuREc79W3A5hqUtarAsqKpjiGFUL
3wYxHOMhaLOFmKK7LjD2yVlBbNcFQ9oniBfELcEtkgRpi2ZC9mO8AdzKG2qo4rgPp7W9tGr81Unn
nZ4EUxkyhDi/9soqD0NvQxThVbJB0tMHa0QujWPRVH8VVzmBX5b5j9rCH2AsP2pVxXrFtF8Efgzz
5yfTcXL/od9FX1B1ZkvagakhryWJmBu9eq87x7zha5AfeI50PrMFcRgDbmWlMpj5RiLHEtLMDvAF
48FbEdvYxLNeu7voMTfBp1zWmsgdi2pbJlzAuLLwKNuDf+1KEwHjYJzKYh4eMQa0SCuzDrxGaNhq
2vLDW0tSebz2i6VVIklKipa3nqHEJTnEDvxy4DD28rS4kE7QQ8iSHpH2Q/HYruIvltl9rHXmb7S9
P+2C9mnu3EdfaPMlTmPcvIbPkuTq3TRGJNnZCYEMYuCxuFc++TmY/jyLO1nua/reanLjK55jGg9F
QnT04ldXDJTOuZIkNmyUr1LoT3N23io0sBF2f2ADWne1i5mie/QUVc+j48IOY5AIcp2QgnMjRO7f
ssSHqrYpOFwSAb5Pr/2zIJElmf3PbkSuSTqF2DpO9pgAanfSCBLzIx7ZIsBY4iaFGaCf85fiyyfC
wJ46W4INttPVUtq57ovuLY6dHMVDBx4gJ+vFQnENATJMP5U56FDG9qsaKVuu3eqNfoH0YqeJfHVY
P1jhZ3BaC386xci3paVDqHZeSg/LlI1hktubQ3Szdt37mM/iocoZ/GyhEWSUkalT2I367CxUqd84
cF5W/IHVo96Wb11yd4YtLmxWrTSD9g5montIUhV0coUX8LgoPICJTTWNf2VdEdOR12BRqIOEAwPd
EUHFa5IncgpaSyN8QecJjXdGRmUrzag2En4KiTZqxDs9MY4GXafVOw6w/xzySnYkaPinZUzuZQo+
2gU7J7KtT8ENF5ajgJwuQtMGy9xLq0Gwn01+Y4RzXlkGFKttEJqfD39UWldRWUzENKwIrsvV/c4A
4rZ1k322bY2HZGHvaUtt3eSkswRycTuwgxWqwyPnIqqXtPpuK736IiHtLuIuACUju4cw64q7bKrt
Dfkg7JYj21xgIC3ptk+GmRts9pxmKxlr+QuQBlsnNxiShIGe16xJp26vKd9ZtrIvbCo+vdk40IKo
ePtjA6Vhv8Tk6SSoxN/YP8Shb1sCJkYD3eDczHVkiCndUS6uE+VITezVSJT8Lnm/i0jztHe1iH9V
AdtLdly9JVSbxCh3cn4nq5RNUJvqUU3D9OYYPtJnMaCRytJ7mgBBq6yIwwsU7ouOS5IyKs3FiGSO
266EymfsTvE26G+E0NbmYaa2asOO40ZTxdK87YhiOljOivW39JbqcViA3TrXH/hDDkuTBSVOl0p+
SYvhtva4+RjfTGaxorNvVVpDRVSLDkXKuLQpaonzH/sFzBPfBy2MVZgNowt00r0uQnk3jfKR7ZRO
1SkW0oyYZTogToLjPYeI/I1rpz6FsX7/W9wj2VCcMCNOrnaVpEn9EIs1n0fbnk6WOfSHZPbiEMQH
dNIf3b2wVzvUKn1kBdHlmderCUqb54xELLUX6JEuky+6Q+Zl3qHsKVX17Bzbqhob0DLDht+Y68de
caxUE7gaCKV1x4pxGPVkkIDiaeg674cGCU/TBxE2dNm70nloarP7LPRhOHa9X9yGOY8vpjXl77pL
N62pNBmoIlu201JAN5FmdXShMZgHpZ1iOOmXo+3o3yviNI3gt43ekJ1e5b52mDCa7+3ElJEDKBbk
rtXuQUbQKZg6R7nHR4tTyzyqOhNfUu+MYHEyFZqEHIS6lr8W/6/oQhmIawGvHn0XMpozDWjNN+Kt
MRm/qxw/xILdXs/15T8PxOZkzfi2IeCbI/n2xfOqI6XTy3k+o+AWY4AVBbp5qF5WJyPxRQBN2hrq
MU3k/1q7J5+EWWsz+KP9544O7yPTc0AD9/KEZ8sMZvipDcYyYwOHD7RaHTN/uYcGaW0wF9ldoj6V
HPyrSqMBwT/hPgxkY4xVaEhaY+vNvhHqOoyqHJaWZASgKwc5S+WMEW8+QR9x6556ksj/lIm1eZgl
69CYaes2Y+z+KYhhui6+jlAt7Zj6Ces5y9m4lrr9S07ZsOnTEWKK0dZnVigEKWtTHW9nN7FhHzrt
uXULJyzEjD0mtmrKuZQpvC8h2/SN+cL/wFD4X0YkPvpqZan3vrLzXYODBmcfJmLwn655X118YTXi
iHAginQrJ0P8ZeLJbop9LBx160qyIrdVAinY+gnXhLn0x87SciIBdA2TJTM2YWrlh606IiIazBLA
ikv2TkHPwtqB+ZH2ZkmH+gp6c49/PQmtBkNJUTUxZbNig5Mca63+JFuvCKnDfSkH7d3wqVNBRD2d
iajqX9E8Dw8Q0BZ2wwTEyijik497D5Ngl3wD2VChruNJ8dq4/+4WEkRMCpc3kmXxs2lWHcBKgaus
vXPm8WoJtLB+y653sAzIap9W9mqeHDNpxp/Z1UQWNbk3nKWbGKDrZnbqEWwdyQBRu2oSCg1TTpzN
iHHULamd7fMFfElfzInxFt9SzDhPEfC+drwJe3dVoN4AVZnKbV9xtkaOPXsPyZArgGjDOnU2Nsel
ipf9igL+2YYhRWg/lFsqjuhpwWZwNooVEjMXTWj6mkHFgU/QaZmlUfl/pJ3JbuQ6tq5f5eKMrwBR
pCRqcCfR2w43YaftzJwIzk593+vp76caHNiRho1du1BIbFTWFkMSRS7+62/m0tjMrju44EkmJPd6
KuXK1Q5mTIlpQ6+d9HMbgbwnlgySTS7nJzlLGkZYRUngUT+A5zlBPyr9Mjm0QrwkIZKwqZzoNDTV
NNPojMv660xgPfR5q4AqkI0haaBlh1OTK+SdFnUPyG6pm5B84JNvYrk09lBixo7eGx5e8zYLm3of
D8Eygvfotmn7wxLga02DDMCCY7ahQZCt205522xO0l/k59bHpIxJvM/9dHDWjaTvV7uOuJ1VqRFw
1/aubGO9TTmuXWZl2NLpowHVODmlQSjsG0JyvFNl2t3Gc1qM7g3wuQFy3hThezrO6fyI0W5xmItB
3AlpOGtPx+0deux8V1oznkWNIOCQw+e6dJT/I+0pN8AlKRZmae7Ru0LWaFjiozjCZCuHH+djXrhP
dSGwNwdJRycOP4u0OXJ6bCq2ZngZ4qa8jfPM/oltAH5tNtB9hq/jzE+mszePlbEPGzdcO9QLG7T6
/cYZRXY9lxNEBZkwnbAwJJ66x1Amwal+l08iQrAe+JvWdYJHGdN9Y9Mw5JNZGxli9dY4EsGKeytb
wx6IrtiPjZntojEXd3wFS7cJFDMLQUDxOiOCoM883IK6713l65WB1GwPfJtuhRmFz6M7mZeZ2dVf
so4ZAsMig07pEJttGPREU2UasDXDEs9TDI41piYYy9IAS/L6uwij6tcwZeMD2Ht3QEmSXFVBVt7k
/fjTdJzghgoiY17BYPbqqkIVNecHzymHu7nMnSvUv3jk0XLcOK2NsYwMcuSCKOJ6zbJe1vQ3ir4i
0zmgF+dFYFxRS7pzWjSocSo8f6HwzQP8Y/dbiPUw6cY5ah6MHHZBw8cmgOg3ojapKZNgmcAsZNME
dtEiqpm/JkGnHpuQIo3jMgZsfetg8Ki9XWqr7GACVK3iaHqm7gT/5gyME4djglMQi7JxlVU+jmPC
zkStQvMH3xdE8+Ne4ZP4J4Q2tkqLwT+YGWJRO4Nz1+PqAejPgUZEOOUrJxkAu71oRydM7rsBP1bM
kIrbZd1auYgsVznb7TYnIQGtcYE9VVd/n0yYuJHt3/gO0nV/yuNNjbkUTJXwT0StunLE+HXqIRPX
tS8P4ZA+Uiq1a20aD6mkWFtlg6qeOyeF4iMGceyS+rciXANfBCT1166FJlZPRnZjSVSfLamXty7m
9F+rMgWVVhJSXClobYXR72zWNIRJh3sq2UE2FskXF+akjIvAVxyb6bZua1Phlee62SUWfZBGwjmw
ln2NDcsetfmDYyvokTRgpoyttLYG82MdOlRtlRLOXhccfgcp+qcgzv0b3XT1sYjyfsuJCBbfkEUP
NDJQi9ewgSN8isPVjApqNdfRDy+Liqu+qNMraBj8dIyTOO4H0KKLrhXHNClBVXSLb5QMcCykJFDp
g4SKcejmXJzo/MDnbnLYZz3CBBg6y3sIREz1Mbd2A7xaye/2YOY3zDnsFcLwN34ZENUiWdy6voQK
ERUk1EVRKzeNBCoF38BTr0VIY5eGtdIqpyrHPtrXmdyOaK73fUVsVFDV9FXdAjDdyis6Q0tCWNdI
rBgt62o2YdTIEK4xfE2oX22BxAI60mrEOmtvze192lFiWiJ7GDt1l3ZBuTWLYNjj62m+uAuBHIsv
b/l6qBuVXUPItc1rpzd+iHSod1Gjxgpf17LexrHoL7EaGTC/j1/QVPvrLDNh7loa2W5QmTvPq6ar
cFaSXR2nIvzl+l3VWSbHLdxw3S58wdMm2wXQKTA4S8ZjkRccKloPApNB/b8JVUkxb8Kc8Bwr20dz
426DKa3bHTQ0mtGzN66lY3BqtOBr6XqkdTm2Vx6S2OmopxwbL1954bL0J3chGP+PwJ4fwaaQezVU
TldlUVhk46UtzuW0SyHzp93YHKy2rX+Lpg1PkaP1nR/CHK7JULolCG0xpPJr1sk0iUHF46kooKnD
0UVthIomXIjkLdyOX3SJ7Rs/H8NboVEA5uDHGJdgwGWV6W8zpKMKWI2Ejz42LfEAVWU2q6eKPLdD
iEvJHiUsQn4nMPEY8cz1UOJ+6gSz2k5U5nvDQv3TCKBauLLORsngZeCQflB9OZxCzJE2cY0Owuiq
aD2wKq+T0XOu+pwgKHfMnwOyV3eBh643mYoBZVCot62Y5Je6IMe8HSiuhNGmO2saFuolrzVTxbc4
0JCAtcF87vmkpGh+cZKliTpbaGjiGT0priQPVt96fNvmIkKAd8/3gUvR0PRoNih7bAVYnPr4m47o
PUgV8NLo2gZDh9nmmUiRA7882UbswJLIsJgLVfJFIorvt80cTV9RdTRrr0HlHOVev/KdxbZcTFR+
tYZRIUtKniFNqCTbIb705Ijbcd49DG6eHCSm8Gt3MOgD4xl1sNxeHweFImCliopOXFU0TKE4sEba
27XpTFdZZOEZ24/xF7/MfrEcY2eeO0tTqIjvu8kfH+ysK1ijYsSb2oUf7oTW1wnztaMap4QyH6aP
R+3eA5JHj3kVY8g/w+Tw3THchSZQvnJ8E4bHLIs9TATqfO39DtzspeXAuc1aEe1nEhKuyrEitXBw
qfrKGmfZEAc8NsIIagBoo/kY4ESxcicIvibO2WCmc7CRoyP0KqbDsAmqOQJQNmQLklplYm1KHlk7
u9YDsk5xL7MY2ofkOnH0HdTA42Cd9Zt08KkPMBiCy1r4hxlBAYxf+HNjCYBn+HQ74p6GrumzfKeR
cci6OvyeGg49A8Cyg2WM9aWXusUGtgUs6hxbx8s0Ey2brNGOvBoKXGIJkiO5nfBT+sbe8ZAIPrS9
3wTQQgOvAu8qlTXHbr4gLMTLmVN4ZADfemlNEeBjDh74yFSBsPvpKu0rvPSjItgLjmG7aepBL8dg
MQHBY4Jmclxhzh00WyWbYh/r2H4YpJM+TFGAm4JbxotJhVzZDTLLYKDP01GvuJbb7MLa+tYTjXc7
4Se766RAb+wrdjGpdoO68K3fA3D1xuw7B+c9JxAPwRg2T0In8DGR8wCaNy0IUsNdNQYECLPt6sta
GfEXpamYrVY6YCVdt61zyGWGjNPfvhEnp6INMO9kN3/REXLVpOegiF34uAYiR6SlGgs/3Qlzaw3J
L+8duYf/QJlc4yOJrc9I5y8eT3hHi0vDsdsXv7LtxV5srO96gRmIoZNmLdLyF0CD/N13gsWd3tvW
sWJO0BrfhtlIIG+gHEAHo5yVX3FUFl2YvThpIrfdMLZf844jBg4kVNyD/ikk+0cX+nJHQQG/Rds1
AH0zdqewcqOrogM0FRDVRtkvghY5hKxBIvmmaedzfIep0E6VcVeFOrtNtVOdLKAsAFUAYSkU+h5n
hoM5Tg7U+CQifQHrfEQgfOU7LTkK0njrSK4Y3E1oWvONZ1NYoBUE8qGXAqFpO8q82VZxGW06C7Av
Hn/DLc8P2mjdHVLiaY8JYX3oK8IETLhZL6k1DDO0a9UcClaMjZobVlc1JscJRTJEWEH2bowxvV8R
s5WmQJkSbsc1Z2ds6wf0N3hSsRYW4jeFECWbnS6bcl1fNgblxUya3BbLSAIzG/IY730N8xabtfBO
IDLHlJ8+zkUnY73v3CFDvO5Ue7+aW9w33OmlJhZih0Se9QJPQDYDhKz0CdqnNJwwz1KZQx9gUZZQ
LBwEPaYvYwtx3BzM+ZrQDvJACUDdY/uKD7DJZjwIy7ixtOp3HMSsw1C34Y/Sn5uDLbpsPRfjj94m
Z68tsuhPjucebMex2Yl4KHcDebM7G7wLB6tA7sQMVTdTlLsZSQA7RRgHnFQYaWEhGrVPJ4DGOLL2
I5bcq0mize4DG8eF2G+3s2xc2KWkZRRt73ytywG0bllsJxR9F700/Es9AoGvorH+nhhKf1dTTR+x
cMriAtPfeuNYNu8D44Ag+JZ18A7hzOVbuhD+wY1R3Pjko2xzApQxh3CNQxIG8TYKOoPFNci3coKU
XFn6T6sMLKAW8y+wHvx6wgQTE4GBTjtXwIaYbfCPAA30ORvjPjALdbXE/d5bVRZusWBPVshOYCl0
trjwEwhpg2PpEz0dNj/tfKPOsI4EARhXDraClCy4Sq0lbsobZMK/acst5CnHddeR6eK21BTEdiRJ
h/9j4sUXqQ13O8U1zfGuFv8eZNFx+tXNDWwYC3bSvEd3E3qzuDKSsny2O3xmHORm247pdCspiC5j
HADWtQMfJY3j4NqlF3UcmPpsUu0A6wEtQJ7Mm6wvsA0M7R+0h+QdkvOfUP1A58gz3veD026qQDp7
j8PgJfET4kpbU7Nj/y336cziF9e5h9ozG6Asq2gXJY33jT7cuOJUaa6qDNKv55BYkU9xs45qABQm
4Bq/MtCTDCZliV3Iig5M/AP8FRMkJADXFIzJmrM5mjPirddjUcC4NHpwfZ2rpa5zv2ALgC4CoyDM
5nA/RNISLpL0KdyHzkB4Y5wX69gxfrLJRwpDMRamIZ7VLvbd4AjHFRbgDFLKagytVhRqZ5nZM/BX
sK2AFddTbxmUn0Z0BY4XbifDpXzKSvPPHHqPNYKXRyc1+KT83PZObjea1yiL6x01DxUWQjdk9JIY
XmyLcbGAzUfamN7UM5SaMBvtQ2BBLAmwUagx9qCjSysQ84RnEeAczRmlv7JMZsdczCVd3JmmcohW
MDeDe2xIDjMxeei1Ktp1hIJSkU0pUBjqRcvI032SoaumNEAh0BjmtknxAw5dc1gXZm5eAPdiSZFG
5ZXpsg6tvSVoRw6Te2uY8IFa8CGsv5DvJIW7b2RanbKSVHVB9+6I3/a8jgRggedExcGjh3GAZIur
gaCc2WUWNgFjlD81OU1yFtzwQmKh6ELvnyihS0wtV6Nu3c1ANs1W5lX0rPKJBBCgQ9iaoPmX2rDl
M+Qme9csVUXf9+W+tYCgwcXU1YyI/BBjwLXLRhi0UdRjtjFAGx5VVjwlkZvfGzZqWw7QE2wtIPAk
Lb9402jtWCUwf6P1cmgT0z2loVHs4HC4T9A5cfFINf0oaAk0PAuBaJUOzZh2uMkXXbczE2w8ViPd
0o1eekPO7MkZH9cE4nIuKvgdjQfyrFv2BmikS26haTyqJMOpIg3rRyMbscSiU3iDUzSPuC2zE9bt
OHIoHCSbuWw2vj2UOIGbgPBJnR79tJy/FBRgR3Kn7wacKjZx3v1mUeHA7AUd9SCW8D6JJriJUOXa
cHxWDoUiSRlgzZiugVCQmNGm/UWJNeDRz8Bw6gqEkofJIdyvppu+KBdvuS7E4hjSl5/2pblx7eQP
Vp/FMSp1R/WT1PumgbGLFYc4jcHwgpLke4OlxQUxTtNTC1C+oRnb76aAi0V561EIhM417bRi3/g9
5xOk0bgoEI8TEHr0HxYWkmj81zyAizVGMt4qSegoZqVTrGXjVLgLs/PUpLb/JDU7O1Y6onHYU8aa
5hxec7CrOKJAdLsvdZLtde+pjT+BES38G9S9BGVMaZbewu8b1gNLGoUyNJ++0COunACaTR7BAS98
9zhaJQrZ5DhXp8bE5wTXfvObXXb2j8haPLNcxEAORivrGKfTa+EP7trpkmmXz76z06ZXP8dDA6jg
ckYmjNkEognHIxRz8ZMPH5VpnLpkziTEbnAkuMatkT3UChq0OTSg09zLjhBGMwqqgqKD7Jaf9UIV
Liocc3JYfXtyud0runvJ1hpl89MPu/CXUWA7GSd+tBNV1BO9uLhbJj0UaNhumFlLMK2+7J4i+FzP
JrUaxFvUpW4PbLXyfAKI4rILH+kG+1TjaXI/kCRy8vChh1o/tbhUDf6usCvnj6Og2fBH/DRgmXCw
YUNcVB2g5ToBsYH6nqbwX6O0ro5VklfgJlV2wSI1P1qyNC4tGvf7tOpYWahRREfBBA+GI2LsIrTz
zRe8aZ4hBZw6/Ntx7wdkSr3HcngsXMA9AZJzW42uvgogmK+7FvIczFYsXySkwCRICoKQ3UUsTqzf
vTcX5oWVdaQlgNXupZVEX6xF/WW6IjyClyW/M0kD2oQvdmMW8Erp145brx3TK04Xxd08ZmpnkG22
w4uFBAIneYoMWRXr5hAXxLjgCucB02rQdTJQNnaAZfIh01sJt1FdhNk1UlU8SDqfrkjZWsg5YnAI
jbnP4obSPkX94qihcTKthwwSCbROugCw9kYZzWvLrYst60e0bcmDYIjI3g2cVDcTnB+mgqyh1Rf+
/NMvUsXLX8gceVRdBk0Qw2o1MGY3+d+wRFYne57ldsKEaeOp1ttryZtyaswHTB8bLyx9noCXzZem
wurYiYt7f5zrnaGE/A9VDl02YeIrMXpEGiXjNz3o8hpJU/iT/Wy8hgYy0uIWAqGojXqqIxgAO6cu
uwMTnp77gqWA7mtxGFL3sarGelW7XKQX/k85C6si34YDHUbTEAfU9Dxx8F7ZcoxOBi2Z/SwtHAvS
lonCJ3YVdzwGfODJV0Fz0nECUVgWLoEqoFDlVQB1fhU5FFVeG247rIhzZLKDtWTAtLj7el44rFv3
rk/C6rFQOO9gwhsGV96YqEt4e+XGmSY6nqacrqs40+zWrb4ROTAZaX3pPug8JkzvehBpaLfTBiRZ
Y/LqYwXofEc/I8L9Nf+BRCXYYhId3DlhJQ5jj1dcTOMQBpGVXeogQGqbWcW+lzjJ+V0d3I6V8xMr
+vxSFD06XjlofPX9eTVxTrshTIptBeo4KwXHczEW/r3jwIYM3BJP1BzrxoQO5kMOcWprcci5G12k
BJEAbJADfkNtXOqbum/YND21FGVIPOLRTAANeWuTiVYpSUhOYLIbW/Igo0OkIVFxVrMWb+f80PEl
4mbLMjW0HomkEaITbDKae3vS/o61BMOXgKQlaIsGqhs8MTmlRuyfuvwRLOVyXlX9b2313c/M6YJd
SrgXRnIYr8AS6Pdgl/mD2U8B2S+qpbeFtWwcQ8txpTmBVmMz6EMsuWpd5NXEhRIjYeEjoCZu0qrb
q8ZFFmB7anoi8soCW/TVJRQcZOCO+Kaxjohjl2OwtFobqzZSxPHM9PY2DIkb3Loi9FfwN0iyGzZE
dnWQLUqQtBTasIFwWvhoyXRakqOQ+yMWTxj2tF5qEoIo1GUJ+X7nyN67qLK53BsC4kw3G/WBD48S
ugFnb2M32gRWpq9SuK8bajlWo7b7WkIgPDSQZe4rPTfMLZIRMUyId0DRwwWOnnyubkORPpn60Rfm
vZvawyYuJnWcXfur1dtYx6dsqm1OfwJupb7v0M4dk5atrmiZH5UNETs1uvBAYyXGn4FgjMkj/Lqu
SrzdsoqPBMCUSsuQONTScrom2yrcDIlEaIO5NgcZxNfN1Ews9U1xJTxEAbJDGoptZofTQ54fsM8y
IXl3MR1Ru3qhSqW2gXeK9UuSdiyBymwvsNNi4mIFZEBT4sCa/VCqpp3aZ/2u9OryhnklL4hjmw8c
W7pbK8RGF9fe/BeFD2JYty2/EX2ESLg3OnclOI7CS7RQldRQPwDxOJK7UrBWQi8akxrpUYJGxoBq
fi/5uFgChdo4MwKVXtUoqiK/ea7rujmZDQmOQaWTfTCNRJOHyt7AxX2h6U9HEFfNY8GWs3XaAIf1
ssFoATH2GhqPe0hjPANk57HYT9b3bnSrY0PXHj0R3Z9GQFJOIW+veqKJNoMYXkhHM/cI6/VOZ6r7
TSyRcym8mMaRZ/50e5ntaoxV773BewldDZGtBi6gd/YLKq/Y0rjhVBqlBGAb2LnpcoAGojoCs3oH
oM8s9rbCNEog+QZJtf2dOyH+U+R0bVRgIJH3yN4qRqvgiy9ldugMGdxZdpvdKw6J8MPbEcwedPqS
SfWzamlRlFnBaUGHbER+b24Hy4Q32ghz5bpGvhnR6xJKkuNFSPW2Hmf0l7AAi20XsPO1Ps0msvhC
lHDRuB+N0ELvA/oCdDO1BGNheOjZbnsZk2+x4VVw7g7NaavT/I9FWOIGO6f0RzuBcdtuZ7xUxHmB
LMgWsaG6r6grb+itYTdl+uN3ir1vMMscEFbUL+Sajpu6AyUaemgKcVz84ub4pIsRRccSLlLENKJ0
GTaXY6rUqqmr+hSy7BzCEkNMOH40J2ipWjlqddg3hKjQw7BQviV2fGMT+7wRGVpZFXFcckeCUlaW
P/kXFkkmlFbuBIGYPc2ccZnpiPiAGwWTqXHr+dLzeuyMQ508tz40SW3Rb2gStgbbHHiGwF7rtjAM
gLa6xhW/bqDkDN9IlgRHTlIXHxETz34EI+NYHOjQGOskQenYCzltYU1rlCNoJsyBeKE5RyTpkem0
aftW7q2kQYheTyQh0Ga8QmZyGyeJfoQBFK+rvHL30FpwccLAA61WFxL5OC39G7poUdFRBECuRyVj
YlDjGs3Rbp2KzgMsG3oFivNFN5XBVvfun8Dr+oA26Tgup3wD7yokUshm7E0xTArM14edjP0tRnOx
M3WXDuT0gCrQ7toaU+eA9W7taIpKeqTiGc7Rc3UkLhI4SpLe0+ADDnfBs3v6rTbGi8YC9EVek3wb
OthZlmNgbI5rIWS1wL5sygAgBdbGL2cYuz+Bg1WhwtPXSMvfGjx2DwGHyOtJT8uvy/40IlObXtLR
Dy2+c5whsA9c3EpNluJ1pHHrzkKMfswvFXaZq6KmTalTNWwqx8TXC63tFcgRoP1A/bZq2HgRurnJ
oSbjCSNTXM0ijVCl8yyMgBOnPtLJmp8c4hAe+P+SV9CGxjbrImOrunBCuwcLCR6i+cvo4F+Cw1W/
EkdGnBQSYgTGikcjF8MD1SPdd6Rmx1e0BBHQJ88N+bQxG3yw0IUbFCwXnEx7BAZxc5F0wDx4yOut
RRMPxxDpYg8S25eWSCIyQcedrBAil/RLMarve8N6oqmNMFJZAJOO61wqnxqTjQNVE4Xitsym+hrb
cHtbz1mFPYQsv7t1hKiN1S8bJb5ANhfx66Yi6nNx/wCkhogGPV7VHcY1jg2bM7CNvRZ9tIdPQyMB
oTsNH9l/a5TqvliYdOGpCrp0qiQ0s0LSu5pLH6tlyVysownOQFQ/aVrjO9e/9VAyUO0tqSTmDNG1
MuDU2BxGjwCEOA+jDYP7ufRO8059D6gavlY5LbK5T83jEOb2HczzBfoN7HuzLJGojZ6Hvh5iK2zI
GkzepstLJxzhFYxv1xbiyhnQS+JO/m3uFr6khRutGaEl5zDZbds2+qbYIFdpD1gBtK72TH4AOTUo
bGhgrUX4f+9xs4MyYWLItriyGgbVSGx6NF8FoiOqOu/aJoUEgsxYP3EcFvseYThSaO37l5UQfDcx
qXO+iMeDxVYGH9YYb1zQbfMwVjCRyRpL3PJUjGh4fYhVrExgZJZV65VOU6wfSs1ry6yIz8rG+d7O
s2cI5U9u67D49BlxxhFRwo4HYwCrXuhPnIAbPGSdZDNnE35iBBGvvApZ7BSyrhsjJmUtP3QdV4Z9
P8OSgpkX1c+kw1h7XabDQxLaDvsL066x6KrSQJtpLOMjoyNLXVkWdHZ2cQF1RXb0V0Gy1OKIEDV5
sZ9bqX8WcUvEpqY9EPjQpz6OSX83h11qrVCbKpf//M//KX++3EcUvP/vf8T/hQBHbHKEWzHWaJgU
Os//9PK2tKRn2ZLmj22Z4u3lOz5YTt1TcUID/SWYEXGI6fvHQ/ydjM4QtkfVLi3HVuZZ+jo4m9vF
VV+cxHyc9BMCOSdBoIzu8R+OwyMytaeUtoCpIWy9vZXSTC3aUIWBnddLMm2ICqfzlExX/24U6+0o
qrLnZNFwnQZPP/BlFg9OCLYLmc44UtTL3cfDvff6efHYFVvak0rJt8MlJqd+GbnViY2HzXzyP8mT
/+z6y9+/ml7YBWSiMr3qVH2nQUOmz7/7+fbby5fAlIix+flq2rrpvvA3H19fLPdf4LBZ5Be//t//
aMu0ed2vns8y+V79fiTFLjIzv8Ji904/eeIU9NiYQSREt7rGyQxvjAby7vNs3H888mcP7uy7bKFa
spOo6mTYGMFuyu6TO/vs+vrtjZVlNoSOafNiIFyiLg//5Ys/+yonHE0Mc+bN5DMC8HvEMP/q+djm
29/vehRERcv1A5rMQiHY3X88wDJ1/n7zLjlduGcI4M23AzR0nMvOMaqT1g8V3EM8v5qfHw+xvMMP
hhBn9wDSTgZVEdSnXo1bqBerrqOk0s8GrMecs8zHo31yQ+Js/dLwk2Di8ykikYETPzQXtfpkUn02
hPX2mRUy9eS0fO3wKHK04TDv5k+GeH/e/u9r+c8H++qDxDUrELAFqxPUyaJf0ZT4+Cl9dv3l719d
38e6PIffVJ0GCltk6w8fX/6zJ7T8/avLC4PDUzLzynE1QrNIMvfQ/ss7OFuySCtMnSjV1ammqmR1
+uQFLP/6X5NWK9v1KPC0rc4uX7LZ0+Vs6tOYkQRAZR7H656ziz+dPn5U776JVwOdrYC6MTKIfHV9
8ujWkXKPkdPHA7z7LjT55JD3FYeNs70vc+nRiibGRnwxOUYk7FS3mXv97wY5m0/aR33mEB5+ciI8
eWcbGbNLDzC//HiYd5cST2kNb92Sjn32cXfZ3BO/KFmt9vAWoZ3fyQkfzbuPR3n33XuaEQRGIKY4
eyV23xia4CK2Wyz8/CtJ9uXG+frxGO+9dmlZ0lUeJ27bOxuDwLS29WVfnwws/vSuRPD47wY42/kc
Wq317DCA16y76ntU1Z8M8N5TUqZQpiUtwS2c3wHOwTzBuTxlLw0pguMezLgsjh/fxXuTVwlta0sg
tNHnj8lPWx8z2rY8Od3RSL+O9U0rPilFlwdx/qUry1ZIr6UWjjxbq7SX6qDPEsgXI8kRXnU0TH1j
42idBMElGo6ZkK0x/+Thvff6Xw96tryAUfcVkB7cSffnyvJ+fPzU3n01r27p7NVMNNeGrE/LE/C6
E1z4ETjdpu1u/4tRFGWDMkkSUu7ZwpIHOqYyDaoTuFV0q8OfKvk6W5/sJO8+KIcWkUfwuHT02Rdv
meDsJSz1k5NcItZ3Pnn5786vV5e33m5Us256ZFImL58GfGyd2Kxwavr4Ob07wRzHWWYx2IA6K7Hm
rCxiS43lKaDRSF8OeAS7xaVxnQDpHWz5Xz2y/x3vvGaEceqkU8J4KWVJNj9MUC0+vqP/lGx/fTMe
b9111LJGnn0zbpvhfN35xal2YZfsQ+/C1jts3GhdI+vMfmCW9PGI776nVwOefS9RWGROVjMgrpjk
eoS4LBWHj4d496Px6JJ6NvuLPD/42nZNRHfOEERiihEv2OpXZbsr9+LjYd6dDa+GOZtxfPb27GYM
gwcD+W97/P4raz/JeNPTMwsY+OPxlm/9/FXZpjCVbfOeXOts9lX4MaDtDMtTk98l/q/M3ybuscIm
v//k+b33pb4aSJ6V+TTwEOZoBtJ/ouIo1c3H9/HeDLBNYAlh09w2veW5viopTWhlgqhBLi8JhoO6
TE7QJ3fw96MCvxFUfEAg0pTybNmMwnq2p8zLT2V8C21DlcGGfYBkkm8V1kof387y2N++lrdjnd1O
jaFLhMQvP03jtzz44xGU48H+FxAO0wzd3RUKuY9H/Ht+2wTNu0JYnuQPuby/Vw9QdaD4FbKyE/rl
Fk5CcUOLELHJx6Msv/vsvpQJbETp5HlIt882hU7Ad7cjIz8peWnT48Cg9+vkHVLrUA2/Ph7qHdQC
HOzVWGd3FLR2CtbHWMWA0yTOB918wkEMLedvJNLrzoBnB7tz+OV5D2MCv6z55Gb/nvL8AO160jMt
wTnhbFUi7zvz0FCCKl66NNfyT+bjO2/szeXP5qMHh76WU7Lkgx+jCmbJ3gguS+eTavfvD+vtTZzN
RO1pofXAKFV2GYSbWV106uXjN/XOjdiWYPIpaizIxmdrUDpCMEKykZ9+pMX3PoBM4NEw2nw8iLD+
nnoY2ViUIstRh5iYtxM8hoqmGsknlby4q980diP3TqeXrKqdcam6G8Qloff08aDvLBmvxzzfaxG0
yAyj6fzkEnCHlDcpvW0A3yUtHnzvH9cq9puxzkqh2PesWRI9e8JTCBGkS+e2Wovp639xR/BFFRo4
5ZEb+fYp5rMLQczmo7K8p8W8ftgYPaEkNoqZ+cfHQ/2nTDhbLGxWI8+xmRsesPbbsVBpu4PZckd0
/UiNPRE/sHP+2ISrrr9U6ost/W3fPYb2xYgUNBphQKptlN56xTU9jsiHjXGbYuU/XlTR7uOf9teX
7VqmazKNOAPay3/f/rIxrVrDCD3rnsPg19p6RL7/59+NcLZ4tf87gixOuXf3L69+9mRhmXnY4fH7
a4EkKtkYtL0+/v0OT+DNuzt7Qsvfv9pOat+Ba2cyggtXslghiUvtq+Szb/rdUZDcWc6yvNL9fDtK
L7BHIQle3sMPQZyFT6/l48DcI97vhp+GhfgxaE7WmH4X8JtHu3qAH3YXxOne0dAT+oxmN83q/cf3
/vfscLCWwpNDs9F51vmpNCl8MhnNMnzovGfHeYw/QTk+u/zZTStiJ5IBFutDTcZLtuv+6a7l8jCX
7UqaFh0l62wdwdqmRI9kw0CbD924j8dPZsY7P5/rc1ZXnmvyUZ9tW1EO6cU3hH8PDTBfOfq/+PmW
47hsKKQL0rd4OyXQ0YrSNRv3vm6ua5KXPlll3/v1Sijl4BkJtGGefTmJkni/TqNPxMfltKvHf/5u
qcJZ84AUFSvf2SYlysIuYyMNHhxSBiw+nH/84VPla0sjrJIsXvLs+jJUKOcM17iPiCIgE68yPkH6
3ns+rwZQZ2U+dn1iymuNdAaOTLDPi0/K1OX5vl1XHDh9eHcK4TrOX+Ab4j+wv7YIHryOUxG+G6vJ
/i8mKPoox6RWYIXXyy2+WrpKs4zJhET90wS/vGsLx76Pl4e/Fy0OKNJhblJuW+Z5N9g22taYoPs+
sAJNwQ5FoSTU2PrnE/XNKGffgTCmuq2ljB4ibKXxMP/HEBVn+9d3cbYF0j3EmqHn+m190UYXUNc+
fkrvTKQ31z97C/xySttIRQ/Tk0uOQvXJGv3OS2C78DSwofIoo88W0cgmaXoeZfpQ5BuLEJkrTlhG
9AkQ8lf5xxSVHhxfR4GCMtDbmdRUdYpIgUHMrl35cDzzI8qwGgg8/uRpvfNZ8EUovgzXFEjIz5al
LCL5Ehlc85DpG86JqDeU9wmet/zYsy/vzRDLE331WVRFGLOqV81DguR2N+awlXUwVaTBz+adl3QP
TWP/f9LObDduZNmiX0SA8/BaswarJJUt2/1CtNs253nm199F+dxzqrKIIuzuh0Y3BDAqcoiMjNyx
NwItEFGDlUsA3d1eD3PmuR/I4CcUU7fFZBD8ug9HiFqCFoZeohwRwDIlz3jKVas+hrnR7OUxCGlQ
ko27iqx7odI8sxwBPfzPvOB96sujrEtKedoV/ZdI+nLbuWm1iWOr8w/Xb0emLC5sJgPu6IGW4fLU
K2/leCrQlVJoLG7vHLvZSt7dbWtzi0VH3humWxXAiPjkY9O9RfuHXZ4a1LNUgOSF8UPLl15aZxY/
TzEGZ/yUBpni4o/rFPKczChPUAG5bbDpkx9dV6xQFwMtd9uhuckxDBoxeJQBACPCd+iKKAq768sT
zCqvpendd4a2cK4J8YJnDFqROe+nEpNOYBJmyHHSagxLdzz2ZQLQNDe2sGg/Onn4T5MYm9vuCPNz
ZUsIfU6WahoKF/JRysejrVX7tuzJxpTtn5gx8QZ5H5W3mssNLeVeqaFRPx7jYkCOAmL8mFZLhBm7
37vfT/7Y8lRehKWUQ0/MKGEZUUZa3qWjpj6O+eeohAP17yr0F4ZNvOH/smOahqnBkKXx9HDpkFbU
UdF0tXSUM+4dGj0K0YjYzENKa4AOr3oIKA8gco/IpeQixV2g/2m30FbcHldhM//6GZQZNHRhGFWx
UgwYLtPjJJGOIx2Csrf1sm0buCvJPaVAsqCxv21uZrXYskU+qoDSsLkwX3odGaYkKypeB/F9aNOB
9YnD5l+ZEGu3VB4luMsb6ZjLT1L0RTX3lb4Qk4Qt/J9B+68XmrAYochvDL3spCMylF26i6KFo3hh
lDT1cpTsIGPPlowSTa6IWTUrh44jtXu7PVBzU09eaiAOoTvkdoIXupwlUgKz/bHW/qHbC/LuZ3r9
FenBGUZItY2FeZkbNOpmmm3ajsmtQbhKpaGvap6jusdu/Bo46M2AxbztkDIT9yjw/c/E5PHZqT9I
tBWqISZyqiGPZqK9RR0CDKHhH0FYoxE69DRz1lkJn7o2PqsOAkt9M/yt9cZGQo3bdbXXLIDkgibS
fGHDz82pgu8AmNGq0cT6aqmFue65rnuMx4fMeqSdD07yJQjX3AAQ7wEGqrzH88Z8OQC05up0x8j2
cfCO491H3vvLhSsNt0e+cXb8vy/+MxuOcGlqfRLdis73o9rbynHgeQ7qD3lY5x2asHBI0BfR5//k
oeXsWlvrvmRmkW2rXrPuWhNmeniNvlLfQGEs9L5DamJtFHo41rIH8tkoHJ6OEqO9zzBxjyJNfihk
tbnzUhjfWthx0ceGPGcvyVCoKHS7P3l0sTSQRzSAeGPPvzMCN9yAx0acMYHmACZL5VDHebFW9QCl
ZiP4y2pNGM2bFvYqxYCfooD+3tSgzIQUaKPTio+8FBQEmSu/drDJ2PC4rL2J4SkfHTi94/IpCqHh
B5CIjFaZskHbTn3SoOSE91CBo1fR8hUqFeVjB9z9Ue2s7iD3gbwPHZO25RpFcOjDUJlPAwDeVmWt
aPxNvlRtX8u8MQA0j7m016sK2mzEBvJ622rQodSRnz9zndcOGlJfnyeWzL1jIGIKu2Z935VucA/n
aPxBaaT6HmbdcCVDNkAzmlwdfR8hE6VFu3RojHAfSNabH8TaPf3C7nZQrfQeVpHwEDlGuW8SBOwc
v6iefLlUNpUG4wqCkfFxCGgiDlwIQAv6M9ZqAvFCKnEQu/T2bktTS3edkcq72pLQE7QTOFbox37M
ah86S83M1x4490OvumhVR416R4OOjLRJ5qAU36sbOsH89ZDTptGXjbHyof97zIcScWGOyUeXTmoq
pp1J4iw3H21g6KhWgaovrdDdde5E4WtBoAczHcW7PKcVKNCVDRyB9k6Hlk5z6xh5xYh2z9SO1oov
y59uBx8hg5y2hSNzqzFMw+FuIz4jo4tTVIFdmggvIo8Gy2TkDnvJch9bF7aHOFKWTu6ZgIJB9riK
SfXqdUpRaijHxto8hgGcYNL4UZfkDyiQ/Lzt16wZE6y2jVdsTuGUkCHJIHN2zaOqFxIdEuqXRtWQ
Y1CNfCExng1e5AUaT3qW6YipSKz78CW4pn3UFHNt+WiAQLBPB1n/BtDy822v5s6+6YbEy4rGa7J4
GAW2kZPpeXRl9CmasZr+oMfRB0mFXCy1sz1qBBsldn7vWvYrcnLJ4OWD69lVagmpBe+WoICO6l9w
YaTb2y7NxuWzrwtJQ6nRYg5FpXs00ShTwxChwIVrxcwSZ7xMmj0MBQ/EJW6pauyMqHsflSS+9zSf
3nnU2hwDnjqSVikwFxbEnEe8sNG+oxnkDOI1xrbgQ2nThkkakx8wDSNSHfyBS1OPA2/InJpX5a1B
MtWm1Tr3mMKkW+vyowXNj4UyMLzKvuQsHJ4zewn4JQyRFGV5KBKvfr2bumGSKc5RQTFYGusnGvig
eh8WVsKSGSENCsNu0rcZneNoHQNa2iVERbWlx/G5xXDui5Bq1MCybDoe8SU5ZjQI5yutf8wnGu6F
2uDcVj0zZAv5Bqp6CO7YGNKafWe9dNmrSX9fBuPJmP+sjIXC0cLYieFuNGupDKoBa63zCerpfQ0Z
n8thdnuzzpoxqNAA0eGBUqxqVF5MHhP3zpGe0Sx8hmZBkhYuKXPh1GDgprctRblCm/ldk+v2iGa5
5rnrFq7ZPLu3M3T+lNfbvkwzLSaEhgk6gVdW+mzsydezrNs1oArPkUE9Supj3UEsigxdcF+6WwcN
vETeRhCe/DuLk+tnFhHcCRvUv5yj86t9b03/WG/81cBRh46cT1t7B4Dzts3ZZXjm5bQfzmzC4q91
5YDNAj6UKIWLJHmj52zV5Mmuiot11+sL15nZCbSpfE2tDACFhCrOYIa67PlolpGBjXCIeXBZde7X
MPjntmezdmhuljWybfUKjTQgsg4lk+Mc1Qrqy5HOxPwvz6l2br2wk+fi+XR6sBqt9xepyyFUpDaS
aA91jjnN9hB3Bk2xMGTvHRHiWuStX7V4U1PVq7VoGfrE2Ai7ValrR0S69oltfiy6nmkyXqtw2FJk
h86v8tGUC/y9E2rfbw/mzMZ2OEbIy0wQQ5R/L31En9qDwycxjwoihJBjexlKTGG3sQtp3N42NROB
MWXLqkwlfcLDXZqKokpuMmpiR1P6PPYHD172LDIPgfqtgYrgtq1ZtwhU8tRRNyE3Lm11kH1V2aCa
xypEchZ2RWewdt0iDnvODG8PQLCnJ3JFDIsAs6s8g/ri6DTVsZLVdqVpnr5rEZHZ33ZIeX89FJYK
C4X6KwmgYl8tFY2+czkwOuNY2iAY4U9r1kiTwRHllesS1HQLqVP/KkHW4hflFnXNrWQiDbBCyOpH
IrfZ5yCKelS261I5pE6F3LWRlLSSK/pLEXndA0llv0PXFj36MEFGFfbFka5cleZ6PTM2/KofQ6R0
HyqlbE9ei+g5mnHpXYcO713gxyZd5SXciLrnPPoFXag68I016HuYEMCkFU+e5GjPUBjBueAlCNnC
T0PZbkQXUa39o5vV0XZAoHPL4zvMzk3Wbj1aDtaebBivwE/NuyItzRVM2O0mz3xvZRoZPJp6M37w
wu5bSkvKyg4sytPAC9cVR+IrDMruoYN68l6jyLfOlWCSDCidfV7I2oe6rWygXe1Hr5NhWMg40zwj
tB/stITyDnwZjGdj/+DFUU3y63Xq59A7THx38PhkSvFgUJ0JCAuTFoMmtVxObes+j5TwYGZc+UM5
HR6UHHaPwdKHl6TsnI9gKNWHyjPkrSTJKZhnGK70XoM23uytH+Bf03VUauM9mmgRUnVVfF90DJUV
Oc7HqKwp/gxxtY9TN+fNLoGaqc2VO/4LDc6o8dZNDoQ61tB9iirIh7jMeSvNroqVBd/gxC480E+I
6Ai8GnSjuDRpsXlSNLHDeqOMRfsTEg5pn7pw9staYN8nsBZ+aAtDhyoj7p7MPvJh1daAsJYlshp6
CBNk2ylvME9ALqnCTQcI2VY+pXHpLoTimdPMgfNSJpOf0EriE1xn2LmeVKZxdP1xm8afpOZH28Pw
FkU05H/LEWhc2G5Tlna1284MCke25hu6JNmGcWzLY5l87bVvEKcHPojxF8qdNKSP63ZYwCfMRZNz
J4UASdbm2Y2EzWQ8oLJVGivD3N32a+ZIA/3ArqOQz6upiJ4JwoaXZ8Ol3UmtNy0XZDdfCFRzTvBc
BDRUpx7FbF1G3sijL6VnOR9b7bvion2GkMxgLuFolFlHkHdWeFsxIJSYfsZZetOrDYeqocPmnxpQ
TrV5dihzKAClJvvWN43+4Lia9jnWzXA9mI66Njq53MQlmk0Q9eRgi63qJUxq+/fTcZr6gZcAP3CI
0kIOZHSRGvcu42vYq0xu1wVRGtHh25M4N8Q6rx82o0vxWKxoSk0shV7VGkev+Nl6G6/eOMWP2ybm
hvfchJAW5Hlca72DCVRvIVYLYGa5bWBaBlf7y8ADjTKUyqq/nL8udJs4MGPjKMfZV3NSYHSzfli5
gfxmlBUZebiEUZ0bNcNSuD3zjmlzj7m0mEdGnEJUxooprJ82PPCPdLmFWyh3lpAJ+ly0mhoZSKwo
P1xBEzxqyZE/jvaRNp1i46OStKPnCO7AGCaUwPpeDVkC/X+C9lvRoXxVhBE0VGEDDZUKtb6je+j5
gODmlSNcj0GGCoUySo8BiSJvXhAFo1EFZ2cSyXeSHaJpU5QU6ScJnL6H6T8LEjTPch3wbQaXvWdW
sM0C4dwi9p6+BZDRbk0Uvna6h6xGbYwACGsHRfmM/+fGRVk06l/QtEvuKKZCgiQD/eRUkXetbEGH
5CNy5RUtZ3EFHZ0NnePC2lgYPhHYa/aqNsSItR2tztiEnfsZjt1NYKrIj5nIPwztWkmD/A821QTI
o/mE6qEtNh5mWmbWsFZjtB0eIdt8Mwvzoxc61oKduZ11bmdy/ixwOR4MX+lo2EdYC1dDAKP+6CyM
38wFyTk3Iax0la46KP9xpcrf1BjKZla5foIyfsGV2R31vyFThUqHVQ8ejEu44hVvQNPITj5l7fPt
OPGeQouB4swZ8YKCfskQk3vaRzq5NkaQfoxNuOb16gki6O9Rap7wFmXBQj9EWvAhDGW4p+vNYOQL
Gci8s5wLYBWAlolVAyRMUI00K/vYSjHcSYhfhdUGhNt2wd+5xMMAZER0VyyDUu/l+jB6P41iqbOP
cuRu3LS4jzNj1Sr6QYelqzT073U4HBDrubOggL5te85FsgKyg4mng16VS9O1nGot3MTTfK5Rn9NZ
m69/YgG4iuHIoCLE9ENFNCPJnNw+mumT3CWM4Ss6bLdtzG0wcg9AhiQh+lUnkezWUEy6lBJLiFrb
Xb0E8FFmh+nMgLCDDcnJS7uG4DkonkLpa2IDJuoPhvUoR0+2u22o9HXOAU7mVWN8aPIPfVSvmsUG
nLl1cu6mMFlFIklBP+KmnDzJPYyPyFlL+jbKELmz16n/Q3H3rf/zX42tCECNerXk9idbRyvJjl1s
vlXQBN42IfY3vj9MUUOHsXSq2V8BqKCCh5TWDy16C6JjgTAOeqjRWs/yo1G6X6Dw+5trN8BI959Q
tb/fNv6+xMVoM70cWdNDFRjGae7PojO03m5lKBn5caMVaNZacbRGbLi6sxu9OZgFZFKm7aWf4mBw
j7BdROhn1+nWlGsKla6XriSa16rWYwag3tgEnusflFa1dvbYd5t4QDQ1d9S/h6E0eUemMaBxzEk6
XJbfWhM+IQ988i4aaFB1U62cVAuTpQjz3lR97SP9JZYOkMcSI0xqV2CWfMs6qhGBsvlpVlL62Ham
erBUpBszRPnWTQbJaTFObId1SYs8fKvctQeH9SwlLxaFsX3iN+1LV6Apv0L9VfqKPLOxDatGqpDg
gAqPhwr34JEeEUhM+b7v3RJKU0Vfgw6W1uAZinsu6fojtMRcTm0DblK3yba5VGiPhcFDamwOxZtT
LoSH9wNDdN+awHM2YGcqQ8LG8eraiJq4ohibUo8onG/I/3wZDf0tqbNXlJp5n3RfZLs+Uvp4gZAU
UJr25Cjju7Y4ZRDtC0LZsEKH7arQi0ff/um3QY/OyNJOmA1klFPJw8nzefG5XIt9WFdjSQJyDEbY
3Q20fZeaLmcj2ZmF6Recrfaghi7eULityDBGovu2kRL0y9Lff0YEaw941tGVqdAoDLjhI1KOzJ51
tPPio5pk92jpLJiYDxr/syFeiXKEOMq0MaxjRr9Z3JjUTM3xh52/q6W3Rx11kr6X7lN4/kY/+Ho7
aszlW2cOOsJlSa91JwnZ5Mde9+iM/WKZLxmVtdRbqA8s2VEvp2sswPkpMU4W9rr1V1b9lBUb1d7d
9mbuZja9n3N35w5Dl8qlFavypVgqUvvYvE1qCSZv24DojXQTLiQDs+v7zNDk7tnqA1Zstk2X2KhW
wlOPksH2tiNL3xcqEX5pVm1Q8/0vDdzz4F8W0uy57wPApQl1AqEj2HP5+xH2tRQzyuyjUroN4lX1
Uy1Ff5B10gsHLgYEFm+wwtJS9N5HmpQdmlYbOXn1vtTpH8wCt2JebUB6ybJ4EZdyKLzp6bKolKsr
M2uTldTCXfj7U8EDB0825LQmfDiXQwUkpuKwVzDSpodRq5Fv3fyBBY2LGyV/3jJ0wYIa+ZCDRw7X
BC/badXf8AQv+DC3L6Z8coLNTFd7IYzJhRyk4PSdoyfTUPKNPBqq7Xu9HA+RtxDO5uLyman3aHe2
M/wBDWdeuXht9T4oVrqqmlX9m0wV72kWZz9nIB0a9IwJq7dw5MxGFMY5WvLwzJPr81BbL38wJzDb
UYmbCH3Eq5tTmYOnGK0NZQSFuXI1BksPq7Nb8MyCermuonC04tLjspQnaygw/gD960yVTF7/eG4E
B3r5eX9soLpyqeNQaOnbH2VwQCf29hjNriqa6QxaXnU8EaKtmyudYiYuJgo5XEcxbMJpF8swJGfy
uiwbdW+pkXK4bXR2fdE7z5sf70hgWy/9ao3ag5KeO3U0tKvWeMjah97+edvG7NQ4tkrZXuYyK171
TLNuQsMAMSANO1l/HuyFxTVbAQb5Dt6GMi+QG8EJOVfyWvXJ4xA1LhUY5yE1veOJI9JPurYpvsrZ
DrlnpIdlVN/qhTrvnHfnxqe/n+1Qrn9DmWu1cwyzsfjmFChAFqGt3t0ew7lC2LkVYXEkup0BpcRF
AykmKPxXSvPsjIc0flJCGGv9021zs1mUDdUpbU7THUi8/XRcrAo6FLieu2pBvg/edwrmGx+m8U0Z
lWjyxNBjpA6E+2hP2HdkwuXH2z9ibkOc/wYhK6AoXKFP09hHo0bUKkTbu9Ad0h11VUTqS2wUm9v2
5vaCbZhsb4Viy1W3eZuhFSblFD30otqmCKoGrguT8rBwesyPLY+3wC6hN7uiuKnhiFNbFzu9lz5B
l+Cu5DJ7gLc/XrWa/9xk1t9Z1v9VuwaU18nCoE7LUbzz2GfGhTgp13TbZk4AVHG0P4RleOeEyUJy
OtcgAoDAYdVohDJFDCpRoUtpVFrm0aBjLc02o3vf9S/qeIwmOvgEaQ2EllVnrZjevlaW3kSmZSF6
yIVdpYCrE0XFRMmx64rCKtZBUe+0MflpOeVuNNxNEhdLJcm50su5LWE0I3Pg8GwdQBsjj6s8Iu5r
T/+opuPHug4nZd3sLs8b5GPliV35N4lP3g9ux5Zpfnn3VcylANi4tRpK5tHvH6pPWr2Qe8wtlfPP
C87JblyOoc/ndfTSdgb/+t39NnXl2jyMTEDgq7cRXiqo6PcdN7X8e1oj05AcDOnHbRvXPmCDK7Ol
TsfqVQkQFhzKc+Dmj+hIGneqvnB8Xq+1y88LBUBzUDMvcvi85ktfU7V+8orsUQJIWJj5wgkw6wkl
AOZbfYdiXp4zoTaqauEN5nEEKxaieBR9vz1U1+EWX2iL5IYxUROIEE+pQnw51RtAOcke8NaqGP/q
OTbb/EFD+O22rVlnzmwJ41Zk9JBCKAg0O/UmjP7GWCLGuD4wL70RE7aqrHvfxJuwevGtTVrXMPd/
mETkzebHYq1+zh+K9PbUh8b9X8xvx9iqfasPzWMbKo+F6+zH7uPtEYO54iquwVpnTEhfgzz06jnA
k6gF1vqAFhKKmtYusrX0kKhwNdec1gg5Go1x52n2uJ1kQz92VutvQoDid3lFi17reONzLxXGnVzE
yXOa5v7OsyP9cxiEPc3Z9bAngnWf6SQxXskIowO6UvEh1xAEGmHqXxdyFaIMQCsH+tFohEayUsBh
Vg+nCtXSXeb6+t7tffexqIt2n1kQm8WpGm9ssw6OWoW2blpZ4U5rI3QB5MhHPzBCz8/qm+g+tNqv
ZWn+tLD+UCmx/FybJUxRauRswbJ/HQu53peoxGzoTc4fpUYfd70b6Q8NEtRQ7xct2V2bDce4N72j
kVQIXILgXBeOjs6yH37rByQfrMxX1l4O771euNKTM6TdY+QE0ZYSfgs+J8p3TifrmzHooKbXx+yk
hTqgqTZHkwy5yJUa+P7WcUNtN1AefXUR8137bWS9uZKZ7dywTg56i+5CBkb2IS9Ccw3+V70rLP0L
wmZoF9LyihDV6L1QW4bN3wNQpVQgTe1SSR6kQv7mdQr65ZXEC10z/nDyhYA7t8MhFJoA46ZqXbFe
WLUZ6HqneM+IByKnicKGqdH5o3+yh2qfKku93Nf5FPg+uG7JC8GqXd0taqtSjE4xvGfL93eJlKI3
5j2g2rfg1awZOOnoAAWeedUH6tWySde46T3rPc3cWeo/MvnHrlkCzAh2wCKbE6ADqSw42q8RfmXK
I4sdluUJ6df2lcZh9TlSagltEkleQNsLwevd1FQkgWwTADSuXcZ6D+kZOdSy+oRib4Z41xdUww+d
CbapRtU1tpQjgPztQoARYth/jJrkTb+4GoSIqXlpg2ovRhN02sBSmTsfWaX456gSKrDfNu3nLmye
O2TkWzZmHhwSR98VtfV6+5fMDTQ86P//Q8SaR110pY+cSH2qg2Zlti8D1NtZ8fm2kcmbsyxR9FYk
KAeqWEV5WNanpt6MEtffe8NCdUxbufIp9FGY/nLb3uzoUrqDpwioOc1Wl1MK4tKI8gGnZI7usn4J
XXf97ywI1yUrdXkbTtL6VBYI+YyGAUjQPdy2Id5dfg0brDxwwFI1AL176YZjOXKnG0N1qqRnZAQz
tA8D5dkpviqcRrp7qIJ8paDtfNvs7GSdWZ32y9kd27WqJE2HsTrFPUrQ7V2qv7ndvTzeRbwca028
KlDUu21SxGP/8nS6wFBIJA6Kb2MumtBOFfj1KY0puCp3SffVd59zd19428S/mx56QukHytILvs4u
lDO709/PfPWCYVByYDin1Nd5l6s+u+lv9t/9co1WKKCu3D+pyFya8LO66qTcrU4a1Ermh8Tf1+pu
YfimmsvV/poGjwIpbKHiHdC1UdMOiCinOmlRf3LWofNiVs9q86gApFGqn5n1TfGOUvvJz5+S35bq
IFZz7NhgAiGquMIEejQFjIXGXhj6jQzurviDSTr/vrDX7HDoAk/n+2jjIvunNwtX6LkD4Pz7wjaL
2oz0SAmJTgOkmm6IhGGheyD/LaVeJ5ParB8P/kka0UC6PXFzy+/csrDVdL8rkGzGs2wcCSLtKsnu
blsQ7kzvq4+JAVAMYec1+k4ZbLZzkrMyzINjvtkV7CsvgfL9tpVrPyjMQy5l6QbpjiVS1qHjhDpE
qFcnZSdp7SZWu81tA9en1GTAoRPq1yEtBPTR8nRktVsM9EjQ7VW5XEHJ8wc2Jr495Egpwr03tJ/F
Ar2L+0j1verUpfsi2sbqvlsikb6eDdyAP4nLGLc+RzyXHK93W13CRAZJeb2RPU7DbRQtNCvOzsaZ
FWG/JEgsl40uladE/xJqRyfZ3h6o6wMCLxyNWPNrpITJaHp4EOD64oAovkAgTPayR6ARofHHpDoM
xZOtLKVLc9M/ZWYWZPUTSlCIoTC1Qr6t2tVpQF5c0nYWrdLVEi3EghHxLVtptb4aYqs6+fmR9gin
3VRLLXDXkYYSLwtAobETIJbYiuOGYYEaHPs9gGK03hrlGjinHm46fxPkC1Ft3p3/2RJii9zbflyW
CRlKzVsGHLe70F7YlcIVh+By6Y4wLYD++tEsYk7PoV6HtGs0Fhy3hkqzi7MqyyW2rJks4cKeOV3a
z3ZoH7SqN6oMn++9ukTLQLqXc8gklE1tHyxWohQ/FP19ryxsqLltezZtYpEzdIuef0gnNeWxjY6q
t9Gdfb2k27RkRb30rjWaEoVcrJDt9eFXL3z0y1fOotubd2FZiN2CvN0EjeNhxZeQ9dyAnrGXmHXm
4s/5cE1/P58mszDsYmBZ2PpO7VaVuuDC0vcnF8++XzbwGbhVgQv9595dy/JCoXn2+xMnOjdqru/i
dGeZnslxx87pinHtZ09j9f32HMwaUHWAOUQDQqmQcEihr8ldoUFsF372d2H+9gefh/wAbATFK5JO
YXx6OWzoD6pOer/SYOB4/Xefn7w7G34dRmZQdXxeVqUtJIlNsrttYHYjoIMMRw+n5dWFHJFmbaAg
Vp6sMLtPx7cSWjyI0LYNfDy3Lc0GMApoPJPSBnp1T2xsuZDKkfNY6RCaNL2dAinCqlQh3akbxL3j
8XDb4MyVjhAGythCV1MlIxNCZlSHMHGaenlqY+Nu0Lt1OLQbz9lr1n1kfegSRrSVVpa0YHd2SKlB
QeE0XUXE524LFVyvcdXy1EFtQpvjSm+f0uSrbdzd9m8uukwtmfBDGqDHxZXtdWEwmGkCnyIYx1F3
t0Gk3kX9bxJrvR88Kq8MHKIwTQCFv1yCNIg1SHJr9cm0INsxxm4fB4tw/rnFcW5EiMe5LrW1FOv1
qYCvsFF3A6roVfE1Q/u7XKgmiGj7K4fELWsVblOGFrbSZ9/92FWoswa7gWZFST7J1iPln5r/j+VV
O7qbIFk44OYCEjVKsOcT2eAVfbHaQvvcQpt9MtBqHavmg+62X2+vjDkT08vQJCymkzoKQVurMiXS
qqQ5UdZbPbv0qN/+/twKP//+9PezqOR3gatXOt+3NH8dm+NKKp6sZptq+9t25lY4L1tcEkiA7SuY
dFxYNpraWXOCqu8wht46GbmVNt3utplZd4yJlRFA0/UbhzxUthFKKe6Y6soz6aNeq+qqokZ3285M
Rkocopudh3ieyMXCS9v1muf5Mq8Ser6mE2c7KrQW31nBk1puiqWcdGYRIGLG/RAYsEoaL0Q/Key7
ME94xjC97/W6TP++7czMoNHYNj1Dc3BQRhJ3EcLcLQjrnsC9abvdmNzV455wetvKe9ntstoCHTMX
OEel0QEhKCEwJHJjxVI7MmaAqzTvU5j3m9R4laIX3XpSvZ2RwVBlBCu4zdbZkG3SkqYOBIqrJ1Pf
aOgV3/49s17rEEpB4UEgEZsDMgj6zKIOhlOT7FEc58kHReXwr9tGZmfuzIgQceVIb5VODgcCVLL6
lI1/cPmeEAT/dUIY06Cl7GJ46XBC5bvz1hC3avHCzl0aJ2F1IPReG62W4EL4D3Av+1Ey1sEi58jS
QE1/P4tDYS8NIyQAw8mvIDFbB9XL7YlY8kKIo3rdKzzlxgxUc4+qs9t+GJ1Hx9r+OyvTrzjzwhwi
zQqDaDgFxoPp0zYAPjVx7vWlt5f50WK3kjLAhyaeChnQnEH2M9417Y1irdXf17Rgq/KK///fF/yA
D0MJ7I5lpfCIqR3CeOGqMHMaXHx/yiHOxglcUULTWjmcvHHrKrsCKtR8d3sqZk1Avqkhp4a+gCVM
uGZ7Sew3bn8yh5WWb+Gtg5fwtonZWTgzIYwSNIh9UiXecErKJ7Nbj8Xrv/u+MEp+qUWGD/oEfnu4
Ezbsu9vfnxsiAIlQ30AJwpEsfF/ueStsa3U8GeZrKP8z5O0qDBcQ4dM3xKBPG/PU980picbD5UwP
g9GnfZDLJx0KD0k9eUiZheHBsu5pD16Y8rn5MCbNdpDnuCOW85Uq95Osq2WuJQ+VLK2r9ndhcVPC
yQWRTv2pGQd0nHASl/LYZx53lJOnZ/uBXZ5GCi2ctbYOreBoheMeYM23JjDux3BJ62Mu58AvhN3B
+NGRKKzo2gAHW0C8fnKqSUDKDu9VVCf1neNu1d9WKcdP9O0m/DsJAe0Cl9OWBN0wUnFVT40ubxpk
VMpwc3vxTRMvLoxzC8LCqMa6daG1Uk9dt/Gewl3/00v+YH2DtAU2zspjnQsnVzekyWhmunKSE/hD
aHE7QIly24u5JQdomLo0uC1SQWGcLNfVoXTyx1OmSqsk4u37Nxuw31eczVoGeobw6JUonxTS8kAX
6niq7WDl1+Hq+20P5oIAr0/0bPCPjBeXM02HjgYxH7mlUYdbJfnghtJW+m3BP5bTuZFpGM/ifeBO
Veo6H06ju3K1lbrUJDg3DeffF6ahjiGBKhyc0ABrysCMNrcHaW6xnn9fWKzxoLpGmHJeOVyPlBw9
TvWlNmiO1BbC5bwjaFHwGsk1RkRLaqrrFl3UDid6BbahWrGzf98VinO0tYBDAUknVlLIsXqr07qO
MlS0UzL5g1Z3q7g3trDmL1yP567n0DDBxYnEHw2M4u5IEh/YvlZ0p96t0o3s9Moqyzp9pae2vE1V
yPO1Vq3WFjS3u0LPnZem6um5M1Pp0FMPXw+t3Le/n/Zf/CZhKgcDjJhU85uKNFjXyfdWei3UJ1te
uFPNVawu7AiHa9BLSSErZXfSknTVRy9y+MmDPqHPnwv7pZW2Xf1JN5d0FkRU8xQtQEaCekCqhtRQ
PCMMhdprGXntKdJ0CLB5UqSPpd5YxTbv95YXr8bQWcvpR318LrXfhG79Mk4LHldU/vuKTUZy4s6R
bKs5Kc7foRKtEARJgdRlD66x8Egzsx9VDSI6nmbJK0gvLuNJ1Ucu0Pi0PY3qz9iu4M3VVvlgrcL8
9+DF7y5xV53kbTisrjgGwrgaG0Np2lNX7iQYTpZI5maiL9o/HE82mNbrsoilFZKd9X13akrorTR9
PyrQo2lLz9lzZujZ4aqAsCfwFyE+ytqQZIVe9Kcg2STBodJflaUGrSUTwr4qgV0ibIgJOOADeS0p
99ZSBWHJhLCltFAdqn7EhCbthuABjU5laQnPxF/KIETFqeCLwoeQ3/nJmA0OVk46jGgbmGNunyML
n38PGmfnoA8XeC5rfL57s/WnOvr9a9X5rxfxYrpZJ71LDOUs34bSQ2rRnLWQ8MztvLMBeg9AZx7I
mdeiRcsceG9lvRqzVdOs0iUtv6VhErb3CEeBU/llf2qsTReGBK0f/24eph9w5kWg+FVrTftB7/+S
vsXpzz/4vAV4hJId+B4xPPk11LBVxq6W0lXcoDILs92/syA4AFm4J1cpFiAWUu+0aPsnn5/uGVxx
pqLj5fgkg6qno191p3wsoICC+WR328DMtZBn/P8asIR9Vthxa+sup6NtPcXxugf94o3JRuph61/o
fZvNQiDooMpHVyQMkEINLuvD0RnroTnF5Ukxtl57p4WfnHzfwqdradta3XtBsTGMbYcucGi93fZ0
5tY2JUAEX3iwAekJnuaelmalGhQnNR5WTlusurhZT2GS7oXco2qwNHczQ0tFkwhmg/uhf0uIkuYQ
1vzByU/0ZK4q96D7H6SyX5UF3RhAqW97N/164RZ3YWzy/mwjFbbmeolm5yede32W3rfNTqpevPh7
5H+yIm1l9tpCCJ0bz3P3hPGMSXEaP3Dzk5vGX6qaAOSru7oa7jUUIgppWKljd7rt5Ew4on4ESZ5J
x+u1iE9QOYXTy0p+StXV8D1b+PpMRL34+v+R9l09cutKt79IgHJ4lTpN8Iyng8f2i3C8bUtUpqj8
6+/inHs+tyihifZ+G6AxLJEsFosV1hLOmtEpetE6GL1Da8CX0XnQ0r1XXG5PYa0GZCZFMKms94B9
ZUDKOB76NAF/wzuLyKb1fteoofY8Xxn2IXtkaCa4LVm2eIKlsurBBVwoBFeg2Uao7y+u1NnEuNNw
pYEKYwAUBc/nCUUHTe5HskwP/39Rw10A2aIIEJ6TIUZCwjjvGmTVy5PlfiP0WXcf6/TH/UuEnmp4
zhxqGLX78ylkTecQI86qU/asTBtrkJyYtR24Hl6wf6qTgD9xzKuTOvpd97VrZUmIVQHWR2e+CuYF
m2v41Ra0PXg0FMUoT6P54rHPYW1LdGjNpLkgQoVzgyAI3sZzAcXIjM7CU+ZEyvJpIMmuSZifWpUf
MRcAvL3kEb52InmtgfcBCrqoH0dsGp1YMSjkOveolGGQl9mmVU+O5G2xolkWSgFN5MPwsliwGGYE
rGuAgqUn8hs85+wfsE7e1qsVU4kWYVwEwEjVdFwG82VDhG1SmimjpywB8GytmI9ln25BDrTrPW1T
Vw24Ie9s9+QPpplM4binAEbyQjenJ5r/ChVlA2RiyaxWtG0mQTjwueaEhd5jVhWakt0cPWYyQMcV
dZtJEPQ5792yTSjmkNbMjwnAMH213qNhwLHfb+/QmgoguorYCLBAPCDMzXeIuYoz9GFET9ZwcptP
NAQG2/62iLVABHrk/0+GCE85KB3tExMXZs0eGoYOL+WScc4z+7MZov34c0I/W7rsll7dJDycURUM
fLJFlAn9xnYK3CT4Be4mdPdGs7k9K8n4YtEpaXQYtBrjZ+4nwCew4dft8VdMgIXI1f++X8RIAkRW
jcZvszrFDU9Q6eAbSp+xWP9Oij7f/ijuyj4iBqQADyR+MPVNCL4nWxIska2VYAZSXQG5oYu5dF3z
lRrlc1glh9sTkYngv1/dAMje0v8uF1hkGNLDjeQKk22HcOaJYjOzNLBQE0PeaKvQR1CETbLTKJuF
cO7BHteogFqvTk60z0HyI+Ook43P7c7VKrUlEN6LiLtCeHqC/DRqnwfcZF9u78Wq9bpSXcElr1k1
2V2OWaQUvCTPOvi91V2SfE5kJT0isuR/bf2VJMF6lagnMQx09548ZIdIlOz7KUOjqNZsdPC1bVMX
XGRTqu9DANC5SuvrHnvPiHqgSvncd5EOmAzn2+3J31aU//YnXy1xUmphmBRY4jLfxkXQsOf0G9of
bwtZi7JeWQdNjNJPNCdqluJEha2mbeD8ZAAmj9pNykjvx1UGfkfTOqbY7C2JJ4AOEyAktp5F/Qg0
yRIDv65VSHsCuUhDb4SgVVoMarSe4r0X1ru03Cmy+uq19zNm+0eAoFBeVWngm7OrU2LURydttsRU
9uAu8CnTtqaeHBQTXISD9dhjlnrsgU2l3tdUfbu96utb++czBG1DP/aEbDLusbJ9Rt+4n6PvHxXN
eEA7kv1dP0H/J0msly9io7cB3glrY36Z4qdS/VzEhzJ6knZorV7/f1ZWrJj2nLBu2w4r2+kbUL8D
EgqH4vaqrV//VzKEOyYNwdEZFnih03JECcTFLl9o/kLUT2b1XKv7PvoxxncyZP1/w/BnAYXrINLd
pkKAB7e/92ywl9zF4/yvrs4/IoQbwWmorddchGJoW61u3yw7ehhLtqt7ZydZQr5EwhPw+gCI75sp
GlEqQS1c0/FLo//MzYvjfOnD2lfBceFV/3T6xRu/Z9YeCMISVZQovS0cbodFXdaB3fHEtD1rdqp3
KcJt2kpmuKqHFuolgayGqJxYpKFkRjUVzYT9clhA3vBCCDa315AfzsUSXkkQ5uGGFthGI1wVVv3g
tQezDKzqnCo7Gm8j7Wlkkszjqk28EieYLKOrvdZ2etyBtj9WPqJut6cjG1+wRVWWRhWxsWA03b8D
luL26JLFEuMBKL5I1VHDYsWg2ARu/WcS/QoJsCGeI6D2/rupLMiWHdIBZB5TsfQYvWiRH0vstkS5
RLZlmmkms9sRJzXbtRFKpV+H7uH2gkm2Q6xhSLNuiEFiiauhHv1jl9yJ3vBfe2aZiCBqgFle9AlX
ep4MwP6tTkZ9CDsAZbv7aJLVFq1P4o8Q/vuV62INJcC1Gu7j1ocx+dxbf+OjX01CsJidljNwJmD8
0dpZ5CH/iyZNFNr8+X5uyq6+H8g8Je5oLJLG3lLl0Ym/6dHeAdnP7b1eV6c/YgRL4njIFbgpX6Zo
m1j7woZPJRHBh1gaKweGEEVDqK3V5zMJkUfre4qQvTtslf53WuytBP1AzvcSbvvt2azadyC//0+U
8DbrkJklvYUAQJQcRvO96b62aNZnjuQJuL5of8QIulU4Wtw7OTwaFn21y0Cxn9JUcofIFk1QL70t
EtAbwA3tm2fqblHa75vxY8jcwPb+yqL8mY2gaSMtbFv9iJp4fkaRtgmU/m/2BbgwFseARtpf0LK8
r5QBzxsYeFBbRcazW3wq6Se7lWCorJ15NDxYSCqg1mfRkDMAlx4EnAOMb7xth70q2/dV7+9agKDK
jjd5WRLiImzr5zT/0Zb7zGlBe3UEeqrF/nG6bFN2kkmt6fS1TEGnKah5B+J21cm2dkXhh+lOd7Z5
/X775Kzp27UUQaWR5YlTrcXMdOWdjvsEDDXdjmibSYYSIZuOoNh5Yyc1yxhe7V54ypv+EZiTu0wD
xGVajBKvlvslouW5npSg2Y4DGp2ywaRA+BunoP5+nIatPmx69bOrX24voGxegoprQ4Riig7z0sAO
TlDAfJiGT+nwF0Hu6xkJnljRqgzsONBwtGaByMoYEUSVPHHWJwISEN60rSLzOTfXGlUHD0Bj0HHb
fraq6qi5/Z7As3Rc9y+qxyywPPxPlhh3LNswGjTuLdUPYB9CRXPij5Lsw7pN+CNCSHYowJDR8xYh
DDffa82LK4MDlI0vmIQ2IqBETniIBCA/Kv0Pq2XgljIJggGYhmZokxgSnJMx+dq323orG53/fuVn
tKiSQuUD/Mm83NvAQP2bK/l6i4Xz3uZRGtkRVyf1oLRf7PRzXf0gsaQqgY+yPOl/dlk46VZst4lu
q9UpKj/n6ReVgApz++8WSjjgBJiSKFnF0RvGXWQEsqz4avjveqGEo22pYdp5Iba5TdMNTcgmSr/E
KHEsqiclB9BZvkPZse86P8zhsdM/xd4vw9jlluyJLNMH4fiXDPAXToQj2aKiool2an26vY637QuK
wuYKFwEc1Yj4A0bX3gbzQPLdEL9qyZfbUm5PA/Xqcykh3DPwl0CKgZeecTBkbI2y8YVjr9mkz+oK
byRAJbPuIZNVSq4qtIHKYtQxOkDqFr4fnUS2m1U1nnl5h2JXw3eH+kdY6RLHbHUaV2KEaZRE00fb
wK3F6s81eQ9BO/cX+3AlQDBeZNQTCgQQ+LEV7qrml11+/XcC+Ayv7NfkNn3TDZhBPoDG1G9lBRGr
6groM5BaI3WtikXXHbC2HQeAL6j/CZLaz+y9pmyzXuKDy6Tw369moSsuYt2MX4RoSxi0bW99K+Hy
Z44skygTJFgxrytIF4dYrigafBadzeLcmYCo7L/8xbbAfQC2PcwSiovnEwKXb+pMCcz+pKCO2IT+
onzqtojVI/J/ItABOxdRpmpGwgk2X/UQ2vGn8B20QbdFrB6PKxHCKcwdYHajMBEO5D8gMm1+/bvR
hcMXOoo7DCOe+E10RKlcKjG0so8Xjl6t1CbVC2yB4uwL4yANda2q0tXiCCcvbAy9Jg50trD37q78
9mbIMkOyHea/X52KqOpyavO0tJUFY/KCbG4pu43WFwmImw5IWwGpLSiROjYoIbIwCWSm0z5IpQmD
1TngALgAngVOhCNc6xQOaJ6lFHGiPAGL++Db/ROxX/pY22nE8w3SbTTOPPVjsh7T8LlCX1/iPaP2
8W9Oy9V3CAfS6Buasa7Cd3Cyj53NvqLe4359BlQ1Sq8ABwBmXuG0FEnYFFbX5yj00Q5eVmxMJjkx
a4t5LUE4MWU45YPXdvlpMn5H5YtJHwyAU9yexUIG2F9RhGmBgY5jfYltj1YW6n03svKSVgo5xGVk
PyHa4zxUo+0Ft0VpfPNnbuuHLPAxQyIQ+MRbfkgBcZaVU3nJmR4kCZp6hgC4JZs2P7Tsuc0Mv1TS
gI1VAIL0Yza+kqw6aKR4NlNgMjs6aE9SVKerkiVYBAPwWeAGQZELGuXQ4SBajqydRqXq6CVijm/Y
zVZJziUKe7XkV+NKXrQLKyLIEqxI1tUudfKBXlz3PfZSPzPKIAYZEZlkNERrG3s9K/77lTUZVTul
FLndix2F2zFOfKjqtpc2Da0uHrjBkflB3w6awuZiYNJz8NdTeknMn0pFg1x7JRHIXidlA47dzW0N
WpgvrB7asaGmNv5aFGNTJ0wIcIqqS2qXX6yGPHVgaf93IoQzB8hi21SQ/LmETfkjVdxDG4aSOM3K
LAD6wumILAM9sh9Po6udMUfQzCt5UV2aVA2qd7eQcdWuKNlMAP/9SgASDrqmJGV10ZPQT/tHWI3d
0HtbS3bnLmsZAJZyPRXBv4qQdEDnTooNmV4tLQbyKZD7B3hyNdtM5UMSabukaTZGFu9bL/HT+t5U
HUBNOGkMyNs4QqHYUU2t0unKuC8vxlQ8xJhsq0qC3yv6zQveXYAHon4U2NjztXTySrPGOq4u4HTc
d4kOssp+8jtFQQ0Bs0K/ZKlE4op68GZ3zUScCJUeIkuBq7hRnISQWCg6bugfg8z7XhNgc4gb86P5
WOzncjokYkBXVF7a5vsY023nyRCpVhQQXODopkdnGmpTxUVrQOhVorm5vFh47qpv/kYjX24fU25W
hKsEEkCCiOcI+GxE/PDMMrt0KNXyQqw8MGnv2+SfwmJPTTYEWm8HmrsdRsnba31Wf2QKpiEdGiND
4xeuygHNn+axUc9EKwJr2N+e26ocjjwBjXPgSvHfr45v3lUtkBVaKDVKn/phqsGUitK4vnI6kAhL
s0grFwWoq9ChYKCO2FxwIMaszTIgB6aXqadIt2TbHhVJ4COQ3LJrWgefE2cVWJzqgt1PadNC8UIv
ucTAYNuUsiZF2fDC5ugRCMx010kuVVYXr7VlVo+OLQ3vLdfqo+gaBIK8mH/BglGPua6g2j++NH28
U2KQ4ermttZkqKhLRwntojb6cEGGit538YTWxlDajj40F/R/bRLjMKbfnfjRsp5Ub1dkP26r23Ll
YAwsFKty6AvAUgg2nNl5C24BeIDjGAUtaq6J5EpdmlDOWaCpiIu4qCYXmyA6p2zbflIq1LmYO6v/
UmbPiQmsoem703+7ey4zUcLRGXpSNXXlVJcclGG5T2X9HCtrpaEuERSuqLkGdJdwG0SgDTEYqmEv
SR72vquAe5XVhWS9lucfWgNIFbSQunAQRHgwqFUyNmrTXpp4o1Y7u0Y/e+DK4O9WpsKJ1+H1orMX
Xo3guDGUFmqkn+JLGPb6Sz0U+dZySSWJVC+lOAgloRgazg4AA8RqOAuPsKkOaXiO6sbagFOhZubm
3j2fixDeYa4aKyAVacOzFR/z4cQO/254wbCESjrSBjiO5+pDa7P07h4nvB/RLuLxDC7PGAuOullY
eTc01D2HHd2OLxEzt3fPYCZAOBS2AWTSOqrd8+RCXd3IH+7N2QozECxIbQDmCK8N9zyUbINqHf8f
L4efNN0NowtfD8xQlqVpnmajJX1+MZK0V8eicvNLMT6NRZz6xoh4t36/zs7FCAo1Dn05Au8ov+h7
Gg8bU5UBgiwPBark0LaDACsenIiUzOdhjLo61b2XXtD867uHTpUVICyvKS6ARyJxwuHoiTtuhWFq
tEp6sbJXNG0l2nfSnm4r1dJI4b4ApDaQK3mThviWL5hW5qnbpdiLBu2vQWkGTQy+91RiDFfWaiZH
OH4JOJpGsNGkl9Dy/Oo/JPH82xORCRA2w00dVrERAqoB7+TBDDRyb04WUJKcfR4FYAB9QnZjvt1p
RI1R6+z+DCQxPJU37iTDElvsNyRYKu8V5xcGuJPnEnLXKwc364ezCa6saBM5276WOKWLZZqLEM8e
XlpJYScQoSEx9+rJwAcW6iQML5y5pAmdyO0xfKg9tr/DBJ0A1WN5dw8FlwILa3IULNCMCYYqs9Lc
BrHFcCaPipr5PbrrbyvT2jT4MxSZTViqRVfeoE6MEWPqzuNbZz904SUc39tYok/LdlzcFDBR6Cvl
LZ+L/qgC4kPb7XUAEODG6K2nvKOBmTafp7bZ2sA3VpRwZ47m7xKtWqoiu3CXudsP+RbiZcAd4bhS
c3Ur6BQlLs11oHVkfmVpG8M4ZOMYIIUX9OZjFX/qxmfSRIE27kNgcg7kYDfHVmanl4vNlwGrbX0w
I4i5qozGeACCi/7klFHQANKZxdnGQb9dMdzrA/AJg8VR1T34ZMBZnk+YoidBjemon6x3tTuo1r1R
DGF4fvauHnxTr4EHo8LwRj9sUVYfNzLm5XWVgb4ASQ/Uy4uSNIsqzHWphRn0eOD1pV+ijTskW9ND
b8IWpcKVvSt6x6+k/RBL24S1u5LM3zpXkwunPjWyydRPTH2sp0999OSSt9unbmmbIALvZExP59B9
gj6i2ZK2ZazrJ8L8zgnSaXN7/BVFAzEhTrWGeeCNLJhXgJaEUQWXHUmNbUMP2ROjYD6QXHQr6wSc
ZsQ2MQUOmidMwgwVIyZGYZ6Uun8gSvdMjOETpdPu9lz4t84CJxxhH33WLt4W4EYS3X4wEqqNptYm
isS+teaDZfxu0A4Teq9M32UUBUmqrJF4ZXdQ86ShTxnHFF1GwsRoMxWFVxjWqSRxUOtvg4yjdmV7
EMvSYQrwzkQGQ9CwqXbqgYaxfWLxW99Nfvm9RklnZZ1vr9zKPGBvOdKxCRRFUEbPFdkyJscpM8U6
dd5OVwLj3qgwWAuvhxdmkeoeRdAWwzP1zUL0JZ0kqYe17zeA/fiBJgJ0VuGKralHajUMrZNdl/5P
J5XVPqwoMI/4qaYH+C64hML6pF7Y1UWb2ad0uNQkBF6DtvEcyd23MgkL1EqcJ1RHR/+CzCefkKcq
B/ukopLeK4Ms+nn3LoMrHk9vpHpBg2jxD7gyV6NeEG3oqXMytV0bb0wZIPLKBBADweqrHqcGEPMl
ha72RoxQ3ilHLw7Sittke+8EgPSNXiEYEQjBbswnYLcezQYggJ6McMOKgGZ3X1az8ReOYIiLKkM4
4aRqT82vrJTYp+VhBmcWik/4OdYNgODNP7/wegYWTy089TnxqTe9eAN7cbrvjozYZqmuc0H896uN
Nms37oDOHp6SaFs+KsM2udsXRAwHx00H2KuxRFwddCfuIpqh6MQrAi35ZpuXqPM1pkoujqVGIRQF
GXhiANxiAdnToHlaS8wqOk9mUIRPsXm6W6EwPjJuOlhZgCspLFRWDTplbROdERhMu0MiAwVb+354
VQjiIA6Cgy0orNtjkUqDRGelL45WMzymAJaU7IVEhqi0BTByIgZCu/OIftpe3XmOTG+XElCZjve8
61g41XCL5+rk5YmnFJ7mnpoNaq8bmbZy6z+/tufD82Nzpa2GTooYQRH3NKbbXh8CI1cDo31pDCcI
DZD+3v/cgzx4I4Zmwt9dgG82EalopxMPkMvuzm68ncSOL0/ffHxhPrY3ZayoQsxnAl3OJmw/qfff
d3MRwn1kjVluaClE6PZOafxKf7h9Lvj/i1vCYak5EJlhL+7TcBpYNDmpctKnAZQD8DvLgxsd+vDF
C6O7PVzEia5k6fPtH0ia1cMIWS47IirsFbJqgRX1RQWLjjQ+Ho9IOwrOQeh0jlcpVnhyv4C23FdB
gn17tdYEfLzWUMq5Au+pRib4TpwmPLHH0vS2k9FvbwtYOSHmtQD+AVcnpEZRBatDFp60JN1HrfMI
zhgr39T6xtabQ2i4kotqRYNn8oQDbytDltkpJpRZ6s84bQ8kzg9jlv26Pa21dTNRc6Ah0c7x54SD
0g60qEmOaSXZG9A3bEnodnV48JDgXQNNXgBEJ7lJUCtQhWBO+Fag+b64O+2HtwaKi4C8BLJSeFWC
YvVEY9R2i/BUdyiU2lH9bq/WxHtWRckqop3L0Bcx27G1mWedjHrTaUGWbW6v/9o246XEA87Aul/E
ObsSdQdRZZunLCpeUjN71o12H1Hv3qQ/f5JdiREPeFyXfYvnIXB2Nuo/qqwpkWuJYKtmwwsBDAsg
40A49MxTAUhGSsAe7yRBZOGikgEIrq4XEANgrVwkSMVkXwO0qKRMEgs9idMPNfU+MTQGNUmyv70t
a3rr2oircqIJVGUIxr2rmtYB1rV90romYOWuz5y/2XgPES6emOGFVHN7AtwKUgFeCYo1TSDlocAS
3Y4yI7I6jSshwjRMNc/MvoMQ4DEjNfOWk3vzb1yvrgQIr8oqKdw0iiCgHXN0UyT+XzgKMwGC96ay
Es0bfJmAJLbxPjne/e8Zjj8GXGqenUbUVrCzapklZhw6xskop4eeKNupkry8V1R2JkHYad3s2pAT
KJ1C5X1k2zo73K9KMK4GrBRg+jSUEQmqVGaVrjbEPkXh8KCATKAcqK93u7uPBNgWTDRRoI4ROGqC
LumMcEzv0D5V8bP5Cq65+4dHBBSUDkDkQrZBSL7lNguHTi/sU598cV8V4/0vhkcJIeI4vHhYvCfi
UiuLvoUeIVxsfCfjj9vDrxhAR0Npp8fLhbxFjWdkeHk2VYpysr/bVhdomR1U1hiUniytvmyaRZGY
ruG65hD8qN8S1qnUnGyarFY5qWTaqv22KJ5U+kKGPdHSwDE2KgLibim5PlZU+AM1HUFqDwQijiB0
0mtVoenknfrondrW1qyqQxbd/RBEwRh8t/8JEa7yyFBBvcaFFNZrucvuLo0FVjAWDhWRHJN9ob+j
oSrxBLTdk5OCC6+tP6WxumVd/gmArpInMz8KwnWI2geU8qDExkGbtnBU0r5OJ9KG3mlCv7zj/bDt
Y5g9GF8STVYQv7IxXJ2BrKRZyM6JqRLVJk2NywWOezfua7yjtBptbEzf31bv5T2C0JsGdmtUpqBy
UIwqDYplTWWXN+fC+Jnvreqf+4fn3KAwv6DRBir13IC1YK0ZhsJlZ2/47MaBVv7L8QUDGVZTadQM
40du4Fzupmb1bBC5gP+Qfz/eNoJ9771pmIbQiy6j+lBbO3b3FQtMfCw9Xv+8UFRcey8PUXHkkPrc
HRw733q1DBBpubkf7jO8aFND1FNMtSv6GCIcndMzKuC9eKuGd0f05uMLvmejRnZoWhkFpE76KfdJ
QSUClocAKw/AA4TTEH3WxfSZm2rR5BZNdS696j9NOwZex2v5ze+3tXRp42FwuQFBHSNSHGLVaYwq
f7XoMnZm/bfUNIIRNbohEvo5lSWEljvyYdptB+htHiq0+O9Xb02vruPeqprmHHd76vlUhlgoG58v
6NX4hHUKMRqMb0SbwfHJz9sLJRteOBCD5YJMsWfNWUGO1voOlq27H/uoKgPgDb8DUfYnlsnZPato
6KrNOQewd/2ggTn+7hkAyhfvYmgUToSYyyiLziTTyLJzkn9ttsXdvKnwEHDakCpFjwGn1Z2v/2S7
o51XVXJu3Q0DG4LEWq+ch9nwwvqTSIH8EsNvMus7fSjab3evzmx84XrLcmaESo/xdQC1/Kdy493t
8de+3/LgCNictArB4fnyjKOmT5OSJucs3prjXgu3gy6JDy6jOagp06BFvPoV7zzhRmi93I0mNUlQ
UnZ2SRk0dRw0CXCIXQdFOoXfyxpfV84E6jpRBg0rBcYW8d1qdmVWT26cnNVe9Yv4oe7OtxdtKcAD
GAwyu3hKIHkoVnX2LET3qGKhATV9C32zufsRMx+ei78yGSNJEwRiMPyUDDtrGP1Sa0ClYku2XjYL
4WTgxLMSD//iTP0y2YAc6PYicc2fO2bzWQgnYwLeIB4aGD4zR98yvyjbsf2KWty7zQeinMiA4y0D
bxm5yvlioTYPEBMkG851WflORvxachWtLBPPwaHFEhG7ZR1QmYEFsNWH9mwHZvuW6Xd74pxhBilK
MM/C4xffxEwBG3yXq/1ZI89l7gVxVNy/z9zZR0WFygkLRb8V2YZ6HJk3ngl5jPaxd3fUjjv7f4YX
HMo4GaI46jC8br+3+dne3lajpYGCHwYADPRQgPQOHvF8f+tqpIpll+oZ4PLKY6lquY9QlIsqoaaW
4nCKe40kKziJ8eKzLRjDBeuPmeFdlFNjOlPt4XOmHW5PRTwRH6PDvQOBN6Jq8G7mU7G1sZ+Sik5n
Nx/dVwDLV0dNydjepipIlrM0pMFtgcvpYCoucFB4/htlNcLata4zoY+C9Mf4a+luIyp5qS7nMx9e
uDtiVLYnSY3hjRFUT81X3URD8C6WJWdksxCWLVXjWossiOnMoHL9yZNomGx8/vuVucWDI/IYwfiF
hzT1+MQyyatCVGF4liitxdlDlTC628SsqBbi9dsNfXfU6FnzNq6KQ/52905fixAjFZERK2mN8ONR
0/2aBrHEy1lZIs7qgHYYjx9D0QlMPKOlqZF3x1bdu8WzJ0uJro2POgMkFXgiH1WX8y1olVorGxJ3
R0QggeSW+PcvDyooPnrwDJwGTXBBdEAduQZA/I+86Y+gVzf/5/b6czfs+rLDFiPtgsc6Ln4TBVKC
jjakY8RCecPRqh6UEF2afug+4K5LlfNtQSsrZagol0eAABjPiBDOVwqFuxlOdNgcie2H0UaTuB6y
4fnvV2chdVywnlUYvs/elf67eS9owcc6XX0+PyrX44+kK/oe46vqN60+Jsfbq7NikVB+gJgpItS8
u1jwlhXbYu6YFu0RwCrfacV2Tq/4SuvswBEg8TtWDvVMlHDt5UZuINift0dCd1r3M8u2ZRtJZMim
I6htaXWlbQ+YjhZvwmSjZFuP+gqRHG7RP//Ykz+LJtoOsGiQGo3s7XGoe5+Uig9UHX+yWJCQ3xp9
aIhsWmuHBY4e3yh0HSw670a7ApliVCfHKnLC75o7gLAxrlLzIc7C8WlI6PiYaX0mg0dY1DpjohxG
AkVz/0WIE5ZTqRLUR1ROcqzr1HwF67gd4jYpHABb9OBdcbzffRO3uzCz6XOFpY/9QmlG5g+u3e+U
ugXPXZhMBYhGWL6rLSeS3BPL7YbOojjZ4S2JaCnhv18fjs4gpKFYF48e2LBtuk+2lWzqUsais9xw
yEFUFi0l3IqIz5e6mVwrZUlytJvnZIgfCqXa9IC2JMBJyI+ozZWo8ao8NMCiVRR5UfQSz+fFOnRw
DgZJjjSPfdSyPzrpuz58VuxtWD3ofSwRt7Rh2GQd7z/YY8SQxOklY5pbwxRjm5Nd6KsyiuHlwYd1
cZCthItoA2VC2KVIU7t86LLkCOKRTeE+seJtkj0K1jTBwzWrIh2O14H4qGGsMusY2bJj5TRBBVy+
sDvDuAVpqmxuW8yPUk7h5sIbSUWCA4LQ5yD4iF5G8yyJ8/RIm4ruHfQPE99uNPuxKnpjO+rA7W1c
E0CXdGgP1EWLdqZp0Q7kO99QX6v+6rIJNGVKpXwqECbyk8xLUbmb01+3v3O56qgHvvpMfa5DGlrF
Qoo2pSMb45fWLH4pIEnRO+fhtpil7nDeLXgKwC0DZ54riEmSZvBGHTeT/uZo27s5ymCBHHD88LZp
FDR54mNmIo1lD7VeH5udEp696nj/1yOTji409JIsE/axruXUZLQ+Zl1gZRurD+4fH1l0eLFw1PDW
Fg5y3neOSruUHU3ylBza/C8W/3p44UoNE2aVBsPwo3W28ncqiUOt7C1H4OG5IhSvLLpkx5woDVFU
dqyNjZtsI0cSGpeMLybuKFMKEocYv083Zuj3Eh925QRcf74jHNSiIVXZA97naDL2kLXgr/SaYJyc
w+09XpoeDS8UGB4UiaJY4iMnenUJJbQem1K16mNhHSZi+VN9JFYdeMmP23I+IouC4UEDi20CAMZG
V6mY4y6M0KaR1hRHfI0RuI1rBFphp4FXZvouVogXVIDo2mawXE+xV9QbOxs62CbgGP9E50N9cuLh
mxGO+e9pJMkr+Ef6c0ljste6yH2liTPsWAIvRo2GXPeH2nBkDsXKjiCDxlEQeGwFVQVzm9QrualG
bpEdu7Z/MMENf6AZmTZ1aHy9vVZrgtAni2w9iq6MxYVt5mXueIRlR1YV3Wf0YKhPDpgB3iatkvWU
rGw/dh21ryaqhJdgHIY7ZCSvlOKYDoc2fYiq5468jZUkcrByVHghDr9AEUYFJet85ZBBAuNp7hTH
ijxr7i6VNXqvLdj1+IIloaDStN0S4yf0Tfc+0eTFTSXHUTYFwZk0aDugYxkiVG0/vtr15vaWL31k
dBDhqcp9JgupF8HL8PJWjxvbGI7E9HXzG7LNcGSi+Mf087ac5TR4p5LK6X0Ng0e05zvRTCR3LMD8
HMvkQLZpLbEmK8Ojzo7zjaOwFolDYSOYTonLTDYdh/Z3fKjv7fAATwl3WXCRom4euiTo0dBZXapG
Xndk4Ksw3ou7a2n/KwDYTigLRkxw4Q90gJi0raw/9uyn7vzM7r5Q0RWByC+CEvCVEEadr349TsgF
KyMCdFEYpHtwEEgELA8CBPBnFor4kEcyBC3tnTRCOTAdjlZq+VF9dNVTmN/bdo1FMgE1iMoulP3j
XhUqVjL01CUOJdaxAScq7F8jicAvbRIIEQEQhJAsoG2QhJyv0tRmMXq1cvtoPTP1i1tl29Qrt5b2
fvsoLMp9+DwQNMBpwJJxD0eQE5phE1PiHOv4qP0D1G3F3NW/u/EnkJsOUSl57a0cDUjjsFCI4izr
PPoiRuB8hLQ2Br7ssSz+YlswGdRKIHmLS1YMek2R55bqUDTHTLP9Tx69F28Zy4XxkWnjr0heiDVf
rg48MXUcN80RdeiBvgWJlUR5uXGYewg8cQulcnWgEqCieS4AmFAOQSt5c7TjHpWurw15ZeWTe1G+
VOm0vb35K7sxkyXoWJErsdeGkKWUCKCSQKH31u3y5QImCB5zHg9DiOzj5qCY9sim5mipLy0zDm7a
+YOjAXRGxuK0NhckTIBqhKp23oIqrFud5XjC1Iim/qex95Gzv3+p8DyC4fLQ94bkzHz4CEESJUpS
HpXyW2drs7v9dBRyXY0vbEWpxai5C5P2WExPShJkjqT6cU2t4N6iywovgWUwu6oMUIV1aXdMzF/l
+I3FP6v6R6Z+z4ffliYjiFoAZfJtRzcEShzgkAA5iVvoK3/a6pR+QhShPXqD5xfmVk0O7G0E9mej
vttZ4GUPRfZY/aA0qMagDzdJfkJrNd5v6LC9vW+LxnHxUwS9KEvPa3XFaI+jU4Eh/aVTvo/ke6K8
pBnn57Ca4xS/6uR8W+zKFYQDDGQRVP3CrRRhZAGgb9R5GsMMfWXfUQGDOpXbAtb2ExCSyKlBaXiS
c77CQ6UaiglowqPjNFtKDrVXP3RTHejmIffIrnS/3Za3OiGLtxEAp4O3DM3lqS4lGdM8dgwt67VW
ws1QjZfubrQUvlt4XiAagRgWt4JzMf2QFFSv8PwC8INS7RVZMTb/f9G6ou0Wnhk8TAQ7BNfAnIAm
oURhfVTrZxbbm3783LrPdvXa0GZ3/4qhcNKzef6WV4TOp1JUZthGuo6HfUyN7WSWuh+PPQUnqCMD
puWbLcwKIJK8hxyhFjicgigrtEqbDH177IHv9bVIh/9H2pf1uK0r3f4iAZqHV0keem67d4adF6Ez
SSKpeaL06+9if/ec2LRgwjkJkDwYYIlksVisWrWq2xjZlyqZrNhsUhWF+8oaCiCiieQqsCZwGs4n
5gKY4xUgXTtqDSCuOTjc731zny0g+Lv5xYS1gzp8FPbgOpQc6Yx4mT0uIkifbljfR6PvhNc3aeXW
8D8gDohr4uUhU3B0RpIX2ez1x6RKcDHFWasqTBMaJe8NEF7QAyj0Zff2gDDCK62cjn1abMFSGHqE
P+sj2Y9z8EK96sm1mibUU/129cNTFg3W8QhB9YEunSRTT2e0IlnGI0+s0Bu+otVylM7G7esn3iAI
HQJXL2qwznWh5X0yWjVie/ln4/vyfuvmIFqP0mOYUdT1XUDqRaWqXyM/fRxH+gCn6AGBLMW1eGnW
zkVI1/pQdX7SwWCCC3OKlsrfoyf5E9pGKeAipjCP51oAOXgt4NTgvXkBgR0abs8W6/IjS7oKvc74
CAL8xI68ZXj2gurONr6mTRd3ZrrxWzd9bBI6v6c5Kb/76CqxDag7hRw0K7vWtVNQQxhjWFWlHQ+l
n24DZqsQcpfXCzhUsZ0CZY7Iv3yBpyab7HlJ82NOil1qt5Fv7Mplvht9fufC7QUy9fper+SpIBFW
UrDtiUCcpEnD2LAABKXkSJluRLZBw8p8DOO+DmKi19PGY+kUmlpgxcR3gQ5LrR9tY3Pc4XTcTH0+
KC7YFccBHySIwTyAKFE6Ll0VS9cgH40ysyMhn2aGZJ2+aehDldz701PWWyEz9E3ffg9cVZL10r6i
+hrG4oM5072oJ88Wc1oaj9KjA3repeZfQDzah9nktyHtrUNpdbFi7Vd2G6EvBL/Qi23FXTPNui7Q
N5oc0VownLuHpaZRFuzHzIlt/mXwt7b2hH5ZsWXeMxBwl8bXIADVqhMjfZnPkVl8vf5Bl1ZZVBqg
pTPeV6hek6OktABNx5KMFP2Wt126T1WPxJVTfza+dK804KcMdDrQY98caFeG3dCEVMlLq5qFpEA1
dQKKon16THNnUzfvhpL4XTEPW3LKeDG7qTN39Dj7UVvdcXPnqQCNq5MAU55w+XDpy2VNqYXXWtHO
9Dj+JP42MBTPntUZnAwv2d8OzmbAwLB0xJtwBCoWFHkq+p4Ljm/wkIqkOzLMUClYNWkfJsdlqavZ
9JjP91NQh72zLcZH/OvZ+7KgMS0jbzjYy1eeqMj/Vo4yyFJEJSmMPt53klErHZM7rV/Toxk8OnSb
L0XkwVXSX1DNobjvV0WJK1g8BxDLlkTZ5ohkgN1go+o4TeKBhkmyp0lYjzdnfCzwwv0RJJzRk7fd
YDpNadcQZBsHv37q7m4/+y4udgRnEVzz5IQSn9qxMXv2cfYHup0UCre6TK6F7QBRNB4A4veTr2+n
HvWyTkuPmhWhZ7X2bL2ji12p6sq3ptd4+yHIaXwksyWdc3O7qZmNy2PmsRcgZxuimv/6Qq3O5I+I
i5xVZRTm6LrkmJYb7HZlHvw8GpMNU7qwYkcl5wUc6P+dzMdNebJmJJmTKXMDQDSMsCdbNm5nNOy8
tRuoOKanUiRT0NZd45ejT459Hk5TWKkSV6uzwDMJDwqA+gA0ON95qvuTprsZPSZLZCECxcOyuHOq
4/VdWd14wLAQZgEs+wIoAd7lCvlFB7uCPsxu+tnjd6BDuy5jzSaDy00QngPCAFHnM4FvNFizU5dH
tJsy8u2owoaurdTp+OL3k/0uW/BWLUZXHpfgkwN21BxBuxSIfBqoOgZ9PIIl1Qo+QoSISwEEJONK
6qJIcs9PqyNhWRd6k/0vy3z0FjEjvQZGf6j2LrBZ1Mp2Zd2HfWOHnUU2nXdrCRmUD6WH6HgMk4OY
ihxOyZlNfZcgsWUmm9bb+kThTa6oRQCPBg4NPFs8y6QlpZQPTeMUxdFk9XOdJD9o0N8VPFc8Z1Y0
Q1QseXjJioyp/DQ3iw64YdJBTPbj3VFlr1Wji99P9CJf2hZ1iG1xzMxX6h1VoHfV8JJaWxxQhRZh
s2OwfAk2Lvt0/dSsbcEp0Ez6+gm9r9K578jRGeBq/KM5/9xapymU6FSCNIEFhUpm1wgJ9qawN9OX
WycgyOmQpRFVoAJNc778o90GcClhWkza7szy02AaILv/fV3I5SacC5Hux9lte7QXxa0CDGbErH/s
ShUyuNyHcwmS853wROtsDglsnNDI7iUIIreqbz5v50IkY+92XemWKe5f9KzP6ruletBVXLyr80B6
VBdE3siSSokzY04XcEdgOzxtuyxGOKEuPjBvfglhHidCpEuRp0GNiB+ETORLnv1sE0VgYn0S8FEF
cNC6IF5eiO00Osc6aSaN2qJBZT9SQb3q7l15TIt5/FeODLeFzziAMxwuRP+VDKFN47LZ8X7rbycv
6r6gbaqpwtuuJDbPRUr745jjkqPqmRzzsgvJnAFifzcWjxoJImSHKmPLwCJL+7fr50ccwvML7Vyq
tGEWn5Z+4pA6ClKwuJ73Hgvt25NdAEmgrBBMbeh6dtFiZ257L+0rDcs5gQ0/eTayH9ensWYG0GIv
gKMvwGNy8Fqz22rIco3BTc5CI3lNsvgvBDiIuQq6WGBipN1Zkgkti0hTHLX6Pgm02C+H3XUJl/6x
DRuJ69AAbwYiSpIE7s3mgkbD7Dj0MbNZ5JPHur9fSB4F+e2TEfFJX4SvkO+UsQBFAdy2W0/pMTWq
jZU9eIurmMzKfpxJkCYTpMvMeg0SqufW2tTe9vparQyPSL5oDGLjhrkIg2ukIXM96tmx7O6qqKY3
O6y2jyguYmgoO0feT7oYS3vJDT1j9bGZ3hm47L5f//oVI3Y2vHQxorNlnXU1hqd5lOB4E3eK3Vt7
kiGHDRJMUBHBsRcEc9LFiCDpmPjdWL3pdlyVdYz+DbFD9r15swt3Lke6Hm1O60IbIMdr36YaF+TP
64t1udUIRiBFFCAgDVyJnGEL3IIBZkXzt/6H6z4gM399+Ev7h8iawF7gMAiuCklRB+JN+oiqIECr
/H9dfd6SVy1rd0hy/Htd0OWmQxDePmD1hMailfi5N5Q21J/zYkiOnfZaDtt02boqp31lqdAjCX47
IFCwt/JczMoKeI20/1vKN/X3SlVJqBpeuirs0m4qM8DwWvPF/173CqjNpf1DggQgG+Q5RYMcGXZd
tl1ptmbH3tCyyrLesuJrwN7cPE5uNx7gbMGrRkDecDZsaR4OEMze5PTFW60VoeNqoedtru/1ykqB
sQk1IrgwEJN3pAM+2lbuDrZfvr2AvzrkaPP0v40vne06GG2N1Un5Zi8be9qXk2IrVN8vnWkgvCeE
3/H9Jt9TvvUVy7NyFJDNxrVjoZga3UklZ7cxGh03acXeiP/eaG3oEACKc1XXhJVJnEqRA3Ndycu2
MGr2pgVh9cP9cvMWnI0u2Q1qd35VuCV7A2PFwjedffMVBFouUCUJLjwEYGTw7dhM2N8gZ2/oU9qQ
eFYxqqzuwcn40hZbRtJT5mTszUM/tREPgqhQBZNVIqRt5ouGNBfyyW+mvQ2yOPd3hqrT2Yr1Pl0l
GeVBRsYrD8DDN+p7488ZjcCPdoPGGE5XJxu4WMv++q6LVTn3lkXbSxCsoB4OvSlkN5ODUEJbUDzz
5nCO3sokTvmucn51Dg1L62u73EriCtgHSPyBEYMwuM3ypUHNpCDops7eWu097yY1i8XlITkXIH4/
CZEMQ8Yss26gZu3Bbe6aaXt9wVTjCx05Gd9xeFrNHEc9WfboGKqEuV3q2Pn3S5a2SkmzDAEWKC3i
2orH4Jnd2qQdewAbLnwEx4JvbkrGtkycyZpRYXBEEBYArKq42ZhjfMR4kblG+QD8zfMl8rK0KtIi
dY9m+1zvXVVd++W1eja87Osvdd3aJdWcY9XWz76t/Qo8cg/KqBghjZ0/kvj6hl+eSLzBwMMBFna8
82Hfz2fDGjZwY0jmI4uz73W2HctoDhQyVpQK1SiipgN5Pjz3pAu8ADlz0DmjfqT1K+cbSwVPUo0v
uWoN2s6bTMP4mXWs+1fTUuy4WINzKxLgISzoJVD/BT9NyD89FEQ8yZg7HsvqYOlpe8fz9hmUur9Q
Mfa74e39YPfZfZC93bg1qEwBFyNwUFA1sLBIW5MZozYvmTkc9Z6ElR06bRbq3ud0/PkXcoCFQ3RG
9DuUp9daA9d8HQXROQqhuzEumri26/BwXcrFyccsQKNsCmcXZKXyGy3hg9cUpBqOtNwhhZh5sVXf
arwgQtSnC/YgAa2Q7khU6g2ZAZbrI9pSL1E+xHMWzApduNA1IQOhfPDLoKEAqm/PdYGMPkNnKRvA
y2RX9PvP1xdpZXRUGKIPqAAkXbJN+x04tbS5mI8o1h63abP5n4a3pI/XxnHs2ILhJ//R2A3kVjcU
lZgnXy9D/UmZWG47Yvhe26Ybx759ezE8Unhg4hb1L9LXM1YDS+6a83F8NKr9mN5dX5wVBT0bXvIQ
mekmY+JheHQQ8P0nmzzlt3JoAamMpz1ofQDXQ12Q3CnC1XIU1VWNfsy7JCzu50CFRl6ZAwQA54TT
jIMgAzX7ipv1NGc66gyTMNWskBdNNE6qWMWKmqLNJC4LwP9sQUl6fgicAAEEnGf9WLhxzWNfVQSx
No3T8YX8E4PLRz2oM47xO/2lyF/LarvkCs/wg/3kzKhjL5APFvuAVNZFLRgouH0UllrLkabDcqfp
db01O5PFSTemGWxtd8g6f2f7w1fcLdPPxlwInIlJb2hIqWkccy0vI9umhr0B+2eGSm+fhkHXkTuS
pSwCZrF8zros/4lXa8BDauuTtjXBtRkP3uTe+4s3bsfMLHeI7aFdxVyxbyhiZi95OdUcSN6lf/Z4
0IWG5qUR9SfnSC2z6+8Lp44Dr4l7a26cyNUnv4i9cu62SafPGzKn2gFvZWs7MCPboYk5i2t9yrLQ
AhRli97F6XeTZ9Mh4c43rRt56AD4FhJ9HJZN3XkA2ZpppBuc7ZegXUhomcR4RF2hFvbt0tdRq9ne
l6zK2MbO8uyhpaSP2ox1h7qal5+pbY0P6DcP0EuxDJGfG1nka52+bcEBGgED2bwVPkmjllVd6BfG
uAXBfhf2KK34oU8eKEUq1z5yq16mEPRESTTPlfuCZhjGD+r7nEQ1m5sDbL+eAvbgjE6oJUnwOhFO
to2Xfu/txFcBbC+VEZc+Ti6iclB4PCbOlbFdmN3XY24fLRvcFegbmG8S98d123N5oM5lyAo/DU3b
AtRxNPI4eM6amy0nhhdBJgQ5QO8q19T6Vm1VFfeso8u1+y6qgDP8i+8HBkoUHaOXmWzYNLtqyz7F
1qVwHHzzOBDFDFws8vlpxQxOBIjfTyzCiEKf1OCOfVycX2AdCluShg1FvYcqFLQqCLFLlOviuXiB
qBpttGNgSWMfqf828Z2VoOv3V99U9T5aUyp06AWEQ5jRi0S6OzJzmvD+RYVaF2btPQHgk7Sfru/K
xVNC0MCIfiUohoPbJaPDGoquG23LrePCrXjxirDiz419ZwyfCP11XdSaAgPCB3An8JTAOUh3c1fp
U68Pk3G0mn+49jrurg//kUyR9x9dduDZIb6PB4v0qGMmzw0jGY3jwHgYzL9pM+2QQ4oyeh/4P83u
njSPk55GWudt6vqB959QqhA2brtZyqNRPk/9c9n8sBY0LFY4PWs7+efLwP9+rplLN/hWGmDmOXlt
lnAGAm9UuM5riysKGlGkiesWTFXnIpjLSUGm1kRV9F6fH5bX64v78caTFxfuAg6Y66IuUKaS0fVB
N3GlQectPfIqPyxNFnHQqpE9Y11kzixutCfPBwtdGo/TltX+1sh/JWATSKtvVbk3272mcscuJ436
V7Bpg0NV9EaXQymeu/huh8fYQSdtFFJle/fLg34+vmRya2PMSUcw/tz8nixvY5v9ZmZ3fj/e/GI4
FyTvXpNYdj1BkIWrCbzONF/C6xu4OhWsE+BggG9cUAFlIr+fol7uYNvVK4ie3vq6vpua/lvLVbiH
NVGi3AzWEWRHF8SgAx5fST5ULthopme3T3ddiwRuF7DINNNP16d1ebJMQWH8X1lS2KCt0j5gDLIG
7YuF04zOqI0qnb6mZYjYAjaH3jKCRfL8aNFgmuwkT5xD46FdYt+HqsZqa5MA1Tay6DhAyLxJ3kOZ
EfRVwH1zyGwe6rDydTJtcHiuL9XqNIA8FD2E4NTK8C9N4/NCwW57CEADrIcamqVcF7A6DXGNoMMP
elvIUSmX2F3i9AumMTD0HNBjSrp/Bo0rzsoljgMdaxD/+q8c6RHmmaMPeKDuHHI/iQoBZy6MjdW8
DahAZJtxHKJZr8Ku+Gr5n6/PcGUJRf0q1A2xA1QbSRsVGCRD1YurH5oUL6cwMLbXx19ZwbPxJXuT
pT13G47xtSGygtimUf7luoSVs3kmQXzBiY/k5TTI0x4SpnZr+P/mAFX+ICpA/doyWWCsxG0BUBKC
LOdCxgSssf4w6QfPe2HZy81VZYjXWihPR8IVta3wVs+H11K3yQZr1A+BhT5M44YkfkhU+ayLrIAk
RAqsJVOt9XqCOeRLiQfEdzZXkee+Gs2W5PuuUWzL2safTEk+Om3rjYZecWxL3rx4pfvuT82932ab
67t/KeaDaEyUjkPaxSWAGpu00WmyAN68yae71AqbQoHMXxWBfApuGlAr+3JqP3PKzDaaZQHiaYdX
4kj3+aCwM5c6jMwJithEIx2EPmWXNUX9fW1RZwHE0Y2Mdku1Z8c8lPzWrmsiEnMqR3zHyVlpocYL
pe5yNECB9HNRtbm/PCWi55YFcjXwnQHqLJ2SvCJgHdRaEFA00cJi1DRd32zV+NLV2HC/R4Sk8460
2DgOiJiYrbLEKzsBdxBpcUGLKhCI5yvE+8zMqEuSIzeW9L2jSXIofO+dodb9SzGihSe1KhMcGwCL
hsWgLVtRSRsGxHxIsvJuNPVobLRfrYP2j7P/z/XpC5/63GE9sxIyBfPcgt1vmnGAl/HBSnZ5d9Tz
JzPIgC5UhbpWRQEJh2JkILDAV36+DIupGanVU/3g0t9z8WUxi3ji4y5Pj2XNFDGpyyXHtFxgJVE8
gFpe+RZHOVwHIr5SP6AuPy7190S44PCujPfry7cuB541MBWoAgwkI+sVYIrS3V4/sHRneHlUkU1m
v1nk53Uxl+ZCTOePGMnMzvZsDmbf6YchzaJCy7uwdLRwMlLFdNbkCCieK2i5gQATh+XkLOOWIm7a
5MbB8/epGddLGCj0TSVBOgsOKmkNxPKMQ+8Bg1vuuwTAS8UsxFfKOn06C8kioQX8UhYLZFA79Oa4
UBGArM4BZg8JEkQ7L17o6YyIqpEw47DY7+jSCI89GBX6uzoFEBkKm4c4k5x/KdKpCsasNA41G8Nx
7yOyd12jVAIkjTJLnTpF3xmHyfkybPtOQYl0WUUNxwBFL/+ZwMfvJ5pkM7dtzKHBPnflQ4P8cT/g
nrO86avXjHvXR03qUu4S3n8pBi8mGhrN2t5GB6lI7dINtVFZREt0GyA8ztC0t+/ymNFaAaleXQSE
AwRZBtZYzj+D7j5vnTowDmO28dMY7K9/sch/xpf9lRQdMOeEusYhN3Ykv2tUFnX1+4GRAWktQu8X
HVWRlWDpmJj4fveT3//z6frXr9k228fFhT/whORry10CNrdlagoH8m7hQTS7u2HKNtM0xtclrXmR
KGn+YOtBDbcc8jKHzrHSToe1nsmdFxQbo3TuZtuPJkMbwpmjINdXUbqvzu5EpnQbOYXf5TOFTCTI
Qi24W8oH02pCr/11fW6rxuJEjuRfkMQtZtYs+mEuP4MTwXG+pelfRC1ADvVn/aQH12h0PRQNMhB9
ehqm+WkwkBSrkXNJVPjpyzIwcbBPZAmdPDnYBR28ZB5n/aDzPBbd+eij12xyF30D5nqzoMlJCrLB
sv1a8c+1jjfA2/X1XNs3dISE/4AwDKKX0o3b6+VigaUF6+nAWXoBVz462I6qtklrGomGLXBWkMTH
f5IUu+ocZKUwyyl7ouSl7Z+08Z8u+wcEIRu9UzxrLjmOsaan0iRjTBor4XyCNFQR3jtoIJGDcITb
TQQfZmPo9V3jjPsqr2O/bSPdX75xzuK+Sfe6ZcRDsfybtn7UN43CPF7WZZx/l2zE5zrtM0vstUer
MAh+Wckd9RDlG0Kd7TMahLpBNomq7nd1h/+svewnZr6Z50mDk2nac1xn9md30uI67zYpUTVnVImS
DmcPQKzLKA5OP2/L6bWe4qrZW6rSydXL8GR/ZRLLqZyXBl109EOCrnfE4NvEZWFdVI9Gm4RzigrX
FNzZ+Xx0SrbtWfnacfd+bsCoQIotSdt9i1IIktHYSllICG+jpkj318/VWrwIPb/xHAVDM4rwZUbP
Ka+DjgRC5dl9VaG/oLY17LuhfZxbVF0XyWPWwPcsm5AjBXpd9to9dipavBxObIpPh9yF+uuHttvQ
e6Jtrg+/ephBVvURlQdqRjL1LvK1Gp4DMFnsdwAnvSiGMCfI6PffLP6eZSpsyIo80e4JtKV4FACb
ILTuZDqUjkGnBQRBkWRDq63+u+a72do6xj+pCmQoLIPk6uIxJTj7LBCLgb/qXFTGqB64WYGVc+ff
rb+EBBwnpZ8f/URHpdZYxIBqbrk2b68v6cqtBrmYHiwE8rhyn0hU0GRtUmT6YUx3LomdLLJU3b1X
lOJMhHQ2ETgdncHG1LSpjIzmC5B1t6vdmQTp2sz1sfVogX3ywFIDlhHw9Iz/owjptmSlNk3mDBEJ
feu6+/xmlCz6T4q+PdBqHCBPxgmZaZqygjC8qYkZj8sGmJj49p0GsxcAoKJY+SIf3Y9ONtDAWg5l
Y3+jE4uBDvxVKhF6awrlG3iuI0uB9jRyzJi0GekL6i0HLbgP3F2j5eGCor/rc1kx92Dj/SNE2g2t
hBVGUnQ5+F4dahXaZaADtPFIc4XBUU1G/H5iAFg5lSSgNiZjb7IuCgrUMCpErARTRIsS5LyBkBZ5
73MRHAmYqreD5ZAadzO/h8s1fp6cm6OUYC8GXBN5CgHYuIhStr2beaO+HGZj17a7ttwB2nN9S9b8
SdAjg2jbA5QRrKDSWhHd6nAdzfOBmOY+0dMwp8PLALTOSLzNWAFvbpi7oht+91b34BE7Gtsi6i3V
lq1YG3wGcAqIS4GNWIam6MGo+XZjzQc3IoxG9lJF1ye6ontnAiTdywx7BOTYmw82MMhsU9vfO6aH
RXsrDx/UG9hBlJagYBPQC2k5ky6tR2TiwL0ODr4woAprsOYlgK0Zb04bRciipPVc75BI7kEyp81w
ZUZQn5J9YxVR5T1QS9ui1DWcjWc3YWHrvOrej9tXEDWuQMUAgIF7VVL5ITEpgha6dejcbe//8OoM
cfmtpUjhrxwsZM2QX0RrE6RMZdaZEcjFpaGGdSDssejbuJ1zEJD8LqsgQtb0L2YkaLPQu8xFlEfy
+03w4FrzYNkHf3pZknd3eGEG0GFEBZFZ0z2gPIH7AapkJU7QmnbGGIcc0m1s576rQmsIUcyh0PG1
Q3QiRwbFdrPJvBEFVIfJf/byJhxuJrWHdp8KkDw5JJuAj7IgQKf3qLBlKgj/JQGVEABSO4EatoEl
kjzRfMpA6Fbp9qEymb7rnKENa2PIQ2S8i0crRZwoWbpm17jVu9lNRoinYx11wBKEQTaqMjjirErO
HY4x+tODIQRREVty7gonsapMm5xD1T82aN5QPhq94om3LgJ3rkjao7RbskpD36dAHdTOwe3qd2an
j35QgaDW2VxX9FXFAJb2P2IkqzTRNFt6HWJyG3yn/hTzv4hnYq3+SBBH4OTKLXK/z123cg4MfXw3
3Hy7PoEVlx6Ue4IbDInty8dRbixZXtaGfXD72Eke7BxOypbQB/RKVMJpVvfkRJakg3PHcVXgkjqU
gxkyM/Jr4FxVIaPVHTkRIunWMLQz6T6E9NEv/XZ0No4RKj0csJvBOZUdB5cguT3mGQwO9tqqtEfT
m++u78iqTTsRIU3Am0y91JocJzWr/AfU1naRq4GKuEO3sLC2S769XZ6HkL8LiDNuP126fYDX6txB
LyGvt2M0WAste4jQyi/ubsf+Y8EM9FgTiXs0LpCMnDfXXAvq2j5ozb4m+/31eaxtPK423AR4+4Ah
WjqK1HJZURgpTCgLtfdCRR+yprynw0vnsKwGd87Ftoz2xqHopf3o2wqY4MqbF87inxlI58NPiwQN
vDCDtNwBL1+VyBDsS22Dwuwq5KpmdKoJSXqGvg5Fig5n9sGqfUTAnyfDALBvd31TxCCypUf/EcsT
6UpUwkiOAGio7L60iH3I6duoof0nSoNT57tpfa79VwozcF3c2tlBTh2IWbzgRZOHc2OJev82AGmX
DeSJCQj+Z3fU4nwiaCS4uS5IDHQ5rz+CpMVLwO/NGhOCZtTi3XeEvwwZmMloxj4XiGbEfmOpfJ1V
/QYFAJgqDfFXOqdV0E015dQ+cP7qZ5t8UPhs6+PbeKMi+IEiL+l0VpSL1nuLfXCyXc3CYFIs2Zq+
gfoOFsAUOi6fTyTPG5/VtXmwpu1QbpGSoEzxrFvb/lMR0hll2TQxlACZhww0/kvMzfsqQ12EQsnW
FgqMDwY4DdAwF0m2cyUblhT0yKZpHmjftGFuWEsU9I0KFLimYYKoDbwx8NvwfjuXoue1ZfEuB6Oi
YW3yxb0LWBBbs4Y3YtZuLe/mltW4zRDwEtReIM24YGGaklRzKwNJMTQazL6MqvfV6tZYLkBhyL4D
HCSdTLNtg2U2KLr7zWny2Su4tWmrtshDZ7a1KHAm5y+uAzzxET0E/Q76H0i7NC1aZdhWZyKX/ejV
z47qOK6qswAhgnkcdbGO0JITv6xF+VHZF7p5YEYRNxnYiX4ZRGWjV1cNVhOPKB3AUzkY0npoG1FO
LlatdkJ9cWMr0bc2fbE6hbu8JgghT4TIQceCShZpNt3oBrOfY/eH0WARdegnczK70DSArbOo0Ue3
m89TcdLm9I7jkgKdCQ6D8y+4FlmB3q/bcvxkBV+vC1rbJcHeLGIGws2VjJqBRwC1Ag2J5OGrN31L
lm2r4jtcX7o/IsxzRWhMAKuWESK89i4PNvVyZ3d3hqpX8JpvcDoRyRwYZeeTosKKAVC/8G36kNXh
5O3yJLR+J0l8fdVWhUGp0c8S2XGEX8+nVNea2VsaDmvR9POd7jLnjeidhwdCYdw5PECupGkmN0Zc
k6DhdoKmBdc/YHVNQZIBzwEJURCunH9A4/s0yfzCPBjp8NS09DvvEuRnELULx0SljKs6ciJMfMzJ
SU4bQLNnjcHytZv2Z0n2StpXcXpkb0EUT+PmRxAYlYTnEgqHLVUgbOvoHPP82a3uri/X+gz+jC/N
gFETjQp1Yh4Q1go782db7ue/wDfBbf8jQ9KJYiZLF4yQ0SULj7izfIHmm2hbPX753yYjuVbjkA7E
cHGeAMLZIUwb2toY56r2u6otkRzTJuOE1zakwL7nYdt5+6T0/8aoip7FCIAFl+2Xi3G26hH1UFCs
OH3S9Kh94iomi9WtP5EhrZaHmklNQwNLIGW+ZXzbG/th/P0XGwK2EgDCxF85JcaCMqVGhaUy2X2Z
/FvZeahPicKpWp3HiRDJita9yYzeSjAP50Vvg5DwjZ2rGLFXN/1EiGREydDkheVAiKm9CsaM26MD
lgBwoF2FCGqhvc/5OUd17YiOjg4CuRUixe+TrnI6LicAcj+QLaIPCe4yMDyfC1h0E2l9DTFcjv4I
blj2N9ONCeZ2QKNA7frBkycdi8SYeatRB48Aom98jhYMi+KRe2nakc9FFSDYVcC/Ysj0Pg3nS9tz
BCKtek4f08n4hGJ4YK9YdQxaVQW3MErnhhchT6THwZ+GaM1Fk800mahLh8I+NH280H/RIxH1+nr6
DVQp18/I2sbgJEMG0JMI1kkWvmtBI5G3vX1InoBwSEqFgV8fHqBM0YgILw9JcXlvopc7wdtMpw9j
Eebd2198vki7IUCD3b9ooVOOiaPlqD/r5oiNu948XB//8nRjXZDSQ2JFFEnLLHaZx7hPgsw5NB6y
UPvcBQZSYUBWlgjcx6JVCYKZwDZJmutUQLs3wNkfjIIb/9R5MH3TeGbvr0/k49klaRS8Y/BUimot
OCaSmKAE2rLvZ+Ogoatcjyg6qJ7eOffgl3xuHDv0ebFr8/uOv8xg+Vrqn2xQHKC1iQIYKfJFKBlD
z5RzGwDGlzp1bE0/bBNb31W5ubs+xZUDKloD/2d8ORG2VEs66CZAxrMxb9Ou2/AyC81W2yTJbREH
kPzAliHJj5SueNvIrxuSkLSbnTl9RWMbniDloKpIk6byfwJAEiHqgYHMl6O1YLBMwEXepa8k6cNK
X0LQvEe1B8pdR7Focvrw/0TBzCCAh0w7HrjnuxJUCZ+51aev4ELYB4TveJY81Ihw420XakSPu2IC
lsV+p33xlDBdoRTSAbsQL12f8JmGnOc8fXVn/9/FMT87Wb+bRlV8TdK9DzHoHQ761I+GcjLgaCRZ
YXlVkrxUfvXDBodE2BvJbYneDxkIsEMK8Fogkpf0u+3NQkeaXHsxZy00EUZrmULvZPifLEKG5Rq4
EdrZGbSX0cUtmoJ7ERRgdI9a0k9mMxzc1ouHbr5zuRGlmqOQvqaUiIXiVQWA0WVgh5LFd3KvTl64
x7aEvdc93bD5nSyKdVyVg2AoIvvoHXVRrJj33Br0YklemhJtE7pPoKcKB+9ol1+v24s1nYAMAZYC
qSGCe+eaX8+s7lzU/rwkbGPRJ6riOF8ZH+FIUVaDdhOC5PN8fJzrHIwLQfIyFEeUnRfH65+/dnIx
PjC3AAGhVlzOvufaEvhlkmsvvZub0IjRikrNSu8XQMSfBouOsd4VfoiGu90e6BQjLifu74G3UCGQ
VycK8hDBtCZKfCQTMi3gCShNCq3sYu/JUdXNfkDmTq4uofUAQQIFggisiPFITkRlt5PFLSt5mfus
3pi5u0SVEyBSWoLDhTCDfZ2nsozNsvF3KIIFj8uYkF2d6044V0n2s9dptuU0rSOva0CzYgxsBxaW
f/029WNqJAACUjqHRaWhU2I9/M4D5yEfnV8DHeynpTOHeCQ5qnWdeVLc/SvWDzNz0P1PEPZcdPO2
G6PMie4nLxqIzpPc2qTMO+hlpbj8VzcIlwksIMJ+FzcvAlrm4vXQFMtPwoqRqFEIkPG0/3+L/itB
vnuntGYT0zLtJUmmuKQIedhmFVWW91osTuT35cPQaWFrljFdjJ3tDa+j4z/MU7BP3fLOdYZIEB37
fHpC2nBDi3xvFCp+ztXFRiGViOWCEkmuLTGcpiGp4UNN6yfXj/8faV+23DiubPtFjOA8vFKjh7JM
2S67/cKoroEkSJAAZ/Lrz0J1nG4J4hWu6kTs2i+OZgpAIpHDypXIGYd8UkTOkt/+zz4gZA7Ap4M2
UpkNsKidYWK6oR2m7hjrb2VRrE2dh3OAsVmTwgD4sB/ytRBTM1wAzgQSUPyWk/SPm9uDU2ZF8pwx
nCr/rvnuOs13XbabNHPltnfX7c2SEqHFyscNRwMucDjn4khX8gZ+vnYYpycClNGP659fVCEDPd5A
3VjodZMdkcbPqqY3B+0wjI7xoMWuvkodq1kRBm4qMqP/krYBsuJVTR5jz2939uwV66SNPwBjS9Zz
Z8UbCiqFF6Cd4u9j4RkrRu0eyUatRdGm9x7smieK+GNJpwwxmcFHwk9g5s43hQ+daw4FNqX13xIX
7VQm4udYBZdeeBHBw/+vFJk9GEm+PGeZox10A4q1Ip/d8ECIAma1KATMaiBqBx/jBY9S6zvcHcsS
RqJxgrU2gXqrzTBeGjNrjI3PaxXUaumqoJ4Go45alEBMnm/djJGUYMiotIPmkpDNKebX/Sryp5Zj
RriuuCrLslCztcR0ZJAPnsuyrJQGTYW1aSmKRF0SGrRbV7OLtwCM272qBLZ0M4Hs+lec+PvJzSww
rpg5BZY2EydMjF0wtaEXfEV0mtVmWJer61dnURygxmhoEAUXuQBqDUZAGiYczxIUQLCgGDYV7mwH
jJoq7PHCRuIxxkxccHEYAiV3vjKn69OaG/DNunQALU722cfWbtCyTd1kKL7OCnO6YHNOxcmKXw8Z
rVJ/xMs/h+CM626clSnM9dn3JR0svIZ6k4vvzxX8pJCq0l4y+9A/AsB/HyAB6SN3JPuArQDTlh0W
0Ng/TG+dVOG8c3o4JxuY6TQPswFP3+BudBq8mIR/6rQPHVSy4PV9HYfhkTMGDG6muOsLGoOFo7kE
dhbUuJ7Y9xMFdafR1LMKHtUcb3vMRy34vQawXJ6m+zGhAFCp6oGLenMiUNoHYyJ9bvl6fPC1/ouT
B/dliXUH8KymaT1rhuJGyNmOf/YdjEEgrAb+9CIWAxIpLvN5wL73Dvr4y+6LNZdbvfl0i5cq5KAk
HEB/1u/ZbO9QhCCIpVQTuRb3GLRhSO2Amw5G53yPJ61NwXAswhjUumztqRtBDbt1W8xsei9KxTsk
7p3kC5jgq8RRAqbgXxTdawYAdS5iMwCi1nbhbHzjMRl/iJR3DDtA/VXsKsK030M7LmQKBgWM0RP5
MWmBRu/rU1fV8SF1j9WYh8w11hlIgGYbKMw28sYPf9pp4BXEf7vpuyDsMS2WTdmqMaqVVjarnCZh
lSLGm7/knr4OMKO4NuwnjCjeVeO+RWcdna1VIygg4r02mCtiP3j8IdMnvBVpqLWYaEBDPd75zhNB
zJ0MT1n2zYn3To45y9+04H1y7mZ+l47D+rrF/d1tKK8d6gWTi5Gh2ABJn5t0QLDRZ/EhGT+bfkOn
A9q3Qy+dQ2P+7k5l2Bl70+2fNeepBIynylPkUaaNCbJMNuihiwR7i47+67/qN/v3xa/CT0IyFyQR
F3wOsV1MrkGN4OAmX0azXY/dewCPPzfQnsatzTRrQINv2fxQsU/LxJs0YZwU/0vT55XjYHoD+Ttp
+MrOGCq1Ud/6axuzPZtpO7W/YvIYVPY65qrMzO/Zqpc/Gj4stBakw7Jb3sbc6whxMM8dv6YkDHQN
gJEnv8phXpvGvTZ8Le0WAd97y75U1Nvk1qZH/sZMd5a+pTbBBG8LpEmfjluiovtgaMWuqJ9m75X1
u94+NFXUBF8Hez+Pn31b3LnlD8rH9Zz5e5YqXGQZrCzMDmJ98DQITDfoRaTn0ffnsk2b2D44LUby
pk9ac0/zh6mOHKg8YV9b/tPO7spke/PA5N+iYdKBT0T7kQeOoXNzg0T+UPcJoH1u/NyxLyy6rlsL
ji7Y+eCagzUFqRlZ4e0m79OOcecAVrkvwQj2VRd5uvlG6pp/VmGJBYiE5EXTkdcgTc547RzASrlu
48fW4IqQe8GlwEL+kyA9fSMIcfum6VCsA1zRwXAz6/36Ti0JAD03ur8gBQBo2TTYbjmOAIoc0OsX
hl5T/MECfHRF4SAQE1ykx6wStZAG2ekDBbfsnn7/g19/8nVpe+q6CayuxdcZfy3NJ79RjYtZeBYx
hAYJN9HVg/sibU/QTVaflNw9sN7+Yo/dgYz+G0rar8SM15OX7EenUU01WFJepD4AScNIMxAWWed3
A8jkwegJlLcnDR7Fxqtfqn5MNiWG4yhO50IULr6YLIcXHy8/wE/nooiLJEjGuyLSrfu6BI5zO3cK
sKBKhHkuwsRQ177HmIwoLaf+rjPR51ljdMahMn0Vhv/CbcNqkL4U+QUwloEc/lzUnFQlSVKI0odk
zYd2pxPihYFbpeiJsX50wPteV7+LIFQIBHcVJvqghxIzkc4FGgN3rDhgeZRn76l7b6TfalygTJWv
WloX6sUgKseTczkCEBMuTNp1QR65U1Bv25Rumd88+Gz4jrBt77Ter+vLWjoyC5T6yJoj+XRRZeWz
NSRx4OYoU7qgYUzz1yaxD8xUAbEX5WAOHWIzdI8AAHW+fYVJEW3Pcx6hkwjYEDic33mrsG8XFxhH
hFLuvzIk9SMJughIrOcRIsQftp28z5Z7nwd9lHrtdzOpnkCj7Chu1bJMG8MOoROg35H1EHWPqRrt
HO8oer/SF3dg4Aj/RCHE7h8wWEAhbnkb/xUns8RoxdSjA8fKQQQKDhrEhnrPMffyD5QCbIBw2GGb
sJ1CSU+CMKDKk7wr6iIqMD60HL3ImYJoHlRpz6UrhbIyith4jgDzkPZu8KfYsAhjUd6Ayd1OZued
8HTXd69ZDJN7XdEXhXmYrg14MdpN5Hr/5JRJgfRAFU11va5slKaq7C4YaDhpqrr5kijRqQcGN8yJ
RxXnfPsKm1lZRxsWdQ2s0fB1wvDVZv6OUOH6kpZ0T3TzC1pIA8h86ZioU3W5ZWlVxIvE2Gq5IGKe
HUy5Nn64JnmB1/qot3ar2MgLLwK3DChqvJNAtaPlTDKEqUYa3SOQ2pqPhvYYKBIAqs+LzT3RPZZn
XZnxhEU8HMjaU/36pQt0+uulPXNJ1WhmhV/vf1YccVs/rlxF4Vi1AnFsJysgTl10rljBnG20Rtl0
qvq8fGuIXdMafSYg8NlrT2h4vq5U4j8/C3pwvIDXoVsBUbtgijr/9fpgpD2w7CxqtXlX0ftx2DL6
QapjOe4dc8cnlcCF24IHD9EJ+lngvcsArA5M6WVH6jIqdd48gM9ee/TyGiQLlamtkwlcBdcXuChP
NG3ioUBJXLY6Yz1XMe9GyAu25AXlz5+lqpXlN2uHtIl4h+CbAMmOtix5E53JyFwNnGwRdcG4AAQL
0VYD7tQqiFfgE3iuU21DqmGlFcFbS7VN7WSHIp9AjTE1+cCfTQdVQ5YZJISZ7l6reR4fOj/NE9B0
JOwFR2iA89wvrDvIGUOXoZmN9VR/ZJaTrRl39Q0rszp08Z/cxaU9hG7TZQ9JSuLVWA/5c8NdfItp
pFwxrUYXnJ5wAqbAOsVpVys3sdcF8qbuPG9KZFD6EC3BmD1BkmBv6/H8RDPPehiZFa9xTOQAYonS
2FqDhfw1ICgYFxnEJDQ5/Rz8zjjo3Pj0q/gvlmmYmEFo2z4lWa5vBs3DgGgP81dBZunZZWgR/5dh
AfdjaboZBmPiGhsE/q8ua/JjwWwS6UYaFGviYrZ0PKf1HTGsKUyNxLhHL3D8LchNsw+7BONitTwz
V4VdOve08MTkWKMODUwFeaLjZK2HKh+eako9bM9QK1Rs4YqiiwGlF5HKRB+gbAG8fiwsxFd4N7vH
n7QxFMnnBRVGwzHwUqjfA/onE3E6rY+pIo5No8Suwmz+NPIv2XDfYwOvX5UFY4lEJWwAiudwBOSI
iAxzV8dtVkbFBPr//JHVPlAcCvDGwmbBB0BEgqcSQZcleW2pYYETmNU0ould/OJNqmTgpT0TsC40
eQnWvoviUTU5c2NwrYi85G3Ige1n1ub6Li0tABQ+6JhHWuAyv4H2Sz3T0rKMMr5yuq+uqpqq+L5c
wWY0m2jc4/t2sAk2SEH+n36+3M+RBHns6BM+7z1YiNtVbfLivZBMIVpg0K2IfiEkgGRT2ExFUqc5
K6LZ7VYN6+4s6wAXHRbvTlcSmS9t1akw6eL5Q+HQPKgKAO0efJgTU5HMXrp4AlWHNAEwsMh1nD+O
dk5H1weiIGqTTZU3YUeqkBrranv9SBbuHWYHYNAhfHAdXDpSsNSnrYXqD8WVmJO1ZZQHu3b28Wh+
/okYYHSAsQUJlXw08BO55tgZjVKri1BrCIfB3DNHxf+04FEIchEE6lAC8N5K7nASzA0V8/uiSRtC
M+g27kA2tvEFOGiXgFenH8JY1ba4oAjiiODqI20LYj7JSSJ2CZ0zqjpKnzVaoi+uuv3SA5IO6g8Q
weDiO5ImUI/UvldVPLIY8nWhoyqbLFwbR3TpCMIuXBqZrCmrAivPW5NFjrmmx+P4tR7XKmT6gjYD
14uCKQYewnrJ2Hpud0ZBiphFIO986dkGU9IOQ6f54XwjPxfeEGQDBTkotBr/L0dEXmnYnGBIWjRS
turwT5EDXjpuwRYtaB0w5FCu2E8NjqjExJJoSovVtB4n1VYtCsBMSAyRg2OMfN35xdc1WHhnTOsI
9SC+LvDv+lVc+j7ec8SLMF9416UbXxhV4A20xgZ55r5r061l3F2XsHTYpxKkZ7b1uFH7SY+oBLyA
iWeu4TRttP5vzJ25LmhpKaA9QHsOTgQNFdJ1T7N5qqfR5lHyjaf7QEUCtfh5uO8oyQCZAbfk/CQ8
rU/0yXU5GkK+Tnxlevmf/P4TAdJRkyFnXWpBgE13hr6Ln27eHpRdkS7CVE70bMh5CLvj1Ha5xqIm
q39ZDZx7s7zd5UEAgLFCohoC+yEpE1rCZ6CVBhZZHaDZALwpdmhBlc6+L6lSY+hd2hb4/pA2d7k2
vCGHs3XjbI8sn+IlXDjtM1GSMqFdGzmiFKImtAVgON3b9cNYeGjPPi/En4TqVTebVa3hUngYpeSH
MapTqh79xRWgzV8HoQ0S/fJ5a1lN0zYJqsh2K1TbgezRgunG+UDCviL1CRgqhoD5iDuk5456nVa5
cYUTsflmbprPxra3XUs3MVNNo1hcj4CRQ7NQTZSTTsbopQD1+iwi+eO873JFaLN4Iiefl26fq3OM
3nVdfL7J7zx90xiboc4VtlC1Bmm7DJf2I3LhLCrp1i+2w/66Vik+L/djIRoYeEE8FrnlCmS4mgq/
sXT/kDKxQPbkIYEhp2fNuGV5WkGleNlnT2Nj/tSyOHtu80S/s61hVjyuYsslDx7+B5rkUAAB+k7W
4KqZ+tFCpAmy19L4MrdeujJBWxrSqfNWBh6rdZxn/mdhZaYKrragDRbyQiiFoD8PXpZ0UA3NS0JH
XkaTTVdFi2FE+wQ4uevHtSQEBjlAbzRwUICpnRuBggZF3WVVGeX1T8o+4+EpZu/XRSxsITAP/4mQ
1uHnRoE/QgTLvrlWdlcEOz8OVmOwoWay7dKbS5kC8Q7qAQvYe0yllcG+KZ390sSk1KjXirCd7ZUN
EiKN9uu6P7D0u0Zuv1BQRzzJePgFClda32RPmuWiMiGIttG7sPamP/C3UdzHoEs01GGAoxwSabE/
uODyriIn3ibaz8G7/c08+770phFm5205VjDTuRWa4898Xl9XgQWjADUGayRaR0QvjtDCk6ema4lZ
dbpGIs9a1dgllduypMUioYmuEaRt4V2cfx/pNAPIpZlEebCK+ztN23BLYddUIiS/ok7iUg+SkUTD
wDeYRhUZHT9k3Ntd36klMXCFQTGCkiSST5KHlzE30z2UNkSQHcA6tzuqGrOjEiFd+bQLzDHAvNyo
6Ge2w/iaBlg7AgbmxtIV564SJV0NHhfEGfmURzi3Z29In9zxbu6P17ds4UUA4Aug/t8lJzQBnx8+
7/1grnukVZpyQ6z97IZ6vYr/vi5kSYNPhUjnwkaEw0lg5tHkBj9mrZnC2BgUZ78kA8yu4LMRmUA4
+ecLMccZ4xwMUkSmE6KxkKommkrfB7IDERYCRMwlwIgcuGXn33fYXGsVJER2M22eOj5ubtoj8X0T
1W3QEyCKQzeCZEYMuyRVNuRWpPl/9VGnGmiw8POB3kADB7odMAjMlJQJs7+pYePORD5mnwxf7dsZ
KfDz//v+BSlnUpSeW/sWPPtfU/WICQZIwt92xL+3CE2q6EsAixBYxaQjqNEZkjrGYAFI4YbZZ4Nm
zutnIN04CEDFBYYW5EvouwaE8/yMdXTptS0jfaQVWwqi7izMkvV1EZfnABHgKxRusAmosnQVkjQu
emZjnndB3uKUrJr213UB0oX+Zw3YIQ/ZOQdPnljjyWvhdU5qj4h1I6uotmjiX/Fq3Wjbwlck31Vy
JMPBMNfHyEfISRw9rLW1ZbFt7OypMjO7eCgYEoUmPtQrLrICrWHSYqzMHkO2ynXd6t/7zgstN/1+
fd9UYsTBneybCTa3ySFGH5WtvbUQOBSs+tu3im/XxSxtG6b9IQWMoU76RYLWKMGNNLOui4h4zzOQ
wdOQONO6qW8fdyPAEShWojYKh07ut8bwz9ZtPauNHHdXOs99sHeTNvTz1yH5NpGP68ta2j2U5sCm
g25amF9J6xqnzYFU09qIz/vUi4p8bzWK4viiCNFCC9yCeKyk24/4wiw6nndRSuyQ6UdBYuyzzR+s
A/2zIjwSQHvJCqPUWeW6bbcR2hXscQ3Ut+MrLMDSOkSDLgJ7JOkRCp8rmp6ivKvZ0OeCvbaovpb6
wVaRey5pmY+4HgQxjmimk2SQGvlZuEcDrHF+7zH7KaicLevrNXP8u+s7JgzWSYz3294IdC5IHsGn
dBFSZkDoo4OnGCN/7kKP3g3ZxgnMtTW8Is/9B/b5VJbkfMV10A6YQzFG9vDm+18xcDjk2ev19Sxv
nVAyhAoYqyFpMipO5gj49hABBW9k25Hcs3nlq8JTlRTx9xNr4xhJaZAWUmxt3BlJ/3v8mGc+6c1t
oJh/jgd6htw2OpsuRoUPSRektdWMEVgRwxm8XcWkeJWX9BnUi/9KkA7FGVmQk6Aeo9r6Plb3McEc
IRVm87f3JmsZjD+SYEjeougg7VcZt7VfTCWEjO/p9JWa93PubuygwGAbEqKHqqUfAHauNPO+Nh/r
jisWKTem/95HFIUAc0QUiek1kmvgJ35Kes8cosZlH71n3ZPSeMkZP8y+tbGQm5u49eAIBjYXk3dm
t/7rulr+P34A6tw6GHt9EA6dawzDjOd+MKExfn0szV9Gj5Ccbrl2p3fvPtl0bN8aj7alSKot6Smc
rX+lSvawnNqpoS6kTg4LORwjvp6yvxNHYURUYiTbzknROWRyh4j7H275F6u2DNTr3vb6Hi75XqeL
kZ/4qXJSVACGKPBImLIsTBVl0SVbCOZ4ZBmQeUJ6WPz95FbXgFUmZBqgJDVhK31s1slc7LTA32R6
8pfmJe/XFySu1sWtQGlGvCNIEMu2yoKdmtJ4HqKY58DM3Bm0CrvxzhjMtYl2yeLGVMo/l0Dwqbhg
LQA1paQNAQXKxkqSMWIfJH6zXYULJl6li+WcfF7SggLYTb+v8HmdPZddukYHdArqYFBuhi1gPgHI
HzQF7vxS8cR0NwRc8PwxJlmOuqw6zUBvlyB5U70FgxnaZJMl1oplX6+f1KXqwTNCXUUQIghgjKR6
WteXHYgzyqgK3SlZBfh3XcCl6uHjqP6h0AjPApCYc9WbU7McyTyVUboNjI37K5hC09gUu+tSLm29
kAJyB5Rj8T/Zr8AkyHTOekjJ6zQMLbQ131h+h4qdSZAhK1XeF44vJBj+tkjgGiv2aeEgENmhHivY
EtBPJh1E2qBwxjC5FV7kka6sJLq+QYvHgHfWFqhusCXIx0CdeUitAZ/3QL6RGWHe/6VpayNYo1q0
vi5r6TAsdMSJ6TmgoZZv/zgUaJ9O8xKjq148RBPlBjzl10VcGhgHziP4JTCMAAlhOWtQ946Xp/1Q
RXqWr43uvpk/HI8hiOg2WbnVdBV8ZWn7TuTJWQTidiMbC7S3cWDxjCIIKyd7sWlghDqj+6REe9D1
BS7tIeYNg3JCWAGMPz6/Nq1LAqe09TIievZuIkEZgMVvKoKbXx50TaH4LyZsAEpmS4bTJqVPu8zD
9ccA+zuMjP6TZSCeEC1gQKzJMYXWT9Sng1ZGKPKBLNz7aZQgmBjjQTXMbMERw0oAXzEMAeG+SLFa
owkTkBI0INaoD7A7jd+V8xTq7rixtL3r3jX0de4M/IgKyfBDUW6uH9iShpzKl71NO+s6UORUGO/N
vtW28UhjIIEA7dgmdflsl4Eiu7+kIGDexTQgsBYLwopzBUFql/jNlDQR4CElar2tMe05+QP1OBUi
Fn3iN8wg5WnAF9YAyLzWeBgfr+/Zgs2DTiCxjxwKLJ5s85rJ6kDUS+vICTMwears0OLn8XHUbzDp
4aIRCKjaeo7LiWHWQxI2/XulcH0Xvy/IYEC1iNx+IF2eWovJSGp8P2ZfKbq13q7vzsIJC14bNLWj
NRPAdfH3k82PY8NLOkqAZerSravXm9w99CrDtrQGPAiY94PcBXwnyc4A8tBwJMtQnE6+tX0WtqPC
kVEJEH8/WYXeN04P74lFpvvO7V+B8XJ9l4Sen/tmgrXzvwVIu0SaPh2cVsApaBz2zm4Eftt50NnH
dTEL1xv4FmDfAXlA/lWGAFUD7at2dqqI6jWm5tU2D80yRYuU9R73/oeWtIq7sXj6gGOCZh8MMXCk
z/cN2N+qaH0D1cG+QufACCpMnngPWlCrymxLJ4RWJSSufPDNoeJxLmmqGCflaPIo69bTa6mi3Vr6
vG1BtXRAldHWIx1QEOcF9V3ckoQZ7H6c6HisuvRGOJ5wz8TA9X+lSOawTKc+9jOoWaVr9/lgf2Gd
ij97YSFo9UMpBF4s5uDIMC3bBWynT8w20j/H5n4sb06IoHZw8nnpGGYOA5Nm+HwHZqnnWd9dV+DF
Xy/6ZAEwE9lq8feTewhKO6R1OD6ffNrdX5amGmK7oK94w+GKoRMbxDiyMSTM13g6FV2kY3iLDsqF
olp7Kn77pUVg+h3AijCJaBOQKsJepms9H2gXUYet8k2cqUbKL1gT4F8FHBrxiiBxO9+lqspo2jlx
i4IgekHus/FhwhQfe339LJb2CvVs0VRuCM4S6W4HbcMTomGvJhBtJeVPwF1MjL25LmRpr06E+JJl
70H4Xbk99qpxPviqKxWP38IaMJ8JITfGm4h7LenTiNlsdacbTaTFO2KuahVER/V98fcTfTWY7tPK
wfdZe68Fr4O1mpnCxC7YdAT1LhiWxPDgi2MwwVNljH7eRg1OuDamtW1+NOVxLI9J937zYQRoR/aB
ksAw0Ytsp97UBvqzWB19GAFaTxTB3eVRo7YMZCrQa+BNvkjBdU3gtGam2xFGvjT7uFW4mgufh3uG
Jwh4KbSDyKV4YzYdlpajBQuehDXGYavQX4sC8DS4ICFFlCVXUIAh8UbUmuyIJz/v+/THrXv/z9Ay
tDegynzRz1z0vDUM0jvR9KVoAIRSOCALP17wuAMCg1AXMZSkqLaFViywqpiAnJtbq5y/Gp6q0/zS
KoHn8zdSCPg4XDmhyCd3gZROk9mlgakKdZg6qzoAT9zeuZHqALYI8Z9ojQbmHDxDcu/ElKWtTrvB
iHygVAp3Qzx9W7q3z5yHFDyg2Cod5klm7OA2H/1Y42aEUkZYeXfatGFTpNuKjOfSloGgBUYcTcTw
bCXrVyWuNwXJbEaVUe51B5EgQOJPyLFi6Kx/+/RcZFbRl4FRQTDogGOcn4/vJ2mhxY0WeWg3fE/j
r9cV+NIUgq8HnaQiFwD2WRlJj6mcPjc486Osb986NHyVtRUGhvZ2XcyCIp+JkcKZrHDsiXrcj6hZ
gVkp7EfFmSwIcFElQQ5QEFxcFP86tw2ywsBFtOvv5quZK36/2OXzSABGHKDK31k0xDLSRYwtYrpl
ZToRLb4n7ZZ96NXjaG71eZuNv27eKpy3GNWto3p8UVUGbWqT5dxyIr7Rk3tyI9pW3EQYQtRigaoT
GXvJzZkdK517XXOj0gwJ6ieqbOnSQZx+X0oG+plOJt3IvMh4qeMcqCTV6NaF2we3BskrtAoLtk7p
KPqgCUqvSoyoBFh4wKTxPCUhZxTdwfubTwIUu/BpQcqMPPlvotNT05hrtJkY16PmnvTPsYpidmGn
zj4v7VRvcpJpeaNH4BuLQ1Kv/m+/XrpyIFWodTri85mzJukqUzWiin2WrgTwhgANoIfTQ8lYejg4
6ZyZJGSOaHfs3Gc7/xzJ7cYJZA3IKsPzF0l+6agnjfVcq2oj6okfNhg4h3ZXe1RU+xbXgZgC3iaI
MBEOnxvY1Nbz2S2IAYKGJMzHaGwsMIm+Xj+MRSFA6uH9A1gERZFzIczyO43UsR4xepidn+hPRe/r
zVgRNO+hiQ9OMwrGANWdy+gI4Kwo9mGgkHmf5G3ozIfBVPF6Ldw+kacAiYZoTrvgQh8pj0mcEx3k
1r8q8zFGE7IGxNXb9e1auBpnUsSvOLl5+uTZdcVTPbKcn5X+nMfb699fMOfoSxXcXqLRFkn+8++n
BcHwnKLUMWTmaJOvWnMX0DsL3KStw8NSNZ9taTU2HB9AHRFWXpTRhyQPPBDE6FHcOxtvAJthp1Li
hUo5xo0ibIULja6WC2bwuEd5l9Naj0x9+rsezE1HQRc5x2xfoIidOnzvj/bGrdyNiel9NV4zRUi4
oOGgGwa+D2N14E/KtTg+TETX7GCOau3Nmb5Y6V3R310/taV9RDUB6X60qYqzOz+1NouZVibmHLnE
e7T69ikOekUstaTe6IkU+SR4khdjaIzYcJO6ECL43ya1QhaU4QCU/h+AlcBghvwxcEqiM0W2Oi1O
wWF8gPHXqzlkpWeH+jSu3czKVoyNX6/v3NLhoDSPWBqkAUgOSE+Nn6Gj1AfNBboAs5XTI4GSvcRZ
ur4uRey/9CIAZPufFOnF8atMc2rT0SOqOV9o1YUtuGGd/puWtTtXV5iIyyX9dr1BCYveSaRphbKc
mAiQiiZ1NqZzRDqGSrmxMmy6MbWP60talCIaloWzD4YX6XGIUxdFrMKbIiPWEgyin5/nocQ4lSpR
vELyRBCRrdHh8v2vpIsasJ5NDNMMIckwQ0pfYu89oL+c7LVBL4reYd5h+v+RprjUd4zBAvcKTAb+
/0Lfu1zT7WIwJzQrhV2+4R14K0IQ/d++ixAA/l7wcICFQ/yKk7OKTXfEbMARtwokK8U0IdB/Dsj3
60IurQOWciJEsg5OxxvQYkxzpHU6RmcMj+CcVyj4kjb8flyR0AFsQtYGzHHuZrdxpsgLdnQ+aNOh
ux1xL4Yro4kduAn4tnLpbc4xha4hTXU8+LUdIhBRmOmFXUKDE/LMuDYiupB2CVNtgDcO0uroxGXo
G3l4Y+u30GMUFYAkxfsqGnalG2PWDqGIgstjV6yncpsqrv3S7z/5vJylzWMOa+rh86n5lsxbN329
WYsAKoI9RqoIr4CMhs/GGjRCvkGPcwv2BdR0KwWEfGkBiMAAYBLGGP7H+V0wE1rUU0LpMQ+b+KOq
bo6DAfBAqzcGyWCy3UVr2ayXzPNHnR8xGnyF+bl6qZr3eOk7QYKHfDxyaaK5TNKg0h6N1qgMfsSs
j1QPq+CBGKFOH0sCGKzCpb3cLMgC7k+UdqBX8rtl9dnAKr2tgXt+ZNMDn+ubrwO6BkBEg1qYDXiX
7AiaKaB+6ezwYzrla7BPhakKwX35KAoJwFthrrkukl/n5921WjljCBI/rpvgKQjWXbdyQ2P8k3Xg
RqPnE23yF23GVPeyJhkCdrSpvo7nYIVH49aLgXWcSBBqcWLDR79AlWeEhKIrV0OmrwcV3PTyLYIE
NLj8plwG+bVQhhMJAfWcvAp0duT5Pa0ASds33X17Y4M57BNSRCJFiHwzUmq69BYlE7CsM675sWnZ
FhMWSnRI3rxTEAJOfgBfBNBOuiBeStIxSHx+tLK3snpubvaCQdwMju0AlAVInMsWXIur2SiyjB6n
+Hkkq/J2A4XvowYpZt8g5XgZqratFxRxcWxTvo4dK2y1/fUNWjhoDApBXgWQOnESUvRlOBgmP7Vu
cezsLdO+uPV9kK8L1Tj5BSkCu+Lg3gmcmNxBGrtGUfhDXx61EJ3KP/Pgu8p4LEoAP6ZoYkPbkZxK
cztWcZ2NOAnrnvnf0uwVM5DDtlNs14LBFfkPgUH0gT+SkSw5stCjA1qxo+bkj2Rw1tpgr3kbbEcd
Q2pD3nxcP54Fo3smT3hBJ/ewSHnc1wTy+nTauHa70VWNAJd+FBB8uOjIrAl6YEe66b1O5jEfvfIY
860fY66AH3J7d/sq0GONyADJYGF8z1eRVAY4xmKjOnbTp2n+xICx699fWgOQOQHMFQa1IOdy/n10
qHtd4Zvl0Xux2jCoH7Ii+gMJIA/9TV2AB1eo3+k5gE9ubGwOVwe9P36WrQIHQ0eIqpa7pMXAbf+v
GJlQjufopqodiKnoxi6fNfKCBiDVHI8lnULtHtV11PGReJZOA6wrzKdtXh558JO+dKpOrMXPozyG
GA13Hq/U+VbVRe8B46BDoQJ4JEOxAVGT4rwXAjQgEHy0IVgCAwwX7lyGbnLNb4hRHn1dC41u7/jx
OmE/CSEbqoFUEdWfgekhG1VsJUuaJnpkYQPQ5H3RnOMXaVk3s0OPbP5pBW8G/2pOv66r2oKTAnsv
mALQNQeciGSR7TTrEjrA63VpsDIq69NL8t3slD98Dl7J5PZ595gxiHuJoYegWIejfb6VdosAp2li
euzRzWoxcH5wY2MFN0edkIJ2MJEuQgpZdh4rkvbFxCGF94++t+vHtamaH7t0d0A5BsZEoPSgF5Jz
NyaFRjyON6ajD0B2bDJOw2Z4agYVOGXhgJAnQoyOkRR49G1pxwbTLoF2nNJjS8ePvjTWcAVBQqqF
bttvxsF7v1kfkEYE8BMuBqJ2eTxpwFsLzKplcQxopEPfyBszrXDCPz1+vS5q4eoCg4zpM7ANgv1Z
/P3EyuUjhYPcO3AGvHc37M3bHzO0imBYIrp54AXIShBPc1y3OJZj8Zp1KwwMu/7rF/KuyBRCuYDb
w6wQR/aWkmrGydRwi4n7d+Kt6Eh2fktXeb9t9V0SbOOGbKryKTZVHv+C6p0JFn8/2bfa9ZrZs2J2
HLXhS+sOa2+0Hisa32GEveIiydNQhM8MWZhJJBq44dpK5kGv0oJjZBE7Wka7SsiTb36x+y+E/UW7
YOP639zg1crYOnbbVae6YgveD1KxOnQDdh3zBKQrho7OxKhdnx2Z/aOtHwLrEW0YG2/axXyfDLNq
qQvqCH9BWAyE5qAHkZ71mgcjS8YBYc78jCLEivkjErNsleRg1HF+uskelFEN+hzMlIWMPwfWpgr+
UijVwm1HHhUGXyTTwfUs/YiMcS+3zaE+9rN2MGJoLSpU6zjNtmZivVrU3HaN9YHSGPpPMU3R0jc9
mLMTBAR0EhORwYZsZDQLa6v6dv2nXfwyhMii41mcBrqS5bkECfX7dI51/jKMByBjQkwhquuNne70
5OZMFQTgTQpQiRETZHTJMFjj/5D2ZU2Rwmzbv4gqSCDAKdCL2q7d6ownlDoKISwBEgL8+vdinq/e
d2wtu3y+gzmyhjQhy71cizS667Tc06qKNzITJz71V6+CHGdpY6GuiyPo4wZikzWRPFB4vhM1BCqI
dZf0r337nDcv30/apzW1TJWNfG2hQwCVf3R4l6JQdKzdbs/ieVxV+fr7x3/aIUjXXNSrFhAYOoDH
NQyvJpMzd2zYe/Rd1Hs+buwOVn53qcei2j1xM3zxLiFki0DHhFzEZ69Soi3TUdZ0+xoScPa5c/P9
u3z1eCTOUL5FtQcgxqPdDgWrdHDLvNt39D1b0fr9549H6wiYKvSp4HV2dGgutftAMNLtQdZ+VacC
jq9+/L9PX1bcP0ey1BXTPqfdvq2eY0ZPVPY+hYGoJ/z79KMY1y1UNsB4uNs/FdOd9WT0w8/nBvUj
HDguFF8+dXat3pQDGlXtvqx/K5i6acf98UJdaMzIAlBYRZH4+GxtICdjORwfNw8vxxFhM9sZ9w/1
L6Z5a/U/zmsQJeFSBh4MWSbKJEeXluXiYgyaotubHAW3SsVVvfb8+/QUm/LzV8c4gM4BCOGibHIc
OwPrEjZDpru9w1cNX5mf1ouX1/jn8cvw/yyq0bbLvi7xeN3vuLwv+fb7z/75GMTzGZjskM0IsS+O
F60bFnmW4vk2bOLGJrtu2yp2nCq2A8jx0eDw/XCfVzFAO4ggUJ7GoJ98RcqwV342j2YPXGPkmLfM
f2DmZ5qhuJrQwUXHDgQmJBjA4H6cMjNnAmFlMe4NhOy9pkvI4/cv8cUnp0vbDFOG53/iT2RpX0LV
URssZJjYXObWz5+PtjD7T9oCsYyjF8DUtVNgC2+v1n0ogZf7MYYKFka4w5fdDvWoT4yTuRLlRPzc
24fiySv2vFrDgu8Up+GLT429h42OnBwMqePIDVD3CfENd/f9HaVjovpqlbMTl/gXX+LDGEd1hUH5
CqsNY3BOEm4eWnqq7v35dgVYDoBCdOWWmu5xiuc2WoPSihFknlT0ChfLuqzf7OnMclfCPgVx+GLO
kG2BMbX4ji3FsY9L19ZDA1gKJftgtrfChrsh3DGzzffLF8HaF/O2YM8WOgUk07FHPo7TdnpOTcro
Hv3oByJDeVlndrkdOTwrgEYjd2mj2mvNSBWT1KebjkysOTMgc0XhXI1VHI72BD+YkLWb0avKXavU
Sx/4L7YAlg2eyaFaOVXmP89Ozu9nOJ11MNVE6yt2aZqeuYa+Mhc0F+CJ6Fkrap9HYTgWSQFzjZXR
tbUJOzbe5aMe76wpZM8uEsg20qVvrZUjHbBAsnfZ5mvtFxCs4oA0tK0l8HRYZA6Zj0JZODpnPC1e
CkvApUOxLgpdUUIpOm/fxOjo3dhN+UUdKBQfO8Kf8hqkgyifJoJ1qnAelpm7njuQm+M29566Snlo
D/n8V9cqJiLw5/dOYB5K0zfJ7M/isQr9JtHcGdZ4fQpjkHqMByedt7wUdgRjD7GSqYWrTol7iIdk
u36y7BXV1ss8uUEXDWomeeRnQfVuTSPMs9nAV66Q7EpOzj1cH8R9J6W1dWRH4sDTfhln5Qyv1hyk
HrrSUeG0j1qo8JdBJ6tfBVVhbxypn0U7PDphPUZOM5GLIMSkR3UI+6NOyfF3IRsfH6fxZpAwq+p+
kg1yHmKF6dlEYdtekQJKfNzAOyPo6qpM6poGt64mBp0BqIumbQV0gnC67ManzfTK7eFNdlm/bmX/
VM+oh0U5tTIncm3YwEflEDwYWT6MffBI5nnKI9C27FvlCxkBhVfGwpqyxJ7rQEbVkI1hxMKx6WJt
WfUfFiyKmVmaxUOf1ncctZmtG3YH4MufPGe8zeoiJ4npxxXv7TflmC5KGzZeh/1sVNIH2msue6vR
G9PV76Vx/XQNAD9o/f3gHRgfWh2nEuzvxFHUpFE2BH0QB+PE98BI/KqZqnGfWGxEKcTciY4/Oa1/
OxVK9hG8YX4ZR76OeWtFrcjduIbVe2S8zMSpy/2IyzxY95J1Z6GlGV1xLutVKYu8Smzwyy7UnPM2
krSFxkRGYTHD02HFWME3TTFn0eApmTggAL9LMcozIap72Ixkkd0IF6Yz2aPuLfrAatKcTVP/p2Wq
HyIms/pclpMVa+U96YzOfmL5tA+2FZ+dP4MHR+Om62DqxLVaEZb73a2tBPTTWog0VUabaJaiQVzD
eVJmSELRt3moHIDft67nZjlo3UK716kNJMHcd3PUeqpJxpSKeBxClvglf2dFWyd+X2CEJvBKqBe1
dbkGgmDGUvJIRIy9KyZq15E7uW171k+VG0HSzYlZYdq4zloohZWNu/MdSGzZIIrEKCWpxIZKJMkh
AqLc8YVXtN2wsspik7peHJKWkrXJ0d+K+yn4QyHAWO2M6C5F01WXtakLgqXR3ZOq2k2FdVv6jbQ2
8yDrKu5de4iGlB/SsfztBAUOHsM9d048bn5JqDGZ8y7gxc4bOhxruhaDE1mSPvQjwdShJgNHQGqD
VSRCYe5ru8rMmfKsbGs8me0nqCRYoARpiXDLqyNhZXQTzGl21qqq5qvC8nW6wUq9Fp29USmsezQR
v3wbvHZct13C8APi3pdNnAtL6yjLCL8kwZjfdGMqEjMMQ7uaPHNh7Babr+bSlgmsTINXgstyPeap
/Zp2a12uByC0V3ZqsP7BxL4eC5ekwObA66hWdnDVcVLxRDRe9xh0dDqgIfiiC8e+qNRwU5f4GBac
QX8BnBRAa5z3eRxC7j+LpAu+b57DJHo25RiXwP/sMg/K0aVnj89ademGDkF1D0OT+7kufoNAI88C
0no7UjK6C9qmXGM3W/HgDWkEVJaKCsvmCSqkKcjc9bSeAZTaWSK16gvKhmGMymp+gVpQYW0oCtnk
T9v7AcTzlEsSYeAarXHYR2XusgTNQjfRrG0BQ1LebMcla8LIGDeMaFC+Di01cWkNOFtrsDzORpk7
1aVYdDV2ugIkZ0Kfuk+60nKbLaQx83DVVJA2UPBhjzhhBvf1CEE4LuFh3G+pnn43Uxkk0NDmkSRz
dZHN3a43uYrUUAKI55QvYZDjjJT5tfJnksDdia48Lw/ubYOD1TODG/WutH7j3nifXM7tWDWNTgIy
dZjhAYFeVGtbSrx6yp2Nj+tPJDMcqMRmmuoKyzSHW707K5rHSvMyyusQHESvubcnuNLDUAoFNarS
MQFuZFv4VjyX4Lk6dQ0lSPxEm1ZYVaWhm8aiZMVzEsRcB8UlHUUVlbrcSC+FuCm+ixrww3BT6z3A
yPYN6bI6BkEXe9QdWmhoFDZ8WttS1Q8QFS3XcrLJyuMixaJN+z0bR4gdprK9NWh/b2k+FjvgJLNN
Oc55FCjzPmEqY1y4Mg7QCLthIPlvluphUoXUrKhrBo2PkJrfbQkZM9spbgBUSVe1VajfOAbNb7iG
TQlO6Oa8CfL+LoB7F84G323j1DfiipTT/IvnZUMvLe2YJ9hVkmjuOhoDQYn9ppz0d9dVr07PvDXD
mRDZi23WMJIUxmAabuU9piP09R+XqjvbOIit3BbIDyvYB7Kg60DnrIv5iG43RWsC9RmWbh3a9Ukq
8yaGrCSP3TQkuyln8LJndX+GU7iGnXbQrATv/AOusvbKUKHPPQFdDUGwOzRp/CKukHVtjHD1JiXC
XIRhmkVBPgYEcaqaozqo20vwjN3fdCgeFQnyB6NgyOONQXtR4gyJSFGAldUjbpJ+i50zIpi7CeY2
lHC+GGmUFbT+0yvbT/BbcZ/3PVzbp9T+k5Vo7SWDtA+uGvtxa7FBqOvBdfLXniCSGWh33oXkVrkV
30EJMkQvsw1nsXHceejiuel2NvfvBDMCS9kpI+Z1v7NA3ciibbZWWHFIqOcbhGuBN0IOc1wXebrp
ej2cCWa5iWON7AxKaSoGBrmNOnsgw5o3ECnrnHmBJeHGplPVx6QGTVx71VU202yVunm3Gi1nwP/o
4Vr/3PV+FevW6lZYIlB7YTThUhbRGAbzBrftO52cFyPNGuoJNSDjqPeLcOMWQdKm3p8Mjs7wgkmB
vAdvL/I7DmJHUaEsx/MoLOAHSphUMVK7+VIOfC9N/gbGY7keJbyRBtI/UtHyuCTs9zx5/Fwo79pQ
AkmoQL5XTR1cFZmt/4CSYu94kOrDHKTpxilr8PgtU9zXmWpWVWpP20wyE64mt7SLy0wXLbTMw+zC
xpRDEhXs48A3TZiQTnsqoo2FyEsA8b8KzQSoaYDbzKt1g9jNkh7aWXXxS0646iK7pfnehWDsFMMa
mT5r43e/ieifoLz6bDKWxtWc94jait95YA4pnF7v2k4h6MtxvOzsXg0yKQUr7bgozNjFAS6kP2Mw
B5sxKIZnRAxdgqqNF1UuR8OkUF27yjOrXXlpOa1gVldcgMfeXZPK2De9YnzdMunhIzAh4iLrqzCS
fErvhZJA7qWkL/2d0n5Doswd5jnJfIusLWK/p7karktS33eMVSscu8gXbJgTOzVLIXnSABc0WFX2
zHvYwEORgXWYnT7MN3BCRYSB5v+Ta3XNBXIGaHXNVj6aXe1WLTmUktX1FqqdHB4fCGzjckiLtShb
kQieH9BY+9MIhHiNV8TU0xPOO41kIpzfw3BQOMI9nDU+fj3sjLxVJQLxCOBVsJslKVZjAbzzhN28
V2xG+N606okTT+Gx6qZ02hBhva+Q/0w6rns4p6yasoKsXJ07B/SmA7VxpoIXiPnqIbMuRAjd3BI3
t0U0IlN0DZRuW8SLc73OjA0ajLbY7wEf6Hdahl526SmUlH0AzbY2Hxv3TA7OFTqWA/QHB9rElQuP
Teh3U73Kgw71nWxCowRAbfeqZTwAC6l8JYWHWBYSe1dOyA1iQZOfw6OxaSMHhagHSzfZGadpZhJJ
oE1h1Qx6SAD9N+dhW+G4kaXIH0eWBZHll5gHAHAgmSUbsA0c2qxA83lm3ixs4M4R/7pjcCNVL6O+
y2F+0888FllxsJ2Jx/DQ3Fe2um9QvT+HWT3Cu2xWuN+DPk7zqrpu7KqOR/QPH2tW38wyRyBmw8OB
aRv7OW/yMwf3xYY7MthAuoFgM9MgAQi5Podsod3dgcNCosBN2/oyM3lbXUGb4k4x+8kGiljv0ky5
wW1q2xAVmm1dRmlbvlaePti0vCdt52G9usNjbnvyPih7R0YWmeZH6erxami7XVBlLMFFKbDqw+Bp
4POjG7zUeY07UFr2NmOe9VTUhR1BXwawbu63JF9zGCfdpVB/eWQZfr3bNP7LMOsg0i69hTizt5om
+dAUmsd1gX1RBf1bPyzi4qJ5dM1Yx86MVDAf2ybyYYi2aVlZxz0FtUWPoX1A3HufBy5/tEnuP0Or
Kz+fPafFBdr7ZVSOaXOVNmTUcVMigS1BuFiV6NPvNDSW7LUzZ+ldE9RhncydquV2dvVdXzNhdlws
6pMlQ06Xh6BqaZO+OcP0JpS+GNoCgs+sep78ed+gaiGQL8Hh81LnwSuFo2dUtYBNrtpc4zoytqMh
SRcAShP4NfTcAig8oU2rGnzwuZnJWagaHyQZtz3zGvvFHr0XN9RF3NQ4IL3KfiE9uIcER1E0c0wG
ukwV+r1jjjlrU/UwA4oST4GTYgeVw3vrzlZUen4WT50/IwHq8myn6kGfS2ppGgkjd+mcWeDoeUCT
FGTwnERk7HGUgMs7fLoZS+YnyOyR6Rle4GAJD52dPlpwCI18r3Q3My9lPM203M4myNdNkWr8NN7e
MlMPSOHlQipIi+4JZHOV8BkRNtJTHNj51FyNAcU7GHDsxFwOB8vM5bMIZf0LHL962EJrqrsugCqO
CK6eITa+u5+hEHXfQpFg65uOFzHJbbGDhJh3L0XGscNZp4BMsxk833NCf0vA2s5mMhqdpI3lt+u6
qRisq9u1J2v7EfmwSSpgna4GqGKu+qrpgbCnznPZKD1thwzEZOROQPJlOClwC4ZRqOw27iHkv5Fj
8AtTn0aIR0CTCBCoTrN9aErXbAVH8u8PWySC65Cr8NzufBPDxY3rK6VE5+5CuBqttMfJOe+DLkZL
uUtcox5QHaVbZpHfYd6O0diE9/mAF6PCg02st0sLe29ShQBcZK9+L38jJPNXc07DM9Mh/wvRkR99
YfYyy5VadZ1dxp1tujK2bLtOWprypAuQz6gpffEhVRV7VgltPrfcViXZkpZtG2uquhghchv5bF61
CKxCVm5p9yugW8X6yJm8NzJm3bpvpXNB8xzoQ1Rd3zwUPp5zXyH9ru1MJ6xcJGPL+hqp5gPpM7ES
w1Ah4uyLtQn9PhK6L3euQRV1au3fk8XlBaxe/SoxqXx2rNlscK7ybZfP7Cp1XXNrYG6BlBJqMvC2
PlRqfi2yxtsMkKeeop7mxa6AcNt9Mevmuey98RDAube27DIHcoqh4FbyIRHYFrFQTnjWllaVFBAj
aqIU98rrYgJxD8TF4GznoniViBAuspHalzxjbTKacYhsnDEXcyDJtXIqF6WayrKjwU0hRRtYv0Ji
btx5djYdzHxXTaH4zhBo5qZgW0VwzH4Pcuut8xo3CoNi7wtoeElEygnYyy9pWkNFNAVcKJ25f5Z5
FWPnIzS6HtwZ5a4etZwzjawryhr3ftQdE8mQdUEQe5mjYD1ZzJAD8CTigdCC9U9a+ZF2Bglt8ELe
8zrDmLn/OIRkSIYycO6MofKN63aoohQnKLjx8/xL4lrYKIrUdj0iFbztGEH+yJiUrz0VkAft27vO
UQSiuxDojVWRGxU7pD7Ugo3nuG3RwGMt9EpRwFzb+IdqU4uSjHwZM4HDiQ1G3+qetL+gFjND27Cr
VllnhVfwxsrWxVy/iQ7pYgFSoR91aTWibBg+oShQxJmq+scZqK5rNpIsi4MgnfGKCF/OGWm5HYk6
9dcmnUxs6wKy8iR4mPqOv4WogN5ASukRqCO2nclEY1SEZxwo+eSu5pQ9OijhlTMOWgYVd8jp5eJV
d0TFU1j0JcoKQ8ETI63pTtBevPkL5oCnBodimNEnheTzwpqD9k+ql2Vguzf43X0ydumEqBsFswRu
msMKkKD2kIZIbJ0hvCNDnsaD2/gRoQ02Z12ZqHS5G484hNbKbbLnAniHO4gXqDun7+c1mdXlwAy9
AYqt0JEhfEk2LOFiedFxxLGLrLgdOmdT8xk1ECB2gTCQKFCdz5SNG9euphtQ5YJL13ArmSqv3iyH
x53qTDgnhV0HURlaQ4TKM3ZTRiEJ7AAPwuLWoeJES/arfgPURZylswE2xzHQS0rXQaw10b0/PM7+
aqDbxvy8mQXlEsASoGEB0oh71KIRfoBooxIU3bjEKbbZKUbyV60MgET+QrCcz3h1DzUsiloT3cMY
vPdi55TI7BfPX9rHAHAAyx9+kgOthJ2Gog+DvfJecKxiIX7fjfniE/z7/GMwJOt9g8Ibnl/KATWj
rVufZajAfT/IiZc49kdFcX4KUPYJ0KTe4WqxTnSUvno80BSQjwfUDuSv5e//NKkJqj2wEWE+oMPn
b9kptf3PT4fU3aLBBswJlFCOOV/BFFKLck33wH9ZZ0F1ogO+gD4+0FbBLfr38Ue9MKR0LulzPN6W
u9A/G+YzM218cQqPcOotjvYBKpRoe1iK7uv5dR4P/OWnX/jjWxzBHYjsZYZGMd1LtUWBm574wl9O
ElqTUBZAG5R5RxgmiH3VjEsPv95eByKaZOS+Nad0R7+aIoDDF61ipI2f9HtS6cCGuEDfu4IJZzg1
Ud3+eB94IHqBNAzpS+Ccj+mVvOjrikP+du+iJsndVdX8lLGGxfTvAP7HncCKZi4kNLP2mg6RCZLU
PgWe/mqSgKKH7QTMiIF4P/rQVjtQVJ6Iu39AHS1i6Sliw1fPh6YH2FFoQn8mrJkwEJxKzfYG9yGi
eN9YJz7CMgdHG27BZuDnA2fpfVKM18JFG9VV/n4wV3DshvSC2XR3Yf3zHfFhmCPAlFUVIgsDDCPR
Okiy8gT04IsdQYBN9EBgAWD+k6VJ26AEkueNj6DZuxRj4lUbFx3jDoWZ73f25wsCelmAKAIbDcYu
SAgfl5RiDh0qGSLfcGe+m+CdjR6Fdy31cMrn7YtXAvMLVKNFkQAaREcjZTl61kQE9t5x3tDLis2Y
Imbk4DfoE+/0xUjAmi2g4gU0bX+C6HCoUWDxTXs1kRD9UtMNFwAakCdhOCqTeZD+GFiIIgdEIwDq
xbKDGP3HSUR/bQLyTbn7vF/1w0qd0tT+S5M5WtQAkRKAXsEbXkA1HwfoqI/UpUEY4oQo3GWWV8YV
LwPAhbv+coYz/QhWv3SqBM2eLLFGxwAF4fqwm3Tai9kJxBlaj/zOAbogypBTb1B48q8Quk47Wk22
tZkY09cOurNXdHyC2xgEu9hWOJ5al3ZmVnUHhhC3pV9HqVf01/bsZ6vRs62XvhTOXVEg9Px+XX7x
DUE2BenGRcAO0ZEjrEoIGwabzR3dBzhLw/IwERKN8walve/H+Qw/X1itGAqdPsQAWDcfp3YU4GFp
7tI9+tURNTcaUgyodE09ilbogGfjTusNqc6QG6L2fOKw+sz7AV4Ni5ThYgL5Aof7x9HpUoyqAzvd
O9e970GZN8MEv0r3PuRNbMnY0Si/nVCD+HwGY6kCmQPyCgb+ZFCcatYE/ijTfZ5lm9Sy1rffT+kX
zwelGryFxY4L0nJHM+pPtilZKvmhbcxV7VTn1PmpNDN+9L8jLIvnn4iwqVTYQ9qRHzTarGplsR/D
IvF84MoWfBlkKYOjryI8WCJpKvihKBAlxCfpfV/OELTeGVYcsHLHhLVQS22X0MPbOwTgmGoDcdv/
4hP8M8DRgdSnoyunFgNIe90fbHLigP38+5GwwI8FWFvQzz9pFNqDSmmDitkerD4hISr84zgHz8cX
gFzukjoeEwGEk1mqMam1r/yL2tmY4MS2+3zpAYz6d9stOrCfYgRiKfg/OJ44BPNZHR4Ktq6n859+
gY9DHMUH9dh6NmAx4uBZCZhN1SlJly8+wV/6KShuiGk/bbIMosXCq+E959pn1XmT/XgHhJDyWwRV
FhOHTxfOYPLSVLNVHOrXHODm4ecLCBRzgB5xQODs849mR7QVqdopFAeKgjmJmsefT/6/jz+iuJCh
Y8of8Piqvgj0Zeef+PnL/v94HS8M+f/9+cem4i46i2Jw8XxHx9IHTIFEKNmjgx7z4JRO4BdrFZUT
YL+Bp1wksI628lgwlpdhVR98dt/oIRrhbnaKmPT5sl0UZv9vjGWx/XOetlUPTRWEZwdrJQ2PhpWz
lDNXP/4oHwY5uhYCVoP3n2KQhsI3rbiY6x/fa3gLSFCBpwu6HELNo7dovXTsi7o+4EBfze50npZ6
81+8wz9DHH0M06esTtOyPjz00+VY/Phag+kU1H8gbrN4+x7HraIcujFD03dfiRfVxJSciHW+ODPA
PgM0O8REgb5+9JnLBpigsUnZfrQTfgZ0zI8n58Pjjz6wsEBkBdqf7Qc+rqEB1ojpxL778gWglAoV
EsQtiO8/fuGScDYPs8EEdYA8+vCyMSdGWH7j0c4Gggj3GkylUE48BmQXae+gIBv4e9OtAXRjYp0O
6++n6YvNBnke5Ngo+/3d1R9fogGwhzRoeu6haRu7xVVjXcisi8sf2xdADRIVS5h4QrRxIVZ+HEci
QeBQhgz2WSEv0vPqZJT0xSn4YYCjQzwned5NaODvxTuQhYqvPR77JaiiJzbdcZAMugUAIpCtQn1o
SX6OyfGD46a9HH3roHzEYwS4A3Ju6QcfzAWtz+ZwSoD3QoMi337/pf6SCP5ZDQuPBDkkkgNIYSFr
Pebf1opTJ0tHephGwE3AyhRulAETcR/OE91w+EujfdE8cOWZt7Qi+s00LLyopUnfq5BV53VqP0j4
YawrkoaRRWeCDu8ARBq1kFqotoc8xVTmwV2uWliYaZJfQ6DXVBGH0n5cnQ80BsnEtBmgCeO9FdSA
LMh+FfIu3AAYITeOpsCIAoh41gO/AmcPMQKxXoWi3AFxmt+Z0DuA1XnKR/1oCf9nXigKpqA4Qsvl
WKM6I+FQ5f5AD9y7+LVp6p34dWLmP27D/wzgQmcUZhVfhB9l36vQtjU92EOWAG/fDST5/xvh6LLo
4bVM3ByvAE8Ja5P+Fy9AIF+Lch3i10Vi/ePmy2uU0ZreweNda8OLfHsiPqNffAJQ9sDLdMGTtD/R
PqnhqKMFLT3Awgu6n6kQV5nvyHtHNdmN7UHlyPJmuNY0aZGkUA2KPSG9SzSp0dYajN+vfaq9c0kE
u6v6Rm1QMiDvzJjLdCqrrU1MgOKMVSRtYcmzcO6dTeFZoAf4GuGg0wNXF/RyPSgArQawDwC2y8d4
4mDFxQAA9JEU2v7TQoQ40iloFfM00guglU5Jkx7dCMtCwfGASXBQTsRSOb5zCtBIcza6B0rew+eM
Pny/So6ug+Xx+IAQFQRhCgr2x9eBVGkQVkFKD6gpRi6gCON4DmD494P8VVk/OmYWQg7YPdBsQ6fs
6CWq2VejCDP34E9+0pSbtP8VbgZUb9wnAPSAAqdNIt4WwDtLqukPc26Z/zSgUG4NJ0KoY8WB/7yw
5ywK3j4iwuPMi4R9CgnFxj0Q3Vx2bbkybn7jwK93yOBNlM9XNAX6CWIHtHFWpGlO7MovVvUixva/
wx/tSqCNtC44hh96ACtFBBKPJS8ydz6RAH56T5SeFzYlgeTRIhV0TIKfex16KXbvFWqF1xaEQpjE
YW6kWNOyLVamENdtwH+N1srpxY3t8hMvSpaWxr/fHNKs/9HaQMkQlcrjA0IYihwdtbVrotHybXTo
xMQCaSFr5KFq7fISnkfNWV4IdynnkTOsHQX0JnagQEXbs7c6KLM4G8L3WRXQ4K4yCRDhCMWEbjBb
QN1PxV5/D/XjX+yi2bp8nS9kje1uECMUZPPrXlneio9Oe8e7cUoGWBWvB9QPrybp1LBdr/2oyBm6
E9SsJUCwthz+8FqLE1N4vFZCeAqgl4+5Q2rkfFK9poVddmVV8luTkfpMGqEufYd7cakBTZ45O9U/
+nI89HYwIoqwn4SWQ7sHRD9rits8T8AR69gtBXKdnn1/GBwfaH/f6p9RjnZAQeQ0NxqjOM6fcIb2
0ylS4/GRdjzAUQrTDeXY1xwDdCn4Dv69M9x1w+r7l/i8vfBtkGAsmho4NNHs+Xj94ebLO3DCsltu
pgvBmyvXohvfAsxXan09gj3jeGmS8vTGd0BAqIP773/AVy+JZqJPUFVdTrKjl1Qq4MAe2dltmesk
43TT+9dyOhGkfLUg/h1k+ZT/ZM0+uH/UAV3plkw1OC4wQJ7Q9rNurR/qu+MFMJtAB0BN3MPOO2bs
as+EQM2G+S1gry85b/4wBgZUOJy4h5Z4/cMGX4aBkxrQRnBRATD14/s49WgaXtP8toAAYKTzARKJ
wNVxZy9LgyYUfW+dU+fgV2OCy4X6Pqzul0r8xzHxeRp41xX5bcheQm9b8EPFz90ujNqwj4x/ymzt
q3WxMG4XUApUdo8zib4BOy0zbX5rgK/tDkX3gLDk+6X31QZ2lyIE7tIAFPSjtEs4pkXxL8huwYIK
nH1d/KzXtCwGHwkwpiuEXA7yu48zVjv5PIUAst60INM6y0X9syrB3wFQ2V082QFKAebi4wBlXWuL
9G54U5mVvfZPnQ1fzA/En9BshLgdsnhvWRH/7BonkP7kZF54Uw5Xu8H7L348lEqAuIDpE/kkOT3a
tHbsxg9vYBPXeI+mOrFHvtjzAXSCoASNCwCh/dF6LZhV0Ck32W3vRWnxSllMwqjLflY8Xj7Bh1GO
TpYsHHltsgHHV1lvwKF49jvxs1rT/xsCAhYov6IVf2w8PtgpUjiFE5JN0wZQ0YsORMjvd8LXc/V/
QxzNVZVBBHUeMURGzqmVBF6c1xt1qpv1xZZGdQOIAhRUsGpD5+N6Cukg2wGSMv9D2pftxs0z2z4R
AU3UcCupB8+WHTtOboQMDkWJ1CxqePqzlH+ff3fLQgvO/gJ8NwZUTbJIFqtWrfUoauqPJlgfr6rn
ywNZcVlUO3D64jGAHWEvtpzuxu1Ug7bmsW0Dqz4CgHj5+ysTBf0zgI+QPkM+fAlBkhp3s7HVsOOK
d430QHxfl8oI+k8yY2LN4VXgF9RBf4OJchdbbxAuZeia8x6nX232IF479endBwNQMseNP/OtLdVz
0IaZ15S57mPObvlVZX/aZ+cU0IyvAR4UCZmFQ+mkQc1PGO4jHpTjHU03Qq8PngQuF5Sz/tacUdNa
huQDJW4seGU8dsWN9W70N7q7u7zQHxwJFkDpAeYhUMbO9AjnvlqTIa7J2FiPZZ2EVgNY9vS5ypkJ
P8ISg3wDPPhAzC0DH/TGuUmd6tajFL6SV9LdcNWPrwCsMLaZCTwY6rsIS86HQBVTTR6X02MiulCi
PpomB7xefcKv82pEq9c9H5977Rujuzo+xtWGC3yMLGf74OBEjhyBirFEQigQCdRo9Jsedfpk1UaY
xBS8VzcTGi2QE3uo6xAvIrbhGSvrhkQUel2hDgI87fJV3OsEWVaw7D3aOdo9b7J244BZ8Tx8FXAf
OPUKirUTKbFkV46PGojYujuruSbJZ8MGbB1cinjTQ48B7/rFusV575mxpQ2Pwvitmxxdje+XfXsJ
pJhdDxYosvPzzkfl9twzDAZwOKv6Ac5d+7ztgVAJ8IDp2wcyPYKR4xtN7R0d0NTZsONl26vzN/MH
QtHTBlpkcTCgxF5oBS+HR7PzXtWYv2Wj/WzWW2nPNTcwEHSBnB6vd1wF5yOUIxCEYJIfH5tKU1go
Xl+JTGyhpuevnIXhmEe4NpABf1nwlzEq9yRpVErGx7+NMy3OIu0dsmcB1STaO58uz9zqkE6MLa42
m6GRJS8ZtnODJgIZApC8dWJ8yHTM40Elf756ULdZjkev8eTwCIVze8+uQBOTLQ5d9a3Ue782kkCO
zJfNXttSEFudRgQfYGeGU35I3Sl00mZI7Y2PSddA+FPZXwbAUTK7CGLaHRqhbZxMCx8E6AvPp5mr
E0ytfwklz52jRvIGTdG8jEjzRoYWWeunFomITy3XByOL7MBQJ27K9LSMwICDFjmDBP+37y82UkIg
beJSDMI205Cqp6y2N0awOk0z4yaSa/M1uNhDXEolJXMhRz754zdQm2Q/Lw9h3cAcDgJTP1+z5+vg
mGjFl2oqIrTR3NKxvHbb4raK8+fLZhYP1/+sxN+o8z9mFld5puD0IAIrIuRzfaUOk20gOdz5I7u3
9G88+XbZ3GKf/sccaMFmwV8k/Ze17Rz9D4WmY1Q9bwO8Hnyj+ZcBnVhYzFtcUK1qGq2I9Nw9ehB5
0O2HhpXB4Dxabupz+XZ5RKvrhAoP9OosZGKXnQkNo2g4t8simowULc3Tn7GvALWKycbdvTgH/mfm
/tfO4n3A0Upa0qorImdu+RWGsnd6M4L5ZUBzpHJa8gTsvNxIAqwPDo9niir+3Ldw7oSo8VWK2fCO
HsW86tDF16zbeCNumVgE87wq9BJsIEXkoU3TvmZf0vKf9urcPoIKC3D5yxudDrYy2xpEsCl9ytW7
V93zcnfZC1ZX58TE4v4p5QT4b5mUUVFMQUYj3qK5yv6dZL/1NPy8KQDzwQwJzW9IoM4TepJ4yKHZ
YIk6zqMu8QKjEHexLNDhrDe+mKyvugTfxmWDayuEjlfL0l0PEdEyajTnlkRrdPLIQK2EJyDfKcCF
k23pEm+ZWd4JOLL1xMG4iPE7LXrfrH5RY4MedG2ZToeyOBzkVIwIu13YgLhMY5QhFdD0rXwkEHb2
9HR53uY1PwmA/u7YU2OLo5WwSRZMYEAe1saqX+mIZkaj2MXlxhZaO1RR0QBdKF7deA575x6hGZKi
KYUVkZHTG2KyW3S5bphYWxzUs4Ahxj+IkSwmzmH2mDIOH8i8AiwhDxN57byNCGttGKc2FvNV6z2J
0SGfR3IIy9oHGdrl9dgaw/z3k41DR9sCxwO+Tzjy3BPITJQCadDGOb226shEzQ8sD0Ch5ctV4VVR
2fYgI30wDsR6AH1caMpfxSdRSn+9C48UsBLiXIb+02I0DSivkE3KZBSTJ06v4q3S4uo4bJwwYO78
e26ez5Yp+8bjYAuItOnQihJ5dMAXxOH35TVZCz8QNqOzEq8dPOgWFwyK7WwASVcRkSkPkvLYTd/N
Cgr0KnRMhtTCVuD593243JRwY3RPIaCeGyvOh1WYjqhrWxQR9O6nGwfggiAltRlqg04OqVtZR1up
F2Cnil1p0HHHTDvdoQ9Y82vwSfl6hYIkGP9q3+CkCLjhFdcx0rjh5WlZc1U8ANGCATEL/QODuIPW
2X5sPRy5+WtmlGA2fzO6f7jbT20szlsI82hE10geaUZEqgc0eoOfbWNLry7vyTgWsw1IU87AqlNE
YGi9doz+yTGnmUvkukrLECCCCpqh2Ubtf2vuFseI1A0lehdzV79J576Woar+xQL6HfBGmpuNloch
KrmTo1ceQr4CT1l1laif+aj+4bTCSftfI4thDNKdnHGMi0jlZWAR7le09pv0yz84GqI7tJkBAYWI
/Hw7OOB1AumajQUCT08/HSbDCXQ8aS5bWbt2EXyZFuAh6BF2FmdVWlZm148OYjwFGlBQBhYH6dX+
WH1JxO/LpuZpWe7vU1PzsXZyyKezcovdIdYbhtde3Zsbn19zLhztgF0AwTfrxJ5/3smpcDI0DUQt
E7fMRf23Z1ckcT+X5fp7uINJF0yFM+vMB0yAE1e8tNWEvWmBWavQyCNx3Z+XZ2plKMjgYjmgBaTP
h+H5UOqC5TExnSzK2l8i3VX6PnM2Zmv2nsVioBMJcclcg5uBTecmvCIl1KEki+zyTx+DjsMLPAJq
qPwKPJ+h7j1UW3LxK7fWmcXFayLL8EbLsDZY/sHPzLuKJb6c7MDWxg2fXps+d+54coBe+3gIJFyh
3gHuyqgl0h/SfQ1eUuluhF2rw7FQMZ9Db0AIFxsHog7J5NSJiAz2RmV5yOxj2rShXmwJ/q2OBg08
NuRz0FNszdvqZNt0dZWDlRDOYJGv4FHxdfetrTaC71UbEOBBNxIwqOBVPrfBQOzGpgRrk89sYCEQ
OFr/ftmn1+ZrfocjWza35i6TJnZRcReSsALZDBq4Wetr+hBqGaKXcWP32CsHjTeXfpGTA5IGwd75
aECWqKa6q0XkWbx5rOzueyXjvAiomUo0HUjyGOfxA7DLexKlaHklgu4LxCWgzQI9MRoa5RuQa9nO
a6fGr8rUxrNxyt9kPPJjPxnZH2Em1d6bDO8us2vzWoGwDAyooN2jJW1CkLS1RyTihwiY4tyv+344
ZMRKQziSimqR9neqJ6DP0UD0WYiW3NilTsDg1pjeL63srAE8f24Xml1nhNNU9X9aK60Dsxz79xo0
by9M0vQXKwrvWMRcv6aFROkTRE0HAM5fUpUrv2ATO3JiTwdo31h7cHaBVY0kEx6lqvD12MqOIuP5
e2cCVk1AcAuqRgDRwbq+xaywuuzYh1BKRG0Q9aLztWhScFbzpMVerA7QHbsfgM9JD5dda3W9wWCK
1BIqzZaxOMuKSTgmSDmzSAK5fK/l9e7y9z+OYS55QV0avOZARizbim27IrnVYAeCEfAdZGC7thZf
+0S/lYazcXR9HMpc4oBkDvhANMB6F4ckLdCurMoMpg5xd0W2MlXLCgpuL3x/huDMoGG8HRbLURT6
BGrRDlPV8QLc/w2Cl2oyQcWn9qCYvmbFcDPU2vcxdm9FNh1AKvOmpdmnH2LzrwB8BakrIFiW7O1a
ltcaKABwpGleNPD0qCm8w2nRHEELHlxevI9x7rkt49wBKbpRTMrNLOqmel+AdtmerrKp3Zf1k1u7
d+nWcb26gkjIoABmoG9uebH2Xe1YiN8xwyreg9LiVhn2p/0dQ0LSB16J1uUPGs96VnutiwRglGk4
Kth7I7ck+1YHAWgOnmFojUSp93zSVEJylNfMNJr2nn1db3Uurm0oAO91HAvAI+vLeg0jtVFQNaSR
TLoHIbydnoIgjYOKq3adjXht1dbcWTFfnXPV63woPfAcmVfFaZROaX8FBuRhXzvNECoHZL2JV5XR
ZX/7eJUCPIB3Px4gaBEDE8G5vUyNsecB3BtZxiFzQTyL7NX+som11UEr+ZzBwLsATbLnJuyuAk2H
U8DEwJw9c4xy14E0eOMROn9lGSGiCgDOIA1VQmACz60IQ+YNKEuzaBy/pCpoQaqdpRvH3UcbmCzE
mRT5WYi0LSU2CqFbGejMskig50aTr7T66U57HSUhZm/xLK3aAmsKYCMaTj+68OmmRccmbZMMqWap
vthINwYUj2CUuKDocAB1sPNzihO6cdStusOJ1cXx4yHw0GMweURtMhznCALCSp0eQJ2l2JjLVUsA
90PIbm7FWmadQIaZZU3KsogW3/KhAW/Xk7EFj1mxAZcGMMbCesHNF87dg2lxrBOPRxzPq0mFXm6E
1lbCfsW9z4zMfz8JeJnbozSYwoj8YblVmCIfcXn/rI4CyHwsC8VolqG7NhaaKLsqjcq+CttW+1qO
4s5g3UYuYm0caPFGY5eNFP2HBh0gK7sGWCKMA6SFL4Q/Xx7F6ucNnKHo50Tm0l6ECq6hWgTV+HwM
3RD7aIBG9bKBtWABr0+sNLBWqFws4x7oWjSToQ08MqFbcYvOgGd0lcp9jfgTAgsI352h+FkTSu9A
x6cg4tDm124h7NtSpfon6afmyAVb10MuEq8HDHjhejkZwYw5WDwaDBKqQd0lffxyecAroQJwa6gU
ztm9j+Wbsa/1aiRwPGG+oiU6FJp1SJrbKvVCHbIcpbmxgmt+iAc4gH/AUqFcvRhSUtpC5Y7E1RTX
T5LW917Fj23P3i4Pa+UGnPvIEUuhALFSJIqHsWtLkwOOXx+Z0r4nRYx+qyHinfXtsqnVEXnzmwsH
GKpgixG5Dc9pwV0eOVXoaAAo3PdNcNnEqtufmJj/fnI6VHOsr4E5KlK9XoQjAT7WTsWW729ZmQd6
YqUeaqaxysFBlx0N8572x//bKOY1O/m+bFVdQG6IRxNYSk1gpih66j5vAqtu4aCGmBjILs5NNNRU
kLaJcfzkO1mH6Uacs3KdQjQeSRZ0DADbu6xsMbPB+Wq5SH+1R8O+MdxnD5zJw41jfj7awSGH3ISJ
KOFjHhS5y7Qd2iyJICa6V563M03xOUjj37MFqSIUoDGUj7kctDK26GflSZR8gZbGJ5ntPnx9sdbC
G7nNOL7utWBgvm303eWFXgIWPxiYl+rEmeqyGQVt5p+vV2EBBeys0QOSjuhihsppAhJO2Q3vo2rv
mDW8lOVWunLtogAiyQEoHt4GGNbC1XDmi3bsKsCwM+OBKlCW/8zRPW0I6CG0XASpSQ95C4lsHdzP
TH/O9H/Yr6e/YMkDCp6ouLJy/ILGth61In5R3Pt8JAeIF8o+8BFQHCy1N5ltVX1fGyzSvNuB3Mk6
Gr2NPbVyfMIEGHt05PpwXC/OtsS1K0eYNnqa6L6RoFu9JlsUGetrBYFBBA1/Aaczlu7EWSD6kXVg
g2MRNBXyb4ajQEg86upI3JbcAj7ODhaIjP3CiUnQe0hLJRWkZZyRkavMhFbuZd9dHfEs0O2glWLO
dp//mr4sjBr05EnU6o9CvtHqnRUbidplb/+8PYBIR4p77shBXLzYHoXUFCLjnEc4b3+jlvgrYRZ4
m9/bqtvrtrzp8voFnMTQTmvRLH95fCv3CJLDiFlcgIlxLS5sty7aK83MTSJX8WD4OvFk4zpcncAT
A4sokNQjaEjQfR2V062eQWET1cLPQe7/M39gnnMAZECXwzJc7rQ+1rWmRKA5VbsevMay+vIPswSM
pg4WCdQIloGmm3V52xDFI5b2MUQ7B82H8MMWWGZ1LU6sLHZXm1omeBNgJVWGbwFa0lXGxnKvRJBg
MkLj7dzAOjfdnruzV7qF59SSI8kNunOfg4r8OYVEzM00JdkRzavjA3TrjNB0hq3M4UqUh0seAHI8
/ZAXWJbrwdGfer2FYJ1U3bU9tNfCnb4YvXpho7XhEKs+d2Jq4XPxABgqZHYQgjlt7KsuKe+NYuoD
V0u33Ht1zVBmA08oUNHO8tCdaGFCmA5Rv9Md8ues3QjD1iYN/W0zhhchzIeG25hnrPS6iUfg2hDF
cO+at7rogqqxN4KYLUPGuWOY2gQxDReGavESd9YNaZ7afLgS3haKYm3C0LKHBgbIT+PduTje4yFt
07wgSRSLQ20cx42k0OrnkTxBjgFcgkgEnI9jZCKTE2g/gBq471/i6h8uQIB2/7KxADXlLTwLZaNS
T8cyiTqqg5VjYuXLwGh/a9fTFlfo6kWoAwMPaosZO7XMZZQj5APKwUiisSFtEOeA7A1ZVt87cTuU
vpnqfsKTA/rRIXzTqZCm0O0rM81+N/tuq8NsDpDOc23A+gMpNBct8co1F+MeErvsO6jnRR30bkKU
OdogMadyr7u5GzqOkrOKoIBUn/cCnddh49Ra28+wipAGEIAZ1XK+qFmeQrAjRj+pPbg3uuDQuIzD
RBwuH/KrWwAtpejdmvNHyyAxkZDxmVSeRFrR/nLTAiIX3ntWoeDWNhuZl9UBuUCTWjpYO0Bfdz6g
Ajcy7V20/OqZp3Z9NZYPHa3y677qt5SI55VZrtycx0Z0gWMfi3duaiSdqkYOL0rsbnhoBLAztHqk
jT2GDKQKdzWrrNBE5+PGk2XVfdHugEY4lIXn2tS5YY9wu9LSIQFaKn8sEy+cmxNbMYLaugxblCGF
AxFAp/G8IDbaELIg+3g0P4/fdcFG6zjoOTPR0b0EqaRJ4ZZTKSQe/BDhAtUe+1ZtvfjXHOfEhrM4
0krwyMaGCxtDdyh65VO79O3xyuzTjVhq7XADbmQmfMHJCf7S8yk13K7Xs9xAiTo7OlbgyOfP74CZ
GG3mk8CUeYuBIMU81qOdSlAGqENTvaEs6uvtq7FFOLvm/hBDsMGCDWpna9n/zAxI0Kp4lJGZTP5M
4A1MNQGo5/OjwSMFJ6iOh/kHDW5qspx5mZJRDT1LA7SEVyAltrbkq9cW/9TKvGYnzxWQydW5aaLJ
uocAZk3rUAw/0iTxc/L7H4aDXAmwutAtRwvbuSGlWXkuoSEdpWbo1EHrQV71x9j+y1mLjMn8jkSG
7EPaJAYCorarRkSd3nW+V0NUy2y/dzTbePWs+QBs/KXfnbt+F+dSygfTG6DeFOVTg9ecySrf9IrD
JJuXy/O2ehCdWlrcXYBLqNrTBxHpJmSR0KeZau5tTzw/E/SKczu0mbafJvd5guZMKTi04/SNjbW2
cef0JrbWTJuyrPGxJm10IiYROW77HYQuj0WyhYD+m19eHvQoeIDDGZAswOUWl6ReUgi38lxGXkW/
WNUUZhPEXCoMLysCXDbAq1sNyOaHWxMwoGzwrmWRXg3NFqvY6sLibYGyLzoHPuZaUjC8gZ1NRoVR
QRKaVCHEz5KwAQb48sKuGkIo8hdPhwhpcVplMuMcVEnYeUMGklbK2V7TCXji4s6NN2ytLiDAqADv
zaHB8hbNppq1EKcGMrs5ePet+IeoFWXG/35+4aIydtCQN+AGUbrt99De675enqt5N31wDvCAzY15
qM0va2912tkqN5iMWDn9dsprUOoQmV+bE931Tbu7bGx1YcAeDMZC4EQ+oCd0j7WD7gGB6LgP6Dfx
teZBgNj7shF93QqCNUQ2Lga2uAybjnsCrK05RE814XvF9EBj9wDZ6L3F1N7iEIP3Rx8i0BBaNSZy
VyT6Q1wkIHSBktPl37I2uyijQdkY2UU0c80/9eQOkHHcs1yv8sgV7dEb9W9VAXHZEY+F3VA5f7pE
kH+Y4rkV+y/IE4Ai89xiqvWgUEQxIxrJ7Qwq8vibZfy4PKq1m41iDwP2aAOXsDxQSihgtmpAzG+6
ByPb6cne8A6m+oes5ZyR9RAHQ01iSSzhMIh4icqSEQqIBwh0HyAeeD+JT5Ls/M0RUaS4kB6aA1LH
OJ8wHusItT1PRlL/5tlJELN3rVF+4rx1Noh+9HHDPdcOjFN7iwWyIAEMGWcXBwY0GOkfA2qrl1dn
zcBcENBwR6O4uvSAQmH/VTSb7+krzm7o4z98fqYfR/gMIvjlY0hKV830bRni5t63wb9XVluMy6sj
+F8Ty5Q4cu2Q9nOB8M2TVl6NQyXujYRtsdmuZlfnhv+ZJVLHYbQINLDbx1qrAROhXDrfxnjgR8KJ
DKgFkrghi7MDWGB0aMOLGDAfbu3zboTW4+XpXDuskDZH6XaW+EHTyrn7MVV1orUVoh0yBQD2vGXT
cMyh3X7ZzNqUznT96MvHnkLe4NyMMyVcn+TcmBbHwYh8QL+VldiyMP/95KgbWZMnEA8UEeJPV/gt
3f/LCEBhgBgGeBtt8X0aN27iFEREk3snoCq/kRlcy2OgoD23D6NG/4HNVpiFSpsS0a2ybt209W2H
BlDW9XE3JOTWS42A6hsjWjtGT03Ofz+ZMYZQmxcewL4tQhO3GAJZXxmo4pnqeHnqViPAU0sLJ5us
FnA+2eJ5yJ1jXmdHiJ/vOpnuO06ve7vIfeGwa7cZfY+0X/PcDnOXfOnidOPpv+ojCEERyOJKxN18
PmKHOYoVPUJ7a2hePNFfA4m+MdY1E+hwAB8JAj/8tzBBK2IXpQRMFB1ZyRc3ljE0t9XwenlG57Br
GTWhQX8Om9BKj4an84GoApgZiIln0WAPYcJerBTZ17uC3rZU+Q55umxt/toHa3jUA4kDPAu4ls6t
MW1izSCBmjPtHGTHyoNQqXeVZOKOZeaNB2b0jStkrS47E7n/1+Jis3mkQf08BbptTJs7VcokyLX6
elQTuhJkdzNUbE+U7Y+1gtC9Y0Emte3Dy4NeXciTn7AInQw5ThOfZBY1tT+YYSI3npnr30ckCqYy
VNaWSF6qTDf29Ar3GHsyxC8orm9M4trJjj6V/xowzleNtllL0hqrxuUIDd0iv4KuyS/T2iJbWDtG
0AwIjJGOJQP95rkdAQlDMyHA6TG03vl06p50OQZmJn5YnG4syuqYAMQBzw+28Ie3uQv+/Q7dfVmE
5M2dM1pfuCVDx8x/X177VYc/MbN49WSDO0q7wdRRO/YTZgRspndhZJdlOQi895etbQ1q8V7QtZwM
1MKgSlsPE6jOl0nlc/vTjSqzM/z/qYPy1vkydThhpSjgz0TduHiQ1g+F82mWlXMTi4c+uvv/x4RT
H43+0PwGo/rlqVo9904GsfDpspZ168wnkTC72yHRv0nAHGtJI1OPHxzWPzfGVnf9unsDxgtoAZ6o
ywwJ9D1KN/WGLALvZZkcsmKf2H7zD8B0VNEAGAfE1sRzY3HEos7SE7cC9t0jb9mju6W5sjoIdHgg
SweGSsjqnC9+3NDOK5IyixRIxdHFoq6YRo9Dh+abOt94N23ZWqzRkLeutMcGB5sZGMPR6v2e7qpp
o1CxukVPRrSYsCpxAT2VGJETe6lfJUPYQtJbTe5VhitXjdPWu2l1WEhtA/sBCMsHbjXptuWo1Wj0
StS1mBtmxqB2CJKq/3IvgKELDoeEN6qF50vFzKK1jUqKyB2udH7c0i5cPWzQvTI3LkJEy5mvpZOg
z8lstLEkeD7V3g+NPJnlL5W+Xt6kqzPl4A2GfwaoDBdLE5dl0wmOEbQymOhVOpPdHdEJf9nK6v0J
JUn0KupA2NLFPBXMFBDfxnq0kr3LQtsVhP66bGJ1IDPVOurcM7PcwpNJzD2eOamIoJVS0IBNvo3S
5tZ7eeVMQ+4VjAQg7kOZdpkBA34/1ghi3UjvqiuM1vDHtq0hjEifmsG9c3LyOqbTVrV75b1xZnUe
+4kfFACe2Q4D5h2YpXs0w13j8Ags2j03+fTHGMgPUnb7ItlqjVhxv1kOAIkbRD3I3yxWLS9pD+lz
dGm57k1dZn7DbmxA3S6v26qR+RkF8C6Kpks+JgasM5UuHtaVeZime2ibc364bGLF+/BqnzHw8D68
1xY+XradyEsIwIMENmgCtcXnvvX5xS5187zMjBifnzhIq64r5/OHjDXrJiAR5OIVoc2n68nqtyoZ
RW4BP92igW0M8o1AYO3nn35+ET91ZUOawcbnmdyJ9AVkGBsrvLIzLWDZ0bIOtBCSuQs3Qo96bHgp
wC14p+PpykB7kxxHEGMP1Vab/6opYPnnVBY0h5Y3M5dDWRkO8CeOlfhVzsLG+KMNzB+MLYXitYMA
QBrsC4S2YLRcxIFxltZannQcEI4iMoV91FrQLo3g2rZKsjNSfkj75vWyH69tFexsDA3Vn4/1n0mY
CllsINSMVDwOnnHTN/VLP25dnmsOASEQHNUwZH+4EnSjKF0odAC0XUUMOhWfvwvQHI12ZWRQjRXe
0YkbZd4ZQ2SA1vsb3yobrD1Hz76/uAik21dORYD7J/Qqo3RfWveDETS160NAU3lfWP02gVDTtMLL
q7MS5KANBll0QDyRhl7mK2TuleiHM3t0RAqf9r+EeSPJVZ8fyy0S1RXfQ5EHGZ85Eznz75wfCI5U
Zq4x1oP9IyLdzZhmfjl9N+rHavyqFdXGeq14HawBZoITGtHUskJiQhhiVMRUkfSSO5Laj01OX3j7
STbzObUOnwbsGG/TmRBisWxQeZwoUa3CIa38MXn1/qFP6czA4hbwvNYYK9WhNb3wu2JvTRvrvzJP
Z9+ft9XJMd2gNRvJYHzflT8ZCQdt57Dfl11sZeHPTCxO0jR2JXOmfh7CF63nYSlaHDX3tiZ2bn5T
5ls0rSsufWZvEXe0cZv01B4UHjqOPxrI/CFSxy/YZ+1j7W7M3zw/i8QVcHxoxUXMgb6nZWqCe10v
wMSnorR+pgd9S/phbe5OP7/YNF2nWbF08PlR+DI7pG3odfcNDZrkUH2ekREQYlRIESHOjcvLZyjz
KHQgq0JFZn+vtzKspldmbBU+Vu46SMgAjwVNNfMjnM2QYLOyaqOLYjtUBRh6LOrPJevR7T8fP7l4
hAA8iqv1Y42UuFlqaCXroNeS+9z6NW3ca2srf/L95cqXOVFo8RVd1D42ephtSSGtbczTzy9WvjdL
mbEWP98EUANqmcN1U22EaCtrgdYdoNMM3UaVaEnN0DSD1jpMtBF4KnC3CPNYTPdyCyG2Qh3mwgzK
Di6ANbjqF0fYmAmp69JoI9dSaHwd/Lh6y+OfsfHai5es9l+TIxKtzmPyTtwgsffoj6FbDNF4UC3W
C2H0LKuAxk7kJvCkW4q0Iy0xguNmmh7JBK3CJs7GP6MlHeYLT6/BQ5vVAU6qUPJB3E9ZXoUkFSIs
KBqDMlsH9YrdqWAogRxv7XjaIUc9+i4rLH/KuxxVVFTSfFE2FQZjGb4w8+6ZdeYQiU7URy4Nd8f6
xrq3xl6PTJCPhq1Q7l0xuOoodPZqlk3/VVrm8Duj0jtSxslrNlq/idOLHRRt0yc7yeSuGQBZdMDB
Hui0B3Oym/8sO12C9lGbShl2RZdzPxtkfJy8Uu4Ja4urig/2kVm18tvOnsLWBt+px8dxV2m0eHGa
jAdWlVrgqMR9acqB+ib2adirER6RlOVdNxUeKK5sb9+IzrmOVTMc9SIvwwYItMDyUg1RitbvnGpW
a1ctMfZGTKBopbPxyUFQ9tRrNX/wrFH6lsX+FK6GfDqtxYMYKPquIBcV4IXKfZaB768AGvtOmpm1
wxbwwsGkfVhlSu26uv2BbqUUj0iph7U76iFYNwGgSmR8C6pF7V4aufbUSOuWQZipnHbdmA/XlhfL
Hfcy20/yml3ZrB2PJgQ18OTS98x2ZtIT9zelcgp5WnMfBFMsFCnXdqlGMaV9SnZe12RvSA0XtwPF
hcU41DV9yx4c/bbl/Aktl2Yg7CGO0Bv90yyy/jhmqlSY+sZTvgb1niOxugQ1w+SbN9YgQR/68k2f
uNsHbWGxLqjr6dtYp7QJct2VD8QlfYjGFeOnMUyNFfau4X3nLtO+GYDk7khfkzQgo+O8GLjifsaO
1L94blPcahLeWBneOyL99utkTomPqXmGY4y7WLbvkgzkOc7i6VayMfvuysJyr0xO25A63WCHFuWu
D180iiNUov4karKf+gawEc68PpTuyI6onqnA5so+QGQpecq11C19r0q7V1RVmp+85CrQSAJVpNro
f8QNkAeQHCRhDOUdFqROQgI1COfOrPpnhwzJTc3B2fVQWh078JKAGHoA9UmCStrVIGUN1tnW2ukt
ONCT2UlG6hTh0I+PpVUozDP/lZlj+j1nbvcwA7N9tO3qLylgA/ZVjFaVPc5S+3mMMfe+jSo7oDld
ck/0nH0RVfndcEr5tSmNb1kMDNzYj2WgrMk+Tj1p9hlWaULufI9FGh4wt95Xc2yNAMrbesitogVH
5VjsIWjthkWmfaMTOq7DsW0gas27MoBiBf5XgwUY56z3Cs5C7uudzEMNPZo7Z9Ca7ww7sww8R7I7
q2o7DHSuLbs9Or9+OulPBY50Fue+Mt+ZoJNPQUAT6r3ssMjlXITuhG83TnrQZdoEbu+pcLLjIqSt
l+7b0RJBDmajAKRb+t5UdXVlFp4VZixxXhor1a4Vj1kg2MiCvDEtcDS6nt9PsfBLNmjBVDWg5+JO
fV13PQlSYSNsn+xGBDXv+cHKzOproyzy00aF35+slIdzuBIYXIA5KeH9YRKuRNk3t3zsYS3gNJWB
0XR5FVTcap7RUtcERszdgxR1EdSdM/xRoO6/qZGQ+9kVXFyZRkJ9ry0yBn1T2QZjzcYjDh4NGbOk
RyO40l9TM2+KAPXW7lbyKvlJCd7aPofYSWCm9XTwaltdm2lFD2VPnF0vdPXV6LKuDQa31EOiVHtg
Y+8eS5pYYVWk6hkqh66fZnX2xZAtP9QcQBBlq+RGIYMfDXFX4hgnwxHgCzdI9U6777KU7gVB+4i0
7TFKRdOFXeu2PssnO+zcrHhUpLWvCVjLjm1Hph0r7eytYb08puOoB0NDc8DENedm5EVxbTex5seo
sQHKVU3Fe2MKHHajSEOitRHVhzxIYy9iRI9DI21+Q12b+7zP8ZoX4isU2CS4psjgy9huQyUtvteI
g1PDy6f7rG+5T9xC97OqwsXQTPyuqdwmgGqJ8g2BFqiizcDeacX5rhFFCZxAQ9Pr+v+R9qU9cuJc
278IyTaY5SsUtfVSdHc6SecLymQBzL4YML/+uci8zztdVKlQ55Hmzq1RNJwyNvbxOddSM/wm/Kj7
XnRym3SpfJhY60DLym58HW7oPq4UyjOUVm5irox9FBG6DQFH9oF6nXtcVH7D6Zv5KhaJP41wKrG0
yvDGRBN+lWJN96VhHhpAp73RNOB/q2UpaqLUecBFKPPMpnC81jF+Z445vTR21DxXosp3rY6wlmz4
1g5J4TpROn4uusza1EM3uSiGk8cwBnJDl4IcUifsdpXWVj7afePR6ZLBz/Le3DbgnWxbbPyHZhbw
0ZrUPBhw1X2RuRw8rQVGEb5yINBXWDttajHfintzM+XwQNUUsiBvqGCbOupttAEUEEDbsDPuM2Vr
EIHAHzy0Ck/FQOo5ZZu7+YBNQ2lpczSdkfqiLtLnVoDnqbd19dyUWQVVnEm+1g0axFTZxlPTUvzo
osn8HhfP76lUsYtmYu06tIcbC++GHeoUETjleFkuc6LC51lbuGnlFIeMhQBQ62WNaxccU3TlJPsG
ixifdNK9GKhq/hCmFJu+sfo9S5zBDRlk+sQkf5Zcb10YMAuXUSyzMS3pHT7Z0IOdF9tWVhrvoLiH
vbuzpz04KvjIwFrZiAL1vzFHzUyfMuPQIWt+BJnMNI6J6ajBjUUotnprvqQiqo5jL2u/7AjWrDlB
4yEsIScriXmsIr3f1jm3XLtn+cMEHq5ntpW10Uqew3EZ2RU0sImnjxUMHqLiLS0I4PXGZByg9htu
ayDGtoNtSJeQzHZVYbaApkmgJCvu+NVoOm5Rmz/sqf/RgP731vchhVFEgi1PMrJr+lK4jQnXcZVU
EGRsKuNOqDh6aLU42empLD+nkxZ6jMtul2aF7uWt02zqKBEbAqvkLSdlsyvgrXuPrABrUIHFO8qY
bKHt5fiwXX2SUexwF8pVSMTrhu+SsIRRdAli80bNhw108zCnakQOMabG82gA0mKkGmk8wE01z+hB
5a5ZP2xQ0x39sG2TfdHGMphEFu7LVraP+QQfWa3pzEd8R8ofRRSdyjYlj01RxhB1ZtpWUG0AjQOu
ngrGv5abZ0RsoEBVbUWKe/VGSku+KKhaZbzEfYGfauSXPpXx8MW0E9SoSwjtfdMt1Qa0lulPo+rS
r85kRj4XzrQZSPwjpSl1Q23IPOQgulfUju61PVJZQEzZHspTzrZrQuIDlYJiaN9aGz7Zo9/JZPTC
HBznvjKirdAgQQT1PWPvUNn5mUax6GCo4tK+fFOlMzdRnPxkg3i50YsYkBJjLgKYle2OaJL4kVFq
fkxV4ps8iok30IrxnVGoqd/CAqOC3v0YukYcfYkmFGUjtEvekEbE3DdgAhrEhujvOeyNs6NwRFUh
mYXPMyxI5UYYEB3kjdM+OpH1c2jSwa1KLHojrOLtKEckpQA570NnwLGT4xhMstL0lei7AwpZ8mUo
ATa1orJ401lm3YN7032yOi07tm05BaYWJaabQoW7vGuiiROYZ4a1J9p2oh6wpOLUjtgQYjaNnoT8
Jo4U2NlCfaiD3gBPcVOl1jMyMwgahlW2jYEauS/G3n6VNAsrTwyVPI5jBC2pLiRD7UIfKfkFIRQZ
GBooN1lkpXdd3YMCLPoocQc7Hb0OBDmvRoa3C8tO2zqNwvbAE9ODdp29mRgd9llZx/vSGdqNkVrf
OqyFB/TwOgi8hfnnEYpZ931cli76qnBzUn3yGguptqNulhs52To07WvyyWZVErBIS6D4mMS4DtVy
p6vC9lnUl699VsMjZ8oLz6nSOemRFuxxuXOMu6nwy6j6orVN6xfCzO8LIas7lpjdA248Ec58vT7x
rBlfLLOODqQRWCqtnh5qLn7jvxKbeNAlnOfxbfJY9TunwF6K61Yd1FWNzL6hNsyDjSH04zTqg0yV
mqsNlvB11qFuY+CKkQPd+aqHnG3NhpOTgw/7U0fM0o/jMN8UYog3CckhDjnW/R1Jp2KrzF49A3zS
PRtgM2D7NKhbDLLdNmno2cI+gOX7OQ0NbSMF3IMjNqSeyIv+kY24K7XYDj3QZtotY5mxpU7HPb0l
wy7mPd2EXfErTBuJzaKvj2WT0MeS2cLLSLsZZ83XBvU6+Dzb3b1O4+57VrSAsie1/gARahtQugIV
D/ArcFSP6TEmZepFXVyBdkF2MdVcyEhXrjax6TiAje13oaiPmiOjrc5DKNQDXP0M4z4ADkHo2Ixd
k9/NUKVtVonIs6fBvqeVSDeVcJxtbyY41iHI8smgxU+RdPaJ6NjmTKdC2jLUmptoenZQUWJ/Zw3N
YTcbyg3rmu5k5oVxRwunOwLS88u0SmzQsqFHMepwMQCoyEVBPNtOPOyBuFDKc4rOcHlTKt+UMoHi
qG362jjSXcSJdJPMFr8NJuHMp0faqTZTcUxKmW/TaCAe5Fhivx3E5GIL1/y2wcGQ8LYAprtDEupk
7IhOYhOUlE97TRm2G6eVvYEWrualTpwdep7wu9GOKzccqtgFpaN662oIhYDiHx4mBp7pRLLp6DCV
focVt7m1GzreT83wG7X07NXQNbxLnn4enFbbljL8Ids2f2l0UQXA944uGxkLSmb1LtLRyO+ZWeyQ
iEfeXNjeoD4ybEAZ1F2K+TnIRKtdBnHNo4wgeumickIeCTzEPNkN3SajxWNMB3oIwfD0I0dpJ6ND
UcIURnkHf7jyoTcEmgqJNr7yjr5MXW4JtyK58xI6xknvifYKMScKn/ishMylcOIgToc3J47HhxJk
KE8Y4W+nSOUd+vLjkfV1cTBwZHlJPA5uCZdrHRb0wyyKi4pViZejIbwk1sEMo2GTCgHjlUJUXpEQ
20XLKfLChFd3ek3Jri+I7dWV3W/zOEy9WuefgZix91OSFb8hEsjdSXXzlSvO/JRHPa5iTX0yO+hm
dcyZuFtWdHo24SB+MCUVHjJesrOs/HeTpc6+Z3W6GSMTeVnS6nc1VM+3uUbv42rIPTuqSFDr/fwK
LXXoHM3ZQADzew5Gzy7D5WsrmkyiqKCnXkZRgCoKDRk3bmD8CMfh8bUczXEbTgQ3ylHkX1NNa74A
120eTXwbOzhu1m5ZO/1JQz7lJmkYbey6Rnmrz+m+HMLpEUdq7fZJbj7VCdzFcXMN71LbZn5ejdre
6KysdgfWxsgurHhLIjQeckjIuEmVO37RIsmMZP3LTmTtZvjE9xrqTD5sYqBDMjaaP1VV9YSEeXI1
+IW7NcGKQml5cFkz0gcbTJ/7OG+SjxVj/y3uOX8kMCidKTHnbYxmHEw+OfYUgBFgsvup3N7uYVwr
Hs4+IXgyRX6wVC0u2qg1YWg9BZ18HMUhZi//p+cbC+jcEFqaTRM83zlloTeuEQEWxeQ/r8dBdwry
g+jAXlC4RsvGGTeGUzCUGSqFR51slVjrmF97R++DzL2M960knvPB7BEkjb1Uc9fkKNcev+hdO7B0
b8cOj7dQciyf6ujt41PgzPaL4HzQmUZw/vOVVSszRfUpyNtvQat///DTQfQBDRKauvZM/D1/etgM
ndb0Jgkgr/qNoTyECtjHoOfzJP/xW4cFItScEeU8RIksOq3aigchyU/oWML1Tum/bw/jykJCDM7x
PzTaAY89jwFRMUdPCskDiNDTNmgKVCo+3Q6x6Er8OwwdJGyo7kHB3Z7//t0ykkZpCJOUPJA4I6Fj
9sLRWs2c7JsF9vcKyGPRXvs3FprDzmzkgOLbYttQKDTWU1VwHJDjPs374xTKJ3CqP7E2+kGURDly
XEEVXlnGIMmZUG4E4pIB3nM+PFJpoy2MmgdlJNzsGK91W+cZeNeQ/DMkaFTjG59xEOCSnD8/Yyny
mSK0Alb8nLpdnigXtVR3xIdPKKpA8corXHKM/gSERCJgJQg7y2OdB+SV42RFTMyg6C3q1yyE0oHZ
HHmI8nAZ+2nSo2RbfBp1zR+KKvRur5Zrr3Pe19BiAooBAJDz6KjqdhqADWagOuKp4SjMDxoG/Tu+
dxEW+0KPMz0eBDODCJ7iOZak9RcLHkp9c3fKBD5vKdZXIlm2UU3Cisi5jx7LYKCDA/uKSH7Q3vGP
OzAYWMz4Y00E/M/iZVHk/YMldYAhHC9WroY67u3pWPJw/g0Bcxfwl/DnBf8VBOiGdHXDggkts0ju
8iIomsG1quNU1Vt0mL9oXf6VhMaudYpdjHqeMf66/RsulgRIvtjGIbQDyqPOl7lASmqOa6yjAnDN
vDTO7ye9/Rj6bB4liGzAl0A/zIJW++JFVriLoZagq2Boq9+kCY9Wbq+0ry+2wUWIGeXwbhuED7iI
soapIO2+0wK6XsVpLDI3/iDp7GIoi1Mb9w/bLkPEgcACrs4JEu+VHeLafCB9xmYHCgfof4uRxLAl
hhRKgghzKTCCCgW0D1b5PHOGdLbvAbgA5j8Ug0F1xDm73FdVbdR1zoagaa2ogBN8nfn12Ni48Ttt
6xZxXO8zUWZ3amTJa2km9lYfin9uL715KBc/Ajzo2WOQwPR28SNyLSoEdB1gRIwaiAUetM2Q+BrC
1SkgnOkacPBqOESZWb1/mI/nawTCCsySpj4EHArdMAMYJcwMUcNv5RdjTanv4lyZ3y8Y5yAS2Vj7
y3PFamAeQstxCMaRfGY82jam2bgcjSqkGUoAO1ZsEjP7Qac1g8OrkaEeAcd0ZK8XuJTB0KsGFOYh
kEnqDtKC7S31zOIQQg+sf2qHwgu12r89kReJwSzOCgQ+1ixM4i60x+Kem2gr2UNgQDxtU6j80YSO
f1xCwtPuwArDZubnjH3QD2H+GCGFAN8A+EzY8zI6n1CjbSW0YBwozuIMyM1dzCJXaAz3WrrBv5Yf
dED8E28WBZ2lEZD+LHOtzBlxk7Z0rFfwM3NUBdcc7y/yRQzIhPSHCfAFNrTlB4GGFS9kX+Lbx6Xa
diAN06Fw3H04C5jDoM+G8x9eIJCTPH9v+AQAt2DtGEyGtRknfoINw+H2iriyiyEE9i/oRM608+Uu
pjT0OJp+DNKqlE/KRiUZ95Ho5XaUa+tuxmPC2M+A5NeSdZk7YcO5Vo4BliRaoHvezP20YyWlJ8Gm
6d9uh7tyyACO+V+4xebfSdWrJKzHgMaAcIy/bPZJOeZ2Ej9ux5nf/3JfBMIU1E7k2PSC3ilJ5cQR
L8YApa1nHlbYhNWbqIzPVkvhCJh4Tm895lEfebfjXianWBj4nnRk+JBZAAbpfGGUWZ+BiiJUkMB7
lYYaKkG1z3mLSt3P2nktkZtG+j+GvrJYri17sKCQakGY8xItrGkO79qEjoE5vVLcWnjzu1rTRLqW
as1+mbNFB9Y8spHzsZkkQf9ymMYgIieOHZi1iadlJxmaXmK1Lp2ezGKvk4eY/daGAwAxt9/tlQ8C
jJJ5QwYFB2Oc//5dgmIMZZPpCWFBXUDDGEXfKIn3/7cQ82t+F8Lu6rluPbHAzluwcncae7od4MoB
ejaGRR7XGHomeYwxUIHWkb6N5WGAcoAQb5KtpAZXX5cOoB0EOAiuZ4vZgsYk0wU6g4Fl/jDD7+n2
9khWHs8WBaQxdSZbFRke71ZMuFO2Vn65sqRBA8fdYd7/IPi9uOYlvYE2FhQWAqdpwn2tJH2tgRI6
pgPlK7hEOj9rsV1Y8DpHDg+FG6joLWKpEgwhWpIp6NCvp8mbod9PWrKNy89G/NOe5p5ZvbcBbDNW
SihXtt+zwOx8wQme6tHI5RQ0InrRTMuP9S/hEHSshf3iXmYr14hr2xPigSaHhWHiAFss8EqDfFqd
tVNQsegfMyX/VLCLQScLrYc4chNR7CBn8GMK63u9B97lw0tm9hCCTiHMhIBjX6xI6VTcziVRAeNu
CIHAt//T45eCen2RJipmeDyqBihJ+539+y8CIOUHZRbOQbhsnk9W1CatsAepgjyCq/JIkHFH9prU
0vyQ5VKExcb/BlmifLueCOIMtQriEAFKUj4XKX9F1f7nGKPdQcib5kzCLexxd3t01743kCRQxzMx
RxcaN02D5gENxRTQ9quJHLvboZl6O8SV039Wbfr/IZY7eGsCJd/mU5BYG+N7Q+FEsG/5yhq/sjEh
CIc2G5hgsKVZfMstkL96OyGIPm04eGBr7+n6IP57/uKTDZVGKg5lr2Cotr2zi+h2gOfBWtXu+mz8
F0U/X2ttZytZ9Iii1z7R3eSrvjaOqxH+JLCzOdVFZbU0FdQU4j/3fdJvMjv+lrH2kTbcvz3pK3GW
ynF2HLfGVCsVcNzjRshbRuhjuzxug7+JgzsboNbWpfRQWLTA90kLccqHAsDpNgBA5XaIq0sLGP//
DbHIXp2osSC8ixARkE5tWrp8zbzw6uJC2ggeKXPAi10sXg3Ah7IVJoowSB+LgQGzY27gQz+w5i/G
go0YfGwGj09saOcLLO1sALI1A80TlE8BvVt5/LVZf//4xe0lw6XVyQFrDWJpbdivHoDcNSbZtXc1
y8DhLSG9QRPifAQQatYTJUoSxPUmqbzoAAiKuXYvvzblc2tgdtdDLrXM561em0TZok9mT8Aoka5y
hc1fby+rqwNBZgvSIkNpb3kHs7MwTCIakcC2Bt8RzV6EpZs41LfF9naka6PByT/b3+GGguvR+SsD
ehYFCE2hpdXY/Y7C1W0Tod740Y4D6LfQIwJTHhZNszTleRQCs3ZTS5BNDe1W8wFAuj2Ia69rpvNx
UNjRe12qCZg5wBHhxKdA6QCORrWXWZYvy73ZraSF19YwijKw2sU1ErS7xXnPwOAz4Cs1Bmjpu336
vQDCp8hXrhwrQZbbI/DHrS6rOUgJRfH6S2+gKLJWrrgaBNcmiDxAnA1CsOczgly96JGqjJiRxsu1
34jl1t3L7Xm5trjwokAqnkuvF7QbhnqdcGzUdmyAhI/tVLFdGMnft4NcuUDBc/W/IIsVHNZWKBsT
F908RemxfisAOqj0N8yMU/5NKPRPwZNG/+ziAjIYfe5MFmD/YlTwBSTNnaPRp76cHmAC/NoAA317
aFffH/iqqFsB8wzDrPNJqrLGaNLaUAHhlWtTXAzXOMVXv5z/Iiy1s1NUAVtIUKrAsXZC20wQuwIw
cC0Bo1dXG2p7s6wxcu2lfn3YF1XVGXhxRaygPG4/DKZys6z9EjVZdxfKGkgaNExQOc7tr5o0FcgC
THfzcbR30pGg1/QbYeVyJcG9dteCCN2MR0Btxli2aXr4S6aaRFugypt/cpo88ErGnmZ1idehHeY6
sIbZ1UX+8Xu49T7sYsWqqBqAsolV0PDBAyzRr9Xz7YXzR416eWfgM70R6wYtvT+3vndlC8tJpBOD
Z4ORhQMqngCqFcrOt0i2zTuiaHsHOxXnEch3UC0S4GPGQst9kaf1oYbn6S5ioENr0hBvt3/YtYUw
C6eiqz7f45eNGD5BAhZ2HfiChrv4q6w3JPb/IgKY5CaHZtzMhz3/ZpIYlLYkwVKjAKGmdgOg72vZ
rqFZrn03YKhy1L1A5oPR6nmU2gaSvHewR2cj3RRTd0Sxt+3At/igbctcHket479Ai7USQSSj6wUC
hQrADVJugI06jflYuOAffLn96q59DrMUOGqUKA+B+Xk+qCGJJuzXaCkWmvbABviDOdoO6olPNUXf
KBvEF0KSb7djXnuR8zzNAtKzQcJii4vqPg7tBpTILDyVBhR8iQvdfm21CjvfwZYfxLs4y0OVOEqw
RiFrS2HrW4KI1AKR5sBtnKSfrexOL1FhwQcvjn1GDlW3psp97dW+D79IgHJVhyFAdFMA1GoLTaXp
S9keKd/kzCXWSv5w7dTAeYiXibMdgsiLtZmkY52YkuGi2DCoeRmdi5tj4t2et6sDQicOvg4A+gCv
dL5WbJFYpRNh3nD36ne6pk33eh2FXqh3KB+lmeULY0hf2jxWm7+IjMQFqZ6DP5ZJvp6BZWdwvMqm
3Tes8xr0DSb2KaEGvKgDaq2krlfSC2T6FvqbaIfN14rzgTZ2MjgyBOaLa0+43OdqWzV3eK8mcW+P
68rWiMQYmRjsMQ2UwxZfn9GZY5vDAyIA68Gbmp+gQXTx59sxriwNG90pdPYIB2ZgaZfUEqpSBSRy
UE6fwmnLh8NfPJ/PT4d2rHOh8lSVUU77saZBC7Mc5db2yju6+vvfPX/eTd4da6SZokLqGQ2gi+Ol
dHThKvIXI4Cm6SwcZuo4oRYRUP/IM6WTgMSpyzbTRw2Y5g3dhsYeFH1gVjk3Tc4DVHY75Llu0cB+
UEJ3NTCfbo9gfsBip8NSnR+Ns382ez4P0JE+a0OjZ4GRpdZGOvkhFBxsXXmnj3zfQDHTawZnAhcy
/Xo78pW9HLaEQJXNHTa0rBdDg083RB5neOQEKsLgmZ81x++L578JAlwZfMfRcVo2QfU0pMIaYxJk
RMKJSKmDDEnoxc70aur5SoJ4dUSQRYeDDT7Li1uSMThMg1oRCWRrPsPs4GVmErpaLk7KXsvZruyo
aIL/F2v++3drW2vBbGVjijt//y3LvtHmCdZSwIlI53MOdaTbb/HaZoNWKGCH0Mt3LsytdKuwLQj7
TUFfA3LDmAsVf7ePP2jP9mexozUHNCvMf3RrmVEwcEOscEJzodA7z3FALP94aRdFBVhcAw4y72eL
xd5EBrjwkMoPZq4AvxPjmn/TtR3nfYDFjqObE2AFnT4FRr01h2P36+PzgIsddppZ+YgtFSHGZrA6
FaKlJd4UOdp6EK5pX1wdwKx7jjWMFvSy+O1YQwznP/ST7PxnVbg8W9PYuzwgIXAHz/dZ0hv/v1T2
oyzMRNwI68QTUAWiY+R8TUDl1iFWOYqViu7lYBCLw+EbQCBUlJa7c1mAK0kTZZ5KekzukvDDq+n8
8YtPMBmgsjEVeHxxb4PKvZYzXWmXz14OqLIBgYZm2/LnO5Uywfru+An0nriBfsR0klEEZvWB8kPF
yMbsftKZO63dURBL6fjpo6vtPP5ifI5SJehzAz9pzmsNbnOTHGVOP7y1IAgQN3NfD/ilJaC5d4ai
nlIMkibPtQQ9M3dT6+n2QP5Avc4PuRlVCW4W8FjINJZQsHIC2EIgBT6hNl9vmz43B+D6dP4CZTnx
BW8Z9Ncyf3ZU232WFdORiFZJ7GoZDb0pq0DE75z2bmRW8whgLbqPUyiSL1KT9q4zRnlnJHEUdIXM
D5OI8h2PmnRX6YC4EQXEAYjirNsjFWnVhhdqPI7IHfcRCg1uCzzEAVbK2fe+TqIndJ5G9PJt+iWd
Ru1LpDjZWiqugj7OhgfZTJkbmhnICtGUuoWgKVzFlLUZUkmLHQ6eHvS2qXoU4DoCymzor6NwXrqy
+50MGnO1mGRgzE1JN21RB4sPjVLRWwnN9LtG2fIAv+AEWKe+Nn+PwJL9ypjSNrdn4vIgmWsMBJs8
KnwQ11uc+VYBthXJOWa7PmVgjYLM/UGBM2wpZyGWVze9DZsirhDC2coUdKnt7RFc279Qj5jtAGFI
f5FQlCXe5Cgj80TIsE20/VT/qvLONcJjBBbi7VjX9q/3sRYf4Fh3RgY5V/OkensXkV9AO6zcy65E
AEICWp2osyEJXLaLaBkVeo2T/0T7beWvihhdJkTIirHLzyGQPhB2nqRYUYVyYURhLDS+SFyBaj6j
fPbGWhXn2jB0GCY5IExju1wWDFuRRLVGe/uUkG/9XWF/vT0P14aBcYB9jEz50gwX5X2tiiPHPFG9
tZ9Ge4J8B0wNPkEpcnjkPVkzmPojwne+X8ERbF7J+FTAE1hel0Mpo37KmgIoqbp+Gip1oDYY0n6T
pBPUi2wC9abizSZV6g9T2j5aHTSURFHEbtg1BBRNlAtau3VeSmxRtm+bWb1VjVHg5duWp0Pv+js8
SdjTLH3glVopP91+YZef+byjc6C8CG6OUG0+n/coo12v5VN+gmgAmd0XWt1tPtxcgSQoNnXUE2ar
yGVmHyPXNkDoFCeL1N4EoFxrjlCT2NweyeXKmqOgFoN86Eq6UjRxyYS0xAkK8dSJvWH6+JaICEhJ
0bgDBeGC0RNHkRoNUqQnPScut0D8J9Idxt8fHwc04nERgr0o7pSLKs9YKo7mXZmdVOKVT2rNsOny
FgnI4rvHz6/x3W1E0G6AhCEeH/K3KfG17h5iGk91B/2/HV3ThL02JzOHATxaVKwuZh7dFEuREauL
FdmDBXJ3OawYz1xG4EBhot6Mtq2ODuSiiqMjiRd2V7anisETb1eW+9uzMW/c5983no8riAMoIiC6
y+8jMUicOLpoT5S14qEndvyJaH18TLnZ3BthPxx0jVjuGA9r/LGrI8MKQMUbYtPosp1PVGxUrM26
uj11PyGfKl5vj2vt6YsDi6gU6hyiaU+1SDyzO/R/UQ9BKwRUFqQPsKnFn+e/30kzaFhgyzuN0CtQ
rtDX8tFrQ8CWhVlBtRA+VIsPRY+oUVADU6+aRy28J/rqDMyVucXkwx0Nngaz5zWW8WIIVDJoLtgR
O3WI5UfFwL2wgRqTR7LccvbRJJNPuOeVHvi7hldpuGV4TtfXuHWH8AbG3sC172XowFWUhI2HL/sV
K4bCZjnqCWgjptxq6KM+pT2zN3EZ29vayTSIQahsg46D8EadvURDxx/tkGt7ERdA7o1DOb2OjqlM
l5Ys2rfghVRQkrPaLSnFdDewenjNO5zhg5kMgJa0mqV5bUPUpmiqNdOMy0mYN13YaIOhN+tuLr4/
hm8BrjoxO8VsU+suZOg+uk7Pn7/IS5KmGtrWnKdAveTGF4N/v/38yyTx/PmLRdT1VBS5odHTkCUk
GJqufaBATEB0kfQ6yOoxSx4LSuoPb1tYULA0xCkC1eILPi2pYyZVp+pATgdLfLLX5Dcvp+X8+YvX
VtuNDCuJ5/eg61JsH+PKvngFXooI+KyRw8zVpmV1oI2jcRj7qga8+Rky3C4fIZwHGYcMim/aQx1n
8Eh9U0W+uT1flwkerodQ7kB7gKDutOzPFULVUd9B5oHrvdp0SIkfGdqOO2zMxX08ouH84QWIgOhv
o5SDcaLYdb6NTU6iTTVq+yeWbUzCIDKz5jl5OVczLQf4Rdx2DbDYFrtMiitmFE3AG1ex/kRV9zxp
a24TV1DPiDE3deA6CaDkMr2H0GIX1h3XT7hvoeNHjPFHmRd8N4hCenPl4o6nQ7IHkQ1ahUYab3g4
hBvgSNa0s9n8vs73VHRbsGzA8Uax56K/FKa20jOnAWSv19wSCsomWp51KPx4/NKEd1O0o+HX3vwW
gqVKoj0Mdj0qXuz+dYK1ELVyL2stbzB+j9l4yIfZP/HB6FeqUYtFht8Fkh8uvaC4YWLQBzuf8zwy
9KSCg2OQUOhM0mfbfsiLb2n66UNr+SLMIvcOVT2NukKYnoLtxp5163GU8LeJ1jbRxSb3byAcZFDK
h2/CxV2+7FhhxUnFAlFpUN/Kd6Wk+8qWXlRC0qMK+e72wBYr+t94oOOAm4UPBjj78/eXRmVOnWpk
AWTmh0RA7WMNOr0SYUlJyBvNkkqBXMH7l7F75WuMhOvPB+sb1QMsheXuZoMjV/NCZ0FedBC+SR5b
IVZqkkvszL9vCa8IDRWw5ND4PH9LYTe2naxbGqjE5J/C0Yl8qyzJa4bi8aaEeuNn4C3MDamM6lOv
qegAKTrlCSbDTZ4n1IcKUPNa1MR5iGq0E25P4bUlg9LPnFE7IF8uU59m6vUIgkM0iPV0lziQIIWA
2AMLG9zcqvyugzbixzbaP68DlSZAI3Gi4N8Wi0bLWapqs8ai4cd628mVA+vajIJgB2tX4N2Ni4aC
nQORqTWxHpiFBZ79P3G6VqG59spmdyUUzEEruWgoIyPsjMQKWQB0jii/0cj2qhZKcsZRoml2e3qu
jeZ9rMX5rnKrrUzovAaz5W7R7rM8XXlfywP+z3y8D7E4+JqhGFVhaQy69vAt1FRZPmhQYMC748x3
ekW2vCuKfSlUhQt9XvtUh2zgx4eJ5QBsGRqnAMssWuemhEYVxH55kBK6j3FdHYpPtyPMH9m74+jP
KPEF4oQH556jO3/+ETKK77yEXXfgwKPIKJ81M0hpsjKMP0nCRZRZkh4Vorl8tzhQ2tGqs9yejIAO
hXnqCmvAjXEkHHTjSUIAa5A/or4q9lMIZclcQYAyGQTumA+DboS6O2RGCLxzzh/h6sxal/WhATre
1NSQbKUCm2Cun9qW6/5YStOrEtX6KZRuOzekkRFgszB/KIIy8gTJZeUq6Bpv1WiaX6u5zBzlDtTt
DFX6yHjZc9WL3o1YNSsrlOGjg727gtpwFO20bpdZRP6KVSWe2JT8ZLyJPscFhQxoDz2EsoLjq52p
7A7bHejUUzlsoTDduw4+iz0JRfbP7cm79hUABAcoNUp+s6LL+eSBYIfLV5WagegggHYEsO/2868t
Dnvu3To4y1BTWjxf9HQYC2OE6o2yN02r+Wj4HQREhW+HuTqMd2Hmv39XksloqXcJzD4ClMekAbW0
7e3nrw1j/vt3z4dsRhoVDM/n7L6HRCp7ksbKbjEv4PMFDlV8WOPMxxg6YMtmJNXGbsiy3AgyPbIO
jtR0N1Zyq6Y8dLPOHu+ScZAbXOY+SDnB94vAkNdB5oyrurGslmV8tGmaJzyYIB0MlTwII/jYdG+/
wMsJOg+ymKApy+HVkiGIaHZ57kX2ygStPX8xQTbkz/Rwfj753Tcvafty++cvs///95JQhAMMCTXe
5dHKUVTGCxRQVkr6XUkMb5Y2DAETcOu2u88HfcdQ2HT1anJwGSj+gfTayggvM2pE1kE+QekfpOVl
CRjFFU2KwTQC0lQH3dAyiN3m26bIX3At8W8P9/JtzoBDZJ4WiByAeC1LEgQi6lNlGUCwbav6JTRX
ytmXYzl/Pjv/nCxo2KZAPxhBrO7xjwbRerZ11uq0a6NY7D0x5IX/h7Qv7ZEUx7r+RUjsy1cgttyC
qMqsqqwvKGsZMGAMmP3XP4d8552OcKCwMlujHrWULW7Yvr6+6znouMMqqB2UX4BMcXuT1mwCWkIt
jHYDGgih7eUiRhVpWdXCIubWH+3ntnwBa+snRCwVY3TzoHVIdCFp1mG4EYoVTXNi+YU+Fpg6nULV
SCXhxuqBIEhfGqPQ3yVOuioVwhgrgSAvrswvRmGRbT/E2ducJMlz3cxleHthq0eDio+1TCQtZZPL
vWMoX7R0amBP42fr0Rhe/93nBf01LHR6uSM+r2m+tnQkfuLz8EN0pDRMjIwLvgiwij1mmcBAG9SD
iQEkGX3h6u6gvIcCBmqvVwkTIH9WoM3BozndMSXxm+TvZ37/P99f5J+9ZlyfSlVp8X3Ld4pHj0na
QlcvxtnPX/5+9vlWbfWhWd78/rs7+Za6Kz44jfnucmIyG8YJbi3cF8HlhHPG43nG1avcQ6XtjCrf
dVUluRNrp3AuRDjlLJ6sxDIgxC7v6yAf728fwtouYX4MZTATZh04u5e7VJXOAmALPEDDPersgevB
ZG5ui1hdwZLc11Esh28uXAOVVwAhHlwL8ccBPi37zAoQC6LwCdPkiYUdtGbxfLIrO1LLcCIvhD1h
pvATK0CPA6ys5eooSV9uEkBbrUkz4Z5qWd9vzRYkBsPQyCpUa9YPjo+LkjqSiOhnvpSCGJ7i4fWs
SEnmxkel9XHs052adA+pm4a3V7Qqy9JBXw7yTczGCysyxsnMUFyErN5tAnTa0juixQ2IOPoWYFQG
Epi3BV4rARoMAViE1ulldtUU7spAcqPI5taIWn4g7l72yF6rMT6Pci6w3OAuXFX3tNRMTZoyMxqN
IXBLN8ww4+3NlUQRltSF6B2fiRHhCghVc+7OFTwGpWidXW3FNDIGrfyGOX89SogO+pGpaMlhZtX0
H6cc05dPbCOADJHWhPeHtPmljnCqoJGPKuhCRB6nHEHHMkk0Y/WgziQI/gT4IlJkjBwjSp8n0D7r
h3+3AEHJ4/b/LyADIMJYBUX5Qbyzdx8ZrQP/26JlgWd2H6jLmaPOtoGcZQqWhK3GEUzvzTcHUOKf
WAucIrSLWNBrcR6gmlielqBMiSzvl3tINcngzUpeEUqNJAymfUDxe4Xu0NMMaTSvQNSqP3fttxq5
DXPXI70BfvuAAoocbWQ+AQlLNlZ+r207oEk/ZR/P0OJXoCgLqEYY76vyNZ3QENMA6yyaf5cmnMsv
H99ETGgBGwgwpA7Qby+PK/FqQuMO6Kojpqey79oHxwXe1QHJX2AQYUAESUnhxuQDaI84Ho9oQN7V
50yizyvxMtqs0LFgAVca+WXBrrHaMjDKPMcRQWanMH4Btv2nZ6l+YaJ/v5fl/1fMHOD1VNTMli27
KtIqTWkBu7X2oqSOwyreARN0O8QfRABdtgxbhfrC8p7CtRG2TJ0qU3Fny40Mv69RVhg+ng1EGc58
dwfQwoJA8vLM61Qzqo4p9ETrb7+n+vm2Rq1s0tKrvfRALdBaYtGnJUls5OVUnowYCbawNH56vUTE
8gOFd+BCxPJOnNsYSrPEGiDC2ip4ARoJwtCiNMLnUYhfhu2guYhOhANw25JWqOrQE+hSDmnsBKYG
YIwT0vuBOm9v75ZMlmDvi5HEhKk9PSnphuhYTqC8Oelja3y9LWctd3GxKMHya8OA6nzb0lPHfuNK
+ZyAr6J+RCf6ne3SfVIYqd+DV23MuM97j304WsKNQX8DSpbvmMrCRaUjkDNowunJsY6gYukkR7a+
vLPvC470aGaUVW1DTyoQbOMX3QX1y6PF9tQD/1p6qMyNRR7NRBLkrCiibXmYO7eBOI8nT1BEBCfu
aFuUntLhrgK1ouTzq8qBbhBAPy7JQHF4w9OI0enoqzhlymNvz6hQPGcd2at2Be4CSTZmbSk2gnCA
T6BTC9NXl3eqYVpdJUUCozAGaoe+vFQGnLliGBaGcQ3dGqihX2HhNQ1mvcjo4iKlo6+1jw1SJor5
elvP14QgLF7KAwaiT1NYRqE2/dATozilPQjfgpyEs+xJk4lYdvLM+lTEaqaMWsWp69FeNLy4/L5B
CeL2Oq4jBECnnK1j+RFnQvJaLWlNsY64CC3XB9+Xxbdwrm9LWVOwcynLrziTUrt0zGPwD56GqQtY
/oeDDC3Rf5NsZ7uSg1m9oeeyBAugThibVwhkARxunxjqRtE0sG+Brquv/qagEmrd7g3YJCGYSiKl
SGRtbrK1ChYCDJKpB9T64jQBgzFHuqZpH6pml9R7U4YZs3p4QFsH4vli8MSYuCB1keoDDm80ue8a
Tw06LbStZUvejrUr6/wjRvTdKAoeGioEUMRUx2R2DeITSW19VdUBrwHKabigqMle6gfRlZSilQV7
Nv5sjRwM0L90GfTN6madyRB00KAeQLViDSwxoFdyggwlNbTSyB6IlZWgpVlfIGlQAL1ucuQ1S3pw
pJyAtBE4aAks52cv/XAuZGGY/0eIYBnwVKgqmN+KE2NPOfkz6ndM1lKzUk6+lCEcCUDsGjQywB2p
2p3tPKggqkMtWdumBLSQ967zyrNPvK1Ylo1XCNu3NHFdagEgREugrFTQM1RCre4Hi+/a5L5EkbKz
f9nOa6vuFbTgy0YclsdTcMMuxAquUVYomRMnEMtB0DVDw1EKHQN9Ar70ptW3MTjfblvDFU1cmqzR
oYzwFS+I8HbklpdryLPnJ7SowUbEwy6bA1vb3JayErJcSBGUpHUrwmPQmJyQv9eng2Me+PDWeBWI
jdHRP/+6LW1V71HWxYT+MpUiFnF6x27AlKrk4GD6j6a+aOxpkKGOy0QI51SCDQ9UgxDBmm0Hckq6
Ucfft1exqgpnqxBOBr06nBYOLhZCjr1W/jQz0BgDxaj/Y5Xfi+yujCWel2xNwiGNk9tnFcuKk8qc
TVW9cX4o1UGib6tCMCSELpqltCOi62B8p59id4R1tcDHtQN6KGiRP7OQMxnCQmjBed52M6wr+PYq
v2VhKcMoXVsGQlVEFzpmDa/8ulLLiYsmjPw0pl+KEmxhX4de8tKt3Uz0darLODs8O0/wHdph0muN
dvnJU4KOHPR6z/pjPH68dQp5Xw1ZFuC6I8IX/W0FxIDocenzk9WDLHFP1S+31Xh1p86+Lzx1OdBc
rbxbvj9+79NXhf11W0nLpUyEsFNEp4M1ZFOOaDXMuieKCXlj/+9WIThSNm/bgoEU9zRzsMppPkgY
W4yOflgIUv1AvMVMPF5NsTZo2JNG0U1Sn0qXb7VJDSsXLG2yhoSV3QIgAzItmC3H1J74slG7s5PY
4vVJa+9qbW/WhymVXMAV1YUf+N5ZYdjIUQmmq1fiStMq3kB1+9Aw93lbYKjtTzrtbm/YqhwPlVTQ
qSxtWMLBp8pQjxj/bk6m1/jt5Plgf8O0+eRz5cdtSWubhiEhFZUYZ2laF+w96qo0izu1OYEIGfyP
b8Sy/bbUJQqw5uhgzu0fMcLG1WOpu2k7YEFaFaZZFtg2+HiVPkiMTT51e5qCMxBt6lP9/d+tTzCZ
U6MM86TMzamY82Cwn6ipY5Tk8AkhJqrH6PlfovvlxTuLvJzaSmw247iafgS/OzjYx5e4+bg/ijgb
tTnkXIBtIAox27ZyTbttTuybqiLrcooBI3t7HctmCE6ai0zZO+TMApkuqN37NNnoQL2HfDp4VhGC
1OXjmYkLEYK9gbdkdMSDCMAU/zaT8Y+O3rvbq1hRaVT9PJTa8YSh6VTQtZnoHXWrtD5NWbFvOH3S
p3prurJ00Xs6WtitCzmCahWFjm5DRFSnosinOzSa/2l6xwkNRo2H3CHaAc0qeoAuNmczWUMMYnLH
fWxN56/Rqxbo9FRrX6UDevgTIOlmSpn4bm1mm8F2/ipV1vmGN1lho1b9vTnTAvzsyV+Q9FbBbCrP
dl2bATeyMuCj+430PWyqY36d1czYKTXGsCpPiZ9npuqPbpIW30Dliok27mH8ypraMJ7ArGt0dRk4
gOrytUYFDZHWeWDxndkew0vNtk7LIeAAn9pPIBPflr01BnAMkr1uV0aIIgPze4+kzyzL+WGmuhqk
g2Z+88yi3Si0dp7Rh8gR1Kjdd1CJdkFs290mSRsPf/XUY6pU9b2rgZ6MY9Lju6cmdmia05D7Zmf0
aK5e/jXJzGLDyCZld67b5ncggLD8JvW6Y8PM8g7DdJ1P26ICv1GGJNeoK7tOBdeE0ShdMJU6uCaK
2gu1zpTRrKwYaNxADMAttwWJcSGK0up2ZFWdspPDXvv8yGeAMyFqkrnKMjGCdR4rYlc5TdjyOlMK
AtvHFM3uUq7N5UaImowwBr4SOhVxYYR7D171RIGWsBM1Z2cfm/kQ1Chbgyu8BM+QMSq7GczsoV6X
aM4F0oPv6iNIpYit3YF5DkCALSV7A4zhD7RW5wA06/P9aLf5Zu5r40tLDQztVYYZkElFv6PRNaGe
tEXAXD6+jK3l7UoyzL5eA99qrKu3qiV/+67MdsPodRtFdYHSW7tJ0HgWIBStWQ0q0LK/oEqE4Vmq
l4GGkMnX9OFkxu3kl2UDZArap5LQedkFcZfO7cpid86svI2Rwtkrcd/r7G+ZbDLQjKhaHQABI/Vk
HtNiBq9kAWbbgfO6Ar2bgKZFrbO4OunoIrGnU618N1DkLQzjkHkPWiZ5W1YMP4pT2kI1AaQuR1SA
yjNngoIfO2UNPE2NPGXtB4Gkl0IYRKAlw0PeEC6asHt0LmwbZObVaahB+U7MTNm2ZSZD2F9dCMAw
wSAAEHxTfMGyhjCCRnB2ag5Z8oCtuv20yD4vvF4TBvyqkSj4vPX24MnIzNZuO8oqKEWiq3oJWi4V
LCWa0qkdr04Jby2kzxgYlduy8VmsPCAHGd5ey5o626DhXNofUKIU4yMTTwxRhhTSGOhL9H3eJH6r
wqsAIGUrqxitCwN8Deq6IGQVszEmKQ1eNEV1KutDUbxYcP4TDwMUdeNzl0ocgDVvE8//P9KWYzy7
qYo7Jq5iQ9pQkyCNZz9RwtZ9detTYn+t6Wuicr+nb7f3c+3KonK0xB/L4YnJGS0deNcOHjuZZdRl
/aHpqA+y+KAd92TcUVsGYL/m5pw9QaI/OMW6M2tTXJ74nGyU6WGM0aVRSJREIkRsy2iTpu2UEUJS
rt6bSXYYFO2xjmfZMMj7bJpo8EB3A65e4IagqC+YhypPaKKB5v4UaykYtClJd9VE+oARe1L8MZ6G
Jy1n7qbu1Nesz2lgxvZJTTNM1Bo9qITA2n3A2Fga0tL9isxGHhpdkoVA8Wjv+6R7cQomq0Foy+t7
6zcv9/lMzTQQoVsatcoTcri7slO+e216H9fadw/cOY3RB2Uz+Z457jFn9QBM+6CbZZHHmkE63zbx
5fbinJMM26bOr4pyZ8QyKFmZAMHiWT18vnRZY/fNcoCiGNy+NGv6hcgTYTuC6qU4ermF6HSkbQXn
9MTqMrSALE6/dJBzW8jqGs6ELH8/O6cmc9FGpkJIRoPJBg9rePv7skUIuktYxXixLMJ0g2wOJxro
mWSf1uzn+T4Jqsa6yXWzQS1PdPiZdQdTqzdd/WCmbIv5PYms902/0uuz/RKUygUQuO41BtYz/eTK
fWxVoBf/VgJtkLYvzDuqFtty8z+96mwJ+5El29vbufYMnq9VULlRZ2ahxhA/oJnZAIfoXZGH8yAJ
RFelLLB6oLuyFpTSS6UYChbXxeCWp7nA+GigVbu88y1nc3stq6oBvhS86UA9vCIxtGMlAdwWrg+n
Gx1dlPWW8U/4bvDY/idC2K55Zq7ZuTZMtPOS96+eI/n+2ka5C20RMBkWvBohuZGC4hxNRpydLHI0
xx2w68ddk0mgH9b0G01faAvG0BAy6MJpeGmRAAMVi6jcYz/fxzo44di3InkeeypR77V3GslnjEgh
JL9GQDM73SjNHO+0s9THWQKAhudkuOPTb9buqSVpPHz/5eJlgjOCJw04SUiACpepnoF5hdH58lTE
be/bQ6Wjl6G0mj1+W+UXI2YbU6vLgxnwV9vRcHmIeGDY0WG0AeauFHtPcTU/zfCkuANN72yjK7a5
5RYBhnyKQEkrlM46ta6eeWUNXzUb3kCWec4Tt+ryi8rrZyur843J21/WVHTPtCDOc2nbWYiU3HgY
NZRpicXL2q+Zy8Iu8YbfDcnaoFTreDfZMYgA2575TTWXz6D75R/P0yOyANMtoA9wD6+LuUU7JVMD
lOZy/BbTV7CbSMz/9R28FCCYf8Cfu9VMIMCddoPdh0QJ1Db/8BuwCMFDBmYZZG3txVc4e2N0N6OA
k/DUaDLLsJ7bYFa+mFwiRLglC9wocsKYyDWQcUCp6eoqmk5RJZZ2nBjQc1K/8bqQJRvuhaYqMVzL
ppyp7X9FIb8FSArQF4iz/hxMjXw2TO1o2IfCPmmycpkmXMPlk2CCxJXHeCh6iEQBGW1ZWpWNdmzU
nN6pGRBnra7vT7HdapveLozJR52QAANiZOqe94N9l00ukOxZogMydLIerNlrt02mGSB2mJoNs9Lk
ObEdgvm2dpJ1QgtKhJ8Lv/4fhA6xPYO7rG/truVRxTfAi2DOHumND70VVyIEG5gWBq0WfrioK74z
Ehl15nP15d/JENTUAYpe2hhYBp4knf2kRuv3peT9vj7ZZasAEYHXAhNJlvAgKSCn7jGjziOVpsPT
RFXliFATMEjegKd2ZkY49srLRItm/9HFAfJs4atGygQ9q+L1iPnEjSY2jKNpbefqbpq3E5GsbeVa
QMSChLJAoVzlF2aiIcHJbeMIhFKWhpMs7yPGFMu1ANDDUo1ZXqcr6ES4JFNTaU5/TOOYI4iI6xej
aNPC9zDT/cXIU/15rjC4PsVs29NR26VV3z5lNqUAjvHiXlLZEBu9lt+zwCjDDAD49Dpto7aOMvBa
GY6ZmXdh1anFpnQx5+I3bHSBwAoALfiKaegiK/sVVSYQ/rbc8pMYmI4fs+NXP2VxVM5MrIUQUa/V
fDzOzUHxtonxYMjSuivHC9uKdIgBTMZrXydDgmcaGoiYyqeFUV7pf91WUcGZel/DmQAxns6Br6sB
LHE8Wl+9GDDke2cOvEFyDySrEJPTutUpmMaFEMXzs8aXDjNe28LlBfrfLoljsvaEI9bzcjy66k9K
gLaxK9mX2/u0vGTC84MRXPTnY04CN0EEGUjjdva0QW2PTTENpp9XlA4+uFPLP7XtJb9tTjBEWXlz
MDpMn32AXcmi++tF2miTwnQAcizO4phcapsxD2lKWqM7jgNY570kOWqN8xSD0ufDan0h6D2ZdabW
0zzPVh7r3VHRQhRHp2I72hKX99pvAAiXg7Y8AMAu4w6CD2qZdDQHN2+PgBzsc3C4BeDubM2TFBti
xVxcShJsP9ixWzYbpD16+jdt3ljpPVL8erm10p2b87C2d6S9K1DKuK0u1xp/KVY4LGWyO+RiIBaD
ePOBprZ1N9GukxjDFSkIGt7rikCywTtzqRKqlhKz14DyHYOjbs6+0yS8vYxr64AE4pkAwcLRpBnn
puDdccoVzKdWqI+TvqQvCs2HbR4bsk6c61uG4UhMJGFEBX2OV1GX6ypanqOj6Bi/xC8aDeAg54FZ
Bka5awZJ9+nK5umojGOQREONHEPQl5tHxgaYcU6uH1n7kNW71Pv43qEOZ8A7XnwP9Mddfr8acsoc
s9KPA3/Isq3nBBrfThLzvWIU4OHrC4kaqthXhX6Faclc4p08Tuq+zu6pHjrZx3p+8EIASvcfEeIL
wROVccuOtWOO8hIgb3RfMyW3RbIK8X2YOG1Lj0KEMd7nP/vs0HwwGloWgYlKfYFVw/8hlXR5GG5R
Ksyoy/mYq9wMyyI/lHpT+LbVvNy+MStLwcwggPOQXcG8qiNYtlwvFC/Lp/noAkJj1nXkeimgpCdb
5nysmNBlOBE4RTpQb3FjLlfUWUAUjRuOFZFx484vHCwsOikfzRQ1S29ze1WLlbx8/RB0WSiZYZoc
Dq3oyKZxygdmeCyys8xPjP9Y8Wlsf9jdgbAYFXv3w/pwIU5sz+o7MjNaQ1w3/7SLA2O9D7Kh20u6
PqhLGUJwM0/lWFi6wsC29liUe3P4mhrfb4u4tjCXIvTLIxpHC1CwacwixToMgCng469/J0DQgcxG
2V/XQGcw9dmOt9tYLSUvzPUDAAu24D9ioG+B9xLUedZ7OzMpgj9nHFR/stJ9khiDn1QOOqSLj7+a
l9KEx9ps45H3TU0iYg8bx82eUksKeLyiyqiGASd0iciuUXb6rickIU4aTTRkbtTzk5UFmEiq+WlK
PmwMHOTzkKlEbx7asMRUW1dy3tWpQyKUBn3HvmuqxHdkpm1Fy9CzirZyvNRomRDLfGafdtxsehK1
xuGrFe9vq9jKNbn4uqDDqsZznmn4OkDjT2BdetKY8gTGJ1mn19qxgGBbBTT82rh1CbwNNg4aibR0
N2b3SXHI0OqRK2DSCBtZ27JMmHD307o30AukIlIwX0HHos6KrxcY20nUwLT+xlzGw7S+if8sTtjE
inkDU2wsLu9BHh4nPshUAyLr/1pXBHjVS1cj0pbCXaWYhU6AY0Kiwm7ylyqrmztH6TSJTq9JwRSD
B5A8FXV6sS5KKsBtm1ZMwB7/tRuBLvHjtsLJvi+4nLMRt7QkJIvQwXXS6Wtb6N9uS1g7jfMVCPuk
MmMEjiFWkNCDmu0rdUeYxLdcPiG8lwZKiKgcrA73Oz2pR9rjwJsWoE33cZ77S5+nTSrf5DIysfUd
+0fY8vezeM21FETwBNqs2kM4MTeYft/esLXrcr6aZUPPBIDdyhkAf0GiWPk6WmGSjb7nlT6tshAR
iE8USYFnbUEAGAU/CBwp8OcK8vR40krEn2kU302vhczSyL4uKJiutozkRZ9GhmL6T1Utc2bXzv78
1wvq1c50GjQPv5508JW6DbKaufrWJ0cZhNOaHp8LWo7t7Fhms0RX6SLoOCi/3a1SvN0+dtlGCTEs
GkAdkpn4fmkA7SCwN7c/v/bzkcIDLiQITK8dWIeV1gS8vjSaOXpUUQMvuePPRra7LWbtOBDEIs+A
5jW4MoIyDVMCbgBQ60WZu/O8O039YmjDTtENzKL/uS1q5Z6gboCedWiugWYvYcNYNg5pbExJVFaW
n8bDFhB3d+rIXzSAhqJSc6B5I4NAXtlFExQ6aJsCdPg1fJsWoypWe14CXKFQ+eVycGXtb69qRQ2A
rIwFLSMMcDKExzKnbqsQZAEizUpeqHHQwP36YQkLIzUeLuAYg8dBuJGGoQwY3WVJFJO75M4bJcb4
eovgFwHVFQNqQCHVRB9WHwl6r0yliyrN9pVkrAPX7Z8TnUrM1vIzL40+5ICFDzM+mNf3xIjMpGBB
052mj1iOqVxwRPch8ti1H4/M2TV6P0jkiV1lCGoXgcjOOwvRDQLBSwOAvtNebcakjwhIW2IMTKba
xm1/E+ehrY5NMoI2Zg5abfvR00IACLAn4IiCQ/yK+63o8ICa1tBHpTPvG1Ye05RubotYydotMuwF
2Xthx9SFm+Tqk0MmMvZRUQLlVvEJZ2iI2DPG/KJsg65kPklcNPw6vkllCCnv2UfxIBHsWij/OoCJ
FjsxPNdsaxO51sht7ceRpGHeuKFml1vSZ3d22jHfa5hfG8YGIHejnzRIW9pU2Zg58Z2q+lsRE/+5
GtZ1L7Ewa6oMrEYL9EYoVV7B9Sh8ogBRrNsoAVRnQK3Muk9TF83FceMFt89gTZsX9P8FqQQBv5jw
zlyj4OBR5FFmhAxkvN28LbSwn37cFnNtXYAI4cCZBDcJ6ArFGanU7QqiZDoHgOZ4YIX2RVMKSY/s
2qYBO2yplwI5GgBll9ckdfpGtVPaIgzfaE7m9zwHxZFEZdfWcS5EsJJu6jTIYRVt5BUPvf4oQ7dY
FF5USXBpwJ1EphLYrIJToaithuK03kXxAteQ/h2L1J/JGzOBU6aetALwex9sg3i3LuciBfeCgnl1
qlSti4xK+45Y4Jka3SdMybkI4Zq3OY0ZKbAqdX7UrLtS1ji2eij/7JotnHwVd2jKxHhvlJR/qfG7
kuHlrn4fWVfcRnDlXQ+O4pJyU837qHeHIENTWPlx8kWUj3HeSO/CH1bFNuWiUK3aBmU4MI1PXhAz
yQTBtcfiIi0BXjwdD6R1hcCg8cYx09rokNcje4oJ4bbpEIH3D7SIX1Ije8s1I7x94VdfLbgq+tJ0
jckx0bCQxLRTTj3IzHfe+KNIn4AZ7eeJ6Q8k2ZD2Na+bvdlI3MC1owJcFJxN5FrwPyFVNthOqqmZ
2kVWcUzfxul0e1Wyzy9/P/PFAX6vZZ03434CtKV9A4Xg7e+v2TD4RqaOMidcC7ETv/U8gOrMuIx6
84104D2yRr+aJB2Iq0dzLkVwKNAK3WmThk2K3al4KxTTPNA4sZ7rulGe2KyVmJIcY5/M6StG5tKj
bkxU8hvWNhL86aiwAhVvAfK53EiztKu5ne0uys3eL7aWIuvzWd/J/wkQ+2bc3mFOUphdxOww00Pd
3X1K187W4AlvgeIkRB1H3CqzJRudK2H197Y2SDbJE84JyT6S5jXW0Dq/rF+x8ZnP65gdhdevWgic
Ls+gyUirzNYIs7nXdLz80nmINd9i8V4MgI0ABk3E1nWsHJMl3oTLmL4mU7Khbr6z9YPRyHodV15N
TCsvlINLj5roRtoDekjrDtZTjZ/InVp9wnqefV6kVzf0+b/WEwNhYA8pdlz3jnYOluJqekossK1h
gPETJw/oKaDEowsAsNaXR+MVmCXTShhPb084hVMme/Wvw2XkxQ3QsgJxFRSUYnpPnVncFLZXRbmj
BkOP+atDV9cHtYv9WYrmuXIXMZ+ylMoQL2E5glfDq3lQ+pjXkcfMzVD1O1UfH8pKlpFZs2sXDWCC
UdExe2rZLeGRg1mi2tyb1ZNXtpu00P3MjJx2m1fRnH7cs9WW7ga0TMHrvMpipUXdlJoFoSZoZBsw
iv+5rQorlwjQbQAxAIwBIgJLeHKGHk+O3ulVlBU8IPVPbtgYYN/25F/KWQ7x7GkDqaI7JJpRRaa5
VW2f2g/E22lEEsyuqQLSGOAxQr8ZvAPBZlYG0Hbreqiipgva6lDMm1g28Lfi7CDDgKYTID0Dh05k
V1MA59bwGKpd2IAMB18YO+Z9ODbfUnYgsp7DFRN9IUzwN+JMLdTZhTBz8isgxcngadfu6flihNM3
J5InpMP3terk0dcJoGf8DwcormlJwqc1PUP3ApqJEQgubuLl+XsNehhiT+WRkb45hAcl6mWgBTaa
37f1eW3H8OYjp4FIcKk2X8rRq3F0h5HzCDDCvt/lHxwcWuIZFEagYCryZYgFhe/nVDVn5mVT1P/Q
tXsiw4pd+fnIwqEjd4kFbFNMxuRQPLAGsSkqHlL7p2N+//DuwBgvKXG0WWMaTTCVpIVfW2XeCBzq
7zXI2qb5MwLwTIKrFX0SyMddbv+48CFpsz5GvYkmfmUzcqkZXgli3+FWloGKZfJAMMOuVtgj5TYS
ZJ2nYeK2+VrH/LuR1k9j7wQO6X3eNQ8xxutQcLxXS/fPhMSWOyIyYDMoELxAL+w7Qps/lWlHLOs/
7sSf/z5TeFzTRNUAkG30kYlcmlpVvqwlaE1HUHVeHlbYOOTsLvfYbB17HKupjxzF8XP0rLa55BQX
NRDyBKhuv/vPaGu6SqdkNaBzukbpI3uetWCy6q9Amt3Xdes7mJsJJz6Gt/VyxTpA4Dt9IDLQ8Bcv
l8R1cEZ7QBiJ4qazQ97Nvwa3xgBHkx9GPvzntrC1/XvPrToWcp5g3r4UluhVmnc2MrmO30wPHyWV
eLcQUH1MFIGeBIwAi/izl87AXFlmcreL5mpTZttBCU1ZxmNtu3RdtZFcRCvnFdmAYVStS7Wij6ZJ
Ozop8HKzIRjn4svIZEnUVVHIDqM1XNWRNBIudMYVl9sz7aPMzH5g6idss+LZHd1928kwm1bPBe/2
MkuPcWrRtCZIS8aTOvcRrwofgGYyiuc1B85A9wnSwUvTN7IGlyfjmTAAMfj5opyZmq92w+Oo1o+a
kexB0TsfMJGx7bX8yQLYyFTQT5gFTO8DmhA4d8hGC4mwnBUDQAq6MTL1k219kU1Srng+GFtBUhch
L2SI6GMgkFYbOkxDxBVM1qdvqnmMZSyWaweEyQcHdgfPIFo1Lvevb3gJnHeYhaS1w18K0tm3L+aa
rp1/XwhIqxm5Kw+M60hPZIe5pVHZ5m9D3j97qBXfFrW6FHTDA+sEMwnoIL5cCqu6IpnnbIhA2t3n
e11GU7R6HEhELxUjDG6IjxSJtVF1uYcb2j3ozb1Bjh3/hEItue7/ihDfGZAkNN6UQ0TpgXU1pb4b
3N6jteNA1ylm15b+auiUsEeTslC92ROoj7YufZr0p6Hbq/vbQtY2aiEYgYVZPKqrS5/b3Ti23RR1
+kmvT5zsGlnz0dpZw8oDlQ/b5aD2eLkOrZlqhlFAAPaSF0DzjV9vr2CtzITwCfb4/81SibXh0eBq
Pxe1Gs1OTX8MaEENC9NJdgmpDV9t53KDvPd01865HQ6AdsUsf1OfmtHTJPdnZaHLvDlCRQyYo4VL
8O7KypgwiqrPkTYhx+a1Pm02t9e64ntdSBCM2NjxwbVHSKibLW+CRPkaaw85XBzMUOcPgypZ0Mo0
HTptz1YkqGCqoB8uzqw5KqY2MIxvKjW2jvXk5jGwv7dxmgZs+pK007YrE2D7bEjKg8SOfdXaJf24
K4uIqbKOg5VrsYxELmwR+jIyJeyy45bMJICvijKQIVGH7Vv7Rx2DN2Isvt3e7bXzhJeO9kK8vaDw
EiRBr1SLmjESdE0fWHRjkk5iBlduH5YCOlRkfq1rdM/UMzB46cBXSRQ3qPXHQnlSGyY5xZVlAB4F
MQ0a5cFCJ3aUDQaHs8RR3xizt8Jn/Y8P79LF5wWdzMbSyZyC9OgrSgK+Y2A5/bgAOFvgjVpc7qve
j2bsQQrNvDbiAKkCzuO//Pyib2f+opNNBqkrfD5JJ1899pZsUHht/89/v6BGRWUTp8KYdkRm159e
50xWIFvRIhS6kRlF6ygeU/GAVRMpqmFMh4WgeHT9rLxvR0lCf1UEEMkQuoJA4QpHZRoNNkw5gr6m
IrsSdnUeNuwTGWtU6+EfYm4b3CNiUn8ixCEWScaotoIUeFufOOjzzwvuU9KaxTR7yhBpScjAoPuJ
a7aQp+kYFkErlFjzKHqnUwc9h4PZVqGGfyT+xtoRINHuYp59MRViBsdJ2YxGMWuMyj5oEyCRBbMh
MUdrmgoISLhkGEhYJl4vrwJAWeLcGWakJyzN3wDr4OPftxE4A49+MUVoexG+7yZm19vtGOlj0Cl+
lkq0dDE1QtyMoTfUm4CIoWHIb1nf2VVGSGhnY4ETjpPH2Wj9ymgCgzy67D7DUFU+Ssp5Ky/RhThh
u5AvnkcexwMudvBLfeO9X9mf2TEdmMbg+kG7u5hrKPqmBzIdRLTFdqa7/yPtOnscx5XtLyKgHL4q
2O5od0/PTvhCTKRI5Szx17+jAe6uTQsWeh7uhgvMQmWSRbJYdeqcLa2ylXgCHW7YbWjWApWE2o3Y
DQUaX4saCz7p5AGJQ/eQJl77y4CAGhRtPJJAjDxnD0yWTizTOtkAdV07HNJseM/Auok3ofpWT31i
0mnJ1Yz8l6YHk/1+mOilAWWJ8r7rbEoMJINeZuMhme7eezXh8x4KLcje43JSa4SFriP6TPGMcUHE
Ka1Phr3h0deb/tKAcenR/ZCD4tNDYsZqdtMQN+I4Gfu/GQOUvZCzXyqFyvU08qT2usYbTmn9zMjR
3jgW10aAND3eSZBJA65Oif6JZXdjPkDjILf44zSgtR3hOkfebNrIcK8Y0v+4soUGFxwzyvHeNACo
2k3bn3KtjN2c7zX8Pc1bCZkVlzUWTNmS/sRR4yrhgg9lkMJK9O7UHR10aBnaVnJpy4CyHp0wtMLK
TBgY3Wj0aJCYG07151F3eU4uJNBIcINPzgbEUTExsC5peh8mRJmARPalst+y9rc9fs7ng2b1Aevq
YO7SsGqzoJ+baKZNnL0fdoOIBWgVHdnaBQ2hXAZIQBVk9kDMQ+ox8Lw6dOyNyu6KR+BFC5Vi58/5
plZBDbdvp77v3KNRmYHZN3FRGq929k6JYiQc8XBGkhbeh4vtqodPG3vfqrLaPea2Hep5HWZT9+5r
ACaQakdlDcBB5EwvjwEwkrYJ9YV3zJ0qABFwmGkblbsVr0NojawSzKA3UNXgM7k/akTn/tLLvbSF
DO8/6S++rxxkLimp7Q/CP1pz2EE649O7D7GLzyvOxDV3GOcOnx+hTpYXIYfs4l9YABEw8M3AbeK0
v1yCmnVjlYEb5thAlT7Pgd/b6gVdXYIzC4s7n0UvTTOXY23AQgL2sH/wzL49gOvgCHesvzTMIYa8
5sSrjaotPJrg8414mi2SBjX3QR1FnB/c6w+NT+5062/GdG5UmTVgjNF33KT+capFmBEtBP3u7WGt
bfJzC8qsdanRzL4NCzLbMRFyaNe+P2xFDWZpMwSP8R8e88uFmRJwUbco4R9nE3TQGoDD7040YF1w
GIMoWYfWoqfeKWaJ6Kin7nEMy+mtYx9uT9F1nHr5eeW4B3+XtMFe6x4LcI+I6ZDY4DK6S7f6fVf8
F81xaPlf2DXATaZscc5MMxutnB61Ej3Mz3bx7fYwtr6v7PFSFsCxIrt3lGYIxjvz/e9DvGiAMEaq
B4mdK3SeVUjcRLKhR3d6FUEu3v1+u/y8Mj2CIYtRDPg8GFr6PvBkZL4/Gr0YgDJB2WBD0rSHBfRG
9HH2/pYBDABhA3INcFb0i11ugwGZMlG4HcU9pwV3VqptnLArbrrwtSEmwb9AVaRcch4nGi2mhuD8
AztxwewoL4tT25kBqkMbweKqLWAIltsUtUj1sa47PAMT2Yhw1//e9l9s88NgfCFbcJg1j8Wl/T8r
akLDEMQd2xxWJLjGncFHOfovlhz3ETYdzna8RJTzdULfBPQfR3qMnLwPva4L37/nzr+vnK5zldha
4g0UDChJwB5M+RcXBOjB8YDSASKGey0v1LNLD+1EJB3QJXEsyDcv+caj279/5XY4/7ynvD6s1mrp
mOLo1qeHzP7O7O8G2Yim1xYZVQ3kJYGHBiRCmaI266rWHCp6zECbqkvtiZX62+1RLAe0Eq+jcgnO
BiDIMVWOsspG5tZGkfj+sU7RFSRdFuaQHLNLf+8abOc3yAXdNri2PXANIaeINz/+VlZlsnubDVBR
OOoEehCQTPDMFPQtpzrZCDtXR/afIbU2JPMp64cJhgh/BdF+UraR2VUBGf0joVsH/PqoINa7MHqg
g0wZleGQcrZ0OLPZxU48HDL5MLs/b8/cmjcghkaBWVuOFfW5W1PWgzAOQZzMBDI2QSXZRsCzMmXQ
MUc4sqRJr9sVemoKjWSlczS9j6I+1GBoS5LPIPIM7HLD1MpgYMoEQwl2JtRllwk925xln3qsKQbn
2D95xge7/3J7rlbWA9VTTBVgaQ7IsNSdU3uEiUa4RxwQEc9/5AUEOcaTP2ypsf5xI2UDOcvxgmcm
CARh8XIghtuZmVeNznEaSig5SPEAWfj73nGiJJ2+T+Oo3WFePxr2GI1OEb9/mAt7JypWUCi4akRj
RQZZlC5xj8NU3CfWIXn2yx3L/fefQ4saNVK3SzvuVX4YGGmr6UuY6fU9i/t+wxdW5/D8+4oz2OOE
DAvFajVGEafT3m7vRu2kzfdlXQUsh7x9f6BbzCUr5/fFoJbNcOaBsnVKQRsMihwd/x/AyMZ/bi/O
ym66MKAENciHQS7KhIGpn0MtBWwVyamk4gHgjfj/b7etrWwoSDQDNmfhbL3WEhNOQxPdwYYi/OiQ
rzXfyneuDQfcEZC7RxbMRz/e5XwVxeSV6KckIEpzgop+tNkY2Pa007Nil6b17vZw1lbn3JriEqmg
XodHJTkyQ++DjKG9nKUPoI/dmLY1O4gIASn1cOpdpfbyIqFaRm1yrBp511ftI0ejeZptVdfXJg/o
UrTn4Y5Fj44SLNS+OUrWYDgGzwKKvtEj0iBjF6ABZCPUXfEDoL2R4kLAgPe4eh4RZ0yz1iKgr7Fq
ZNvC1N84WldmDIxooKxBQzaw0pbiB72fuby0cv/IIA3tB8Uc61ticmtjODehLL5b1IbNqwIZnZfE
2Y9b+sgrnwcdztKBjzrRNQ+KJmti9aXnHcH8d9eUFYSKtpR3lvteuRVQrkOhC6EVwOrqKkiEntOQ
4EHjQ0/Dtz5Wzkvp7Ewf7V9fafsMAYz3L/uFwWXMZ6cZL+XkWyYMdp9bloW4AzYMrCy7j1YfEKQt
DMhXZVqGh36ldQVoEkBRQg5QwyXmh9t7fm1d0LUCzTjU2YBzU4KoYRRjMZom2vzvpQvcx+H251f2
IBjwEOci4kB3uop3xKsvl6zT2WlqCjPsOy+ok+kAEVdiVkvDnHy7bW9tOEsWf2kuQhe+WjWo9amd
ABlKTqP3MIGx/+4vPg8yhKXTByelyomHojCfrL5JTq77a+pE4G/8/LUFx3f//b5x6VEzzXM20Co5
pdUwQ9EJCsF0iLXOajdeBFuGlAiqLMAfUecYCAqD0NjKs7AdNkyskBSjfQhZNhuwWii4qa8OQzoe
d1uQfJQT27Vu9Zin9aGfzCj3jMescDOo69gRWpHqoEDxItF9ZGJnNPHfXjNVqGJJ6J//DvVRIhjr
TTlQdrJc0h5bM7XLuDKNF9+n4CrO7DRG0aF6sCYE4V5nf86Y0z1IsNcGVTMbP7V6iz947aA6m5g/
CLizc6NOmUzdEhODy2un1UnQZW/gTmbsZCxkV4D6j3LjYfYHha0ejngloaZpgUThijOuRDRZuA42
ho+VB/vFV8CLAlevP0xo9g+samj37lhWoe7VbNdDtjYwSnD+y74fgrrJp0hrqzrirOcRHrRWJATP
HlBYana+tdWkdb1iIJMGSx84VBZ0CuBUl9ugoT4zSTPTI+2qBrgIXX+hifvLKkmxb+fG3/EmawKq
szLS3Ob3QIovaFhjB+nO9rE0k+njbRda7r7ryQMVPXDG3nVJqINSwlyB6fdUeuOLnY2vmeRHZqeR
71cbmazVjYlo/3+mlgPuzDf0gTkp6URyql0T4de3BAg9uqWns3ZKLkUDYAQAzwGI8dKIO0uNja2k
x7YwQjs7lMXWzbVlQYkmCJ1sWgHpcBz60zDHwvvn9opsfX+5d86mqWtSkWQOvq/9ykVkDxvX1tbn
lWfErDkgP23w+YIifx9a1cbjbs2hzhdAcXCnFZqWezo9js5Dm837zqJhKl4ya4tmY+3+RUs/srsA
saLosQz0bJ4KKqrc8Cg92vSJ+HejLiKv16HQBHbiLTqMVVvwKDS6IO8LpOmlLW5OGhLiFsGgkic/
QeNQ9VJBadEv9dhwNwqQqzO4kBIuuFFIuCozWNWZ5uPsJkcQPMUVBOgri35KSvJzZPX+tq+tmsLz
bmGrRd+1mhHkQ90X3NKQKG8hh8oejXaODfaY8S281pah5c/PFmu0QYJpShgysntuFEHW3ZV2B/Ly
jctg7YzxAYEFmB4IzKt+pMrqRssfkGWWJLmrcvHEZvvQzmxjiVaQ3ADCntlRHGLs8Waifr9UYPy3
JOXfRo72qt7wYzOXT4QbYem2kDoyd52m7Tsz/3x74dYcEusGxWrceKiFKxUIZpOsQOkDD4J0CIpq
DEiVBiP5mCFXWGzE0X9Sz+odcW5MGWzpTF1pQAjnyAqn32WWxRBbuD8r4fUQXBv4vq46JzRrroXE
1NHHVoAM6uA3y/EFjwqMAXKKIzA3sTsb5U+euJ+Inj941EGIINtH6hh54M+Z8WjrqLhDwULsuozY
AQS2ckyk5ocEgUtgy86PcgQ0oMMv2KuTpvQOWuT+Qz4XTujn4G6CJAc0fNOWHhqN9ojCLPqcFAJU
JrPuP/gs/1alU/MggbaKwPuwKKxCsyyd0vGuLqzyeXaGNqZFZ4Re7tCnJs1+Tz3f9byHmKE95k2o
CWd4Jl1bhU06uwFa8GkwF213Z/SomgBrbs1TkGcPkEodwsSfzbCkKGMyR7C4tFh+SAf+eSZdErma
jh/syO+I3Zog5zM5UvAq7qS0/GBox2QP2WP08prT+Nvm3hjddqGriwAYDQ0HKKpKCPeRPb3ckpWR
2FCgzNNTNgSm/VJYp/d/H31nUA7Aqx7XsXITgzgqKWTqpydrD8Z4mW6ABK5OFPx87HA8vH1IFFgq
+V3VJrU/MQNMRPY3qwzHnW/sHPp2ewzX+3yxsjSDoNkMrWYqqXqWjtSoZ1hZ0h/Nh0lEjnjIGELG
iBA9GDsZzFC4NLdYQ9YWB/lXPMPwgl1Aj5eLA+CrbqejhF1sj7exubs9rrXPA3kGIN3yfriCz9Ks
cKaiGbOTwPNV7Dj//u7v43REZwkWHr9V9a2Z2Z30TA4Gz/7V+lLXG3CplZ9/8XlldtJ0Lkbh4/Pg
HhcWj5Kpj24P4OoeQS30bADq+VrmRaePGdJeDrXu20b7MI1gIrebcuMluWoHWgAAYiOV56kYPQNd
FW1hQUNEa5uo9X51wyPfqrxu2VjukrO7NxeDW8isBGHz1ATWUCy0sGE6bNy8q2sCiB4GAsZ7Te1H
rxqHj7ou+KmuJW6iN63cCFyvNjx81cc5AtorZNmuyK+ge1oIQTzE3UNgyZddOBhf373oC/wTnI14
OVzjjkyKa6TvcAx75DQOX8Gsl/cbd+nKLF2YWP78bC2IBxBQq0tyzKD+LYMq3Zikre8rh641o7jO
bXwfzLkP5ftPdITZS/0b0LvrI7cTUB0zfUqOGk/6QGbuE/GajQnSr5YZPM9QCoTqDHpgEQEr3ipp
a6BOjXPJmqB4U7tJsUNVlt57vYUyJRtReffGLACAoArLXMy7QjOafaoJEdp6xX9oVadHJs/92JY4
KKCw7G81m10FX8pPVJ5Q5lAYRdNm7DT49Q/ofHVx3c8vLoSBZd2EvOg3Hs6ri3o2JcqDwNEmKvWU
s5PLk9jykpCPP257/uqIFs4N1B3RIqVec0YliFMlBKUr59Psa2GXP9joPZHVKxjTbptaHYyLiACp
DXQeqhxJbLR4LsHwcqJi/pjl1gdoa+1um1g58DSA9f9nQq1sC4AF7N5BZtZOoFH+D3HCjP/NhJ2Z
UG4gTutGjKUGF/BAtd3+7JM+ckEfyj9zyw3+Yji4HlCmx3P3KvnvQnaPal3LTqUuQr24N+bfHf19
28aqA5zZUM6lCm2Jtln2DHcEifIZ+hfj97KpgnZ4mMytNrPV9Vna6pE5xUGiBjcGevAQM2CLQ8Qw
YsbXMTd2tUb/YtoghgPunYW/EsHI5VEL9TIPPF94s3s62bPpzgbnl+nub8/b2lDOjZiXRiTjibWc
i8DashAcs99bPn3TpmQjXtsyoywP4YOstHopK3of5/RUyuf8L6KEZTdC0WEREbkikx6QnTOqCfXY
oRpEOJP+oE+DCKr3NxkuRP7orkBZcemdU3MOlgl4oWsBPOfsJ/ufQt+4xNfuDx0y6qhcg+7tit6g
GgmYt3ocZcPsP5u+fmDcvOdzEmmjFf7F4gOEjhvd9QFxURYfhynUKqmD+1D/4iQ/qXtI3s0l/Uf1
AIVkVHuXOvyyb8/ihQQ4oC4xGtyG6Z7yyDJiVsV/MQoU83S03aJ1WG3cqmvdmiCJSY5tJZK7GRJc
e2eY6L5oN8XOl4vxIpGAmBrspbivEWQhC69MWOZBSq4rwUSi9/OH1M/toC/ZZ1nwDzixfzUSibXJ
07dUXlatonKGHo6lMUHNpxXox4fAXKcfqz6JmbYXxRTY9T+CxrV8kKAavj2fK0cpdLg8VINBGgPv
UJbM9igjQ+lrR1r+ZgWYYzgNRrS9m+5DDTLL28aWq/9qRsG8s3R0LFtKCQ2oNkP5TRQQyypG+uCa
SOPNfMh2jQ7xVIsIMEa7dmzlDg8s4W7Jta0cS4DwLAlRzOs1LAqkwM2YMqEfB70LNeNz07zShGwM
8RrOs7zEwNf8p3BwTdXGRJX4vNX1o2e8JNII+vHeKLWADTvhRozGCKL99Pvtef3j9crEAuuJ1MVS
O0YGYBn62cbrKJJqWVbbR6tM6xgii6ByN0kS87rTDrnWmlGf6x9TmTdD4Day3Q9dV4RSdu0vr/Gm
yOGl/uxXSRP4ldsHqeZ0e6NJmi+D2XYfiqaRgVnP6dNYo0MWt5TxatSy2OkMkbU253DUeuIvzex8
meY6P0zuZISa1g87pMPy0AWpUxaVGS9jp9GSHZHpFLc1+sMDsCOxcMJRcqSSOB/6xgUFoV5tAT1X
jtmL+Vn+/Gx+WGdqSWt19hHyw1Gr75IydEB2iOzb7YVYcTE8JhfSQeSS8LJUdlPWW345Nbp3tL1D
qT+UeA0ku9smVoZyYUIJ5yuExHlWwgQSOiaAQdN9Mt+Rn39hBJsEoHTgHTD9l/MlZJWmIx+8o5d+
sPSDqMMyhWskG5tl5TwABvY/M0qg0NWJ7LUMZjI7j5At1c1fyRhN9bGq5iCvv4CD8Pa4rkvhKGie
W1Q2SmYQUrZl5x1p5oey80JXAPBLedz5ZUDzB2PemchRG/r3KY975/2BESgv8D8Pj0WAyBT3mGqX
VQbJvGPN7Yepdh4ob99GbwucvXYGWVCKBIs04BfXbW1JM1upS9ACmNZl6E8gi2wDkuAeIWXgJN+M
9L6w7GBTD3PN+8/NGpdek0Mut0nHxju65dvQ7EUS+luNzVsmFMfkkhPeyxoNe6z8Yc7p92Hi8ZRv
PWLWNtn5SBTHhDpp6eoME2hOn8rsUC/Jcm0/mvFtd1wbDZqT8LAESgrMK8p96HL0jlWz4R7BwhNU
xuvA3zJvi1hwbSwmcD8aWKMhg63uZQ3HuJtMQGJagxkXsx+a0gir/FvLN0ZjrVoC4xEUPRFMgvDu
cv3t0uwLoTG0W0GycjcJzw0rKYePZu6jHdbhzWfX4mRHdW0OuomPOxtqXwdR1P4eIpcJCzAAsN8Q
Yt6PvKjvClZVYW+6Iq7sJL0XTVbcOxwwjZFYRijBr/3FdsopdOpKC4AEHqN+ap2dqD0bOgbaWLCg
tEXz2g3S+SWysn6Y7Mzb4YmY7trKQobCBVVn21PvMeFkjmyPNztRutOzLgW/m32Bu6nt+XM3ox0A
XVJlULUOeRJN/26KsCWDC7TUskhoHVZ7dJibWCyjJhpEbYko4Xfa1TsL8m4o3Nx2uZU1ghcACLbE
tgu24XKNjMbFIkHy92Tq34vsvuQ/miFyuy1Y07JBlIDkT5SnL1E6BFKVfar1DcstCYmv0Zgj6ido
rt2CE62OBGrTS9clyDvUKrfUs0Zz0hlKUiivBY5WHTxRfDRdciDVVpPqykbFcP6zpQzHmGueNjls
ZYPhB37NaFjNhEaGTeXGLlqJ///Qhv1vEykLZMmGSEKwXevxI7jXrfaxccygb+8r+TLmu3d7w4Jn
XqQGwJ6KEuylN5TpNDqI8JzjIKAZkx/y8htcPRj119t2VtwBvWdAB8AXUOdWcyiA8DVCtJZzlHYZ
JvpXVPI2Qok1C0tPzYJvBI+A6g253Qsx98w7JmHTJ4G/+VBacQEkHMEWB4jDH/Wby6nKaQ9sSJng
7gZKK41EetC8v1iNcxOLx59FqaYPCWlrMdHqLym0MLWQikf2+f1LAdk4NGKC2+06oWFnYrak0NBu
YL8SehIb7ru2DmjlXpAu+OsqAh4NjstuaOG+YIl1UjBfzBsrvdwiytFygUlTbpmh6VwBhA09Qqcq
rIbhJw7Uu7L1AjPBg6Kpuo1V2bKnbMhuyDVIiAKkQbL+2WysfcH6AzNQjKf+fdl1G5WpNT9zEbjh
+kRUAI++dAKhidYGcyCAQmi6J7+GHuQeG3iQLRPLGp75WULawc21BS7tP5n6a9a9lt4GrmrNDRaw
x5I3x9mskslZggPjXHN65FP9VRBUIz2XH2578lrxxYIui+YgfY65UsueINVqZeH4qLF5UofUFRS+
DigVOgmousSBNOV9m8E1uNhTHaQbs3/nkC7uXfopy6z97R+zOmDUJP7kb6/V7cbC1AazzACKSHRw
bInsU9tu9dmtrdtCiwvtL5xAuFov1410Tc2swoAn2gsZalXv6t6aAkn0jSBh1RB6L5ErBlgHb9lL
Q0k3VR4HadWxc/OnXjd3epo9O3LrKWsYy4mm7mUINv1rSClMuJamsz/4R38w+UNdCWdneDzbZyP9
hPyu3GlAlAjSmE+TSeqdnE161/VDFUtqO7siaZvYs+s2kvpQB32V4kls2T9MgGb22Vyz+0K6fdRR
AHaIQfMYXXNWnPBcB/OKPyCf1xDYqhz/iz2WLuTU/DxK2hKIGwTU+8zVeFzNfRM0XdZEtQF696zW
Ie2ZAcVT+MPwkPGJ3/mdP5VB4wFz4VLopgDV2YQDn+1dUZXFfcdMf2dxOe+mesrAl2IXAZnQRd6C
X2WfljggmWjHg5YIN0BFWX70ZheR6zCm+6nh9kHoOg0dDfCdse20V8tFxluilAjuwcCttPlZowzy
ILb8mOO/em4Hv4ilK+W+za0vrpN9l6nl7oyJOBAOFo+Wlu8zPHJjUpv5MdFtGQ8VmWKzHotgqkzI
HEmGwv4sCPipsjnMQC8WeD2bXyGmmARVxpqwqQSNHFfiD5DWjiHk3UeQvi0/2kXSRL1ealHvlNke
nXNWCHH5KURnVfeMpmpnD7FBJ+49jR3ATDxFvEEjjTNUb37qjXog4fgxkii5EY5d74QoXgFB1VbI
8DPOnty04lHNJxlM6NYKMlP+qmdX4tLXtXgsjRodWk0XFCneD8Bi9s9DUWqxNc1ZNJtJFhu5NTy0
I9fR6tsP+JH0a984xkcqBv3eb9zRD+eUDN+6gul2VBATfT5Qe/K7tAh0BO87aDP9zodhCkDFnP9m
PflmjE3xJDO8Xzq/4K/9TASo2scxBNzTDUur00L0fKSfPX+X6Pcj/TAVnn8i4KfdzyZyrNQu3Yeq
sPuIsRrdKxBK6qKyl/ZjWvD8KU80GQ595QdzW3WRUeTVx8Rw65P0MjgjXKm4Az89D7Rx0pDD4Hil
6OhTcUljALA1uPpO4xrw/U36xcq6327T5M9e35shihLGb6tm3s7KGduDRWN89IXpRT1UDXaTVVZR
1hVzANbX9pjVaLMgBqt2Rd0O97zIUqj8ybaInbYnkYub+KG1R+ceBTMMdMp5lGnZr7Gh/X4YE/5C
BOchNL/ZR8MZ9S7wxYDaLWODdueW6bzPq6YOTKYn97og/sHQOjt0ZZJAZEn39mWrT1Gpj0NcV40F
jG5LQ1mMyR0322o/yN9Db4QJ/LZFiS0yQRy0EXasHPBg7kPnFzqbltS8cia60qWNIVtxaqwYkBEr
vn1/rBy5F59XTkKtB7e+RhuBBxMFkl88C0+7M0xt415eOXAvzChXCE2GthtZJ06tDDz6teK7pNpR
uhFjbllRYhg+Y7V8WouTJPd2dUest7KNHe39t9TFWJQwRrcSt+p8rAgHbW5VA2hgPbb+RvS3ljGE
lQUYBuFaZO+UdS9b4Ek1SxenudIz7ADoLhgcGTRwFs1PfYkULDZMCraA3MpD0edaZE2+iHKWbqGv
1j3wv1+iuAhUNQkrE/wSl0bmHBNtY6hb31d8o0sSAJZcTZyMOXYi0JPd9vCVOBodgQDiaHgGIkmu
LNc4psQQI5Zral/y9MnoX2l6MvkdJHQ2HGN1IGeWlr12Ft+CcEZvZT2Ik0V+ARwg302Ys2BRz76/
uP/Z95ucOOhnxSbyGxCqUMtKwxQH5u3pWsmNwwjKVYsmLx6dymrPAwHhwYDVzjNcX1OYkO+yp/HS
NNCyIejzn+1Wa+jKCi0ISHuRddWumVa1cXBHpyzpsXTKRcC8r4O2SHb4j3+XtHt0mi3B1mWi1PBv
aYZYaCqxtdSE4cR6s2FQHTrWk38wazSilVN7KBuKwMfYyheteMXCWLf0RCAmuZJwKWfTK0GvRI8J
i3DxVFsNQ6vfRwUVGGJjYZ1Wkrl9I4xCcLSS5BZkzRv9pZ2LrSzHyi2xEKXhWYjiEorsime7BWRR
/JY7xzTbayAMFjEZ31+juDChODd6LFJizzDRlzuvMAIDAsPFu9t6kOx08XLDiwD6X3gBXO6gDHGy
biYcOwjUrveN2HhDrywFFnjpR1m6j+HKl58fDLz15tTG3vFCJ3Le3VOFXw90DJp10TsPRLJyUBJN
l1XuSVw8eRuMLoqm89vtzb82ADy80BMGcAjGoMxPrpPESWakT1sWNglYpzYOl63vK3406VXX4uDh
J/eTsHYT2fChlYME+GCkseGoILVWs78Va0DZwYHhrWz/nvv/gAtEyCnsXFSfux9/MVVntpSpQjxv
F75s+WnazdYHTXu9/fnVoaB4gssfqb8r/M/kEc9z5lKchsx9QQsI/mnxcofsVlRsHflbthS35YXp
VCOeaCcTPfnhxMRnOWgA7HVOFhppYQcQ4Pl0e3grB4qLkigCmyWfcAUKItrMzG4W4pQUIHaljzMv
7zn9ctvImrctPaTQ2sGxBae43I7UNWdtQFB0svxnOw+yrTaqZV6UawQE7WgOwdW1SL4rV6Xhc1Mg
DyWgsuQGE96QnfZDp2NM/fejtS4MKRvfG7jnZRU2vqn/9LzPBbEC2rzZ5QaCdsUPLswo4TNkNPSC
FwjEuPxaoomnat0AxYfAZi+t8e322qw4wIUtZfsQD6JRqW6IU1+dTLofqhMf939hAkjQP92IS7Pb
5fJbSdJZRoXlT/nnzooFokttw41XPQAoLVAQadByUnlc7Tl3CrwGsEvTbAavXS6SNwg0J691y6E0
b1baRgp17VkAat2FNhbBiwPi4stBkUywzk4GMI0g/PcRJYGE4pfXknujKCM7SX4brRZPKIUE1PXj
gWq/Uotu/IiVtbv4Dcp5UUCHFky/qEoN+uCETeHF4FB+wQv+L96+F4YWhz0LeGUrhUdLDf0lnvOY
dYieZOuR+LabrJwS6IlHBxEKLMijqrzFRZvlneys5ASNyzYENOP/93nF0V1nnhijDsqFXqTjSv3+
F59HJAM4KvwQipCXU6T7faMZDDwOOYTd0FnHH0fmk40xrLj5QrT1rxFlDD30dfRx7JOTVp9M81vi
mHvDyEPd+HB7MKuOhVfAUiNaklqKnTKZc7td7Pju3dztkVpBtmYLY7G23kBVYqWBx0MKWDHicg8q
s3WKRh/zN0r3TNtouVsbBBIkC58KIuYryckR8p9tJjwseBGXWeSXMWRTb8/T6hDOTCiLnhS5zLoM
Jvw6Zixyo9ufXx8BItmlpw6YAGXbIRNnVGxGlFw54E2FdMTcxXm5katZniXK5ekDfPKvEeV0LrUM
InsOIgA8y+32pPF7Qh5JdUizb339vRs2EFhbY1p+ztlR0qV1ywSDuVJ7owkH88Xe3uJhX1+Wf4ek
xhtFOeWphoIzpGzvUndPNpZlY8ZUrEZOZOGVA5ZlslFIINNh5tOh1vrYy/qn1spfm9HaIV2+sfmX
hbixUGr1p6qBdW6nFGbJV2b2gaAn3ziJYtxPbR0Awfv/cj5D8W1/nHtHyzGJbCb7ksgE3CQGRQNj
v/FY2/AIY1nNM48Yezrh/oQhp/xJkxcHzPzFdLg9mLWD88zJVRS/ywy9afQEyVsWc36oqye/Duqt
+v2q3wFHv9S+oUGu8i4KxrnjTngrECgk0FRE3V/0tC2SJf9aUG58nZjI/gNkdXLLKhi/oI0juD1R
W0NQjhxnblLPI3CyLj0Wh2GLMXt1rRdSSogT4F5RdUkat0Du2SGABVlWwKeXev5U0PdHz5ij/2ws
v+HMn1iW593kgWtf98uwGH5J+63td5pEI/Tv25O1TMbVjjyzpKyG6bZstEuGOH2MO9kEFUgADH0I
Bco0bSJ3t62tL81/41KWxhedY7IWc0fcgwNNF75xviy/9tZolIsA6F4704mHh7T+KOh3T/xTgsp8
SH/cHsaqGWhHIKe5ULk6yrlS971Xu3JCljn3T2NSPpTcCGoiQ5FaG2+b1fUB/fvSfg7OPjVPUw75
nHW9z0/NmEvU/43ucehQLLfSvnoYGoaSGVq7NqZxdZn+SD2hen6dBkzLzhIayucnL5FQKpzJGFjF
1ot31Qje0gALorkYurKXPj5l6IdHgoufrPq7gEZfMWyEs6sb9cyA4gxoOy4d0Rj8xJl7WNgCU9/5
YCcsvu0M6+NAGxfIGpfHm+IMPMsa0J3guBHjTkOBc4vmdOv7y5+fnQUNl1Y5U9wt6T/QPnO3eGJW
Pw/1ApCqLRpxao6+TdyOgyQataH0k9XtEZ79xfScfV/JN0woOqYdwbM2lSEbXjCO/9/3lek3prZy
vKQWJ2+M/DzeenKtbvVFxAWcR0C8q+1g0h7cEow9yPLKn4Y9h1MBfJbzqZDaxjyteisCfTwmLMjE
acsPOVtmvzVZhQAa16LuBDnAGECChPa4xUGyNh4gRNALBgAaMvBK7Fr100jTfERWFsLryDHl4IiR
dtS3xsYtrK8NyAR/k4bUL1owVIlaU1SVwabl5EqGfUKLN9KiV2og/0fad+3IrTPdPpEA5XArqdPE
nhmn8Y3gqCxREkWFpz+LBv7tbg6PiPG3je0bA6pmKharVq1V1CBbA/ahhepHmbG4yQ5TtcZjsIRd
7d2XyXwAwdzBUxHByTa6DVFhQJORk4ZfuJ7gNEVesvFRUVum4yudFNGZ6uvCNrearmcswZVAv1hL
bKlasmSTefnjhV1uLxrp03JB1i7bN0O8NOApf90+SLKdwen8UJRBihN0D9fzs/pLPU0dYo6gtEPy
wbsd62juVchH7nTFG5pzk0NJHhjuN5wSZavPlHo4T0lahqPzQNHCWR6n9pkEAQgOVMUm6bJcmBPu
gN7t5wXsbsXZyD/iAWrQ5+1Jk72jkHkGlgLqo9Bn4et2eWoz1y3zxE/Pq249WuO0xFmyLOFgTTeE
2nGAjGSajK8jU+03WVwABjE4Jhxi5DgEw5Oma0VggNoPt+u+nubYas39bHpH06Qv/RTstsepMid4
p9WsZ580MJcBWk2meV+6WoyqD6Rvl0fg7OJtc7K9CN4RIJVBgozyC1/Wi2ktGQFV6ZqDedUsXjur
BH60RL1CC51RpdAlO1koU9ke5hLWxF7VXOsnh7IBLKluzLoDCKqABNoejcKEyBmqk8B2qcf5UZtX
o/00pD/m4Oe2CT4h4rHifEmcjR9QUtHZ0tKpnSBFtWrpbsvhS6ZSIZINAQVhpHA4Swv6Lq4XZM6z
OvWdvDw3Hd4H9nxrG8/EV4FDZaNAkQUsrbAFShvBiWKXIUvklyVUzb836Zf53bTUPNS8+L7gRRui
FdivIOCCYiLAQ2WvSGbLtu3l9/n4LrZtBbbqxHLw/SF4AbZQz37r+g+3VDwOVbPE1+rCCrozfYj0
NeV5Gh6XO4cqBiHz0JeDEI56OpZFjeIdBkHvJihHdMWvCsII6XiL1hSiqV7rqjkTdpa2EOaZFObm
MYKYSJs8O8tBmdZQWRHuAcieLUZC+c6yh7AYXjPbD9f24JWf3n8OLydPuERdb8z6fMBofPK7hyDO
pCJvf6vPeL2HRWfS6Bw72FblufSCI2W3ZXCrJSct+djmPwt9jljzTPsfVnAajb1laDdMdYgUUykS
DhtevtKqwA9ISLTMcZod0xVd1Kd/mEify6ujIArAs1BvzSrP1CazBbrKOdiAoyg+L7vPwL/53+eF
YLAegr4zAdk8o1uocPblr77cJcYhz17fOwyg7cCLCzwSZ6ESuyOzJahqtqKsizd1aCPDyRRh9tvV
QCsuCsMQiAMDJ16h184A/mb2Mp9WZ/RhhlP+BdRIvX4zVyqVybcXAHTuQQYGQ0CNvYkO26VAnc4D
PR4hr2x57q0b01E4HpkJKN6DpwKpDuQeBe9pAwk56T3Lz41G0RkAMUtFOvit48QT/cKA4Dgne2ms
toGBtqYh8AhU2WMnsYCECdgLgHlxQPMnrEZh+IyuWV2fbxfysZ8+bG8myQQBwoGKCSApeCWKvCHI
zU5Bp2lY62oIqdaAsrIKg0ZVKX17AWBDgZXGRVoGFB5iycZNO3ctnaxCIfqpTnYAYz9V+dOMQL0e
bmz67vf7tTXBM2uN2zu9D2vl0XnIVd35kgWxIBTBsSEAgqOJ8/p4zGZQz12ak7NW+OH87NNJcf5U
BoSfjw4H4A0pDPhFDELBedxtr7nkfF8NQLhQGm329JXg+w35Mjs3Ux3R+aZwXt5vBfpD6KMEehCt
m8LJyIuZdkFbdGfELeTIrFOfHkty3DYimyo8u+EM8RcCPGEtSG8kRpB75Oz86IJPtvlx+/OS04Gf
//fzwkqMU663s+GSM6lY1A5RPcZ+skb/YMRFlA0RDcDaxNvX87Q1J3ZBzt5402dBOKJPM18UAZ50
JGDtMYGdxQPvT4/6RYDXenmuZa3Znr1+mY9lXrFXOy/Gj/bUBfH2eGRrAuIm0wWcGbBSsXm2Jp3j
FHlJzm15eza1d5fFAC+5+Drf3BcDqd21cp0SX6fOTZ+T0NJJ2E/vbgeAERB6QncX+Ckwk18bKQ1o
69UES9KmM5CYp2U5t+hgUalCSmYKBX7MEbwvMGCiWqCjLYnngVPhbOtPpDmX71+Iq88LAYmGi1cb
Knw+wfkgZ5WbkmwpIAiQW0RDo8nV3K8nCZQ1ntfNVntmGrpxOsDVHVQT42A1qCKyklpyQKSLjCk3
JVyBjl7UjlWs7Rl7LixBa26wPJpA2rG9cfmqXj94Oc7mrxm+XBdbK0EUyhILZkryqetnIA2D0HQe
E/1W086WRqNp+bFtUTqwgFcr8MC20XZ8bbEbmoamq42ln+sQwiNL+6jVCj8s3WQXNoTJg76Y3tbc
Rt7/BHt7TP1f24OQXCc8GwaADwQIgVoW9oGvuU1ZQcnqbJK7dX3WmvGQj+1RnwbF+shGcmlIOPpe
XfgasJqgUYvyEr1ssyrwlSwHtG04FZaLTnDEENfLwbyKoMuUU8ear7q3p9bJVuGhJJPl4MgjdEeZ
9y2zAJjJZzxNGTS/ghe7AKu6+516XbhOu+1FkczVlR1hrtCPGdTjADu2O4Vt9dqpCOfevnYQUXPx
MnQxc0pL4Wps0nwBFAqSMIHZ4aT4EUnNcBiMCEC/0Orfz89xbU7wyKgeJmVDwFpblp975z5IdkN2
aOx4e9YkDEH8nYCaFUcTgC5B2AG0HWy9MzMwaBpg4u/RXlrvDQhRUPJx9r544Awvmw8Jmd+/s2EW
wSRnyAJ6UjijJZA/SO+S9IzGzvp1Lv7Hz/PNcuHYVnOsgy4owXNaDlFu8l5VhYfmqy24zqsBCD5g
cPQyCHowHKKfrYrd9qDln/UMrce7JNpeIukZddDFgH5D1BREUDOimLKocnB1VrX+bGhBdgIf4XAy
mn8okmIvXFgSnLPltegh5XIhfg/yq6giikhGekThaBywTYA6Q3wTWSBJHJ0JBKr9D30+5ESxl2UT
hScjEtBQF3xLOrlMfZvZJai855S9UtruSiu4xc5XBJayUVyaEfwArSebrowzhmvmK8vtl2X8l9MB
lJKOWxLBK6j8rrdv4jlDPzY0P6ft7dIf58P2jpJ5Msiw+yCmA9kQ5ur688NoFW1rOdm58Tjbohn3
RRAX7U2b5SfDUtzG0lX5a0zk1Lf1lgRN6wGqupa7LHU+Q4gjZJP9a3tMslVBSh3KwwaCZU/0ziAP
MNrKgxlGb34VuuK0y7+O+QLqFpglsULlp8RC2zEgyYsbD+xeez9vP6eW/ft94fIyZ9rg3QVctU2f
A68/gDQjAqOAwivKluLSivB2hPSf39k6RuG0H/Za9tn1FAZkGwvctJBfRd0JCHxhY+V6ztjQ4mh4
Jlqxe7BxJ/Uz1edTEWi7TCtUSRbZsoBbxkEmB2k1RErXG3lqAmJ5Cc4JwrXwYcRTcntTycYDLS58
GYxC0GcWxqPXemXn6Bw4z/TGZfc+GNrR6BHE+c9tO7KFgVPkgTi/VEQUjzOulT2aHez4dRG6Y3Y0
NXLvO+9WGcP2daD1DKlknqMQtac0EOP0c4f5Incl88N8dBUTJl0QNI5CIg5YmEAkkW0DIK2IMYO9
rM92PiTACxV5sSycRIKCc33xR4QIFFpzv/AWf4bv6rW4mJJwtJ/GKYvBD6AYi9wSYj0otSA4FjE9
6WD4g08XxHvQsvHqkIUlyBRmV3G9q8yY13t4tasy9T2YSSfUHYB96oDvbofh4M+ftncZ361iyALJ
T9RoOSPbGxQOgbyfOa+UB7AhtY7OtLeNOzSZuSNe/FHSK257iQgNgokLe8It1iYggQZZRHpeECg3
AKpY/R4Nq02Y7yvwmMU5sH7tP2QYroyKR9btsiIDHvNsVRGpYk2ldC47qh7o7DkhjosMr+ByDBBz
WUYLHYAguM/ZEjfdbearRKZVRvieuQhfmb64RQV6hvPafWBeDymmk7eoHv+ys4o0IiDKaC/3EQlc
G7ECc55KD4/L1n2l7Hmxj9vbTTqIwEPTJ3IMUN4QNvYYWGYbQDDqPFr54zgvp7GZzgzqJNtmJA1Y
SGFAwZjzsuN55gqTpS1m50OUEnaINkDrOblJu2RvaeV5deZoWXg1z45aNoYQ2ojGZIrd6v1kZ9e/
QbhZXTN3itbpsrMW7H39dmGqAq/sJrocpHCWMtvJg97CINl0W7Svmt3svdWNoR8S2rrC8ck2hm/o
eGxgfyNEFJ6E40w8MiUewnR6XMuTd9peMNm+AE0jRC5BK/MW0sZvWx+5rfTcGPXTNLv3mjk9DeiY
2DYjHQVeAuDH0pHlEvvyuhVhuQHQIaQhlmFfFpr32+ydXPXSlDlVMJhxlWuXAy6ElYfcyAxeA8TS
vY2QrTUODTkFVRamIB/LnCl22pfRUcVZsjvj0qiwGzRq1tSkRnb2OatVkwH+99plSZTpqr0gWyxk
uvgA4SYAML52EkOdNKAaAbBn8tv7TEPJLGjzKA/GH+9frQs7gVCpRp/9OloMjWYQWonT2YgzFSuD
9DriWu1IpRugMnu7UtqcmMOanWfdvSUreUlq/7EZtVBn6RnN+x8gWAusqHsuyzHWim63PULpTCLz
jeAFhwqgveuZ1H22JHqZ8DXLHlB7PEP/+JD41r9cUKDR9DgKEQUW0R2iMXkGBnaClDFZUOb6PdNf
HlElJiWDwa4GHwEwX1wqTxhMW6TMNvsKrRUmxEUd7bQO0wFi76ftOZPsc5hxoVWNcA98nsLhSkFO
VVsm5iyfPRSzZxD7uFGqPaXjz21D0vGAjYYr10GrXEQYMJJNeUuhZ2b2xSll1oEaTmQOrqLKIvFJ
CLqBAQA3CLQWHGHaasMG3QLoLs6af0yzg6o0Lx3F38+LbH1mNhfUXPD8IhoI4RYKqsUfzDQU14PK
inA9NMC3pnkJFbvBGRCZBKGGBNjSqGIgWWYS3PlgEIUeBaASYiu31oPqbEbW9VyMnwOt2ncsiSqb
xIWzhgy0h0b5YphdaOdP23tBctVe2RXilrQNJsehWCQH3XRZm4Ea7mPSnpoVTHOZ6vqQ7QgLgwMp
Anb6mxfmwuZV69ikPaLc87Wqm2jIp4/vHw8Armizwt/ophYO0UjdyXRtaKsZ9Es/9jsdgLfgO3Dl
sVYpOm0l59VDTxp/MSMP54nntfP6FtjwLoU+I6J8H2JcyW4d0Wa3/kMJmTtRF6BPNPmjye7am9qp
jVx8i1RGvQy7cjWOI8A0QefstufuTx5aeDNd2RFu2salI2lTC6jTRbtPNCeC8vp+1odD3j2D++Vg
GVVkJ2PE0OWFstNx8Ek0t6o2AO4Xtn6F4DdoAZ0r8PThdqRWaNM2qktUzOfbcv0cJFNY6qCCWp+3
h85HtmFTxI4Vg1EDcoXAxnMHZAoeUr+I5pHej715cNrp7FJFolByFDxEGeACgnN8K9M3NUVHG4Ie
auywuCRDPKgewAoL4pDGrrCYRQMEM/k9QMyhS3/9w5wB1gCYGuhZ8fK53pVLaZEJWZ70bDSgSYwX
yKEYcVB+6KbD9A9ALxQD/trig714I5IpgHagBSm3ZNml1q1XvdizItMt8YQwgXQqhI8QTIi1odlE
6SELHDxDp1uj2FflPbjV7UdPVYSSrsuFHWHatNFI7YSXOa3gaSWQJPi+vSyqcQhTBVnwFnRn+H6f
7zzz2LsRGHnZr+D9bEe85wP/c2gZilrCzdhpvQZhqBovG9dLj/6SfCKz/TFnNg2nhdqnArR9istY
NjQ8caCyiCsSiyWYnPTGJ96MADZwmvTBX4I0zuCzOB9tFxVsDfbBVLa/t+dTEgF4uE8CCPGC1ulN
tNQPtjlAsQVGISBH+u8oLX5PUsVdIjWCBBJS+YjZ8df1/h4MqLOArTU968N3GmhhMX8EEZJi+mQ7
D2xBvC8NyS9cW9dGnGam7rDgeZMUQzg7JFS9n6TrgwctZ41CmCwGMY3vDRoAhtm5Db35Ng9u7Q6V
ls/vjyuRZQHYEHzTAIuIbwuvRVtGWzR4W+ivRX+Tde9vOEIy4K8BkfMUzsaeVr1G+sH9mXu7tI6s
EmQ3oVlFsxNv7y7pmsB5otCOEYG043pNxrIagpGmeFFrN9rO9xVvCtm+Qqs2/DvqX2+LXxT6E2PT
+dpj54IeZyHohwFh0N04Jaq2KVk0dGFJrHxBSNyiaYsKPm/ZW4cnVtMIUrRh5bwf/emhuxk8dKh8
oeNdDA8WPXHZgqvAT6HOBKJ9/zZbjUYRF8sCggsr4u1ZO1Uw1jxv4/nVq2mxh3Z0jqbtvKSlf0Ts
GQXlz+2dIFsqF8UknoTy8WQSTmdn0q5fXC7PQg91RsPUjCxbMXeyRUIXHTKHFqoibyTF3bUtAfQC
/sEc19DQH2oD8ZQ3hL6x2x6MzBCqCKiL/FEsFGMDplVTMbcwlDjkJmnTJMxs7QBK2Tht138ojOHa
5qkObAroegjOMw1cBvoDtI22hhlBqM17P7MqL7P+NcBHexF9BGhfcJiO5vbJAXUzCJnZP7gBWACv
lg20OQQEhIzQStJEa1Mbna8FuK31JlRsLsl6ACYANB/XKUIrrzCC1Fkp9RnHsWdLFVIc0db0Ii9l
v/rh2/bSy56yAFXylxG2MyrIwgGt16IcExd1xIQld37f/nK6McpAQY9mx2OarmfWFzcBsXe0Zarn
Ov+2EMdf2ha9kFvNuZ22sL2i3GLNdzVwfpN+S7Vp1zivXZ9H1qTwFBIPDpNIIfNWN56Bvd4cFXIg
QVoh9drloK9fDrNeRNszKvEMoGLE3kDaHXMqHqahmYI5SHp06nlOhKAntCcnrgJVvVRqBs0aXBIT
0Y6YQ0ZNcM71ckWay3JvjNGIfD85ZnagiLNl84XqBTLuXBETMrbX8wWAhttqnITT8o5DCsZ3RZQj
8dy464CB/pN4evMsqTtGBuxKFETKOnK6Q8KOIAtjrh+2YI+pHRXzhSTo8ZEUxPsc7zk0QgtH16q7
QR8aq8RztY2WokRFGwQs5tHL0mPv7ba3gvRwoVeEd6SjLPeGubKlSd8VQVee9TYNNQiFZVUQZsyA
W5pCEyT4wQh9k1+1o3oe/Wl2F48WSsM82RGgpioeayQlvWww0UMIrJl3C9BTFWZ9b9/Sap5DpHvq
2LWIj3JU20YJ8otQmBjLkDnTcuO7Ndjn3OYuyfuiD2nmFc/gJRnQ7OwGu671f2XeQm7GyZ53BPGr
ImCUbWwO9eaUa/CyYsTQmP7o+AMpceuVH1p7AZbJxjXRqoBMsvwJGsT+MyQGDW7ZkgVUX+W5c4M5
bPX8NHT5nYeXZAvhXnZERvSun5p4hlyGkbZ7zalOAzTWtveI7IABRYWkOOeXQ7/a9QFzmy6FsoVT
g7WAHqZMO2b/UAAESe9fC+a1BW8m4zp6sFC14aDfjipVGdmCIQJCOOnjP7yKrr9v9Z1V4bjV57Fe
b/rqgw86iNT88Q/ThOeDDVQ5uDNEciximGVt+Ul9dhhn4okrFc5F5ojAt/2fAeHOzTvbykgJA0Ch
7Mdq3E0L1DFwWn6jbnMz9XodLrWWxdvDklWIkV1AEyQXU0KRTvBHMzDInV8EFWhh28gqgih1QTpV
/nLyJqTeDRSVA/boutXe637mgPpsm5ct3aV1YfONFWscJ/HQcEbukj7Y1Va69wcV2ILHwqIvAgs1
6NqR5IW4Gv8VFwEZcI8+VAnSGjmUIbTH5giF0VOSdeAJqczThLxAySvftn+zmuxzs5i3/lzct2P6
a3u0srDK9zlGmjeGwjVe/w4KseGxLhts1A5NwnbQk52WUrIDIdoYZqnVKo62ZHZBws+pXgGdwv0m
vBG0prboELQNyrxNBOxelHvPBvvw7kHBvSPjwaWV4biF0x3oTT0vMy7QoQDgCDi9kLpQi4WCdQgV
yG1bEl91ZUsYEBSRnTpJ/PJs1Hs7CEsz2v6+5AxiGGDZ4DlWCPEJsag1otHOmdEqWFjPueHsEnJH
q99ddT/WXyGDqbBmSMLPS3NiLJCMPUDSCcz55pMBHcvuZIDRNavuHR3y0vN9vkDk5Bvxx3BZXmj6
vMxz3EB0d/rGkt+Nu9eC39vjl87v3/GLSTprtFaGVt/qPLP9+mSw0/bnFdP7xxddnkMLYjy9Vlag
FNGiYH2iPsSSnlj7nCafKv3rtjEJPRAixovBCJvFa4yBuUEOazn6yNcvfXpLlq+69ov4t0NCQy25
rdohTKgZtcVjRU8oz4SNrYj3ZWfw8lfwKb8Yc2cgfMHVXp214WUkYZWGq4o6Q+JWMFCeEnJ5ydnj
035hYvFcCMgOWLXSGXfOqu0dvTqWgfkI9N5xe1Llo/lrSjggI9SnHL2GKb26rYsBwvQnqqIJkkTI
SDYAJon6FQrOYnITEDKSNw68NfEhNOZ+DSY/Xu6qaEhftwcj2+2Iw/FBGw13aCW7nrdy9nCh+bj6
qmJPoFu12/68bFkuPy84xsymtDctjKMrjnkV6z5oTwE6OGxbka0I4EK4vnXedSVWMLEpAmpRszyT
LNar09RDh1lxf6pMCPurCoaVtC1MtLkdV+l9y2P5f9AmRY4JDQpAkKMjShe73/TOXezJ8PBgCHPv
Lq3+4ergmCrcvHgMIfVzvdiaX4xoQ10QbJMxnB9AZ6N4SEpnCW8GYB/xinzTAGmPQ+F0+oRnQ1pD
6kiPKnZnuwpvIgvXECOiLRHPblQCxXZa3TDZ0qSYJUL8u9HIT60O7LUD4kaw+iOPFpmdBjnc1AiL
rnnp3SYyIf24veVkGxv0AFA5AsOhi/NzPZWdPbVkmuoKcgijvod2mbODuEB9LGsIlFGXNS//YA9R
N4CYeJ6AquPaHrODxu5JVZ9zzOiCzMyBZV9QqNq2YshuJwAN/jPDh33hRnmbhhXMoFYoJu9uqt3Q
T+uHqsx2je3dZqBz0bMybpAeyrz1xiLmiTXgrLfZN4cWr9SsHsac7Ijl3rud/0Hx27grEiJYdO6g
WxuNaODpFLO9PEVm6ktSnZH1/eF2lCJyRefrCPmQm7QE5wcr7TLs9AVyN0Zx5w7dAaTYTLH7pAt/
8SuEu8zQk9WEpCEc5gLh3U+r3kJWcwgH++M/DRfbmzfCYtWFw5rheiZW51RnaynuNa056JVxsDJc
2kVDoHuZPbiz/dx7y2NZNx/dRRWoyAf6n30RcVdlC7hbUtgP5hdrfk6tUO8hLqLYcTKPgcIabjmP
nyXRdedt3XXULhuMsoss+tCgn1nP99tzqTIiOO/BhlqiXuXNmTnfG3rU2I/VVLhW2YXNOVxRJwas
5U2dtRuWwEtTtz6bKLfr3d2iBZHuzketuul6VzEeGVQRUNK/1oRrFUxqs901Xn32sq8o7aBdKouQ
JA+ZhW7zIovSHhzD9Y1t36O5VrFiMhdxadu6dhGks4lem7BdjE5Y2y8syCIQzIYuDt9QfERtTnGp
yBJ4V6MVjpyHHICe9X59hjjvfh5A2qm/GHOzG8cnn7eIdzvDhtDiqFKdlW0bxzUDTi2koz1ZyKmw
vk29aqXI2aCpw7duluqbMaqgurKNg4Q/9gwyN5yx43o6J+INZEnhcbu1f1md4LZujBuqu6hmzd4p
T1RYCuneuTTIR33h4gdQN7cT2MHPY7/PuxCEsasVD/4hL0GGGjLzqXKPVIUH5aMQfTe/qnm5E/3w
YgHactdxAo8AwNZaVB5ac7d9wKWfB9aAX0+G+aYVJ6jsdDBdtBW1YAOryX03HLcNyLYCR2b+SU0h
2S+sUuXSgK45MI3MeWbtSRuek0IRUcjG8McLgtDRQIKE++OLdaEtnQvfgsqF2dzW7LOXKyJY2blF
oMLvkj8ilUKkn8y52WYMQ2hAJtb6TkxG7QkJGnQ7rGerZ7t6rZ+3Z+1PC4e47Jc2BT9VVGCd63LA
ZsHmvq+aMgILzyHlkr9DuStBwZsiyz3WVYwOp33bZfvEzWOkhJEIxlvHb85dtUZg3t77tL2raXYH
CpJT45AYo4kymv0s7HKXm+MtBU2aVnexP1IovAe3VuKdOtvd6fUab49JuhMseAMXL2v0xQjLBJT2
Cr5d3lLITmO789pD/X4uajBHILuKZws8AhBD1zsBEWzh+DlBd+8YI8OjuYrTInUBFwbE0qmJzquU
AaJ7dh0/dKzTAgJah1Z7V3uqvN0wPFHtRw9yM91XzZ50E/4dmpj9s8ylQxMBEMijBiL8Luy9D+l8
JsM5aWlUqVhHpUfqwpqw/epkcs3UBAq9puyFZkvMylL15JGmWC4nU7gP3RnAxKBGMTNxy2MzuCHr
nbB0+zDP7ZMLTr2uWb8A/vDRNrt9UftPlYNOI8eKshncgZP7aXt/qsbM//3CjbAS9SKf11a9HKyV
FHWlVXEfS0/Axazyf7+w0M4JQzcGDrUB/aIlOa702VKBu1X7RDhlLtVy0xuxckXLosT+sICoLq1O
S8n2ZfvDCBQxjWrShJt+KKlDvAQHQhtvLUhlFJ0iEScrBeJM49UNPpg/Ve/rSUsL0PquEP0+p5CY
Z/2XpPiAZIKePMzGU8MefOdZW4ewKz8y8rmuurBqdzaEq22LhhU7tNUXo/1OZyhqK0rLBp/JNy76
4ocJziZfvDrtFvyw0n1gbRH7gMyn/VlfTuawxMQCqL09j+b3lfzUm2+s22fJ72I4Nex1e9/+f87R
/80QCB2vZwid/42RV/B61WpEneY+zID3hbnR7B3EJSvVwwFcPandx9pMDysdIhs/F7zTRyPRb8Dr
9HP7B0knBqpWDsB5qO6LLxO2QMuMLGgkHpYxtOgJrQbHSUviwVFc/NLzdGGIn4WL87ROo70aMxpy
bHO5aVCXHpr+dlRKBMiOFLCS6CAHCRnAOcKxnQstybIK9//iOBE66wZ3ioiThlB0AqVleqgSVYO0
dG9dmhRO8bpkab/28PbVwKJ83Af+1xl5aBo8lbkezTr6NMosnocvc75Ht1BkavPOnR6GFuF2oJJg
kD4joPDlgFoZOKs3KAoj0KyK8J6kZv28kANkJsN6Oo7k0WF5yMg3m36Zy/P2JpI5lkubwgy4ZlYZ
jDsWJ8iPJMzW7LhtQLqqF4MSPFfTDomxlhiUM5Ed2r2ihrwGrhauA40N+2VMD9v2ZM8VhJAgl7dQ
THzDUEqHsZi9BbuoJ/mBdXM8JQ4KNNO9y9tGSlMxPPn8/WdOjFQskxWjbWIHgWuMAFvOFMORnT0P
xO4430ALgR/k+uw1JRj/PR1OxwS+12EHB13AebPfnjP5ObiwIoQI2Mv2OALXcCYM1Y/l2XZvm7o8
gIFm7l8a9mwXj4l5B2XS0CMfCDhsk+F5pvu6Pm3/EOlmufgdfLYvPA24MEwtofgdbL2rPwVFxIZQ
t3a9f+d6qjGrZlZwN8Oom1NRwFaWfdOqJ+b8hP/M8y/lQiAR+KlzznQ5uMVXvzswj4S88dZWMSNK
A13Ia2GFkewG6F6Y+JU2q9aCHOlsNU86/agvQ1TQY1E4IaiEoyCBqpxnh677VKjOpQzYgkc9b3QC
oMRC/fl6rv2VrDmI7NCAVE3djtqG/0zZ8rVwSB2itf6X63bVTs+MZO+4tABQuvidL2b/MubN96kY
VEkU6dJjl6OqwMWJRYSLN82gVeRNa73d77pUP2dQt9TwCsv7cl/1ZTwy1etPQqJtYAr+2hQOF7xw
HxAPDXqAbz4A6LRjpbmrmn7n68teoyy26+JxqIdvc5Ec9TaP4SpjQvM7ZpnxP+z8i58irIbrM7OZ
+EvAXrwQ5NpRzgX/+tDNq93kH3XyeduedPdf2BNOmqGxRmMm3KQ+wO+jvxzqOb8Xr/q2bUa1qsIh
81k26cXI49b+2FhBXI2fCIUHS7oo1VFow17bNsijQTFavFxS4T5zmo6C2R/+OE+bl6RrftbzfMqS
NmwWkP7axI7Ghu1QOFHcA1K7SILrFrp9Eb4IyQtfs6YKgibIH2XjvVENd41OXiFwsKur8lbXmlNe
rrHH/qFfMcAT37SQW4IMiIiqaj3gLo0G/cVmUB7ztT11wOxRYGWI4yhmVrpjLkzxpb7wzW1mtImd
4bBY1bJjhvZsrGPMiloBNuIL9GYB0c3iOTo6Pd/UkeqZ5nanw0zZ0HDIb01AKepdr0L5SO/tCzPC
PmmW0SRaADNmQr+Vmv27aD3FSORb4u9IeKRyOWFWmtTTCo8GqsX7zMruTDJWobY4DAA7NAhW/ee1
XHbtAu3Q7UMgGxzGhuYmEyxWQN1dW07B7smmATJBTl9GEO0Ik04RlsgsBDZP/QAcC+lbwV1NZCwM
ZgPw6zUn+kCK//HzgncKeq1AcgKf1+qvS/4tUYF6pD+fk20Ch4HHhlgcpZOGn78CUo5G8Ic87Z9w
hBTxhey4oNb/nwlhCOhrq6zRAMDb9uPciWoWZapZkm2wSxNvlrml+eiMiNpochuA1csjDBrdy2O9
jJFhl79wjT5qaR9t7y7ZCYXeJS/CgmoRFH/Xu6tN17RvshX5pBxZuZXuLGv8ZFfpA8DNikl8awq5
cmDi0D0BSBn+XJtqoNUB4mio0mELAveYf+0QiQyJ99S2vhtvD0sSi/HEPMJsywKPrClW7bW8XoOC
aymBbzta15+AP4TrUoRaeximz7pBcIyQ63HzXaGpXqLSgYIv0UUgGHD1nuuBeiNdTTshEFZyJ/SP
Ascc6ROxDojQeiN0wWejsvh2f2K0KNZDzw6AQFOsHc0T8NLExKO+m7SPIIWGHG6JRI8idSAdF+dI
9z1AV9HJcz2uZFqTDpIRIDtbIGE6Ov2uMuybagzuzEVFrPb2OGBEF7aEE+e62ho4Pe7C0ivAja/d
lrUZsyXYkz6J87re6bR76mumaPOUDhF3L98x0CwSt81ausQF0wMaJEc77psZ/arpFAY5vSk76Pdt
b1LZqkEvzeUMdci+izmfNZmJ0zbgzTHJz2ABihMn3dMUscxb7wjKJKQf/pAg6m96U8w+MbpsQGLJ
WdYZSa0OhbdOxQclM2JyWD2XssAeFG5HzxyXyaYImFr/BZ0WoVOrOAdkc3VpQQhYpskpE49zlayg
xWlaVO8R/eWJtXv/kkCiDOBdF/zDbyTYUjNBO8SIyuGa3HTaqXHDeVJ4XKlrurTB9+BFKAFyrlTv
KaLapS3COYDExKe6X2K3OCTjFE7mU0IflnkIDfvD9uD4HF1HY4ggLgYnrBJoHY1qtfAsKax+R2o7
zPTXDA2nZC1RxmQgIFDtC/mq/Z1OYdU0aqQ9c2CR5M6Hse4PHaviAhRpipMkyXlcD024xjJvAM57
gaG6PnTpB71ooqA9GubvLPveV2XcVbeT/QkNhKFt3dSg5LZHFlnjyctetudY5kAu5ljEsbSQhIMM
GsoVnt5noT45z2Yz3pR9tR8787RtS7GegXDP5F3qB6itI8sfPBjLHdL7gV6GCXKe7vrqqdpfVfs2
MK/3bT6w1G4dPP/W4LHMf+lmj4YibFjyY4SCWNKAA6Th2P4fxvS0PVClaeHmySFvYpoTn9Uu1tvP
wErn5NcUnJmPGz15tdZ7KG+E7lT9b+5AhEsYaBUqMw1DDuiuZk/EOM2jYmz80G0cSrHbrsv/71Ai
KvpU2uYp7bNjkUFIe6zi0dMUJ0Xuqf87kYHgfNZgthLbx0wy4zd4u8OFfdleK9nFfXkABCfjZ5pT
BD08qPb/SLuy3raVpPuLCJBsrq9cJC9aLDt2lhfCSRzuZDeXZjd//XeYmW9GoggRvnOR4D4EYKm3
6uqqU+cQy0sUMCN1IKrlaQcaiuSxVZxDb3RPQ/8PcJqTC8ADGik4jG8O2BNNnSllgeiEOMk21xJv
1Mpty7k/VLU/0k2uPxRxGnTlJiOPzrBS2VpcRjAE6GCgQLZ/jmweNa01RQkH5KoHEQVWlPu1fLGU
LxLA0NszvGxqKu+ZUw/lHKpXxRnlnOKlMIA4Tve7OqjjbWIF5loNY9G/gMHy34bmvsywU1VkEzIg
AqGL9kZr7k0AxDLe6cYfu36+PayFigkW8MzczJ0xs8xys5r0Lt2XogKurawhUf5q0QeV/G7tfZnd
DWzlWb/ors9sznxaXKPfv0bWDCS09pY5O52ZXtvtTXclrlw8dmd2Zg5MkkRNoCeMKraJDOAbE79v
T97aUk32z2IKI8PbmOkYRyOasKe6R5gd2twNJGhlGr0OkgY17ds2Fy/3szFN/35mM5auU1VQGn8y
rbsEOumFX5LgtonVPTFzVxUzejUtMW/mOB4rJw3iyjy1JH0AiWBQ4i1JVXWLEvidJuSK7UVHBuok
VNAn4M38TVWhTVYF9yIcWdX6drWLgQuCUEzyEmV840Q/689LRGH/o3wHLmSUgNE4dzmfwD/rCdBL
KXgztE1duu9DmQXI033cntNpK1xdOKgVTG2wUFiaF6FAymdwp4KnKjLqD+47tVegX2sGZuOgWs1H
K8al2SnlVzFA+dyKf94ew+J2PxvD9BPOtp6jZENbVjBhmtIj6bMzOtuYM6/uTlr2Zoi1+HLRTZzZ
m231LLfHuK0xZ0xHdulLMije4G7WBdYXpw6pOFA5W6gFzTMHScS7lAqwQGS9D3mlyNnenrfFI3v2
/Zm7U9Quk9CrBCDK8ePhGapUaxH/0giQdZkCjIkPYc4A1SZgyHSljRGkVlijwKK2wefHcG5hNoZe
Kn2SSwe3ElgrXAzEIHSLsuZtK0uXLNpWVfTGOO6EGL/cYWNP7ayrFFyy4PrQmz6Uw3clbr3RIH7e
rgTyy5P2X2PTjznbzjVe7Znewhja8DdNelScNcnBRQtIA6AVF5mbK8B4x6jbFI6FsC9zvbIHyq/x
bk/YmoXZstC06EomzPTpizu+Zvbb7a8vHUBgAEDuiuK5C5KDyxmKbHCixsDEPrVerdzJwUdBVaz1
ICx5FdBE6sjIoP5ylQcfDW5BWh68VWn5QUs4xzT1Qbfo5TjxVeyRbAWusbjHHJSYkGlAO9n8tLss
HlJ7gD2JjRWxH1Qz/Mz5VmvGVlrfb0/g4vIgPT7JHE7VmFlwVQMQbYoKaSCmfeuA9/l9+/OL64M2
a6TfoeEC4YjL9WERUYoix+etwQyVTgSjYYPcPPXZsGJpaZHAmoAYX59oeOdhPkPVWu9VRAQ6N/12
yPxM2Vf1I22GqQh5SJL8H2xsSEOhnVs1oFMxp9XopcMZCC+R26oC7hWqf3vm9MUBIT33V9hhktm5
nDq3LqKorLP8KZO9ivaCAlXreESemJiobYphDGgKpjmUXr9qALX/4BV4CRIzYmExQly7jPnoQ+5e
2w5tNoQKyNc89OFScI/I4ZhadPDGGD2wkav9NmpZo1GO0gDkyOgiUlyBUjFRg0Lpne+cRuPKDp/d
NwZS8MiC439IwdsAMM+8KBtIFyllPxx6lvqVemiMH8bIVmZwFqj9NYJcLbLfkwYp9IkuJ9AByKEv
sloeskahuNkgmC0btSmAttCHh6Srla+5YcTPxCrZowFKlk8GwtMPQI1hom1CoIh2sZlzEryJjZ70
/aHX9LeCql9wd3yQNtrc3imzIzw3M0cnGVYz4uob+sNQ2n9UiYIjutBum5gd43+ZQCcw9Bcm8pq5
8kuuMd6hpxL0quOPjjgbCXFSQBMD1BeCf2DJhegLem3AvzQvBsWt0yqaQ/tDTuSjzXjsc5P5SWOQ
oBDtyuP8b/75LOb9Oy7wMlkISVT3uoczciPKiC3aA62HegNLg6+WrDkNWmw/uoMuwt5SfSM/gpwo
8xqnih8yy6T3utHkLxIcVWGip65HqTWGdQ+6jojzNZHN2W1w9RtnZ8UYa62oIFh0aAo1zBNAYYuh
ehhRRjK06qss1wQEl9YaQaaLh8Z0Oud+DbU+h5uNbA8x02tPj5U7nfEQ8fq+K1bLcZP/ny8ACn9w
3BOjFDCRl2e06U2I3Ne0PWj6xzh8pMo3m7xy+aQBe1ptufWg5sq92dRew34LsvL4XprZc+MzB9Ho
CmTqetYe2qolPtGHd2YPryJXXX+srDvC155Y857hv2tpgwcEXXAQ5AST1uVwRT7RLpC2PRRq1UJs
xtbuGEnBCabLxitFnz3SgmTHXkfiNG3M2HcbiNKYjdb7qkvWaKMXvDC8E5Co8JIEUkWz8LJjRVmA
Ebo7NAOqTC2FiCMvPkTyyVryv0Z9Zme66c7CWJCTTX3/Ktoq2V7rMxB6K35WJH5XfbLV4t+WJvko
1K3B6TV7jzlxQZ0oajqIbCnxT9RRWi/Ps+T3bR+1OG8gH8Kdb01slrNVtHg7Cktq3aFz2ZOs5J1N
RZi2yUpZdY5F/zsakBqrKBZPHCjzC6xtOpIUOmkPxsjH0B2qMYw0E7jMTiEeOL+dIHbtyI8JLb7w
qihDadhjoPBG88eEmh7TIZZJK9o9lL3ar9yuC24CNT0IskKzGowN8ytBSwzRyTRvDxUy7DVQ2yR+
UPQHbn69PdkLtxuoCKAvPCk/Q7l6NtmtKVmUQh/zwNWvovzQmmrlbpvnkqZpvrAwe6FI5AyyoSjb
A6IeirDIBrMdT0vPbV8aDbI8wxsUoj1LXyOHX3A/F3Znvq8suVWWFuy29I0Zse+0SA/ftflzFr3d
nsMlS8gIT/hPaNteu/Soqtx2cnRm/o62t0QcePXRDgd1jY19abHODM1j1l4HP3Yhe9xVOijjdmsd
1Gufn+0FV22TzIgwDpGVIG3ioeOu1d4Xd8P5EGa7IW1pWRJluhToQeJut+sIYXS+Kbu3Ua+g5Vb4
OVjGpf18e40WnAroAXGcwMy9AInTzUgB2V3SAqJayhCiAV04JW53MUFT4edNoQ4CXmGEc/Bhs2lE
Jqlwa03FhnfznZ0Yd0m0a8yVy3VpPOdGZvNYlYMOPruhPUTdiAbLr639nmpryYWljX1uZHaELLtF
1spBbJQ497GsPdW6M/RXk3wx3OD2nK1Zmrbm2R3GAOjraIHhjEmQ2j5V/Nb043afdStef2mPnw9p
doVxMip6oo7toYzkoxqbz3ZOft4ey5LrPjcx/fvZWEQB6i4Cvu+DBRmIuPqZEqhDN9t8LXG9OBTo
UYJoHkJ0EFe7tANeZDthBY5SnknzIbZMNRDKWIe3R7O0MkC4g+0AL19EMrPdXOagArQgen2YqISf
eSNTv8lVKB3DHwZONw47IyXFymldmsJzo7PdnQxZIqIKR0grdtnwJyFfYnWnVK+fHpoNgUpknVD/
uua/bJLciUF90h9SWY8nfWTiTi1q595BKTXgjuxOmdubK95hKUgF6RpCG7TIg3F6nknhKk6S1LA9
RuVkte+NbT026RCiQdrXO75lFg/MZB8l2T6KRNCM97cHveA40KkA5jcArXFZzXdN3btVNGZdc2hJ
5Q2xAQaCN52sGFnYNDCCP7gVDXTSzxwH2pVUVrKyOSSa+5DGiV/SZgfKPI8XD5SvhhjTHpw9c5Bj
m1ouIcmOwHRmzkiHrszjrDk0ZXYyi0j19KwBd07+brZxEdR5nnrQqnoteeM1VuKLkmWb29O6cBin
HARK0VArgnzuLBnBiyRqJOTGD7TIfrjsezr0a4jkWcZqCqTOTZjzjBUxUTdtbXbItTvqdPtMWuhh
fdHHDMqd3bNhrCzi0k5BM9m0hChbXfEek4LUJDYMdkgr+m714pX37YsiVomJFw47ON3w/YkvEuDN
2er1wtSbsbPYQcsMvNL2Zf+l705W+v3zK4TsCsJcCMeiNXLmlrnbpJAzbNghOnXm3lmj3VoaBd54
U/iHlPLVlpdVP2AlGGZLCQf2yPl7a3vmsOKNF9YEzUbIlONVidT1HChJoHWsyrLA9VWYD63S+mOP
NtlcrJhZ2GpTuh+WJmUPEHBdXi1FZecVK2L1wIX4oInxPerc313v7MpSiTyJvI6n4Z9WXOO1VYBP
QY0GwCFoRLDdL62mdudKQaV6MAEZDsZ+dAKmK54VG2idymNfgrt00ORa9u366E5moW2DnAyYkOdR
dSHGgSlVoR6oFhivXNuu7LvrNbv8/mxYeFji/qb4PpByBahCIW4jwfAU9KI4gCYjzEtj2w/dL7BU
f8OL5r1pxg1VkKTRxsqH2GIUjJq5EdI5jNApdBMdlXjjKYvIXeaIE+Uuzore7ouR8UAl/StAz19E
HPt6TLdQ4gqhj/aSV1QFHbbqu7EII+ThOl0AiGe9NWjZwFs79cq6e6sa6y4fTN9SiK912mPO+RY3
5wr4Q58c1aW7BjZ2gr0jNQhPOQc0u5XlZFY+YMJpkh/H3OkfhrrV95XQOBTxdO0ZjDgp9xqh10cQ
+f5SlK55kXHuWiAR30bWfvwxJP0k7Js6+d6NrCqwqPOroQ1ypl0vV07D9Qb5+zOnJhAbRPPztJJi
9LVtFKW1l863xvkWB7c3CNoZriYEtLIo0CJEwzWGWtjlxrdZLhNZt+a+AiO4z1InNDP5re1B1a8N
IbobU09jccAia2NVZGMZ5YPZEICqWHUPiNe7BJq0FV0WALp9UmznXhjZXVU19/hcUKMPT81r30Fb
uN9IkIB2KBVWDvQtpcADvHHio9p1+QPkHNAyWRgfOqRDYuggeKPeQE833pWFe2I1aEVF3ez7pEbW
OGWhVbchuna3GZH9n5gw6lcQ0AkacLV51AaGt4qGraDO1yrrMvTiiUMiKuhqaG2oaMWjPgUfKWHE
GxKwSvXu2N6zFG345WDoHneKIRRg2wvSPA90W/njUEiPGdrGSSs/G2swwyjMszmqMijypV4u024T
IV/MPBDNfheOteNV9zU13WConHuDsqOptXszywJCkueuS+5FpN4bnfsYobckzdoHYHi/QkXjPjGs
ux6pd1b0wdiOQT4UG8h57EvR3mU1+2JHzf1oxrsxKTbQowzH7ntda8HQmiG3lT2aLuGXBzdEtzY4
ceRdLe0vmhU9Fwnnd4PbqEE+Wru4UZGFZMO7UalfazIEyJcerFIP2eD6aVccqnxI7kuFB4Q7ItQT
7ARHD5PU/Ilu8Ac17nq/crPYr0Y39oQskk2txannKulhJBkyjkP2nIo2IJ3xU6lMe2OgLTcAECXx
hqH6QWK7eWBptrV68B0gn2XR2neJDPK+MLagJb037FIJWmDP/MRRqiByovcsTZqHonG1wGaqZxv2
EDgGEvO5gbCqj+kP0aGWbkXm58AtiH0sIAJQIwYwAMm6eb9MWdXa0Obc3BuK+0Or668JXznkf8tF
l17pwsTfzMXZsy3Fhde1ojf3qtuqh8gA/3yNV/ZXqdSV9O3chW8ySaCpmwgJbBkceaPfq2mmhk35
B7IO2wrAUUhuRuKDsaDDpgKxdls/UMKsQ6k2IoisoCKSh6DDGwM0UYxveaa1uxzNlit3znUwgsQm
Ot3RiYM0KhgsLx1KGiWq3bea2FsW9VtxaNF43dAXJ05WZu3ac10amoW9tQ6mvI6MCNrGu1r5QGUs
+Xym49wEkGGXY+nNgSt4Qk8k0f6YfaFsw7pPJ1MuTcxuaFoViDum6crLcAQRi/JDXQsPnetLD9sL
KXMwbuuogM4fCGld0AiMk+beamzIpBZjs4X+wkvVgtgugWxS6vrE7fNgVMdh42qpvtHp2AWNqvwC
RwvoNvsgypMyjEHIN3KOMqtrTZfjPVfyZ8WqvvWiCdKoGu5HURTwsHGyyzoQv0nRsZC24MnKR/Yq
QAt3bymZ30TKd5XR06CoR80ZnsuRnBRZARRh7NJhyPdC5yWoCuSz5VYhh5aBjgugp8a3KC9+uGXy
tYhL08tKqvla0yBocMV7lfEfptbtdJXupaEFKad7u6D38TD6EBEkngOmb9mlP1C8QShjmrsUxb2N
jCGJV+j6rgMAO2+NL6o0cZcx3+DEV5tmYyQciS4AaKDo8YijeZdm44tWENMbMneHxOzL7Sv5+v2K
xUJTDcgECCoQ8+x7UjiQo0i5tTc7iLhTm1GP9vK519PnWlW8yLK82wavQ188yaEKNDEb44rRZwkP
0PXWJYeC6d4dq6LyksSJHiR06V6G3AVVT5pGOFmJ7PZVK9fI863p45eeDz4aDNSA84Pr9kq93AGw
o7f7aNgnQDHsGGnYq1125X3fMeJzZJe2vOfJK2qaytTpZv0sbLt/0JIeqLxYJQ/oB2ombh7nrahV
c9ekXQ4uN1oYnmkn7rYVLKWe5fbpi6wKEeax+bNu9PillzXNfZ228ZPIVP6MF74ZmkWsoydLIeqb
Ton6q40ACTJ4h2sY5wBA3pGEBQAx3yPV7DZubbuvTqTDAUkFFMANG3b22EY7o6X8kTlJClbVlAVI
MXd3UgM6l/dRF1pMSx/7VlBP6Ln91PJIfokia3jlFYXHRhz8oeltu+mwM/0Uwg2RxxJLKdHdYsV+
FvEGIDtBtgBOr+VcJ485Www4iAnIR5A/htz1pbvLM2PAK9nhe9JCqVdPQmZy32EE6u7EL022GYfo
OV2F/C5sQKAfp4crFI6QDpsc/dnt57S24qR6Ouzrrt336Z86fU26+yJBGdFRg9p8v73fFy4oPJGx
35BRxIN2XknEe8XhTi8l7o2w74+8vEd3gLHm168Dd5SC4XHtSbPBRIPm5aCYzRmNnUruM3aS1VFf
ObQLl98k9gKGVnAETmQ5l58fwK7XMahD7Ut3KEHrZSie1sdfVQudoJ+fLlxR0NtEURsECbMLCjDF
0hYxEXtNvDj6BptO2I+DsvL+XlqUcyszJ4RdodFhOks2ST3QhmwL8r2b0v7m6+3hLE7c2XBmE6cw
IElrFYbU+g8eEMCRqerX/83EtDXO9rPQHWHmOkzkEHoREyG9MnyODRgxKUB90xMW+XcUUOeZ1C43
Iq0rp+lq4d5ArpK8s85vgTRIPx/OoefEhB2kqkEhO4uyqCb6sas1vs9Nm/9OS3Xc5uihPqYZ0UMN
1d01BpCFnQCDyPhPumq4CWdOqKjrxuipxfeAsAUtz+8MDKsCciESa6x806dm/g4CCFBd1ZGSRuvn
9FPOFko1R0OWuOn2vLX0e+iEj9uKUva7TCZK6g6icbYY5FoudcEzoP13ytYBRAYnOxsgiUTeM6Xg
e9NoWNhIVd1wWyor67awzyfFV1ADgcr+Gv5rkqZ3XJfyvTY0UNcSMkc+J9ZC2ZM1aMZf3NB8HoG2
QfSAhB0obGd7BOrfseOAOnGfjDw78NKoPc3KlWNvsfYpoSP5lctu3ANtHx+acVTesyRPwbVlDYCb
ldX3bnTSB7CRFyGNktGvOmDQlKLPnl3u4jleQ8QdpLy5R6px9KzS1Hs/7soiLNAa5okiKe910QGc
z2q2EbxwgqEZ4x0u/N6nLnj9cHEOd4lof3XU4J7aKTgzfc1CKeqtUAVemxyqbeirbAKCe9qTlggb
iLihbydPEYWI2APez6eZGW8MYaJ2UdjufUo6eN4x0QPIAZj3fYXuTysziq96ST400Zkfrhih9Ey7
LgQ9U/+ga0MUpknHtlnF8qNa9VB87VEr+RijWNkXDvjtPaJl1PGtph1OXRYN1YqfXdoW2BLAOk+0
uVf5JFrG+qhWctgbnRrth7puf+RR1ey0rpYrubaFaAJpdaTYyNSgdxXajU1EScLzYd8qfbUZQQV7
zCE/eWQKWFOIrZAw6upiZ+tF9IFnaPIPRgpNPGS8cNuDomvm6PM2VwCMb4a9o8lfTV8SLA7aruNi
jYlhwYtcPHhn57nXioSYDFdxEnlRBkGDwOEnmR35Gs3bgmcEvzWqIdD6Q4VrHp5ZtWCuUhC+H8YT
ynZQDnusjK+a8vv29bUUjiE4AvbeAfr5ih9EZkrhCDvie6u2/Sg2Sq+U5Tdb5L/U3ICQuFu+jb0R
fT7MgFwXbFpoUQK4djaLSTEQV4Fe+L5LgMqIj6P5I9ZyfyzXwN1XswjQLh45NjYG6gtXBINuV7sW
G1h2hIomeg2j7lsFCIj9/fYkLlkBzzYQqKiWTAQol1eLFsnSzi0zPXIO0scB0gYaentsALfSlX2+
aMnAOxGjARh5np7KcmqgShKlx8wkD9iLW4PXXl/UD4Xl3N0e1NXNhakDtzrQJUiEgeBztkY9N8fB
YlZ2lOWjvaHjSlBz5ZvweYi2QSgUTaHXiTapUz0qgds8Nkq1YXb+RSIjabXjCgzjb1Hv4rqa7IAS
ESU/W7+WOhGuipSEQNONS8qA0I1RIYX8kub7qH9OrW3WvdBKeCjLQPL9udbXAuorf/HXPMj4JyD0
NTAWTON52aldemSDPeWuX6hQfvRomsoi+jBm2cpzZ3FW8Wr7f3OzaHQUGS0Ss02PuW6CATv3NfNb
Mm4/vzMA7f6Pkdl2Vw0xlKbk6bEaWs8mD267cp4WRoFdRyCwCjJLeMFZiBEnwC0YA0bBUsN3S80v
jbeyvv/0KGDE1iBwaYGDdO5gldxOeoK36FErvkfW2xpWYGHhgcuCgBguI6iuzI8P9p3KELZkR6oi
GaCgFvlYxZC2callBVkBAVbXGaLg9pgWJw59M6qB9PX1O3QonXgcNLgHdAH6usMgVnwPmt7POyFb
BVx0Atpj3ua4M8tkChXxiPUnidcbp0q8ZS36NLWVFbq6m3D5wcoETMXfa5HJMgHHomnnx+4vUs8R
6qajYM5SB+MVjGrMG9AQ5xsZNVc2+JyPAuhUWLbhYHUUA6afcOnQFcaA6eRZcSQsCTXF2KKGvUHr
zQ+ht/e8ph+Nae5zawygm7LT+z+fXUWkEtADBxAhSLuA7Lu0rkpSOGiLro/qqRU+mPPjT4NIJkHG
/1qYV6IrXS0NasECirrmc8dY9S5yna9tlOvtOGWhp4QfXDxSxLOBNFkckQQ6u0cBrvHfov+wnNPt
qbq+pEw4VtxOeNKhQWgO6eC9W0DppKJHI3PBxjqAz1ul4C6+bWVhP8DMRIw1iQsjLzJPiwg9yxut
oUe1KA6RqgcC+bLafSPZa5UZO2fUgkSzAlmhBtiVK4f6aoyAkQBNgv/wuFsAfAyWM7JMG49ty937
NlPaDSrb7WcD+JmV6VecPY+VrI610pm68KNtKoF/GLOglE7Iyvu62Bpj5+HyvD2tV8EMTCLLBBwL
MtLowp1tD4aeaxBJVerR5iLaVXjwHUsRZYEOfGbgkiZb2SxX9vA6RiwAoJGh42T/JRk6GyJtXaDE
xqQ7GXgYFsZ9lqCi+l7XK5HN1XrBDMjhcKng+EJDZlZHwm+oCyV225MsEALWzEu7lfB5zcJsOwqd
1mguhYWEelkHoZ3g9sIsfh9bzsS5NdWrNJBS2axW0bF8St9QaxP1++3PX7mFaYIwN6CjBIDtiihQ
Z0XDqZp1Jz27M1K/BrHEGhP31QgmEBuwV4B/TAjZ+QODZ52MTCRenqytCz72kq+9AxcNgMd1Co+R
UpqnsWkUq2ph5NFTsQNKQV+LHq6maPr9Z5+ftvLZVoVDLiUHJdoTUIVa33qZ8js2V67XtSFMEcyZ
jbZPUauIsugp6gl6k3JQk60ECksW8CBHnD+BXq9WwSVtrJC4d59q+R45YZkUKwdhaZrODUwRxNkQ
rNq1S93t3ElqW900Lap7eAUYO4rKx8psLZmCNqOto/MC2Mt5ZrwiisjQSOc+GdpeA1KBaYU/yM+i
D7DsuPKRwkN0DU81W3aJfAXU5ajylNp9EvYarx+LCmJ9nzx/kxV0BuLOxEigcHo5a7wE7ckgWHxy
enEy3PjRHshWa4vg82amzC7CKBjDmb80k7q0KYdUj57wNn5y+XDIVFAtVms45yuvjtHAACTbbRCr
4EV5aYbq1FbQ6RE9EVDjONXgm116QIkBNfzqs09imAKSGmlPUC3ocIyXpoqmMCKeu/Gpqir1pVBj
49WMXOcfnJpzK7NrkYyaLAeeJKfAaH+R9tftVVk6k+5f7wsIGPIis68bA5MoSjbxKZPCgRK9bQVj
XEXhbStLiwIqAtyCLtoGrqgWACuQeYcM8MnV/7TyXdIfVP0hqp+ftoKufYChcSSRXJ9Hf4WEJnrn
FMnJsZGEjvyu0z3DrIMuW1MpunqK4Elwbmma1TNHg2JBLlQ1S04temzspjxxHWSz6CX5WZnpJtPt
l5Lqv//B6HQ8H4F8xDtk/oIc0szSZYTdJnXUhrPCy82tKvcp+OZvG7ruFJhGd2Zptq8p4tdWb+z4
1OEVEBDXKvyMWDRsDcV8SRV98FoJUBzUc0Y/U036WNMx8YqCkRCqSujEv/17FjYPhotnLB5AeAXN
y51ulldlorbxqXZNn1XQMqo8Ynwna9rsCy4dlAVQecYrHS/meZCgdVLXhNnFJ2DmYp+kpbbV3R44
NwqE3+0hTafqIgs1zfCZqdkMd+BmcTmUGU+j5E+KlJVfjwXAxl3kFQ00E0vXG8chKHizgjha3LjO
xF0wucerjoUyo1IfDEWBknkJofSU/kFnwwlh2TFKzDdV9j+cqDFWFnBxYvHeAz0QXmZXPQqCZWgb
M2h8AupyW+I5hmb8ILLLzzsZDe3+gI2D9gQdC7MAhtakNJiVxKdCyBJIuVY75IBehD2T0s/LdI1d
aWkRUYAHrgqVWDBSzi60WkMnuQU8JtyN2z6UEBfYWOixOfB+D6mhjIWVRjOPMcHvbu+epfnElTMh
dgABQGRw6X0qPlaT9E98InicJejW9RiICsB5sTKhy3bAWPPXDGhrLu1ETj4gbIbH0c2NyQ9N/7Nb
G8rS2UZg/h8T07+fOdIJkQJp1zg5sQb1tPgXeP9cc5e7X27P2MIth/n6r5nZ1uhQI1IEVbBUCeSU
RZG/oza14jYXZwv4ur8rAr342SuscNQBgFkHXtPpwtHeN6MZlv1aZWtxJGdW9MsJY8AG91LDmpAa
pd18bIr7yjHWXO7aWGZbe5J9olxGGEvs5p4kashrPJLBFLGylZeH4wB6jtAQCkGzrWxwHjNznNZf
uKdBNbcaWmVvr/3SWHSkt3CFTCz087iTgVF8RCd49OQgNvS0tirDZJBHW+hr3D5Lg0HiAlmhaSxX
sB/LpsB92RUegXHyUhoWMI3652N1EM4QdMwDxoIGwtnCJD38jdLV0RMopEElbcjfA5Hxo9s5n9Ty
gMsHihfzhuYUvNcwnsuNlkfMqHSaRE9tW4B+W2/MLWDePmJR8A0XjrNyIy6tEiIJAD8cIE2uME2N
KDjpGzjvRmzALAbZpDuerZX/1oxMC3jmbUZD6aAEPt0QLkQ0D3mzh+Tj53cbiPymZjykIcFQdGmC
iDoHh0QKnxmF1nuUb8yP/83ALHSQeFuhuB/Hpz6vdL+MgOM1hCU8s6+c8H8zNTucwKXkZlRjLCqc
pY2sn/mhrpVdlpYEwQjSYxPdG3i3LuerHCpTrxkCkgS3NZoz2lP7DxIbU7zzHxOzO4ZyYpYjtZSn
CFWQrEeGKV4hHJq+MA/nzi3MFt2KG02PBQYxQkJ80Px0pGEVVT4RK+5yKeQ4NzRb/BEJWV1nWPzS
9escLa0Ht3hoiWc4Xlrgz8qVtuTQUDBHCAiuEgKEz+XiVMQRgLdgXKVXM5AkiLWcwJKBCTSE+x8+
DSXRSwN6pDQjky0M1L81+kv+g8ATXt/923SMUzlbl6E3uYFrGLkAqgTRqB+K7rVO18SVpkmfrz56
HiYlBDTU2XNMaY8VhxZChZi6oiVEXArV2sY2aX0pkZuH9qbcFikfGo8OTrlSz16cQDL5TMShoMmb
3QdmrhadZhXKkzFJrWu1Z2YrW27pgCKitlAAA1vdVbCZZ7jphiZXnqhtlSdRq9ED2NfIXdlGxYrv
XDpGJpYJkTJYuwDNu9wNFshQK05H5ckUZjCo3wy0pKf5d5zflX2xOGsOcjZATbign5ltu7arR4dl
2HYkCW0eJGZw23GufX92blo+Jk0Zd8qTG+9s1MTZ6//2/dm+JtREDGBPx2YIXDCYlc732wa0xT19
NkMzR9NErdu1k4XUgZyrp6Ve9qb8QqfGL+3vX64EiuE1fwj1gJFES2j0cvsXLG47gE4JQgGUe/+W
4M6uajRYSoLmAzjtPkTFGvBPaPV+2gTSnSgTwj1M7V2zgF2HLi467xLnCXpigTJKPxrJsV4jsJzW
YuYdLqzMAvahaoUqDcV+qhPyVrrlphbxUwoaSD8uhw9QCKzs7UV7iDsIEgzwqPMiK1PtqGus2nmK
zGjj9vWdyXOvQq7KFw251zvjHxwmPIBRDZ1AAMgjzzajCTBflSSN82Rnw7t0y0CV7OvnVwoQBkDE
EFijODjzcgx+vHPG2n6yo72evBB55GylCLU0bVPrA4JqdLij/+bS97RQO5KQ0XafLGh6elWhHRTI
6ADOUH41gYdDwim7vz2ouYjJFGFPTLD/MTl5kbMt3uqERSxN3aehH7bot97GZh0mpXMYxtjTknij
ZM42ybq3nrdHdRThQItnS6K9Si/uzaS5l3TtdXlNkzT9JmKDIBAUtdcwLAgHjcSN8b4gQ/xClfQ0
lHmY8fKhi8ZAcPqhQUHMY9UQkIT8vj0hCz4HsDLEzcDIIHiepzWAIsojzTbcJ9IXHfq/ow7d4gXd
Jk1MQVPC6h1Nsp9Z4a414l/X86dR48s66lIOUCyziycrcoCCIsV90qre2I1IYt6JtlT3KbC9O87M
bFuLPNn1jaDPpWjUsAP8+l4ru4//I+3LluPGgWW/iBEkQILgK5u9aLMpybJlvzBsz5jgDu7L15+k
77njbgrRCOvMw7wozGpshUJVVub1GfgdkGydBehZCDYF+mFwB15uiYm5SQfN1ChkCXXAd9OCJmWR
4z16oaxT4mbDt6LOM5+NUf+xaUVzXzagjCnrxv4UtaD9jyso4URyqo8WlnHyRWPUD+Bryl6v/1Dl
Up39zs1p6S1J6ZhEXggeB7ETUs5+hRD7pZvHaCc7Jo5jazqBJ6Ahcd2y4l4g5zO0OTRWPSJj0CdR
2M004AJAxxnstsF1I4pA5MLI+iPOTuYkxojlE4wUaHdE6zM/VMNucTWvhvWnvl1s7DdAA/DY3uY+
MtfpjVHEXthQ++ANzWFKdClR9Wz9Z2LLITvKuC8R+/JwXLLPRWl8BjT/cRy1IbDKDoO+AGo8aBV6
w9tRjtxgrBNeOMRPcYuk52Qf4v7f66uimi/4fwrwJoLtN+CelPR2vljwl2WKAgD6aybv6boF1bqf
W9hsLra0JoGeOgrUC5huTjX7Ufykfymz8tvtQ08PBxxZL9BbbcIO1ytLp8k9HpqAWDcVIBvoLO//
WUixx3nZucn++qCUa4NUEfB/gL6Cj/VyM6eeHUXpaHphzm1nz/IBdNBLAyCgm+rei2/RtXCk7MzW
xn8VyE7JxoJS02Tzfx2Bps6WPdje/FAVEvga5xEozu8sIv5YmacWFAnzQMLJ/Uvpyf83xaDdAxwR
uHLkky6HPIjWmNt5xk5Bw0vj22jY/Zk16CgTMit+Luiy0Nzlyo1zZnATA6VpY0O/cMHGeYHiml/Z
3xPTr0/XF/J3mLN1GAxoTpQbGPbOtiO9jNHgmiaZF7a9O95Yff15kcQCPc2UPwxZXu3NNpuDpmbO
C4tyepMXSxG4Sy53w2RDVVkMZbAkfDiJpeiPYKZoDi2FMJpTeuPO6xz7MGYiCqqhJve4XCq0entC
MwhVnIXwAulxPJaB9N/OVGfMXbO4UZjR9EjZyXFOjolOKFCb58M73Pi5rfUWO3Pj1pjUPVBeQM1U
rnziVh6d+jkW/3BRdTs51Lo2BpWDAmM8kn94v9qAuFzaM6rBShNSROE0HqxvMvt7NAgq5wD7g8bN
ASP+5vOOIfOyagHQ4dkdC60svL69VGVfkNECM4HeCPy31ZfjLWhwIBMYhUYSQ8uq6rL72YXi2ojQ
aUcb8X1YQIEDDWQ35G7Jf8yGCSaRwrSGR7dIXc1Fr5xMYG3JSuIN1NkGNtfFUQmYI9L2VASms8sM
zeZQhTAI9h30AqztNNtM+sKrtHNqgcSjUX2ro/FzKct9V0Ez0yWZ3xTyF8iA3mMTtWW0JaHiBHbd
yw3iQie+kx025Gjciybo7S+yLnbGgHfh99oUGginyvFDM2Ht3EXeBkpDl9YkqhyxG+Go0SVcyM8U
iQJOdKGScpnOjGw8vlkxI2kdHoVml/mVKHxdzl5lAKwMOFLICq1gq8tRlOnY0R48BOG8t+gNrzST
pPv8+vczH9FbvURMhEMlJvqLJ+5HVNSC6wdLtQ7nI1j/fmaiHsc0KmKYmK2PHggzx6Pda86ubhSb
C8/1MrFIC5PUfjCH50ZoPq8bwcZpxz1NUteN4dhM8zZuo28LxB1AiK5JZurMbPy1iMrWAfFBFCbl
MaJB1O+mVONVlCbgUVChsYD822aEvRaw4nhwvXAGiahxGjhqaJpYQLkWZyY2oyi7runaFiYEXkEU
KBnNEFSxxtp/Bbw+CEZQYrrcTkXG0mkaBjgR8xjFyP4fmuVbreONUVpBDxsBrf3vwObSCk0Lr3TN
GpdBvxMfIR7bPhfd7vrBUL67gZ78z8jGH/bwhQNwgVHYlOUHYUtwGdAH8Ps9I3bu/Jojxu+X4t9+
mYK4b3e5tJ6u/wJVNHL2A7aXzLQmUrsGP6AokfSJ67updO7Hkj7n8RSgHe4ddXWC1nYECOA7wLg3
riDN2ilbG5xCEN/189EA0dpfKn7+jn3R5ItkBodcJJAblwuXeUXLqxhP80a4h9wZ0NDcanag6upE
GwwSRLheACPa7MCFJABT4IUWNgnLkZFI6cvKfnkw3c66jXswniBbmAYD1FQfr6/XuiG2ETBmDnfa
2luJvOrl4Cj6pArB4efKIX1F1e3RTmkgpyass2rvoWVwZ7iLX7apxjMpTwO4UdCZuHZ+bBtkWlBN
UbdfUNnP5uGUGxRhAuLq48QME4xGbXO4Pk6lPQjoQBkQgHjUki/HaYEQDKEk0nAJGIiTX8L7kMef
Gvly3Ypq96OHBFWQ34Igb8MRK83zkfAQqLe9hdBnrD6O1UtaI+FvaYJXja1tJmJA+j01Uoq0dP8j
j19G4ktkigQo4eqv10el8r9no9ruThKbIxtGWBpIYPGdTvVC93lyuTTZ2DCjw7M+TPn3sX6lGp+o
/vzaRoAbChHi5vYwshxZyoghY5P5ceYPOiJX3fc3LncAwdFCDHzfKl+jsvCTVFf8Ul2xEC353xEg
HXQ5QbHF43GUnIes+kDZ0Yn2ZnRzfYmVF8e5jY0faCaX4h255lDM+KbKrIAk3S2eTS9tZTxBJfvO
sosnKxtYUHXk1URH7/UfoPJD5/Y3m6BpKcquuDnDoZN+zl+K5eg1rj8MH2QtfDE+jjrFtd/X+tb1
of0R4HawsaB0sImDI3iDpCtzHhpQQxuOsgGrX1wtyVPfRPY/Hp6dH610QHJYgoXvoXPn5dg2UYp6
Sdb7sRSvwzxmJ7QA1B8heyf3g0zRXyVA9S1y8aUCp9rRqFiDTM04aTqgFN4MNVbICq9sSLgxNnu6
4L3N5sjGs3FEwqv4sK/wP1eHv1PsbBSO154MgDLxit3sCXNOqTUIyw0h9hS/8vzb9SVXbGtk5VGL
9DAUnM5NDLw0bO7kjGqhjOWzkyTfZ8eEpppZnK7bUQwDxE5/1nn9+9lroWmrtp2WlIcO2Gml3+tk
xZSOGJ3Uq3QaAP9bXNdQe00du/H6/fqA2uRxjKi/VEe7qIIEfA/vGM2Ztc3S4wkNiMeQ8TArbtPs
JtM1RilnC4R51krijXXZBFSiorU15CUPa4/eRE37MlD+8/oQFLsXJeI/Jta/ny1ICw2npnYTHtpg
nzbzn0hs7ezorps+Xbej2GBg4sUGBpCErbXbSztxn1bCqTEUFIvTXc4c49ik5bSX4P3Q+E/lHkAj
AcSqsAHQwHJpKqW4BlA44iE48B5kXxyQDLkFlfzTMuc3w8SO10emXCQOwpUVo2KDcfjSXGwYNBfg
K0Km96ZJT9pnxPrv37jGldUZYTWafrcAHMdoTCfpGsSj/Zz9O6Ncu6vcwsv9yRyNo9V55HZBGWQB
wBgbsO7c+FRmwJn4aKOdfdFKw49pbmoiHuV6Ag2MxlJnpXDeHOTcqFo2MFSUF2Ifog7SizJojKd3
TC3oP9BVBxf7RrPKcOO0TdvcC13e+x862f/9+cUNvoJkkLZCm+xmUxZ2N9Rmg2DK/JYC87ME13++
6iIH4QfY8uBXHaSFN1tDViVprcXD1WBNHx1IelG7CFieBjwxPokcwGa3ANuzOzzVJb2vll5Tg1MV
vAHdAukYykrQrHQ3twYBwVMtocgbVoyDvOKB5umu7Z4zUM/MdDjUTrcTpbsz3cfrI1d4lQu7mwhi
IVMswbUDu+78w6vmV2nx02THi9+tHMrvMIa6gYWmJdyP22cueh8mcEEDg9LZHbsRKVTpFrFEAWiU
P3tTyjTuZatxur5BgeaD/Bu6uAGH37YqxTUBr6dbwJWhv/qT44j4Y05668ktqPUrWbwuABWp8wU0
n1awVIQ0vono5gFFcUz70FrNjewT/sATsFOniRvf1AJCZ9JoR1+CIG4X1+bkd03m7kTbjPfCWazH
yW5ifyg6iLd7kfdal3j6Ijed44pOrP31+VQcbYq5ROrYRYIakqeXDs2jS1ywDrdaMgR9W+PX7zP3
768D2EDPOKDrACdtT0aFGCGqOa4D3ru7GBpmBYjEW67ZGYqbAFZQU0LUtGpubLZ/Y0b9WNeINujS
rHzoJ3A+fUAL5wEkbWCVdA1NdKM88GuHHvD+SH+86QEG2Zvdkrhfq5/GtyGhzyyRd1NWPM4Laf28
ELiPIjAmGfsktZ9yr9TEooq7COoSf+xvApKsjDIzcUbcRV1/O2TxXee4mpSy6mij/RChLrBELtrm
L3fHCOHqxsIuD6O2JLeGR5pniJdwKOxk/IaKydbMqXJIkEiiaLCEjMU2Mk3IMNjQ7QN6BQoWgIGm
sa5krbOwmbRcDrZRQ88wpNOBsL3uplR+Hqgb5DvAa+ptb0oxTZNXigroAcBnDTDx/7p+XFVlaawE
eCVAYIDU2DbtNhtGU418AtKqPLL4tv/llngh7hPuN/N+/BGB5rra5W5gfL1ueL0dN4EJMjjobkFn
C07YdicQvpCuqvFMXEU4os/E+bTyc9VV5c/V67j86HVbb12INwZBZom2ZICp38CBheFVoDREzFGm
xQElh3tiFLdVwSefNtAv6bIIct3AVV0fpmr9gGT7z+r697MI2WtKUbSguAinwvpUzP1rL1E8vm5D
OZWOAwIKBIpotts4qjKyU5API2S1l36XRaOfFKlvLF+L7rG3n/o2hajEz+smVV6egLIDOpgrJ902
PTa6yeDWwoEHLu/s7MiaG/Cb/59MbLNiddeOaBQ2eRin6Q+vt54b01t8EbmaAo7KzSO6Qe0YB4yg
SfJyhZwisWUGdHc4JvInhdJxOYBzEUxV/1op4HSRtE1NzK/ciRz1arwuwLW8vSIlkhjY/gPyfW40
oa+8mwMv4smeirTYmV1n7mMEXsEM3UfNnKrGiurqevCQAXe2fXhRXkczmWzxGC03DdlNIuicY5Pd
uLkmwFdte7Sao0UR43vbIbUMYNEcZCMeCQd/6J3taGJT5fddJH/xVEfWYcs6VXKnbfI5EY92dWfk
AURorm8+xT3logiGWxgYGaSUNkcK9As0HpALCIdhOsaD6U+Wsy8ndH3//YUI8C5oJVeiAWSzNxfi
+ti06mFkYSRjv7LSG3NabgC0zHWVVsWMoUkB4RLa1YBf3c5Y4tS2WZmdE/Yp82Xne7Ou8V/hE1A2
dPFgWekdoV17eZAaQHTBhESc0HbGsKbZp9FoPnX5X3MGgYsBHhUlHALww5u0xmRnfbeA5CJMx7sV
tV38vcdeAxPQY0DEEdzH5HIYSW0VwKUnTjjQIJuPVfd8fWspTv/F9+nl99M4k8RZ8H1z3Fffijbb
t0265xwc1V7v8/bvT6ILhmpgYoBCx0bbmOsIgwI3gG6hjYoo3vYaX/ZWsRnLgVoa+myA2Xsbi0Pc
spAyHu3QWgrzwxQt3lde5q3f2fVwG1dwMe7Imnte4klAi9JE0dfyjhWys8ccrdnQUHaMfe2x6X4V
5Qquz7VqSyKTg+YctAGtRCGXcw1QX20ubmeH8cifEaadINdXBa4R6ZhVFI4V5ea1hxYuCX3Om2Nc
5GYqIXllhzQbfBiBZlO9a/AEspKjS1LNsFTeyUFT2NoXtlKtbbzTknszFHMLO4T4A2nKgFaxz+2X
hbxjq0JfC7x+wEauMPDN9PGytWNROyHxnoVb+MR8WMyXzL6vjLteFxCq1grJIOxVjkaGNz3ikB2r
WO3lTujE47AzVh4EJ+lZwGr3Hc3IyIf9MbU54jwyGamKDC5kerblk8d0EZlyO7irtjGqwG9jCiT7
Bj42OHRjztGDyuckyCESeJO6VrofBse9X7tCNEdRaRQMf3iwgrXtTecWK/KeT0glhQCiBlEe7zOE
8Ta/78onkf68frBUToxhZLje8dJHC+nlznCQHC2zljthScpftoDMmAvZs8b6bHNIn43lp6gGE8t1
m6oNgncxGDvB8Ids6WY3GgQIeq/AbqzEuKuL0CIn6uo421XXJJo7bGx3PIuAJbkcWBkVZTzWjh22
5QcJOjQmNRe+chRQf0KrDqAOb1rue7QJ0Sl27VCSwKwONfET73B9ohTvgVXN9j8TG6+XWknjLqjX
hz0I3efC8I3EDYb21+BCBB1IxfjoTa/XTb7VD8Q1sJ6otQS3Eqivv+nsnSOTvu0huWGHQOZ0H5dp
ELeJyNjRtmo7cCQK6Iyh6WJJF3O3DKy9a/iqmV7NZCey9F/pyinMoGvAoJgG4Dce6pF7lNAX8+uC
8Bzac7zTybqoDgyOIvKboOhF9WqzoWxnoI07rr952ht4AdKTh6wZSpU6bKNyUyEz9LuuBD7Rzaay
h7QEehj+Oq5TqDOhkgTtHx0YUDkaRKtruQePvW2AR8yKGG7d2+FifpkJvI7r+UP9gzRA0VvvIA0E
Sf4asEK7nSORebncJEcO0xwXOzSXj9y9mXRFZNWMASiAVwr6zVbq68vvt9AuiA2CIMmQyUuTjR9y
U9cto7pEz01swlUhJggetJEdZg1ZfG8wDoLBWSKE3ceDjphUlUtHRwMF9RoBPh3IlcsBUWrkUYxs
cBi3MdtVcx5Qo7sTabkfe/oN7PUPSVHvSZl87pfy7xE64BAxcSeAyRO4vs1I5VIYELswYbvqmqBp
Jog9gnEsrGxrPDj5XGsuB5WLQ7rUXMvBkODhm8WTjt11uVxclOMtv4/pcZwJOjmm43Wfo9ojOFSQ
MkDm3kLi8nJKk6qkVstaN2R1GEEm4vEdn0cL7Jqop3gLbK64qaauyMFAGNrzsQ7K+Ob651UdCwgO
/nx/M0vW0rqZneL7eeHkjm83aRHWy8w+8tSCuC6gCvRYG2Zf7aBQ+tpGZopnbhH5oyuMXW0W+TEn
hTi4GdACGdp1A9sch1fWgAsWNRNUappyuqnmyjvFNXKH1JP8awVJbM041p+5Sau5KIFBKhqPvrc9
8LFbVDGM8rD3il22UL/JHyXYKyce34JpOLg+a6pDu1Lh4zED8BeCgcs1pyQ1QV05A2lQnWzv83yX
5I+Enq4bUexfFITwHEdyC/fZNiMEMkbLkgTlhSJ/zqGOSgYsjw42pzOyGYkZZ/2Qp3gUEVGAM/g4
DyhjeJqRKI4I0NXYvIgKUaDcpukKVnLSSpQQPXN4mb02cHIRa1IlGhvbPF0Uo1e8WVCtm8roOe7m
e54tL9cXRLHqGAYAACvWHcnGzVyxxIl7u8Fc5eKFlJ8797krPyeax45yHB5eVMihIjLbZuUM1vQp
iD4wjsEndEc0VEuqz+MdijAJQBngMzcXQIy63MKHhoXz5JdzUDFNXKkI+kBF9Of7mzdNbVWjROaC
hYOsDqVb3A3t+DSVRTBQNKbw5Tv6G76iJVVjdp367fHH1sLbF4/ptxJHJG6Jl4iah+24L8rAvCle
IQE8trso0oT/ik2ASOM/S9t9BoQkF1be8tCrjUcRsefIkacYtAQp0QHKdKY2a+XSyBBZIdG2X0AD
M3eChUs/WZBYn39c39mKXXExqM2qWSWZ0FMP7wlxTQgyGrrqlHIkeE0jHsS7+k01di6HGp30cGV9
6tzWoP403X3fOQ9TbLxnI5xZWn/J2QNgQle2Oa1Os+2+l6XlD95Pbk8BGMx82v6T6qoDyok7M7e5
PXkkqqS0AfnLGfFzd30waHynwkFDWfzP1G2cjmNGxezNcDpVdprZgYwQV9XcnbpBrGf6bM7idE4b
PHFw0YxPbvfDtjURkmYIW2g2boTBhaYFbkvvZXK+mYntu7kOxqbqjTufqC1MpKgb3kABFem9dsLj
Tb7Y9vKa8uYeAmXPJu+ebV7/KyPjSJ1kb4PFsCI6oWj1QNeaBjgR3zKk5WNcdpxMLgCI3oe0do+x
F3+Vo6m56nRm1vU8X69MUBvts8CKeD2IGMlP2/JQ9CWao6Q0A12w38AD+oZ32PImSbjRu2ESf6mS
bzL+lSearLDSL6yKRYAaWBD83ByfVEALXgxAOgrjwQHvPnPQAJd+Ivmn6/5NhWlA1vmPoc0pymTf
jbYEvCaam6CGRgfn0a4dIHaW+GT+EhePXe/6bVXeQEvrum3lNDroiEA7BhQvtg9iJqyslwnAiWX0
sBQ30MdJdeytygN8ZmKzIUhmQRmkg4m2AcPxUdR/HzSsOftVWQBxCULeyw1HcxBzxzFikiRyv8p0
+EKojn5avUKISVYrDmBQ9NKG0wpp0ZywMDa/xrGAwJNcJTNLkKaxpAWdR+QLd/5YVMbNsHSHCWwJ
19dJuRcRcGN8axixFYHISYLnhZO6YV/7tROw1xyAg0oTPSjCIzxO/hjZzGQkzdI1bBgZoYONrtlB
/ugMu/xSde74ZHhm/71c4nGfzm0H3H+k1dZSbkZcJ6ugBmTWtsnLHIAsAl1uN7Qmdiuq7OgOFgTp
+51Fmk9oaz7OYv4p4/QfOrU3oDp5TPPhlhcD2LOH26Lnv67PuerVhuY1dMkBF7P2214u+jjGSz9U
EQsXo4/9VHTDfVwlRWhCneipFZ59jInUJXWURoHFWdU+4Bm3WBYDbLzmZELbmee3Cb3jdYBCu22f
llxzdasWGz5t5UwEOOxN/zJIscscP4KFEJs1/IRJNHvZvZ+Ww9MyLOZ+JtUhtnpIX76jaQ4JCbSW
ISOB9uxtgT32eGJCYxM3RPmts38CQswAJWfeadYF3irXc25pEzmmS1SzejYY0ONHGoGBJbi+Q1QU
TBgKgK24INC2v307mlG+LHlvsRBi8YX0C9COBda8KrMmrfy+iPoz7vzMJ7XZ7kdh5rcSohX3o9PK
x34chpsuFfOpTqjczcbM9nXOHq//QtWROvuB2wcBEymkwnqs8kzT265CnqRsfcne4YLPrWwch8is
zABVCQr0BWrBAdWlbZWjwCUPD4+2R4juXJ7EvLXNSFBc9mnEv7V2dBux6jXSKiOpzh48PHDtHmRe
wAC+MQOkJDMYIiQPpP9FK0FMNH9oWPTTKsdX2khdH6Rye57Z22xPt/OczpjQcRIvZhAV1YeofgeM
xsVgkByGpsVbgky8sjuCegQDBgny70FbH0a2zyqfNHdU945SrtKZrfUOO4v8BhDuzU4Jfykz7rPq
O7PqHdGF66qLEBoQOGrIqL/VoLUzjl74BAlNQ95UkfCnsjnVqeHTQdfkoBwOUIWYO2TT3rDOF0s3
zoUzAmFNp59yRgV5cZ+B6Ti+44T+MbO92aFqlE51AzOWDallOzkh17+nTBdkKvcaCMF+QwlB9Ln+
/WxxkjKDaCX4xUMrmv6N8+qe5LYGGqs8Pmcm1gk9M1F3JdpE69UEkkPOjmd7w7hvpp3UldwVewCL
j4o7wBS4v7xNh+Ag5mlEaYyFLE38GWvfHlAyru2X6yujGA/MrKh+huvxDQo9scBh3cqU4eVp3iB7
YPvgeHuw5v5ARXeii9SA7FS3ybqpXQvnFW2127oq1OXN3uDV6kbJk02+SPEzvmf5EtQuE0+RGYvb
DnrB/uL1ICIurLAoskPEUrD+2bn5vc9MqFHbji55qTgIqPFizyCZjAnfdoSTpq8lAXIkJOzOiL5O
BsQtUAF8x2Sju2eF765kHRsXL1IK1ZMOnOcWeuPWdprjYuYvS+l+xircOqg7XrenCH8gY/3/7aHZ
9HKzyppXSyrhGOMMIWTA+1X3bJe6uxmMNcmwa5ab6wYVBxDvKzC7o6UHyKst8qtAEj3p3AmxiBvQ
1i+f/m+f38zf1GVuaZr4vNO/Trem+57Pg7wXsiYAn6D4fzldvKyGxjTw+cK986oP7+nzQ97yz/fX
s3jmO0aES3Mb4fv5DbEOdXK4Pjuq1Ub3PQAfa/EXFG2Xn59rZ5WHNp2wzYvObxkPkqX9iibHfTkO
+xKqdBbPHDDp6CIjlas6N7xxu94I0bKJzMCAQPBmzPrd4MidTX6OXKfVqtpfAK4ASQpYHnlzXWXl
aDOAWxzc9J9T89HTXFOaz2+vqbEuypHU+HxqZgBtMd/8e7Qq3lproheOD659s0SsJd0w9yMNbbfh
uxbI0qMD0SeNFdV6wL+uXdArod0239GJGC8PadCQFMd8OYz1ibQnFAKvbzelFcD2gf4GQvbNdrN4
P1r5UJFQIjEwUfeGFyT2JwMyzRnXuec1O7SpLiBxjY4p3IR0vd8v93YKQPSEZnYStjON0RgwQkrG
/VL31dcGmG0/Z17sN3g4Xx+i6kShMgvmYxAFW2+FgDI7Bsp0okCey7saME0u0TFA0+/zYIy7Pqle
IclOoSXu6Sh4VDsRYLu1Gc0FBGR7S6LxLAMlSUxDs+8/icK7y5ZCcxOrbjwk5Gxo9q40bFs8aJlM
dS64oGHZnqCu5EdG0Iuv1ydQtWwr1BSlcw84re3TEbw1gAV4FTBOMbIKvjUWPwsPlHKkZOUvAuWs
Uw5yzyCqIJ5y3bJydLjKsV9w770p3YIDzqHSxBmw2mn4JnkzfeaS5YEk46I5CEpTv3FWqEeDeXlz
K+ULm4lr1HYYZdVDwotTZonbqEo1mVrllvhjZpvDRwF/aqRoYKY41uUuk5rgRD2MVfYdzDiAo22O
mJW6bTUxfH9pHur5to++c+vlHYsCLVe809B0ALDw5SnmRpm0FWqr4VA1nx17PHlJ9E/d8/+bmd8Q
nLN7dkGdKxobRnGP0zqoiPAOM258JC0E0zwHlJP2Z0S/c6pnpgQz+0WUnIYSLbCOQIop8V2m2WDr
zG+d3yrq/r/T9rvucmakRfo6MecYyOqE1cTHC9Q4FW5l7+e2z3ZmARjPSLXIK9XQkKPDsxCt2ZBq
oZeLtUC6YIWn26FZ7A37JOKHNNOkVJQmgNiBBVzowERdmpD9nNhTYQK+vOSvY1R/oHmxdyAK9vfb
DsD3/8ysN9nZ/DErLoRTUTucjaL+lCV2EjhFYXwdF6vXmVrTJ9u1Qj8vMjhwqehP2KRXJsssKBWx
E0JK1PaHxB4ObZq0u9p18t5P4rS6L5Z5PlRlXQW8jdhOSmPatdDIxMGegXfOuuzUQZ5zP8WW0/sj
NHOPbT9VO1KZ7S2HWJufsm70F7dPbllVP6Zozf5opk0GTSAnOsXoNjqYYA4N5qr3iwztJDOz4N4b
9pMlfIxRvO7MJ8Qiue+NY78bBYn/NQoCAGplfnMM03jFY5HsDTG39+08IQ5G/RDt+TZ6hJE7tyCq
aNJnJ4otP01EEtjl0N00TpUczCHSAeYUbg+4fcwo6hIAFm3f9EZG4ix2AQCU1n4OQHJ+fW8oohh8
Hl0LoOKy4fo2LqkBXTywd5MT1u29KR6r6q5tTkmhayFWjgKBC2R9gdJ/88zOZA1Wrpg6YU530CGS
pualt56UzbaDVvCKJEbsD+DtZosPdZtm9dg6YSE/uN3Lgg755O+D4zXJBpzaWpoBN+flKao7lJ0g
cwUT9jO5H9K/D0dAIAI8jIf859ue5zmWBZmiwgk78aMenR2osgNr0YxBsdpwpGhiAAYSU7UNq6o6
mVq7AxzfM72AUlB4GQ2aaUFtkXnvuE7PTW1WRMTCrr1ROGHsgafkoUH+QsfgrLoXkMoFMBG0DGhq
3uzdPPWWNHdxY1dDd79mpmUVxRChcz6WA7cPpaPjnlTs4lW5DfVBE9RBbyhReruL296waQjI3HfX
nQ8AkT1eP4+KjXxhYjNtXhJHw5BTRKWWFcyW8+RN1mkFMF43owpMVyZ2Dg4hSES+udyqbDLK3qVg
IS4+d5a8XZrlyAobOH8hgw78fH6e6RD/yumD60Su1fZWBsPLE7QYMcmGBM8JVjxBEMbpNXOn+L6H
It5vjnm8WLa1PEj7OlnPJA1nhmZLnvhNlGh2teIA4VGyloc5fj8u1cshVFPUG9WEeIdx72dMOvO5
p4XcF9Kw9/ZoMc1LVjkiFEqBgcDb742S39i1w9QPaNtyabqPiBPUg8btKAd0ZmH9BWexwWjkizfm
sNCL6Kl0vFNviLumX3ZuX+oibOVoINoBKho8mdF9fmnLM6p+WSPv0B382jX2kWMdrm9rxelBWPGf
he0bAap6SMEQvHrmNPoeM6CJp1F+4RO83DsMoesbuG5EpW/abiHyNTZ5FNFw7OS/RmQJny9U+AVp
dJbWSdnebHDV/1naLJBEK+tCZuw447VL9/bnVTjB3fVpACbqZf57wA0oklbZBFTDUbhdPe7ZboAk
NtpyFkTadtt9dkq5z40coHWuua1d1U5YRW0A5oBu/RtGEZssTZewkYTdZOb+bBbAL9uFszehKv88
9y3dlVVv+l670CeatP0nx5xmnyLe73zWpJMfMbdGjrwz+L2RZskpTVbFE2hBHYjTTa85nxh4gVt+
T2XT3jBuVJ/Ao5ntrDiSz1i87K5Y4GBt0FLvZlqLUzdEoIGJ5qI4oBtzPNVjB8bZVKYPrgS1jyts
diqarvkIIqn8zosjEczZaen6mwY9njwOeB6AceAYQ/5ugrifsZviKCgZv0vj2n5AYIhEdyGbwAS9
zpOAyuWuMszmzuKD8+i0PP6FWJjvHS9tD006Loe0HmdwmvfOZzki+O1ZnewQXrm/5spNfK9KiU9k
bwS23U57GvH8AOB08jQllN56EWmCbjAXzbqpnIXjrqgFpB9NZq+3ytn2sOslrdG8hIYJwNqf6jgo
031w/WApTaCTgVtI5IIXa/37mYk2aoQNTS8nZNHehcRngouiSH8O8vt1O6pjBTKR/+xsdrorm1ig
M8MJRfoi5F60e8gxZum4Sybov8oOxQJdDk/lnM5NbmYPEAxaVSBBCL3xAAAiWw6xTlhUPXvcRE8s
CA6R1bqcvdpBVmvyBgSRJp49SY3Ut6CnZUy/GraO/Fl1hlc6MQTFuM4B0ru0ZchqHoY2ha8lt6T5
Ny6l5tmvM7C5a/OxoF0mYcAcg+iWzYfrO0D5eZQJkFNFD8UbHoCB2bKISUWB061/9XT42Fc6qgFF
gIqXFcTMgfJZd9rmybDUhTV50iJ4DEcnkIlL0z1V5cvcPBqmDpKpaqyCMSgygHN0bX7dTFc1zBBw
yQukYki3R2T8CSxCB1DLHQHqOFn98DGF9rfNingH5NWn63P5O17c3lLAdDEGgVbkz7YSk1PXZgAA
Imylddag48a+6wQ/EtyLKaTclzZzfCuTaMLkxlcyOcwXXnxENmDyixikEppfs269N78GPUXoWgHf
I+KNy61JRN+LBRdEyLLbBuityKl9Gf/waBdEkCgjVhYI+ZCYP67bVR1we+06XEPcNcN3adaoCseq
rZmEBb8jy03c3baD5oJWbdpzExv3KAdLLs44ETBjvXQPeaKJBnWf30zcgpivph7uZdG/Uvf17zO4
qIv+mZ+NA3RqaQ3o+SUh+exMXcBiGlxfAN3P37g/avf5PHcwUEwnZtY+Hhwan6RysDae6IiSoObK
t+hFq8o82wDSHqiEnvljUtjHbragjmMaYIrk3Tu44Fc4Kjhr8WKywDxwuaXqwl2aciEERQonEMuM
42Luhmx/fd7ejgoEH8gxgeKb/g9p39ocqY5s+4uIEG/4CvWyXbYpd/e2u78Q/doIBOItQL/+Lvqe
E7tKRRRRfWYmZiLGscmSlEpJmSvXgs6uWpZDatLpDK2vT07chuiSmfiX1v8SW2vY0+v1MXRkOXFi
AG051+UvR0OMjgqtSbNT6YWFEyLbd3sc8z9/ue8vv6/sDlm5HR05vm/YgfR2PjiF+N0vMphAu6+L
LBCEJtV03GhnnGl+nJ5o527azg9oubJLlgbhYLFRLkKaCYHkcpIKpyJInfD0VHtPabbnfMOKu7P2
SGKdmVA2okg0Bl8r0pPokVUNmb1N7ufcvTShbMUJQIXOpBiF0yItiwfy3Vv94vuecvsoU0hLlk6e
nqz836QoAn+tJWVlGdTjdHQnp/ETDGBK353qX9E0IVmLJms2jMul9urKNtwcNvo6JBCANh+taWWe
FvBG80RhywFshMil7rkpm2il1Ro9uZBZJHoVouhYO88Zf+jjL4VphB2og/xvPf3dO780/zdPD7Tf
sabd3b83z3+Hsjd9U7Qx12N6ksamN3Ye3Thrt9+l6XQJQIO4AyE9pya1tFgMU9Vl6cmD8qizF/Gn
JtvfP4pzE3OEO3ueuI0QLmM0PZVYseSh7w5glrhtYiEY6+cm5lGemYip1TZaAxOp+6Gj9MQPbh06
9spAlkLxuRVlOXAa6IkGkOXJi7ctnrvkL5YbMIW5ogAJkKvqempDKTdhJioK5KHOthXft2sEq4tD
ODOhrIWZeZ1ocwOeDRkYHnr8cHshFr8/U6uBBQU5HkspALaazmpkKegpcQIoeLRs5bRaXOiz7yu/
3zervhQU3+/9l6QAKP8FKctpDRW1uCnOrCjuxHtup01s05Od74zsCegkwzvdnqi1gSi+NEwd+t4L
Fwvx4QES6oV+9siHFSPXD/Y5H/XfaijH4uDlXHbo1ToNlO/qjgQMjNye/b23tr17ckiUl2+3h7W2
/sopaY9UR54GMzdOu9hFR8zm//Z95YgUJqSsnHH+vhnOGWW2csqv/H4VzaWlHE0YLr4Pns32d77G
crf2eeW9aXaZC4oFLIg0gvrDWXlLrX1dORoN1pkeYi09dd2jXe/EGofSos8CQgfedVDegJHkMsp2
Q+u5kznRE7hw7XpfpC9pH3Dz/S+W+MyK4kLjQN3BaBAFmRfaxSH2V1xocXOffV9xoRYdoGXiom7b
ygcRZcXDuCYFszJP6j2rL43YageMYCCPngzLWW0GPawft+dpYRzGDIlG+4IzX68VX6pBk214Y5Kc
OjDfAkwO0aRuhftlwaFmPrW5loISAYizLhd8El1qVbSHlGMcB777C+zgu9uDWJgqdOXPvOYANsKK
cl4QKyYMj4dZ2dNEcvjJzz65w6FAM99tO/MvVV45F3bmkZ5dEHRT8wSfJThz7ZsFnQnNPxl+uXH8
NBjrb0a5MnHzTrhlTjlADC8ZDT+BOWJ+FFkU0/1UfAX1XWZOKwfitRegeA/g8VyVXKgKxHUNaAiL
SWQ7BycJXf7S9Ssb5toLZhMgbLNA/orssrJhnASvhsHkOujaQjexth1duyGuWFDTotLLs7b4YyH9
iiT/sEZjuTRJyO4CZ2cg13fVsKh3TapxPurRlDi7ntlvIEA8QFV2f9vJrlcd8Fz0RQCpO7901UJn
ldlEStbpkDzgh7jo9lpT/dLBwzuAmKdu+5W9szgqsFxBbATsaSiwXvq0rMapmFqMqtDEo53GgcdJ
QMjP24O63jmo2qK7DOk5rP/VWwiyRuhsobgrNHR8QoHlrXWbPJRc/hxi+4lL+cmj7spz/joqwCZ4
YOe1wsNEzYxSKnzUc3ICGFlFA8mK7xOij1kPh8Zka+XpJecDoBWVNQt9zMhPXE4jM83GhkKMHvnt
QydfcUO6PYEr31cZDjLuaBC4ww6FaknAN241/Y0BdOKAoQvsoVdFBdsRtp6WqR4x61Oa/swt7y9i
DEq24DREAfo662+7Rm2CrpFENAW+HewZzh5IdaAkwQ6z4tOLk+WB3x9lJoiGqFcMSLoi36lhMSyn
RYfzFNprzXhrFpQzDX1GRiJrD/5Mqk80Kz/Zer5WtfojI3gZ/2eog40KBnKe4LlTfMokw8DAkoYZ
c7IE9E84Yig51nX7RUObkqtLK0ya9ncp6yqgND0IpzzElR60aNhz6vvxajO9DlLsaCRBfkzVnzbS
XpB+FEZkm2H9j6ZHrQ6ysL9YublsAMJXnObYSJfbiEyTK3qgE6LMpMXBG+1iU1fu/Z2hGIqJZn+g
tHESqW27zB9Q+miJHqUZZPw+40z/i810bkC5VXkVoESIh3rkZsd0fPqbvXr+eeNylho0obFmknok
wcVGN+Xdd+fL6VEWoZbCFiXB5zX3INAHSla+vxSYcVsjwG/MGiOqqklfjZwVvaVHlRV29b71X339
aNyfZ8EozqwokxTXBTrkwc8HsqZso/fp5t/bEXmBdGbmGcdtAAkvA1lp5UZDNTvDpSYlUVq82/on
7rA9RVXbeDHS8tjILrC7eCPyMSzlqxjufmLCOOjH0ZMCekqwHF66QNlJUNvXnow8j2/ShG8Ot0e3
dAtxEXRQAkFruaUmYRNWllWuSxmxEdo/gU28JrQ11v8z4ga0EwbhD7Y5iZUb75JnIFyjFd0HlhRw
mMtR8Uzv217vCZRA0FaDsrB8tlsDemEd5PagnNSvwMCX7KHJBvV6cId5AORd2ksn0Ok0SYtTVXf2
RecdWv6QO7ssXpnNpePi3I7iixNwNnY51fO44g/JmgNYZ/+5f8FQ/sUxas2tJ2q2uWaxA4jXJMFy
U+5tmj3P7FGBJcZngOmfAOW+P4mGKTszOM/t2WMop3pGPQKDvP2wxSOYszfV9FlYw1/EUpT9bIwK
1KUADVzaqQ0trgd02kQGevt6PySy3NyeuqXV8dHfArAA0KVQubm0YMqpSnVvQiIL/Gd2tacoK962
sHDJBrMN6ns4OoHMV/GyKTiAElvOfj1UIbBrFWDxGfvxfzKinmpT3jVuRmGkHPQRwHlrWxVuHwDi
vvsbQ7hSIzQA7qDSFGbOGLOigSG/O7Tar7h7aobPt00sLAlOZhQT/Pk/oFC4XBIGTbTU1RgaaayP
xP+d35+EAiUlXlfzaw4EserGL3WIQGmaIaOsfG7aD3RDMmqHxfR2exgL647rEhpA0Eo3H3eK74oa
nIiQN5JR2gase3U+KnsFN7BoAW0fBlqe0SWuXnVbSF5MSEbJyIRobFoMz90Yb+uGfdw/EJTCccgh
WzTDsC/Xo9IbMMiDWAZkPc9EQsRNZmFTrTzYFhZ95sCG1Al6VK9RxOXIpdlJnGlx+UKml/z3X4wB
TX8oigB/je68yzE4ms8S6mXY5hXdQfYUHQv+Fxnf3xAxd6GDlx4eBu9SkWDT4Gre2A9wLWHsJ03s
WNV9gIh8pRy+dP1woD4Ccn9oO0EcQTm70MbLGocniL++HwexoU2hmacPwI/uWGt2AchvDjzRH5xK
HnlT/mwMvw36LPl0e1YXLgr4GfBAzChejuqRPTp0Aioqk1EO9tghpy+aXfwDgZd3M6aoD0wrjrjA
FYY2ADBY42mE5q2rfhYxgqwmF52M7CEzdrLSs1994wt0zvhkQ+tRbCdf5iGk3/OPBowzmzK2hiaA
4ujfxBCkaYBFR1gHN5qyAAk4B4k2/5KZsaxBH+sU+2FSsNBd61BZQJhh0OgUAsYehq45NO2C1miA
keCIKPtnmrB3po2Q+JCsp/vcKcsXiN47j6Sx2rADmnXTa+5fPHmx8fGkBicxCAXVWObEeeUWvS6j
saVb06tOnbmmj7ZwHbswoRzEfMg4b01TQvfGCZzx2fK1TZOANyK5Xybem5sa/+gfgIVezRVS6aOf
QM9l5JshNAHy++U90G0FMN6fjQHCdcU32ACAq4tuO6hdi+TFJSv35Pn4UzID2AC49YP0GtQp6jPZ
z/BGFkY6RXpeHWzzW5qTba1/KpIE4Oc3XZxu7/GldUE0m+fpT2RTIqchXerzuJmiJ8N934Va8n7/
99E/AoHcucwIKpTLyNzXFgqMrJui7pAAnUZfpPGS0pVby8Lpgk0E6nsoaYKhU81f4BE3urWYAAIO
qvhz1ny5PYblz2Nvzkc9LnvqHFlJ76CDElQUxTduP6SoCdw2sLDm+P3/GZj/fnbf5mYL/DuHAYSC
fWM0GIXY+N5nwxZo2KxDYSSb2xYXhwRp7ZlOZa7XGZcWKfOGiaTou2voNk32xcpxv3B1QY4ONNdQ
uJrFwZUZ6wbR8LbpwAAFwDT2yYmviRQtDeDcgjJlTFTCaW2wWXH5i6EalJruyqKsjUF5sPZpYrQY
BIgj462ub0mzaVf2xrIFdAWC4Bb//tPQcbbsZmzaJdL2bkTbR6RmS3Y07qe1Rv4ftbn/NTH/hDMT
Gq/J1CLzFvHRB8neHA0t9o1/ud+bzq3MQebMip176D2RGEhKDm6+N9bgFrO7KDERmjwQq4aoK+71
KocOFJT42IncjWz63SkfvXFfpd+tr428HwCH6ZqJuJClRBRX07I6h8wAGHvcSOZfW+23X92flLj4
/uzVZxNV1b3uIN6Cr9YT4UC2LdCasfWrWms5Wp6w/8ahLHsH5pxUCIxj0PcC0sJ0Y4HvCjqX29sL
v3B6YDxzqyMakMErppyFhm+DfBHXmkizf+Ra2HqvDDy4f+NdZ0aUWFXHvcEtD+x4pPPeaWEc3Lj/
fnsc83xcO9h/41Aec9lkECheg+4Sz7CvtWC7hIspGOPxcNvOUtSauykxMTM/mnq4j2WSe1hzL9Ig
RFtv0Mx0+/sL40DjAXJeaFqaWySUmFVLP9XHSYALzN/bxUP/y13jLV8YAeptKMTPlbdrNVjDakU3
mOi36fPH9mearjjU0gDANYXmY2Cnr1W4nJr4vBU2TsJKhFlWh7Q5muLz7Vm6HgPaTVFCmnME0PdU
b3DOgCeeNWbg/RnRpwZxnofb378eBNLPgJU7kBfCK0Z9PUgHEn0grEcZxc1CYBe2pcH2CV3TZLje
5DCDq67l6rMuoFoE9VK7LRtdM6D5AICHtnPcU6EfO7Y3yJfbA7re5peW5gk9C1u0cwgrG1jSxk9+
/VgACa4DrZnfD8K4tDNP7Jmdysm0osx9I9KdIbTM177OISYajSaHrhDEk7b3DwvyXPM1GyTFV41d
nt9YSQ7m5Mh1E3gBhbTis3D1wJBvtw0tOdyZITXFUk5V7oGZ2EDYN7Zj/60B0u62hSVfAOvR3Dwx
Q35Ulx6oAw47AvW6CsKG0mJZYGTDj6pju1SwH4YcPm7bWxgRgEVI3c6vlBn7cblSWo2O+l4fx8gd
3F+5g1DjZneXQeYYA4YBlEiRwFdTkbpZWm2WW2OU2W90Z9GVNVnYpOiaIWjuROoWL3DF17qqrQya
4PPuO+uPDX1Gr+tfzNGZBfVW5PbFWMTmCAonFvTdp2ntcre0CCCgn+M8/gfx7HIRCPXc1DT4FGXp
FFadE4jEvD+UoWLznwnlQCkSzxnLGiZM3Bw7uYH0ipsPKyn0hcQPUg8gFwBXLK67YDC/HEhSTqYh
eniTaB/ANs3NgNeQi98nWojtaE/bWahzrcixMHuor800bLhQgg1t3lJnwSYRTcEayGFHvjGEXttv
hr+YPFhAIh1lb6R41E0SW1Or92ZJIp788CgHkGwjVhVy5/Ts5dUF3d5I3qI/f85/esblMPLcjPNe
oFZTVc+TPe1Y3AaEg2Uwf0j656R8zEXxUJV3X2TnHnNwr4EBGY96lRUCiV6PjgaS7C3zQyrFz6G2
toRb30C5c3caHKasmVEOEBxADRXngExfoUOnDElX/8DF70F/0eg/d+/UCxPKTs1AZ4T6Z418a6dt
2DA9ty1b2UhL3gY1Xfx+nNh4cCsBs9YKvWZaitxmJpJAlN2LQYYVG/N+v3IFcCeAKxV5YzjdpStQ
PphybDEMbfCh9pW/FrUXOoX4BmH2DTrxRZC29UoYXRwXigdIi6Af5mrrMi3DM59jdcwuCWxkKH/d
XpqFMA1nQuLIxO0cTwklxpWOJ1KniqeoTJ9JzYKxzECAdf9Rg6ZrfBzXWmAk1UA6xKPHoPs2RbnU
Nlkjw2LtobQwTRcWlKWZWgkaVR0WsCLe135NVXz+x5WVB5pwZtlDSgfa4ooDV+jfMRpb6yJq149l
gUb4TC8D3k0vdWa8eEntBEy3oAW7luhZGhfaG5ELRSsU6DqVIFqPtClpz3tcoYawpXGIxuTbDjD/
9Kuh4UEBdC7uAQgCl05txs5k9RPtIw30ZHZ7nLT9OEBvcMXM0hlkGrNUq4XLBrB+yhOwJBpAERrs
mNXw0Jc70jrPRDs03aPjyYPe0Q10H/aJJ9EB+e0vhoh7Gw5azONVRhn1KrD4mKyPePpFkyzM+8ep
B7INHBi3DS2u1pkh5ayYzG5OmOd9JB0zC0Fmn+X1WulkyQYEVfAvIMKvoTMoD6VuVuUD5A3fNQYo
28peXfIHXDmhu4ErD1C0SiDNjX5MKoYSX114uw6xVO+dBzPxNjJfCW0Ld2ogzlEEAq026NXU8leS
EHsoCi6ioX2b1VtY9T3RULyIk11afb29MkthDo8QAGjx+p1xBJdeblmFY/EO3mdQ9+CMXRkWWfkL
hAb723YWjgiULv6zo3iAbIU+9FbWR+m/TtI+Nz/Nb91QPtc/V650S16ARB2kaEG+hsu7Era7Mity
sxq7iIlNF1j3ky+CShTASVRKwAlgqg0UA0sLwdu2j/opj0Y03MV18+Z6a9j5pVEA1QE3I4g9yNtc
rooDoIIxFA72C6Ob3wkYDm6vxlLYRlLTwNFJgCNQfdkq01wf0riPCI/K7F9LvOMCr/fHCg1f2TeX
726bW9o6cGXUyZHeBH+uMhxPMxue54gzMfiOOAXL8c9ConC8li748yE1Zp8bmuf17GrtDzNNXjsb
Kl7MNgOX43iUMj6YTvWlNvuAJN2rxcpdkbk8tPJfWeJssMgrPrhQRof4AHSk52zY3IevHB0tqTzZ
ERxO3Kif7a57HlKOKi4JG9sJSddtuqJ4J4QdW8GhZk3aA7SiPv/FnCNWoRiCK8zVw7wadL8pe2w4
o7eCIj944uS6H2XsrbjSnwhxNefQ98DmRhPG1WNDgJdr1GJEEHtwN2PCn8pp/FwNAi2WzRCQydkU
mbVJ+bvXJT/GvgtKu3CR6uBhQ7yfBnE3Rjm+9B5KmjrbV2b+6hb6tiVrdAVLkW4mbnbBVIDHt3pJ
7XmCknuKCcmdQ1kfGdrMPXY/sMy3QCaITQumEqTglJVHFte3AdqcIos8c32vf7+9qLP/KnONtBFq
KgCV+SjRKtGtBLdpb1XGGKUlNIHe7el+kDEejLNKrI2tihfDPIlnG0iCPTW2OX5/ydKwRj4MkMnb
Q1gIPbMICC48f1IsKqawICypSD2MEcTBQ9crkI4+ddNP0/5MyY94gnzWp9sGF+fszOAcnM6GlFSl
DwUavPFr7ai1RuCtCfItG0BSFxEO665GN9Q4oROYkDGyrW3jb0DvdXsAC46LVyhQzbjpAsHkKgOo
rcaeRt8RUeL6wYtnfKH6StV04cIBC/Bc0N/jXa0yWYP50CvdmojIbLIPTfq7TnZgJQMwkpUtDYRN
D7eHtHAgnBtUOa0tK2Vd2ugCIlwkyMedAB1alX4i3f1P+As7yu1mLJnbNjnsMM9/JpP32FAQ0PvN
7v82HOVy0+iDwfkgsUIDEm7Gi9N85uLr6G5vm1lyNIi6ABHlAr+IgHvpyYZTU71vcQMVaSDtY9x+
vv39JUcD4Bll+Rm+6KlgthLMYlVN+xHS8CJoDUBYAP1oVy6cS4MAjA2PXpCj4XqjzJVjTf+zHblM
g5a9leXdpEqz5AngkbgA/uFzvJwln1YNyYdmAAcmrpctXbnILv3+888rIbjxzD4rZTtE9biRbsjW
bphLe/H8+3P8PAtXJAXOTg74Pjhvhy6I+V7XH6tqO6yVnFcMqZJMQ1M6eoZu4MhsN00e5N7Jn0Jw
bPJ65ZW5bAi9N2AQxwNNfWJwr7M1j5ZD5Ngi8K00TJwpYO4bkeAd7Ffca8mHwc+GlxOxkJtU304D
aBgtJx2x+vJrxUAOeayslaCydIKdmVAnDl0L7eh7Yohkm+4Z9nmHzsOwKZ/y6uiAMX9Yc4mlaHlu
UIliDbf0lkkYdMT3In8a0mNZf83XDoHlmQPgEmRBBN1Y8zKeOR70fy1gZckQaT4OZbQvWVQLWrSc
3A4yi/sHh83/mlH2D2rccQ4sMNyu3MjW2vvaWjZycX3Q54F8FN5q6BK/HEgB4P3YJAgAdUOGJyZE
/ex3Qx6CRpM/uaOrI8tGxMFtJ/9A2WSvnG1L84jLP1KTQGdDsWb++9k8QgEH+f0RXZVl/Eknj+a4
EWuNm2smlBtBW6LFFwBdEunl14klG93/5KNV4v6F+oNmBKARKlhqXsoZa+4UrYEigvu13fRk5Sq7
gD9FfgP94UhLo0/4CsLhxcMUV7JH8zYQenYdgKOW98cp/zlBtLl0vlseD9z0fnDVTG+JYg+6WXRw
oyleXpp0cnJDkqhL/CHEaZS/jI4lXmWlaSsTaMxHmXpbR6uljeMUUGbosF16AihnUKUZUYbxxLRr
29eUnJDu3yG1HNpgdNVlmCPwmkMbNEgua2TnkkdHA8HnlhdxYOk/quHY8Z+kR/cQe6jrNXlxfWmn
oAlmLg/gNn6VevQqf+KNiVYlae3jzg3LWH81eyfEsznkzdFK9+h1xc0UcgvfbeuB1Sds3tAacS0w
T9BCxYVkU+VrKWtj3qBX8wZqfjxwgGbAQa7Mm8tj5uXozsEr3iqOfuoFHTkQbTgV5Q+NZyen39Z2
GRTucayf0/KHpAWgvSKoZLOPTf+x76tAa5Ktl70OfXbyWj1M2mHl0ry8vJi+GQaB1lX1XGsZjwXX
sbx19o/v0WCSL6R7k3W90/G4rTyk0uKtP/5b2DuLHwvzseIRHUErnXOQVjbbJndC2x3DrIwDZOlP
Tna6vYMXwsTc8jDn5eGDePdezmPceAM0CND7AKWD6W0qjeSYcLPeOnxaQzTMUVtZMuQ70PYzX02B
pVeWLEuEZjctlqzS2urI2mLajZmYHu1JtKEnq/azx/rqrdF87eH2IBctA5BpzslL3C5mHz8Ptwaz
9Qw1lmjwQEXmEOjivLTTC2+S3QA2Ddms7Op50i5Gijw5sn8AOwGn714VILnOMqvKii5KQQs6Pf17
ezRXRz2+7kKcC36PihC21uVoJqlZA2E66iml7Ye8ZzQAPrcPbRmnB26xZKXj48pFFHvqSTLUWjv4
QxcNM8d1To2AEyASkJ1bmbbZAdRpwwKBxQClSHD0KIfyDNRk3TD2kV4LJ2ydxHsCuMMMPC39YkAe
dI/5XsMpLU7mTJSHlhZUcK5ivZ/3helYXaSPxxZCL1r2JMsv7d0PjnkOz8woNxrcKDphjDBjcntD
LBbQ8ettr1hYJRTxsLvmtAycQ/Hx1jHzStdlE7mS/tPLOn/jldRD04/1j9uWFqYMLVmQ30Bn5Ix9
UfaxVzjAOqYclmLnOwitXrXCf4iHfCvyfo1UcmFUFlqagLbDdQUgdGVUPJW6m9R2jX68U9mf8vyB
uJ9vD2fFhJpnQD+pmxUlTOjaY5skQa2/DGv9vos2wG4OuReU13HaX27ZAvVNmtZxFbWpOyBXUoht
pef5SxGvipcvrA5CAqiQUStEY7HqB0ZST35XVg2KuVvpPdjy0IrDmP+4PWkLWxVgAXQvz9BwXGQV
HyjiCgk6J2siXxR2EZSdPkJHAlJdOlIpT2VH84PTy3QF2HGdNP9zRs2ctagkI0+qRAiQ9fepmWBw
uXhE20YVP1Xuq6tjv75aqLd0Hyx9jeuHwlvZXAsBHQ3OuKNhPuHzatZD9vkwaUbZRE7H2EOmuTL0
XG/tyn593QXPBbYw6slzJyJuNZduUrvFOA6OLKOk7z7nuvEuDD0UJuQCc7YB3AUk1n210Wt7Cn1K
Vp6s1z5qAKwFGhkkjaChqW41PQbP5UiGAtKPYsNIAo4PEtxPx4Ru5DMr6m6zzKKsEwJpR5+TLwPy
YLH0trd9c44Jl8fIpQlls1HbAVngoBcQnYF0wluPSjX4XvZW/9wn3yoauXcjdJQxKekqWpmGhgdD
EVEz9HU30CBYdntI1/6HIWG7wS3QcgtpukvHkH5Vt14HC+W/zVO+sqvWPq78/KzzuMcmfJwZT5O+
EfHb7R9/HZEuf7yyaXMSj6xNsR6a91h/nqCqkR2s6nDbyKL3QoQFdUof/60rB2zi+Fpit2YRZe5j
0hwn+uTYK8X9hXma86rovSAzotmbx3l2i2y5z5mT0SIioIYMRLbitsufRz0XUB9gfVTEdJNBKcLU
WBGN+qYx3EDStbTKddBGXJkZNf/HwvwLzgZQGEIA8VcUUW44uzFHaCnoocrcve7Ex2kqVtZ9aUAA
/aIYBfg3LsRKNKNp70CTdCqirvSCwWQh08Pbi35dy0WQRBp3fpeCG+3qxkji0huyccSIWPw0+ulH
IotjbPcg0CZPWqeFnZPvLb1/pLq21eUYjjUES51u5RE1O5cScS5+hjKxpstbv4RMeyRtwcI0HV+B
Gt22Zbd3QdUHyP3vtJErR9I1zfOfsaPVE3cKUIlcUQmANdjTWlFEtnCj0c8PtE2P7ujvGpC+ThKy
koI+j3QKdL+CNLkM2Zihhpy9UlDbkoZta/Qrr8SphV2om2i7xukF4PrVGdL3futIg+SRPjUAVkSV
5Ju8WitALgR4WIHohWdDhvmqgNq5pTZMrpsDknScvKfYeKXZG+UQlmxY0A1vDfvntp8tGsSLBMxN
cx+yCoVA+40mC5EVUcNfXdEGdNrVqLOl9Lmx3KCtCDIJ7P6ABuZ8qDAbFqgJrrplNK2UIusQDsz6
0OfbSYeoZbySnlhcrv9sqND/pMTjp3MwLop0mkdhIf2WSnq/U8wcj0B+ogdgTthchh1PIgvrFC6P
Ev4+1u+s+MKML7cXaCHUXJhQNmAqLZfpg82jnhx+G2si6QvTdPH1+e9ncbPDZopJgwFQ4wh5lYNl
f9eyfiWWLZySF0aU06UURqabNYx0+ntHir1ZMHBsTWGyRhK8ZkgJy3XTNCPOOB5BapWamwQwQvZQ
mGvuO6+qEhMvxqMcyFbqmJJxmHFkHzL2y82LoIJecEx3SH9v3fyHWyN3yK3QG+o9d/LAKfZ8iENZ
vvq9Fua4/ZIjKWTgaMda5pus/IrHTTgIN/B9dpgYxMmNOhhBdMwfjGJnpN1nqU876W/tmge+8RvE
IQFn73k7bbjBkdLa1K6+SSaygYjr3rN/EfEP40nAsreJ/BiR2OhKA4iGLz59Jvra6bvgo9hqyGzM
JXQgGxQvSsVoxHnBqxlj4BjltrWzlTlftjDTdxp4M1/h9EobWniOzarI0EeoIaJHcA2IurATMIb/
LBiXOyFBv/csRlZFpf5ZxPt0fLe17d1b+cKEEi36Tri+1+RVpHs/DOPY8M3t7y+4/8X3lVAhuoZU
hOH7A3nOod7mPUyQ5epWdvPs3Yr3X1hRFps4dj9aBpbCNZ0nJLaCJN7jLhQ41U7Thq3f/7g9qkV7
YEeECBQyJdAQuVwYnZFcg0huCQR/EVZJHrhlRJxdNcQbQ3tK7u7Qh3o1znn0dAAC4AE9dmnORsbE
6oa4jEZpPlnt17y4u4Q+W0DtH6SdpuEBEnhpYTJMPEOTqsKj/pi5QbcGSVvcK2ffV0bQTaRDF2yJ
3Wh/WPmPkr3dXpBFN5spK2eOFrynlXBu5r0c68aAA8guLPu31Pgnr1FsWAPXr9lRFh4q1VnKYr2K
YihHpG6/r/un2Htp1x4/iw4GsS+8ruarnVrp07KWgQDHqSLmBKj+tPLA9aDK3rUylGttvItR5syW
skX1IjX9pMTcxZO3qwq56QV7EO2aQvWaGWWPclkVXmpgSFq89yoIh/JNl61x5i8ZwXzNT6D/3wl3
6ccz1SFpLb+KPN5shN+FvOv2TXY3CQG2C0Ck4J2dy7Cgrbs0I7Iq9iyW1hGWKGD9q0dPlv/YTG5o
reVLlzxuLvYCwIhKzhX9pOvEJovtvI4gUZoEhskeOEAAmfAfaL6mjbzkdYijyPza8Dtbzc7j/6dV
WnMMC0291WYotpDNMCEOIF+9dIXbZikioE0Rr0kbXLNXPEOTk9XCSlgded0XgguEbe5uh4R5K6pn
wrkBxa0lhU6tjLMaREbaxhNPevbVIju7/l2Z+/+bJcWz6zguSUwwbfYnNmzQrJ6Uu7h/kOPnv7CD
Nti5S3lm4lKCaB2LqUgmWkeJiSJ1N5BDmsdQeeMoFhtPvqQr9hZdz0UfFDLceEyo1VTNoTkpBcZF
zZ+c/NRJiQTlDz35eXtYV14HRjvwC+IChSIlmv3V6evQeGHXVR5J3Tu6iHOQVW3j/NMQ93uaa0+Z
ucZRDeyR6hywiQcScsxoNkW1Xbn25F4/yQrji4wMPKd64+hh2ZrWoXTcYl+LxNlqOU9C2sf8IZ7c
PCynpnz3ilg8DdmQbcDS7T9CvCTdWUUiNwL375Az0HKZfp7tDDl1gFIL/NUXoTNyd2O1+TtLBghH
UkcD05UngizVzA0xM+OTqNxk28q2A192M2yFNdSPXo28gRtrRtCPk76fHOEEsqP8iIKktjXStH/p
ssL9muMqss0gyT51nRFSOHrFdq2eg4CjC5r8Uzke9YG9NaX78E63kjoPHuSO8jftQcuHk6MZD6kw
8q1JXbmtpAACWydV4KLbJewNuwhTUuWBxM7bMIrfO45JtknRqBB6ednjOdC7QVZNJDAMZLhoARA0
iPHMfQa6+VDI4Yupad1Gq01gzv222rVC9hgRdAPTrrHDGmWVvZElnxmXzi7VpAcS2BZCnn08hERP
frtdPm7qiedbrex4UBWmBqwQjYMujZudJtI0MEb8we61bNPSCVwaZmMGVVU3wegAZF8S/3eZOjyo
i8nagT4xDlrPog9Dhsthk8TWxmQmBFbivg/QgjHtqyFvdsSaaECN1AihH5OGRAi61+rUBm2+zA8V
ONoD08YIMwdPGObk+YbjJ3+A3ZQ+9gXAoE3v9ztIBWuv6PbAUz/2JNoL0owGWuqM+9bvmi0ZHfHk
t7TC1nLMIMukdcimpt2iqAWQd5lnadTW5s9ptMlXQPY6CD1BQJcOEA4fkbI53N6H1lXEnFnbZ6bm
ubV2biO+PNUkqN9ioQs8vNvmaI91YFD/VImvre0cAYUOslI7VY755GYvlbvPZbHv4u5tqv8fdV/W
HDeuZP1XJu47e7gvE3PvA5cq7Ztl2eoXhGzLILgAJEASBH/9d+juvpao+lTjnqd56OiQpWIWCCCR
yDx5zt62ofmJiiQiibQNK6wActkCd10pnfW4hPJSYwkBIWvqXIPjvA7tNJ7R+vhNO3aq/Tlb4F74
WTfRYowbZPQvaX1FdQAH16Q+uacA2pD+2i2D1Fd75oIKwg/unFkdeQUH38CKgY3RwIj09ubCxU2D
zGE18xvVffOGIUNnUUGWLxR0h+KXa63r235ha3M+RQPtsTQ08jTjhTvaqcGWMFV6ZE7f+rlXRja+
tbR8UjUCRlTwKWo+qOhIWnT9kq8O2c0g1iPkRa7GHhwGN4fng7kwHdlTcuzMO2ZgnbEXBsKyVcTV
mJESTmlJu2N6JW/OuM0ANms+8GufRhMGMEsECXciyIEUV78MQNxY2cSLDZ9DORrsrDEiYGfoUjB0
5Mo6cit9E/y+trIt9nV80WFrYSx1n6G5e+ofiH8kajvyun50zr6YDm8IdBgtMNF/d+K0FhfWmLvx
7v1Fe8zIZhfGUS2CxmDOGwIut53DrhuZhb8sJrx5W5sQYGm5KhM98hsLWJ4q80VqHSWzODYjm3nv
k3YERzc6+ipp+0XtWzxDZNPhxIy9Ig7VlCJ5BYnmyG5RL7CAVRlw+Ap05hVoaXzq6/arU8afkzk6
5hhWy282bgKNXcCaVubizbrnjkkayGZgItvoI5U3XqSL2X9EfDExH/pyZebpI10AB18GuiTgV1Hv
fhO+mnHpXEVrpChJAYFKNu2PUf++LVAhrMOVYtVdRMT6BjgAImaUbeewvolMfxoP5y4QZ/QCeicZ
VDdtwXdKfg7kR11dtON5OB/DnRxyVlA7X5mNAQkB/85rZ4XqGJ8nhdIuiW5Gj6UT9Dve3xrHLGym
baznkiwT6vmNl4ObYPjlyjc2xcsRbBYs4jzicyTgb2ygEpbFSh2xf38Ehzb3CwvuJtM0x2JoBg/F
O+qelQkCr7JMme3lAtrh71s6tN5eWtpcl5TxptljmI3SWkC7FRZ+IJDnPtZfeHhAa/MxzvMIxdHX
k17ZcR9MIUrho9r10y0NTiqSAkf6/mAOWgEvrw9EwwGeMhuVo9qiKMKhpz51xZOc74T9bTzGZH5w
fYUAw6Bhf6Ur27heqAprFMES3MU+W1U2zX9n+cIB4LYXhyuRy+t35ROq1BJ1eFf0wyrH6R7bH4fm
/GUIu5kM29eOTMiAcCHZ67gwiKXlkQV80ESI9+ODeADXx80WAQmWS3jp8BtdZgAUW3Mq7L+xcqFO
DbQfPDPyvptRtH4Xd1GCcIGSq6W97bxH6R6pRR6a6JcmNo5kHmxjoQ8DL4rlUMmizpGZPviWsFJR
NQf5w5v0TiuWcvQh73zThSiskS71kwHO5Fjr6sFhoC0fzhZ5a6CcXy+ooffHOrIqDuhvWXTzqRfy
IxvPPbTzUIP5t4nNllAjxek5Mn6D3FuYKxma01j5fipdoLVKjYuhBzl3zbFfoNaiL+twbk8Co1Xu
VrJMY1PF6eKUv0c1GsuXAOmhXpV21jUUymgMetGmn1mBfERYRBr9nXNMTB5pf0yTGHcl4kS/TEa2
Rj4vRrSJfGa/9Bmsg2cABXytrkd1BLpzcPLBJI1aOgpj9hbbFk11M9doJAZd29Ng6jQUp7bbHJmY
w1P/byPbaHfq7UUBzQYUiFM7qFo60Iv2jyl6HDYCKMKK+cBG3OxELkfEE6LkyIhO6bUN2pn33fr6
+TdhWPzz+ZttWBEyVB3aFm5wO6Z8P8c7kuvxzHl838yxYWx8lu0RLUaKYYztF1JdBMn395//Fin6
Y0n9exxbEg5eC90bZQHURsQ5a0le+0uxeNVd2zt5MDdFRNwzKE9GmbvMRRkiD+aL4v0vcXjV/fwO
G18QeeMwko4gNuqvw7ICfuOjBlj2fSMH3yT4VFGKQ2EGdG6vHQ6haF8wIUc5nyC7h0SEF8gjJg6O
44WJ1SG9uGP5Te3CNUt+YyO5Nc9jSqIz+Lj/pZXNyoaEzDR0EwaS6D6TvM0mluzpMcnWY69rs75d
agLiluiyCZZ87cOsjjiBg875xbvaLOxkkYMioIQGp/WnOgEm3j9LxH1dHtk/R8xskTs8buHZIwwD
0iJXs3DThVap736ZvV8Fh6776Od4tshT1DOsXvsYj/QIZoMBimF9fX8FH1legft6eTECwLzqMBbp
dMVUI1yVDHwg8a+2sfwYyc8L5uaQaWGmdTUumI64XBaaNu49eGLfH8rhaflpY119L3ZKWOvBI0vP
byY3TKvh0rKijDam8PUxUNXhdfzT0mbbsyGknSkxGrI8Vrb1aViQ031/MMdMbLY9mCSksUaYEGbR
QLh1d4OITt63cXjuf17BN3MPJDhTxsGmV20xfyvlbpj/xoaEAJYPNhFgdt/w6BIOvZLaxQKunT0R
Teqyq4QXFE3s74/k0NQDdRODtATkK2+w+x20HZOQxxgJqiYjSPSGcEqFuejYEZz+oWl5aWjjwXrf
GsagC+HB7AsZqYybX2ZJw055aWHjw2aDRISGCvBNEpzNBlfHv7ETXzx/e+Mm0gYXhovnD9FX2/3k
9edyOrKu1pewDWNemtgcvS7g5mjAi7A9xG5qkdXqkwsFfz9aj7hlZv347f3ZPzgpwGqiOLm2T2yx
4QtqF1OE2tzNNH0KxjD1+a8SJKxz4q7SpGB7A2PT5nRMpsGC0lArbrgDUaFgP5VP5VTnY/KFi2Mh
xcGXh5ousOLoqHO2msJaO3FdBbhQutF5pfKApdYT3XtPrvt3lvILQ+tbfeEuPVZ1EFOCoVimiI/m
pXh/Vg4OBDIf6wUcNOTbQi6qMyCdF2F7A77mnHg0A+yL8y8GdJCWPvl1ptZ1jtC8gyYlYD0A+Xg9
HNSsa0fwZO0DSTv6MWqOLLJDsfnL528cct2GHiN8jSdRubIyhEhAe9f9dVcfeW+HvPJLQ5vF5o8a
il4BBiKYSQW9sy2eivJI5v6YkXXyXky+y+LEApEiQNVGfpwmddWYIHOOSiCuzuqNJwB9AJrskeV9
o09JXGE7vdcid2+qXY0yq/iG9iPgt0VaJm2mAl5Agf7vHDovjG5mCrrJUrrTmllObkrT5obmHXji
A9CovL/CD75EqD6DVA3sH29Y82SSTGRaV/jgXAUKRcE9G49s0oMHG+iUoUWQoEV2m0NG06oYOhvt
OxyFAZJcyH5IWXsdx/fvD2Xd7G8m6oWdzXpIoDXdGIF2kc7KPtXHmGwOPz100H+OPF+0Rd/a1BDQ
x414eu9czL65t2JzJFQ+OBdoSP7LxGbSNYsWpy8H3P8/u+WHALjF8MhUHLOw2Zf2ZPpg6WChprdt
cDONF/EvtwSsPgzxGIBkYAV/I14PpnzmCwtdJVPyxa4e9LRnw6e/M9E/TaxT9WLjN7oVxHLQaKid
s7p96qYjyZ5DOx79oT7o8wECQDnp9fOt0m7CmCJuNYN9GioN0oUkT5wHE3wX+mPZXwXj37n1vTS5
uVsghWwNFahjbhjtL5xe5i1AInPsnMn5mODMoTWAaBZQIexHIGQ3wRmFhOgURQuCM7bKtDx5yktR
8/z1KUJ7DRDDAFvDcW6MxJ4yoRJ4hTERt3YXntL417XKsdJAOolwBg1pyFtsFnNIx7FuSN/c1CB6
3B9F2x3a8KuIdLKKRAJ1v77HF6tsaKFTN6BafxMk98F47R7Z7Icev2Zc0BCMZkAEZK8fP7Uxmuk4
9olq0nZO62N1g2PP3zgTa+6aqqHwhkGzA8kN4EK/NsMgvgWBIwqtECD2wIK22SSIIh1Vhnq4LC2A
xeMvYiqL9y1sz42thc2e8KpZxw5Ydi9rfWJ3V2HyUV7Ux8TWf/CTvDw1YAWXLYR2mASwYmzz7bOV
mMTTbLjstXPtdnRnCL13PL5v6qeWfojL6qZJ1sy1c2ZZD4H3CLhXmY5Qy3x/tG8SjusXQWcHygsO
ykhogHu9IBqmhDNH8XhJ+uS2tZOngZMxrRnx07Gu9hDLOZ19H72vdB/19hevBG1HsITjkQzE1vn9
+BooZXu4cYDgeMuhEaukB4QHX8Oh0w4d9PtJ+WU+GP1x7kpAl2qU/WPIeqbeEh/rCviRDHo9GSDs
8xNwjjoQiH+jLUSh9hCA+05eLsAq7yHC0p5Fil/KBeTHESN7K7QeOiriy86oM1IFv0tvevap/ObM
48eJAtHEEvLBjlkLXdnWviLOIHcS9dmCGH0Hfgs3BycxB1JvySWzTstgAZHGvBPRcuYlyxWOsyxS
JG+gj5eSme/HEMT/ZAbJs0nO+0WIlHXRc+wBPjY5VT6ypMpiynZLF+wZgJZTjdKT6unOruzTxMVR
YY8fWjcqMwsNS9QZj5Esb7f5yiewRlarblzylrUjGcnixUsjL9VDS888+gfC4T+/zv9Fn8XNH+9e
/eu/8fNX0RnJaDlsfvzX789cMv7f62f+/TevP/GvS/ZVCiW+D9u/evUhPPhPw/nT8PTqh4IPbDC3
47M0d89qbIYfBvAV17/8n/7yP55/POXedM///MdXMfJhfRplgv/jz1+dfvvnP9BI/GJnrs//85dX
Ty0+dybkt6e3H3h+UsM//+Elv/3ovIJqLi5qqI1j9+jnH7/xf0MCHQQwWJ82ONnW7c2FHEp8yPtt
lfVD+ghVYmh/BfiQEuP6Kzf5Df+AjA8a3PEHqIb/46+Bv5qbn3P1HxwhpmB8UPj0BgS8Equu2uCw
D/4F4Pm3qi/TzJJBueMAdofJOQncdryoFuFWhd/LJDoZpNUMmaZ2BbXlulx2VtTmDVTuZKakP5zT
JdKnyvEedOv2p5rF863bD4+jYLnXWfqKT8x8tNrIu3ctmXC0pcwaZMrVDC5Xe7mYUTnF6u9AUmNH
/aUK2lCdeeCIpkUzK3wLsBy0cpd0HniqIrCzuru49trOT9EpwBoAoqS6HO0QVY8sDjkjKTppSf3c
BE0gnghqlMDRemiGAG0sBLEtoCxKQwszE1d1kI1uQxnnwqfznIJnUDVA+gJX6mk/OtcgBOrB9VGC
06QzlZ22FTgWPBK4PLVli/KOoDS4aqTWp7Hg7qomgZ0MtXV+yfDcNiuBvBgLXjMHGcZu0Et4BY9d
upk9y97d8xEMb3cESU4uUyAoxC0lhp2qYfbpmUZV1O7RkN8MOkYPIaOn0uuSe0+NxNYZ7uXK55lX
lf15UCPZZDlW+9iDyyO6aPqOX/X9HOc1Vct0PSsNWWEz6I+x3ToVlIYrgH6apMNz9TBHqN7wJHjy
RioxBjb3zb0dgmjxLFys0QMHmFPRlu6AhyVVkkLcogWCecYdsCzaOq6SXLoz+ehIWganXRWDSz0D
t05onSV1opYutdEoTnYT5CW/0rC23UyIKojO7SkGvNrFIhqySobNDNTryOMUqRU0tM8winp5TCux
C1Q17jpsXTtrmnBpn5YRnjSToA+Z0qBvjPfMmxJNm2UH4etFG0dmGio5VqbrFnDljgUNnmgtXwdU
ow3g24sTZJz49uOsA0aLNqqZ/cGVjaF7aN6ShyGe6FPjL2ZJzZTA4wesTvxUVGX9YQQkdwC7h2l8
UARHAo3tTjSKrLSrGGPrxHgOjSiNKRnH6Drwu6bNoVLiXSsa8SX1rSBpUmfqVZ9bZcvAYhT730GR
0oapawhay02EM8MTgkzA43V1VXDLjy4sqwPhHUMP+EnjNUuVlhBevmtxC7BTRn28LDP7yWVtx+gn
ahb0p9bSYz1g+JUv00Ys5l4GsuwzpuvxS8y6ocox4dG3MlJjkjbRbH+Wy2A+ep2A6mrnGcEB/a9q
Pye255DM70ULQVY+2eIS+iMeBBWFsMp0KAnn51TWyEH3luifR2J6giJUC/zc0NvMyr2WDvxkZSS8
9CeqTqs4bs4dK0qcndVBfSEXrj8t+VwbtN/SGBXmnEgOjRbXhJ3YLSUyG4XvE7tJ1YQ7RM5BvdHm
Ku72Tu22D5bEFbVYogmrbamT9t4eEpaHY+xfhTZXdTaFC9sxcCF7aMMN7bIIy1L2GWL5Mbpdumhu
dnPkdQ+RpOp5THji7YLFmj8zUGbexQKMwIGcPecEJOVRm5Zimmke40ERcjrRfB3Iip9MgV06uWMc
MhfuGJJK7gMCJfndQmZV7zz3YgXlAaMvUokO+HhnFNqT7Sny6R9R8C+dwP/f4/XVkXzdPfMPg3x+
Hi6fuv8LB/GKAvrPv867Nwfx+dPyVJdq2BzG64f+OIzj6DfkF9AiCTob+JsfR+4fh7Ef/obwESUU
8Ev9dUz/eRgHwW8IroEQtcGlhRNyZWL68zD27d8CMFEh6kUzErTGgOX668v9Dw7j9fb5M5SNgBEC
tyQI/IALg3IREvuvw3le+u04DNOyE1SWIZoDcJA5XeCh48O33PMhaIMrH20nx9S212vCG7vrl8e1
DKyW275RVuqeaGIvOxWSKbU7n+ykv3Qn6Gb4Neq7P4YI8eUfvU5Adm2h0y0a0pYRsKvdhFLyWeON
Dwk43eGklinlrnUkd/U6F/+ntVUka2VyWzWZXr9Q3UNmpBpmg6Blind15NB8QqIm75OBoU9Z64yy
HrS7ofjwYtn9ObMvw6rX99AfhqFVAJXAVUMeqo2bixnTSP6jUQQzGa85XxXa38ewNQWrFkhINEqc
/Lo9xJIuNEFAgYIL9uuB4uAKS1KPy64tG2QGaGVVEbz7Mt0ivpkS9Gc1w7GKzetrxDpGEAq4aEvD
gsXG2ZK+qRAsHrEO5G6qh2pfIfhKY+HE+/dHtrUCzBEKGxGg0ti4uOVuimqW9BEkyUjvgrgJi7gb
yhP0/xwDlm53AKxEq+gMuEiBckJS+/X7A62NxXmoQfhPWr5kXjOzT1XXRQBr+It9+v6QDhlDZA9Y
GJpnwTe/WZVD6XQQ8QLKxCYd2CjK+SN1l2gHlO7j+4YOvLu1mAZouwd1EVSkXo8KUTbnuGHOOyuJ
rusukPu+TH5NwXmVoEMiDaoi8FurDoRvvzaCFY07DGLWHfH8r55fz7gSkPiXUPN/GVlZq+EV0Qa2
MeKVpAEzJ0bixOG075YFve2JuGgoC3fvv7N1p7zwhajaI3OHJYB1gMwOXOLr4YSu0bEVNM25XSDM
T3/p4QDFrxdAaP0gfQfOsG36UZfTYpy2rXfoM1R+ujCbyDsvrJzhVrSNYifz4HZRxtGxG6RTJ6bu
QTQWme/e/xqbc2b9Grjq4faP/7CjtixOlqVw/5+dejfYul4+x4L0cVoyV4mMzXXcnUS89H6fpw59
ku9b3iz9H5ZXQC9IHMCihGrv67cbLMZrJJgNd4TFzd4wHuyADDWZxOK6f9/UoUHCbeCUB8oaXbXr
RL/IxfrlxD0O+sJdX1rRR4sq+RU+bTydiL/sF1xz7+o+Ptb7cMjouqXR3eEBivvjsv3CKKkgmx5N
stkJBoBJMUbD8GlK6u6UhwN6q9DxCQbofhLe8y8OFv4XaGxQkoEBGHxHGy9JXLR11HbX7mhChw9W
GPWnY8n5o2rAc6PViBK+2/if3je6cS8rqtlDD8uq4wTKKEQsmzes0arPEwd1TePEt3qIdZMjLepN
R3bNm0Wz2kGUhSwfdj5Crdd2SkYSrQCr3NkjJZdBPfk3HZKityU14sju384feqBRS4cWOhj3cGvb
ykb6ZRPONR2d03LIht+PdfuviBZ81xfuBbUHUJjCGSOHv5Y1k41L9kbfAUmR6++noQyiwjYLP5vK
2ma5bixcB6p66oY0kW3S55Go3DpveKxHkNDPDk+1Q0MQLysLISGqD9bHqDMsSeeKJp/9IfCtbCoV
LiuA6KC/aooDkLC0gaRwNaKPHoUPIcWmFgDvePE8PzuLp5x89Cb20HEPPOudxduTSvOIriJZ3tm4
SJB6gJbeim+p2/ZZ5zMv3rdWqD9FNELmhkEz+o7XSfi5VoH1SGbjXznVEHyNTBCB68jmtw14q7w8
UkP0yOqADmljez0UfOgC0KhcumTOSkUXP+t6fJM8HIQ5GUqw+OWE+jb6aXE8fMAmJlfQmAH/swri
YcJlrua3Mlw8YDb55CeZ8iZ6GgwqCArPGRj44ZEHmk9C1lVgWK6T6L6Z1Ai18bifwW/uULx+3BFm
/4Rjg7pZlFgGGXLjfi5xv06gNOG0TZq0NaSkfer2ZxVcuymQHg6GLBxHAVYdTiFHFGnKP1NGgCYj
lt3c9lHYDRniSu8c8gEaoL8KLNknBOg5L+1jDW4W2SunTKkF8uKTGsRRFEg3X4CrQ0fqntQNtitD
uj1PTDnjMi/t2ssC8EDOJwS/sFM0Tif7xlv6FvFJ25xG1CrdvA8HsPjrJu6+kTZYrgO22O7OM9Ib
Tq26ay47ZhHvppZU35iGQwlN01oMFyNbwKsPbZIxSLWRnJ/48eh8WxioFAuP8+ZxBjXO767DNHrz
y1i3wBcqK8qHiZcqowMyWHlPqNNmZG6a9rIOWuTCB3SU9imNvUnswnLw7pDoloALLzP/noA8JE4b
EnPkGBA/PpKICfc0ErSrbmRlz+e93yTWHnAhxHpuMLePCPocby8cVqldK3CGnTTU73VmdNnyFF18
+Iazp2UxqcWzTgaE5WM+KgMEBh17K4V6TRkUAm3qfS5Fb9mFxQIXLPdtP371LOLYGdDbE4eEwOSe
dyF0J3cdku8O2M5H+xZfpwpTaauxywgZ0YCvVe9EWRQuiZ3KvutAXqu7TqRzFOrrBXzsPEN/tfk9
oS7SlS6NZlX4BFnai5qYodtbrK+CwpotG4UaE6m8dQIlClp1bbvzGjqQ0wjZvyF1nUXRW2tEV1pu
wM1+hjdhqqJGlHpOZpmIjIjR6bO4DJqPDkkCVA64svkZcQyW3DKikgiGs2qwCpQFNFwKeA7MnvRs
QS5DL5BBtsZEOiny/D1a7jWnBHcI6LG1ha8iOmXG72iH9nQI5Uk56SBv+ybwdyyYXXCXNZ4u9+0c
DvweePYxzqeuHuLCXyZi5/YQOzpHAqe107KJ9GfNDZiMA68cPzn9IgPA07vogTFq013t1eablYAl
KV18e/BPFTJwEJSLZzAqLB5TZ3MfBUFWKRE+knYmwym1G0kzEYXyUwP/VucTiOO/MYjFebkJmtBC
OawOR3guY0E8vR/9JY3Gjuhd3CzLJx+R/wXvbWmKgLtI9XYJpyJF0E8hc2S3AuQ5Yd/spTFWCXZL
YQJgEy2fIiVdjt/1NKPlwmGsviJugLxooJrluYM+PHr03TF46JzWQWZacCyBTnlggYiioXyaklLc
TUjq4sMNSdb8XM3c8zrkqEeJNgIEivshZAqHTszzHiQdU3BKSWJNxbxKfaZ8WeCjQofIEaQCaCY7
U43pT9p4dkhh4TbdADYDUsysBubxdNA/lppq+53wl0Gc0nqcXLTmEN/NnFnwMW/KlriFW/rkJkQe
/OuEJsvLwUT4sx5tkFbWL3WjMmb5A0ga6iF4Rtbdii5oEGDlo0aUJIXVAzqQIm3aTQXmosS/G87Q
ICYnL8waPYasoOCkA68OzoHwxOkTFGdBggP+g1ZoKGdwuHgLDAnwR+3gYikqy4BXFb2EbjQHJOUN
55875DGLpmqxzoMR+uRAjfFLaxrYl9b3vuGuoDMWEfu61TNNOdPd3lsaVD4FIowipP2dJ+B+ctHY
5ZgjdOkefyRZMt4Qi6QRLrV4s7VKUI1AXJVyM/fnjWFTt09aNS7p3E5nxKucixHhGByDKMYgeeKW
e43yRQKNlPYbt/iE2zA6vTDl34JRLR+0W39HOXdX2u6Jx+IPTQ9N5drYn42keWnXn4cfFMXuXUCF
yOxeqdTEVXXpRUuflkvw0Y+bOl1cg05pq7/oS2nOTQ1PJxi2lsEpl0UBMHNSD2f+YJcYQrSHPCa6
PadWXsgpkg9gcyhzH/yekPdYVUhQLqmVFFk3sTEzAVg8ZNRC8YVydVaBcCOFOCUytIs5dWRbXpdt
NF1o0y2qUCUcX6YqCYYpO8Ce5zEyv17vdN9C1Y5zUcVS3IP9pT9rIxOnqkWjcraGSnsVOlauQUb8
VaHOtGDsWGtpT3v3w8JApeG3HuJYlph75kgC1GGHhFeFgezHSdt7J+HVtd/T5cFXzu9JTaILD6ny
a2jqMZohvwJC3o7qKHV43Fz3MZpVEE/plmV6GPxvfdgiQeK0qKLcS9COIPns18AJ6Mk8kcADz01w
h2rSktbT8HGxAhCvlu6HIYbsZ61mFwIHdTCnDCnu03DyoruIae/7OKkwpx41ha1KhB/MzpcZpxJK
P2LMABNlTiGlLb8QhLJVplxFTBaD+XzIlknaRVB7nGQc/0OunGj3dwBs7AvhWpWfQsm1Pekjhd0g
tLqBvpObR2borywEP18qYi36YWiN9gp0HEFbhoygTMnAlG+eF1fNZ2ZenkUQjYXQ1gCgQJnkk2iD
TxO12beGmeBZTfGQ96JGYDGW4mEGy//tHCMdsm4RLLfKDvXZRMcO9DHScx87expPE+3b31HG/n1O
uHfrLh7/YAZzgvCoKRwUo76DVXq8EAnpM1M7n8u4l5+Qbp9QABzOnN6mOq01HeGm6CKvdM1Pqz6J
s8io/rYfNFvSeESBCwD39gR8d98n6BWlvSGo0s+VW9QDmHpUBKRwN1rI+o/aNfco0XQQJfdogdKq
3rN+qFCbKc1zBZnpm7hbO7lt6AXU2uF3IdMniQ1OL2tpqrRGH/sZtHtQDaQkDJ9BosNxjAoLpbnO
asYnTZpmyjwpdIGo1E5R3xt24CNKCq3tJmeut9MkiOD1mVtUugV7LpEBy+NoqU8hMuWVINGZuzOy
tNiywKjs+hEk+9MYJnk9kkBmnbLdLyhyhKjEzg9kDOsPnVATQijIIZ31tvZTSGvRYtaEP0Ic3bkf
gDC5iCuDYLWew5tq5N49jwi7syt3UjgpYoK28mEtpyG6vWaLQmlIDFhUbazrCx9nWhrJbjzrlFvu
pefrPFzAADQbDy4lGLDlTOUEJ5ZFzmtrbAvgj0yGMZe7eUH1izVKIV4Z6ixRUZs5khug3duRn9lo
cb5GECizoG1VRrogxMS1oXWO4NpSmRmb4Kby2+nB79TspR5o5PqMhE25J10/P7JFxGganUxXtA0O
9N2yuPQa2dwlySbPQKc3qSYZoAfcwGsM8XKmMUu7MnFKK0MQ2GEfmQhq6IgCU2g8ewiUF7dssiC0
yFJErS5xD9HUva0CBOQnFRuDr60jJnaOwm7soYUWx+klQT8+wBxTP+kLr43DJUflVCBicbhXIP3b
qyLuBeKPuMaRx4Tl3EOcju/bGIFt2oPyiGa1zxadgU8KAOCF9T6e1wauWYmAelFiDBCIr4brEV5f
FqYNuX2qk3487UNVYynEsrwPhx46JL3td9exsp67zg5yY3qn8FRiZ2oMrJ0HjnV8DTp8TBDjPPci
GUHh1bjR3YreKART9rX2q8cRndu5nOtrZo19FrLSwSGNsCyLaCwjVE1DXDZl3M17+KFqzKuqpElK
RwRcqaHJ/LjUoz/ktgLaadam3s04ZJvMSMlx3wQpddvj/soZRMsmvjraEAmPkjoRCPucS75Un6hF
/bOSkqznXlWECH7OmrKLLiO7pxeTxccPoVXGfO8v4PBtQfJ5QonnIcmMgmDKwo5lQ8OYuuka012w
0a8LbB73RrYyDouwC3t/J20Kzt8kxO99FV4FM2j8rECeTBZCu6VCA1AGsA4FrWTVpVRIlSI9059Y
M6YltXVTXVet9Ul2Suy9yDhfe6c1gHHVJW4lLm5HgcWGtG07c+7BP0U58kBg0ZL8AbUGu889Cn6E
lKPCgdJlUrd+qoHw8FLa+AkukF0A6uAxiPae7H0oygUCReeqvJAVVKcXmpzi6nIJ/onWTedmonXK
BYMqILM+cdMNH5ljTVcxie0bsAJxEL4DBtgs8xfo4rXXnRO017IXa1tT8IBMm4TPdEqRRsAxXEw6
Cc/a3tvHdjndoTpyGkFeiWVGULxb1LXtU4dTkzEuHkuq13PTnvdOE3uoYUDn55ZESC+BfnGxz0He
lpx4FLScPpxixnnrfkLwwO4HCPJYqQyRTU9La6BdUUkC0ttEzfQeOj4AxmFj06vm/7F3HluSI2d7
vhftwRMwAbMFkFlZvqurTXVvcHraBIBAwCNgrk073ZieHFK/ZoaUeLjSRjueM+yqrISJ73utKjR3
LJP9V07Gkl8693nMu5RJyjBgRLZPG1c9b6ItbuMxHN7WfhBlVhN09tFpOsHX6hH2hqSneCXBzD5M
cVhkIolMFNJ0U20PpS+XU2i189Ftd4FgUhRxRQGBGbEXizd0acVr04UjwcWN/bZP7kcQpuCsdAHt
X1B9R1qspSF8dHGIM0ee46h5qGwxMKLbgtmyi8gHEyzcxJMa8cGZh/VnRRrbRZn+8ySX1clip8C1
KnrLQaojwisJ3Al+9snIix093j49jmbrt49iHJsfpeyLMzhw+0VFY/CZKkAfGc3sV6dhLOPfom0v
Tu0YjvwYetzdOWUU3s/KioEr3BrxXPi8k2Gmu58o26u0d5XzGBJFh5bDKudlaK67g/WWHUeSZ5jG
GSKeCpMU9gZcrTUns+7yY1U6E2sF091XEasgr83e/PSmQT8ORbx/WqUVr77bR+kCYLSeOjmjaAg7
7PR57HX2RjhuQ05f3cbP4163ZdrP/n1R+ktxLstjTPisXtSmyD34T/Xh5H3rLEVGdiMJPw5fh5cW
00yav4MEKDmZkqufmUrEpCDO3nYO5OF7+TW4QaY7crtPS6wY9beuD++mKQo/B6WOKsQLQ2h5Y8fL
eJoWQdy8VFvb5vZAaRRt46zO3CDNmieNMY8e0hQn7b251RkF9dU3aivoGq/6sbtmwoYbrJDnCoYn
FxWfOfbd5qtLZFs18VLPk63H6uWuwChpUy3mQ52IhiG0F96Sb61Ysf7S56PIX3GUe4qGeHq/bjWZ
Tt40mzaLeuuZjMgQ95eDTGfm65+J35dThAxi2AqclrFuRJ0SrlNPzHfMX/kwBN0NkILuOQrqUJya
KOp/FfDECCisafpMgTc9dgRPPtT7zhpc1xFvdXof7buErHQ3L7jt3zkWSVAqk6W06TqMrBLMctv8
kGxqGy8tDPRBpmvLVujVLCdlYYMPttGsKFsxHH422pr33h4suBCi2s75tE7zQ8MVb/OukJs9R7qU
fK9WqueBA/y46TbBBTbOVjK5IzQj+G89SqiPpaUUsYmwG8UB/oksmHZuEx4tn7dKsKv2djWLO50O
YgNwhStXPnQrOXvgUNHyojiqHICYjQUv4FW7pS2lDZoZtImce6RCUX2Kxrnv07Hsxg9NM4VbGm4O
SBUikOQ3i9LWTZegYvEA+rMg2ldbUo6jq39GoMmh2fU1b6TQT/DADRVoRa6JYSoZsaz5WvnLwAt0
w/+XbXaRv/xeybchCYjHnvqkphGkoTuDpIZukZnvix051ti7JPr5w3N0RAcZWO6ifuMnhr/QijFq
FnZSX6Q3x78mfzvCVJh2O/uOGQKSF5Ngv9kTXbL47VMYpC2so0engjf0py5cwWyVAHwjcUuT05ks
kf+2V1r5WR86Ql7CoSWeo9qdsM5JewF30GLZH+Q8uPMVBAPdoAxVUR0GG/Ws9n2LMydONpNXieMg
IEPjCV4tDWqzkamIx751Bla1yU2G23YZFCWTzIovpQ4r/5Zy2uZIlS1btDG1qLNjG/qFSBRHR+8i
Wftj5gBuNad67uCkkqHiSQCKIyqx8cP9axRV8iN/c/JaxbtmxCKyO8yQMI7jXbtY/qyYz8jBGfU6
uB9WCm9vGz0Hb2Io2epn1tg3OzNlnI4i9MLc25bwNa69nR+lkFZkRD/O+7Nqa0s8aOItnyoxojQK
k7kNfttjBBRPsZOs+yNTrz+ktan6n5u7uNTEH9b10pUanOBh7oHIM499It5SH+gryK9xJxNm4OHa
d2R9fkXneremPrbA/8WU6kxxRjKmpDMlLOgCJt9Wh6qpiMZ0Z8OZSYDr2p2EnYqqSa2ERpwvleZr
DbND0k6iLh2BcS0vqL7pdpRvXdm9izmM15QqSsU23WtWdo+I3gYBJ1fitCeHFrfxEqP6aH1m+7wV
fn/k/Sh8ew66yZjPwm/HOe1c9vMbgoptlC3JRuAulCHtpSG4Xp+ujYip79LDwsTNy5q/fHZFnI51
U0V3k2X9zTCm0XPXwBbXxb3RjK9kWTZqe7OYo45bb0ZJCPLIqpmXWwRC7TlrjcDQOVB0p2PRk6QZ
BDa8Kf3V7z7PQb0yf1Ss1tz+devdlr7oyi+jXMvjXlC/05yG3u07olfGxb/3dNf9sK4aSMSIK/a0
fXUgXYCEETD4k2K933qm2hsdTnF7qkbtq89gB2PxpJfYMOx2e7KdWl8MTi7Ze5x00/D4wARWDT8J
ve2dm2iMW0kAj/GTL3WDOu2iB3divpJBW+YEWqzlXdjWy+e6Bh7JUPUFPePTUlS549SzuXf2/fDv
rCmChATZ67b1TIUsz3OsingGu5LBB1/2zfXLbrafM5Kz930whl2KynZxHoqm2D57+zgH96tdRHVT
uFubPAS4ki0vtTK6c6S/RafK2shmkyVG5N2iMVuC+1a8jsttcpyz6DEwclbGKuGeWlac62VHSJl1
kcy8Fa0j1EMgbbC8C8AUNIrJwtkz3wmkTvs23L/5cqIFg1tJhEBmKAROgaqjX/W6uCDOYBuJODNI
EO6zLTYMcst9Iu6WsRiilyGM9MDxrxmxVzeEDRdzTbRt57excwLPrtqsKRTpQj2P5HwuNtO3lzUa
tl+M3aT2jbZYkpdq3fzta9Wqvjip3hVbjq6j7U7a2Wa/TAf6gptMIEtufniqaHYGnd2nxKNXzsQL
trR76liYsAz+vHyND8anPHb3Y2eRWMcxK/2hL3+iLyLgzun86TUpyj1A8h+5r0egu4gyhM55PdRO
dlzXhnbLZqmi6cY7TDRnQ7Qhv6SjlwSNQw51dYstRudF6yXD/eQeR5BO4vBpoOyD1wYJuc5cYZYf
iULEdH/AnFXpXg/Ou963K+evMeFrwDL8TXplVz/u5aF++aK1Tiq16p33RRyH751Wu/yzeUqSL7vv
F9s74NT1dcdzEN71cTgc9xgHenWxOzvkw+KUgT43s+iSG3xoC4Efe3OsNf3AdSyfB101rxuxoe55
8mk2YKwcS/qGgYRYpmfJhl4sP8DI2MCPsTzim20EIDkXvC3bp6JcFKs8d5rNZHME5ly2hwywxvbN
M5FG4xNzmGFVnuKxvUHQHOubSuzh+rD0NSc8WiH5pfIrp2dzZZU9ucXA9hmzyvJMDnXxndFluTcd
h2t6xLia7uJxLO15U0H5qoaEkzlpBfOjMxtQ8sEJunw6mE5P7aD0x2G61rVs3jEypCzCAfVtywY0
xzXbSRP58KNX20RTTimKKiM9XFZdHoSF097zTtXeE1sxrIgAqp150F30pPNmfgmViDKP50Q23JZH
61OcJSxKVrhf91bvddOc5dKbPgtdDaWU8n839tIfDR817FV0yAe/rRn6axx527N2hAVY6oa6PEdV
NXSv7eI262ksjhn+Yy/8JeuSlZDEwWvVmyErQsNpQlKnCbeqve9aw5odgUAEqfakbljLl6sMnqaY
r8l29PTCDW3y1ZiF2UXouSlP8whfwnhW+qbhoSuq9Um54c4MnPiluJ/1DMYmgyP8KQ8he7KsB69G
RDwu+LLm5So4P/xBnEQZmbt5hzPNfeFvvwXmqO8h8jQc2qTFvaHQmEd+3YYvIuwiFmgLbs1YuJYf
XcHD+ZQQquPDD+j9hksCe1Nw04YnF+QwyhOHwohqbkKo/IKemqzEmO+cFmMi9TDyhzBd+8FEq95u
xwFQpuzLu2GTvrk5uqKt03p3w/lms4qSHnBlUP9V9GzQE2fiSqpDp756q4EBhvsAZgftAUeB4kSQ
bZfm+NiVzSDukjqI17ugYAG9PUgd557B2zyelHSW+DTFZV/fXflvRJ818GgQdqB9m0DLfBGTaY5T
OYse6ilYJze1bSUua7O2P8XkoWYskXMejEllbdOk77eCo7fuLqtUTMhjv28PBfuzYsBbuGI2jvfu
IqstAEqVDNnnDu524kkdGMCLNqAjqWmSxMl4yYm3Yig6lO+Ekqs7A9X9256oTZ+6RHYAWtN8nb9A
YagA6d3Qfaw4HPszCtaDWZSz970XYgpLzcrkljv70IY3pPqXVJglvMw5/Xt/pVO1544Uth7cL3C1
3odx4TjyReEkl/Ag3CCbFPH3nFiH7KjK0GZ+PzLhwJsVxvl5kEIVXDQf6bZpB+8TQ4mWecOxbvKt
lsXHoPOI2+a7vi6kh+blsLtVsGRE5gT7KdYo7i/LZoM9b6rNNbeg9B1gYexW5XTR3G+fI9j3Pa0n
QKQTog7SIGfRzCFt6S5mgIpATCj+sPXWKq9CeYznYw1l822dw2J+kcjfH4qKTeRhwcCGOYHkf/Y5
x6u2ewAk+bXVmzvn12GyuB36AAphYIa0Z3piZPgq6zF5Xjxp11PjBdN7MjL2BTCn6SUwWI/PAb6x
92Guw/WDdsW+3pRilvJudIK4uDioA5PLMqx8RMaba5q7vx72vLBA77eRe6z9sx6qmg+t2OSfbGP2
LU/0SoQQBIlfZ1WxmP60OBsVo8kuiXo8VBs91E0xRjeEj0zD137QWIwy04JInOoAQOcNScD0dStJ
J8n4HiHs66gLh9OxDNGjLurguxpU/eHg6m1NqnfPCR5kyDN7cqcoetobdXRpEu4diG681IhlZGGW
m8qCBN52mg0fZl+CAJ38fV07jj8R/TbEga7hSxsVkRdmPJIPmrr7ppwAtW2L4ifJ9qZf6hvLSTrc
eY0DLH4MyCLvDlUG4mvhlpP74JRykTuIXeHTY9Lvw/QpOjxA4gcExtuWB2SrqU9RaZhEUvJ3trlJ
6xjDY7ZGhv3L9Sqz3pfHbpLUbo1ZzksUDtNtT2CWvaOUlJ77aDnK9UJwj7aEQejA+1lIXpT5Wvq6
T6Vt3BoXEHBcRtdP/d1vVgjSflQSqTIZ2uH9yrD2Q0sy+vNqaKAam2GU0Qvlx4d8jaZ1bdI9HKsy
hRbQPy0SCR86gj3sTl9/G54u/wcEJxjMuA7rcEGlsvQ3gFnjkoWM6GFWSbliJB+95f3q2e0L1F/Z
nOjHKLp0snYAwhdl8GvS2nGeeKSajziCxEd6cNev0VzJdzO7F2OtXfrfEDPVDWWc0bhmq5TmxfrM
A3kYDCv8QHT0ZR71wBNpUUCdpRVNYr/CsS4UBhMR4RZR0ltP7QYv/lizr/N/7JqCM2p2g6+MYeAN
nYR1fQDqZHBCbjMQGceC9Obt1BVgjRqv0usx9uGi8DeVUBHjsIhMN15dnVy+8PBhJ1wuxtQpXHyR
flyOLLX+SLc03xJI3UY/xBlB9KSywSwk+seDPoYzer56uXE6GTQnmn3it2HzPSRKroHai1f6pDLK
JfyWmTriNbyXnBEXoZRmn5UhB11VDlvygGo7pCROt417YWgu3gAaJqYC7bjHKURQ+CPEzQRfuoYd
q/FYiJOvzVSdQ2Rd3ybjDjuRHzuDs+O0YvSyYpXDfsGE7B33U9np+RTFM+OEE44dJOlujXrYPQ9L
bhNEq3d/NEUAYr/23b0CYjfUxdvgfeLQxJWZIGnvufp1kjml4tzWxTr/qPTUjlnnMtOm20CvUdZU
SW+QjnYVMTEV8GBWWabw7GgGw6dmmgPCOrhO93XgMve2Hils+bDwr29LeifljdNCZmaNt/TP4SyO
MIvQH8b8eN1grKlXS9zcqococ8YYPj8R8fCwlokz5CJuyu9xNG2GcXrRnyNyj0uKP6ZihqSG1cRh
VnuPqhwcPGjd8BFtBK6uItDNL5dA8uk8DzFA3bpJLtkk9/2pLNvEe0aCCw7Nx6rIpNCEkKIImMge
lk74brNMgHnbduvXBTjCy2Imp/cz1Rky7aJ4UADrvtdnErqViEQWnndWteHTDHf5idsYXQw1Kh2L
oNoGOuChZgEQzOh/CIKxc6GJuSV5tc8rK/Y13s9P5g3gqomvI02DaDAdQmHfCrZ/ctuTXk1XvnR6
Lu0yb+jDNDeYNzfDuQqD/buQnnyJ6Pn4MsgGuqZ2cOqlCRjrsz62Pjgp1X4D0Yxu9UrbymdbxvLb
GgbUj4CBUi7SzcFDsYhF5H3TeO/FFjXlc9sPDtDhwsOV1wBu353AaGK546Ni5VQm/E5DSOe8GxN/
dlONsdO7BHUR/opNHZrM8c10blBIIYI6bMcYtnvVY7hVAPUTr4aEBdJxi7ulWvTwNZz8ETC9qAmG
UL3eV9o4JphzowsiN9xh3iGPD0dEz5suOMbVxGdMC1kkBoEJGgKySyBkc1dPjs173Y48q4EdNHN8
Lx9jLQOBQoX85xRVMUMGhrjql8cjbFPegCTpoJKZ+zO6rti5HYnT5hpPFfCMUYGN86DZBUmCMwms
vQHZepQbHJBFtJdkXh15D2VdJ+t5T0rvXWdc8Stx9ZzwQt1rrpSaukcZBAdvgmM7fkmj9UcHEfO1
JKeZfnCcLagpHCwM6Rys63Ga5eG2yA3mevywYDjoynSSyv8xBk09PBxXBPpXVdWi+j7EQ6VPxpR6
zOag23TWmKT6DXrUGLjzpdtuO8UEnEaNRXxVJtv+eMVo5twsa/04IH4iKqsWXfXRW8KS6WDCB38T
9aXyvqMusMupAp87KI9P9vDcio01p+giUE+IEUvG79oiy+m62KBXWWZzbqsjlrnTNPNObJ2Z9uDC
3wEWaGUfd7cmoVX4RO0FkL6RilWDEL1x8L0MhTMatYlKD3VyxpIHAnwP/g3WpqTDQIDdI1Mows99
WBj5JYkrfTxM+jgAG/GgnqIanU8qZbtupFn1SXXrSdRXr5PXzvfTtZA+13EbABn3C4oqQaWOukD7
SZ2LKNz15eA+009JtTlNjpEL4WoQHuAdUvi2SHepRMPQTz/ZefCZQ9nUak+V2bqDT/dAvkBpRKMr
Br6vQxMdx8UmSoyfrMB3+cyEgw+r5iQz3+uDrPY7M7pyfHSabS2rR6pZOhhQV3dU+LCZdfGRS0Vn
Ye5QL+mdYnb2+MEMHZ8ZoV7XPjgqxkYPj7B3BTXrztw9usuMbJBRKcZM04fCEflKv7mK8T070YIU
tmwVh6SWlvfeGZ6uDjI7r3slmSKctkNkEXLJvpfBUM93vX9MeKmnbdVrqsat/c4sYslQ2GT9Zdhq
fAZLf8AjbNwgH4xFKpLPUFAg9s42fhNHq+huRhkTnVbEOuY+cUrCGChsWUH/w2BTL3u3jutbhSN6
edxbr1su6P2a6tSuR4HSdKs64d3sWsi3Win/18RdbLLBl8WW0+nXXElJO3eIPJBFOqngPBx5WTlD
877nUcSujKp2zemVlPJBcGh/5vbdxhuM1sHPJjRVce9Os0WbuU8t0G/Dwndb1OGIDkLWYcwjhaQm
q9cg0OkesGV+M5uKg/zwMcdkJQLokrrmQ0D6O6bn/Kgs98kTZtKiZqst5s8I2RC++bWGDqeWqFIX
wiiox2odri5nR22W3+SCoxbpEp1daClK4lkAOlp718J6xyrD2RZNl8PrpcMEbKs2ekGVYoAljsD/
fq1mq0+iDgIBvtPyBQNlqOpUlO2ECla0WiIhbVB19Xkt0Hidg8hGb2XlI1GoDWKA86DHLQCIDnt7
J5uk3c+h6qLuPAOVmDvlwotcioA/J++NbjjsHV2vubvtUwJAt9AZmaptT6ZTIsn4vIlmDAMEZOhe
ZOUxU0tgcJ0jEPIWqMtZjWtyUyTIq7447sYEw/6zjxdvN6K8R5zdenm5DxEe8ak61Al+KT5OqB0N
s9EO4pmakkX9eRFz6GdY4umaCbju0yM9b+giudSivt+8dQ6QNi5XYhyf5/rK06DdD8LbrgRl42A5
d8bDeSm8vg8fXKcQwbMdjwEfKsF7ye3gjAu525zoOKEPwhwmeY9mw/LclK3x27ciHNVw37GdAuAM
xtEvvYfLn03OBwPqvN4xn6fpAKdH/64mSp5hCd/pvuimT2OHQPQh8WoqKXXSE8+TuV1QxT/oZ4Ij
SusSQNxlHjPA1B4NUvB9a9u2L9PaucvnRfmR12L/CBx0OUcRzcfJDbSevoTAigx5kPaxn+GKbeqW
cL9j5e5fKRZ5W1GdhAyBFGEQ4O4V/fKB+5+OowwLdjLbVCebZ54C3AvNjd0bBEFOuewK0RDwo82T
yhnH21pjx7/bmwg1x973IxgFPH78o6virvocuY1wbpeQPezlIJUD+cpQ6NJ9PlZ3WVGITMfypZu1
6z32oorjvDiqaDiucnFU8sywCg640TWW9ftOhUrr+6BTU+s926SxR4wy3inGvD3gSG76wDjNEyjb
2D1AWcrqcxgho7mvunLan9epQ7HXmqQj3oC/7MEc4prJMk3JbRW28DwhICkixKSu/ayiluDCAgxx
SInZjhJkRKyIqwG1YCrYir43c49u0Go24zQB+71P8LgzYlr+w/0iWLCc6MJoqCIUTGTh78XNvJUq
2G6KlWm1f03qCujptl5qyqwvECGeGb/Foup4InWDanG/j3sXa8Ah7bi8WCEWDyxJmiaaP1mwFh+K
yOi637+bqWP7O/NqC8V8F2y2HOLzus3AZBxgMlC57x5V0Jxt45UusocKW/rJmj1ECNr3RcIYWw4S
PcA0xWrg7enBB3IaqzF0UOGWZp/ybjtKeMhytiqpTqvwp/B9URRlPaZQnLE/3SIQkxt9LZ7gqLB8
tuTVD6tivYwQK0euokGBizatGdN1neKbufPrT4NeoIErocTL6h/mV4UrZkllvcqfHGs2YCQd4s/k
khVfE0S6S9ojK/5QL3Fyswn3GC+GDPGv7jjIzy2pC29EF5cWQ4yZCJUYS0aD1M7XXHacRC4ulqob
sqOF3f57TtP/9+P/NyKf/uAZ+2c//rJ+q+Y/Jelc/8HfvfhB/LfAF6Q1wD3gTr0ml/6XFV+GiGKJ
gRN4JAmX+N+5OOJvLv8EqxtGsKuXElff/8rFif8miQ+kGRQf/+9m/P/Eiu/+Hlr1R6cWLLLEOxjh
xk8ifuBf3G27jpbAjF6fu+u0tZzSSOo4YwkIGBEZVX6HealDG51hNdjWbFyugicH3S1KKtKGYTw3
VZmsxWKD1nfGvJEityvuYGkWmphQEZksTOBEUlOV/ZbJpaRBHe0FHrdFh3rIvamd2gu/afs+qnr3
M04f1Foj0k8/b2a73XWCxTmNbey+YIFU72PeTWt+NB6RF2hh7VVEu1AE3qDH6XmaIagdph+d+air
/NSNWL3nkEkWncooHp2CI/DSTg1itMoELfuxV6o82ILqHYFUB9ILjMplVtTTiPil7eI9j9tiPmnk
8c/imJ8OaFyi4YXz6CUqlPyBY1C/1Bx4XxTNXqhfxn21FyfyyfWU/NhyS4pPVD+LNpMH/xMxVyAz
O5hgf09uRvgOUMPxX4uwULBfcBDy1Ki2ie7KdnXkXex2qzo3YGLTacdvklMVf9UwRMwhEBT72D8p
Z+8koBq2eSJaOs99WixsVBYq05EL4iYXGuPc40YvpV++tGWybKlQ/nzhiJyLd5Ad/nJafTOTlMVJ
dqn9rr/fhgE9QKjQWaSBO3u/WhVjDIkSkt9Igeozw7cMHlyFr4XrNg8Thx/uoe3a/VjZcaXDLwYV
Ktm7v5catblAERW8SeWtF6DV35NP+ifp79+CECrjMHyNOJiYkWRwVzRj8zkix9BmhBwd9Kjyulfs
5fK01DQ7gTcT2RQIF2xr357nJgknljw4TEiYgULXJFo7C389UXZQd9v4b1p1fk9n/fOjE5KBSUoV
2nQM29dcqz9Zb7sy4RY5lrxXFfsDXZ83niiA0ZJQGHTfeLjXtOq4RIMfWBe2RyQpc0t4kavf37d1
F730UYdrMe7Lx4JZ7yPMq8497HD5H95H/yKo4fdIxn/6rBH8Jb5P8ij+mgsezHshdKOXXMHsc8TX
fqHfFdUUx1zpGmNCnYRIYqsNn9GF6rav23FgT/N7Tycnf5ig4semRZo9BQdlq2u5/iIYQf1KIJKy
3kk4vhMdvHqlvro7WebGLKrr7r702jBvy/YXIQqP/hp1Tx0P4rktDRYyHLuQFl6c/ARzr1/6/pi/
Gth6ykgtwtC0K4jmzabSLT4Z6Tg/d0Vk5oBB5Al9JdxzMfhs0mLiR2TNWCo+WAGcuhhtcWER6PXv
GuF/b8r769dI3E3kh2Q4J7SG/vmS18QQ2rUEQat1Jd93ZrRvqO8+alzll101860USmdojeA3wHbP
jp6jbw0o57vIWV2sFNX8EQDeyXVjGW5KBz6TNfu8A738m0v+l1AQbsowxCXNlA/d5Ev/LxZcGqVK
tE9Yng7Q7c9IDuvTWrPvdAtLJOPacCa2BJ6RR6n7+yDwp2S8P8aC/KsnAyMzIQWceJT6/rVcNkmQ
cTIwcbdtMrxt9RhfXCiefD72/kPsWPfJN958ttVkzjjf5tPSdTYjTxzL43HAvyY/oR8cpPueOYk4
9mAUAv1vsmx/r7T+88WMr2ZynzSRq49d/CVtIa7bzXQh5qgmZoE7gFHzRU3Fa096KpzJTsDXFG+w
Sce+MIOHxXIqrA/HHOm3RE3rxQI4vnlQuWyonvM0Fs50cmNrcOPG+wVMbrlRree+uOVV1/j7E/0f
DVv/11ijPwUg/R9jkq6/7/sf4g3/8fuvI87/qxRCQv7/8HL7p2Hrw//47yNm5J9/HLd+/yf/GLeC
v8U42mUUkBLATHUNC/37vOXJv4WRH6FMC5mcCAFiRPtH9FHgMW+R7kF2tSSzhySd/5q3fMnPkxEj
EtEf4X8afcSv+KMvnsEtDENuOD4cmZTirykiUbJMYR/4QaZ7TArl+mCb5B4vATm367c/fCv/4pUf
hn8x4f/+y6CqkO6Qg0lwzV9eVnqZUPkO0mZz55jj1dS9299NLZxvuqA7bFOv3zz3sZRJ/Ws8xhbH
O7yphZ1c4isp72CbNQyC0MR0Lb048bDIW61UPb1D88eM0FbdXJIgplvndphMuN17Q4HDIIzW6BGJ
9tA963L2HuRUzeqpLetqB4Ib8RmWclfD+aBTqczJ+1V77s2HnM6uI1iNeFeAcQze0eYb+Bf/CAdz
RTc05oSbmeyod9XMm+dsfVxQd+hIQLZBHoy5BGsAY9Z79nlXCz9p3loLN4XS5EvCeTyknT7wNA/I
jSl1syVfRb1M/ru6UzFuMr2CDYfjkZBewQ/IVg9nwjnpDuHmFlmsTXHIlc7jum3iltTRbsnHeV2Z
fw8R6OGmDTvXPFiC+NqApFR8kygqIMhvPdx84Pc7Dsp07QH5ERa4yXhTHh2opYtIb0MBwEVMY1Ej
UmARVZ9WWlTb26OzwWeCjlBdoW3/TdXm5LrOS29lmEuPT9qS4JaVnnVONLW7qTdhpGwC9F3+ev1J
umjz3uE32ji6qdblBA/kZg1IX76UyMnDWT4lPQYaYgVzt5g/UR0AvCdUxytxTnHcv5VL9CHca5RV
sz6NGEC5x73HqYe0ao72ZYkU4H8gMiOmBAG1uB32WN6iv6HSF7g9nY4EgxCfAYR/uKvC5S7ZBQ6F
Ddt+LHTq+vNNZ1gUHFlldeQ8242XK6gs5fPBpYGBQwi4vnh+eV95dBiWtXOO54a+8dkga6fOLx+4
2ACYP+Ds0mCkfMB1B3Qs6Nu2YrqYw3iP3ibfB63H3+apb+Xk3e2Reuzj5n8SdibNjStnFv1FiMCQ
mLYEwFEiKWquDUJSVWEeE2P++j50b9qvI+yd/Rx+JCEAmXm/e89F5pXsGTsVVzuDEZno7KuHI5oM
FBqhoZ0nY9wqr7+tRnIuVK/tWzkcITPS8446xegWFnGOdh2jrZr2o9RmnD31unPndU/G90Kufc92
x3lonOmKc+2P4aPvp32PC2R6tkaCkfV6BhmT4sGKX61hwtl5dzXgKBx9auikig+Lo+IQF9eHR56X
mDCmTiwf4EHV/btluI/mLDCHdQNxqT4k7uJt6kH1geFpVKYUWO97nhMwG+m76MmKav54mfDJBC7e
GGaMeuhTzlpr/m9D85sNGaizS3J/l9ryD4FQdt7rOIVenEd0qYR9qbaxMpZNW8hHwt8vDHlhLnf+
iaPTQ62ya0Md2MaCHDAp/bzETIWr1Z75oEJsqzqv8Vs3d5gS7nLPNN7M1idd6A3Lxldyh593YzvD
B1/0wfT4Kf6g//haEZGMaa4qS/+yWN/iylMMrqcdB4lTXY4fjrXsSZF0VMQgU2a2/E57f8LiYWFP
EJgmGQ5oIaCIR803T+7KjzYZELGPlN+W5jJWitUhF5nE2dypkMT21WobscNydPWZiJ053uCj6tQe
VxRjhNT9g3LAnsVryCgnt/YOQE0XZ45Mm7ErJMl+M/a9FzS1ehAJru/K5CBjWcXfBMYrAzH/TRVr
MBiK0fPYfsZUTkRxbQd92f5pMiyFiYnK7Wv21hZjZC+5huCVLZve83HypIh3LkKgsvgnQ8YIXG93
meZsLc7awep6zL1H/yKkcUxXi2B9cdJz8rqFP+Cwjp8kITfieTyhpltxfEXH6jN7DiabgxXC7Vvi
EQkyXbx3LRYH9uPmfb/q/MJLcMJF59F9bLrR0NZkQRv3ZcHVesi7ed/ZxUF2TJ7ovd/naR95c3dY
FZ9m9c4amIQFGbIb6lawTG8aUT0udRdzNoV22hTu3ljyg1O5v2fSC2E9rzsNhWUzuUkRueloBVbM
FpqXxY9iYo5pktMpwZSgLsYhImC9ZUu6POiys/G1TvkBg+hx8Va+KSFBSB44ed6YcKb70R23MdEt
YWFfZlz7VLrJ2an6H7ogtnEDXaDJoGn4XseMDgyM68VgUNfsBQg5ugXpa/ysaUBQX/LeTc6yo4Z2
7d3IqdIlYpGoz9zrTWToc288LiWxTmQW7aIzDg6JoTDyYIS5sRguoxbiQnXkkQjrgrExZhzhY1zs
ymPXWjIgO/LXmgveBkZRsC4mZhkBTxm8UOnUX9fakSGJfrKRYDYYsYo9w850z8TnKSn7T+ptH5nE
vgzsuxkRu6RgsaAHSrnvtd9ZfyRJwDNbVX+j5vLRLZvHOiXR2FjK5vC9bj3ZfUOCeOGsIP6sVamH
tkOOwxnXp6Jbyx0E4C2L37dym09YDhyBq2495JrOfIe6Bjtu9wB18RfWrRf1c3OoiWXQdRh/r0uy
nzv779SkVmBOLedRkbbXqcrnE75oKyo4gLNE1tULYIh+N0JpC8ayBJMMsPY+gn2tXdA3qB2RL9Gm
kIBupr1aociMR9WUf3FESxIhZGEI/J6zggeqEpIZalZ3gaZIXsDnYpntx8uI8cXkTdfXYVLV70yc
wPW00uPBL9gv+ONb7Md1AHKg3NSprW3qKl6PZItP2Hz7g87GNcAJfsq5NzZ1QqiFc9dnPdTjgTDr
h7e2fqQ36lfSVk9k7r9jHLObuff7R5OwbGhlhWAwVxBfWEZEW4EJvxL5XqXFkVnCE7ntR8+tn20v
s9A8Eue+9s2RnZripvw13lgVI59E6eUzId5PexnxMk/i3s3GYdrSs72W4CIxpmp86mSLC9XUHlvy
OoB79c+EJ2Jznz0+OH7Oqcd23MifK+33bJU/47I0Z2PJbjb+EP5wbHl8TzPe0Cm3NXDhnWgbLWiU
84n1pd2CGCWWnOKvNyr+7J22WherH3ZSLcRmMShGkx4fisGKvCo9gBC5GL7/xWgH5+wsHhxyRaET
l9uxRINH0z6P1cpzsmLMw5uLD4EW2Gpx3c1QJGEi1MkofMzz9fS7AaXkW8aJNBOqvF98OYV1UdgL
8yF7aScRGnr52AMxxllR/hQ+XqKY8X3SOHoISGivMHU5pvU0qGq3muKDBDg/l90FG7k0GDziOkup
fw2EDzdkm974tc3G65bvaTZfdXfoN5k7nxBAXgjm3ipTZ9A5OlPglbMWjn2SXSoitZuFZGTQyO6z
zfGVjCo2zw1fZjnk/T3jhyOPw6PXL236lDEVZVnxNHdByMMTm82mWxzStJvMoFjL6pboZrE84pmb
jQD2VJVSF2/bJwxOJBOwlRBUbXL6bvcCGGD9VfSqeJ/zsZk6/HMWK6QggfkoR6J2qINounkv+ZcQ
havlRaed0v8vqLN/8Mc4mfhCN3U+zQWuSfn1v8soHIq5fCXFyHjd2PPmk9mEDTfdQz2lMV6TbF36
AF+r/C+9WP9qivg/R34+mD4RHzQfN6Dp/a8a/n/AdW0/TETDCAgKslj4m1pN3ItKhw5fl8escqNh
Ec6ZujmGSeqMCC2AmtrEQ8dAF/u2Wzxjpp52zNStj+K+HM7CqPWNWw1JqMAB4Z1fNRAODOzsU6qz
VFdWcY97rrVlbvTe1l9GvGlMMLVpuf7nE9//v6qcbJkoQP0lWkKy9d+vale7KY4AzKhD1ZdvEv42
botyr1Umq7C2au6H00G/iP7zpxp36N6/X1MfziHDirsWKlBD//1jCw0PfqLj4nTyqcxCUbfWK4QU
IbFGLFW86U18P+S/M56kqlo4ZSwr7Mn7+4VEgt/52n+5u/6hfP3r7jLvB3YKCQRtS//4Qgzn7Ekz
GWmP3M0nmgq9EyKw9phzAL1qbas9do2LqqzN/7Vo9/+d7/8lOqAkGExobHSDf78WKHve6Ftw0Qho
JN9T4oH/WmoFOsEyAb3DnVGO91+EPgSNf7v+VM0gRaLzORSxkfv+x2fO5tK790FAiBn/WLl7ulHQ
0z7+81/5X9/8//6VGVW5cHtgkzqeaXn2P+iEKNZKVm5Thcazvy1DdbhUTriTm+9fODO2zQeW4CcW
DQOTohkE3p6X/vY/fwU+7Z+Kho3I4Xie79Gsc++C/MeXKMghxm7SxMFAH4BfNC9pzParhfIUWm4T
Py/p3IclA5MlLS5tBad/4NVbeZncY4pWZLKy+7pMirTDxQ1Oywe15aZ/HW08MHkhQFuRwuLFbhVP
Zq/S0JBAU7Dxvg8tpkivE+1OOPih/DRQ0tlKRAN7bZ6b0qa1wbm26IiO0YfEXs9Db+7xrsuNo/WH
poMt0OZDENfVuhkmj/Xawlmds0V88JzCjDjEp7gi5ytVBB+9HuMeqZ4pFvkB/Xdi9JWGHF7OpTO/
9/aCL4WrbK/TezzOn+BvPvWpfY8tmGlWfdJ4u4bYsSIM9CkO4e4wkc/Z0OfzksxmWCX8jWJ9WzCv
aMRy0I3u4k/CPTEM+MlNbYtNocRhiSqFNMs2pMyfjbQ6t8LZrtm8k653rCwvdBbO3r7+a46753Rw
vrIufpiLZL/O1i1r/GCcsp6HXH5WBptDq3/nqrw0E+AVU/e2ZIl2+Zph9LPJ6yhOzcmZIXuIL3KL
G2jYAGx5n3CnFDlESM5j20RoOzvVfgrWV6xDFYvk9KcRzQvvaR93nNoBLzjGdwocT2eoNfFr7SXW
BphypAD4FZl7Sy3zwy5wqY3VG3LzcawE1j0dn3K7yC1m1gDRfJPHxaHpTSKm/me9QCRTvEby7myu
+fucZPe9MaGJeZvF01c1+xhAreZmZfNzCcGrqyzwSMYvzXH3VAaxf+UPO5XqImX5kibGsRIkU4dJ
BkowH+JKNs02UTVnmbz+dDLEnCRHeXDYpgWunj6zoXydQdaFKHJYlyB9B46tG0+jhqIwD5fBql+S
cZ23XbdIkE19+VM3lgsexHiI82anzPrkVICR9Lnm4/QqjLXsQSj3uPiMVeN7tIcJtYo6dAqVejut
X8GBFcOuLdXDamdWMFoSMJ81nGvMFOgK+dny5ImD8EXrJLf8Wnk4YwTEvvbE0fToK56zkRD6tvXh
SxiTcndjX1qRlpjZPiXIdCma9mHKix3pdrLegjQ9SJJ8X06cMDGFbzQLHJfotVeBOnYQ3ag9Ic78
zfG8YNKjlLkcfjUCmKfSVkXEsRoOI08bdJrsc/CHF6eK6fAkeRFKroXuqh3vgyFY71PSlJdGXTUP
Wu2QmSouXNewbmDvpcxJA0ctlNqujA4BjBAR6Nn3QS68Y5n6SJTZoyvjPUUT5hvMqZx/4/jiU5zC
/xxjupiad4bTetAhsz3g7YpxgwKctNuBODIdJ4yjh/Ekl+4vJD3C3EmH6NKkEengAkqRePRT/8Zg
7B0c0G1O+yCRqQpcQGzYxJHImM0tHMTFh+j17qh16V55+HixYAZm5T8SMIgMy3uB2E6UxnChq1Jn
Sipr40z2RXcmMDHJpyzMzWh0OxpN9kZl79qYnTSZRDL44l016zkbjQuExa3JnYI966tph2PZa5FJ
HR44ikDrlm3rwYxci8u4Zt9VbURpo++zUlwXRw/wRZ/kmkDAI+mn+82u84zPUX0ZqfE+KqJgPkm8
fgfUU0vfZa9PuwG308a1OB7MPRHFetQi3JBtyw8m6TJkXTTSuGVUzh9Hm+FwCL/Vt6Wxupssz9Th
DkKUkQOp48utTaQ56J/EtvP6uSRLf8Pd2yMJc9FxwzBybKnlmOqnbsjaM2aDhXC1KpCFizfB2ZCb
fy3efDedgRku+GdNM38x/KK7IiL/HjTjoCYQeoVvhPYMAmx0bLRAgH8hLbLDfFBFHEdzP1zdtvEC
Y7H0v0QMa/OYDngi8rhEf1s8/bEpOCl4hY/KYJPSSyYPY5lSAEz1V9ucjJuu5/JunHBfR0BGUS6F
pBpmNq91bpR4rfmRJwB0bGctd/hOCgG+FTcUUqQO073EKxzU7mqGmGMvMyxUUEny4PjZiXYTEWhD
TOTdUypQcN6IijuPJKa7CETvgzd7ZFtMEcAKTEJ4ABIcBut7MubHOjFAa7kNhsCZrS1m67dBWh/d
Qspp6Au6P8C4BcBMtKPldWccs0/rNDDMA3+C4Xxofsx1+I3VYN4ZsYODpMOMCFEpRt0yQON9+vpE
Th0Qh/ZdYvStCPOieU4KA8HakJKc2/Y4ZTjIN6nH8fxWYe1C6qjK7IJWJf4YTB220pBdGuWdMKaN
dGobRbEgGnlaxZBbZGDXsQk9zyrfyGdceg4N2oFXazqhxgB7DmXpkWaY6njJArA7hKxxvI2Jbld7
fAXGefDJPC1eWoeuVsVM/xEswnySqdxm+gIypCgY6qOfOCAdlA0E3Xpa27nfNnHMuasngyIjnuUs
aiaFdlqClLkwCx0/kq7szrA/EmwenibDnIE+WnnjfcuxcqNiKtvb0lbxIcnyBxtj64bE1tlLJ1rb
JtuC6MC+279N7C9eBi3pj71ZEn6lC6J6KsaVGzk3wgXdKvTauAAur90BO+BmZHpdp8XdeVrzNiFo
Lx4sEk+ZcQhNIYvyhRJhUGU7xtZFQPxlfk/t/mb491KgmRcgORjnqevIGcvJ9T+0IQXgQ62y+Ftb
lni5uzvWaGWAKpb8UlG+4+duJFqiNn3u8G/svLeugRGicTsGbl+3QUfH5943axcmytCUz2xFaFTs
lHdIZ7u8+VWdvurruK4vPjaLu0UINrKrL48zBLL3ekw7/EF6vDUrymeou2FCk/sFXcFEtDyTZHhu
zPauUP68F/5YDHT3rNaO40OXIwdiWAwNAZXR4nnGvt7CciCDsFmS6aH2lvmDuZiDnXp8xrulTv0A
lrLR4xh9pPC9F977l96du6Nnk2zdNGzwMDV1s9iyxc53XoPeZ+mnwm6/uDSfS+qf89HcMvs6gIve
gczYGYl0Q0oHMSWPBbZTy+jdfcZ0889kp/UDTEEihxR5sechdtuDFtgl3Jf31XNSYmuZU4n3l5do
rRWwlJiIkamD65RKDNlZPmGanid18Dz7KYYIwZUvHcbbdnttXLLG+EOeaiCks6qMvQsDEPZRe2Ak
ouM6LZsTZptHnpA1gEHcg0WdkbT74ovVv9qP+hytdxNm1hRfQ8IfB3qSHXbmfJVVG6akRJkIuJtk
Hv9gobo5piY5uvRHs84fZpPOEhTva+H5P13uqxBvOV2zEGomG7IcU5iV0ZKxz7s87C2kX41QOUDP
+VGve5KKs3/MtXsQLKW90vOAjGgBXMBiLya/g1iz7DB7AZlNGOkxy2A1zPp9UmdkoEalXulWexWJ
YwaM7eDE1fNLia8nsuyGdReagMHYgT2EgdKwkXI0f81swqCWsqO05lztG4Yw+gF36xy1naDEKvPt
7DrOzFylwsVkE54id+Bd+zK2Ht1REzttsvUP5MrhGJNLFzXsv9b0y4jAFqQ55pMcoclAUrepLV3g
QhR2D1yFeuMLstaydvfz4qmgHJX+AwEgxU7P7Og3GOlypyFXXAb4lWUplnNRe9azDtEC3pJ3bWln
2tq44H45s3ycgL5uyO3sZktTT92doZLYxWvn52+DjeMMms2IZiougGf7oDY6bE7Wekyo4Nomc/+L
yJaMCAX6JBPJqV2acZ3+1kXXhrxZYFtP7jH3SPpI8lx1EXNYUEX2UMFXu3u21r2NHrDt+hX4NHjV
aE6Yc0kzA14aN962ssDSVlNyXWNfgRxzz43elL8lIaQn0yzc0HDbyPqX2hA3B4ATOyDCT+yyGUOD
saxz7U0RF2imnstNlAanI942A/0XKk0+G+0tg0tTg/aU+kKRDNZegvHk178HmhRRMWOf3dx9U5Ks
ziEtpzwLbVa9LIBdkTxb1lQ+r8Ke35xpqNtdgg4/XienaQCGDLUWEqKNI1WznR9XtEJHsJjrIS96
5qQsluYcnw3AE+MEicKT7R4U9BPjS4q45MVR3WXpwWFr7Q2bNQOZytwR4h63PXGdoJf+377wsEMN
9fAuZg3q+YJ3qoJU0C+xtiW82gZ5QwE4BvZyK4E7BWYD6zRVZgRIttolg5bticUGvFq+JoPQHIHn
x8YUJ2NsjihLP4wyRMQLMcoSl6pTh/V6RpzcYDKHrT1398bQ/kp7ymmU3AHgh5/LunmwmHRWnkmA
v5mLTW8DDG+Zo7lJf+4Gs78uwj/5bl/cREnjr1mzd4jd8jB15OadRFJI2J07RhE4TosFWGKrv2fr
wFsysQ6kcU0giDX8BtP8ggT5amuxfWPyzoZKDPOna8BJcrOePHsNiA9k6XtcmXcC/PBJrZtHG2op
DlmmXrTVb55oT2SjTw1WNJMC3wxrHW95fA62hD+emUm7tXIkASdOO2avC2ELVLEzyUQI62n6oYOx
DrBeMSqy8wcLjms02uyxZwI9Fq8Z7kkMBnXsnExnsrYms/CNn5lPifRpSOSyd+7f3jQk5jn/yV2c
JMqgK0G+GJNAaBzR7fpMIsXclR6j+JKGxLUerqnyT7bTVIeMvQ3Wfg5EuZWoY9lma5RPSX7k2aXo
uB/8P7BErhU78RG4SmAb9Rcm9lNX5f21aNAGJvdtYAnmSGEdeqbQh1JaRzo+tKNhJR4Pb//WrSaV
ksxubsLLrwVzpscpqTxEZIxk1jxCtxxtIEogRWZkVNCFvnJP9xB0I9P2uDoskOKevDGxiNGuWZf7
ZDRh6k7JM9MNbSMGdHg2IVtSccDr9Fx7ynr7MFKd/kEtOaDSHLfYqln83pp4WMoks53J0ujT89D1
eCsSeQZ55r1Mds5QvFBJiC8ji9pSN1gbSN13Qr4tclz2wPmcI1wxzlRyrfe9PdlBWsd7s8m+BX0B
v5tZYFSsbR8LmvrWe9M7+jidy5TQVyeQgdz2s7L6K6mnOhoSRztAXS2jYk4h3RftC66bPzEAq43i
HQs02/qiY5EQjDcYwcJoXKazG3n5wkhPYstvs2MqO3NjLsm1zGoqdIky2gO4Ikc4Z3ddpuCuPJhi
evaW8cIVysLJqfZA2PZyZN6T2s7JMtM1sOOu2HW8jhGeL/lEoB2fkX9BqP1FHUcPed57XUfjL/PG
EbZPc9BNcU2NSezNIvso0QF3nH9BUox9xzTMqQH7ms6O0P11TXKmLqXy9n6Vsk5lDEIhRn23EtV8
GAqNVgntLIW4olR3ASzpi+xafKGYdTe2Zn/bbs5HuCI9KEcRiGnbWzFZHohWFhxj1E91Ne2KMh03
KTvAYwrI+HdZ1uZu4P8yOfkHORA8CrP70PCoPpbt8owFE7q2x6l9lO3ZXCC+DypbwtRsX7tOf119
95pAaiVEB9hdmEsY21ofWMJ8AWpzGVse6HutBWPvX/bAXsi381NrLSDGrG7d9GN2MpYBhq9TlD0P
jAmVfTEudlv8TqBvQGfXwrSwWu4etogV6BgOrRYi8+TTudrfjzmerVHjMMFuWmJs3Kwoaw9WT/DP
6IhYH+TavqZd+Qw7rA66XHuRU/neiHTPVSRyY/Mf1vK6tPUHm98DiRVwttpdTgR0G67YOLhH/CXE
yF0FyGjMOKhCsLv2eZr713JF5tFk90TIlm1q25/yLnm09Hk/ghjex0AkNqk+XuPYOPmm9+j58lbn
1Kv00n4TsqLNgxrPINerd3hCKK3lJVfpqysYX7XZHaO2Hpa4/BLe8prn+s7xMWVlVvVBgjF/04Xj
bOZJ36ZcmAemBRJJr2o2Dqv2Jhnyh2Ws142BzMhfXOQH3RY/3dLmQTrkW2uor9no8rnTB1UHJN3h
98iKqlpCB5BgnCbQTHimCkVpsXeMzS8OSdR1lNhnSOOz6fma+ma/avSoypymzbn0J/4r4mzT6s8U
QL11qfrDwy0IV5V5yBQKcFHcRYVsYhQy7wm/7rPLnesbzJpnkEJbbxr2xphfnIUdJdhdwraLxjmQ
mQL7L+b5HOy3aU+kIMeZIzFpsGPxrquAVeiostkyMY0oyMRLenezk2VqwplXkFgZMZZD7kSWU3XR
qnncTnX+VSbyAfPetOOYu21NgsdVPachnMxrR+JuU0r7jIRwm707iBEvX0lKk6crHGo/VE61LRf0
PRJgaZj7SHSmR3wdF/G+KXFczKLvf9lL/0Po095xwlK8FRctEAr0BydYMyaHWNvDceZVHJrWUrDV
168eR+97VzCHtji+UETxsOrTAyOvRwgK3dHqR+BW+uLdXHt9nRdqS6xy/KxARzEns3YwII54+si6
KxZCiKN7YFouYDIvPRP58DHnOV+UtKwsHXxsFYM588b5ybBJb5MzZo0vAU/hVzgW/vymN8lLIzm0
+l314OhAZTO9eBGriLkh6n1ZOX045rEdMH1FFp0fMcOf29k7t7F10hvNCtMyKzHlTT+D5BWQjuVz
Wuu7koTMRk0eG6ZuOsxCHbtCsodKmQFPMQ1nJfH8UDX62yBY1VPPZMduZvRJrx1SuVmGBCXdjeYV
Wpi0nCiwGVqcgon0otDovtwvdORscIFAmG+WqGSC9Ah96XntZmBzIvH2icGBACgcEQpl2lHsLTxT
ZUBK6IvI0fChdwhngnSuJaxr4qdiQ4ZXv0nBSgfxKtOOdEH/nnrMD2anqu+lMrRHF4xMMOp+ZMzx
6d65iABarzcjVsjY/ngCWOpgd2ra4B5dOKVNae3qFhbZ3GcXmevIY7GN7pjxnlnd8UWSu96U5ajh
I2zpvO21gPlue6G3K92IzHHCVboTW04PR59MtZZIjJAvDiFQmnr0+DprRhO1PY3RD7FzRx0YxWix
zxrnzTLAVj0lOoslb87dgCDKuZyCJHCfAjNW3HTftjOKwGLe92ARXd72jUV/Np25VUhQu39Y+/RG
wAEDdyW+gLute/KT8Z4tH8d8/aNe4h+pNc6hs+1X1WE4xY3VbQyv/A3UA84uadRN4cyfqsD5oVLn
SrPBGhrQM7E1vGe+A8GADcTmfx+Zts0iRma/K7h8kTF2l9ZhM6KL3KTdSEt2hrZQLSQJJVE79KtM
DI2nlZ/vDMN+Tpdbr2XWgd43M3Is849f0AQ9mbCQZVqetEnx/vawXZHgRVMzuvcupfyaIVhEwP20
WqY6tlpCmUacbbEcRmBc6ohJIe5Igx37aC75rvuXxQVdDPzApopdAHtMSWtVwqF3gBmICW9M6RuH
KuUvVbi8HC1AMiOKDi499nO9o3vhqAt8g679PabxWYgZ0HqegSXzOvs8GEP7qNs+AIse7qK0U66Z
AYSvS88aMhgMcSCDibVOuDKLuiCTb/esDZjxQG0nErdG2126uX51GnvmxVvSshXy3cpiSzpZorcm
XRM4JM5kYAyGWe3sKavqqJf4lDdGfx8kORzL4aUI2zlK24W6awDwJBW/bFNDcmIt2n1ntudakQS1
Y8gzqusx75XMPQbHugJuhdxq24eppikpZQMO/0Bt/drrfHiUkA8sENGtgaIyGRxtXQ6E4aitkVnN
R8aP75PmfFcQmTb8dagWa/xXs5PcVv6zhnpeJq/oDxc49uV5xWQbQgzo9rzjCyyaYr8AusWTRR6O
zprm/mOKtN+Yim1gbsSITxqxN9UdBr9Fzag+YYDskMKRm+zysbaFu4FNam9cbThUCpeaHy8Yvudd
3/gvvcU5pVDmpzZPb/5cP04OhwqHYxKCxQqpeuV6Ddihkvc4nT6mGayBh/S+VJ6+NZT/Cinkeea+
dUFIhEjvqLd+BHp6R6/ZgW6EXwAmdcZctYji2QWHIDhmC28lAd28YVaJaNY6rDlBwEn/gSh06xfj
gdJQE4lBxtSCDUlQWtO5xl/kwzOZhRWNQFoIxBa3spI9/Ri4K/nGfzHLnvU8lTviYk/FPJv0GRXU
k1RLyUcCSfWtfaJoHe8xp9k5u7OimL6sCohbOhmhhWeWNBEDNzKORJWvVvqrsjpox6N21Gof4kQZ
8s3emTe/xPLPvHLg5cyUalUg+h/KIVi1fHMNtCzdN0Tc5ia9NW7H0C2xQpbnU4J4Kk155EC5H5f+
F/DLqJEqatU9cjwwdPVuI3zDjTuADwQELF2Q0SgD3DUHjiw7u81+uYpYsYmX5EAj+34AlFVYyyE1
xAFuVbrzU/dZLfiepNmchnittx32K06PCltGlv8BKPq3tau/WqeusS0u7MffwVuejDa5y9jWG0wP
fKVuPOIiE+zalYZpxS2M+QEcAuZdm82eMOdXSOlP7L9g5KfGlsPGya/KUMCowg3dNM42nx2PC4Pq
GxR0j5giGx+NYUVeq6bps4NBfuGw0t1suKXPvKOYThdzBotEGMei7ZnMD9irM6utQpFryPyLR8Qd
aEcZldrg/JWlmbz6SU+VluoQ6MyB/qqR0N0B/kMAQs+KYB2/mplS+GUNbHKMe/sRX8Ssu21oVYT3
a5pLQxOi9G5yWj28n94zL41pPXN/4mTunhvoyA1VMdD2rdKeEZwM6mUA9EXkBvi5OUA6J1WHAQwC
t6TtgmzFHbNA6kSQKed22lnw1hBKe57GdO+xtl6US2+k2+rGjj3djyRKefGs9kOBbSM7mJ0Hwtsb
llGJNc3Lt/owQqUV+i1LTJuuD+eBurorLohoZeozCBePddu3z1nn5FjKK548MW/0Avuz1Wq/zTa7
l8hjTPflvbLNbptz2hoOWxF/hzV6py9qilwTIjmbuJ+ew9J5SsSLG6eUILCJ69UPIqYdGU2nRQqy
Lr84Qfi7H38sN/k9YmMPNekmhzUlFpAnb+4qDqXfPkuAc3M7BoXd3F+TevVVV5yWC3kyyRjuSt5P
8FLxYLWiV6Dp/R/2JgRAZIZYpHu/Ewphv3PFu9yvzW7bdpaHYEl2ESudU1EaZdVofZ58AkbEV0iG
+jQX6R7YAnzZNX0g/EClDH5orcFhC4mp2KcDCZOGw2Aw5t6HpmmvyoF2voKzXGCD1BWR2Lknzms3
C2lNihNdxQBW5FCK27noQ9vkhKH8J3YJIZMV4pKp9VyVPo7pZQpBC77TKPXTFRXbtYbRoAthQcBu
t3NQNjyzYriODd2MLpD2rSzHqFSs6gjvI1XWTr+hyJLXSKOd8paUBz1LLmQ8oGK66I9Km6NU1VsD
qE00mIx8W+VTZU6FyupZVcTfnS6rrgPXhEAO9eUMrf6oCesdpqUDeRUYcSaTq7LG6VFb88+eKGIz
u+thkF6MHpEDQLgjAVt7uLlFvfVLcGKlTBeqJwqeFJ3CkbZwIxu1hJmfYEmN/4exM+uNHDm79F8Z
+J4eBpcgCXz2Re6LUvtWuiGqVFJwZ3AJbr9+nuy2AbcHAwxgG92uUkrKJIPvcs5z0BuYoTnbwrwv
2cKlxsvUq5hfD4owzP8R1umqirPgTCrfTptKrpCtxk/Y5M3VZ/OOmMZAVCvus0LsxlzGqHq86Tc0
ojfsg/zE8A+pAg2pLIAK6Q2h1fJuQMeCGPgO4PMrad3+yRsqjAxVx6GcOwsredQhkBJudcX7a+vy
7GdIm93SAo6YL/dpotxHBw9ATy6Yz9OG9fW6RbO/nmBcwGTRryjPb/zlWoV01N11+NqVRNDplnY1
j3K26A1PxoYJBjun2WwYdx4LMPaIvZqTtBZ5nFMqFYyEz8HoPOQlmJE0Kpy96W3ULCO4jzXaoqve
3VRw1OwuiVsGv+BbIOkJz9mjxrzSuPid1JnPfol2KTnd4hKKtgvu3KTByDLOCsbS2Ih5Pg8eNHEk
SlhBz0VynXbZBruvi+J9Xuc5Fv87B7pufpllzbeqlgnXDBk1ILxgBKbPk8OAkiwl3Ccntv1QioRf
ke85kIjLTeOyI8+xQyUEUZn5Z+AEc73ta6HlVki6pq0Pto6rYZZmu4Sqzu/IIym/BkNtYzWa47vp
edGb1A/mbhv4FHcYbXJuyC6izKCNyrIvnMFZ9VpNV4dySQVvb3qRGvNFZjQPfYEi7DALb2nfWsat
BQvBV4ajvPvK9Nf/VT3Cy8qd85n5s0/dVDXCcg9TGVlkvxX2b8+4DlucjMq87lj/xuCMypspCYf2
xGKID0aoOfqh2oqfa5ID1m6F1v0XIQHZ/Akgcgg/J8Qnr8kY2+nW407gx/JseVgURerjMMKt2YC+
zi+uGIJ5LbKihtExxPPFNlHhkRvCoGMvRwUeE0Uw+baosZBshPRLsK9baHdPvhj6vRMHhsh5k4TZ
gafnxPu+2GO8y1s5B/fA96PonC92aH5Q9aX1mgBBfsm44OhcQbkarfesSyFFYxuid8V7T2pG2ScM
4cAF1/CYF3bCG/ArmB/QjZFZwTKY6qx1l72aCyT9oOaIeQpAE20xeEAOGIqKeIrV0Jn0omVgJcfI
jECeQmyA5W9mMsm0h4KaozLKpKHETUajXaaxORSIE6v1PFtPBDW3dz6+qfKps6SkuGJfPD3UJZvp
U+ehut8Ujed4J+XFqXMZA3xyzEZYeMQ6YzBCXK8Fq2i2J387iXH4ZIpVjZRcobYvkFip6m07z5hb
Q6e2H4Wc/fcrY2neuo1BsUB+SHTV9llFhZguIx5TyZaFaALl32kbQufMVTt6wrKdgNSOizmmxTO6
JprAG5wAnwe9hnMnULQPj6Q8SO/QqZRPhnUxYlcD1S24CWjnjsS8cATyVjq0/pMmR8VCARey4yoy
Usoqaveb3Akkr9UGwH3sanGOvgUC+naRBQ8RjnXE0ZGoh/GQk42q1/YAK5OlJmoAwAIxxwcywuTJ
yxfGMHYu9UvVqsRnZVYs9aWxNVEy6Ht+W0DeeG4SuXhgsTDeoNi/ELrsh4A0LVQnA7GSD6Uuu2Rd
T5Vmn+jP11jA2qNcyBG0MeqzEPQDK8KKwez6NOhywBgXq2xHPFPBGvS6tgynlIdiweR5NSU9u1n0
EWRcBtAmwSROUpS/UIyIXymxAVQowx9yTGora+NBffBetT/YLbk3MtIXJ89SgF3zULRI9Xl37kuO
susYUn+7VbdU+2tGMGm2NtSsfYag1z2GnXTe4G/wQaRLgMcjGSeEOqoDr3tEVUoDD2OoQNmXESpw
0GGKs8FIa3r0ZfKcpxPiXFhZ1kyYBPmEGuZYOX4rvm9+WzE2YdyWQKndkmI8xLTFrKtwZ3rPHfMO
EkiAMsPv0rO1YI5IWyYXvpd8wpsN5arKeLIQ+hL+BBqm76ch6u59z2KqA5mNrRwzLGZMk5pfgmzi
Vo66vHfupowfZ82iqzjCAwolQWVe/1k7DprzdjKFcxmQ+h28osSos2DHxwDnw/CgbMjZyHQ2h6c9
qfxkkjYfKdlcBFwUz2TToZNn/+qlDu8vAhKOToGuCp/DH6p3mSLGn0uBTgHyJLuP9ipqn+OJKNFm
bG7xNnNEslp56XtCDJA3d5KQriZvDuks+FjgeKVobcPeevYxDalN5rruAVplctMz9L2vbSxQHm1C
sBaIEJpdH5Ti2ZkjM/DD2ik2Fas4dvE4P8E1FfeMNBiY64Zp5bq1qxKKUqrVsRYut+bAFNBjUsWY
bS8N4Tr4QdVwhzCrfkdsyxHCZKmDUrV43XwAPZj0m2VUnI/0UTEYk3J2v3CfuMnGbfEJ9mkuiFSK
ZytiRIGc26Ss85j7VO0OcG0NN2YJyYOJZhCOQg7vcgiRsUPr5znUTgyX6xrKoVOHfE4T+TQfhFdk
gHC8MqzpRnx/hOcmuksyS/sXOieqf23VzDC8RN2hr+HLgFtyGTBiqhFjUh+T5hAP9neJ7ngdpVjL
od8KnLrEm4beCpRmhASDIJaWzHDsY+R/OPRQhYkGYsJIqstOdljC3kNTwjGadNbPYsmGH11GpA1E
OKhVyNXDDZV+8crKsJi3o4AktrJJ9sIjESqPiBDJGU7KhAf7rqvDb7vT/e0QYRmjANZoojoenK6Y
CbIYszL8McBvfEYCZS4p8QW/ADl6APwCw7VUOiAx0XB08qmrJIJPBIDY+Lw5/AkBzXtHYcffrRwq
iPuQfivZ2BzsbF5iK3mMWl0jRgCA+Bwn3Y3XFzAk6MWp1rt+eq76OXmPuoZplx2UUHj5fYvqZ2c7
1QM51PYvv0B1UJC48iuVomFsR87MjZUL2ql+0Ux/ClM+sj1BbWdb2oVlM5KQm2tvOHamld+p1hRS
MxDOFQ5kZ8cUrnhFmprgQ/LJA47HBWkORFDbJTxr8p9M0XTWwWPVcssUZtg6o274jdxkfKTfhdvo
OxxW3oiQuffn7Hlu4+rLDMVPEzDtlUzilu0yPFL2q3u4wfVDyN4wP2dBizicXCBs3EmEEbeV7RqK
qYvC5OrUDZrkvklqQ3RsTf5mEWQBQioLgFFakDY1JiL5TFUUoxsBH/6SFikN5oK2Z82qL8cAPOCw
vSLGHpBJwOMjquEBNjYCo17V1o2vO/ulNUH6WaM4sbDVmSjcDayFWfMxlfY2+HvNEQ4e73HCEGuX
KGa7yAltLu2s8HikOaTaWpuiBcSGioWM1Iy2ot0u6KBh+zLe4Ib6wzSxhGYwe9clBtQjbfrekQvX
JdUe1z3wxUoiEC2ztRsWrBxgMSrnZPWV/82C3roTqsgY6ttEUv35dUMasbzFENJsUFMsZ9RdEXjj
XnzaC5a0DeM5/Zgk5IVjkHdbhihojo7kUHBmpBNhEjipXS5jcJ4JGZIucpsuQNDfZQ0Pn5onNJoj
n79mX+8nWE41ekxn9o+OzXZ/7AaGh+gd0V2RQ7YiiJyCO+mU4dWZFaB6r4WPFCXL8l8EPvYbX2T+
2W4kp+5ARvtMyLiL8aKxQqpWFFuf0zy4sPcM2UjrEs/AF+1FfKlxHm+CdJp3toL4moFwWFM2sAoM
FkaOq8nOQ1w5pLPTiFMzN8xJq2xfRgSrrjrMudUWX2bxC9wibwp7BXxFc9wFO1HjRd9GDL2/ESo7
ckUapHwduZE5ykTRjPtKBMT+0CgkE9DZwGGF54LSZtaDRyQa7cH53f/xZvUk1i+vTFOKV25gHzEi
rYgC0dtPDF9jTFnVIgzPTupnSfQQJkXCLmgNGG7xj2F8QStubewRlnIVRdN9a6dzRuBMWOFC4GcD
M5CXNb6yMlNV9CJDpfa4zKEVQQjeTGbyXxPpUlyWVF32Csz9/O6RKISxEeIuNvA+eUi6ablFYeU8
AJhShEH31VWxjns0fZDoZOOV59uNt40sRYnUQkB/CEwk3JPbl8vONK1+J0iueE3I0YQP0b5AVWZR
CF79t1hgD0a4in8x4ZUXdgBU7KmNZhXXWOvw1RKrboOfvthVMBWYldkDl0tFgABp9TG93aqu2Qiu
6qU2j4R4tifdeuktW85PAfnDrG0lonCrBqgbr7WTzxIEbcMHWpQ5z5G87R3vYEeJ1W7/fPqPqUFr
jSWTWytF4L7R3jzdLyZJ9DqMW67wgTnLcPYUV+kKBhQdZfCH7y26PmouVWd17q7kSiHyHfrTdcrD
CzAJ546oceciOcjqbrqXjaLkcqNr5yaNz0NqdGr+H2+auPHzPOK6xDgv7PUk68Tq1+iy7F/59VpB
ZY/F0bftedfLJXMuMohgBPVzOMW7RXj+2Tc9vFP/mgu+yuOGF8H2yQNq7OcpP7ht0YC2ykFP0g0b
OmOnH4f8oJOJv//nKcBSJpYngrTg4cNib4hrb0k9WmGX5QDDZhDMROu4Qxqu435EMWcIlmdEUqQO
3wyJLIIY4sq6nQz8fIG2vbDCMeuwMvWVT4txlzfCdFaPCG1kspafFj+nlxiQ19k4EmU5e2vcv0z3
10R+UBB2HD72S9mDkz0zInDLe/RpUbbuDYrENf5YJ98pPyAOI0pk3+6FvOohR27U/RJXHF7zwn2B
0rnIX60yJeCA2a9kmYu6h6saneYXLDvCHia0HBBChl5Cwe4ppFZzEy/2ukroq9Yg3/gkZ1sX1Q3x
KyI7mILvvWqtnAgwy6rbN64hyWCzBjW/nYrJMJmKW1QooLXQnjtepJ76DoA1wuRenXRapVgjZGfj
s06JPzk2jjMTJuijiybSpPKtfUL+AgMqhIFO/+LTgYRbyiJMhKaRKKUC61q+Z8FQvP75GbYM4qGu
dyo3h6ECm7xq+NuEuOJO+mRLObh7JkHshG23A2mT+oXhVAn7cG0nNgDl2UwYg4ok9sNd5kb+ZrTx
rz/QL8TBHna7jTlhLMtPVzLk5Myf53LtLDMjV3/s7WdVtV7zNKHOiU909lx+Xjuxh0EUlb8SDsYl
nzJ5qTZlkMeohrKRj7fs44I+MQHMwXARIhXVNT5+aH1VdOgm4X5Q5YfveRMTPW+hoUqx11zVvJZS
j5bm2htV9apSuIN5XdwOpGkb4dL2MIog2aRUjypji43TrEet1H87bfQD+yAnou/zsN719vT2h23v
X6Co+z89gt0//+e/QFL/+a//fK5L/vM/16/5/Dds6q9f8c//J6HqL1+z/6pvf5Zf3X+/1F9emR/m
Xz/dFR71l3/ZVlDA5wfz1c6PX50p+j9+CvVVX//m/+8f/q+vP17ledZf//jbZ22q/vpqCgnofzKp
hIt78X//5+v/6+uuv8A//naeW4Wcv//5f3/RnyCr0P6740Q++E8BOpaJDibpP0FWMvq7g5LH86PQ
/QMqCq3q3yArlz+SYRTxNf/+I8TnffKPv7nR3wVPWxdDteCmueJG//3D/eVD5M3417//J+INTulf
zZgS37aLQ9N1+X6hwIPwX3bjmZw1rSXypI5M6AmNJRutNC6sfWwc5+BSTiA5BER0O/ULfjk098dr
riWkkMY6oHTR57Edit/w3C22oF0KHD1/klBByIj3rGZLdSCOfeEQZjRI01+ohdrvZloE0umW3adP
QfA1DAW9gz+U1s5g5nvOqzm4yhXQP6+JJmj35eQSlzRz8tU6Tu8D1pPXUyXNaN+IgnpXXhR/CkzI
p2wIW71KO0BOvKAV31WlEFhH/AXvCQvDslYHircQKEGB4jNhSFD3vvOm0wzLSZqqfTcmRKA4ZX10
pmg6NlOAkVLy0EEIEMgHtHLuVe25bNsy6N6SdOiOfmqH76EcvylAGTCTxKqRezkk7eaYqismyHby
7GOFOdkAHGg3xuaTvEpJUQze352SO0LwAlwOCL7IU0A+1Pe/0pbaQmF43XABAgNga78LkL2REp7t
TJDBmJhnQuSGLQR6uh8l33piVwjWDkP0CA0H4YdVRNYmM0quQo34y4zqo7Ny/zZdLsI7qFZ+jX2P
zS0Tj3OsP3SQvWtEoSixSFuRLGhkguJXmRQiFYCO9RRKpM/kf1QopldL0P4aeaglTPZx3Dd4Y+vi
B3nnAUuh0MJikl587bZbf6EHrsoz/XP/RGTi/Or15phH/rZyCMhRy0GWLu/iuPVskmBkLtZ2iIZS
Ku+EguD3OPYMe6J0nRt0P2XzIeAgJnO+x99j3cD1VwwTR7Lb64XAxfCrnqkp3fbBOMQp9SSDGA2z
pUHnL7uIOX1ZojC5AhEAUhwQeb5Hgf2K5pKw0sbiMoSYFh6IlNrKJIajkLGShA8IZVugEznYtN3b
kQnuaqKpYS5P3fKpwROS/BtT1JfsfdPhgRWntc5Hdw9HxByjKN0QdtutPNOnm7pozaacBaUa8/x6
5ZVzsicKOXzubMbwFBhAabz8cXGSkm3awBvWjBmyLluu/JFRho2y8BzBhNxZPmZqnHKpex5985gi
pljZM9JnMMHDLrN6AqpzVvgoSP3L2HpPFLrzO7Zs3BPjdEwZmGN+7nYxLJijH6f9LZ6a9B7RS/wK
lL186/1HP4H6HbR9tleFjDDwsO6WIUuADa7s9l7zJ1uwa83R9XLUOhZ2OD6RoWU1B5qSDn3j2VW1
puErKPO0OUEORrOKVviY2THipcAc6rBTdzyypw04Oo0OJMV+1ecARe1Gn0gYY3U7Ru5PC13lxtIT
lhhxQzR9dci78nFUgjTAIJqPcdfIS2THanfl1ZA3pZADtBe/Luivs95muGos4KZN95OB5iorYOPk
TMTJTkIRZ9aLiW5be8ZFNAQH9HCbJlK3+WwhcM3I5AxzHcEOuYP+/d1ZbA7Qrixc/ZhDB4ZJymav
Pk82+5gNR8585CfFyBTVb4T7bUiKye5gBf1QLr8O3NFTN6ZPwvBGqsHZZBpIbjWBeQpJI662RXGz
BPHDNGa3xTydOhOwTkxeZ9auGJTxGcxAmNMs+Ugn8inHBDVtWehXLEEbVxbIVqovK2mIEk9SmV8I
SFwOxdzs04LDOUKs00T2D0nxfs5MmmF9RisEXHilgp7Myjbb9LZ1ictM3LBVcc5WW1PIeJRrOTne
i3E3pb0wW6HuZDFGiIMqL8xdtrWV4v++Zl1KVtmWJzZjiKvDRpG0cuANlgXegd7WVOfURLZNEn2X
IsK0F06DFLXh8q7tq5e3zw3qJsJ/Osb/dmrekIjs5wDUG4THkg+s4PRDCGl5eXrGBYyrxHQ/8qb7
QVfbMIdwCMojuSILUWaiTiIUPfW6wziqR7ec54Px2oZVvjqDP94mCeMBFYXhs067t5I4gBtUTA+T
/Y4FnQMxNvuuxyBhh/M18BAazwAlNLxYDATd1uIxE0kE2kTd5blT0Ueqzcw32WlpsltvMP2pbLiF
ovzDKcaUe67ZtpoQ4zzW/QeAVLywofh2i9n9mCx2+3btHyUErrXdDe8R9Jd1lvsfDDUQscT2qjeV
/a7lufUAUU10GFzAiX70xX6MqpPsv7to6l65OzgIUznfTgFwljYbq32edceA5J293417xfiYZ1tD
uod3v6BbAoQTv9SR+xJEOblu2p82jp9jXxzc4I2IkTP2KyS+qXpjEnSWE9GInjuuhrmB19ww9c2N
Hnedbpw1OQX+S0kKx73be+X90op96GV4bIly2oIy3o3zdWOV9++NHWNl5pnn7ZM4QBouWYQX/fXD
uygUDGtSQWcEisy04CKRDUms3iFtAnHNlO73eATAAqCPTVJMCSRlmLVQJd1QjQtS6zeisVmWZMWj
O1Jnt7N7lk4HxWiu6UGbDxONm2aYMSSwJWHjkS8MuNrbCjoUJpg75nAZaWcFDWqcsKEgPK/2xTfs
8KNb46VN9JxsAwmgKdQ0LtJgn41Rq8S5wEaJlrMSFib0rHnRNFhC9WZVdUQL1jpwnmTrOLsa9jq6
RPqWuh3sG8FpC4VFrK2pcqACNVgER3SMqieFt4tldVgmW782brPsmW1tpWbeqXDtxUlwIHuBAYIz
b/VgorXu0F2PhGXVYYqtOvU2Gh3dHVndm7ocd5WOhhPT7G1kd2QYWjmeN1HuHcuS22L0d6gjV0SG
1CvSYSkHGoFPbPDmfafi/dRWu1zVSDpZam283n7TvsnQUTZ7BuYsGVzB8pUnkxNqBIXpM4QAGKSz
htqHeL5WhNO7nk+XNliK+Vqvt4OMOMJhBkFK7AGdW+s+JK+GKIiHNCkEWnP0AQJvgZe3IQtLAhfh
hG5rTO4hTDkyW8ZtELE0zFPEPh2nMbMBJAd4wtmhPLFuvpE+q39LiFtH1SgLqya60Yq+i4y7t1rg
fK4mYMotdKnD6M5kSVOPXMjr+ODsvU1TdAJpdAjjSR2DkWJhNHO40sHwHINpXpdj+TFQ7R87bIBo
pJLHIkEmAjDvrHyy81ZWgB0NSL191AgF1p4N/68qOvGmVNMi8GpfuWcOAmD+cF1viXbMvjLb73cw
AgNcrVkMpIGJL5zqXwaJ1uOSNA+d4G3zcvwnHRUWEyK6SCJ5CQsg0+aJgpTNU2y6FTY0CJJyDzjl
u7aMeMB6xpNsqC6Erh2XimE/y9pVrLs/yh4Cp3uLgWNZtDsxhcNurKYj3oEvhj+QnpPo4Czmo+wd
1HjXwdFEv7Bzoyn5OWKJ25lBil3FNiwGzySHg3TQ0K20vXx0TkoWRjLF+xRw/Tnt7fnGIoGSopjL
irGGeIka+Yl+sNs3fo9uUqQ0xBju2GvbE5cIMqEnu42RR5KKPN81Q/vDb0DvkpFWiA9iqOClpjFI
fS/X96kIp0Mmlz0F2JFp41MQzDdpOltbb8iapzL1kE6J0P9tMpQybe1XrBDwJQ5KZJt8UvW209Ad
sNwvB5/IxuugllBKQoY0Fsu2O2HZOs2D+O5C91Mwuts0Wp27Av1S3HwQtBzf1ySgbv26C5jIuvWh
IM2ZvQqLAveejNu3XtnhekHNfPDr+rW89iaykgmilqrH7dsPu8JzfiUdlnU1LReKxH1ATR1kucHB
yKoW0++ZnHNBpkpUbvGdZ9AeSecd0ls54jXFroTARlK092jUvRTEXWh59/i7mD/fD+yeL5YmOLUP
CuIPCChDpcr178+PEOqeDW/3xY9s/qs/QvtnBOrWC8zvqzj8vrgqe5p8fl2yjhF39gj+9pbMMIae
gZgAS+KVjaTDw0u36UYG2Gsbj6DyeFawRMfcmc6zILzTpYq5Zzew3KlqIPinV8nZB2d2yAJqe43k
lpC+0r41o9ixuAQAgaZUVJdyQY0YJnqLUY1Kjee5MgBnvZZ0Nb6Hu1Xony6jicd3Nw6tdZFYwzN9
I4pywJxrGlnznZIM+xzXSjz6QzX+dlPk9PDOxltH2w6yRCGLX6qNnZsEAqneVtKg22tS0mJ53L8n
s2n2Wey4nynxNufCJTEasm3DfBi8b9E7xyXNd3VbRDuoCyvj6m+JxhZbFYp+n48gd5gnQ6/Y5wNu
y3LQPzyxrI0VE5YWkzBaE1KGeZIEtSFitkpi6HJkzLefExduKq3JhmheZuY62/VzXhxC4ww3pOkc
zZBla+46czvYSu+8UeqNanBMZZye4KUwg6fdZ381NlfCbJyI1zMYOKwme1nQC65719W4NbvRviyD
uC3q9DjnY7fHtMpAVilErIzjnYh8ozwatioggc9vk+6iI3NBu7ALEfBGLqqNRi0/4DdiRkUZAacI
Z/3JA7CqR9d7C8fsyfei8uiZ3KXvG8VxLOdfJXyCiKV/9TuP2ycfSUjQuDysWX4pvpTNEE4oK/du
0+yBxoD8oYOFdLfOj9IqyHfWx9mXzs+RPS1sRfGWgK93k+GWFhVURtF+tWW0mzpOyh6XFcIV9two
Cyb0/CoS170pydtkc8hzXStnQwvKkqlqXfikHZQUw96pgQ7nwQhdd3aFiM65ApFwbRWzvqv7alfw
bj5pyQCldOTBhF4FWrEEmlmebZ8qZlxgQMFABRRr2fGb7zCtHEYiiddBU4pt7eIaGfrevYe05q4F
i132EBHNpb1El8zQaea122CimB/YWo2/uyojojQgenoCfvFEOgCFwXjtEaQC77JjKE+SN1FMaATK
+Cliys/6uQiKLdOr4WZCP/9c9qa/sfFYYKpT5ILlSJIfnbiR25wY4B3dZL0fI2SQYeGhZ6nBGZtB
hDEL7NF8ArnB+IHuzdb5z8Jq/HjTKY97VwS44+J+eGItG55ZMrVH3+4pUtwC5XFCWB0rr/M852+u
P9z3GjN8YWZxKcXQPjUBgk0XRy852ECEW2i25XXltbWCEcvs0JwGg4tOE5J6zKcasSjYnzXzNJS3
U4h+dBTpazzTcTt1be2NtIffXkZNg5U0ROnvfiiXp2pT8H5TBNC5isR5kyBaSFvDWECCaIQAIK0+
JnIpInwTVaixmubmFBCYRkOeClp2g+gPTenOwFm/goPIIYfgAdcSwSCA0vB1bua3BGQH5hpJ7DmV
GAwLbu7IWB+T5klTaue5nvsz0opqb1oGM3NLEM8c1xdn4c60hTzZOD2xi7EZi1tMajSpuMLxj750
HGph2zg8VqviYtTvQbo8jNTA8s/8sSxo1EYHTElE7rzYRnsbrmuYmaE/rRhhziDEossI1mGbuBNy
Su3gGxSSfr7P2CPFKC9Iha1ualG/d4kadnOCeU8kbDuxrrh7UiFuHB43DtY9eIsgao2MCAqxWQmn
eJUKmyBNhrl4WyiksiA/WV3kMj035Ln5qNFG4m7j6oH8hS8gbjs7V8+BzpLXNiLOUjSWWPsIeVYI
C5wH5DD3CCGj13CQPO7HAl1tSjwoERz+Bmau9bsWFrKX0H8JAnTAICpdZPzBTmXh2S3lbpkRjlPR
wyrz8jPyX1CoKdniQqknMTh3JYZo9ArJ1nTikTo1wRzi22ctw9cGhNduSmmLXQWbK4XF5mFS0+F9
EMj3ppsegawcefLfGoy7E4Q5v6k3mu1cJ7mRgVKtgtDBlJcfAjk+k5BzNQzIqdkJxG5Bc6UIwQC1
ZYUWE2FSxy0OA6VDZ0iEt7rBM5r8BGbD6LDXU7Zj4a9+qAT3xkjYGksCoXadi68C+gGVhQR5XCyP
olPWTwyiyQWaORa5LDk16Og3SWy9CuajX7rmudOb8uQDiVi1OsG+6rrJLs5/lxgraAPJekWGqshk
R3Pnb1tTvKKFQIxWVV9ecpWLxKpZ11ZBylHl7SpQKs9pq4b1lIXBtfiEORAZniIOELLJh2zQpC4a
+mB61iUzyoqkJtBsU33E8/XOjJefrsJ5UQZ+AecRw1gcRHLntGHyVc3jIws/F20ND7BgsHbXd2TT
XBHyODTSQ78Mz6NmUGW3tAO5CYZNbSaifAZGmzrlPUqguiOkYSo0zI+OC/6JyR5yfxHtCdv9zSQm
2YpiDjau3w/biNZm7SNF3i5jPnw0HIckltfPfusdZVc9ZoF+IA4G3sMcNA+sZ+moZu+NjPp7mPLx
7ZDiqEtGN963kz1uDKrqR1OmzmNKfPtVfrn3xvhHrdUFLz4kIdd6NHHinINuYQu99Kc+8CPsKjM+
EoInx9haI1wCsKpwJnesayMbmT3W71M79Fuf2/rFUknwiwUrVixFBCbt7Mz4McJUObZ3ZNwi0Kja
g7b0L9C166o2e1GbYLfEPD+d6DQWGC90mX4wP36p3OmbIx66WRQ3tzB6NyEsxRHd/w3bjwBpg54e
KqeIUAPFAPjGAPkgNVCzxrnUwgaKJjSTpj9YzILTqO3pMOfxvinr89Bl/WZSY0knMfYkDmi8MuOJ
SPaTn+DE82prXhnygVeCBNqNz2GP1oJhUx7fJKGbbwKk+T6K2M0gmg8L3sm29KcjJS3OV7YDeOj0
cAv0ZwP/AXqnE19boRGJbbEoOpX6sehZ909jZVGhN+OLRYbkmbyIE/Gg+ZkYYHVLoYgUts5fkpEx
YgLXC2riFDx3OA2Qq6MBxcS06zDTp0P0sYwFCh/X35PeeNtEyLMx6wCXd34mQX/vzPN3RJU7pUsE
SyA+NWxoriJxel3Gz99VLB66Vpx7RpoR0CHIAfEOKZyL7vXbM0EE+o/3lX4dmG1nP/aec1cvo72b
oUPtbCkKAsypxQaU8TbL2bNnN8Vd4GN+6hq3+k126EPpzI/wfDDdjfMGlBQV+9zjpNZ+QuiX7V0k
4uj9rFBaLz3HkwdvZls37U0baG/v5z0H3GhxQnS1jxHMOShlw7erl7scbykTV1AyNQC9PvjRB7W+
qZoxBlwyruNp2hUBs3NJHfokQ0vfq8Ryt01MA0Pms7kr2pTkBH0ddNHJECrJ1MtB/lmaJ0S4t9D1
t1N9zdO94hDbsjiYvK6B33WnKphIip2Y3OWcTLZ5QJabCJbKorPVrgoaiOZ1hvlJufdWg+gqAmqx
kykTELC725S62LG6CV0XxktPUIix1ZDEP9U4RVqk7q65dJEFp11czUDzV+VmXy4poYiC8geel8Wx
1Gqv63aTFkFzwFwOd+A1TBwUf2hgaBvCfEvzl36FxvoRUwatUCt7xzaBttfFiAoIE2DYlO6htz0g
gdV7N8MWmAscHctAfKkOjmC3MijQrqlhjnbEhzBj7wGhsjwGFwems9rrBLQDqvsLAvHqjlMcNnZu
JwfHH2JyXHx1EJVK7X00kylet+8Voc8nwxCHy3ByXzQd/Cpxs7OsJaKyBj5V2LCH6PvmhvbiUxbu
k0pZqPG2Pg2s6ynSBIoBLId6pZK+f0xEP6xZpqVbKECbOMQfmqDO3owUNkk9UlLh4P5Z9mhYZj1M
GPu40By0CgeByAEKzdS+mqmAyZOMrN+hg5lnsmJusF3fOX0afNFePjblIi6GxIwSIwf+l1XgJ9nP
1PGPNaXTdN1mzrW6wTgTP84kd2ypNLEcxWT3of6qXGhu8zU3mVUB8nXrcVDNfdDZn3iRiu2UlSXD
/v9D3Zk0t66k1/avODy+qECix5R9K5LqpQniHEkHfZtoMvHrvVjl9+xyhOM9D101qbqNDkWCQH77
23vtccemgHx46zw1UXdEnpy5fQ5bN+y5oda++8twzAefsCOcTnyiK6ekbF2BsOERCh5/OeZmyJyk
fjeJnteRmt8pxNHbvisfEWe5FwxouMShbCdpHwlHyE1TltewqHd2jlY6UZ2Gl8Fc45bZhflLmjW0
xBqP3BONpWz1SOFM/Azzf13iMobELEZ8iQHIqCDqmfXs/NX1HAbWMSOHQCt4b+Fxs+ApAb2MOqFY
8QJ4bA0YMJmLRcgYn0YIhAt7iNdNVG7UWO+MBqCmCZBBMwMx+lpL/Lv0DhDCh3c4fwUc2w5x8SX6
e5av71w43HS/oFM3DxqvO+gqigl0727GOT23lQp3zsQywTHquF4gluEjGsZgn3eE971ofkjNsdvW
yuGvJz0u8CgMFwWHqEXJXa5024cokG+miXAnNHkfA0jMQE6TOmsPshwFRbdUevk2pQl6IcPOPdBd
uOyEE76adhuvEx5oZC7HTe1fm6E7jLV169n4AqRPrbVE3luIGVCAHnzB/F+e8yh8aALrkg/o2smY
rWYGomaMVzQQRKsJQD3UjRlAkN2D44N0O3YRZFgLiQpXHEqCAc6A1Yn9FJkWsLk+pDIYf/7ol0Q0
zXSVO+LMdL/AWuPtPGYY7jcElqlUEie7sv+U0kKyUJxQ7vhHevM20QA+lHz2nOyhSgMz8glrbMZp
SLY1h0RnkRJZ2mB3cnYhgdx9FXHQYf0U6YXmUB+vBD65KyX2hLzazHphAXuMc2vjKbGUfnblkbmT
AYXgGMXUCXKRzpFL/LpYpKHk668Nc8sswq8LEKeszObDcgfrCdf++9jM0xWUXdqsSieQ67zuiKX1
uMy2aTgCyRgJmK0DLaJFBnvtZmTpJcFbyNCAWSkD+nKNpkbjtmZ+l01kHgOjfEWxbVYcUQ0qyv30
aKdJwu4JdsY4JzSQqGylvOiXZTgP5Lfp+3znk4VNyBnFrSBITnB4UZUWRjq8ZDzaJouCcR/c3FC6
O06ap7m9rwSGg0F0EPweAThZoY9O6tJExaOWqnkkYoWgUTIu9WoL9nMNCw/DwbzIzOzD47lkFuO1
mNUl1Dndc0MP401P8ddg/xq8lrVymt/70TF6if7LdR4Ux6mRioVWz7egQR3IMvtQduG8C0lQLpJ2
PAcerrv0kOb+JrHl2c2o8xzKNcy9fpWicMFotr4D0U5nQ2U5xFVecq6/wxlahSNx5DKfUorBHWmY
oMIUCbdywmIzvcZG8tVM9Vvs7So9AikEUdYwuZJWocEGX3MTwkDVd+yZT6ZgU/A2sH6omPPgFzjh
yILCxMuXg9wE4g2U0eY2FmPFW+E6+CiN6bFrG3iCzkOh1GfpOOjYOGmIHx7SvgJHWD9mUxQcwKuF
C2e2D27D+zERETySad/NNbCFmVXj36XWsglQK0P36rS47seBZCUAG2PlWzQ+hGbLrZWaWyCrwfCq
qylceVPo8P+j6nUyYXiACUqwtPrH1O3PpLd2gVd8Ta59a3pYaVlbGceKIE1k5MEdIkWNfDLeqUFe
esDYOqDIAMIqoDUmAQ1DmWtx18niHQuGfg27lYG7rf2zL0pgDqYMxMKvYAktjGL+rsj6r2QXdxsb
k8LzPCWU93hE9ynXoTga4+UU7NOutd/gGd0zkt4Yb2NBqcf4921EAS2HhKGv+dCGICs/MoFfRQ1z
zLO29h46nMTGNhUtF1JpvII88G868qtzJpEUN5nHaK1sm6u2tmA/u31yinG/XcPRkh9F5ruXrlbh
dzRmYO5nNeUnxAaTYqiAlYUGWUlgI695XW1S7lk+RmvXh8gv0wgMMrgNgjOjW28F0FF2vz7lPrrB
tuMWM0sS7W01ecVvx5sJrkQ+Kk5LVfCWJouAsTRMpu2AL/9hsAu1NbnsNsJOvUvRVPZ7bN33tubU
PPiuw8nG7zBIq/SkbDF+IdqSNI+STcF6qDShPyjx4NZtduLdak498OxPU2jzOo/9sOkJmMC9pIU7
KcDHxQT+o9ECcpHn81brvl+4rXYfbSg135TlmWtR1TSKExvjsEeTlVei9jPcnqLCewvd/hXHgMUa
Ndo46QTr0Bmd341T733zbIbqDKuGfYYvss/MJRaY+1dXlU+Vod7G0iJe6ib+VjUc+kOnuS9YKSAH
grzO+E8OV74wqeid4kuVUTJPKjk60TOSP2gzIHQchoikGM3bTVQMHKzNF9kE8bSCQQLktE0xzzfU
I8EOlEudtSNbkoStQ0uMxCnh6BtFqciT6aNpBWQcBhleaaJfuTWPLttIQG8T5PItyc4X79a3Y7XF
ktkff4yF0YAHASH7rvhMLcZZ8iITcxyxDXJe9i2AIA5pey6XaY+XNI1H1DmjuS8NvT1yfQBBxRcc
/QNfPMOhAVLZNbxo7sdsA6xUZmzjgvQnaWV/0VIIGCpNjcpdUcIaZ/84VpOLAyf8MbpqxBXSsDuA
MjUSQPLpSt8Fd6kF9E988HyDFKK8z8NmUBymnkWY36HpEqCcDljT4OzmOnhru3FYV27Lmhrz8yHP
KdEy7WCmlLg09AM5IBzyATsLNGMNS58TczyDBqDdhDFy6DuQV95gVV9x3sAJNNrx6E9y3jQWECLi
BYAXmzFdB1Kbb/PsfvNY+vTtcN+mk3tCfeAx39qG90unIF9o5614oOnqjLjnsd8s0pOhYhe2Rque
KNWK+HhDA6XBES/GRFHjCnF2PI2kSb4zreVO+EFpMw94PU/l7hiDi61gk2f1ubH9koRuNHzfU5xP
rjcM78pqXSpiIH/MS8RN9HprmiNS8LDECRN70w5wXLpDrspWftw/VsXU3SiLFceWL/5eCaJTPbfl
Y+VP3SlMHcxGWFDzjS1LWoDMyvgmTJqtu3yIf5sk/Xap1Uzs9EwFX98noQWwOlKPVWK1K5ir5bgu
pIouiVNZm9KAKVXdow1mL3mMYRdh0CouIuWT78kWcnheM1z7r6OI76dAP92Tyc7WpUfRZdeQXOw9
/C6O34onLagocvuyZ0XFfHOP1DaXCuEEz7Oe8YWNk72w7PhX0Qg0C0FqesinhsCeU7zhv2uXTt/R
++S739JIofk1bXM2hehgkNvJi1MMk78KYpzu/pBcMGYBS8L/U7Pr9ONxX8X99NsfquZZYLMk0aGn
ZVyfMa3xeQsTuDtE2escpuNHXHf1H7OBnQGrryh3dmsNZxvzDkKDmYzvqQyqmXx5SNRYJEjK1fCH
Js7hISpmc42Iq9ZZh2HOLb3skZoVWNhFiUlEjdltLAi34aoqs102COZ90ubRzZq4FZEyZA+fVeLE
90uu5sAkJD+jeenQc/b20NvNMo3vRBupAn6DMP4wel+fK6p2tjEayaLzunRvAljapIRtlrOqho0F
//cYTJ3BgTBJVskY8XsXMlu1FCHdGroXXo0WvCs/KT8y2Xngn6bOZE+UUiJedKV4wSWQoTqWjntJ
Au+a+PLNyfpimeC2pc+X+ry5DsJdMojg0UQtAwtLk9IFnOZ4LjM9f/blwMo3n8uPkK4CVoV2+ODl
+Ch8MfcrKbH5dF5mbuy8ox8D8glSGF0vo+mh/wE6P+Hfp9/OLuF4ZnWEUy5PriSU4OLTpraj9clH
RBjKWxQZajvFZbah7YINwkwIWBQyPRZuH64nWlWBv9tLxeNhSf4+OUkRcF0paJXk9/IDmH0CRrAT
4kubNtNn7CpUQXAQ4I1lH/4eIxU9lbHVvUwx1ZZAMMKvOHXdP3lRjDcFqPQiXdWCbHa9YsdGIWwW
XO3hzgSgzmEoCIpbx0tOV0HVFN/lPKavBgu6dWLc3YRhlz8YiXzNCJWCYi78X9mg6uV9oFlHXRvE
q0jU6mSLtkTynlFI3aK5aLvOl7Ls+Gtm420mg3t9KAyLxCDAEJBRqUN/IqlhCxcuTitm2iY4p3Pt
7GrLnlaxPfZ/Kkc4G01Ict/XaHTcAnkJfhI3u7JK08swKvrHU7KmcF4RSAXGvQLT7YXhNUl31FcQ
u8WaSf+p4O4l77XUGaAC5DXNUS6tURTHpK4Azns992tH2lS2zXX/3QdjCw3S4o7WOOw8R1Tw/Wx4
wwowzXhQMXRJNgng8SrXPXhF02961QFKCefh5MA7wPk6uCPLut5ZG1NjvkdNqNdszVi9yZvdxQj5
jLAGV88qTtWtDZ4EwaiLS7fUs/ZccIDJVNBJ5jp3H15V3nTh4NscKwHbUZbE9nHjOQbafCoKY1PH
kzyKcUquRC3sVRhxsBvNwEJPq9odVEs402QV42PpIs2zTqZisWfzQ1hlekst5QFBCc37cg/HU2pW
33bmBTet/fJLNTjBl6TeudU6CCmyNL8zl2aiTVEGgMS7utsYVfVHT0PVkpGrevKARUgRwOgZK5f1
7MrxbDwq7li8y7Strtod2t8M/zhlsBPGjbU3SRlO3rK28USR38n+iJ42otoY9VkDQATl6IXtzcca
eL+mQGGIYvQesugq03hCj7WbpzAGA0MxfG6+ZCyV+Wh6OnHY6uGtbcxyrSdMNJ4XuUSd/Sj9Ad13
DzCRcXpKcWxSAlaq78bGlCD8zPyN9ksUFV1l2d1hnuAnjLcUru4d5plgLilGnKaSs2Zgew8g5FgH
WLr7MSfLeonLadhA+g9Ouhw4VHj1fHRxF9C7THcC+RmcPCZLHdCz3EJYg6cIKlmd3wx+wwO+DAv6
ndFfhRHMj7EReJvBVubd6jVyH+ggrFtG7FL8YEOZ0RMnoRJuzIRjDQRL0nPhjsrhsWJ0zEDZTSl7
Rcdm+6jJ1t1dnxm/Mta61Zy2YOEcvOLHKe6IjBZ+c6VdAiJqT4fwqrKB5jhcITDgMmt4slI00UU9
SfcGn9tey04PL4bVey9O2ufbcQYuULgJ0V+tqJcBFKt2ONnlwQH79zU4HD093QOrbOSwraw557HQ
hi9dOXjfRsQpOGppA60TsS74gZA/lDxyvsPeb0hyvp6BLMSUkDyauWusAb4iufspb1aouZLLgLIh
K4xPDCP1oyhmcBhxdj9wEukEiqTCWwyk8VZ3QK5h4yS4QOri0ezbz0BitdUzxzqSzMWaLz8s8KiG
9gxY9ZTNwn+6VxBsdGfeF/myIYnr4IFnlsrcjV1M2TtZ54OY6o5qbI/mhsbwPsamgTaa9+kPBi/l
4AiL+71Wvn7KOmHgJO6FxeYdBfSaVXieMAoYp6KICoRyUBa7NO3rh5p0cLpww7nEbODFkBYkchgn
Zml9OL2XfCVRxjtABPu3oRVyXc8YlRRptAkCTEYOXzX4JxaSJlLvFL/bLY4otwrKc1AH3Z7CACj5
2reTnVvEttyFBmq8YtxbkH4aNlPNutTgj0e3TFt9idlpraJ6aDYDCY6bjf54coe5fLAqa6BBuKCK
oNFkwOgaMrG9pTwhiZq8TLNqPg20vkc/TLqjJzEMl7mrcbxaIgDfzdFMwVJ4Fg1SlJEKVgr8XcIE
YQiMNiok63XqY18CxO3ngl2PYokjfHgCEyWUaGw9vR+TKteZdjD1tXFcbelrQfvE1MAiBgJ88TLE
8Yc/M1Rv5tAFWZ+7SD817bbn2WVJu6ysMljltRY7YlsdvAwvcU98IcJXV6rhqspG8AYxj8JUBmiQ
wHlG2fayANdyNATr3uqcwzh68iXiVz8SmhkWFEL17wjOOQ6wATOyjY9zVbWwnmn8cJ6oBYXIHWDk
VUMHTaP10207lU9gRi+Wa0T0MNAHqoJoPvo+fN5mdqNl0lOTlviIiTKz/NUUM5oy0OZY3armF58M
rR1kJe97fivbdaYrSVGn2aaGcLHL0YaeC+AVy8F151V0rwZXcNUvAkb8vsJYfNQpP1on2toMM47t
RPoRLOyE+RHwBreAhgD3c8xh+9gIg2i4tK0XJ6RPldxFeY0DysKGJqxBnLrldz2SWFqQl0/PjitY
B8OcoKg8qLz7msrBFzXH5qeNjelSdpHGBsJTxTNd95YJB4BUkZqfmZzGk+NQBdDqwbwEsRsv+R6U
F9Kl1bXtVPZmZzG9MBhwTmFVppeJ88eBFT/KtNUVoBGY6ni+sHmPA/A+iAjBuspd/xJOvlpl2oqf
Ww5fb02Dyq1tLzqNcaM3WesF39SNZh8OvuSfqQrGRYxLB8qvXTFkOSUsLXJJ9PGU3oOtpf8JE1kv
lJPnBGh0GkKzymoAcZmfvFCYPtN2EqEdGxMuXu3KCvC8a+9RjaMPM8yKW2wHatt0MLRnLy+prvLn
33FLes/Mnf6YGZO/k9XdkAW9VyM/j+aCtCNJ/pQXbpCy/SqxtD671GxTVi+6g67t5gBclpOCzROT
ODg5HF84K7IeCjs9VSyMiP3PlKjsOIEx+JrGgljnnUaEYd0NlxxqYG5xAkvy9WxnDOUDvr3fZWeT
2HQsQXYgRFVseO79oroo/Sbk+cghUe3kROS7ZG3xhXFdHvMhy/dR6nuwKj2+pzyJA7OlPGRMfgVt
PW6T+40mlEG9QcbrDwGS05JbLlvsiNCBJBpDgwPWx9xT9n4iyfLJcT/5CXE+vlg4ZJOtUYYuMIyY
hxiQauw/5JZCTH9l/BzTD8D5iwr0ne0rZ6V9/kTbdwKWh5PaMsjXZ2URyFHdPDHYDh7hG88H9kbZ
IDjPjsLdau7XDCv+k2gz9nzE0WJ7Er+kFTqvsPf6nRqEvYxhlj6LtEYiUNJFyswRcNo6wZXWxCNv
6OCo690Ozhd+1DmWiJGe2NSd6Qvj6t1OSk/MGNGBh4HFrt2KLnTeTH+MoEVJ6UVCk4IxEUZq25Rr
W6i518syGJPv1K2cnV2PwcbCLs3OJqx24l5O6fIV4kAeeurQ8gXlpDSU+b67z2GIL/rgdu34FYVW
9AJjqHJRctnqKT9ovzva5DZugovNUrR3uaYWj3Oh0FOsu2bcqe7yF23alq/bOdz2dpldJn+0aS8A
x7tqUVyf/YGAaoI8vkNf/4YreYdxciNDgyFvbFPFARfRTMNkPdMDsLMyEzaJhXUFj2AbtQceUtbN
pgWp3LkidV68dijeOeMEy9Yk2fwXe+2wq80k3g3USO/Kxu7/ZDMOHbzP3CjL2sFs1xjYUcQ0rKE0
YOYaonk9tApa/9AZ2yqJ5V5i5V418DXRv+afDgvAgxdWWDqncmLlA+GOE2MgbFavlJs9D+xKKQNg
Y0GSsGKLXPZOw3KY1ZBFa0VmnUx3KHY6NxzK4u6zdp5PhyKGA571Np1LHeCKReCr9G32G/abXIVs
tTg63ThtnIM+HX4LPVmPbp/nr2mPZ3nd+CzilY3bMbPb4VS2ePEDPGYUt/HdkH2cPpXKePcKDpo0
PVoHKnOTQ5128kXNiSLQUTq3mCTRgQBzvfLNXm0yCqFvf8GGY2R3/HQnZ3BldmuEm8b1g41N79ki
bbAAZ+KFRxPL+v6egugjEs40fswMI0bbf4GrS1eFyAlT2E0560VccXH5vtV9cmOo1kw284YAsQ0F
t7SaxV8pbhtVm5O3zTjubIF04v6QTMJ/9TLxAhLSyU7hwbtmEYZjw9P5WjjZtE2ZXLYDUaJ/VMv+
e1z4n3Kw/zeo/F+yzf+fSeVL81M99d3PT3/+1fyviCtTo/vfx5VPv2r5z+lm/vF/BJWF6f/Ns23X
M2ke9jxwd/8nqAzn6W8mNbiOQz4xRJuluvbfg8qW9TfQDAQJTbLKlqBe7V//hSfvPags7L+FQjhm
aHNnd4XvBv+ToPK9Svo/emsNSzj+/b/iv6STG7JkoUMx6N7BGe6spPn/aKMVnvnPAej/+NH3QuT/
VCKdA7GZusEo9o2q2HxZAxCvOXDIfVY52V47sR5r9nsPeEfCM3lT69inlfXNNJPGuzKFvcNA7t/5
kZZJls5u4KWs5s7WG9+vqw2DELlAVrbOQdND8MP5RV8ldjLQBzqgipYOw7Vps1Sf+765op9NLyR6
WJRNXveRtWn92ookeeJB0P/MJeD+qfHZqxiAZm+kOsOnoJ/1owSX+94H7By1g00nmIfoo53GgUUN
CgNQ8tjGuuqn+R9pzC3pUMNe1lLYT+59NAf4K1Y1ZYfM3SVVuilIKtRsSfJgZ7VjdYCmbWm+sG63
L6nvYIUwqmLNDT3Cfu92OeUofvHWm36G0yjDfqzzu6sa2Oy192f/NwkjJFqMAJt6GNJ2DwY4XUua
Ri+WH6kF2pv+VpAWV0Ok0iMtOProhDUJMzm7zs4K8E23hmyvBOnFSorOOZdWlh1DSBLxqlB2/BPL
bvrlxFDdliMKFkc9Xz24HmoKpscseuAGjPuvHD1EBkjrPOyis2yRpJzUty9ei611aXlafU3WFH8M
qaPeR1aCV54nhAJxHj5CqmDmD3v3I21S68nPEhqnWsulN0WP0SWfSWjjvGK/PLcgdAfD1Fi7jJwl
adXy3BRBuecFge+OLNpieG8PaopogCvsMlhApZR/gEFDXe6kFM8+TuEXU7BVWliE4pMFn2D8NAxu
tI2s3NuNOXJCYd57Dv0Rcn7JF+TZ5olVL3U52ldC93C6mr+f/eys3mAslE+U5lIer4J0x6+QsV7N
zdMAG5EGaBRmZzlQ/gK0GEHNzUhTLnUT5AzVxhT9wYLQb4JamFuHvX7FCjfI8bInPLCDfrqBNeru
RCFECoIRC28KpEnYo4heKCBtl4SG9BlnZbXzIuW8MljGV9i56Wcm5uTsMhxeLCwLEh8ztW6qIEMU
6QlcFQJB9OJ5Kvg9SYlBuMcetyIO2ZwxIiR/RkQWjEsZyyEFUhN6O+vXqx6Usdc9TqSIRtaVToE0
STZ236V0ktvQVemlScp0S8gnvEvW7W/w3M6Rsk2mHr4Qi64r2tsY8sJLA4tC7eR9gjfa4GwPd6Db
0DQtmEAhmi9sfr/vwOnkvjTSSWGtQF+AYe2LVUO4lRZUsE4d7B8e+KSXMkwjdoVsBiE+Q4FIp0+d
zvE7Puzo1IyaIEErYHfRAIGNjnkng7nHJVvKNzDBzktID+sDFanDr5GqDbEbtQePhnfmMDJUEY+w
3GtrjfYvG0+JAfg9rfY9Ros1dzT7UNOkgMfKNJ/ihh2oX9F54+jSbo8NVXO8qKBvH+/e/g3QAOM8
BDHK8WiWdHck1RhSQ5G5dbIMoDxcJwaVI5dCsEwavl+ettXNMls6uGQe2h80XFgYvmk14E8YS7ku
3GjY8xP5SoWh8eFpQ73gXxy2CtHpeWj8O3o/uRciFYiTwzCrdUSGaeukGgdOahJfkYZJ9UFuv5vG
pGE95GKbdgpixNh17n6Q/kzUkOMSv7o8OqrkFIvrdTFnSXHwMyAUIs2mdzrq05WYqbQYdEvCdpyN
6ajpxeXWiP3osZ8j9o+qn7jL+cJ8ImVpPjMg2nIFjAi/pRQ4aWtf+fsioWKdumWf7slRNEi4Ha8m
do34J9FG9oecgiK+SvxyDXooZ4RTSmxZDKB9YPpkoTUH3WOApLzCTRVvIfXJSyYMectDf9z3A/Hz
apipSxqM9KLK0YXqDzzYM8bxbSiwruqZofWGexlX/kyuC4SUsmpziVTYAz0MZQR/iHtot4SZBb8U
9iZBKbfOfrnCGjtI1ujkE9ShS4ou6N+7aSzgGLanf4y09rZRE9MRSnSpSTaqyLrbHKpu3yrHfcJn
Nu5GxwhOnVnoqwno9c0hQEuIRpXFywTX6jQ7NRc47odN3EN6HZG8L6YylV5MYzyzKGz1rQeMs1BR
2m34aBeoVfkjh49Psnn2g/ZzvWuzmQPpDOPzj2dkiryByjcknkLill7O0j0LFw3/62h6Zpes8E9V
u2bssq+mSaZ9HyOjY/otPxJdhC/W5MkDCSyT7VhSzc8JR/Rr0iZyP0o9/+ZcaqyGoA7PMHpSSiRN
YjsAbiHv8MibjqKmUMfBRcENOA35ssaE/mMwjWEXpG+Cg9N6JH72NLl++Dux8EIB1s6Sl9JBfiW7
wHjLzSw+9URTTibOxR/sOX64MONoBtCOkWpgYQ3+LBo/amUbuF7K5sMIeoJIgYnlCL+lcTQAh24b
mxg3x3HG5UWO0PCApjRdQqoA74DzhsiFrEvGbqLEnahsFh+0S+Vpgy9Q0mszNJl4wFWRHQ3gUh+i
gA9A4BFHXNiiyHnmnUnv2OHUr5VNe2nYUpwEYzXlIZbnT2kzJHsWetbeNrriacJacvac2jnYgfCX
LkH0ZkHBCH6QMOlZBgfevPbjStCgbUfGqSq95F2OnX60J58KN0wVkLjgy+ZHQVtdtJjRk5iD7Ozm
UMTxzL35nnCqe2up2hS0JvomhlIR0gfImh+uAKFJk0KIMjy7pm8fZBQaJ1+z540Mimo5D7FRj6BW
nyNnqLCwGSxEyUhFFytys4OL9/yrszDvpUSk21GQy6rQNtcqHDzSOvAGSdfYZ/qBHGAMbvBpy4K9
RzkKKnALEamd8LTcA6T9KXUxLYtokGsjz+nl5V95JEUPgIKCoPrJBNf/WAm2gwaIdgydfrvHxVle
cCL7By2DFrOhi98T36z3SV1QcxpUL3bNVDbYdwHe+QS6uzcw5Ah8wMuOfHFn8rxZyglNJwdiOuLP
HaV6r9YI8QIjLPhLBZHmREgG36fnTuZHpZzso3Yo4sxYN67rWMfngrYIBHxHrwwl7bMSoWStPwLG
dWKoL6Ez3SUFek0IwnZRcShcrFfhMLDttznGYB3uxKsmNElLpFCPbTbZ+7yRzhtxQOuiaot1fOS6
uxD/nty64B3egLj2HDkoat16Ux9uE+4dV5XDZkBFIvyDYQ+fVRW1T25yj6s7yZ0BL+14zeb9zhR1
s2IVNQ6OVBjfv/oJgbYtx4eOI8aWO1iEdy0asH/OtrOJStq+uUVHb0qY0+sAc/jZBC75PEVTeoJ3
338W/kxnNg3TexwSZbvJG++HNnAOJY58a4NpPTcREnJk0iACG9klBuj7j6m03O3IhQperu9rsibQ
QyaYJotID8ZD4PJ1QILE0DVK5Fwbt8dLNocl72ZSTvh2HfeW2lH+5eZW/MuUZeuwdCfXYMTWfLM5
DK6nUgUgWarwDxtstId8lpLER1Gyp3O9Hsu6bVAuSUXx2IAvI5rZ4/PjgonnmFLPatIbN1bjqzX6
Nd1alG9kCd2A+Hk5LjPxZM1XZ3jRuWg12lXXefdi18jSO6unHAnYT3mCUsWGUo246+teEigrUXdp
1TWqXZXSM7uMIO+uGfLb3TwMtHNVWfDAjnY6UjvGri5k2bJNrAjDZxiVzSbyR4I7ZIu8Z3YT47HB
endssPLDi2xx8gjNuBO5Kv6NptFdnfsYyKrC+86KwXkiOk6MuZxww+Z2UhtrGdflbcI1/5CjYC3z
KONyCtz4VWsWaQt7qvxnzlUsofBmnrGazDT12WxeIZs762qkF553wx+3yitY1WZmjQ/e5kiMkfpO
/MxRr78dAVi9NcaWtJtXpRu2ceWpcUvMzVjfDynyNGuFaPbW4WDPz9jY4730G4yw2v87L6q+deWE
OZWAPkEpcypXdtT12ObamX33IOlZY0bf0XWcHmsyMxhJrNrY4dGun4vZ0D8ZYxroiYwAmEGU1BoN
648/pHJbe3b7njbueKx7WAxNHlnfTdjzPXQq92GKE5YR3Daxn4+qKQlHqGlrtvHwlgSJ4lHdxXR8
WP61G2TzdDdxnBy3p+F0sqF/5E7mXLkvxt8Wnr1XaxZZt6LrCtZhYapk0wYjzNMSnvbSB1vMwqPy
qLeqonAtO9c4CwnTCnS9NR6DzLLPQybDLXCPflnQP1PBegjJ4LBmJqRkYnnxjN5+FwIeQuW4Zbf0
qSTE4+7TWxGN+UdH+vA1lFzZYeZQdSaAbbIzdllecKhz1zz1AmTs0v+JkY5Bcpj0F9ZJ9TDHgnLv
0Tf5lBWQmsya8HsHefE8I6DTQYScDH1gDP/g40PLVjOGzzAOnDcKfUk1GmHHNke71XMHKnk/hFH4
EtXsZKTI0GTbIAW4UEeyRKSgeBDeLNFyy5tKGq+FJ65amv5XS78XjiZRgCnhpPtgUSI7Lwhml9dC
+vuc3sHV1PKWUWE1exy4Vdm/2phaf8cDRUXHnkBOSoFYywgcxN4vC17/MUY2uYJo9yEmZ1jiyTSy
2+JVUH2suKUjDw+n1Mpzlpg9BwuMwnwg/RyfLSNJ9oyOLps9n4M0z/JVDmbrYR4K7yMnQP5L1IXa
tDkORTPq4tVUwpxakf129wA2imvdjuY2j4wKD3Jp3z1vIHKohn4fYszf9jyMUN56mwZQiG4gG1Gd
wzpuz97s+OfBqM2HRpliI6fZvy/BuCryLnTwlNCUq6mSudfxiRegEN1WlZQpqmCQT15mmKcwStRb
79QZtY2pCs+T1VUHyy93jTMyObPWpGSs2NQW12m2d+sGmDFevh8fjtenzm2WxngH4k33b+ydyY7j
SLqlX6VQ62bCOBnJxV20RA0un+fw2BAeE+d55tP3x6hCl0uulpAB3MUFOhe5ycgwkTQazf7/nO9w
aHrynLom6iqNH+0+NThnggGvSHBYTyKPX3SlmH4VFPg3jW8FNyi6i6XE7L7obTP92htmwKeHvT/N
a0JKJF94+qNTuGQ/kFzFdhbdpn1Asq1DL/KSxzItY9+x3imaU1ZvixEjN5EVyJ/4KRtjEO0aD4z+
Qo0JUUvoK1s2zk89PPpHOyuNrde09TrrsvI6Y/2bP+qkR1fsF/n6WMVF50zjihLtRDgpyaW+qoU3
RMrzKRTV6H+zo+rNMktTroxKa98CuNBzbLX4QrWB42rWzHPfBts6llb2pa29RyyBIDJKdbwmooJT
H988tAVTlmNnVXplqWQWNRQJrRtbHlKZb5YVP9cizleKPqgBwK9WuVfbWEH1Vhevna7WPyMlM34Q
JcGPLru6WnJ08daCbxV2IFxlQtB9K4qpwdqMOC/NnN2g1sFmylky2BXM122gbblMJTV2okEovo9S
uQaxx4YdPLA3S9eoiGi5/Ergn0dFfgCXGXBaSrsq3ZD0XK19CP03TSmTTRS1OLvSDtSmU4K21nsB
2csT+bSeyhJSQ5j2urakhVXc1YY0EMWldr1lZ6LuOI+z4ZJJkD42euy/BXFOgadsOpeXKntIOsv5
YUkVCbcWFMGV1IAazu7a8BtVOR1bSgdzFbgOxy+AaNatnubahj1ecQ2rplyJAjyMgDNkVkgFSXjo
LvU8qwhDgrzrrwFGe1Bnxajt1NFgyxTnxErMQq3yQU8Lc2MDWWMXxKaP5DLUTvSQFDtdlz6yQlDf
xH6tOeWwFmoGn0O3IdlhW0ei+kbzBEU2us6aDkQR4EP3NT7NhAHeD9g6nHmdq+li5IZ9x8nVuXSq
IPsuTJEVa7UqqxtkOfKq6YUu2HohMhvtCBiwxTZz2SGHmpGEYZus9Qx81W4aUvVXEcbJqzE1Pn1G
H10MSgSv/kkcgk9xISnK635I7Du9rUPVJZkinX5Y3jTedZElSYPVKqTFpYfuiaSqHqi7bknmUhSa
/gOdL2o4GjbzTY3OPaM2mBtI5Yv+IiusjFAtYqRXUjbNKzgg2GIWMd2mGqe7osQCzTcUrE5ROt1N
UZI1htAV/RLJxGa3zvh+aIABadmHtJ5HMBAF4bC+mZFVX3qmSpszk6gYWSLIa+umDXkM5hUVB4t+
im7D75ji/j7uCK9qZV//MKa6v6x1G4INhmioOVZjZmspu/55MFtlyTHSeO5JIflhh523kUVRXctU
BXjFBqx5KpzQ2lhGmt82lte/4e3wHU51ChkkYzrdF6rR3ZsKAmkxcmZk/w4bII0cG5lFZnQPpZ8j
mdJKFeCDBZUL0Lq6dooJVmWsOM5FqJryHeKKma5y/EAl+bW5v6bgQQIk9tzHoCAGrxpw58CMVpRf
JQtcgssRKhmG73jtpLz5M7B6C60EpbgvOAWSxjIRnZIrN/EQgf9A9gDhEhTicvTN6as9BLx3FsU+
my8Ym9A5A16jDIteZrSni7ZUvMdBSfI34pbCn5QorS/S6Pxtk+DjnlrFuCZNZvwKzp9cNVnAMhT9
F1OdNLnsaK9dZbVpfM21enygJYAQ32pTfZcQL/NaT2O78ewMxUXqEaQU6eDKOdr4KD+QDEADScr8
NmqIDzRkzCd3wMR429RO4gqPPekCjaWBcCjPWUI1+wUOMgRfUjive0gFq46Qt8tgDGEY+gSsttRH
4sTNvGA752Y0gfcFTWz4I8ptY231dvfoSUXbkOAGqSzvBEWuwsIKi9sNJCQ0i1dq5z5hZSINZrFJ
iZYMA5/9JYdA/gu43/A8plm7kwPQf+qnWbPxnZzpa/JR22miJ4uGeh+58mBv5yVWw+MEAoWZiQz6
mjqp+T3kxewWedvD9vAAgdCN9y4j3XI2kRymcqOOnNFhYcWk/MVNlKPcpRXLaQ83sCJSdKjWNABE
SsfGvlR83AM4yvp8XXaG/0aeUwrJ2J8eNcowyPJUNvlO5l+HgZPvUkpDm75RlE3ByQdzoMqZgJMT
h5lylNA8AwKtF5O02qfWEtHaGxTSQtk3Ui5TqJZ0WVvuRq9Ln2jAawvflyReF2AFgECNq0TU8rYu
h+aeDC1BkB8JaVZXgtapEKM3rDKrxNP7e8luATHXBP7WN+CjVypnH69rMaxn+U1PVfSVUMWW/XCr
ZBdxpBVLNqnBS+ZTBEPCZFXrJleJ+cbnXy+SMTcQ8oTlthnogiP9KN6cQIc+HUBwEHGGbS/JVPrm
CDZKlxuWbjEndmzMPecxhEJ2IxKiAXtEdAsI8BK0WVVtfcCSKz4IxtUQdrMibBQviYkehggQCAke
UKF1RevkMhnS9D7BMLvtgxizbKEPq1i1c+SaumJ/QxtPuLEq7brEV1hFm9anH5Vbwr5uAiC0rpY1
Pnow1rj3PkgItc+ySP2SqJ39lOE+jnZZPuTjxexUgo+SWLN0XtjyZbSs/iqNu+5CDZD8KLWBGs4w
69H4Umd9H4LkGxyC8rS8zy4oK3XPZImIayIA6yd4RnPSAaU1NnGEU7HgewBrV+zuSe+teEffAXy1
L1QqK7cLR+8q6uLqNUITel11BtJZGAbeSng5gA2QAljLLEIIVZRQEX3whphQ4gnGqnFcxQyTrVaX
bJn57Cg1suARWV+rgjw3SPFTXFk3/RMOVfVmQvPzNTMw0SzKBofDSiLlcOivYb9hVW5b1veJ2LMh
xcJmqxp/ou6IQiO/keLHSiGF/ik3EA0h93Wc73B9kPw0gyQxuerw2W9jE74E65fujcuOfh8riZPL
FKp+rUGFo/R1nzn4atZwIfRuy1rmbXDqOv4lf7bo30cD/ehX0xubblvX4+y8CcAxcGlR6dQYtqcY
1wJ0mqpayXRerY3eTN/DftKrGzhFhJOi29GShybA3OROmbSIwLVU4IF9Eg0/lUrBJ8IJroZ3Zlcc
0gxnwuqSp3DQUJQriFr6AvHeRRPiUlmWOesLhqAwWOOcqB9Sm23qir8aN2FBP5gqp+2DjQRoCPFY
0Eda+pmiboTgJZnwxfDFBpyLlaHmlNKHYXVVBp2ebKkXpg955BBUAfHrOQzn8BAS//As213+mlk2
YSHA04uHqkiiH4SK5hu4WtVdiYKGVqafbqJQx5+kW5y/sahYw6VJoNis0oqmXymZPpDZPfwrW78N
1LeaPBNQGWHOvkygHaE3SQDYs+lnqbWqhgl7RcaLO2P7nyEGJ9mijAqSmmts8FucMyUlyjZsLxNt
6J5CpOZkHFTygiwxVKe1T0YFEonsO0469t/46zd23rTXUwaUjHWufUUVVK0jbSLLNa2d6LL2g/KV
UIuJLK0yu0GPSp5thfqfhqu/C+DrcTzCF/4E+d/41Yo0fWv6DiKiLwm+YU9Az7SNyd5hRSm1a02W
sBaTGTqUsE/92bBKJkhVneSyHNX6MVQx0zrEswIpMHt6SGbzCBu7X6pea6AatGT7iII4fGgiY0QP
lOcPWjCol7xW3aqwgxTEYglGFUDUE8rk7nFsYnlVo7O+GMyJBt3QaWBVp2QtAuJakduav0x8DzeO
n0GvoMRH/y30aVVEk12+jLLDgBSW8a4Tc/LtMFLfaeIKW0+c9S9NmIKGDLsyuohGny6Imsl3RPAW
/CT8Ymvo/uVdqNdYvHlTlFcwI1BUgZtihwyIVljrou7XXW6AoKai8+Jj1cZ5O8ro1qOzf42gk/4g
ElyAQ4YsbwRqoZraZKusUNM4lCdKkiuBWZn09IU94PWI2quxzTzCL/Gi2WlN98COVbHq+nZaIkUI
ZnJw+BajfkrBmibdV3zcALDmFKidyl9H4FfaJnT6sffI27bxQHXC31J/VBkZpsjlpifLTzpl9d+S
CvA/iPevaUhP/t8CmucsbH7++Mf/rt6//WOVhtV783NPUPP7f/+XoMaUf+m2QP1iaTraGRNS/7/J
/6b6l8nDNRDGQPI39I+CGvmXkI6pwc52LKJZ1P8IatDaSJ1K0RwKaZmmbTp/LqixGNPS2ZmhrpUW
ZzILHdBH9Yt00hRGRUQtB23fOjacDIU4wa4fbs6RfAEiDD7Idv41CuRgnNYIM21VPdDY2AB39aJq
NVcDeIcfote/Km2bb4NGhFeIZ6DUd+gHpibQX9DW53enh0eYdDi8QeSBSmKCY+u03vcvMplCmp/I
TyE0CLFSUkGAqBrorl7hdD491Hy//iNQ+n2lDGWYJsNoutAOhtITUK+agtYUR/jaSKenXgIWT0lJ
QIKLl79TqCE2Wvh2eth9XdS/hzUIgOchcqN1ff8Kq65SEHAoXGEQebjdHfJ5Pa/bnB4F6denizNt
niJ7Ekls48HFxbCxJpv+jSuUILwahyT7qjAuxanUuBJx3H4/Pd7veXFwN3lfhGOb0uY7bx/MToeA
QBU/JfamBmq3im3zQiHdzScnCYah25Aq3S4RTVtrQirkL0rxX0Mxi64ytXg+81vmW/j5txiom6Vp
G+bhJKpDdqpqgPgs7WiwaKCuxiG89Qhv8L2Ols5EAgB132uMx+qFTUhLS/fpK80P31UEkOPTP+fI
lObO/OfXHAji+DagnjXApLAdSVHv1O/gawSxEjU7t9NDHZlbpm6oaPsMw9F4fffnVoP4BRZbNb89
tQNAIn5E0KBdnh7k6PVwVww026TRSWt/kMQa1TbLNJ40b+pOJ6hkOaCwIinVK87M4nNDHUwqw2vs
QUaG7goLdAiVXAerbnFNHGq8On1RR++co3PbWF5xx87L4gdpoS6oM9SsSG4xcIbjsFRe9npr/+2p
YNt8RAzWNVtQdZmv98MoNJZRIVskURL5Iy4yhLgY2pP0wkPZ9QdDGUz+Wc2J0k6fL/jDUAGPCY6a
RUmfTfMLAWzKdgLK9eLXXnX9d+8dTEZmHF8mgmnMw7WmaanoV1DPXDbdBayoqqO2Wg1nntA8rfZf
ah6N7mja708D34b9C6JYMAg9VwuXr7f6U9Z6dFVPEsgR0VWgYaT6LdI6b3v60j5PwP1B55Xmw11s
h7m5ifsVxJFKJQhSAJh3TPB4HB15ZrJ/noLzo1JNg2loar+3JR/HwhqMVKeSNU/MS5bN4JS70mi8
q9NX9PnD4JCY9Xv2OXwWfocLfbgiXSWm0etMDISqom71urC2MM2Nhd6n3EZVMW9Oj3fksSFPQoOs
WZapoTnev4MmOa8BCoPWneqSQLFswsLmAXy7pFQw7krg+yvicPMzC+GR5yZZcbmJFpp//EL7oxIS
5OsOZDoXfZu5JIot3QE2B5cRqdWZCzxyQ6Wk8c4gLLyaPYuVP9zQAOTPQLOeCxRtd5ubVfsoJqLI
8gI6qIEFZjhzbUc+tXxlTXaa7Fso6SPT3huRWLV60MqwcmMRAUCoAafwkSvNEui/bi28sKTbI/PK
fC8sI06XFYDge0fty/vQofd7ZqGZRzt4L9n3zls129KlYR2snGGDqiJNmso1k5n1OzRQQ1Zw51AE
QwItH+poRKY94iYH2hOpkXHmdhyZYKzLrNnSmTdy5sG60GW1plJ9RsLgwFzUM6VwZ7zJzBGhSOcE
F2CUmjPX/Gl6SY4B9GjndQ/6F/v6vSfQA7xGAl5DJ0ZgTUUonHNDYZWPefbz9Ovz+WEzlG0bkt0/
4AVHPRiqaACHS/TM4LHIsoOrqnkbW3jORUU8qqD13BubMSdzdhprw1pqJEqg9TLgHJP4Hrqnf82R
69YFj9mxVYpd9nzU+TjX+yyZGswdZMqkePRpuJQPZqIGTyUqxTMflU+vlSQojQMPB6d5mmsHK++U
2aOnmGnjFiIPVlUYoaRSfHSogTes/bG1v5y+tE+rL+NpfFUMWzrsmK2D11gqFIsrjxWjCijkQail
hdJUysXpUX7fob23hWF0kwcqcFpgnz14nBEwl5CCC5eF5uNSrR0SqnICA138nZq6Gw3qePHQ0sAj
E3s9ln60QvwRovawmzvoKn65GFofXRsOpNXp33bsDpi4P5hrGkdZ++COS41ig8x0XmT6f7sO4eR6
ypPgzO5xvsCDG8DCPG+BGEKqYp5iH5bLsPWoh5toXkb0jQDZuym+oojpE2xdttpGV0SE2L8DsUQ8
8dYMESCfmcTqfCGffoJuWTyHedl2DlYMv1RjNfc6oEBoXLDySWIIPHJKegJSL1sSzRcpOBUqa/Zg
PTNHnbu6B+Bmx3XsalOFvE8QSn765h+9LRh2uCvz3v1wRfEBfVlx1vJmeXlYrKAicFYYe9EAScoD
QlNpHW89Yl3XVO8dWu4EpJ5Z1D4tpFIYID3ITaOMaBtzVeXjk6kS21QGa56akQrHjbuxkPEYIwQX
zq8Jjz5zFHrn6etWP4+qmyZFUA4TujofxfdHla0YQAckvetZ+qtBhk/eXNvU6DOF9rVOqJUhL3SJ
HjMYL6NpTZzohW796Gqa2aAPTL9ZwjW5Pf2jjvwmohypsdiUgizqQPu/KXDUYS7mjq5Z6e0V+Qna
TQ1i6A7dVeMqFJ1voeEW304P+nnBY0o6hspeQtWFdbhlGcusb22ZCzeD5Xg5/iKywED7teLTlv7d
T6ZkBddNVee7KQ0Wu/3rowKatfYUw2WOwuoeU2i7wuiQPYIiMbdeEtpXKDC13enr+zzD50GpklHy
4Puhz9f/4cVXjQDaic1NDW3uYqBl0c5HF0m8WTHHLWQ4XTwx68MSpx1vGq2YLk7/gM8fL8Y12DDx
YcE0d1ih8AtpRk0cTq6gyYJNv/cvPSuv33qsmGeG+ryU6uwIYV3yKLnDh0W0Iirm/dg0ugNWih9p
5oUvWau//d3rMQQWXMnrZ+oY+g6eYtFDTPBtBulFWz2ipIPcSGb497gCF3J6qM9zk6E4BQhhUHZj
l7f/7PoxgEcaRKOrtlVyIWsDaRa2MNbsOtGRF40Y406P+PkOzl9IQTzC/K2gkH8wIteVt6IZARGr
YqtXpXKt9UCX/mSU38ctg/6nefAx6oVfke6S8KIr8eCi8Sgh5Kbx+g9GYX/sSEwFeC4P9uso6nAb
hTXJdmjP12kdycsWBPyZOXfkGal8PQBeGHNRxjp4v+IWS2NqwZXotUG7yPNSYnPyygfDoBehCpzv
p6/q8+tkqPbs21c1Yy6NH2yYBngBaWgyXmqHyk6PFMVZwLXMMKYMw7nP47GLsw0VPymNZuJ3D+Y6
+n2qzrXSuopHrmoUiE0k/F9CRHfMnuzMbD8y9zhXcZKYV6r527Q/91QCuWU52o2LO8ThzES6EjC5
dvu379/8LqlCaga9ht8m1w/rYd52lCgV+M2R4f9MPQhEZqi/QUTIN38yEB0IzqcUaA8nudJWla4W
BIt0bZk9lH3mL5n40xV5kH9/RWI26DR1+Y5LSoT7Nw6RGoHsnmhd4ajFnZ6bOnkvSvE4oFI984y0
eXrtb+Lm2vZ/xtL2x5qMQPNtROluSav0qqMpTPwN/BjSNXGu3AMT6SQ4QhU/YedUZMyCtB+aDdB4
Nn6wQHJgZZ5OXG5j5t0E85cWILl/HXK7IUNq8dQrWfGzMpGaL3DIEimRTsAc3dPP5ne55fAyNMlm
i/lGT0cc3rIqiIJOyVEejr4g0RJgMA4SoDRkX6/IBnNWFoi6CNnfpFyRkeFtR8so/mAqzjfTINWa
6pl1sN8hR8kGoFKRtmHAC/FBZ3Hqku2G8pF5ZqgjL/K8z2OnY88ru3mwahBYkJuSldzFLxhfZ7oO
V2/0leKq0siJKQK9lGfWqaMj0lIwObIKJszBRDEzyPiAnjoiCGuyc3XZbiuHhB8ikj31GkhScHf6
mR5ZPrDdC/o7bJLo1x0uH1Nt88DH3kX/lCOzIVXE12R0ZuYcuSyDLxaP7PcmwJn/+4flo0kMtCa9
QQ5mVAg36pN2V8ZRtZ1EWN0SrNGeGe/YTGXBt03KrxyJzMM9Da7yiERAAPX+SDCUP5btevK1bE1k
Wf40lonynhKTAJqcFuJ9WDnON7tlE/QH7z17OGr0fAkoO5nz3f9w3b6fE2Xgj4MrZKMCKUXOplBT
95fQ+NurwUiCWx0Q0OWoBTDvSUMgCols314hylKFvnuXaCkRWtZoYKTJ03VAAM8SwWXuJpj/SEEq
6VNNttae+Twf+VzO/SjBqULY0J4PJz7nF/TVComHNg7ZBTkDw9bBoH+XIZ36/vdnIDOeV9rBgAFJ
cP8eOb2vCAQi3KOg8gg+IxKuhC+4/oNReJmxI4OfIE9pf5RegWSvFRmYIrhgWwCh+Y5w0uDcvJs/
7QcrJMujdNgE0kMHibI/zJgFvWAL0rsqeUM/+qSs22U6YY7WYk86FyL18fZrFHafRy8lsZrVVuA/
FsmFo8tfosdfYLIjWeNP9e9Mo8uRFlLl2GIr615O35GjP5XtPnsUQ9PNwyPOEJrkGeXcd4oc08VY
hOlVggCP+CXPIx5EqxcAXI1vpwc9OrEsGq+CWqSE2rF/f4jhMLvcyQc3beLXqiWlSogSWT+OmtXp
keZX69OT+DDSwZJTU+HEaMVIOBlwDY1Rch2QEH2mEnL8egwOwqbUsUQefBHbRiLntioyxW0b1b2P
1GkRkgy1yLQ5GuAPLsm2eS+Zv7RMDyZXFHsIkXsWtRgKMRo8UYB0EMWZSzp24+a6qSV5HSn+Hexe
S2vgg2HWg2v06GrVMWjRI4OqP30tx27cx1EO3kfER3Wp6sDJU85xj21udm6DjvPFKLx+PHPfjpSl
DUOfS7RMOod7d3DjetUYBVC3nmnQAoQ17I4M26zud0SK26995ai7QberL0MhkmctNpUrPDAh0Yuj
Lc+tEPOMOJyXdM6Y/7agCykP5iWhefC1jbqHJkf8Uq8M4SoVAb5Rq9oEMvvV6SEs1dAnwwD0qBxC
fz3a4Zm7f/QZUyxy2NvY6GAOnnFE8JcYQPG7lVMWW7MjcCGHBXvmK/KbnnN4rfS1VDL8dJuq+MF9
J8nJzi2U3C6KRetySv34PmbvesO3trZh3slmF2K9g7QYZ9/wogPNBy/+RaOk9z52lITOTIRjk+7j
7zl4W40itnpj6HvsUyBA2oobQD8Ds56GXvH0/D52hw2HjwAleg2Rw8EdjmO2JbRC+BCMOkYuD59c
WmD7Pj3K/JYc3mCkXnNNktOm6ej7y2nVItk38X65EXv2dhFCujGw+9F7ujdEnIL+dpKCuM2aSpXu
AYb9g3lEnwcmHWddTocHbzE9W9+afLN388BJd2UXVcsiTquH01d5pAbOm4LMir0U/4Bq3r9MDVdj
29gUPaAfBe+JZvqhS+y18jR2ON5gRtdolKOuvgnhUmJ1JiV64XeIYy4mIH2vk/BtQT1joml8+pfN
T/Hw/nM3Zy0BnEMkaPs/rIxLMcTYJChjCH2b4qNCl9lYd5Ntp1uZk10MatJ8Oj3ovEJ8HtTiPlAL
Ijla2x8Uoj9my5TVbJxTysKgvsPoGKH9Nt8Ab57ZJRybxxb3nAYE++nf1K6PO1gtb+UgRl4UWsXa
TofJsxDkOP3BNweloq1Tzofjps8v7od9cqfCz0xD7qM+yJXfkFsFlaN6PH3fjr0sltTmrhmNdoJ/
9gcJjRENOXpYN7H0+sVrUNSn9kSqm1I1X4E5OKvI0+FJil49c3nHnpiFfsGRxEfSgj2Yv7TmuihH
HeTqvuJTgayCXVkQAkuQQKwGEE3T+Pn0tR59bJak3koFG5nGwUqH8B37FyIUt++dOQU2NrD2wW09
Pcqx9ZQrQkMHZsOkAHpwR4NKs8mmJQYMAuWNXg/OjiZMc4EYejiz0hx7eDaKJyStFIeQlu4PlVSG
VPDLjUQg6P1N7GjGM/J4vJmVr6wQgGsXWDb6LxnZi39wKym2irkgygfTmB/uh7lZCKumN6qwU9GH
8AXUu75M8Zid6eIce2BUM6hEcQayOHbuj4KRRYYd4d5uVQe5mzo9IRvkKZPBcPqRHR8H3a+FrsZA
CLU/TsHnN5MFJ1J4O+rK6R0IuWNRuqdHObYu0q5kC4l2h5t2cM9KorjUCiaRaxpef92GuCRWfatS
cxVOhdNvTBUX0kV/Rt1y9Njv8CFiaFApVK8Prg6vUCNUdpV9a4h+YWaldec1Y/3M4ii3Xjd0F9D/
S3y+UXfbO0FGmlb59fS1H91tOmxOqKhQw6G0sv8jjAm/ijrwViS9p60T1ek2nRTFe1R74WacsCcK
bdLfOCHUyyGpG3DsUWPegfCc/mAT8vGXHKx4USZlERNN5xqyaOHfBNoaz0p5pkl+ZEqhFufbQLWA
ov7hJsAsGoOQiJyNNbycYNH5+pQscOCpZ57ukXHYrbJvppLPfuCw5VsQHFakdaPOzrX0Csx9t6no
65y5Z0emLu1djZYYX1eaYgefokxkJZCcQHUNG+q90snxe4rxblOhzKH955sA21A6bE5PGoc5cfBN
Z7oaFOI0hqSTuz9nIi0oMz8AltiXgXbfxlawdjSgvjE09GVLtvhuigh7E7AXllNcALI/Pf6RlRyB
DPVG5OyzWOjgqoljDwBW+qrrqK24g6eurKysGh+tXvn1ByNRDmOzSO+HCbN/pbajTn5iT4iBanu8
LI2WANi4VB6F3pz7ZhyZMGhk4LjPbVwbveL+UGEfFb0X2uqcwI1x1pI9HIDAO7PWHXt0nNmQVkiq
KFR+9kexK9OroB+TXV1aaJgcWQevapKG+lra+WybzWgACb7Ua/CM4NR9WFTZmVX9iFKHzdOHHzH/
yA8fKRnDuW2cUHPbtOh+xfAnbztDa1ZT6HhE1acGDPu2T1eGYmG6mmxocY4njRctVC4J8iS6jKAY
3/Dr76ef9tFH4IhZcscOmHPQ/u/qs24Ciq+pbpCn0NCHMXGtUWpnLv9fKpj994fNN0IUjiF0zDkJ
7Y8jrLZ3lBqjaKZMVr+1xqn8MuHNMtTpTYcCEyd2FW/MzqY9lg1l8JRbRY6pSg0cRMAwvG58hX7K
Ehy+rmwhOjTmUxtWin/LkpQR6DcBOWjxdoL1g3otdmUKfmwx2oMtL3xdi4p1WOErdqXvh8U6x0j1
1RuKEOQdkZvmolEgMMYgRcbtNLUjZ/qm1ogKCwIM/fyGcZgjPDCdglwf4w0pHHrAnfJxtcwkQofg
JE7TrqoBl25xkpIvVdm1s1L7JJzzy4zEXjmwzq5Gs5ie+3yKKKplBBTA2ighE9id0fsrsGpes4v7
scBpjsOC4L0gVjz+lrwBk91blMsEqVT+Ymw9YiJKchffqmpqtW1m6mG2rlWqajOX0cR22KG1WdRa
XdgbwuUAkgH9mk0oQa/LTddH1iayFCfZ2XB/xm2M3hK4VE63CvhAnfgu8h0CojujkI/egLvFNYam
ByNqO2G/zCmEx5BkQzN+1sm1MZ9ju57uNbMfgZYkw6QvOHwp5TpoQwpG7A2t2aOnha8atQa8QHpX
XuelUnwxTaBeC1zRuwIggLfo1bDIl0kf6I8ZlYsYeftYKjulY9MESqGdILzMVIXIn8EpdMFtsHO+
HnW4J1vfwthX1w81fNDGVe2YarUPTE7ZJK2Mo2XqedZVJK2KxElv0oZNHQ7iVYPMCIPFjPWbEN87
kYxk3ZUX1H0ifWk1GohtibO8vCpxFJFLhqo/JVq3LS8dHdzbIg6SaeYPWgAYyR+yym1ni4KkYitT
Xryi675UY9ySn0o0BWlYEHe+jczYd2kD7oPRV1za6ZTSfRY9IahKJeQ67qL+SRipky8io+p3Vm5j
8EBiozZL1c/h2fG2pkPIFPftG/LRHOzooeMPb61tN+aCnAMdslDTdAr/TkDSJJ3Qfw2ZgTtZEXq0
6XDr/gI01ZNQNrO61n2ZMWNFlowPrJiJQzj8lL6aaQZ4ngxl7JzUA4OvEPnsCz0M05/EZIZ3vUqu
2K0HoOk1DsuoQXFjqBqolSAQrm3AuGLGpAh1U6fRAcL6dQIy1RprInnMMXzNOlHFCCV6L78btEmJ
XRs8Z7IkCq36QdAkbJWYULxi4WEM/dqEQU/UY2OnxExGvvkaKElPeKkmSWCmi6TfxsHgmPQ5QVMF
yGmUVZM4E9HtBhQmAABEnayM2CnEyqpIOlpqyuTcxn6i2AvF44eEpmViuOehJSCfRgyUnHduMkfv
vvmVIHNZ601806YdG68hYn4frHsx9UyBKITXjgSlWiGVUu0L4tkb4YakFmjrzFFARdT1FN5pvMv+
svRnyiKudakubW/IQPtHSXbhGKFBcm+R6XSjqraYM9XAsC2SAfTIQvOjpL5vFY3+8RCELaAi+ACF
C4aoi64lQQEmFu7KgayiBNWMrOpIfy1rPahczi/ZF60HerdouzSPNqNT8XZqIrBBv9Tk3G+rXrYV
NGugLEDmWRRofnsNui5Hz4hssc1HJehLbV0mU5XS45a9SsJdHAIwgV4G1x8JLuDmWYC8QKQP88ck
IxfcFtihuRMmp13a1ZkauWnZE8q8aM3aglqikEmi1t9QyWWDcg/idYJX1gg9VJLnfIhtEnCTwdPo
rP2vrMRmZyOScrs6zG4ofTmPJkvRk6lVpD12uNhXMpTJLioB7vsq0CXNUsplVVra8xioEf/Zqatn
y8sKZlQCEvrMRvFTLcxG6kFjCbMA9Xn0M/r+l85H20hsq2O4kfQfuV1glFWwmjGsVDfvQAhqwHtA
v8U/+CqRERwp1jJHj0sUKItN0db/Oh7/f9b9P4HLf9jsuO/N+z9+Zk3YjDfv6c//+ufVOyFZ73u0
+/l/+Jc5V7P/4giByt8CSolSddbv9T/r5r/+qYm/cCBgiGCroqmUotgy/Zt2b9pw8HHgOpwBMOnS
Ef2/tHvT/EtagJ9sjcYP51rx98y5Yt76ftgv0XmgGW2gMMS/YzHSwUE5HqxxhhTAHTfN7BdLp/OW
pQZyw9xvN4kOZzjOOt651h/sN29KYmzj0K+vRVmXxlp1EuNFVhxEmHxKhYuDyRitRr2YNtFUjMGy
oi41LE1ipYm6hZEG19hIEigETpm/eXTT2lWEOVPunKG11GXVwpyjjBNbQH75HreLlrC+NdIMT7vU
Mev3yxh8yBN3rYEhCWbx+2DkpG2kpkG27lRABV/4QMT7pdL3Y7K0qdVki8Dki7HKy1Bdx8HvgsBA
OAg0yST6oic2CHdDdix89VhWxQpepG4udNhR70k4lAPZw4BnSfEzKrHV+ljZeaoOOQ+Y3F3neNmv
egrIcw3Jl/O6cniwWLfuyW5kFygmrUY8p2vJe4rXon2dXYgw/FvhXDdaOt6Y2jgSjAWuAIgkcb2r
oS2CCweBfcpG0lbfxsyEoiyBzTnrEojfl4qwwgCHELFMQ1xXKAViBeRqTJOtcaUuE49EaaVSV3bU
WD+qXglxszYBIPqsCM1rMmjIcy7LxPDdkMWXRE8/fPEBOJKISmczXqLkZanAVgriJhE9ZMXAsaZd
NFb+81gYFZDJtJ9euzCB9Jy1gUnQDFuy1A19tYW2SITqSyOiwV9Wae6Um4o9SrmwImAfi0Lm/dzr
gcCwNKBGi1WWBJzJRvqABdGkmXXRIyJql34XqT/a1tF3eqFAr+/VyiehuIvbGwBdgbYpNS6Hx6vP
tXWSXc11MYHGGVOtJWDPa4FaxV7YG0tVSzvPbWo+t25WNUW17fL/w9557EaOpGv7Vg7OngV6s/g3
JNNKKZfyG0KlKtF7z6s/D9WNaYmqUWLwbwdooIBWlYIRDEZ85jWt9Gg1xMPkghXKz4LcuW2OgvpK
KtpUtEe1zIm05bo9b7vZZ5x2As9AvOX321Y3xp8ooWaPKrLw7BkzH36CfEfEQ1IboVq1YBdDt2nV
wXOa1mMrVSiwK44M/xQla8HDnTSsy2tSsPgBeXoRP/YE52rUH3E5D0JDv0uRIAzwgYno7JawKeJV
12ezDKBkPTboQsfI5SZYLI/G/OrzIcE1WrHaqlwNeSs8qGM5C/jjafYmmkT5G0Da0Ih7pQ7jy0GM
EWvKLTkr3Wwoxk2AA4tFOCkriaPLVXDvTT4VqUiNvGrjV4Vl2lGjTPc4SCFOE46QuBxKaVLhCFXV
Q4ZIZaoUQqy2iZPSq2hQeemb8zqCaI8AYV8Jto57+fPQlsoD8l2V5yoSSDgHPTHozIpJCGpLCnys
DYq0UbrPUyNTd2Bm2mpHOxEd4zqJcOZJ5UFrkE9pwuhy7IUWJSGMVfGoATdUOJIQyLWDqg3aLwSV
k+aMoYFddVXSmdsIZoJEcWFZ2POUGBkN6PwF3q2BlRWtGuh9gYtjQXdtVlgQ7ENBTTRKyoPaAwMU
Y+k5xF85XRlIfw3U6qShAGY51Y8VGwGr77zHbQnzKqwZ5DFC/0M3pTEynUKP4go9t5oXdBnGgeZd
Y32MYHLgCXXnyhj99uftGCrSJu0yNbiIFSt8a8gBMLyMLVTxswFFdXRSkIaleDiJ9/SggC1bcRG9
ggwzmnVPWV52DSVX/J+IxanPVT75v7q2UX5VQYqdUJC1an8ett1kOdQfxfsM9SaIfpwjq0qHO7mh
zBY/SLmCnqoWdIidY7bgPxgpckTnrSSGxiortOYBpwpAx61aqSOeQgO6i/6QSfjtaZEZIz0lN/FK
IdL0r+UR4omuFAj41uX00+okYbCrXpkQ99X7tgVOpE1IOuMsejvpVBucVqQk4iYiQZRNTZYcXU5E
b49+VaYQP41II6tJ/VPp48ZbVfSoDdyCcgx7PIRZEXdthHy0K42cxMW7tpVWRqDnIWZzYuBWbSJF
O0EUjLcCQRkdcTVCSBtBfWXcYVZnKSuN7AKTdi/IDbYTnTzbVEtjhR2YwiFTFKD8fOJ94vEAEelt
lanmY8gFIG0EWhQ/KxHTBg6PSBfdSsYQfR9MRLTbIERldNflRfNaUzeU4BmW0y1xmndbU/uvtzjl
PglG7qGApkbTJgl8fT95Vf9Ta3P/rAVfpNhR3SIspslIeKJwdVupZnPo6zp9a0sQ7BsRxdNtg5ov
5ydDvJKTF2+DMIhIftFh4DLpE1RtJH3iJkM9CYn3MvGHZ45vQ7cNtuij1uBidStE+BpPpt48mCjD
5k4XYlBoqCSFKPR5PVnX3F1E3BylW16QtoFAOZLwhGMyS2CXEAlFfKjXVakTV2dGNLS2F4/k8wBZ
9MyWmm6jVomGzmcy+KgcxDkwLy0Rc7vMBJ26gyhaWFymgbFSUV19icnBTfwwIhGttdjK6zXteglR
R4C5eF9WCCQxn6468xA8tzZj1JnquZfhQezO+Ct4s0BiL6lojmh5xxJlUx+7CTwRqqzDiVHyRIR6
alRyHQ192tAJem/8G8f536iYqJhQ9t8L2JyHP8dFUMzf/zso1n5AgJIoU9LHswhniTr/CoqtH/xP
kpmZn8qPqID/KyhWlB8SR5lIX4EKojTX4+u/HaCsH+RfFihPrAPff/qfCNbMLakPETFt4ZnmQwlc
hL9KvDRXMj9UUOsReDXW4jF6hlQqrQabzpWZCeGVIfnV0aj04erDulz99av/J2vTqzzEH+P//e+i
5C7T6AMaCrKYKRCML3veGDZqsd4FyMnif+FWkiq4tSz8JDP21t+PBPX28+SQvxDpwkkKRVLAiapI
YvFxciLOvPi90GkiOJd9XHELHQTQsbAUQRkRxsKKKcMGFCiPtPKRLogoN5mpGFeJhP6gPnUJEUAA
H0kCoRNhjhfiMrLxMpTnAQ7pgXedcOxfGAJVEk/ogWcgJxcfAW1owjoxBwUmWgsU9twawqTcYerc
469O1GWtsKCR8tdhdq1f00Qy/I1ukKDHHAtDXqL/jqLYGsm/GjpxHHtQpVUyEadOzVS98Iw2ra9y
XQ9lrOOo7yEh6Q+v2A3VZ1U4FcZLGg25ejAn37jytdA7FKMRviZD0iG7qEmc7xoFTNqheDtOqu7E
kV9T3ZqsOMkvE3T2D/k0cDvboRHXJqrWDSuIvgItopTgdMzNcy0lmHSEGvNeVwoEHZXiadBLfztv
arzsOil5yjinMUjuhTQqz4YR2qY7iLqCgrCFoaR0ZgYlIZmtDfmcyOA/M3EugsPGvorKr6dOymqS
zEwdNiA246iw0bfDHs9F/DTvH8sg6suDRgU7uzX7nMqJneWaRhgRlWIn3hs9GcPoFLIy1AkOFR7N
L2rBWo/+McTCHBshfRAIknHLEEiCMD+lgKKsYrGuJnUfpUJQGJcNSsZpfR0KaWngUUDHHA1t/ERS
qsCpqs415TzQjOnKaEoJPdOwQbQzvZxaoxVvPGwN0wc/sqKphg8KHcItJqGvX9BwzQnICcvH8ZoJ
QFKD0lljtYKplsrt6WgFioMYYokBgnC2LGF5cGOg0ZtepcRrl16jCTWF6bBL3UGdqgdKX2yisqvH
dF1USNxTm+IecpWwtahbAr7oXB1TididGj1K8VupRtMBf+f5a/C31esUFfW0apDO6zaTWCj+fUtG
Qz2J3yZ2AHK7pvUvuWnJsDoZGC/V587KUaqMMpQZYTVhN4Y/RjmbI+DZoAq+ycdiaeFW6eeECW18
JJpJLZRLI+5q3iZWqLGb6WGr/OolrS/2fZ1q+YWkJ6ZynnRDmZyFYxfgLFKII1maqGLBeIzgjdRb
r4TQfkFJXEGAmK9CvtCxLo98ewh6XVuppobZQYy1iriNxqLL7dA39OK3mCdqvNVymhFntU7E7CBN
UP2s2xbhpVgLYR80hSruCwER4IJaqgwNZ080kzTtqq5IQRGA9Sz4YsigosScrnNt0HSnQaS228za
Kz704KCQNnUtIqrdtKCvbSUYi6081jqWT/SmyZxDuCQ4egZI0rVIc2NxoZV1vE67Fhx8FWG5Q7FT
F/H5ybCHwDTBEleK0MTWFVVWq96SufW3seTL/sHjQzY3Wim30tHHN1fEKCVJ1Og+z71B39JgpL4M
9D7TyuiJmqiAImhhSV1zoFCOsD2QSCHcjjhxY9WjylSGRT0UdUdBxbI4z6JIDHaCbOIdVfVe8IvU
QJ+cYNIw6dSTmPRItgL/YvSrRHGxo8QbHXP5YK3phdDbpZmVZ/GE9LndTz1Zd5e2gF5lroHUjaWw
HY7syh71p0AL1DvUewdcv6Qm8ee0D32VLnuSDbNI4w25GVHj0wgIRrrxAmkyaXuZw5g/Y6ZF4PUk
CZmPDjL1Bb7mmpirIOWfm2EieuUrTBzMtv/ll1lWkzR1qufl9c9JQjhcpmbQzh7jvwaZJnv531oh
5cDdL9woZ4Dnv4+KrikeVp9KhfPf/1vHT/4BfFynFofoHhIDKj/5KyrSxB8GBAy0NOQZ8c3f+FdU
JOs/ZlELFAHgyFFKnJnof4dFsvqD0iKiZhY0SR2hk/8PY0wE4IgbGBk0jQLMiyf5HDmg8y3gfOPV
QHgL9SAZabQPRfn6w2L8IRRahifMkhBOgusAnWrmaH4epM1xtjU1xBz6RNAwEIbIVeLPt/t+lEWE
R52TX4+VDIs5x5FLYHtk1gIVQhl5t9ITzwY9vA20yl+HnYCNgyhI2++H4w18DCj/Go4rnqUDG4Oi
0OdJeYMvgAdEINhr4hfExmPXr6zCnXD5tYVA651IGsP/lLY+T5GirgQsVANgTBj9Mc7LG08cC0Vk
zKRLzqPSt3boko4ruVE6d+o4/AVN2VIZHncRUsgn2vCLiPZ9xohKknTB01flpRJBN2L6liaMbpUo
+/Q9N3JXiLWDu71/YqJfh6KEzhgE6hTT2T2fJxr6Xpt0NXxevxxzJxf9Yk1vBunnZhzd79/jXxy4
D6kB8wIsh9gEWxA4F0iNz4OlOc5nNTL2GO5RGUJVuE33oWz4nO8g9nHgy6pnU/RnofFSkUJnNPt2
l2ht+pyUnrLptADLvyiJtEOJm8K9jCNxDgYuDt9M7ncYnJnxiPxd7qqYlYASMZ1I5poIK0WkiJR7
WI9ORV0/jlPiP6id1z2DHQ1vcRRHzU6LJ6TAPa+hGYjFBgzF2gtQfg8AuuPO6VeTk5IenAcm4S9m
815zjmQXeTnIG4rDUiRM9wh8Sa8eKsXqqrNCXPOkSB4Guwtk623IQ0tw9LIeCTfL2m8QStK9MyPC
ja3oLPNgRYr/4rWVdQ+kwXszcr9LnDYpsl/4PZSI7Ue1JrkNPeK7kD524pro4YZ21U534aSZt6M2
qndBlSuJnaEED33ZkCed5poqPEXU017lsZNCF03rSNrm6D9chHovjHYaGVJsj02QZCtfF8B+aPiW
a/wSbUDPeABOlCHZ0Lhaoxsdlf6pbm3C4fAFP0d8rqkAUZ/Wel04ay0zhSNUNONroWf+77kcdeji
qGw3YlUGjyiohLdiH1J9UipNv50apW/dNjISLBL62SsEmZ4DfMLyQo6wQWoMFJ5x1LMyZ5qC4BKh
b3GfFrKKUaNA2GFXlTlgjUCMHju9Pgm6LSgNmr/ALrAkyCVtotRCzU0DjFKmiX4hKTWmXKkVWb/w
1CUKF8Ww2IhygEZ3nlTlQQimACBhMmUt+IwpuvdaSjwU8PABXvVRhspCHWXhC0o+YFhSGHZnsdKQ
akpjV4nOmBXDJW1ao151EhVPYluZOhb9D1QoS8OlzNbG26Yfpl9jGuHgNYxTQ/kOv2EcZHt9eOvM
Kp81VseXOq26B0Gs8F3IskmTbc7kuiTCLvRHk+hstLsq71onMjr5wSiihL4/gKk1Lvf6risqc+MH
YfezNRvlphLxEQjzqXtDwQrJ+F6q6UoHmXhNkFdnJ3Da8tw8/fylWwiDcQ1TUkD00FzAiIp2ypVG
HdH7KdH/opcNs37TW3ckuraFgQeSHHatsRwtTqLZsShfe+WMKq9TWheadT6kl/1chVIQhbnFWTGR
hTUp1+b9QPpvbel/57LPvw+inDyP/2dXJy/Zr/pjLDX/q79CKYGG4A8KrxplJC7Aj21XgZ7iD3qn
Joh4ipeceIQHf/ddBfMHcRSgYQVEInUZVBj+FU0JsvSDCIswa9ZEpRFmyP9JlWneQP9sMEzuAWhQ
h0E7SAQp+IXoYJAitXrlKTc18b0dxn7lqBSfN9QccFH1RcPjayLsn6bjh6U6GWK9DzzDOgFCoiE4
X9KLO2yEE1v7lXqjZF7u5rM46WRMwYkQa/4tn6YnWYRWhKumQpAFHPLzKFrWRW3aNuL1JCgHwSh/
e7RngJoNgM5++WqU7TG+XX0/s89hHTNbjDkHlx8Kd3mdVMUQieJ1jStaGvjGRqrTcV2I/pVZVCcG
+xzU/TWYCmEOXDcluy+hAMUqr+MwF6+DrBddK+bGLBNYCWFnT8dU7IMTpbv3RvxiRRFe40BC8GCW
h1zMrmtrBcyeIV/TB72RPbU+p9O1y+IYvkNPU2AUdqEMmx7brvZCa6ZTYjrvyN/FA8BkRuLaJApC
GXNe/o/LqxRjZTW5fM1Qyjlp8UVo5cUGIqqx7fO2oLdbo2va5bKrB1lzjNcdHU+7KLLoIcQkWtgh
btGcEOL68s4xuCUjgp5KYK1S/f38UD4YIKlIQohWauvbqNWArks4ro3CmLbmUJ7aY19XgQGJ41E1
nBMIYuzPA1bouehmOelXmWbhHGeGRwBIZ1JalOsiGkEdNPJ0m2QETQENEUIVsHh96FCSLHZyplWu
mOZHvzUM5/vN/+U84bkM4jyInMC2ubk+P5co42iaWpNxlYvlqku0HRqsz0hk4esFjh5CKT7s1RRt
x0SqTsD+/7gm6O+Jc7UcBTB18bFXiW/UdBeNK8Ovz1MjesOuXrmT/GHN0w4PhtVeApHNNpNWqStY
Sv6OWssmp2UJyGIcqQVTmPp+Of60L2AHcfRz1AG8WTySIHO++qXMayqq+Ir7vXRwj/kdC+pTVpvy
iV24XHxAWOwGdMlEgOzz8n9e/D70PLXnFLwxrfbFKuVdVQjrTihvh0F+DqbmDmsct8km78QhtEB7
MzOuN8BugHdkBel5a/HW+zAoCvqM0o2KQ48BgNH0XRXCkL/3tYtOOC+bFY1gm8JS4qmUPENX6Z6+
X+n3C+PjufD+DIgO0RLgWmXrfZ48Xj2KOvWydNPhJXHAayRQfqryutUvwCyzF94MfT2EW10A8O4A
uA12OFEC0zzxGPMw3z3G4nhKKtqQPpf4jf+mY+H5KrVbidZv5wjGXs8cDxOn0kleMAEwpD0tlhPD
L++D5SostkCT+ykpN8P3iRtKW1/edqE7YfFsXPbC1r9TJTuonGq6A/sUPmbJVY2Pzu8TDzGfdt+t
wWI7IG2VURMQpZsWrx6tfOrkGGhOZXfDK4FywQapLDxOR/XE4fNewvgyMOAxLn2Fxt1S9wxkLXDm
MJFvyBjiwFFF9POBjAFm3nTTjefT0VC2XA123OMNOkMBnqf8IlP3I2jgBMcQKpvKtlOOKJmmxT5U
dxgX+/pBlrffL9F7M+3Lk76D3fhQLU6tz7s10RCWymNFuomr9WBtEGi41AcXT7q8JTW1jdwF2uHF
q+zY1U752r3VO43MfoMHsJcg+78p24tSsmWQGVioueJau69ztw2c1qCs6ljtVj5F3nonqy2feS7J
EmrQlAQP+PmZi8DEVlrp5BvYR328HV8q+dzvEC54MtQVOUeIc982VHn4FSg3Hb8k/3rq7wZh1WXu
cAhOnHbvGmnfPc8iFBkkbG5zoeV5RicCoOs7xoXZHfwYlslaN1aDb0fxofZ3Su0GoN/Ku0jZQgzA
5v7Sf045iJLrVDzTxC1AJEFbx+JD2NtVvpLLvWGsukqFDrQpwg3NmuQxNq8Tb6tXtniTTic+2/mD
+G4mi7PLEpumxWROvgmn58baWsY6STHhe2nHe0U50eb9EsEBR587ytiu8JnAWlssG3h4+lYZlXqr
cfRr/Ny2+cbbWgfr2diXJ1iki0YvN8NisMXM+hxbqwAq9w2iCwX+ANgAVasQ6zp8oox8r2FrnO3j
YKPGZ12HIZIjED8N003Yb/MRXbzLrr1AqQj8WYzV1SrF6f1aPJ/i1YDHJ+Zaid1iy3EMj3FHHcyu
H9V1LuEdf4ioPmCjjTL7ba1sp+4QRKsIT4vxXIHp0dvhq567gXAjZycqgV/CkL+mPEvf0askHFl8
JkSbKnbVo3QzbiAziKWTamvpVXnsdTpaayiXiAN0hhsG52UMUPvEBfSuAfZpL80rziXMH9zLBMif
v1KhT1QrKlhxy98gcB41uEO78wkMu8bj0lmN0UWmbfJ+Fa0HbRskzvCLCkxvuo1Em/bQQ2Hx8Baj
eRfd4zJNdcjD3T29zhAB41tLzqf6HgNX9Shvw9hR4lX1uyxcOX208hsfydl8jW+UZ95O0plYbJG0
yt2sP3XSz3jgr7OclVBNGVCztDg/66IGC+qzyEmwqfEXRvH4ReT0vNdp3hXUgQ6lv5aHPR5TxUWL
daluK5Mz1OtId0V8jU/d++8K19890OLixclLSuthkG7M0QmxaJbvI/W8j93gEoJSlxzK5rILLzt9
30Znkr7PJrcVbPmoVTgL25Ju4+kH/JceZe25WUbq4g68lMz2L02gjbnT/qzvjVdcIm6Ca+1F92zj
yO7ypt1aR3iBoptpVzdQ+h518Gz3FCJ93VbfuFrw+uvv0wtiAOvSuoLSW6brvoMH4lDgJEkq9sKv
7y+3uUH09eXASiBDmzHic/XiY4omizOnnDbNjXC0LrXX6JdFWfhnKp816g7za11YtxzX59Ve+11N
kI3t8pK5py8E4tYjbKT8RZDc9KK5UVbFfXpb7rS36oIth5YRDs2mgx2n8BreZOfeWTbZwnV9Xu/y
U9nEMnR//4xpWaHXBiievsliEgYekYPFJGY3187uFAdmT3qBQH5VbQrNluItr834TQUOXHq2yU59
yfKXcJ5PeE7yoA/BsZCWouo9FKdUDwL5htZuZNd3geCEm7h1LXXj9TZVmaRfJxZWtI6G39ujbJtn
9W12wwttd2nhZqqdQEzpDs0dWs/m5BrC5vsX/d4HW256DTYrBSQSLrKoz2tkgTQpdJM1qtYi8FVY
1rfc/9r1Kgqd+qq5s07ckycHXBxuVYKpnD7vLCS0AJjrv2EDwT0eK9oX9nRQA4CqdnWSzTpv2O/m
udgL8GM9EwkEmtt302sD2eui/W3eStfRS/di3Scn4uc/vvd/VlVfFBOALvw9mn/vaRTiHfNF/qUF
DkKbYXviuvjzJvsw2HzQfiin+GBOglojdRsnRxx2CpD38RLfcuJKxPLzx8CAqYzeI/EUPpuhuFbB
KJjrkBvYu22NbS5fWTAUvQsRGplW3avZQWW7dWRe2qVXHiE0nXjkPwYwH3advjheAsRyWyXkqKUP
ACt1vMOZHZMsuE9gqMNX7LCzU3qRf7zUP465uNTBzSQ6yNsZ3uB0GGSOK8FaZ/WRGBO+qnInGG52
A8ZlVlW/Ounk9OcpI8UxE23InN7f4oe3JPh9prZTKt94b+KLP+69J0taZT+LMyiiQnMZpidi668Z
/Xz2/DPgUilL9ju4kXkp3+hIBZou1FfNWqfjbcbcsUrp+NzDZpPJZwZxVgx/U85PfOt/ukQ+PsFi
Y3aVVeMkyJS72yrDftnFEZg4fYxvvz/EvsTec/hAoIrIyVzRXGqqBn7VD6PnicceH+AAkibkjXLd
pR5cZBmn5qfvh/tap1iMt5xX3GYGNu/iMaYfY26xRgCPDP4OyC8mzEmKO4grl9eJ4WI+o91113Vm
66swPvGGT0178RH1oD+8vuMxTGlvmo7XO2m9l/ynMHNS8z8/ZRaTXnw+WpTjpxcwGrRTxONK9Anr
NeQCUaNFCBNw1emX6cHE3MgEzL8Tn7LEVvwDHFIVjpEHhcb2xfUY0vdzKt0pgUr3lPGBEK6/fz3v
RcJPR/3iSdXP56EWe51Ji1s8AvFLGscvzgOwjt0G7F1+EdQ7Pz8r/M1YOojhKdUm44MYutlP/LVU
L9SCGNsLyYBTV8GxXK0Ovbmfyou4ogDmjoIMaYNz9DyYWjv1N60YOBoXl+5g5k5PG8NkdM6FbS7l
jkiiWhrHtPv1/QwXhE12+jxDUM9IUMxtkaX2LRjzCMEuZthll8+F1TtqCBtiVxnIMj0p8c4itZ+u
ksFpTokJL+Rwvg69jBfM0BIDkaEDdTX7p/csgtM2rhU4NZ+CjAHPiUTh68m5mO0iYsiysP/7fSbn
ubgTnaHbQ2ET9V8GKAbxoKARXZ+Ii2bc+Od4gUFRF5wRs6aGVtniBg8EMdTFaJSOVOGacqeKmxJV
BYXizBq5FgtkYWKP96grxJYrh/soXhvBBuGtoF/Lqt013Jq7NNl47VwFigI7EtDcXWE1rYIPvumf
rINo7jz1VXgen9ASdnx+Na4QiU1+rMp2d1Mpa9XbiKljHcyQHj/CEgSsc6A6sxDNc6tAF0GFYLEB
CWNWTp+SQJz4lPT5o15+Sjhl0t8DzG7Q0Pz8KSVW1Mp+I4hHFCEYr6odpMbfdFAQa8O7tFSUSFx2
AUSK4Cd+1FPo8vlUD1CiHAoE5q1wE+d2YrIABwI8NViJ5lap1625DZ/82/iQ8l3ag7bCLizpNjic
tPV6MLELR5zaCYY7S4AD99YK+0R0FAxqkFyO7NC05Q2loonFfAiAh/q/vWxnkqNRFY5OhCpfIrn3
ffDPCiwO2caq0W+I2O+1fN0gjtptQmGr715KWHzSKXekmXnw7XovDtlAMEcBZWTxSJFlV70avGoz
XfUl8WPuc5I5JkoIv5MEyrvdZBuAZ9WeHJO86rV6RhyWi8b7GZ+qAP3poeajZjZthFSxWALAhGIY
T5F0rLChrRFjcshLTpxo85n8ZaNpImJ2YKIARC0mnpVxIqV4bByNwAZWipUCqXHzK/kJSiKC/Ni7
E6IMkET9rf/w/djveMPvxl7cF8qgWIGaMnZY2+q98SD+NmfHelt76B5AWaWR3Yy2QTr+RLWnlhz/
waOmso1ZazyzTyhS/elSpyP4r4VYVNt8S8z7cOilI8qlU+rk16nmiLVbIftwInz4monNW/vDUIsC
TGZNo5CiS3OsRxDRiFPkfI2ItTimdG5wqwskLmtBPIztiWPl5MiLSwQ3gUAcPSaJrAAFLthkfr/q
gYuToYAphhFp2lrjGiezwFPbbHGVwHNQlRGG3lF/bu+rJ/aY/jJBSgVvfy/8DkSnLN1kAMF16g77
40H6Ya0X6adWp5FpxKy1ptwoCIF1oAw34gUBpHI5vqi/22FTYNQoTie207tU1NfNPbfbxdk/e2k/
aSUGOE0ExOmHOFHlgu4TxnXlbTSrccdn3ezsNrit8sfMmGw1eg3943g3FftKeSolyU6lqx6lE49e
LK1AT7FTZGVAWykhZhMyTp3F6vuP8c/b/5/HXZw1gVeAnWdk5HswU3EK7pl650n3tB/b8lSZ9493
/FzcwvwaIaml1CqWzElfqIV0zJpVqUt2X2DcrNIrAGpwHhQCTpLrItifLH2+q4R9eSkfBl7shlLI
zaLVcmZJ2A4jsbNpG5Wxm8hwXWFioHcCqdGdHmiExPK6ASyJkyd0jppKsC0qq1Zy6xY6rhvEu3E4
k2mGNxs1Wiv6uW5cd+rRD9dRt+v6vdYepmHj1ScO7D9ei//MYGl+Y2ahJADmZ1sBrqQyXbE/qIaO
0VMzbMEn0rZxv98ZX0uS83GlgxmZVSBlfIoXsQhEbxj/RGQYPCoTVHj8byXgl1rmqslObt3aXxvt
phSdSoVxka6xH4WX60AjSap1kt1r6SFJDhTdZACc4eUwHdCK7wQXTa+q2JX9AZoNcf9DJT6F7aHu
VlPymKi7KtvJ5jaZlaam8yJN7CIpV1lEvVympiLdBN55WB9PTPbLd0ADAHs+0EAA7hV1aWY0hloY
QKASj1ZxyAntVHDJbUOZ2dyk9xCBjeY6ggfuH9P0zE93RrSeEtqy11ptFzpcWScrnB7luN+N5Shv
0rgKYIQg5UasRhBG8HAhCCuUdoKMvO2s2RSJU66TcTVU6xrhhEf5DPELypHEmKBrs+vvp/fexf30
ASymt7gABKzBmq5meuqwwr0ABj9ozvzFdIQ9JOd47ZdOFqyC6poqsiGz8CvEvlWNgtRardaU1Arm
pjqm5kryyvMdq3/DeaOSVxDCW2WT6yDhnVrYFMWGuadIOW/V7FjBg0Mfvd42hm2ZDnxu7SI1HAlt
AdmtTFfzMVZY6/ELgkuNfKDEXoduK7t0bLGgaxWbelo42DHL9zyUdvFM+lohx1kgqu45qrmutIfC
OgEg/VrHmdcKQ27EMAH9U0b+vO8rCcoPkhWERupqlNdiENtTc5XB5W+ABKmbXHXq9sov99Mcew97
vTlRzJxfxpeX9eEBFrFZ1cl9o5fEf2a0Ncu7orkwdMeQz/pTsodf89rFVJeRWKEpYKIItkVv1ZBa
juOjpF/Lxq4s7DbfW942rs6M0MVWps633+/Jd93A76a5iLzEVCkHb96T5ejQjtYT12IzDHtR2PTZ
ed3tNHhXw8rz9mG1kaILv9rolWNlNt5O6anS2dc8e7EUi+BsqlRcnKJAOqbZWWNsTboTqIAd81/g
9krgA/WpmOxLhLIYcPFJguhRq0lm+gAcs/FX2e1S08eB8kFMb7LRLevrNn1k1QldvKHefb/4XxMf
UC9wsRUNgV8Qs1+AX7WcDNmkxsdUK3BPL0zIBE0arhpresIRLHGnZFJJLttnv7SCs3hOv2pNwQbA
IBvKwF5vxsq76Ks0c9RxfDNlRBwkSfhdNfozMd+4UdLxNfDX3dQb6OXEt1NdnXLC/hJdMgnkTvXZ
JQhq09JXdW7VG0ooxccqm0EVejmsEPiYNt+v1dd6COk4RBUFBgm4W4C3nw+ExhgUIfKN4Fia+tOQ
p9NKCRsAvoiK2XXsSSugyucWpxrwNDqnLU11pTs116/H0vtTAB9917EWlwYYaEXmvu+NwVEfaGXG
UALNUo8cLFz1nVphXgJsylKVfkWGnuZbQUDGRT4apXTX9uF0YvfOX8OHb3e2gAK/RlcSv0kZteZF
XF8OQ9kEnucfBwZxyzA5BgPMCrHx3/oK1Zjv38AC08+1zDGsIt5Nz0zEJW8JkYzNTBMnK2funXKu
y2hBSUoTOGUj33kJUnyFGm4bWalWRZa+lDGZlCLmwlktTo95xy1edIYAwaMoV36SvtIA9aHIbssO
um06qIoTcrDA2Y13ga4lJ6LeJQZofvi5C4FAAJBjRVzquI9jbgAR0qwb+Di+PZWUD9FzVNeWF++8
JjlogiHtMh/CSymkcPb9VFj7FT2kAm8C29Dz+zEvYxvK3k4uTH+jmGd6MApuZAyRo7XtqtOUU+9X
/vqC0fGnAgWuBQcZYynG2o/IMEGPEo/YqF+gRWP3pRqhIggpf4q8WyGMhWs5nRBLDQZjmwToxeCL
jkui2V9oUdGcDQPFQuCl52OYjrtWkZzC0w4huG57FMXgymOeTotKiEsPqbsIxLa/CPFiRug2mpwT
+2e+Sj5vVx0AlqXPQsK6wX+LL1jHlz3UxPqIQk65iQJW3xdq9BCGzFhpVQgQK3o0dKldyzWxkecD
pEF2EBRcTsxWZe2wF4SeahSd5SyuvYsopATnTzrMQ8XJq6a8bmQjn+mA6brpCqRPBLSS5IHs+vup
LHshQKUBi+K7xPeHwSJo5s9TEfsBbaG0sG6iosrP0Mu/kwk1U9240NhIGJAVtZOE7VaDBw2DSusv
0gBAC84Q8T6R4lXbC9FeQfmQRDV3gTtFrqxw3b8/5n/5Lf8rzUL4/57gcnhJXvrwI7Xl/R/8xW1R
tB//x96ZNLltbNv6v7w5HOgTeEOSYF89S6WqSUappEKbQKJvfv37aJ97r6XjZ8eZ35HDEZJIosnM
vfda38Kb5PEEXqNe/ui6/WETdmzYgKyocPxYIGgcsKD+l7MFsApLLYLHAD8m2OSr7fhfPmHDEr/h
IL4SSPhL1wAT6z9xttgYWX5+U3wf2TUMWSYd1+Pv79/jz7NtJbMsW+xlWoVTIEAGMdBczrzYeBpz
WX3BtTWOLK4e20xAZTCR4X1ISgAeadj7mxLk16m1m+LiQ7fYTrnRHGvLXDacnq1zG1qY9XwwBeQw
T/T+hro7Qk6pDloTvOuH7GZjfWr88eT5yv5hh/OrgqBXL/KxWwBSyUxjMBqCjT9SCpqT/uJ2JqUW
boGVXbtHkvZOGidlN453TjN5m1mX9cEImYzFIA9WRq7D7TgPJ3CyilLS+DTs8KWvqH8WgAhGYh1m
ICWrCRtor10jmgxfH/U49ivQrXTrQlYDLKtEyTfyUhNwNIMwJoWNOUw2bWPX5/Op0WMSfUOnuu1Q
tW0XU10mv9jFmu7BdJ371/suY4DTzAytgPYBZQqBxLXtqsZnWMIZgK22EFjtrvvUv3GN/FkaEdQo
SFNFeGcV6UsCx6l2JrR8aVSRCxL7+k36MznySBNWmWP/MNs2eTVjZJhm58372bMMmkfWsu7rwjmA
jwhWkwzXE0AyEM5qP6vcYdCR5MhEkpNbpR+N6ahTHgZGZPRwVcvaZf3rzQ/Mdcmm874n2j8mpvGg
1cXLqOzUFsLfDTaTjSrG8b3xxh6EhBs/BlZzW+ftUYMhy49yDvNN1rK2mg6yA1C3h7GzsGeOJZ6M
4WSH3WNpl2ew77S9Btu+Upnvl3L+0Ygwox8OAZcMCKgX07d4hEnd5fVGyPw49smCSlt9T9P+I3a9
u8XnWWqCnGwWuA5ZSn69msdPj2cLQl55UJ7cOgrwNMcEZ1u5fbafimJjCC+LmmyCxzqwta902WR3
hP9eQZpDcSza5WyXlIGkKKbb0ZGPjV9sQdauisxBxCfTfI/h8bYdEZ64Rf0B0eyjrNxNP88HJ++P
maDfJUNoPI1lNSvZabXWcXbf5/kPUNkPVrN82iOidxF3U1RZ6Q+4jSQJTLDu5hCUCkTrsk2fA7d7
zrP2NtZU9TSOQ7ghK0G/hj5JTQ9hciAcJ4dqqY84nIGCpEuE/s9/H9zmmzsMX4fQyXMyl6y7hs5F
GTaXsGLgwPDLMgrEWsRZZrL7HhNTa3N8wkn1BMe8vK9jhI6OU1bQNnprn8X2R5449jExKOnB2l79
ztrfZEZBQKj3bo9O1KiFZwcU8HwIF6QQ6f0Sn4BXrkXbbkrmS7O1lznwutD67s/e0ZbxTvdHuCSL
hYcZQwjSPzzVVUUHCCC6r9ShbHaOMGggcPbFAztPzZvl8MxAWkQ/yrsAO20zOea5LF6clvGg2DQK
dJwLyzjlu/PKr/P6fXR3bQFRR78Mgf89KQpm0NUgTP6QD2qpXrsxwVthD2z+bexGK+T1REKNYBY2
OGMLIIFxvSoqr6dPMMNGeQzAu8zHoVkK6H8OnSXkNYMbpnRScsXMCCBV4B5COZnJm0m+x6jWAVmR
5YPpt255Jyyt6teKLEcLCJ0r0yNxHxZTylYoLfZyBjvK6BI68Gkp5txftaMd2xvyn+yaJTVJ+FJd
7HxrtAruzJCkoo1lGMNDlyCyXXPO1gdyN8oQcaci3xxGewKgusuCBJyk67wUeTEh15pN3eza2vE/
YjMGuNqUGQSjNhsGVudsqTtn5TfUhpAkM9ePipKczLV/Zaxv2oE5R4Q8u6BLxn7jbVq7nzjO6lgi
vu8cs8EzUFT3C8aoSLa4hROYpq+KE5mcC174gM48YdWUw+5Q3simPcBm2Xhzl38tFq94bxfrtsyK
OzfIjJuqLZ0LzP8Yi4rMGGf485NjaUR1ruheqwbT/yTlFydU2Tod+++ohfS+0xh9wdrx6lxptB6T
vnDal3Zz5AweHutlO4/tupvyU+eNNy7ewBBUkPI1nWEW0aHdE0MbxTnzG7O6H69jOjh2ucN9Nyw8
Y1LRPy/mPbwdC/4nR8ptKQx1M4RTtsl1d0nTNE9Xg3xtnTQKpRbnETroqm9/LG6xF5C7VqOf7FWK
RQ9Odw0MYzNladesRb7toXnWjgsCnyzJaNS9PBpJsYE+uHP6wXsTJCyt7Ak+KjifbrvwFh38uP/i
o4ptBkRxbnpsF6jgeS3RYvBKks/26MPWCnS8BRX2JAmKWWn0Pxdg9yS1zBMUVBMcaDw9gMRWB1DA
J9Xk3Sq9wlJ9D87hMEoa382u/91SOLc/ZFF8Bnlmofqw0n0yzHpjQeXaE6dbMHsif6CAQAs1K9IT
794yFhGSF3U/4v20BvXZ9MbZjbud9NtN3pi3QfLq4OzexlV6Uq2+70pvDfF3nTv9ak6zHUinErZq
NAThl8SYzlovj34BopHzxYAGFeWECXq10/mOHuJemM2nOXf3wlHFXckHb4BP7VqrCSJrMs6D19+K
hp5fk4czJHKglJfQnd7leCdzQnK8zAh3o7K2CfVDuJwbX216FN8DxyW20mD4XnndFxfy6loLFv8O
bGlkKLvbJpODeqEsIz3Xz7QXjksyLLfSIG/ObOKz78xbL7XvOy9GnBkqWhsTpCwvz3eDm12W5L0c
ukil/bW5cgAwTzqKCbBR66OcsleFJmp2aO1WJdtL3YcHq8tOQeXOkeAKaJE+tgjbmx5KG+vyZKo9
IFwQmtoPT0aefApniQrX+FY01T6oeJC0FY0TvLBqXndhrVDg8wD00AR2eTp/0XZNkGm8iU3MU0K9
xrK50VWyryUviClWTNh/ZAyxR6WiYuAs5vKpaZW/OF639z3eRVne5UXLa0jI3zbwpvLgeNPOqSvG
CtN2TMJvHUHobnrfynOSYlet6xURGyz1LMbhpZ30eZlMzjfPgJAiafq7bnypnXZvzn7xpdcmu+Bd
uJjhTnXVoZbG3raN1WTQqlftGkXdi1m/D8r4CPOErf9cycH8karqZOf22m0lUDeYdTLc9anxrCwl
ozgT9q7MA/VFj+GLNZrFE+9ksIoFuxz0jJvKM3dwfj/9zImwqjyWlP2svimCFceGapE0j6T+1fOm
9RIMGvrFqNGUeDSTgnksd17lSs7QJbwZlsIAJYyJnqs1bhXj2yZ882PSiE9t+qBSL8oGdKRtCqG1
Spf4ftTVixekt31mEozRuTseNQED1TahpPanAV1/a1bvk6tPugtuwxxZRZ1qYkZI885FABArhtYC
E4IVLCqadquydvk6pliSquZNF3DS4tqKSR4bol7s4paNfDBvISgTem87wV7atXwmrWEfpnuIYV8X
5T8UFnG0RuW+hvW3Ae1ebyfQnOcumqV4EDDBNqZjsjK0KNxcEPhdjjQl86XYJAyqIYyt3YznZ4bT
Vfm34Cl3BA7DlfDMK15ONc9VWRZ0oHx3+dBBRZuYl244OyRPbPp6WrZBZwP3sw3sTSUao1q7l6Zh
i7G0d1+peXqF9718pin/Zj+u4DIlNxnPUNT092E3Pi9zzck6PIqlhgsj61VmYwq0chIl0k02x2en
ENtB+9umJGiR8annooUzlDAeltkH3a+S4UuRLBdlc8IyiE3qxjYqZdOD3CvWMrVeDOmfGiH3jhoO
TYdaO8BIokR4DqbknKUhITPZrVEGL72aPnSb3SblQ9h732SaXjeXr/VERo8KIklPKAvYnkbZ+BfP
Ko394nvpqmVsZ8TN3u+qk5UtN3YWX5V4I78D5mPaM5ryzCeaqncKR8sky83imtQJFK4r26ybvQ4s
jiHUd+s4q1ajJ+51YOwS192Ec/cxqMrfUz0wWwJoW/vxvm2ztWaICPaVi9d6PsH0Qz7vrWB6dkzA
z5UiB4KkwUvIJptcsWi2PMBleb7G+faVqraydfE61PMxhTZpWi910ONUTzz7rmzdDy81jiPrlyzV
t7AUSdQXcrfMtLG9B7aVi8dfatweCq5jd6umcZH+esMKEWd/1FP/kjtMetP+dtF0b2FW0bxMf8QA
fPo4+9KHMMQJnFiVVvrVbacbd4aUGYf7mdviy31XwGOs3qSA9k5NgE2USDqf/dUkT8S2aAb5eQQw
/wXYUPglm/vu7LjB3lWC2XPRb2kK3i0pO3IqkLrpjJqQXMQXXztvZUEWlQjT26Iz3gmUiZpSPSc1
Cc7Zlfedwldnzlg4tTi2wx04FrRuzb5umMWSp7NhyH4fiKR5qt1ymzUFNEub06kW+qGog+24iBpF
wfgZgws60+erWCKgdXY266oJC4gR4RDVE/YgmSO6nJ3vMsHFV3mJt24mtTfyqWT2lhNR0W39EpK6
Q1jqyhGDOllTyynRfXdFyToSBlT43vwULA7ZKNWF8h40jbEWw0RvYdv1/VYVDOLbXGzdKn4EN7SF
dfg4ZnE02PTmRtj/EBXLttkHI3g9qb9qDu6FhYsNFpAomaMGJ7IMtk1XPMvqXLbqgUZ+/ShhvKTD
sG/c7nrEQZr8rV+KXTq+9L0UNw3IxVW3+NlbngcNLXw5QdZK6sfYR3baqPtehMkHFBsT409aJD9i
p19urmR1NEhVaR14ooyKqVnPDeZAciWJO4dkANUzp4F9aUm6uzetxTznOc9eLWt3XZhp/0JWTr/2
cM8cCuHPmDAonuWy3NSKI66rGfW1XlVtOc8nVNQ8wCm0140vxna3LH3LXmFuASh+k24Ct8c0Y+uQ
Kytc11497WuRFrtmkG+GnZTP5DowbQ9i+xu01PqlFZbYJY0atkT+prtS0qeE8tse3Lyv7ilhrQeS
s8a9lL4HknLA/kfil7NNksB5dpISlY4Bb4k0lni2H71FZh6fX1HmXMktF8lWdtSlgEpilG6+CmOb
Zb4YEPfK3JvZNPy8OrO15PVOZECkxmubo827/ibRiXUHkmo8YoMmPsEc8/k7cyuxbuZ6OrACVYe4
TWZ43LFxXDrk3Q0pYBWZ1DQMUns7m2EfmQnIgpwY+oOX29PXVotrv32o2AD4mo/+NI2fkvMUgTue
2JXOIHGxjtPdJNX8PfdCil5TzdFclYVetyXEz7Wgy7qr+GXVGaxsQg4G8RhdEk9r0cTBzuB5eI+Z
wOxCb86/sZAfh5yczHoZzD1SYnLe2ammH0w0NPT/wQvXdu47l9Hv5vXUl+7ZcSaMmpV0JXlQVbo3
a9feKEr1NmME3npkGKyXUlP/1uoSsB8qqN2Z3PZc/BtVtuXajHEc9kT+0UQSA6ima39Rs5T4zhNN
GKQJ+eLdEhEkvk0A+S+mQuEyM1fLdqEJ7EDbprwMY1KdKjyQZ5UO+UZZ5imnx0/MnG+WsDpd/pnR
rLoH4WrzjQDF/jVBvsqaCk33QRDRka6CUSEfTCGhraYWZKvN6XYv6o5c7mx29rU7UcQqL/W+lyQu
YIaoHSIIoJ7lh9pLmxM80vzoASo/w2Btvnb5COGudzya3GncrIQMARFUti2PDp9KAF5HjEkB1JXj
elU7L9RP1UobbDLSFAe4JVGH188L/WvIUEaARPg49dW7TTRC3cjjmDfxLrGgH6MJER0HjjZQhw4I
GxOKtqcDQO45Mv9CefNJpznLCLFdlErEujGhSEp8guk4bCjkhwsGq6uiwcFtIajrMSN2wqP2KOU2
RM7LiNTUO5cGrkPmj5CP1VgmO5OrAjlt2GjegR1c5LjY9HlPsROPhgRPn2TbJtD4+toEoFsgxveg
q16GIbTuDXNyOQeUp8IZb7QhypWdFx3ZImH2AHlI3BiueKxctVWISeapHXbkQHT9vqrrIYZ92osb
EghqtWmKtn+KS/2WM//mTR2T7qDSrHXRm81arAzdpKea+VwRdSQ8cyhZ8PJN7jePUNaRLlEw3cRe
GU6ruVD+mRMyLpvZoNtKdAp5KSnysqOlqxpBQSeZ4IcYY4gX0N8Le6HnuQg/5o5OOFH7snkYTY7a
tk0txWGkH14TreZytfTFwuonexK47KmWcBpMd73UZfNstDXUZcG/e5Rxk0WpIbDbCnfYZ3Z86KBe
rOrY7G9GZmeRYw32BebF9eixBMNhdC243Y6Q87GjUcH2muv2ZgLRs+0t1zvbWtoNS4iFZXCkQuTd
WiyaKl13oCkTpYoysOzNaIh7c9eIof9m1T3g7JFqOPORtHZ1FYX+sDUSZ9fX47nq7fHR7hTVfe+Y
0weOSXPlFZxDVpCvPXQtMd7VjE38QHlV//DSNtkuAYEcfAtAU0XqJTeTSqbT4sMzXNkAX+u1JnHg
6M/VvRd4msOPipuHggB5ZveSSIi6BxNLDXmdbGXxybFYsQm3GMiei7+AEHzOK/A/Xhc/WAPRcaVh
+5t6qRCAU9DT7gBP4CMOqayGp9t56uzd0kgU9dKozoVDp60QxdFmraW0Sd8ccFH7sWhefZXdW1N3
GaT1yTKyHrmUHEupw43boRGag8VVfOqORJS1X2mB8Udm+bWTVhEBTSboM8t4lqpgY6Ivwh9OGda/
eEW88JRKda7Fq125T3SSrJ0kKmQVFs79SCrSyhwrUoWIg8grY5+OcB7qIiHa1u0e6DPdp2DKGeBH
mXlxFkucwZyTLMaZuGjo95IKQnRGadQPBiBwlmAjjVBPMdQHf7wdeJMCgyg2Qb8ugYGR2NJ+k3OF
Tpw+2HpcBvGcNn4EqXSd9+Zlpj+/moLgbmo5OXih+ijgL5lupdecsFFPBdXa9TJgV55ZfXg8K5pV
eeP0xZ0JWDpKahkFytmMYnwqfFSHhM5ogC1mENnuhB/efikX56Pt/Pcue25JSjFlFaXL4OwK8VIV
TCD6SdJz6lSxjnPI55b3voTEPMhUPI+EGZEROK4MGgDNPKzpImJ3Ni2aKRnSNnTgFb0xL67uyc2M
hlbvJ60jfurWY0WAmxKpztxSN3+ZZsG+rtyBLIvsGI6lWqUZuOfMdR8F8Ue0TZsLASJ3MuwTHMw0
vBZnl5rUC+BHzAgIzI+kHRp6keJxMOtsn3NOO9Nv2FdBnN7kFoc8UD5bxyjlPbh8kmfC5ofjcyBd
qqq8p0H8OF0R7P5ArSxH78n3vOOsaW7XqQijzrSoksc9Mx33a18NVAX6S+EnW+qiekNc4A8c/CNB
HrrbsDNl5l2alcYzfpXyMJK0qnaOb7zSOTiRAxWiDBy/BHa/XsQ0AUhpH6CYftd9nyLfHTmiVeqz
jTPaWyaJiha+kT7bVJCceeKzAYC3l+6aIMm3dFSeSWWkmR7XD7Gp8yPt5+XGSGW9VUQhbl0SaNYA
pHo0Qc65mqc3vygOYWxx5eiGrUZVXejGG6tWmUfp4zFsJheN2twyPGKYcfCIB6jcthYrW3rVTdX7
Dtgzf7O0RJA40tyYVs2Vk+tqsJMV19mjlzN9nb2c2KUhPOf9Yt8YLSDT3AjGh6m3jHVnUsUm4byd
ydaKqAzm1dR3Ob9wCdhzEW7WxYPUaQBSxL4IG4G5lWX2Ww9IdW+Opn/rlMSsrsJwzu78zMhwi/tE
tzBZW0/d96BpvQNBj+3TTCD1Kxv5dKqq5NtiyPTVXYizlK3clz2PS2z4lCdI2s0lu1o26iNVkaxz
GaUS35zVIxBxcod3Imjnsx/mxpYMZSSs1Vn25a5fdAQO932qadjR9sBs4jEYC535pvOQKE/jD5t1
GULc14Q5TMV4aD1M+X6hi8OKJteFXZlRkvTeje3znmoi2Vs3/25nybac+dUc81ZilFto9c816qhD
QfySC50Vd5ETjYbBTULQa1DHkXtPpCuZXAlcziDsPrOWCNw8TM6hyDZzLBCIN2wqnDBWTrxkO5Qw
eJKyY1mbhxbicsdmTWIaj5e1DG9eTaTVINtxJcvgeRmdj0GkJyPLjlYm9lmR78Kcc1Xe0lJp9wmq
V6x89Tk14voWBbtc5yGgAW2zVIemhIjRLDMC1hijXRqyqGX8SHpXlT7X/XKw26Dg1IquxgrPpeup
vauL/JhLw4hX2vUIQssvs1QvhjN9MsXi5y53vl1WLO3XE0LyNaTB1BMws3FUw1F/xAWVpc9Tg51b
l8nBrRe01/IkS+vGa/xdxhBrxdTvlLrjkY2xpQdsZeZ1rrntPAcXmEspIphuZDk5p6kZngrCd1f2
4r20S8eTM45YKyfPOjIOuRghjJEe9URt1K+S6fZmENK9yfklW1QVGCeVTwivx7nN+VJlr+34WRME
xdSYi2ItWBqW1PvRxf5bgzisEe6+Uo7FAKuk4QvS8bnyHHX0NC+sHd86w3Kp0vS9MptXc2KsoKSO
yNgl/PS2Hgpua+3jciwSd5vFJCOFVJihBf7CQfUtOZ5xbCAEpOJjvdZ6GOpMkeAwHrN03Mq4h/Uv
iVswT13sqr3uWB0WiMXrvAIIkRjuyi3NyLNIoMKVmS37EKfGqtVk0+I17KAo9bdqUtam8DAl5Cn+
Msdxd4lyg2dcFWzUC4QuIxftnes7HwQNszUYu+uIczCSHMsCSWl1YpWbVi9vWFkfsgyyxxSpTJtI
C10KmKK61FwFwDQWC7jlX6yc7zcTv5ks8KdziygLLjTPnTeYn775kQ3N+A19Yr31RM6H35u+IVZt
JcNbIYKHBjVxLpy7TNMHGrX6ktv4J1xILpk/PBmcNfYLeUUhnLeG5wsBTDh+cWjIZnVAk7rzH0w7
3i9IlfljeFd5YIH4MyFna59Yx2FzESVAPgAv69Jkz/USk8MwOp/+gqudX7wieg7LQBJ/tZsMNlbA
ZNEG50SS6grKybGO4WlxBHHNhLkz1MVYfcY+GSqkl618cxl3Xs+xla3mrmaRFxCrHATXdW8T+UbE
VZnJUzyqk1Mrys8Fh4LI1T4rnUNI2gaO8rb4YEMh0CJ09bY02l2V0l1vK4z+oV3Tn2GMZ5J1ccer
dY23WB6phda+z1BOVqg9uwZUcFWQhmeL8UIHmHZXr/cyYRhsfefgv1eJcVNqavsrNjluxxu/aF4I
fOLVc0goS+6ZCJFYq6PcYkGuWmeD1fJccihULwVAbVJOSWcM6Kn5ffpFWcXWWWbCDDtLPpLDDIm3
eGyxgKHTNw+u39F8TE+hRjBgxV9zomnW2tKfqkKOMBvxrmMLWRNydh2VzTT9PWhl9pDeqMT61ud+
dWP3jVyBGz6ZCP42ZGJGxpBEYTnixDFV85IuGMlHg+afoCkEn1rsu9l4JXciKpOaFp0Hgsk1EOwB
gWlFfnTV9yKTt105rMM5YXecLglpjIE5PmFAjhq7+6TXyTzTlLxYcn4egyx964fyfqZYHYnZNPUQ
5QAGV31Qn8jzOdm6vy+X19hcgEQotAPYTgvxQNtu5yTurpcpebTZ2uZZlLinCTmpqUxnVuc22BJY
cyg61iQH4LEa0ttuCFZqGPifoLttNVszERjIFe4YDxx0Zm2nyvkwatb9uOluCFY+N6zxYW3QTnsY
cBiNNKx1Gfd3DiGDg/NFAZeKGfyF7lMJfaqbzSOpzRwF3FGu2bOpAMlwLtkRA+OrQaT6iiLr1IoR
9c+8s5yJk1J7zioo1UG4CYa+PcBuWRvD3gwUh0ievTTYdXPyMbcQQLEcmqjNCy6fyRqHgPDS0ssn
b6zY9RgSXJIjmSE+km/3kmDj7fI4SjICHr2k3rBBJp9OzCobY16d/PxAjY+VwI+WBUlT3MWHxp9v
CJrhzbLJ88jjF9MYjrlFa0U9cNwctxlT4ikjzlpl7x4Uhdg1Lp1qI3OIIy0Z7S7UDQ61RWMxNrBP
feMetL90G3C5dHFVR5vd2yqb9O+qvXrVh3RfLigBJndF1ObOku1RZSirFmwjhXr3CvdlEPMdPbdi
M9Hb98vT0BCaRFDO4tXJg9GW0mD+M0+RAFOIUlHPP2xJ6SRnaEVJuS4WLpSnH80wf1q8Y1jiNCvs
p7QcbkeGJizsDRWVbiNS8Loow9c0OdWOUWNCdW5QR+OUO87sjxG20FunqJfnluMpCySCW0k7xY3d
ozeXUdCj/V6s5aPl4JQ2+VNYLE9BO+7TPmBOrsKbbAlIQDd71Pq+Xu6qYToR2M1RR37/k6ru/g/t
5p+Tt37V61+FarCcr31SJ7RB6/2iQNbhsMi85NGQlfDu5lz69c4t+/w7qIjipZ5GGqlpOYvzNGiS
ehBmdHY0Fox6o3/4Jr+42ny4mWhLgT+g9A0tAGY/KzLTlIO26ghTRL7XvoeF5E5b9ASJYFVl/lgr
w/hO2z64FH3VPkFEB5wYjEDtjcXPf/z+Zf5Xd/l/UCL/6b78W5Lz07uq3v8su/z9z/8XUlxY5LPA
jMQvIK4AaESzf+guEVDavxHubApxzXEmJuJ/dJeW8xvcGITZPgYDH0M+9oP/1l26v2EVu1on0KWT
SOJ5/4nu8ne3xR/P+DV4hm907fyhAYf9F6Dv/VVOj/5zIdhwci46rWvj9YobvEunmDOq6uRwyItB
IEaSJYP/XJO5qGqPOWMDdl/IRX/XpF9GSed5wMmS2VwHDOvIT7b4GySp2rk4sNDXI3R+XaKYEiSg
c/ZlCt8Wvn/veski1qXptIA7CX0Um8yeq6dsMd6a4Vr1lYj0vpnOkiM8o4IdI7k4xiPqZEjVTCEG
BFX0czm+ml7yHYlMAD6tLImgygjjC7aqK/R9SgbrlpEn3arRHsjl+9PN/ovl4FcnSMBqYMLTdbmN
2Ph+Xy3+BPtpuLHpUhfWhREL6Rns+2tFK2Lz95/yiyie28SaA3ZeXJMMLQgNP7/pRYOItNapdVGl
y+w2qRDAOm2/ZdiSRA4Cgu3ff95fPBf8FPJurnLcwHZ+FXv3tqK303jzxTf1fIqZtL1OToDYbySE
21/pnnQ/4tSycEePE5tmaQmquNZBtjaQmRc5REcQW+KW7ocqze6HNCsaDV6Yk5XaiZFOdzxfW2hp
wKNka3d+7sVM5cBpf6Zgxk0B02ps2qhXoY9t0PNIOEFNNAPf64meI6ZClEDzSEC9a602ZIAFa5y0
CClvDXLFmFu5Wp9sKepHEgantyQuRE7QXu+8e5guPl3qjho1psbuQCpKr/7QoX9M/zf+Uf3Fc/Fv
d8z3mGR4Vx4cLHuu4s93bJxaq+snf7p0cfkpl+rEsKReL3bIDBOz8e+3638X3/9jXR0Tfy96n9v0
p/X397/yx/oLXPg3tO2I2znZXVXv7KD/ygwNf/N/j7UE/ELhBGbnv5dfQiDIkcJ5TA647Vm/o3P/
tfqav/1OSbzmhnqswFfz13+y+l735/9ZfAWruA/Sx8TizH95x6/P0J/WjtxdBr8cdLsDF6b3ROxA
Oomp9Aops3/wPP7VR3EFEB5i+UEJ88tHxTJOqmnO290YNyansNSKQnSZG2S1yT94Xrhy//aryKYw
Aak7wJ1/pZElhF9OYR63O3IGQ7oU3bwLhlRHBMS38F4B5xpLXxNM2OivRe/mz396AP7ixfvFNPfH
VcU/xJpsE9Xh/cqCXFTr2XqEGypqY3paQtQ8hEtlW5E78tlLy2y30Cf+KO05P2VFI/c14zDmGcs/
OjuvJ8Ff768twutzh/vC+hXeVNPUQTzM/fUtD5EZ6Z/dQ4CDaq0TXx1w1RNyM/s6OSUSpfq1cX3D
qCd5pIvb9+thJmuSZbS75D6QUbw0Gkn9iCnLy8V+GKvwHzAhPy9Zv184cQ0DwHPPF+b7/vw4eqSr
5tm0dLsQgyVDOCLvVx2F4trPJnGsRD5f/v5W/cVDyRGW1dGybOHgK/r5A9PcDqcOqCGt0FBuSzuI
o1i6PtHMnfUPG6h9XW9/uRe8YTanZc40bGy/fNYcEg5q9g1PhYmpldNNmR0q0xy6TedU6it8/jLy
s4DePmSNqziRA8RT4XSQYtTiIBO0A6QcKlToYPPYj1+Wsm6QH0grjOhXAO+08CccyW7vtrhfUSxT
NyFsyiaOSOsky6lFBkdQnP2n11CgnOaQ6Pr8OLLTfr6GZZEOUNRlu8vbVK5I5B2QqxkpVR7qwb//
qKtX7edLyEf5jjBdknCoOq7lyJ+Wq9YYwqTPK54Pirfb3p0Q6lolAmXZBuIuoWlFrBHdq7//1H+/
cTwihPGwixIWwUL+86dSPTF5DLJuN/LFDrHZCXrY/b920P/vdv1vn4IbmSWLVRij55W1/fOnlOT9
8qQPzW6ezPHYTl64ISPe+Yeb9Vef4rO1mDzv5tVs9fOn/D/Ozmw3bl3d1k8kQBLV3paqtWMnju0k
zo2Q2JnqG6qhRD39/pSNA8TlHBeyMddcCLCwwpJEUeT/j/GNFuXYONeAvOqstR/C2EWxOHGFFx7U
mWOXN5nmMu8vcX6WII73PD2wsyYO+tKUh6AP4vwkOqN4CfuBnhES1eHBtrJ6TXidbb2duOsQXgpK
lajIAtoh2naC4iYfEwCtDkF0yU728//z6f1/b/gZpHP9jasfzQcCxbwFnbveqz9mE3EfkvXPog9i
yHZH4GJ9aqfe+ZknjXtcaGZuSKn1tnS+1th3eqvcVv9YUD3ZeuNoXVXW7FwtdSOvyVEILgCFz5dC
DtRwmQKOYCucg2P26x9HtHPXGCly2BnrzwZtLy6UpgPDkHgs4+CY35/jb75Z63gcBpl3jg0/OBCv
xwvHASYWfJPD1GQ7fBh0esT46CgIIIXekxCSUPaCOUd1Zw/H6Xru3Lv3f8L5Wvz7F/iCl4CKBmvx
2eNApZmZUnr1QQ1NtetDXR2KdPG2LIDW4f2h/nJz+cLwloFJhmt/jnfpSzS/rh1Uh8yj1O241Jhs
dE+Z6q5tKS+F3Jx/hNfQLDgyAbeVsy4eq9e3tulU7XOsLA+Wn1dY/1C000+37B6IXiU/ER0dHM3e
E2KX26268GD/NjgmdZ6oa2NlXmPD/pzkQTATpRK0FFSdwkBPPLKkBFU1XdmVoFNviT6a6wG9Ve6N
KELfv8/n6zVX7vNRtSklYOPkB7wePNGxo2iwlodFBu6N5dHyVQHdvpZ4X951BPQZUuIL8+jNoBQR
SGMlW8Yj9BU75+tBa0sFiRSLDS/SUkfFrN4vzKsPwVT/igtAQiTWu3r3/pW+uc0M6psB/HLqGCaT
+PWgcTmEVpGa9mHGTfQB61127NzRRuPkk15UkWWUl3XxPNVGdYHZ8ua1YeR1HrOQ+Wzy/DNU0STz
cGmhLxzwGoQ3QwNGKhR15DZkI79/jeffDpZJMsNWDgGlpMD9TVT5Y71csj5pXVK82da26Y6viIUA
YpYX3s0zMAu+bobBqk6kMN8QKpxnt7IPlhzjfS4ORo8MgCYCzPbaard+QlIk5/DevBpLPR81oY8n
fzQsXLfISs1lMA+VOZR0xEhXvfBBe7NiuKELcIOPxJqEwWv8+vmOLrrUMPGQ/4wWZgTamIBXY7K1
lwTYrswuTKc3t3rdArPusw8AQWCvlug/39qlEHUp+tQ+qAQVctNr70he7Piv35iVDEBlYJ1Atmf9
/kD+8UCzitOfzBhFSKodfZj5BxO94aEbbec4KL/b/+MEwqktOP6xEnIYdp2zJ8veR2YLFq9DS/Tp
0bMAcut2uQTee/MqMorDXcPFLXyHU/Lre5crOjgUNsvDsDTzS0N79YPsK7RmeeBlVx4pgldOYpvZ
NraQcb9/hecnz9WLzqrD0Q8iCwzLs60iu2s1kSZaHtxe4ZMYBx8KKw08dqiNmBArJ26BVKxH+G6X
CcE9cVt9ev8nvJmp60/4vQKyeBMHcDZ1BqdfWH2s8lCwKbkLhg4FQQzgsQugik3jZF9gfLxZbhmP
yiNXS72JCXW23OKcCowqaMoD6ln67zY2CUmu8H2AmGZf5kV4nLt0OL5/kW8Wvd+D+oBp1roFperX
z9jxkWMIYygPOuhd3DOtolmcjSWeuMaQF+7oWb+FFelstLOtOTmR/AyCGg9yZQJE89JjQrBo9w5G
235psJJZV5OqgicnExgcJm9s81Mh0uLCVb99tGtMneOwBvEH0gxfX7VKKxuJTDUdqFZuqgKNtouY
eaOsHnNd0fzrGuStrxGLXsBaBLThfDRhaj0N7XSIM0DEtV/4h7GyggtvzNvlnmF4YUE5+GuuuXn2
ytR2XiCpMxDpwjlSUUpFjU6nVj/ngH35BklDQSUCrsqxHBHIb60B+1wbsoPbONmUICAXyNAwuhec
It6fZW9WYVLt1z0i3Q6aHXTdXt/vbixx9KR9dbBLbjMdzGCv8ukS4efNC8SpUXCiMdkmEgdJQe/V
Wu9g6ylxzVeHISCNZmxaZBkL5yIHUWE0dN4Xy8BY949XBi2DuhQlfWflOp3n4UAwqqe6zcZDwH7+
Wxa79W3vI2n/P4yCgouNCdQPXtPXV1b0JmcYW4+HuMWJ6fpxjGPG8S5sgN7eP2vd+bDirxEEtLJe
j8IqkJpEZmLpBLEZGfRwOdBp+7ZzWe7ZXgwfFwkb/58vDfDHuuaxyDu0J14PSnph0xoNhaMBhijU
B6hlYWNdCvp6MwH99fRsgyqzVgT72qH7cxtQekji+A/IRNNDfe+afruPEbB9fv9i3qymbB1pvXnM
Q97BwD5bTSeVDASYKzQ3MjC2OnfGSIYumXZNIvfvD/X2imxktFwRWZ+ezbn79RUF8ziXa0vkoHu3
35ep6+28xnj+PwwSrnFWJi0k9qyvB1nxA0FS0xSflAgwlULNDJNYXdg9/e1SWB7Y94f0QemUvh5l
cus0XYxJHtZY82MaUO/FrCMunGbePhuxknE4v9GOdXmLXo+S5q6SU08doMQBcE1hHWgKyeOEVHXy
wjR4e0FY1Tgh0opwqQOcV9csRBxpEtTNIbM6fV12xfygjcU8vf9w1tvyZw2PMxJrKgezgG3+2yjD
NHYltTSfEIsE9TLFGeO5GKv4KraS6XMW1PrC8rDOqNfj8VqwtgpOwZ7FqeL1DfST2B/tMeWjaarq
0MWd/9nFcwRIo7H6K2MOwqsKjX80pdV4YWv09tm9GvrN0czWbq3zcjqkPQcmXcbddtCOtUt7HOX/
elddi74sEwVQHDuDs8nouUXtVsm6UgBN+2D3lfU9Kcf5lwXoEFldoswLa/vbVde14OJCMjbBOvnn
p2xjamwty2GghLJ4V15nIURCheDvRJIN13lmVh9KF6ji+5f5eyl69TQp1qA2waRG2DnJdWfrh4y7
WGO26Y4ik6rmIFbBzS1qhYNKhQS3JkX6bcmKOsANzbp2nAdRzHuaMfPDiKorRdOIFNE1XDluauwE
3g4JVpPgOzaqCqGaoQNE5w3hA3mj3B91qtXFSOo379laJzTX7t6qeKBo/npGNkIZuTvnoJAMt7t3
dIu5TpSFC4cZVdWVG9jI0lA+0wOYCqPP9+mg5i+AVGJj6ymoF1Ez8vdeDQvJHAgicjlemE3W2dMN
LZOaDZnMLhu/NebmbMcbkzbs2HBFTtJLW7npNDQWAv5K/RB3SfOLUlHyIpKcHUNa5zaQC3tVKi5j
YemNxIeQR4OVT3LDwQBPFEDF+G40ff21yTXuqs4ssSq8PzOQf7590T1BTzTky8IZ7Hy3lsXoem3w
SQd0DB6OmKIjzsCxi+FFwlcccHM1bQEGoHHABhiz/U1mCfbEVmQ/K8AsauMPnXZ2tTlht4nrvJY7
R+aJGeXksQK4rJW+rUw0bZh3en/YmWWKZSD2HFgKyYSRKXK9Mb5ucRcWkTk4mQU4xpJk8QVFcypm
F742zioE4ZXhf8lHgjrsxP1qxr2vo7Av1b7qAwNDdZJUm8BBKg85esKC2xWmUe5C5YiHImiXEtn5
AnYjiW2j3WQtJeyNzj1K683o4zXx3GVyPmgX2NpR4mv0I93a2SenN8fPoyNAuxjmUj/3tZzASVGf
imB79fn1jOmsupNJbc47yDywq2t2xp8ajvQjFFw3+eRYVVaBxDJHcT3objlkRYEG0VJt9W3SFPo3
ndIhXnClunnf5E16WyJYDDdctqj2cZnFB9UXQiLUt2as0PWUlca2Np2yx+W72PmHtVbawem3dHos
e522Nx21bzdiaSkytiaSlNO2Q8hd+eVQkhFMSSrdYfCwoRp1Q+BEk5OUT6NTD9cymCjIOV0mF1g0
fvdxAaaKu21yRQJUanEe/NTuV1HuXHwR+Wj8MACE/RJ6pjJscWg/aRyRyWEpBaKdjo7pBJiqbh9L
VeUoP6Rblzs7G/B1xT5o2L3wUu+bEc+6+s9XtXBi3NML7jgfxwses2aSP8wWFgcO9NEInr3cov88
t5bYj35ZEa4yB6X5wdMq8E+s5gSu4jCZh6jqVIjiOVeFxUufhQFwpLHpXmK9wA+WYjAgQsw1Ls1u
8kqEx/MwfOyq3lL7AsfrDeUk7RAZKXxYGZbskqO5pFX8QQ0rJ6rJWiTRaEUQemd0x4PNYI14a0rT
zNzN7Glxb+YuRC/dCOsOrhrqdDuvgFMrmelvNLGRlidhOt86IzhlbUF62GV2vwKr60rdJ3xC0o1X
FTPOpHEYJqjXJUx/u83Wm5uxj4qg1pDz4ddJ9wInyfjegjAFSFXD447jR46Om9qZSV3pqEruPEcV
iqU/Xe7GYLUjSTcPSLLBKveh7pZ67zl+MRExinv+GJeufLS6aam56UQjbDKdeZ9Hiw0dFS8rxpnq
Q8gwzAnRaY71AfbZWGl/I2ik3ncFRBzumYayIvKw2E1Nmusdu8kYFjMxfzi5s5FEUcssZ7Rqdkx3
xkx0G+lRJ1gW7GaBuCrT8rrPRf7ATMs/wWhtVo+LO46bVjVUohrOlz+gaYGdEPBpyFgNLOv73EwY
yrvG0uBw0IlEGkWaF6FzyliaMCJfN3Gg9D7Bok+AesGyupktrA4bd0mQ+PaBzNt9mBbuY2rbg9ii
rza+9bHdPveL3YyRbyLgdZJqRJgGdaXaxk3lsl7xEaU01REJ5AcxISmluX4FJWEMH4fZzjPsudy0
rWX6xVFK4g5x5y1Tt5V25jBN1JCQAhdmoXdQXud1O6uqtLfLmyar70F+gVPGrJCQMFmPiK+npbMe
G3zUQAonQeQvto0QqJZrY9ZXRQ3BAZ1MD32Z8iF3d0byG/Qj7LM5maHN0Mgk/EyYU7uhEBy7V7yv
erqeaZR/tRtjeEZ/6GCWSF3/p58VQMzC2VvuS7PCFxDirPjqLIjdN0C8qLVa8zwbG+WJ6pcZ8xt4
JZK824c8TSMqXcTORSugscCD6J4zrgJZ+5KXINv7ijIfNhC8gQWiciiFWIlXyzR2F51lLWo1pl69
VXAE8P5j9IHFl47mmhBaV4QLOIv5rRzUJG4za8Z/ZugpcbaprwhT5ONvW9t57PmhsZXipBlrUX5q
USCSKzA3qN8XA/LcHLT5EGWdbAwaeMK7noKa/Rkyaj5hdpBL72bOrLFB3J0P9j5dUo8LCPCjH7sE
qvFHAhiremdPNeZhBHSwa0U7UYL3q544KDEAuwtb/CCepf3nBaftAEbNhiNmsoMp9lOfEmAzIcbr
Hys8YfpBVJ7Su0AkzKnR6oP/KhEmX1jZBcCOLiZufclm9bmnCMP+beiRc8o+FgolJmeviNqW9cHp
g05FU5UmRCDPLC1RkgR8cItkZo3zgU4km1oODfapJCxOPWbtfIeXtLT2obX0Hbl8ykDwl/SVsytm
OtdRCA/spUeRB/yyNWzr2hkAkUVYAQ2m+pI6P1s3rxVGNZa6T+Zgml/pi9T+PixLKGdzgcPpukEx
kx/JC6zHfctnXm1H1QtSwoIRF3SQGKPzIa1FtRyR7Jr2hZOUbb/e8fzepVGaFBZFUBrY5x3TUftD
jTnNOWnmzw3LW+XT1uvSCUoUUA8Qf9RksUbKIeS96SRxEqyJJxt84wO9eAFXam7ZbNTU42ESoBaz
dv4QBDe6zZJwm4mGbPgCuM/Pzgi8GhZSOH+sdQu10c5DPmPvb+HO9sX/ezlr04cUajMkdeP1vhg6
XNbUsnFOgxvDz/Q6yMPDJC5UIM62ib9HoRnLBhz1Hfies3Ibdn2sTbL1TmbJHsGZpgYiS5GeghVS
9f4F/WUoTmUurWzO0x5Sg9cXpAyU+HOWeKd4ovGBa1b4GBJogF25Dtv6/8Ng1E/DFWMr3ujrlFSW
bIvKO3GGhl45TtbB0B2rhXsxHuWv18VVIcMBK+2e9420SVtXN9g5A3smDM6BP1ZidNuwvlyS8p1V
C9anRZYxBXimOUXvcyldK0VnL9J3ThhUiscl7q2jldmGxvqapCta4FJ061m54H8HBKxPmx6pkR2c
PTO+g3itqLqc5lJ/Y/cE+aF/NOjp9kP+3zSvhiFwexdm/t8HRQLPtoPDxHnlZerCoESf555iM0iv
5UIeTDoQNZink7cbE4PNbWaa03GM8ZK+P23+8tKteU3URUiMQgZ3dqAOF4tELrd1T1PBPPEGGIal
Sz7T+6O8nTFrDdNb9aoOxZhgXcn+6DQqZfigX9VyquN1u+NL82mtyUQpH5AL78HbCxKshM6qnUVl
x0N8PVTitHUxZcaMupFTk5NDag4G9fWfr8dDak8zE+k9Rbmz69FLVrZ27wynoWjr27QNSWbhvz/2
g5AXNJHnDRJmpPADWrQoGmizMeTrC4pNB3JBG4wnlQ8poI/GugI46nzvmsG4mntj/uRjj4ZTq5pd
EMLoKp1wfMDVOoJd9IYjzT/3Qn3g7Xzl3gZryBeNXOq4ZwXWxEYdZem4O1VegalCGNY3kgTHm9Yt
7U25+MvV6A3ldVlgh/jXG09Pimo/nRl+gDhvISdWnYhBt8RN8XnYAKYjfndKmm2wAJl5f6i3Ewnx
LoP87i+iR12Xpj/mbFvDxrCCkQz62Wbjj1Jhyz77Usf4LN+BV55VVNA2RYG9SkjOK1p9OMRFCyz4
FMITv0kSTH6eZwwbiqTznmKXfaJsH0RsTuxnD7wVwFS8MXBcmivAT6CJyOs5cHIH7zunKHzcCd/4
JJbI05oQGdFDhcM5uqm9TEaG5xo7yzQQ371/s9ZJ+KouRz0fnQLrJS1Zl4LO65tlCWlb7qzkwV68
JnKDxLqX/cCmmt7zwXGWstmkoLEvJM6dPSKq1YhF6HKvqfcBnf6zeWiqSXHKQ6pe9ST1iCrjWFUS
E/r+tf1llN/6fZYUOqHBmwqym85zYfsgNevJQpDMUeeIZMOuL9zDs3F+zwSfrx1tEXY/zO/X93DI
UJgM+F5PqTnIX601MgnKNPz1/tWcSzN/D4OoMEReYrLe/zbe/DGvJ1n2SApdgG2I9bODK2Ozj5YO
pttVbKv0h8pGgmIDn7C4WDTlR8HxxoqcRfMMa1+NeaQpTlJg5cP8Hx0iACvv/8K/3AcK9Wu/kGI2
59qzuTQn8BsXqgYnsORy24pSYHl26uO/jxLQm6Tmg5gYSdPru91W1CdBBrmnIiVPhuK8gOM+XlIa
vr0W1yGvhtecnsqqSnk9Sj63QYdYWJw6FXxHPUCHt64FIpB/vRg2feZqz+JK6CafTZ0FZqTylkSc
mrw3H6DzxfdhHl9aq/52MfSN+Yf8DUQmZ7fMMcqZkifnGGQBRFSR+LFfqCxcePxv9wou+2XEirbp
0dP4vWD+MT+7VgWZqpR9gjbr3ubACT+5mmQCtErjp/dv29vvGHouNsuI9uhkMNzrpzNkNgz8MF4p
glMaADFrQDHOggA3Jx1uizbWmJfHFjTk0OMsfn/wv1wn9hSmOep5tl7nfgDkOYOdNhx3MjA4H+oV
DEs6tL7yEJtd2OT9bahVj805kVLHm120WfQONheH61woogkLMoAihvYAdsLavX9Vf5kj7GMDRlv/
pWf5+pb60p66pU3sEyr0/GgpwmRbA0b7+6P85YI8Gu8+yxinJpqWr0fBIu8IvMbilNRjuefi8O0p
U5GO3Uz//moxFAFM7DhQF5x31mxjDAAbm+Kk7ZqipQ/7x2vi+cKu9W8XRLea8yiXxPnt7LY5VdJ2
ZHUw6XE43FKDWjbD1I6fWcYvtQrPPtWs/+uXkneYYynL6/mRqk7DOYM8aZ9Gb8rvMsrEwPvJoBCn
2asScrS6+TFrFOS+95/ZX8e11v0/KgOf0V8/M7NcCtpBnX2q2/SpoyYO9wcO4xz+dBzdbUwVPLw/
4F/vqbDX7QgaR+fcmDK7zhj6UPH5joT9gYIkvSnE7Lt2Kv59JGbjeoBa571zLp5X01iCqcvEyU5H
6066oYTN4o8fqQX+oyqLyGoa9BbNQ9RCsFx/d+7+WB2hKeHOZQKd7CmZERUv/U0fLsaFhfHNs1pH
QeTLu8U4CK9eP6ugM+SgSyZ9WsMc3PhaQpz3ifF0nRruRUmLYw1tTsun9x/ZuQ2BzRwvASX39cTP
Ofg8m9uyS7+qVdqcIIb6CiCXlz4Ebq0eDaftxl3h9muKsLLy42C6ibetzEYM10GqEsqVdYdx4P0f
tE7KP/a16++xMUliluGsQbno7L1sWORMzLz1SclyiRpZZw8TwRoXhALr7TwfBb0KTlAEInQu18fx
x0M15tj1Ek0cTCnCGE5+Nhz1vGJDkvyxzGEy//NF8Rnw18/46js9l9wFGiaw68CKHYYUf2Qrxn0p
4Xu8P8qbOYQykz0cYgSHs78Q4tVFvf934TR/862mxskmysKualKIPD8GB15l5QSzwdYfXPGlj7Hy
QwYxx1+jAhZJCR1qo4Tt12zoj/TEATmh6qOKNsCnPpmMbxM7m8cJL+h/7uxZVWTmM7y1GghuvONT
5feHVBjutq1rUlJISbOKbegquj/weUd4+4spbnrd6HpbZHX/OVS0pyI5lUBIFliAFMBl3V6JxluK
qG0dCvpFqkFulVna8X+f8cmDFCqovIcJoXKHxGuaeNctEnqSNmb9Y/Z7iulZb+TmrqlHKDAdKEna
k/Qcf7RDq+NriAcxhGrLUeTrkNVBJKgRWy9u7o/Frh/T9ktS4m2J8pzuPgEbpfjWDNNBZZk2N3Un
hmCflcFcb6dJu59bdJcgpPsZL/xcmC5SBNJvtrIirGDKoRN9nhF4IMEMgpSYaF0mxcYeE9oWynfU
PZbaIN2bmQ9MGrFhJSKN2vC0OJQpDjrt0s8w6oxpy0YvvZ29rAGoP/XspWxaF89VASShIM/Kd0f8
MEnRg1yKyxhb40A1OoK4IO8XaxDkT2VtUW9p1vs0pkcpbqRvgPG0kPXJjZl37X3f13h4YBnNX5cU
Uq8L5suH1Jjb6J4TDWindbz2pUmc5S6NmxmUKhES2BeIERxoKtZNtqXMgrKCliMF8UUvZbwZVl67
kVqT2qSDE0YwliBSE65xI/IlS7b5yI/eBuzuyZqgI/YEWhoon8LmM18VZFcAYuhQEBD8EZQfjEJX
6b5tY/9+9g37UUA8crdFP4xfw8nV+S4YJvupcPLyVzygb9j2mZt8T5y59Gjp58RyJYBemKDkOa5u
B/KpI4XVmLFZMfNNOg3+CSMboLRCpcWXRC3Wi11OHO7QpwWkdvuW+sghZWBOEvfHLB1ydp9YgpuX
pplBcedmBp4x5pB3NHQePJOtOF6ntqfa7QwBHBI+JykwzmnoTDsFqDomaMgaq4PXBSTZF+1MBlES
GqD1aQ8szCpHknYS5J39062NGZY7vWYgcOUguZMa5CqNO6iFMA6BcmqyDK5n0TV21BCg/iNYerIF
Q9ovjSqziQrGXLhUOXAp73qN6nxbizr9ahKG8MGyQfhGqZEMd9pL5VdUBAgYyQhDogH/auYX1TMp
XgkAh18QuMl11W3TO3TMk+JEK0xNG45YHs00BbcpMsFPPgFAd585lAe0Gm1z+s9q0qra9gMtOXrH
qRSE4hiQQ/Ccpt+MMFx+2nksAbZn3V1m5+qx4jsOVsnI66eiKYabWWJ6Jk1HzjJKstn/GuII97ap
QmtEng1stigY0vyXXyTJGrZsAllqAaR/TcqUSMMgcZCWNHON/iEZwuC5WibShrylDU5gDM38SBTI
8pyVHS1kU85NsREicz7pxZtfplrQ4EdQJJ/HYqB0l07AzBwrk7dN7S7FzhGd+VGT55nuaIUu924m
YV+ZNj2knTV1UOehuNUvPZaGNPJdAuUO7oSpn1QjlEFR61FrRBOGlczsptTdQCeu8pNfBpgVm8Tr
xNYZKp9fHpPHDagUcttmcPqWBuKY1fYGNoBPkw/DJzzlQgcfbWZ0x/rp9h3xssGwIEhx9EddW81R
LOFQrgZ1gJ0zNtk7WroWNFUkCe5+IfO7uE78LHgGUMm3gJ4clQTtAJOFNlcyU2xX+oD7EtDiu0Ut
zSmcdLNsC6OQ1rHxHK5iWWT6kgjs1RsnxpgbWS57DvyrgSQxqUqxU9uitr/YreQvjwc3uHPDxmEJ
H7sElCu4OXebpvWyR/HCUg2jPv0h+8x8nuC92ZuFVKWbECZ8jnXLWJ+NMelVwubAjoOwF85A3ntC
ivwqr+Ndi3jT/pK0oM82hrN4X+WELOFIL0aaMCqV99UIeDU2EN4sus5LUP/X9QCZdi6fNOJRxs7N
IJYCyN7Qv66fAjHLa1lZCvB247IZcPRS9Fun9pZxa1htWR+7pmueS9vPmHqAJJ4gd5fkgo49asLc
CgcX5m1pESUwTMtt7mn/h1Zdkx3UbDmkP4TgoJW70I5MaXZ7mzo3+h8dQpMGR5PrPraFa3zPsQ4S
1ZS43tEDippGesrzX4Np8BLSIkjqrWMW0j+ix0l+zWMmv839UrubFBEdnbvCJhQGpRH9z6IoOyPS
Zq2e0BFwEQMqtWRLpc2yokzahrpW/uzy4UhV3z6UMvXsI0VWYRA9YFTgLDU/MLKNiUw0p+46/2DM
CrMvShBwL03gyI+UzOBTAoTpQxCaWpmnrpvRNYGPdQr7xOmHbArPlwHJqBou/YM3WZk69sUCeaxw
kuBlthDyrmmDPFgzgcO/UYNhfAVV1osDbHhgB7nmwxYZUJT53WMTf85cRAt6HvxfRILNv2I3Ibul
l+5MGnXp9/aaoTbE8Oq1kBGVFcJ4RkSFXylq2Hd268/f+BGaHA9Hfy4cWfyHjCD8paaSiTbQnr+G
yccPMZqg2Y3ePLFilumTgUziP2sKlonqx9pInjIA41tjzuNfxBcUoLOFe4dwMbhbxpm4Jh6DOVwR
SDwd/bFDXEEFkkpD2EG22DZGgY85S4W7FmpXovVgdCSsUB0R32U96uwmK/runlXK9HeN8khNy1q6
szuZzcB1ezUuLwOltP6AVFo1+P47gtyqvkaDEzuEeR1GL3eQVExpO+4tGdbewdGFfcsrHJN+48Pg
3dHp1S+wVr30MFm4TqIFO80j0c1k0w3Bokgucfz2k3TL7DtpF/zKcg3W46au2MCWbsuIX3jKvA2I
8v6LESL+2wYzNTdvLMI6mhNSFaOhQ7izZ3EpP+d9NUGEFeNzNyAB5DJ0mIEt7rifXdZDsxThPAOj
q4ii5zvfBtE02YuI4qnuyaCo17eF7h1bxZo6dAvnta/h4Zd9cielqxCVDKX3KWDugy/uYAdEKBHZ
apoKZdmWLWGm9vYoQrXV/gjJHNIgWp5Vc3M/TBPBl8pzm4D4qTL7b+TIAHuyGqfrQIIVPgaqfzbn
5DnLHXjFbFI4+41mrg89G86HvvJSeKkuUh0o325zW4gMRSLTzL+RroNRXed25m+pvZnj1gkGgKt2
pUQcLdac3UKKIOxrIQc54ff4LYwlspOmL6ntEw7YlebNYubNT0WA363BtvXFAnJuHdUMWGJbNgiD
oqa05o6G7BI3kcdrmxM8Y/BUs6oqu63IDekd+9Lmt/th67x4xBY+JMjEu710WnWV59q7VXznSAdb
ZHA7x6OFerEg0ghIpxjY36PPgdeapWOF8CMPvy1WWWVXHUxGE90gX9CtGg0FfrEerek6XBaTLATC
lJDuGqnxopMpiUKfeq/bVKUAzxx4aivzup0eDS9Z7sWYDMgySKnPsD4tTkBAj8emoxh8bJJJDxGz
hyyv9rOX9B8zU6jn2EwhRQZt2NPUWYb2hiBYhDKOkmD/BuIkiN+bEMRFM8jlBGJA3qLAJK1D7toS
SCG6jjA9zlacf0CwaCP3yxAsg0Yz8+fCtY0nBxkVW172dczKH+S93I916EfkT10b5fAkxXSUOfkr
DrLgTdLOgE4NpnsKCtX1u0+tu+xdJ9h5KO31YJBP0vaPsRTaRiCsU/AmsuObLMvpB36Umy6cxqdi
7LpdiqKWTSB/Kvvw3mUnQPZobj8hTK0gDCc0e/dj3gR3BrKkTSMhYYMKcHcdqPjCB85VDHdi4hOI
/BQi8qhWhL7w0Knl8qqd/PvMKb2tO1f7KXTIyYx55yJE4ByiDPcDap+ruct2Zj0g/42rW+H3aG/j
ooxcpLgOqvDIAla+iSGK2lD1SSHz1HcrtskWnevkoTJSMlsmf7qqs878lCdh+Mka/cHaBHZ2pcOG
+NOh3xmZ438aDZisK5l7k3VV+DVwUEG18YOgELDNgEN/CElI/6zTutkSz2ZkYGLn6W6yvdsc6Rep
SEfF+rj6zWl8wkAxf0wsiS7o0mkpfsQ2UlC8Lzs0rZEkOcSX3Q754SZIvZOR2sexmj76/rL1mvGz
mdygHN3mefIz4ZRYFCfTGiH+ywmgnL9VRHmiglI2sPeHjm2iYS8Re79ohJMwUR9PdB2lQsDSfqSk
DHA4+7Ys176CHKR88kSNMtkbiBk2HD/WEOBdmX4YSbTfDoKYEnqiyzYOsaa2PAJqo4q9wDwQ4TRT
lbQSf68rm7jOurg2CKzbDVb74muOFgZ9ow8+9JuvfPF5E5Bhk8Vn5UQMR56V6oMLTHvxPNBP8XCs
0wXqefqkwoaPgCw/EXbxsxMFmYtA60M1OJ8y6X6oUv2SldWy1YavCGKo9SEc5OcKBv+D2Wb2tRp7
8+co9XBCGhdsvSUdomIKt/UMATfzgyFyJ/fOw+W0rQyMJXn5OfWEcd3lbR2JSjxZbFghx9nZpoVN
vOEQcGMRZfMRamH47PvND0Exb2t5pbtbOJNHblfeyIrcBb6zUWkBIR+77Dv9hO46kXMVVQGZZmZz
b4v8s2ZlQKI4bWbpnQAJ/dR29iAkrGH5EozLfhDWVRuYCDlJYNbWAfTdZ4mlvTSTRzNYYsR7WCCU
xymGVSGE8LFtjZDeKv9TixgA+roOvpN3+0SM6Pe0FF8FVU8bkT+gPS9NVDSPnB+RYj7qGSde5qBi
bh9tJ3n2+zb5leT7kqXXJhQH8V68LSf9NC9lfUdPEcF78w1Anb5FpD3fO3XqX1sFUY1eb0W8v4fC
8ylNF2zW3f7UWS3buApobqxa+Vk0iJFtvxquQPL9D3tn1ts2tq7pv9LY180CZy4CffpCpCjJgzwn
dm4I20k4zzN/fT907T4nktwWqq8PsJFdKVSyzGkN3/e+z7tlgkZ2kCZAhQ0IthwYxS+OdMwvhuoK
LQvcIm49g43PSi9Dr21LrwjbH4TMkdyGUs7g5OhfsVMufuqRaf/sfRE/8OVXZEOgUcXw9+xzBPdG
W7tOteAhUcEeSXIw7n2zMAjNnROZuAkpXEcxkn+2+ZejZO1HMq019IOjVfwAoRh5bZhVsVOJ+ZZl
zdMyscfPuq3Z0pM9uAK2MK6MPFd3VjhWri1G5fdoz5DQBxuzS+URDUiuo/Q2FU91Th2kkh7LIGXn
X+tPrdBuAsm3EEyVo8wPV17qREnFus9qKdNgIDPJvFC0QruwdSIV8tlFLA81Ap9hz0pNGQfPxF2V
xhnJlBRaXMNulQu1akzbLaPYdnyhoYiqiL70s4AYHzvTuo2dFoFGDyauRk9t8m2c1bnFSqPY7IDl
lnqLTM3B0dOO6ljQs4XyWGrTnUUcvOlA/5TlnfCZgwFdhfG9LY9pdi03sSo96GDSFIhBXWPKL0xr
jeUotaVJuzot0uYmTKv2e4EAlxs6lo25p1wYS96Q5WrzOEGrpD4yl9Wuo4KRrvEKYSTG3hJ3G9pz
AQpc/gVYYMkKh/ea5glmgkbmxUxt4pf1vCSjfVP6qcifBp5E/aaJctJYYEnQ0bshetMJfJI8/jgT
OeUy3+P8lUnwhlFjwGhuUIuLvB8QZnbjEG6akBQgL0nq4hfOWFIPEEepWwQ8JD4nKOt/5YPJkte2
0Bs2fV6239Ssioj506LvWh53FuB2EmdXA9Xp5zkYrHuWAVwSQ68Xr9RVVM1ZYiMgVVLef2xl5PrO
kFdBf8WNKlkvUi3VHV038tsh1HhmaKn0aZeqOKtcuSvi4IZiqJ8ytyX1AxloLVwTOJ+c/Id0pzZ2
x/m2KsCPjZRLeweEXDJ4KnPPu281pL3p8yhh6VBGYiT0sikf1CGL9p1pGsSi4v3psnjcV5QzPFsu
qxeyuapyqw9YHLywkRCFo+Wnri+17DNX0I6XrqUxzZd1iAiK0u7cD7dFF0bv6K/xkQBwTjhlCiUE
TapFRBNMXZe/SE3Arn3Wl29gmkX5zHM0E7dtOyIcLC3qkcXOWvVm1b6skZgDC5pHk7GHtatUppzc
SIhhaTZQduL9Z5VMlK78xpKQ/kJ0jFC4Viu07kqqJtezBeLPDVu4Hb/0sTYpnBkAdUIV4womuW58
T9skJFFgWgL8AjMrb8PZJ5cgrvOyY/3KbVZwu/YfYa0OL8qU+76r9qb6M9MpU5BHrsH8nop0yNw0
NwmcjeRWkFFTpMl9M1vXASXXVyL5hu5GS0k+h93rj6yTYmLmAuBOnTqilMrsR/zyavA16VdrD+mL
lkzalRJqo7SWSddgKq4TUm/rkuhhXBDmfB9lk/TQ1xEpEd2gA+GlXxpZK9J0le9kJFkPtp9Xuacq
aX+X+gieAYgrzYsamuVTSSz9g7FEs6yo07M509qgJLGrmRcppZ9irJDxbW2KipTLM22V0+aN0FFH
Lx47lb7Kcet25kNuCENpd/oo+S68mO5m1s3mzCinPStORYjzQCQstAAAhgeNjv+ZRtPUB3It7yap
VPoNW3fzzo6L5xrpwhpfnLKeRjIzVbg8Dwj80ouBSpyn5YZ/pq9z0vDEJo48SaOHhlyNPtrhDxLn
omBnnKLLrcPEXPXxSNEwl8rhajZC68xln/asiBCil4ykE6e1OG4jj2GqJAnsvV1JOW/Tcox7GlhC
1pNp8OWXhnmmx3pM4aAVx9PkYSKUW7CexyJZpeP94jjb7URC6sK70ujmK8w8NG95mbaUITuFdN4s
0icKw31sDBubL2cVFMASN1+3o05eLPpZYPoWwRtsTRquhzeaNLPeqmLf2Km9XjLMSN6ECgz4H49i
gFUHg4wCmkba8gT+6AoSOWYUE6lr3GGSt+w8Sa/snLbU16OctOnQ86B+4ogHvsqEwHE4yiDSSosj
0gL9ylT2Fse+bWVq/ZOJkojjVtB5mm9EZ3qDn7yp+A9R6ULhA5dzzLxA02Vg17TmXRPZNMpY0Wge
wflAOjKf+Sg+eVaLBEuDxoop9MTVnkRSXWudmHckQM6/lLbU9oHQmzNvxGd3EdQrhDc+vUVSdngX
hU+xrJ7leWfqiXaDk9IsV2nfh17X1oWXaRwl5QBPztfP7kODetA45oIWeAhSPhlZxbFWiuCHqZZq
c97RsQp1UkUndphmm6g/qcYOnKDgX3RLO2t8MrRh+j5RNSX8CjV4Qums0UZaEsOyjZYT/UqtA4li
bkXEK5a3xWz19U/7yT1CQIMYAygkx4VjlcQorFq2xwER+EDFS68gyhZt6taz1LpyNKIQLdG9fj3m
ySxFk3uhoiFO5fHLx26PKMX/V9AV3oV02Bo1It9Ti+nLhfFzTvv368E+u0AmqYXczAxFdObhS1CJ
aojYccm7XJsA3JGFTgBTJRE8MVihfJ/jt3skoVl5/XrYTz4mlPsALPE+QwA4FnSGuj3iIbao3LVp
cukTqr7LM04HBbC2M7fzk6EQukCcg9ezqBqXO/DHlGSSrWEolTrudDuv15Xd44bWAqvbZXmenNGC
fDYW36wlmPCRohwryUQ4aQJ777yzW718UQ3CchSNYtIqTSf7jJD4k9cE/C+IH1T98JXso0mQPXyo
NwZJXn5hmgEH7RR6rsiSi4DHKdjEUcb7+qF9Mi1hnAbMyIK2gGWPRmxYpkd5mQETv6i8XE9lSi2Z
dv/1KJ9NEFCykFKqzHzoS46Eob1UoC1XuLAE0OL7zNt7gzWKVnsbFup3yezl6yzCHIwYNr+zWUwv
ae6ar2OGCnGlatF45fvRuO4iHzEFJcNgQ995OvOkP7sX4O7Y/ZM0seSaHL5VTZQXZa1L805HmOY2
c1O4bdd2Z97dz0ZZ2LrchEUhe0yFGYLJHvvannb+LNRNFtElqZTgnKz4s7fWhneEYtAERySOTGxh
ppBa4dfEtVmztFXJJfMmOjIc+xGXfDzc/2buw9zntn7J3P8Z9b+aPzNPPv7I38x9S/uLW49kf9EP
L0s+X/vfzH0CT9jomAD3UdAhDDT56qgttOF//Mv6iyK5hlqJcwLfpGnxh/7N3Jfkv3hrEEp+WOvA
NKOa+ifQ/SMlE5seOJoaDpaFASIgix2+7tE04gNuWpmI9nvbvGd/SpI1Z0qO5UjdrZrQYWIE/7hB
t39vCf7MDDp6+XXEv2zt2GopWIkWIOvhmGxPqCXTbHZb/NquQm/WmXK1XX89yscJ44/9yN/D6AbG
AgSefATa4TAKOEMaYKRiweigIqetNX+LQmUkRWMC1/YCui1JtyUJnelFNbOAOFHpQB+QOKAHu+qJ
jqdkXZjpnhhYejo0Qymf8z85cIROGAtVcrcanQZpR+FkBRM1/1tn0kpcKfvRcqxiPfSXFBjQ4Zhg
SUInoCP4mvzUXu1iY1C55pCrMsWQdeVO79N7RXNzcOPAI8tlZapuROmaCMfgYSa5cRzWeklCNW3D
bUKZ+swScPIe8EyY9UDjkmDKHL0sSn8spgNgChl6mIxvnh6rnMzrEFLPZRz394ijYgcX/wgBwrz7
+iF99ipwkFr8ZEy52HUOh03zkkD6gGHpI42ePAOXy+klnVlRtWWiO34VsIdxYRy8efWOFri+Uaex
0okwJJulhw2A2TgHhHQ9UOYo+nedCBdsjWb9muXfmnSvGDfQb1Zl7Alef/RfRJGtwBMojxBUxHhb
298TayCq58ZSLxTrMqpvoh7NxOzvxuFl0p5MwL5W/xKgnk7e+vzM9/Pp5Qig/QsMR12+osO7RqvL
GjMrlt1AOIp5U0CctVLQPMHVQOpQEZHfCCHeINPQ6kd3LKgjD7exwW95k2VifDddeZPJXlhdpjMB
ML+lEE2p7qYAI+vmyQyuUrJmShih1ZpUDCve27oLu4+m7ugOyZ3ZeZEtrdhqff02HO1ZP75YYVoy
cyEvoSKOJoaA4v44JObspr1R0JqbvWgUo5ssNX2/6/laKOd9PeRxweRjTHT7IHWZpDnPH91LDbUJ
umJjdgNdvbaj1zRK/H1o6FcDCrAVTVvfiRLy2un3Ol2phTS5rL/Xzv8n/H15yY/eTh2k5bLlwMuC
XvrwcRYafroaQZkLMocUOPVKa+p1NubvwwRG+Ovr/WwsNlUgz9ARmywjh2PpktXRomICEZE/wXCA
t2BZnvCLkOct997Xoy1/2/GVcZhnA8KLCv9u+fz/mFWmUitm1WAgiB9XRUyNtogXXCiKJ2Lq62+J
ZRH13qxFLM588p9MLKyf4N1Yi1lkjaN1DdMCupXW4BLjMF8NeouwqTeDM2vMJ6OwsCMqthTKbmg9
Dq9P76Aw6FwjpVZUVh1V7bWva9OZ9+O42rS8o8DbbJu1DJMOHtDDYRLgB7lGn9K1+xSEYAIPpwPT
RY2JWYZwzjS+yaXEcKSRmEUwBWcm6U/WBopriwVOsFgz3xwOP1OYbXWzn10gzTwq+ZXO1OjCYRlJ
V5+mCzIKXd7gM6N+Mhl8+EIoN6HJ4KB+OKqdIt1YQubdglDLTagqs9PY8VqOXk0fbYwZ++WZTfmn
IzKrws7ASQ2m73BEslKTYBhLgmphmqFGhBlmhb618udMwTiURKs5toMzD/eTDxJkL+xOCgLo35eA
pz8/kdLPigak2uRmyo1RoxgPzMlw6Q3/noR25nX9dCz61st3z8d4XIP29SGUkoSx/LL0BpoGa4hO
xQpJGVoeSTnzCX42GiPJmPmp6akn3LY2SoOUF8RNuqd+ggGkQ9l3VOrTq1nRz9zG5RM4mmk4L3Mf
VQwSy0R6eBs1Wp7qhFabjt8wOOpIVqxBaPOZN+T0klQqWziimK85LttHM3UXzENA9iQ3MOn1tZH+
6PvkbVr6rBxPz6xMJ3OnTW2Z478OpoBTszh6MaLK1rqhsWTX1ln+ENGAXOiC0BkS+duE5E+mFwpd
JnAaMzxTTv+osx7cTcbGBYjdBHcDE/fRtxdOU9lpg7psMKJ3IhGfmjgDBKUPqdsUg5PIlZtN6hpq
Qoa0rKmpmzVPVUQC79frx8kXyc9BYwSrCza+JSDs8Kn6Y2DmzUBE1zC3P1W+jnUp65vJTzYJIrhV
RHTWmbv+6aWzHWUjAL7PoKB5OGRMDzwb+05GEdP5K9g57lDZdyaRiavKJgPGitQ7hJCAm2CHrmje
/c57e91WU3LuJ1lGOnoIi0mX0x+GPxO+5eFPIktoRS0r4miWzN06ytp2FajSBQIE6VslyFoN0Fym
FJvpW6aP4zhI6ODFhWGHe0nvwzObzpNFgAMnh8QlNgRIAPiTo58mnrpoVmLkKHZJwHcYLrOxU8Ea
rgb0tJMaXmRl+Pvr5/9BZT68B1AIFgP6gldfQokOR1UDc1TTSEyuDMq9y373HBCC4Lkof/HNID/A
keJ7fr5G4NCYnj1/y8y9nuzl5kfaf+vAC0k/QnsfkdeD3v4uujEu0mEbIJLJEscibAeFiPFL1V00
8LpAH/5AXvqkrEt1VwTf4umlD39n4m5Irsfm5utLQ9N58nzZ6S4bP/Jl2Dwf9x1mycQjUnJH43qr
yxcSp0/L+DmJW+T+Xt28VLnl9OaNPz0W6aUvOLU+iuRyKL0s5Ahj7OvhG5hagG53eletovbZ7Dat
9SzKbc6xttjQtJ9sr6o2xg7KWY0GKnWkjIXMIcPIvA2Gdd3uisYzIOXHuL2ueLPz7k4KcGpc9+ql
VqK3u6Zm9DImW01eW6bbmXca5K/Q1Z7HlxQFXPu9Dx/SdK+2W6O7QlRrkn36ZoTPY/Tcg32Qfgfh
A1AoLfYQFdJewao3+OvpflKcYF6BkSEOE53dbUvaDdKu6qmwt2DfqvxxeCedOYvukZsTA4HyDW+/
+mTRRJRpVu/ZjqfQuUyvmelruovGtV4Z2mUZ3AkDQKaXw5VQhifLf6g6R1hXUH7Zvkhit2xFa1il
1qVYlPHb/qWp1os+IaSx7sLv6N+VK8I3ze5GVr0s2VGSLI1VJl3E9j6e3k3lNvQTL2p3c/+WhW8j
fUaYgOW1PG8BvFgZGPghXmF4WwntVTavq10i4BFxGFv742XVbhUDlfBujJxcnFnhTydM3im6WHRe
F2vaMfpCsDpluIbYkBaaWCkKJE1yxdeBlH3vkUc5gnn9zJp4svLSdcSUzO6Xkg769aMTReIrRY3u
nJWXf3DIPCdfG57dudnwoyp0PBWwM8OED5eEs8TRVIDy2qiQwpHR1d/guKISbqp3mg+McUUQtsmT
/FHWj1N3P+o/Nf1XU5FU1WwFxg5V3oWNSzB0DvqxhAjqdmItlds2Whs22uuNpYaw3VxTPMed6uXd
uu+fwzstWfn30iUpSaW/KtbhHYcWXV2BuZ0v26vgwrpGDRiaXnjZXreGC3YOKeyM6H1jXNf76kG1
VqT/mhO+Phd9V3FHSaGwnUrZBPs+vSq7baZ5tGZ2GtQzxN3vffsooofc1lbT79kLZGLAXRX/Q+Hy
0Zec4id07FBKHdn4Xs7vbbE1/MvGcNAyimkfNVCGPDt4rut9GW5VIi01d+wflhxi/KjAo0aSBd1+
wDHmEnTS5Kuw8nRx0TQvhjO1d/78vUifMn1c6XxlvfJDZPqqJZ2pVeYFr7kypVddbPXyZskMaaEH
1tVtn10U3dbS7tCyfz1Bnuy1ODPKLDWUKMmY4P8Pp/6WdpxVVTrP28TSYkT9O2I4jjeGfjn7k39m
p/HZaBg9yQ8nUnhpYB2OppIF0Df6MLn5oKG7p4o3VGq6shpfcXOgql9f2+mJjpIvtaiPYBa+WPvo
qFEnDYLzYJrcWYjAmbI+dwONjBu8Gdd6x5tnJtboiSpxoIw92LVunFl+lrt39DWxTWYva9DVgjtx
9APEVlmQXsj1jrPNcp5GsUskZHPmq/1sFHQo1JfZLLNlPhqllompSEQ1usj6f0bDRDSG3Z87hH/y
6PjL8dYvga48uWUf9UeRQU3tXtObgBOUZXjpXFtO1yNCbBU/WJGNfQ73cLoRWsaiWKSjGqCwcbQt
i6vCzrq+mty6MKttLF0AH7xM/RYcqJG7YDpZxkVYnpnYjy9yMdJTMV8MzFRL+afDixQ47/DYIGTW
8uGlLIbakcW1Or/h4ZLOvJzHBw+GYhiVfTc+Ufsk8yruEZCbQ0FZW7G7a5bXMhFY1Sr7SQsppPsX
fVS7KNYm7+uP4njtWroCgkujN7Dg9Y7FH4o0a+pY+o2LmAWVWIYQN1OQDlm5MTjW4MqzZJ0Z8uQ7
pLACz8zgtMM2m6P/0QuqhejLRW9RWDdK86KT6mu5j1xrmGDmSgh8sbfQrFQ3XVftsDOes6WfPlWy
tRiYug67Ww56h08V4DQ6jASlkA1wxYong8gVtk31RK2hne37r2/w8ZvLxfItskhTrGIvfbw5oLxk
+qkUk5s73jRD4WMzRgpKQNKqbC3UIUL8aPPfX4958lChF/KhWEiU2OXCuTy8wtLs25mNbO7KSFWd
CokiOVNG4VZSGzp12f1OMvzOX4/5URr6c3KD08PWh6IDhwDan8bRx4JJU1KKzs/cQtzOkWcn9lr2
r0T9ZFXaTVej6CzZMQ7Bqs49YRNAXO6ICOA3vXQ7Dz+SBNfmNkStKf8I+yfI2J5UeJEcrIzyqiuu
+XVCuj/YHHkhtde4wpEyl7edgvrZs3J8C54B4pW9dZosfxSc/0rxr+bi6esLPXl9FgIf5Dk2XlTm
aAUe3lzRF7oxCfzoU1k/+AOOw6okL6Uci35lmKV2ZjY/mRio4fDmLG0UyJD6seBiHMrJHMMsctkQ
IGrNAjYQNu71UsVgmf6eNQSkjRzd9rl++/WFfjoyiB12ffj0KJcdXuisRCZRS9UCXU9+haMyrK0B
MFHVh9LGltlFQb0W8lqd7TMDn95hLpmCIBVzNgcwwA4H7hDpNFoVk/SUyptJDjrq5haHrQlrZZmd
W8lOmhGCe8t9VfSl9kLN9ehrQbOclkY7j0C4GxpVDTRm08T0MO6MwZz2RTN6OY7BPY2ywDVTtAkC
V+nX9/qjNH749YDEoR9KtZmfhWbM4TVrpYUtqR7hFyNyz9Ld4rwO+icFZ5mqSqtOx5c0PGVbWQke
e4nuKR3WaKeHzSZPd7zwc9F5aLguW2k9Ja9ZcSXZKnagfiWFARR2L38I6UwJgqHNW7vacbDnHJol
HmGGTllUbht7fvVK84VQUj4mfuUjVPrCqSlwlMFuTr8NOBbsnj1xutJIIZKvfP7qsGUv+o/7QzwS
Y3n6HzIKyMhHdwPflggynzyMIl9Q2MFKGFl7mXIQWbWlgpJdhqRRGG4dGHdF20CUMMLwzCM5mbiX
ZjkyAgqpGnu14xg91PRRW80cBTBIS6s5ktejkFZl/80arQDA9rSeA8n7+jU4ffNZiReO4kdfmHn0
8C1IkWLGbU2ax9zObtfh/JzjKHACnbKIfi7AhSYGf93BS4dOmOVhkUgwLKvU4XBD3tXwAwbEd3fa
e3HP3CJ/MzROT+skuPMt15/W/FZ6zzOHrodRu0V31VP0aaCFOGqygp4gP82XwQ6giJK5mX9TGT/5
tRu/d/ZNOjnYdoTiSeoCkx9XrfY6dnuLV0hyVIMS646kswinTr3O1fsCL5C+BZkCQIISOS+ek8kO
ByN+xQRpmo4JiQTsSeU0uMxC164oyFB9WBuqY4FOy12rI+7FbWyYElsp2jSUMkIvlbaVsfHxD1SA
V5wEKjYIvlvtZr5tB7rMq/TR+k6iAQqEMHEmaavkWx0slb7Rg5+58MZyQ+153uOQFD0UzqWopT6Y
mIhMvDpOau9Lw6vJRCbypF7F8q5svFbZ5PJ2mvfl7EBDr+xNE2z4l/rk2fmGZFr8Y0nuGXjpoUP8
aOIbLbhQXspohYErvFL34/PwO7s0f6gb6Sr/VVFnSTBOGDcB9tDpCuIR5kaoAk/+9F5X+Ojfo+wO
GwRlAOW2JMJeAQ3q4ho08Tb+DK/nMzP0ydKwvDgq7SnQQUtX42iGllJl0jMfFL7cwL1pbEzLSN22
vQalTxm18GLOsJdEFiGpMt3c3ddfyekG8mN49CVLkwMxzfJe/3H4QBU9CrVTWteQ83VRkxdOsRIz
PoGxseBpGfRy+gQro0+GCbmM55hQJ58p4xNfhSYRkJmgWH84vsIFx2Yd8KpJzUUW4oE2q+4BywVV
kXw8cwg5mYfYl1PoMVib5GU6OpoTRBRa7QIGcgEZB9tm8q+p0HsluvCVNqWvAEPbFcCAfvX1Tf5Q
Dh9NDoyLWAicGf3o46C2LImquh5wCmax4W/wfy76DVUFOBDrG6Ql2WVkaIsGAhb+kIw3uNCNtdQT
ekOPdHaxK/XrIg0v54E6UN6pv7I5Fxfs20DyzAhTvTaSqC9GrY9VKR/+6eyNCJuCOScp5KOw8Zc3
+I9XBBe22kv2ULmQDS7x821pwTnRwJ6xa0iNGYfi+xCfOd6fbLuXMaGVs6Vn4YAWeDgmhh7REHEP
Z6Sr5s1sjBvT7C76Sr2kkSMxrWbn5FanLyIaCmrZgKExItCuOByx91tSU3okURQ+AC9IbynWJTF0
0n6YqsevX4jT93DpBX10xeGyEWB1OFZUFD2M3bpwJdaiTSVTjbNGOiM2LjfygXLczhdsi3Pv62FP
byrvHmDTRUFkUuo8qhHZsDHNIS9ytkE9UD2lWSO3kQnDU6d1qsjPWAeyM6/+6Y7wIwaPmqcC2Rr2
9lFxIzcaxajCpHCVscfK1FJlHHpqmoBR/F2uShGFuHS4SMoMGW2H6zgXAxE2SvKPp1mbpZm9P2dV
ojqPz3FdmWhmUmmZKyfqaiQChkpOOiOjyxy/Giwc2vHNaIbuaMx3X9/10xfrcOSjux4PM751rLIu
BnBrFP66J83FMRvDWuPa+nqs08XkcKyjz6ak/mwxncFVqhbsMOf9sNOQQQY4xfZze6WrMb5ugzbg
1+PqvLCHExzjMq0yFVAlQ/F5+EJnUW7YZRdSBAwU3OxT0zkxXOwz57fP7iTbeo4YLBSoIo8+0WA2
YpzAag5bWMmdSDbdSSOZpw4iRxjhObHBJ68ukOFFeckpld788dJEupphz0Wau/GYvkdm8ruAaDP1
in89sHIUfrUu2FOHqUXAlJADuiLnVucP9vvRfeVHMJgANaLYUDYe3tegplnJ4pi7Rf+jDJdyem6F
9O3j/MovCYmQ6z66LIDsrKC5vOqgjwi0AeiBGXKVtMpwha1XOIvDfd11mFfqmD2nCLMSuldOfEaY
/+MVlntmqYsEhaMXt+3wB+40A9Mcslg3jKWbsq8cJdBLz6wTNzUnj3IVZLCoVs6sUCcvBjAxnZIQ
YlxK7jhiDkcVkp+hQiFyoTWhexRl/EMaRsfWre8ayc7/P4PB/sUHwEmeGs3hYMRE6W3fhBANSZdj
9U7oaSTKS1eWm4a+7dcf1umVoY+Edo38lxfwRGqMbkke6iWYYwzqt7rCB14Ke9Nllksannnm4X02
2KI4Yy8KBpg21eGV+UAPWykVIRiaagukaoOvrCdoCYbjGJm/v76yk8WI5Fo8L8t+jPUWC8zhYFAa
EbUptJYgMlB0is2Mvb14hf4GjMDqF6TaOQ+gcm7Mo8VIymjW9BHVEOGjfejNZFOUhBkmeSc/d42y
pnJBG7tSPFCpo6OE9TbAcgx+UFadPP0+zxzOzFHSYUcKcFHaORvoyb6Ae4JYgDoNDSNcx0eHyHEi
mIVyZORyCpDcDmP5jdq+VYW/AS5CKHIS3op0KHdfP4nlsR5MMoh7METqi7d3OcMejZphttMCFfd9
wYe0S6X5TbHP1v8/2qj/NQpR3ArGI5T61KuXF/lYTSXQHgVEV0ZugvEU0iX5UsjomxVwwLuGf/WW
t+adnQTKdoKX6Ha28pMIsedJny/DcEJsPszlDu7nKxNvuSODtFgR9vfQ1Fp85jM4XET//kkF3zVp
CDhy0VsfvpldodcDwVUxVUnzWrOzfVuBHOiaIN6VnHFtDZZhcBWZk35OtnT4JBiZACBqk+xRYASc
ltPDPNA72kF8E0BrYyhFgMqmLVlTqTcBe97IqKIbA0Ux+IYIIzRUjOkyw6Fm1PWPYJi/ff1iHB0O
P34e+Mjax7KOdtI4WnDHWBosuU5iN8KG6GowGnXhSoFVr+0GrGlQFJu5tZ9R3sirLKG+/PX4h5/r
v4enaAQIE084UbWHDyLyO7nvY4bvG1QN0zQ+SmODmUC+rSBGrhoyoc6MePgB/t8Rl/wLmrbayUGt
HDtzoqnAp5DHKNSM2bqNNGcuROYaWOi2VW/tNN8y/n7j/tt89C8m9z+eufvavv6PX3kbtdP+Nfv1
H/+6Ro5+YDxa/vO/jUf6Xygh4UELnjvTk7KUrv82HkmK+tei4+Wl+JhUPuqJ/3YeqcZfeNJwgWDG
YEPKXPOfziNF/otKOBIwck6otCweyP/9vw407s3R7//0AIkPEsEfExo1C36yRRyOnmwJ9l1W0z+O
xUKR2gBunac3o2xsizhucjcdZXRM2sBPRk6eVIsc3Zs9CyeyKfq7UhJU1aVtSx0aC7Mq+3ttLFV0
GHFrxTs5gIz5O6zUorkETd6v7QyQ2w7mWtLs1JjIZS+oTKIxdRFQ7VNmOYQlBDGu+2YRbVw5ozYP
xNTOpFxy3OpC+7myosInV3eK8uGBTpmR/BTDaNLE0kYrNF05z7LmZxwm0Q226rpEdpMO0c+xUUHL
1GZd2ztOqIN+E0aQZOYwYd8Ns0637qJwxnc85jPrRmOEiv8oW4Ndb7oCXFM0SY/tYIN7Ha57iz6W
Vid3vi5d1VoEsU6T0pizNXxHscm6VkG9IkMOaq5FYYtvslz/6OxSoRSq++QagjgK6WRZT3oUfter
1r6YK7vJ16UxztxSIGzZpiPPHZtLqfVQygKroVRvauKbXjRAeoBzjLqXwisJLgc7qS6IHQibb7oU
S/PGbEICW6KxH77NCVn3AR3Mrs53yVhoN4Vk+VcdBoPGKxJSsNKCfifg1DLbNSrtCyesauWxaTAN
O2HY54mD3lL4u7mQ7IJzpa7ca5mOZkbBkQ12Bebt+BaLMSLQ1/dHeTNOuhbczlLlowYL7OZNbRR/
r/nxbN3VwxxiuArqNGVyndQXteqm14T0xjuYibhM0/B6gHXuNokmCRIHK/PelvqnGYTsDmO09itt
lHDexOE8NDG8RTMMvXxkL/Cujx31UjoeSbwx9GkkbCoeY9wiNCWeI1MI5ElTk22SEHwKMKexmjZ+
pfgUztq61NdTO1T+fZjF4mZsIcJpFPaDxPoVdRA9fyWzZY4PydSSiTzVjV3v0zGTgdL2ZaqpgSMr
SZu1G222WFFoMipE6m4bi3RlkjHJe6bsK48RAU2Wb1WBI03ygGy+a7Pwe9kyJb9Y8kSXLqtJNvwV
QXttEU9pYY3Ip+6LvN80wvaLgvDYChCWq8KVuu5m1UeeItd8lGvMegjxE4CwxZvtD12wM/qxsh7K
sa2jJy1oGo4pbBOhmq7EXDTY2tSqbW4b2Y7SfStSi253KMO+3fpKLch5JGBb42DTKTbKfoIJA0EB
OdQyi+iOYiguk9gUG0LJ6406NPleVNBfqka7Do2eLN2ki6eHdg6sH2VSBZd+rKheYBn9jyQ3AU7b
VvKWLdqTqEoEDEK5Kx3IsxAbm8H25iTMt6jis00MOQZtFcD3BuYvsaScwUsV+OU4o01coNLWlCeP
5PgUMI+mjtc36bpv0H3qS+a4eGu2S7ppXCRA5IbfcM+DPXoGEDqKwFg5BxdyanHfiSlCVdAhwVj1
7AFWNfrfm6wctUcB35ZQ4LzWNzIz4cUgjISdkx/j25WWcF1lNJ9kXAJ3NhgOimxte1VPpJFOTW26
gS2kDcifcHQopfbf9Uwv+3Vfwdvko8zb3hNp6u8qdUBc0Gji0oDmuLJTVfPMrq3WXVK3b72RvPuJ
jejJKu6UmRBgNSepvCdNFxIWZ1ErFBxqdHIPV6XmC1dpJyCjpQxpWW2kHWpd6brrm1ulBUYfg6jz
ghx/5FzNhtP7iWkCBTOFwxZ3fLSMsnPtuO1QKY7E7A4J+boKTRazn66nURrfDKDtW8Oo6vu2GaOt
JEccx3VFdqReheul00KBsUlgaiTaiykcwudgSixHIq0YpxuAN2ukThZl1UMCWMkzyVFeDcIk6tkY
Id6lXbyPiBm+igFz3AMMjXY9G9OXrJb9dgUsT3qs2Fqzs6uxog3dcyCs7q5q6SB1QaGhV51S7siw
URM9vJSJn1+LTIZIBsJ3Z8aUxOc+Ag/Lf7x8A8p1MGf8J0Kd6c83kTuO6A2zspkcvS7AGVJD3sI4
H3bdaKnXI+T4Z/h35qUu+v/D3nktx41kXfeJ0AGXMLeF8sWi6CnpJoOUgQcSLmGe/lslzfwjsjuk
mP96btQd6iZRBZPIc87eayvmwamCTl6ctM1kePH6/vIOE0wdBsZEtHuZQaHuG7zYOYKplOe4TuSO
HAF7P6m6fZmlJv6YcfbBU5lcd3Y57MOlf/W5hBuR2vYdKJkttNLkKo+zam+B8D258K4+FSZMLSqN
kESi3KDlB4O6jlDRmzeKHvzDiMn3k52mP/ToDeMlcrQPtd87N8AP68iIZQBMLaYZj7N2rJ7cglkp
RHwGa6Z9ZyB8WhsdYkTPVPPasMviVvvmvW6Fv3dIN//cmlCTy5T41dQEcT7nTnAcCf94DmdfkM3b
MqgT0xejGFhrUqe1+X3kBSPhDY1LQsgMFkwBSbw3c89EiTsR8cL2aLjreZQxurbtirUsYDhtDZtG
xgCPa2Wc+zgYSGkxF2KgCTi8TqzLa901LyHhRiaLdlstjk9Kvddc2flEJCepVx1AySRLBco9wxlS
C4FIPaQ8oNt5VFbSD7sxyQpHuSsv4D0UfxyCuLXim7QdB62AY3XSMzZJbGRN4WMySPN2zCINcq6A
TRskvi8HqNmkmzqYdVkSE/OeqY3dmdNhHDw5RIyboOoF0ODLby7eaPliewPB6CDbRf+576z60CwN
4LWmCrdTUUONLPvPRVPOkR+O2T7rRHoD8DmJPC8pHgAfFsHOSBfH3KLz8fJNSJAS8uoRkNsQlPVd
b3AVKoTA5yz0+k3boqUi3Xeat6LvFtzKA8nkjo6jkeZqNPt5sUJsOSQRbd32YKWDPhjGnF4tiSif
KhIYcqL6/PrLaEt2WqLGazDR80dbB1DGaYrHCh/lKsXLeHTSmlQFkWdnw4+zF9WUzqMxKKwQfS+G
bUuMAor/JUetoRYGlqh9nrsurPdlnZdb+C/iWzbPbuTZqbGD3/YySoKrzdi3bgOAe8eg9Po7Hwgd
SOZecNtABxoOYUbywgrTAg6C2nZXXe7dK6jwa4Ffmun0bAB7J9gIPfnoPzai/CjhzN9XbHRisNOZ
f9vZ2tk2l0XLBBV6QfHJYlv0o+hPJAG04aVfZd+PriyBrRlFle0Wp3LODHOSz9MU3ltlEtwotsNb
LxnClQXK9qah3AR+rDupmH8r8ItONWRrr/XKz5N2y3OaARlfaqHOzhwzLhNNuisSv9jXiWaa5rfB
gADZm67S2O/pcGLdXFmG0IcgG4BZCcT247K8GmECmUdbiDoqt/rYQ5+LfAlCf+Xk9SRWxLmD7a5S
S8z7viOXA7xu6Nx6S0CXyGn0wuhE4bwYYu09j0HjfllKs3vkVamrqAfCyQkc8usE7OZaTo51yLzM
ekjmwD4LY4yfLiGLr+ClY2C/Qz09atts9hiiL+92/P6bajbsMyjH7px4E0gRq5THnF8RRq6hzKul
XLyHiibryZ2dtFiFXe66a2thY6PEnDyS8hWfYWJOy3ZxjP5eW6O9639oj/NlmoKIzYfsPseeTpt1
btfu+G0qq+COT/rcGrJeZbWEZY24LbXs16DBhXqm89gSFiDhVz83OQXah2ywdBCsJi9YphWyiHF4
sFDCqbNh1NJekbJJynwSDx2R8/DiazdcgZnO9DEsG17wQzsZ4mxpc+k2cemYeVQWarKOLvxFuoE6
xHGg7SCP9wFc7o0nu4VIEljyU5fKfWuVh8BpeCFTKERZ1zzzvdQmHuGqtIonKgGHLlds4NShdMbm
yhiN+TQO4jWX+XSeFxHedo2bnUpCR1ZlGcJFGEe4t4PwV6XvThdoDZsMy4jXQmWnRMwjVsoCyX2S
lgfPj72DEOUnnRe3A7O0deHy0vdn/UnabNkVT/V6ygtjZyB72ht87+88oM59zNIduZdokh5q0yNc
9fwYjpbcocnyziymNEFh8S5bw8Em2nlNcZqkxoOhXL+/Hs16+jJ1nn+xaRhzQu00jdYBayJRAyBw
2uyabb33GbCduRxHbaFiIAGlbz4QE5AVz7Bppm+x5fLqSyczKPal5enmkJDWeB8TW27T3hj9z0Oc
ElrvuDKUW5dkF/NgOmQV4puCZDqqmPNhpDU1La5S1SKlmgGFFnmG6GMA2trsTSdQzibw63SgGEu4
hf3SJHJ3yNhlHO1JjN0HVAbN9OLGrrRx6A+S+UrL8H1q6nFedQ6vHqDcfhlcDdXsJy9+X7rGWSaB
X95CE+bUoRvrozBHar5BHptMxyUMawNOhTmRz6BSJDfksaNTYbAe+5AUpVWAswede2uJwpdnV7fq
gpCXyRKVSzoycOdLfdMeATbXAbWgFwW5sYjtoJdO7vOsCNz1Aj+9WV/QpFdJzelbWYAAeA8sTVHv
F8T5kMCGedgb2fAkUrgcErncxqGvuwX0an5QSZ1um0W6e1tm7Rdz6ZPPg3Zw5S0FmRN9hlh5saqd
NKTaZRcHELt1Ws0NrXTsDuVUvM5aMjasHKfAdFXYJxKIwk1jeh+JN9Lc+aZfHpO2M47xaE8bkZfL
iiAOf51V/FhMJPyrtkvwDgXbgi8kEaAEsuk5bsq5JJM0r4t2b4i2/zoXC6G4o5CvipYKa6BQDmog
c3G3s6UqhTTdbPCG9EuybBjyuJvMdNTOMJd569EYQaRKuvLOju3+tpSWPAGg1jsfLd0NkOllM9aL
tfXj/smv53nrk6KDxjVvT7ruLtrhyr7CKG6f4zzzGVSpNvgYEq+3WWyzf3VqYzgVZptsJ9tn6cgD
+6uhsGAlNG3u4tm2UFMB4SXy188qbERlsmL8BQaElvMU0YGnoOeB34rS46QsRCeQHHXrzC2l9uTI
0+jO7pp6OwcY7HT9RuZueNX39KWlkOK+nuP8sY8Ju6k6TgjCfTkchGxmpHS2dZjnJlsXwyRPyViP
TNutfN9bWYKIsFcbpdP+bBaAbfdSNupTlvZ5nlEQVAi9zK6o+iMhFuhuDFvEzCMEgsYPqklCscut
1g0pkos67H8KLv7XgoR/xGjpd/wjIN/9S5W+vGlEXn7oZyPScP9CSYh1wfPh7EG/u4wu/t2JhHR0
ye7GI4KZnwkk7ct/dyL9v5DcUvDQvUZ04Vxmt/9iIFnuX0Sd89dMwBh98Y//phP5dmhA59GyOAjk
0IvnmdHKuz6k7fVhrYf0cxqMPNX+JFfDRHLFL+fk5mdb89d256XV/p9m578OwriOOTTd1b9Rxdyy
9GNe/p9J20n2FerhFb4NFCvqj0O6f/w6F5AAo1XG3u+5f7FYwiKcw0/WXORwycdQ3/VzRU/i91/o
74dhEUAfCkQAgRGe97fd22EUOu1q8XE0GwujmlkOD5MozD/Jb9/Oki7njcNcKFfwLIVAg/v2MHYa
pEHQOB8XmmUrxF/OM4HMEhiMba3DxOi3NXGQkS6L4oACTf3hS74dZ/w8OrGkzKlpmDCYfzdAybkL
h9Y1P1KEStTQJR4fw5zJjhKGxKFV2swYY+vUC5Hf/f70/tP3xn4DxBdp3wVM+vZ7g/AxbPz9Hxs7
7rPHCXKbjEav43XKCmmY+96pXJtZqvSLbS3snpSaQLED+/2n+Ptdi3oDDB6GICLE/ya79+ZUFYuy
Pw5Z4m7oej80xOdG9Mqs//pAzLiEQ+oxlg2kVe8u82gYCdsU56PRA5OXg2g2ZOMQVjLF8eH3XwnJ
1PtHERgxYskAogIiMlg4b09t5RkGN21yvcwOEXozXXFyY+TEwxLUqrynDs+tFczi0L2wKuTRD+O5
J/amJGy3mz2aAZmnSXLr+jGZ1tWlGJG+RC87tJ7zUo49b8zY6lsQ14CoJbkMU15v9I/CR88LaQZ2
SyhABKW/8E5OU5n+KvhRPrWgiMjKwPH3Ba+tO20y0POXwK+MPp1j5THKYDfWuEUbx2dz7DlOd5KO
tZwDsQxX6bLM07YUeZBux2ZQL/g3HffcGfQ1b4PQSJ4p3heyU5zJrPc2mSD4WX8UrLnlaF6R3oAf
tB2DifQmQOErAATuvacrgoFo111evbOUfVT+qKfNoqy/Mr7KxKYws0IfpGtjv9WjGWKybQ3QBHlp
+HuVxt1BSZWYEY53xNTNj/aAgAWyJzrK9VfjIOdpo8U06wcf8phzWipvxvyVp/ozOpvka2tWIlgB
47fpYhBDS0uDvrEZvwJxl3ekMBj9tf7R+5imNvAw86Iy4MTuTCNLmmPT2yhn7t2fPRN0A45xWw9e
x94FKnZFZC05Km2z5DcI7X+0W0qDxDDaL47sKWI2s1ItvRlXkYNkXLOppVv4Sak6zZxbG6R7gBli
FGV3l5ktoVDweApDevdjHdaYbsO2aeeod0i6S0+lRV6CubXcTNv0c3KRKBHolcNghLZqCaixDx7K
Im5i0jyMxZQWDVTY5nA+DIvQpZY4NDaZjrv27NhvnqXWzuDSDPFJ2VoVhCC48qAVzlO2bMhD+wfy
cZd8Wjlm2X5foA+jXLdN3HyRpl2v5JV2yAuabwRRCUi0c0c5bbbz8KKN5UqUplFB/0jaDGOGkAy7
8fc3yiGDxuFQ6apMY6IMwqZDhk8T2Syvk9DMzZPW0jN3nZO23wmzG+l3Om1wDhMvVofaKoNnp4Wn
GsEVKr5lRW3H39XUDu51x74ZlH0DEuuDHWvjA+OCVO7okxrJ0xwkNpKo4MJoR8VfLjcSruwt7wYR
f5hUbCyXplb2aar7zN/p1gwEswd3QY+xssepfoYipIZdshBpedV7MvH2KUM30sTE5C6kMsYY5i3i
0D56OU2FVbl0VbqxFs8yYP+FFRL4cfLVa5zkU88u3ZmW9XTR2vEgTeZEIU/OVvxxlJluMahU0nic
x147D9aipfyQ9oNVbIPZMcXHbM6F8zB7pZl8Dcu+8b50aeNoWE7lbFmEFw2lXT83tRUa2WricQ/P
mdl42CFln4X9WYc9GU6RNntCmOkatjp7zJe0BQWXtok/Pswwo4h6qusYRophkhh9RQTBwrVMYjeq
rMy7mQOC9TY0CodgVY26uO2ERwfeSk1WHS1s9uOWoV2T7JAO3/w8KPsKg9KSRMpqi1vikKeboc0y
6s62iwnRKVQ68XKE+su7OrW+Dw0ndNulWRJEVacJeGUv7l1gHhYzlnLUCRZ620UVSARoulNE5aak
j9EA3NlQ6m9jCuenjumZGU3EQtI7ozlicoo8XkNdnOJrR3OsHyTTnsfawGi4dmM46+uwXtpxq8n/
8ba2wZBvZVfkOkZStAltcT/91M2jY7DMZ9ON5SZYS6h+8zTKOwk5KK1iTbu0EuWH0XFZ2q05FU/V
aMefg35o1UrkhvxEkkX9ZShMzc5nJNTDT+zsW+IyQ46SLu0+e0SInBXxbTAu+xSnxzD05FmOZjB/
ogAh3aIR+LAJLOpAXftWHX4WYQUVunLb6rTMce9FzE66527skk8zvqNX2L9q5P1RNa99WRtT5KUE
NauJzNhd4tnjNdk/pCfmhmsO24CWmF6TnZu+Cr8Ut3iWi0fLGJyXrDQmL9IB46xI9016b+VF9xlf
nfs4mMb4hRWKfDra1mFAwuhoEeLrtzYhrTqgBTjjPlsZS+J/Jx0pWFYLhxloPYyOXCviNrkDi7Ay
VnM/mHeL7VIx6h6Q6Ep5jTCjVCwFoTujtIwtX5rxermEeb8reDhgLvrMk3gSy4XHb0A7t64yp8Ff
EOcjtrduPC1sSOebWbj29yHN+6vO0OM9zjkqRY8XK5SHHBHQmUdHXtfZYjdrSEdyiapwmcj7Msja
XAeEEoAi5y0ZQqQLpi8O/Zs8cvVEvOS05PGXOfOZuPZhgkLWnw3WQhRPl6H+TLZc0Ulfr8xlJLdp
FJ2xSizNdenbuXzxgraxMOSwzdg6cyUQADZ+ReFtxrlax4saLw4GBRkiCTpNJk+Jkylhtukx4eiq
bNsYMv/II1NZu1FWzPZt2UFNaekOw6yxlbhzfjQnf+yL/le/Ur+yw/tT/ZoO3dvylZ/5Wb56zl9Y
e9grkj4PLuGHg/ln9Sq8vy7+OGT58A1wePwC8DUQy7Bdxg+EUIY/2T//v+rVsM2/LsYMm629hTUa
eep/U76+k1lftDhwCC6iQJcmFj6kSynxi45mYU5U5dAioir3rSO39/ToNVmbYHQhk2vpx2FLcqu3
zpqebO2+XrKX0Rz9702TzH/YXL/dWv/4KEiKLt+Keh1c4Lt6qQpnQmr8dI7sOu72QGaXtW+k4EFU
gU+xdJP+lgm8/NJc3ra/XLR/KLAvFcJ/Cmzcz47Hnp52ABeCMtF9J02lODHGzllw0rNPCDAoEx09
fSNua9vGqCR+f7C3xe+Pg8EL5cJd0FSIq94dTM2tR+RwoNaFAZ9kToYXBzzg7v/nIMyCqVG4x947
P5DDtHEhDLUm9Ng6GHWm1yg+nPvfH8W+VJJvThzs6YBLdemj0Gp5707yEvJUStQh6z78EKv7Cld8
2Nwm7naJnxqwxXK04TZZEDwGhuZin8VMiujZ5bVYdegzFI7EASjUQsxsMIQnTsuqYN5qTWojl9fa
zI/98kEafwT+2X//4IjR8L5TmFt43y///Zf7vvbCloRtb1gTqmCE0dCk1bzNmSc9yyB3+y1ZiLRx
0tp8cUitPk9GHT4kriRltNE1mqqBmNu1ZbS4rWcyI51IleH0nDoaGY1LfM1Hl/H5LTglrK+2bIkT
1Jjb11BMnNseicwDEUekp9Lexpmce7k8JFZHHWJxkQ72sBBGZ9udDWC4NWx/pYc4CA9h1/pMb1t3
EBFh4sYTb7endmK7v3fagTA6Rg2+tRHZZbfjqI5U2dkT/Z90mn+7gfkMtNYvfknsWNaPNeXXcycU
ux32qmvi/vKzYcqBNPTQ/8Nj8rdnErE1WN0LRp8WG5zxt1eoT6cOAj3eyNHEiRb2LTnTpmSCM2lz
qxe7in5/L//9VqaBF9JGwLANn+XSTPz1jvAgEYghaXvydRk6GgPZT6MH1piRC0GD3LBra0a3/vuD
/sOXpGEBvNMmRAQ83rt2Aq193PQe0i4/H26QANKqTjqqeCe8qWZYTb8/2tuODCvP5TWE+pF2GCs+
ddrbrxh3/li0QwCTWcNvInS4Jidr/DoY8OF+f6Qf1OE3C8MFE8r1Yx1Hymt576+eRTAku99wPSJC
+hwEnIB1Fag8XDV1GjygSLkyaHnEa3TpeRnN7Ku2VepeXJXQBR68WYsPKTKj4Ocp+N9OhZ0Kl/M3
O5VvU/qlfrtN4Qf+1WUPPJrivHZRF9oOe4GLgeDfXXYr+AsLFt5ZXFhEs1y8/P/qsjv2X5e3pclW
hX4YjXZ+4X+67MKhFYeRhY4Imwv/v9mmvN0acMc6LAMevW92B9y3wWVF+mXFaVGWpkS/N2ew8sQw
N7U9Wx9y8r/tL0YrbUQ6BgbnU89yZWyR1mR/FOO/fXRoUcO3YbcGYAiDk82XfvsJclIGbeXAbkm9
lEB2szadGcahEdwYk1mq73QAl56cT0d0WxRWKdGlrl8Fr3OeDC3iOtHehbkd6BMTuXLZFgIf4s1Y
6VTc/HJV/2Er825Hx7niCjlgz5Bg03dmKvH2k6Yg3pK8V/qq7prGXtsaheC9GzvWcJihe6rjNDu2
uJFg96g9MowO7rEonZ7BfWy18TKuvK6UTEX/8LkuT/x/VgQ+F21TVjl2m6CK//652KQIPHGFdWWP
fdGtg9oDCEHJNWp48zmAjyRbWu+6mxy32+blFCbrwCnndFV0uIZuQKTmI+q9BN2OqLvB+tOKdVlq
f/l8RJOhSkcp6oT0D/jz3XmzSLl3jcm2TgthndNBV71C7lhcFBbk0/ZMygmy/FYDPrsl7jKf1wTN
dGLfuBONud+fq8uh3nwUBi9CBDBrL5eTf3l7Cas0kRMj2fGEbFb3MP/KrjiP40L7bEGuqj6lXtMn
f+LHXLb6747q87U9cDX4vjENvzsqummvyub+VCP9h3K4tPB56OmYJGr3i2geFtHyKjQqN50IiSv5
+9nIAn33+y//dnchLJNBPWg0HjO2lBZzurcfw5lVkSSNKk82osZ8Bptfuw1Er7BKpt3vD/Xuob4c
ik04bmwWFwcTzbuHukSAxItwbE7mRDLrsXG0NxAan03LqqE/W/9XEFxWTmy6NhfVpbvATOo9k1BQ
4bSebqedrkvPue/dOeyeq8xV+cuUMG3eoR3qlpulaELxkTmc8v7A1H67xeGcsiCzeDH6vADo/kZ8
QpvoBQQVTEf0IvOwVj+voYVa/1T6nVECoCKQ9DATRe7uf3+q/3boC4qRHQhnGXQh/3h7VQ3PLRwK
vOboGXBrd4TaMprPlU3+RLpwYfHiS2K4YiBqf3iw319ktiAARvnmmPuYRl/q+V/fHYzcYmxqlTp2
McNGcpFLluifq0zijdzKv/+i4EPerXQWL1E2xQSY0dRh+PzDCPnL26pL1SRrQyGFr425Bp/azd97
Z5n13omR8WxYWC7y8LCE1RZm3ob5h3sqkcWIjVTN/MHx4a9oRA+HWc3F2m9cj055HZwuM4zNaFdj
1PYgZ1Xb6yPiJ+e5Cb1xD2nJuxtDL40mpKgbZ+ivJyGTey39EcFoEcomNJANTilCINNYpt74pgt8
FF3bDN/DXravauj0NkbqdUicBUZwVb6WgzJ2wsz7MzVZEClhtlFoS2tfYP0gWKuxg1ObWz3JFmGA
RUwEH9I6rKKSkcQK5bC/NRMFHm1iBJCiT6G5WxU5J4UNPG/1Rzbl7V3iA+GZNRinehDZ0avqeFfJ
8nFU+XKrL1Iab6nbtbYGuevDztvHXZ28qKH/7qOaN1ejm0NOHXPq9tEA2UFu4C4MJzdqRKvDHafB
Ad/qKuwDnAnLyC7UOmUxCM2a1ShM9SStsdzY3oTyrVVV+9LSBtzJWfhbwk3rh7jpAppwCNp561qv
wWjPCUBV2EkE0MxnV+Q3HSKEW0GHd9V7PQLQKsnvdG3q7wR4oqnP6M4eMVEHxOaKsbqlxCK5l08C
tziezS4SJOEydQkC57PAYVhHbLBRBpObeZxUTwJ4IkllmT0MyJ66z8rKOdZIFDesjjQZ60ZiguF/
q4YONb5HSWqcbJaTqyxjuk5Rm3zKdFXINctD9iHvZ+/eCqTzwYgT/VS6tDzQcaJlQjt0aoigx3Qc
zGGE7sxqwSkG1k7T89kYRQnzv81x0JInMWdf8kmcbKsrOm/NtDTOwq1vNJko7+mpcHNdT+4khmMN
30dYSkST11lMuObuAKFgOmmUHR/1aKQTFLwy2yeGMSDETP1+X5vtkx2bxVcHQswBIsm4o5ebw8wt
9HVDZ2ilxgxNMX33wWzOwzz1MRdVVI+4VtP1EnKFtLv428JO7agUiojuwc8vZbWO2nFezq6syzXv
IL2hWJJ0j0Vy77fWVWYTdjP79VcP8+8K0d3BUnN5zwDtmWhP3BcBqet+S293tibzk5UGOy1Kgqrj
AbZfPAB7SocPstYo++tl2hB4n+3pdusNI8g8sgxJjvHoopDSFlCDUWfL9dj74c62M0XQmqpviF3s
7r1FltDHU+TdMp6vsthpNm0zDSdDMXWJOl8zeVjGlqFcT63eRsrW8FFp1+O78hE0QHlKkumbo1Jb
RPVA8ZVaU3FGR57lp4AA7OJjkgN1/JTquZT8kmAUxWoO/Sw5q1BV2Vdy8qzvDVfOfloqp72r6El7
67GiG3gd4C3wnkO/TeVTq9hPYD5ZMO4ctWfa+feg1prZkT133r3HRudrG5DJzS4PVteNxkU37RBo
dKDyYyIEtz931JXhDVWx8oJeg7hOYDOtujlzNtPIWDAlomQEBE7nu00vnhZE4DkGq2HdDcNUbEkq
tpPD2BUyiGqouO5BOwagHNTh+TmBhQARfVJDcBVX6MaibmJcckS0m8sqqrGctVeTRfPpGpE8L5VN
UwcFu2GLkf7yNDC0Q14obd8EIT6ES+QUZdxtyPpjGFL79eheCVWI/NyEdbPcuMjzhrWNb1p+W2ae
j3OpcvfFBhkhjthvlkd2A35NxroFpe+aqEbeSgSVSvFxIstvwkbF2hF1RtEfkUQrJ147zERZcdXi
6A4YNIPZYpFbx+p9fYemMM6PQ+Kp5aavmCo+lF5QFxs6KyMBadydWqyaMVDBigsrkRE0vOmrbzgI
k3Ld2K6oT3bH7O9ghlDy4I0ZQTp6W8R5HVMnv0pDyGAp4e5nDwWts626xrlzqMay9Koxq9n1IqNo
mqw8W0VX5PGJESRIo6gZJ5CkglUe6hjAEJOLS9JNtXXRaFW71ATGw7OvCTncVIGZTWvd5DkOAISN
HbARKzd9RpwZ2IxVbSEoJMtM97Ox8bNO+zsRN0hY0iT2ia/Xbj7g7HTGYGU4SVBf4YfL42M4wTR5
CqdgbL+V1chlMQJT6QuoI2HGF438Me2of7Og2cR1n2ZXNhmgw2dUyVXK4lejF7y8nmTtfkNqTO7u
ylmk6J11RrETf2f30arbhc3xQhBW43Z3sWTBjKqKugF5vIrTR9XbnXetu5nY7iixGkd+qtq5YsmS
Q5nKuwa2BqT4i+r4ImqgVoKuWsxJk30HiWC26E+LSjeg5KTb1P267mabXfFcTUP2YDRh8oyDwdoY
KUHpRRA2ejd1eXPAvyg7upvSve4dMX0WVScfrVmHR1UlXjSmlloHheU9URc8NwxFD3y9ajtWFK94
7dGXkcl+8lw5FttmMGeJM6Pub8Jheml0n0C8c9MdmfbB2ehLREYufZuVrboD4iLj3qzlBRJHS7Se
3DYCE1hzyMm8Vawr67AL/Q+pr5mepqG3toZErJOGaV3rB55YydDHTrPoepsbIjzOtjFsVBgvYP1I
2IiCesrXCxPs4k4EcbEOSPOwUamPxbRuwqw4JkFQOAhPm/rsi7jID+HimgebWfo+LXNr71jQWLJy
RBycjE/WXKb+ygtjLH8VqlyzdMVJT+18dDPRnGxSaFdcE+xTFXe16DnXiao9Rt+E0L3asSp2DuTh
VTHhr+nKoTr0VdDcIrOdsEfW86Fd0m5Tddk3dynbuyYWP5KJh3W9YLqxpjq5q7EpYm6I/UfBNJOZ
txuoK8QrNCLnBEFDNrYhuwQH8yhpTlYUtr2lI2EMuE5H1ZabtK9xBSPpSGZskKk2iWgYre+hNIIr
jMTOky3pYqyKqi6iThmYeEIzS7cDg3O9orhryWtLpHjKLXsWW5RLZfDJbcM4u9bjnHVMXd2Usld0
xA6HKAHW6GoYc6qKeSgRHig9VwvbAyQixaDuU17WxzhO7VcnruUpd0b7YGMY0pEO0SI7ijAAbMj2
vM/7eDYAYofZsEL7MBynuB+fa+Kmb3BOsKHi2wd3PTPZyxTYzx+qMgNgMcfafk5tJ3hM/Wy6yK4x
E6XSOSB6L5GYzFN3MBsSKldt2+GfzjUqkzQVLuhQpbwNaiOQbQMuwK/9MIdPwkobYgEG1aOlN2Z+
jg4Twu/WmJpq1QRJTXBW1u/5xZhFGm2m5Nn0EHOnye+t7dAO8bFECbhSjsN7S2dzyPgV6/YQuYMa
ruYUToQO0vzeKiYpGZQMyzMcd48XiiKAz6+n0LkOesPsVpZZNmNUtHV2FjmP/TEI5u6xp+Nwy4Je
4D83ie0iOKHY98OosAKaxbztRj2mcK2IQV8ZhS4idzZJ2wvLeTrHjsdULQuTceT8zgCGwykXEIvm
rDjZc2xssCtPL6X2/c3Upta9HjpUPg6sf+bL8bZrJ7FrZVxvO1mmD3lVvFh1jpQ+RfmOGbZ1njm1
jVjPi+rWdp1aPszt0AOamcy7OOmqU0PdtHM84LMo0DAHTG2R6OuQ/eFNk5rjo5f6Y8VyLMfHyUGI
HWRNfpUPeXlWVXk2mrn/Mja9PHtFE3ywdQIDdprF3q0lzg1n9NvdnMZHRJEwNRniMHnKs/ZqMTNu
sc7uqKnM3tgrr2w/iHoxXgIKFcwmxkIaQhXYMMIcr/pUpLN6EW417twh+AryKU/5OnTNNyDG3YHt
ykhxlYbZ3k0px8o2MJq1lcbfmiDzjsbIc9FiX9plXbHsZm211FdVd7Z76KCWUK9Dz5hpO2HOXeOO
su49quA1aMdkT02u8B+Jb2IykrXVlafYH+JtM8rw1pS2+dBTAxxNdrGR3YbjdT+ixVmC2l5Jb+k3
qc78j6KT3bWRkScZwMje1W7OwM1V/kGYWu1KoqE3VkkqUBH0+BTd5gqous3uB4BBM41d1Nc2P5p7
xbEeJc9IU1mf3DEzt8qNzUNR/R9t59UbOZJm0V/EBU3QAfvE9JlKeZVU9UKoqlRBz6ALMvjr92T3
rJl5WOzLAoMZ9JTpVJIMfubec4W9IZkrR/4xIKAPyK1ilB97e5IQ+Sx8IEIv63S72uWv3sOcgZYt
JhCD5JgCo+ixgSG+NQGaswocw66O5dgdFsebf5lZvCnRl+dyCOTZL1oUL/H6HFRe+Iceq33R9JH3
BZ3HsDOBKZvdHFnzcyookLfRMKkHTIxNeDU1T1diuTK64NiwUWTgTAO+ZfkjLnGrNcFj3vjWq097
FR0ineZ4Fpuw0ImKxvQHtY+zjcaYBRryqmfbs90P03fDAXcVsKJIljRljlN+i5bK245+1W/LJvWf
7RKxGE7B6pS37vcJyt4zAk/qqC7Vj43q5rO5RSXEfehc0sCMNz7B8JLakFiLtm62+eJQ0iElfu+C
PtoMXmU95IX7rQDQcAxA8CyJXcGMaOLqOtmcYVE/hpcuE3wIrepfHGVDIjNreW8npRGjzGF1WhvO
azNSBW0aJCW7KtLL/dKH5o5nG/ixxlexdFlwLtLyJ61x8VTShmxQP5LlI0budedGom3cgDwRSVHG
fYIEifCsU90uxc7g134pYqXvBeW/OmrbuCQLhPUP0VnqQ3Vddw/T0tvAbOiOVd5ZEKa4Imqtmj13
dFgeI9da90yiV7ORXur86eFSbdYwrHZKCLmrmGPtgBjkmH3KHst0W8KXUIqTcSegDXAzZvVmKBHn
jX356JZV/4xEuEQWpWkVoReg6LFKojmpzWzkUEel9O9cYFbf6G4I2gMaPQ/dUKl+rGGBcQXjECmy
vLe5/5YJKbGSnz5/bb3JwTokhe08OkPbntPbu9bu3OHiiS66LtoV97cJ4NOgXTS8K/SBo87SSw1W
qNu0axVu6GoyL1kKx8PjjBZw51MAvmRF1DywA88/42rkAcxX+0/GQIPKPqVdJVJQssS30xdhj/Z9
G2C2xNDaOXdouMd9nyttbxynCc4qtcPdQN7iQQrrpG1Yw7KyEICqwa8RHDsr2TqhPX5NLDlu3aTe
NotuD1WLnmIVOKWH0nY/V2YxoLMnzjHqfb6waAj3PSUruKP8qxLxu5KlhetXxM+II9XOmQl8MWld
HZ25czbkIA6HueuLkxR9t5FyWUzSD465syp4ZNTRvv9ug3R4WnSII5EBOB8hvNDS+m9Wb5bPYCCA
iRF0LXaL1690UaH6XsvZPEadQRJlWbWPWnJYV3/LuHFCK1ZWP6q1mofvxvCUUx3B93aakh+s6Vvx
K67l8sXLUm9IIZN3sIuKrdeS5ZL4sxEvk2Bxf7NUtXeguWdOTBc39caL5LzNW10S44tjW96lQYTz
vWRy9NOepcJfzmE3bWm7/Hd2u/NbVXr9nDk0L7HF8r1wgrG7m7ixibpaAkfPXYDYVrteB3nTiUYy
prc4fbNloTRc5qtxMucdbS/0IyXee960VwhQ9RezEkoOJKpaPJaj0y3EL7hRW7ZqE3h8tvNNrLgc
+ozJwH1TdvSSmR4rcWACA58DEXnMqyGkTLp0bs6vukqp5grRou+S1aT8P2bI0saibvRXABMKhI6u
kr614/t1CvN123Ra6FcZj+JajVYTXBXJesEP1uRueV1noIy7NKgiKJu5PTbA3COLJ3AFAqJfTVcx
RMwgaMR3cccFfzaut7BwwvlRcE34YPQIOfm44qD+ap85uFMs+RnSvjFJIeKlb6gkBm/vsIkY9tEs
o/orh1G7PoerXTHUw6BNi1kGyGsO61T32SVa5VpcpFh1+IgV1yVeystyNgotcXP8j3A6QwtlS4Ag
VbLUdihPkcmn4kjWeXhf+UQIP67YRvIfa1t7jDTTleZxMt4QZknrDmF0HgvLXR5cb6DxLwHBu5dO
OZhPE6/KLAKezNAynlCddGl/49SrH+cVGzHGE8GkHxb2UJy6qTL1JbIko287nkNxnDhpWK7gNVze
fWAKkdg4uhnaHWuRVBwiZ3THA6UpwwJZLjaet5xoFKwV/YhFXPimPtuMF6atIL+9vM7N0hZ/rBx5
wYkM2HpEdtPA2VsnO0AfzIx5JDLKiW75oaR/RcGf0PeKFr/eNHA/OU5223W2LV+8Z/X8dxrrQD/7
GCDpS8dgZWEXpJie76rM7vD1OnguQYBQ2n5wGBfuI7VQ0VMhO92T21bOZ5l5ASktNd1aTw/v9Qsp
bbTGPDmKjRCZbbqwobdDYoNiGc9wj9PEi63gT0c4h36dy9jj0lUaFyQxqySTcLP4RiDVHX04P0Dc
w5RuRKWyTjIi4/1X0D6S8fCCbBkF0lyc3QHtxb7HCYoovB9X7wlIXtvuEY+7zZ4y2RQ7sbiNn1gy
WJvHAiQLj9XQlgwWVxeJ5bnKpfORFohOl2SQs59Rx7GmAy8bknTVWXN8t1LqWjt4c564NusguoQX
/+oikRqsjDgu5ONZWgc0gyaK92U51eO+s9cbu9OE8cXppyVKRKVvk7NScjGDyHWaXTpSEexzL5ix
PtcFRpF5cEriPTtFbcXBt3TnRgv+lAh1GFHzsfQ7D3O0EvGYTk12ouLRet39vc4Wf13W3lt658Wt
phsfR4dBd0p73+4gZlh6Rf9dBTppawUKhviOyN3Fq56b+3nohgpK62RduLms+H7qRXsCxBL2z6Jw
SvUZD45lbU0I8ZFBdqHOtJquubCZm8J9geWiOVbuVNvPkIpNs+UgJFA7tmxd3HcrfGrGCs7QXBfR
xFt/qFW6Xyn2qWEbnGwYVQfSxSK7XOqdYn5cnP3RzRnuirh/1yiw0gQoD3ctYxpyN8oFptAvUZSi
2jpCdz/N5OtHXPBReDSu0w+/ScERJUVpy+WeZF+bLRIl9z2sCHL4aJWimcJ8oX57XOpPZkTwk0g0
bjHeLnEE8Qjol0fUiOWmu9sTxhEd0dQfq+Z2a4xFZX7+/XCOvcM9Gtl9jGt7XMOsTHp3mNdjo53K
bFFkMxisp3Ydzm5Rk7NYUSgG+7FnkshSSDXuriwGLAcaCwbgEg9SbUaSrTkHxu3lg2enbXeBBFwR
CLAU08gsNSNGG+BO7kQaSA/EkU0RIGjHK1TP4T4c8XRvCBUqLtrEnTyFtqP+hACZsj9eizWeybOb
BgjfhGCy01mwe88sRer6A+UOz3zudmzxyr4uGZzKtmI1t1k9frhH19VcAhWKCnX+WsvD7PZA9YdK
j4jAa1l21cEfcSOf6djZTwNX95riT8FspzzzGgjKq6+jojWg8rlN9+yfmaxbsEKavSpi860zjblz
TclWnkVEz/kZew6n11I21N1FPwOzKuMwqM/+ihdiP4rcQis+qtZNv+Vh5neH2PIjy2FQTqXNOV2n
80NFNFj+EC951u6jIuaOcMcx9w5LpdlnZf4yAXKqBqzqSa1qCxptmbdVdR7qyApRrkXFcXXj3D86
WTUWJ9qN+E2IFgQ0TzC4GhnZI89r0aK4xS/S/SRAirYb8IXj7x1GYh99F6XzVuCAJ3/xr3fE36vS
pc4qVPZ54bz4edDKK1+ST0qgMOAye5ap4zdlsjG4//vEDDu3dN4wtbTFfnHs/JbZ57geXAfh6Yy8
gYkLh4+Pxa/IhHM7ge2GHMB1WYuTy6U8KZ2JgmArbxx+B72LZk3zxuP0Cao+OBjqsLdS9Nj07aYa
visntMFHQcFuYIW0anZhggB4pFLmItvUbBLiyLEJR24Lx6TUxJYztepxFqwvmHyOi3Wwm3yJHywm
n+AkWjlFPyo01dVVLGXwizFDZ9Dvj/A3Cl6L+pWKyNfPmC8YgqcgUvRrKKeOx5dEo5MorEDfVY20
1+cevax+DdA2gVwnAGDNT6nVZ+JXgXXMduAE8ZK8eDjiui/eJ1XJC8XOa3AfzK9X635Av6AOc1HZ
9tEXw20gbE2u8AGvzEO6zJtMSzw5ad1LvApCZi3xUX7dAjSzSyIFLDtq12zbLrhL7K0Ts1CYL8AB
jCJ5KbpBGCDR1HoXaN70P/pa+/M2nYObNoflAOKAJY8RECVAQDzq4T7MGv0y9JVWTzQTJseqPvrR
XVhNs9gUBcSBI0nhxXewJw6guXKK+tsMe2HLcWzqLnLumT/VxJg27uidJUtThu19wdrjHzWSb0+Y
9iMjA3Ec8rLh1YUsJBx5iut6vZd2qX87ueEEIJYWY+0moqhUP3q8pWAbbNxBV1lYanmJFI6+bS4n
7rMmwn7zahex354YXSh1tCxL9pvKX8rpZQXW5Rztiq7nqNfQ+saiaTjOs23UBitFU9yl2tfwoUCp
YFzUriW/QAWO3Sc9q9V8SGTRP0ML5Pov28CaauiksiBEWwkBhRqAnWVmw+WpXfkz1gPsrzleuvTT
Nyn3Rsp4M/7DgmXpjmbMUn3qDeRib7VKBLtzxiri4jWlV14HSSG/S3Uw2C+GeZZKMHbx02GzsMa7
pmaCcp+ixVD7tR7d8v2Gv+CgLyvtg/bKsmCo9iRXuIL1IUXX7yzLA4xcbdpGwaYxODHvqmKgowIn
KPle60cPeQiPb7jG+mD4yADZAHEU65NCbW0ubT4Gw0+Exz1oNYgu5NKsbKGmS69c1R57RH7ObcmS
r3drP7oucZ8RvhcrrLQBoTDTnqXJarWj+Wj9qsuZjhChd627sRHP2uHleKx7h7O5o0MvgTbNwXrW
umoQJCl7jPASWKUZ8lM+pG38WKQoXEF6jKnLqoWKJWAoopzbUz96cGHoGaZph0bbjO+hb+XxjjFw
PQ27qmjtwd1Ms98zK6xknXbbaWT0Qlpa1way2tVoKizyRC09OvHVaj3gSGBnKHSn3cq/Nm/+1rD9
P4hHD1/tjbE6/Pvt7/7V0nTkWC7/Ipz+9z+9tjX/+dff8k9/AijqPz7djd76T/+w+4vk+jR99eb5
a5iqv/92+dXefuf/9Rf/wYN9NQoe7K92asbb3ybztvknpegtWvB/kZa2DS+Af0E43P7I3+JSpDD/
htIeI/xNC3pTWP+ntjQK/y0UzJD4VQcl/v/0wPguvFgExJzBYXzLy/wvZalwMM4Ql/OXVI/cA/So
/0KO/d9IskwY/lkghL8G+TV3beCjb73J3m7Spf8h10lHq2X5FtbXTGTuRoZijHAM9oDkNp1dDvN1
KOsi97YBfLB5+ragM1q2a15mLVU/8yv1VoBatb+CDFbuQ6A4jzZTYOafLsK98LMEh2lDsKlF8Fmq
YXawwHp63ReIM9bz0Bg1PVYFKuk9pvF+O7h9VsECrdIDvRSVF8ufkUArTMSO8wi8TkFc81bQlIu2
8tdqQAPAhmquIaGOan4MRrepCU0T1bMe2cTDUFkrlgJNOTxh+hTfmNwTO2piRqzvYi28Wm4jGj0O
X7begDmteh4IS0eqwhxsHur86sjePwbBX7aIhbYSItcCGyvp2T3KF5qaUNLKwPv8HSCIvXPRtCyb
ufImL0n1pIk3zRDXpFS1ZCA0zdhch4q69rJwBHo98CfblMd19sLgUmfQk3b4hevxo55LN7yXWZxn
J7f32+FIvIU7/Kb3Q5KRWUhgeO3O1Q9scSywSkZqDw6HAJ12m4X52xp2cMdsn0hVN1LmVyDm4TD5
w3Jw6pFFw1q44nW2x7DbR7W0traAA9Fl0o82sO54T1E1l427YR/BOL70U2l95YzbDBs0bIkw60Z/
TGQ9ABHN19lVTRJgzWeHx1QFNOiArEOOU0pp6GFFuQv0XGjEWRkW2R0zObOwYWIWnqaMFgO4FNba
4/xtm5XpzjLwSZ9qL1DpWYy60tuyc61juBTRzpvb8Jk7mclpidd7fHXDhVUVZFX8mS91HZXmMOGk
igkCxj7dP/qRku396LPT5GZhXuzLbebVE/02S74VvOSAvGa8ryIiU987TzT+JupS8swheLjRMcow
+tjHlIVI9FvLtBSnOS7YvewjXSoDiNR41d4pnHTa46Pww62OodQ+12M03q2MvcR3hzvBe5+VXWY7
vEmYM/d6mWrmYUw+/WbX6NL13sQ84fhph7FGXZSGdpv4Gh3YSS7sVR5DhxOfu7/srXnXapByKsF0
vfwQbPvpyRWMzZeRRrI9mibSwy4OZCq3qRYE3cz2uoTHOM1L+E2LMNVuwbQ+JCNFZn5MmXTMqEMK
SLos93vL+YBnByA/ndoYoqPDT07acTWomEvuVqK4MiFbaTmtRUYGGVHgqOwc2MVsMYNQhagypGKC
YfsWuldB0VCV08C0XgSwfkWSteSbvMeagc9CiFOZm68wW1r/5xiKueeMaP3SZtwM/136zJm1z4Kn
aJX/TUU31BVgXnhXeI3KIA2vGeQcKyLCLXXbvapFNY7nfHJL5tSTRc9DhQAF2EdRlEcL3OO5934o
zyz90WOGRra8PXjBa1o7HQJJh4nOZiRquXrTivjcJG4oZnaVSoEK3F7kz6ntk98m3FTUxzyy1xvl
WdTtJXbBPW4yAwfh3HlWGD/KlkqAlV6kfssFCZ09GmGxjWM4tplUYaHCaday27agul5rq4l4epq8
aPZ5bjPjNeGQex8oWQwHI9El3WEyAIEo1QJyzUttM0+BuWg+gtya8kO35Hb3Sh1twm1ZetmcdOQJ
fNStrrbd4sDuLrO4v6RlPd0Ny1BcGeWV693sc1F7GmNSJWQuffIeKLzLBFKsRdSek+vnNdftRyfl
eu+1lBVO3MUXH63QAzTIvuXxL+0HcG3009mwQHijcQk2k+OF7K5VS6hlbn2XqzV+Z9HmnXL40FiH
K/JhqGiD6LcNYrpHgIcUxjbkhQsQ2+dgdoAnqkYnkaNIJERfiWmu1vJbZEK5LQd0G8eU6ccO2mD5
NKNg/CrxKn+kTu5NSe0Lo/aTBVTxhJZ7kTsw3ZH3MHQMf8FPL1IkxtCibuqp96+iyNqfsMoIolrS
2t9MQyevbr6U5gXlRX0N0CYnOLGMOpmmQBnOQ2CbK7ElKMg2wDai8RRhNW9Ik0qt4Jpa9tQ+BGM+
vbQovatTO1MhuwC1no3XZRjsZrNDVcXoL2pU3RxMW7uQpq0qeLRXwKHlxFdirPDVvlXYROChvNlE
mWwW8AAuoc5Zbw1v0rUwhgVdXozvppvLb9JHQbDjZ7A3aVzlIQsIoa5MZc33mnL6NIdl9yDtiHOB
iR2TByd7XsbKYpg3yTucJZw/QreXTjQ9OxehrYuRK09kYPGFSB9rx6ardXXCgu4Oh8Eqyo4ME3+9
wPaxvttl099Nk4gfU2cKzkM1Rij3M3Om4kfDwxz0oXa4J6MRMjvEjq6/oLBa+QmG4U2baUmC3ljX
aAWg6s6+i/ZmfBlEjxMQ8aDe1obq3VRD1CYdL7FdPvU297LsE1qx/HdgqWNOp5Wsgyyf+nAoXkq2
t0dSecaT8Kz4BppBytHaafQhEc19dw1JNjhuuHeGNj+nRsnvOOU9k0zrfI9gw1xStpkIwubqBHrX
g8Mq83MUoiDI0bCuKD/samvTbJISAf8miXIdPgfrOiG/DTq9ncM1SIZ+svcp62yupFiKT1FEAiZK
2xVIbXoLZaKauEMrO0Y1tBYP9kJMWbfAmZ6LtTsCIiwOuBDKt9wiyzWt02BfhkV8H8wVt+XkOp9p
kXMYxG73kuJNm5NSl/GHKwvSxTLp3IewzU9dSfUkmPXCePDi+7TLok8ZmK+yqrKdSsfwaZRCHCao
shdVu84xC+34qbfj8jnN/Wyz4siuEnpN70F7bX3PSjPbAjFGvyBMQiXL4I+h3jalmEoUM/vz1ITx
UUMJv3AYW4gHIEcSvGzvjZEqGdLMXAp0+01C/x1d4jbLjwsTW8bVoCzZdQd3i6jDJ9ZP9buLUPEc
c1tyXJLg3oKcEeDwd6r2133QCvEu15FgKbuWAC6mrtuA9n1t2/XeLIKleLF6FdkaERq+mJJ0nMDT
O6oiWkR890f9K0uNfZCBlwIELIrj4HQi6frJodeXv0Y9Fq9R7+g9Yi15xP5acd4adzcoj4cs687V
mNt3cAD3U8yew6xzfhpCCJ8qL+5Drx6PHSat7RoBV8SI2N6JqWHp02UoeZ2uk/kj94TX7v3ci6tD
mDqB9wg5t78XUyq/2GQUPzyycp/DOux2Qzu2R81e/K5IF2UlmNyXhcMuCuku26z+3axO/60TVXdg
WY6vuLUf4dRIfuJleInc3No0nDRbeto9ENXsaKe5SsqavLGa4fKmbuL6h7cigNu2VjoB9RhF8Sij
NLvl14nxSVET3qHI9C8seEAV8xUxyl77nd+BgtxYGZLGjcr6+MImaD018dwmcxO8UfcWj4z3bN5e
U5UdvSWlDBw6QZSMmtydO+r2Ksy65oB2inLjWSz42Blo734cocvBmEiZrIbNRjKUtaxgPKwwnIjW
nY3/MhZDpjZgz63PCd/zJa2G6b73kKduulVNxPtF64Y5fPsrA5JLnoxdb6qu7964rQFYoxulIs3H
pGFisq2Ze9AOwX6dl9C9B3gEh2IBpDgusr22PrWbTzl0aEHVf7kZPUBexugzezcgZYKu5ZApyjL6
IapCv8ZGlRHwADoj289ZHl0GVebvTF5mKmxop23gMePnmesXV2zDRiARz6x0D0CLRInBY3Blw11H
cjWndCA0Fqg8Av+H1F26n91yuhjBGbNo7X4Hha9P9tDw7giaeivdsPmTsT0vC4JrA14s17qpxm0W
9ubiiqneRyCILs7aPYzCcZ6VzxKQSXV4usWHfATZ8Ib5MNpHKZIUhJgZjKvITred1dy1lF4n6TUo
mG+C1jYG3RVYqXjJ1ig7xMGgXxzRfaBi+ottnG6noS/2Vj1x4Cx/Zd30rDyyBbfxgDBQyqI6ktnY
g7xB2b4w+7nvkN/zJc2p2fYMyzbzEjcnFwHLzpWxPg8MnpMxrZePaR5/IAWtLn6ZB2fyKwIe8ub7
yPiaqnC1D3HVBhV6xJnsDjJI7C22FLUvGDjdjUvtXLI8f4bN7DSJQlR1ckpuYrdwX8o4Uq/Yc2GT
KVF+cPz+aABAH4DVYsgOqG0sJ9p2XT9vArDce/BYn9xg5mhTHe7IamqfTatCgsn5rnsvbfYAespH
J66zzQQi7CqmTGwpBnok3uoF2mO0lZ4wrHJqvbH7W/9bC/GHMAk7QVKZ7c0aDhvbNCKp9eCg1+M1
Hi7Wh6YeTtjlVJBFAeRcmorY5BGMzZGFmdkNRrFb8JBzbkp2qfcofJHJORD69tGKT8GpNCFT/cog
tjKMJpIphLXij/LTDhd1jdR8o44GM5r+uHuhy3c2kjLjdlvPNa2R1yZLZp68AtKtJNHrZWw9cVit
OL6M0EX5zVC1EwZWQHvT/o0dYPwZI+B7YmlEESBmWuR4rdtNZHzr+2jhiCmgXySDPWYvisnhZqmr
6UUM5tcNBw7NR5WaUULXTkmbBwQlyRlurert8gGNTPnEb1qewfCFRw7X4gQJsXmj2dUQgYz9CALV
v5QCYHBjyfphyILibMiQQeiI4JzToUYfc4u6Jrj04hXLu6AveI8RXP+IXDg8zuIgOfEKhPW8YnaS
YeZ59Vbx1LbTa+uMT/DKRILBYbnE9tJ9loFez7xmpqODwOF7PjXNrspj9SB1u3xTPCzvSmPaS1Cb
u0mWTdOF4uAbyk9nh2wBEX3BsQvSXn8GGQVBBBMWjUtHzo3QB7Rd8oLWoT02rFE2TZSVZzAreHRq
/6leCrFf4rHcL7VLGEZa+fvBa4MPOpQF+Y4TtIk3eP1h5Bw+KzBL1zHrX9d4lJvVdzk75QAQYimI
LhizyxJY4g7LlDxNpWLagUBwm1Ypu37UHtu4cUA5DOkuC9c35TXdbmykyynFOCHvxwcO7PkLt+tI
KyEVMnjpRSdsGtNGCbQIQuB4CZfxUSAEPoSu0N/yLK93DgiljQriZVuk47DLo6k7pHXTvrZx8FR4
I+ioxpUnF1U4dpqBLGsctPtcufFO3QD7sYPco53p64FLTY99GOKnKYBt0aIZlr6Z0yN9HmXXn6Kp
qg4GPWrY+rdHVvEYO/ZnZ6fyKKPcJClXInELHRyLPu+Pa1h626oT0XHKlubE+3y6tMtgntY4zJ+w
H/WXDqvETevXU2hk/pkfvjnXA44EGLsdhaf76qvB28X2dIZYFyZDa0+v8UiqClEH1us6DOjx7GVC
25ml0Hw78WMuyaZrgNVvc3BpF0sgymDHEuTHDkT1A04QfehD9btfneySWo25KTDDxKXd/SqhXBDl
1pbAOBkQ4oHu5xGDjCbvM2SWzdCSgAOeRVIshplqcxIfbrSqT+Kxw3jPGt4haikYDqYIuse+V8U9
x67WCYpRVBWclvIYyrLaSQafP+2QBJMK7PquwehFeTPqLfithtxF0+szwjmElWxnt7YJ4g2tK+oC
e5je64Jodo865JGIC+dQOU1/wDOcfuOVnO4smIyfhZcOwFKATLVhaFPLt8XFjhYHOV7KromYAMTL
XkNeKZquhAqYhpFUhrsst/VFzID2mGY5m3VarfPsFFdlhGa+HKQPcc/GqXFzeNPgJtevmxk43+Qp
3++wLmLbTfI7sxTEwWuhd5XDxC5RY1w/4jF0imTKJn9XDL3ZBp7/2WfKuYtwjOy7RdFDt6uHLiHm
uc2LrvkwhWOutprKo9vb5PcU3fjo49C5GixHe7w6RNzjPtoLlWGTSMnnMSIz7MDaECbmGJmHJVzd
99HL5z3cq/ZV5LSJSW9X/bUK8cCkVe4/dMYzB14gbuJMuv6NutTF91Qjw+qGtfzeRNbyPBTR7zR0
17t6Wedb6OEt7DByp0NYy2ifV0bt3Iityq29vwbsZ4GzIzezmnreBdKKbqHcM4pxVuTRriAF5omZ
KXMwN5if/MLkL5lm5sPU2T+w/F3vibrBhVLU9rpVARvZZZD209yDEwAGFT1n07rcsQBXmyr0SIGH
B4aHBzEWupQy3I8Nb8O4mJEZ0LfvF6VjVrL41uLiln0yLoS7F4QvueUKYzHtPN58rtfLJGickv5U
w6Z1nelQRuP85rDbkyywPAtNcTSl236CYhNYtOqoiVeAgPFtzFkSmco7ybOi363F+Xeb7TKbYKAT
nKDBiGxLNJZiV9xO/cZDQ7vVvuPvgoVXF2N4dmrDLYZry+Nb7aLCrgCV09auLtIkWWSS5ijrd249
5evewCr5GdTBrX5eJufTGsYMPEgpioQ3zfyWDbSzwm2jQ2CW6oJXhsoPQk2RiH6hiu4Chj/p4ttU
CrUqNrIzn7Os3Ptppt4EEUdFaUVsJtn67/BEVV+tNerfdu6AWjeh80Pmo3V7avSTCFR8p3mIHRr3
3sHEnPnfUEugckaH+2B3ob4uxSJPQQAUIpkEA2PHHtBKpqt3KIDL7OUQ9KhLh6cIySO4VLrJEnZp
4gUsh4PU/VEHab5RkBg3WtrN+6DhQubD1CIkJjxi7Na7Utj0J7fsCfbOv8uimI+Utl9RPt1ZxaA2
TI1+Rf10n3PBq2RFCvG43gJjisABNl/O6z4j5SvJmLttmTq7pFus/T7gfkyoC3BgmCnYpHwZ+RR9
EwsHOv4pbjaWyyJvzyq/vSgq68lVIfOyvnnVQbNtzPJTSuv70HpUTggzv9dF9xvSZcmwInKoQAq1
d4VbPxgH1h3mx+WFMgLyJcNM1KPe+GINMTS/GNPdZk5hz89WIfesIWl5g5K+KoCygZSZINgiP7r4
es+Bx1g8mxjq6DrDHNjmYDdKbIphgmX00yAJ2dOY+weO7ZdFMI/wiGnYMky7rmNHHWgPtnXCJ/UE
iL+k8xlvi1z7o8eZ+q3LvHGLwjG4DcwJs+mZdPTWmj8i8FR3kiUpUiwv2HWOeGaG/gas0tkry3rz
je/fp1F39We1Ig6XBMrmC5yQIrq0gb0g2+dcgDO5HpZJoxocql+IUUjqCtWCrY2Jgv8f1J3HriRZ
dmV/hehxW8G0GHBAU661PzkxPGlaa/v6Xp5V3VWV6CbBBjggEIOMzIzw5+7X7j33nL3XDguuQUEf
b6qQG6k8k+6gTuPgdVOWX80kNd8laaKwki0qt7JsN1M6te/KIGeVHcgyV20tJCuzLW5K2ujQIMkw
FJt69FUue+sA0gMtlFn2GZlYZz2Usp3+UF1IUWqcCBMfXSqs9ipqPf6QKhmvCFZC0ltMyY5UQgOC
JE0f6vzsZUwfm6yaAhdEzEd3TUP85wRxCAA4xnvp1dht1+IMf3tiPL1KSKtabLJbHkk26rsp0WDF
4cwLola1a6kQPiGZRhfdEBp3zFnAvUUbrRSr9hyq+bJqwzk5mIE23kPgpqsey8axDZSYLtqsKz4U
zz/282gdYgI7j2bUe3lXNeuE6/GdQVS5qmjYbTv8Uai29BG6iKZtcolmcFCm+1Fvw9Vk0pFWyyV3
sOEE+4YIoG0/UEwWvK2fxTR+Gd7gY88Co7WZNCHrkELLm9CeXTFysa8lPb6XeAye8rmgU5vULd8B
CiCS45rxbsizURMno1m7NlM67hKEwdgDZmJsWRL7caBqhyHTZpGDbsTdmy/J7KYTmiYqZF0BMFbp
1HZCY8sMaw4MwWi6kCJzzFJNZgoft7A/y/bN6JTywkESKs5kZuT0caqgaaSLJA4Tbe62N86i8rDE
A3kr7CC0Ehc/26EAyOoFYn9U5fQWaGVwxlYi7WhIEOwBlThfp2kZH+nrRo5R9/G9q2ak6JmBu18X
4hS9Yz14BpoRhilFfI+H7kZEUQ7rweqOvBHqI/SY1NrZBP0l1Ohu5nNWcurP5WqIkTBaXVYehqrS
1ikSEwA6YX4wh7w4W52JjTZCKGLT8piuiRoTPdiZyECh0K4FQpz3TF1yKsAe3UBqRZ/4aj4QRaed
Dcm5eaYxleDEUPTo9EgsdzUM4duq4ii0rUpjJocIkdgptJPcmyzkKwSCNbIGmJnmr51JY3JpgqFM
7ZBKaG3ilSgrafyq8ZYecVbCJc2aV0vmMmKLWl3Tdm8/4Z2OG653KHsiiiTDyi61zty30soDtEdp
s6TGgK1Sh8DLZRWitbxE43gZeCGaN02TPxJAk3GxXBoasoCyWgmq6sJQOb8mdUj9b6Wqcudir6uo
Tkr9BQYpvAinDoeidFqOTcmB/aDF0LiXrvvKSaUh70YemcGYkGQHfzGsTnst6r5gJjs3ar0mhLHi
gqU2UutpPaGQUp5aDGk7GVOLOkjUhVEgXxvcH41LLPoY+lMpkewxEemYY+vUsNIxysCnj6qUZtIo
K1ckOhkmMqErn8ieixc6lUjpMAkUZyZxhV9O+H8ExmDhJq6L+CEba6H+zlFkvveqkAMIn0d+X/Qj
C0anmH580S99F2qHZhHMLd2x/sKWSX9Bgo9oo8OuJ0ess5uAyP3LIH4ISp/xibam9OQI4G5TmOeG
hWSTiG5i6mPWcY1zjMQ8BMG8l8oFL0UhtcpdkOWi9Um1Q0ON97XHYhyUP2Whjhdx0HjqB25s40Yg
pfjSoNd9xVuqiITv4K1JuMCmNH3GEg80Qe8AJciOOKqAjBf02lFt3VPVbOjqROwNH4oqpJ0D3rzF
ZW4VcJj1hLEC+y/X12xS+BB7OmgRR7eaVsc26gQ6UsAebka9aLqfGKo4PEUwA4UNSfZh9NUJas8l
TWD1aGU+c0Vpy195CB/hkyqf66LIw2mYQ/RjZFDNawk4ztvM4eXrZKRwi8butNIIZ44RBvQkE6Zx
PNA5FYZ7rAuazwcm77AvYomK4Ibqmfytjmzojy1Rw7Dmc+8j2l6otaPGVWEzdWP/ScmbohFtHlNm
dMTqmHZIaCPMZFra4GikW1wuo7gukE0fkDuqTiOruSMOyvxrcRDcctlqCIjnwvJkaoZ6SSmqv0RE
6XdcCeaLWAelZwmxodsjiWdOUKjRvpfRgVbMq79Krer8OXkE3+u9Mq7mmlEto3ccMwzY6v3DJUbX
CxEmuzyt5oMxjMr30Nb5GlumcU/H9kUdejZTpYZLVZN10+Ztfe+mqrInUrV+6XqKbts+yqtRlt/K
cvrAkVPuYl2SfoVE6zZRag7nOYjo88Qh1S47NE6GiGJTTuBOyc2oo7IdzBV08pxuClVvzipyzGYo
LwRzy2Az9PJQhxNLWJhmCTAjWmBdQrYgUxkcyL+VNrkhvZAkJb/Xuix9JjrrJxXK6D4Ns360GtVa
VxazFEIHdHdARbo2liS9G+mwbJjN3Ci7ZTxxmTGu0CTwFceLeVBJB8jtHpnnTokVc83qN26IjMQn
xIrpxYST/1IWM8dsXCil2wuwnexwQMMQQ1dw2KJEchFNxW6Y0b6YVZvewyaaDqI8DS6yh/IAuOmJ
HUm+d3URbfuc+SzKVe6sclobzAwR4XHTsQhDlbvxIXNGB6Br5VNq9VtxNIwbsY6I5YblGtTi9zSH
EEq7mKYD9spmCwei54qmWYwXY8CZ5Yx1kRYFSM6wQBVCIw7dLLBmSdy1tEXdFAzeuhX1aJNmGsCL
UiHWjly3GcR4Xj6nY7D4qJi/oBqyZbA5kiE16PI17iSALiqtmtlQDB8WCBRsSpvHQ5dmx7pEDEBe
YkUMtcLjhYTQZLckfbJuoujQSLXs0Vj6bLBUUIYmpeRkZjM5YTcw3J2RspdQjdY8XkT0xYPm5I8i
PmMhnnp5Ma+zGVj41dtLqOrKJVX6/jnKsvgXwzi+EeRIzbc1TPKhq0iomupFuY1sAVAULOkOCA2G
jWhNv5AtjHUuJPJjxHdVlb7eVRA594LMY2aF8jWUpXNiYOOKsXBwKoiUf0q2SQPrkzRR1ItyXe1i
foZ4VQhNdWIURZ6Xhv5EEZQUds8iX5Nkbs4A2L7mNPoYDIWmWyZbxRrs9534j9IflLY+07ccRr/C
aItUU9qH5sLQV630YGdNU08QplriSaULi66REWvM+blu5MJEmWu0TIMnZgETQl1DRP6MnqqMdqSW
vppRFEkOEpHumZgEOs9qqt1ZGggjazXFrq7r6zRkx6iHmh8JXeq+Rz9G00+TfbNYVA/1i+WJIrQi
e8gVUPy1hc9V5lZ+gKGrnOs8WZld27izIo4frHrBXajQbgk2M6+zUJyQWtWQ1BmQXFtSfkh9p35M
zAzWutJSXw2ThD+NkfktFNLoxqhovGv06B9yy/nadAMVQp0mKGfUMhntIS7kl5JRwjrJrFeReNCt
EVjqrikH1caCG/3Q/aAfGyFeh1gR8fgDvMDK8l2qj0iyIM6XYm8OKuCltCF8gWcWU4uaniYhXNo9
KhzMoXE5p5D6MXwVaUyaFnNWl1XGuKpd6hurJXjrulLgzeGAPDW93tHOU0mN1AF16Nx8skeYrGxs
pBqTTiqo5PbpS+JUStLtdT3u4+e8m6OtuEB6MNBSr9IK+EprydpB6brmUEhE1q4axi2zG8Mjkbap
kUawYpD1hAAJUnUI6Dgx/3EHWRQIrKtRbvhMSIq1TqbfPpMTMYQMNTWDD1JKid8wILWIeHphisdV
h6O7+81NIkPsQELdZI9zVicXfQjl7qC3tXY3SlR5rgqOBrjUwKVGfFZHMzAvkjGHyl4gSJ2bOsPd
ISZbXkx5o3JnzdO2DCdNuI9KrJmHPkV1tAPpFQyugl/S9Jo0yrvPbpZV4YSWLAsvjHLH0etqVe2+
ZtUaUmRgxEHlrwtJ5kljSyb8/Nihx5mgeh6waJHhZ1UEf/9GRDEGHkNf5rBZuqw1Kthtr9VLbs8V
bQ38MLlL9OtyLORpwcqbTDCQLf1GP2aByoy0cJc1xXwUeebXIOgBxuD8tGr3gXa0J6sKPanOjUcK
T+oOsWi5vagGN2TG60If6Smiw9GkdJ8wKv+ll9S8G/qsfGgCsmiaZ6TNQ+wnKJEOxfwN7V7adqKl
fwyS0hnbMS+r7AynMbT8QhgSdQtUjDU3t5r8XcWR4FR4Oj0DZRQjm6BDzBmkgrjCOzP/6hHXpQnf
Ctv1nGMlprS2NG9ifETsqalJfmdyJ8phOK01zpLJy8sG1tHQM264driVf81JRwcupVx/IDWQ4h3j
s6BFgRCzxEBLm+2iVWDVdqEuGzpRugZWvJMWV2Xodjk6fHkfTWMsv/Y1ngLBmaR0ir8RfcImsmU9
afrhLqR6mZ3yQRJDRHHKbPT1uVoEQItY6dUMJVdm1r1xBI9spLAOrNTC4DvGlNim2fVXKKWikiAv
FLVsxplCPHBtRz2QGT6YKC5XczhlLwZGI9Ptqn5qXWhH45GW9ggN1Cjyar5GCu5oPQjfGSQMb3ih
geuMYYCyQAFXB7FbMgIGzV45q3n4wuaYpS9ty+VLFNU2W1sEJOdux7WxXI+DJdFXKASjQ6aRlSFn
pgDzovMGs2wGmCZZk97RECkdCV1kuAp/xaH+F0i2T9VPceuan5/u8FH9txBlo6P+d0TZH18f5b/c
/g365s8fSvHN97/+D0njz/xvVbbyF11UUJ4iIFCATAMh/Svxl0S7v2jkD+hMC8S/6bX/BvyV5b+Q
qCY+UL8KaE4adv9Hls1/kkTaBNB+0fADB/9Pxer9iR8t8CqGaioQov5ZjI2d1axq8EU7Y1C9wDqm
pQIM5DDShbVHEpY8eQxe+sEfd12xRwn89g+f0fmvtNN/TNpTeAP/AEH9++v+if4q4seE0FQOGN/w
xW4z6SaO5bEIn6TIXGPzd05a13wEhMSRE+u2xrQ2yq0ger16rbt1xv/wUFDoy48oMvggGMfCp1Lq
JxJvHt3OtWGVKzN9Q3RBR3DXP2RT0+e//7PL5j8jbP/+wz8U7v+gYGe6MeQJHL9dGm8m8SfRPrP4
XVI8VK5OUrxpk19XX4X0a0zH4QvRYAR2ezzDRYEBc7TmMylGjpEd4cB98jt6VhyV+Nb2krw/dHBR
85uRUlHjNMp9WdlylI4h+oTQ4/B6r39TYgwoWqNNuW7XxaF4R/RD+90nYdxvVvM68DS3cluv99DN
u4h19uh+7NALPdOlbeskbuoVJ8H+JP7XZpQFuGEPg4vUK9UrgxfCB0guoYNwJ6JmitYJvlTpTa+O
WfZUTNvHxqY8pTUyFdEbsxfMelzdegJ4QNlpLg2VdjiJlW+GlI50o7fvLSCLLao9LSYS1q6vguIY
7Vqfibfgl6+1KNWCYzcTuDrZXAxrSub5VFNkB4hn1llz5wUHnM+N5Eq02jCkJs0WlsqYH9XuuUYC
Oa8VPH/VWo/WkrqehnPdn8xwKyFHGjbK8K1jZJQFbk5Eifspv2Zigdh5kbZYCTgWm0ww1as+qT+e
WmVFQmC0HLQDM2vGGKqXYYS9tiNNPrvyJoKwngWVKmSgb+OqDXM7n18SfEhXwhtbT7Udv42ULjIF
4Qe34y+k+UgQCkZJOoFtbSLYku7yt7FgpOtkOCS12VXt6F9lcDI/1Sh7K1btQ6ikb4RpPd7i1wn4
RG1JL9jSGA7Sg13N7b0lcJwEXTvFhBmo0Pn42oVD3LtSSdpz4Mzxh87oDe7zKoMHv0UMPhncABhO
2GjDomytGLuicBVog65ieXLi5+6sbeL5GU88CeGA8rad9QyltPZRkHvtRvGybfZkreWt5lu+5ose
BXBA5b5KP4v4PwDo/pEY+XdG8t+fsD+RgmE3EK5nWqAXb9k52NZbpIEn5Uj1uS2O07HYFgfpnP8H
GGjpn7Hnf3+1P8Hzk6lRVJEb7K7Y98/1kfvQrXyPbuGKceqxOeZv863wmoN5LP9/X/GxLf7DDkJD
GtRhZPY76SRug63+vGzqVXRKD/rePGnb7Cju9bX8Yh6V+7+/aUniH0Dn/9tn+qcQ0CEbe/QjWr9T
TkgVye5SWF+gr16sY7ydNvo2uzN5jci1e5630qZe6x6V7ppHYEu7e8u/8xtX2bTbYm99Kf6wb87d
qfLjXXFG0KBlftauo+BAWuok2QJEUKx5bk2ROzIMdULZC1NHKJxYZPLjEFlf514ku0gL6M/JB6uy
+08JHNWFQSVpHBa2F7JKKMM8yQNPiORFdPbH0r8Y7WpK/X7eaJ2jvVZ7eYVIqZ72TAxhcmI1ruC2
6mup3YZHa9wF7Z50c0Mhbs+ef/G7o39sn9OZ3zwSdxjAlbb+q5fgXO18lV/EAzZFaHHmR32tj9bu
3q4UoAYFUYYk5TjpoVu3pQ2so39lqjufZ2Y2PoowLL49L7nhBU6AHbB6eEntmG6lrdSEHEBHZSvh
NtWtYUyZ8qrOt339Y7H7ltWv9Zq2X1n11inPcvEL+akx1niZpy/mcjvhjeJVe7jAXTQ4+rYK1z1u
oB/xMzkgbmc6ArHAbb7Cz+VtJLskcSfBzj+ns3h5jiHC4PxJ30H4hbnbKI4AzZc8FWAjJLNma1F/
/EPVeSyI9tcgZ+srPs4ecY/r+lmpL5b6OEcUhy/JWre7eZfi7HzRr+JVvIAtviuvqL/t2I94JLND
ue4d9NjPnfvdOESe+qkbnqwzn740sj36VsdA2BlYK7JbsfcSfr2hReqnq2JNO9nDYOEsvnyhcT86
OG/s2kuPJcJap9oP/uRbJ2A9513oIhpzYpcvyh55+cQxNtlr7Vmn/hnB3UPhSpSarXrjgUNvY3hA
B21zy1usNpYdOSgcldjl5EYu+TKfpGMIi2fVWWTYsSc/YymwwzsGS5YmMg7dmYtP8cfa1dfqrXlj
EdT8Sj01WUHLadq1aTmqx/LUPIy8mhP+ij5Cq/iJMR+5YiaugmLV3bUGt8IJCIpdPmkGojeXv0Av
cFza0lWcbybG1It4NlF0FzAWfeUqboRL84HO5VK/Spf5ZO4Fjx3aU/ayVzupM7udnbiLfWf8tC6v
wqvha/vHhyk4kRNs37uNxf+d+LXDxNiP/PRgOJX9Jjm6398hG6wib17X/tvkfOEK8Od9+s1wP37r
PuJzdgxu/evQIIBD+2PrZywmof342wA6b5ctZ5YL/wItwEf64CsRue5ENf1Ppx096VNC1OqKHgmI
qg51GJ3KTLNG4fF0VCSxdCJongRAVa9R7BUq1Zxt2Vwz/WHH06Z+c68uXwknNYqdqY8OlaIjFYtT
0cr321t14GY7zKuUR9YVVuWeJ3FZ5fsckSdi0XRPvv0xvJDYU74j2dgP5MT1DnOt8XesnQrQNwtf
PgggwxVf5M6tIFXzuf1rrZO+I6xbq1vFT6iWEGW+SC/KWvXQ82u2ucraDezB47Lpj/VR3+bPwm45
Mzj6krnWNus2cpoa74zdznbESgb6NtjJV1K5+YXZSEiDrASNvULFEsIuEx0SWJiJxXA10h2jxxG4
7nTRlHXDCLM7ywohPPRE8U0ROpi5Mk77+YiwkmG25I3Ttnopbuku3HX7FiNF9SxLb5XxaaXvuvBi
vNIUfmtFY10D9SEnEg273d7DmTY4DAQvecou2dTd2yL7NIrSQ3lXou0hspGfY52grbApUCN70k2P
jhzzOnoO0Teizzuzs5chq3KnrOt30Dx7FFp6JbsC00PeDF98atc/+Y/5hnPuLJ7nE/gIm2ymLrOD
r+4jfOuuwyV8rcdzNnYrUR88eaqdqXKhOXWl7KGmXzO/hQUUMgMpJHukzK/sLnLK+Elt6OEDx8PY
Dhv7ipbS6W7mT/cNuJ2qOW6cdNj3x+6kvuk3ipx+flUFfWMAUG0neSMxVpzZIyZ0Cx9xfBqGVThs
LHmdhb56Lb+TAOromrzZ6mY+i8Nn2n7PZHq95s/dq3oRWXFAV+uypXrb6qZjfcqQ2wy75PPhEQez
VJG5OTwvvY/wFpm7VPMZUn1WgWsM076iFA718GC13wqA0dRVK7cavbylMbyJnqps8EqcAN0LqmxE
De4y2zHbNpusxkRxpVvXXPKLYKd0Z6BClXLqSReGPbqjemYArO/VdXrCleEzQomecVEQiJLVuI6w
tzswMAZy5ZBUMWAabQQ6E4Vo6KnDTkz9IvdGIGAATnNWGD2tN0433lqwV13rEnyF3xFhp6Bxnqvi
POdvOj28qPfpfAjzZlB9babGZRrljeFKVCA+IfG0VcXOf3IuGe1Kk66LddG6HWJi9jm+0+QXfycg
uX13mVl71TpqPhQFC+s+Vz8tFTmEq2ub1txyt5Oapxi1d5V3tjVCMUXfBwUEFI4TlK4mIZjdTdmn
hCldlzmegVQWsH/T53xqbX36joM7x6ZBAdP5wml+Zm+8wCfAJacJO6U/av0R/a4XX9MP7VS9KuV7
9gpeoHyJb+VJeQpAFErdMxOhctO601V6P7MneZ1TPcVuWXtVzU0rIiiS2SeKWCaPnE6hA2pobjGY
rc2xc0ocusWIZ+WlT4odChZbHOh6b2ZOvdXipeeGqfe8nmnfX+Qbne0ctGDE9WQs7v2Njv4Difgi
HcR7fZYfXD9nmT1uHROSqNmeLuMXPiJkQiy6OvYwTS2x0zi9z4JMv0oPCh1s1BfjbvrtOdOcZIXz
FTvs3NnprXs3oX6I8ENXVrUz1HvD7ECFoGgbuddjf1sna9DVn2puZ08Gp/OuvxWX7EconenACsdp
VFKHQer6jH+T/fQGXwe5uP4U7dMXwj0xDwPj0xwpXFtoyb7rF4uajOlS9ShsaFjWhk1Gbs3xTaSw
L+JmRVrqoNP8n/Fs1kkZpMMuDuixw4pFW6msdTO5CK+6oz5FpAgQz/wDKgfloSQek/Yg6EBftkRe
UeQ+4yCHslD5ozAwkig8EKKiOK6qRrBV4U2qP5DfeiO2u0xFtI4sSnodm8abyt8/yu//gvbY8YNR
wW/536AxJov0P/7fjbHbR/8d/8u/NR+f/0ws+OOP/bU3pml/oYX1sGuZ8j+nYSnqX6ASSIaoIf/V
JeORk/W33phCA0wDeESIkCwDSLO4z7Rl30W03XQStCxNJkRKgVxA4uN/gligP97OP/SoDFI6TUmG
V4B6myw6Wf3TxSnE/Zm1hBVxLkqlsArCEBaeao2mWzSGtqXBDrG2WTioZRSkVHNKNz8Ds8klOCuw
wh1Rz7PfJpfmWxhauYIwr0vWvSknKxnqemoLIrcgYLwBA2ncz+tKhQjfJnNNlmHShN9aEdYbsxWe
isXUnMYUi52Uz52IUDloXpDzGq5cxMJ3QLvwalSF5BORnTjEjr0pxFs7S063F/rXmK0ZOCntpmLe
+jHJmf42h/A9otjIrqaEzxRMUppuEFLMDl/Jnp/bankYTGji4Ey037ADiAqFfBgRIxfqWQMF7ChC
q9KUUUbqFi1hq+nJQHeUoKS8YlZP698CNDi3HfL7aALH60IVzJMNfIdF5X42Gco2TTOREj1qkhtk
Dxle9TixMxhtQBJKRN9+VSqtfMBqiQk7xgzzCkggnp5krW+KzRIAVTbitv0JiKtY0T8RYXOZBLDb
mVxnT1NUxi3brhUpNzp3dTiugcUH6VdaAzjlxjukfZY/A9mfrQH0T5Dr9QrvlhrchwUMD9zLqqql
iGNy6OvhF9QsVr+EWokZOme+lvcEJP9IxFL3Z7nWtFy3+MJCjABFjKW9Edy8acxKPOAKN8nfg5QY
h0dM1FmJ71Q2hHJUsE3pfZqqjiwVlnRIoMQAi2Qewk2lV4PQkeEWfY+jMPMDs4IOUCzaZvOIRSYe
GryEuTdh+KN20ocBrbo06S8BPC+BLhL6MLdeprC10WhYH32vLZKN5d3awZ3Uun2FYmUxKWCLhqoF
AAaRj1MfMv2g9nT6XpGzAzR2dbiiXBlYWrmiY2LUotnTSM3gStM3g/XCeMS8m4Q3HvUqoTAQoy69
GPpkDlcJMJqGibdq2udRMPXnYLGS70gsFPVUl0P1PsEYjleQhyZ4ATEHQz1Z1uhMTNrPZqXjzesr
IY+ZtuZp9NTiK55XQ292OQbZYvzSGy2FOCYKIHjLzDC/WmyoHIaVjHskYLo2QsVtNJz2GsrXbUbI
xGsH7oSjS2rD3SKP3C0EizG0bUyxHHtNAeHehQQ6nswIwsYaddyMDw3slK8Yc3OpgCo8adosC24Q
1/Nb0Q+89oANBv0XGG1/GHPL0xB6S1v4b+h/lslEF68RMV/HMzkBA0j2JwI1qMUw0UebpsQf7o5C
FQYOxqJ68pawBnonIiQcvUZZwgT9I0bWLZLiul0DC6Ha6DKFHngRdtXJlAIRbdeDmsT1tcI8yVw0
R4kjIZs95WXcdza2aeO7mYrskSCB+siVx6a691kSorEyY1gETZ9H8PBqAwtMjoXIjyWZcpm5o5V7
UOLx+VfEyX9UMGnX6M+ik2FIVH855N+3oFdIm7ELS31ErUgyXwpZP+0urFQe/8SI1Z9Fr5RzJU/y
1tJGhUs2aLJfw5xIQR+zMlvsDjUfFLMlIsE1EjJU0PNEcMIcio0OqQOxYS4SU+bCqS6eTWGWX5dF
hzzZLWb5IpOK9zYxxkcK15B550rFPNaEzWCdZ6kgsMEhG7edzZ8OI0+ZdCVycI+k/lyrfQg4nzp9
CcP6tPS69SKwsTJSsHiG/KhT801pVHgqzFoCZp8PAfVKPlpUNHVSL3QLJnUocr/OOxDKODmywpkD
IVTg3w0lNqKyLrcF8VivoNv1FynTwspaKW2JfFhG70HpIcTgJJyWgW/R2dA4WE4rpR+Bf7sxaofA
74YmWhwBf/5A12mcJczymomofHSwGQ36npyEpIzZTlQTyHUatuM7cSWWF8u1gvOhl9HIkzUP1L9K
uLXW0OmD6mwgFmRsb9daDv2CkrPmM255aMZF1UFqiVlBtoJYiKyWmnlmWcGywzFqoy/tERgpfUJW
O9p1bHeFCoWYPr5WN+km0QgocmSOSRjKYjHJIlJ3ib/Xi2DHjaU/q490VOR8yKe03JgTm0CTnNAy
NQMKaIsNGtOBS0oI/Q+EgaGMuxwye91wL0r1KT0LKgpBklpUC6haAv3yS4vArdjNGE71Xk34goWi
kN6JnZ/T22wIRetqJhkE8ACb4hbXFppPPepFZl65NuuOGORdA9sNBt4e1IbBbVizlnmtTW37mxHq
QfCW1U0esuZHO76p8p8IPmDo46JuH6rjrAZ7q0zyOwKsaLkL45gXTpPli2aDJ6EJmbdqYJzkVIkr
kLlykzrJBCOAxyTC8mrGQU75PGaMEaEQtjL42ZYfPrF5Jkl+Anc4aK9oQSpq5bmBRn/qll7i0pOH
dFKqBKYQ/E3G1+AD6mJR7DBhe1ZkAIUb5K56vo/EPoRjy8bCGAXCOZlM/J3LgwGYqUcsVpN8XsQi
R8qcNVGKiajQMb1NoaSgFxzk97BVDMKjJTS7jtKY+GZH3QIwPs4mrl65sZ5Ds0d0JnBqaMyOwMJg
sRo4sdIGwGlkK/A+ilOXSjT7zFHUTuDkiRVb+o7KP3lUaF8PiCy6u7wf37L6warL+yk8aoMw37Qq
wDdPRHTrNDP6xQhTSpJ3ki3JvfwuEa0DrIZQwPIdeWr8mkkdSraqSKFfzgQO6ptcCOv4YlVRcZNm
UdaehWQyZpF+TZrJW3YSOp9ZjYgCF6lkNb9QJOXmuTSxqntlkg+R25q4Gpi292Yb7JoM/ecqqcZs
8c02bVMHQvw4gDHniYiJPajVGtafKiZf3PD1yjOHcMHczFqcz0M+ReF73y3Ze6JDpYeVhEseRkH5
+E6zQqu8khI43sxkEWn3sADECc1C07rcp1YMoI9M/UTjO5KCfW8RT3CVwDFL93iOxMRb6hJXoG1Z
tfyOV6tvmTlqxbmrJuMdlYMIibDFpLTqgaET3CahE/G0UcWUO8IRSPnYlpGWqEKSwfDeJ6KGeRoI
rebD0GWkBhiEixt0SswFoxhyj88SJXvFJUDBk0c58iHFCpZoA/J+poemVxwNOiqHnBvf0PEWlVro
cbcDnh88JdQQ9AALVX3qsIgYvFF+KbIpOcmSkN/N0pxnh8Q2hWC/elRmp9UHqvJO4kgWS+rjNpqJ
d9PNgSsh6T5K7c4paFrR6v7gsPR9786jBiU4W8CcnlIUqekJjFkg2z3wUgR9s9AC7MpAG8jTFPtT
hkUyaEXzI6haGPiCVpvvdQimwEWdN+k3YWjz1BVB4CGOSeceRRMFv97RqA96Ys/tpFfb3xJmwlPV
DyS7QY6P1pmcV9eFR3X2SR9jicZYUxydt7AJ5SHziEoQL0Gz9CfwSO03apJRtOFi9jL6dLNyhEUQ
6fzLCgR/FNGsl0cYRkVmAv5KF7iIZdmtNYqypwvFEjIYWAik9E0ROdoSqZPI8Jfsmu88zWvN17KU
RANZjTRO3jxvrQ0MBNy6Qprsyg4RoB0GIi0MeIxkKIypOH1oTU2EkmLUEW186kdSUmAWM0DEamDs
TSxWB0HC8emQVqJJNhpfkaOhxARB1W59/C/qzmy3bmTJor/SH9A0yGSSmXzsM2mWJVvy9EJ45Dwl
Z359L9rVt6wjX+nqAg10vxQKqLLzkMwhMmLH2kVBITadOqZE54YJ6TRBXX3rprTe7Ih6h7sYNER/
unTxfAPUgI1nXrXTkO3AiBZx6Ad71ZnpSwbTsjorhpUV0lqW2xyCylEk7r2xr847uthIa9UqBuFC
y163+e02+wcJw0MbVyVoW/WwMsVg1LFtrqNHt8PKcOo3ZV1iS5Nn9EMtXvQWQHS5g3FCuhTFm7cd
iFxvXPyCThcO9vGZX7AWQ/8u6P38BVD1HC7UjvR9cexzymHZLBmpUDJjdniNr6g8hO3c/kpdwEuE
YfiH5zwyOv71oK7vrIhAKW20Jw9rlku+Xk5GQFLetGA5oxrQ0NveJ3UtUEdbm8CqYESEy8RbILZi
WTsN/ZXbWPnyTtK8V//yFv+nv+jxc0u1Xsi150Ms9MWR0ygs+AqDpaQiCebKg+NzqS7DObp9+vv+
aRTXs20tccT27eNRMieuBhUT00NJBCziUsaraTV9phJ8nGNQriexMKVcK/zAV/bRy/UmzWUOmCy5
Am7TbKNCaO4SzXyfzlFUPWOa+viZlJKMqBwyJz5/1cNP6Wru7V0Ikw/XBBbNDDhtb4d4tD0zM1cV
z8OZqW1QqspHz4dy/NhYeahx7gsgZ6NvKIf0UFkeUWM4U/Ow3brcZy7+UWdPf66HNfx1lmpl+66N
IsrHaPjYYziAfskBVxRbMOftD5NAtfGAw1zYce/f2XRtf2XTJ0VLc3z2zHxctVIPnnbdax1BToru
23W6PHyrmXQmAbQbjpCEe7DNuGT8mLzVgo90AbsX0kpF9yvs++GZ7/lo9vCSUYCBi3Y83OF/yih+
kxPQ5lgHUD/IK2SYcmxWgSupo5aGXvKiqfj09Ct2HuqeeMdypZ1IvicSaiWOl4Sok7pIHE1sM7gc
O9DYORgArc/33lAQZjG+ug292HunaeQoTzyjwuuE5pkPT/+QR9OL38G2i4AuEIESep3mvz323Nqp
cC0Pr6MOeilJ8oUrhGOIpagzZjTueSD0n5vTf/jK6PiUC2+ArdA7ntMYnhVLpke2wc7z3hWVciIk
7GngFQDy7SE6CVDHU1jOcHIrntHDPPrOwNZt7XmQ54hvHu14DsQj7sQ48OSDCi9sb4krLoW6pelF
coV50dvFlN4Dw2r7jvB9hguOpvPc+r09SSfe5txPL/p+UNT0tP8R/Hq6M5pM4TMDHu1K64AcXmy1
wgl4wuMB6yCl56Wvkm3VKfKjKabo+fP7+dGkIY0slGKNrulhVJWPdlqd5LT60ETeZUW9NwH+U2iJ
Y7WtRoHo356eOziPJsyvAdfhmKw4KR5vtn4BbGUIayoxkSs+5VxY309sfmRQvB2dudSJ4dAlz+y8
RzOFQV2puXE4QC+JTY53hNZTyKjnOiI5O34LSclsg6r/lgt/euaj/WEgT2BrwkKk2wud1MM1GGOd
UgtDg+fMstjkeYQKOgfmmApUPk9PyD8M5fsO+XmXAQOJ4vXBch/tcbYTLgGbiSbp3c+HwtWMks/6
eE8P5ax/1297+fr+MK4jrPDIvq67+sOxckhjaUvLKi0RPJFTYwpDAnTshqu0wdDgPFxUdOtWbXi9
FFy1No5H2+9WT8USngwy9/OrGuvfcf/0z3r8BiRW9hKksy1phT/2Vi+7Qddpm5AyXrjWhXgVbeiR
SGG48G8vHwpIM++Zh1ePXnaCUe2EAibGX2q4V/14PxT9PVzU+5cPQ/DK2eU4vqOPnyilwbAuY1Lo
nZN6XD0pw62oQvqRTf5vvDxNWQhbIGYqk+jhJ016dNZDpiNEK8W8jZMlvNYEPlhU8m9PP9XjJQ+n
l5IUG3UgHM6Kh0ORYMkzI9BdEmWlp2SfWd+YqC5nRcYeQ70juvKscvj69KhHNxHmLOE/h4MPVpSd
+/hkGsrMClO3jbbscEG1Be4yXI9e378O2o55Gsfj+yUx/VmuKe90uimeiZT/MDsV8xPej0ZITqz8
8Km5LI+6sdz1/B9qcaPwK/pU0TzTAUgp+EFPP+3j0XhU24OC5AYB4x4d/kWR132gKLrjCn9vFRaJ
cL+7/xf2gscDUfpTRFaSSmLge0cf00lHHQ0xQohsmX6uBApp/9ZK8H0W989wXNvi+O1hjDIlvtdT
9/AXBEF8o3d4jwPcWP/tpa/OJy6XvD0e53EIM3adjlwHjGPTpufr2i7s5PzfWdtMBEm46HArVQRo
D+dD7uHtR9uUhSVHXF2Qb/1WgLq+SOPu29PP8yhw8AHUEQcS9XNP4x72cCAPpKVJO9IdqXQACXrj
sHv+af4wiAq09h1ibf14kE4Vc1KlaCRytyzfSi9uf7Ci5OHFj6LXW7wf2GxR3nF0UoxVQ2VoCsHU
uNEt5ws2rl3/3J328ZRW6/sSLhEQG4Vc//tvgTPxbZLIGIMiUfnQFiTPNpz0EmTOLshaIvinH+qP
w8k1bFWEIsCCHw4HM7kM1UyqVFTjfJ+PE2rnmVRF7qtp//KhfI0hh+AyjcPA0ZzDQg5Pv5BdAU+k
ECFxkFQIm7i4V02i1ebpwR5NCdIPjkPjjHSBUjy6a2JTEMwkva1NGtryYHH/29sxk++FoxA1SsQR
3NOZD548uqxbS2YGsGEge9fp1pJx3dWzfvGLW82GRED2bz2OObMefiNYUoPlG+BsEZf2EYGxdujD
dgv1hlhSNs+kOx4F4YyGqINNiICf0PFoxU6922o/gh2jkix557oVWgbbbd7MzkD9PUUd9/J3GAiN
voSTgrjuaDw7xWueEnsAvZyUsuWLYYd5WHr64lF4LpfHEfzaRzFTyNUGvy9YYPCawvnCLiaug1AM
mjl66czjQ5Eq0sRn5I08ew0FflvAc7eYWgK82YiioceJWiq9NKkuUGs9/Ujeo1CGkdbIDP8J1Db8
8+FIbQSy04pZu/m6d6PkBW8QhuJLgTrhsm5dRIbjWFevgRlUFAQlyGMHZhB6D2OnGmfOjF4TCiQ2
HC7XtqB2A4NH79CSy+6KZE+3bn/dd4P3yYNIC7srzttrnAeWd3GAtdYJic/5Hih3VV80Ifzyg2pS
bp4jdjO3lLjJOAIi4fIfZz4GallLpeGU+uV7fHrc9BwLuehj63Uw28R6y7qfRhNek1NvachpPFTF
nl229+NSa3pqOmyt0DPatI1HMKyQ8XrxZTA5EGS0jEL8CSvAYRs+TPB9GSYEhuzlo9hFxp9Ol2iu
NH2irfMpVRbhjlY9SZ+nP8ejHSfQpB24kpO7W/MwR/O4zXWLs5wKQDoRw+KDVlJ4enYeP16d+udZ
SnWRRK93fHmEC1DbvuB4kJhjIZXHPv26DHpiSNqZr525Xp5J2h0/lms7XLQQWdkE6IE4zpxVhrZU
FXoWMpKs/TEFBU6q5RCdv+zlMcrqn+Gzw3H2PUpgp9pKFg/5x8ZMLqF4Qpi1eFbx9ulRjg87RgnQ
nJF7ZCMgJXe0XYM9FD1WV/Til3iuQIiL4I5DKk02hf/sReMPL44bGguU0J9A+DhcyNIaLkwFNqyH
K4RZJMdCROHy1ybwItXi3R/Nkx64LV0lX00FwqY7Fi0++L/+mVXT+mv+4dX0f8OHSSjW1z9XNl5V
Zfe9/B6Z6vee359/6JeuUdiv2DQDNIiEJEw7web6V8+vfiUJGLiNrrclzWL+h65R0g3scYgEwibF
SlaFHfcvXSNWTJq9npoHOzLUGLb9Fwgb+f/Zu39LcghILxwhrAY0jR5dxEe7ieVZFOLcPCPDN6C+
ayuD5UM/dBJwBB7JDej1GreXLoGK0w+zgPGcDnDNEA910WnuiNTfY8/Z7oeiRtWBabJ/2bZdu+zT
ZKYlZMln+06KJQPg6Bv1LXP1GGxJzgf55drzvxtzj6aMRiBPl50035WcxHQirUAd0Dd6Ow1Sq9n2
YYwoCNHe8FqWsNjoGoHCuyHWJ5iENElvQ7OEG1oGlhg4ldSHaljaZSvH2r0vCmtoNmXSIz22lyVN
aQQ2n2ZixyvpRvDSK6D5965sgmQreQPWVoUypGutxpYTpMuSU0d0EJNYDhrA1RPaPgUy6t5WVIK+
+7C1rK0jTUU/qrWiOFAaFrtFJxoMeIfoOXC7iu6LVKkaA1AL9fSIQ9IluUlwAnZd99d4Lwp9gnkS
dHokIhNAapy9TuUsort8caPzxO5pnmjzXGVbsL/FNQRJ32xjXvdHK++8923rCvRM/VxdqAW+0Kbu
wR5tuyCt0aUH1d7BLWneNiQEkavb4Ep5N2K4Qb3YeJtKktVpLPBRGxRzhCqRF9IaEYQtcPleaR6i
lnP2I+s9eTVhFgg9WrpfvLJ3+xPcjzBlAjwUQO7viT+u5qhwzleFCBAD4FynQeGsDJFgusXnQ/d7
VHDFGeaYBmrHGPtImCzT3pQVTdPweRy+c5xdaksm7xunDt5xDiFO6UPb5aba+3IDv9riWTDFnlFA
BG+g/+bvmOCQjvoBY+K9tjKq51aID+kKroXpglW9MQBoSnOzdGa5EJhXT1AiqwHLZiafPsPx3HlX
iNxh+ntOtM9H+mz3kdc06T4K26jeRhZMcj/saeVrR+ceCPvwGd6GJEqAq5UecnBQELoG2dEuBg0S
OdIc0GcT18p8BFADbnHp+ukqyix6hKISo3XId1n3Jou68Ipcrc0YAVzKLQJCcOmiSvIz/Gdz+txU
SvQPlxZsiKX77KYNSlUTX0zga5hDFUQ5gHfpphOGfNYYVaA3YqtlBM9iK9kUZPivNVAIeikbSVtM
imJiJaMNZtdMdvI9hn6Hh7BdD1eB1UbnHjvQqRJWSrsVRNBihwmzKc4r6dZnbaWK5uAVDg1fQQmJ
H739QO5u6d2rOUS/GAXNdKtGTRNUMDYWEzORGNwUcWvfFoltl2e1a02XhZuOTOLSXhF5dDbLu66g
nL9hFx38f+MA+9dOp/93VIqnDqj/Mv2Xz7+fTWgTfp1Mlh+80r7H3YvMDBlessn/czRZyn61FlCp
HhDDrOgJ/tNfmntHvCIf4K4pxjVi+yl2+B/NvXglHQ6zYL3/qFWP/6Kzab1W/H008bO4cjikjwRJ
TaVc/yhlYOm0Q6eXKfZMp7j17JFOwmWJTkeSJvEZ7NPizB+T4q7Ho/fcAS24nCAdpDmI6/Jd0tYg
vhO6bSPwfriS4E6Q4OT6GmuUmuZ4juVzU4XJtW+l9KeNunw7aCx+DsKnJ/HnG39R7PQvTr3hu+l6
8/0/4KG0/3Hoy2+fO4whj4Op/4NxEh/qqWl4VS2fiy9J039/MBfXP/RrNkr7laaOTPqO/g/l2lhM
/hUnuTYAFOEgiSCP6BAv/R0nWY79SiKUsPEHJ8/jUo7+R6CEEQnTm64NYnHqYA5JhpfMxochPX8N
rgX4FmrXFwGyCXF0B7YVEtbIQ9ZCGd+C2lx5l0VP81Hjt8AKf3s1N7+m+O9ElId3r19jOYo8MGE9
xDaHB/79Zp8NCnfcvKYJOICYtA2NHhwK+m78ta1CmmM1PLRnhnx4ifg5JL7F3CvXPBZf4OjGgkJ9
hSU1NFahdtwBerT2pYmTZ+54f3iwNXilLLJW1H4Fo7+lLICpyyb06DmMo6CMz0i4+1uffFd/iAHF
0cftlWW5ffpl/uHDsX/Z5EgoLBPmHgW4MPdqhcv5iK3gHGwiORfhFnuglKQB1lgnTw/2pwcMyKbS
p8QVlpj+4ZdLQ7dB7k5bIxjP+totA++brMYGG6ahPu8TQ3766QHX7/L3HskV3SMp6CsReEwT1s9R
EogJaYPFxRWVOOrCbucvUxzWFOq9dy1y5UuCh4u4afdPD3o8WdZBSd0xomRM9AgPn5Kk8VRhqTht
JgwEsL6ioNwi2n9msjwehfyWTZWOkggL/yfD4rfJMjR47Cw2/Z3EgMN1ourkqmnVl6cf5Xh2uKji
Kcj7XIJsVCzHiVUIuHqpDU0dtUdraQCC9SYTPt2dTl+cvngo2g5Y0BQ6SXQcP0+LSDdOR2/epBHJ
aK4VIP9Qr8/jB3cksHvmG60z7eHEoE7BfmULUrNsIkcTY0zgolYYPW5goIenJKnD93E99O9Nk0ZX
tKEhEvWRmz+z2I7nP6+TfCTBwZqXRCK4/vffvlnU+U2DAdWCJtzvbhOEgBcpaLxLt67NFlcJxKpP
v9Q/TBKAa8Lj81EPR+jwcMCJnC6WORX9YGGj90HihqdazdMzy/rPoxDy4PJJcfN4WSeehEhY1Asu
RrWA4uNEpI7d8OUvL0AD5nCKeWvNTDx8ljBf8A22V+8vI5qTKvMs3PISxUVKNT/ivmxunn53j/cO
jWJ01citD0Ze7OF4s2l96H5AnDysmnjLmF4uQbOpuv5DXTivU206rk3OMxm4P6y4QJD4IGdNXpF1
93BUso2iMOVEgwPR3d70XnWoKBmdhtbS3z/9gI8+27pHIVPziVK1sNX6U36bjQ0i8z530SeTsG+v
RlqnTmj5S186BVHAoZBCc7gqUYl8H46yWI1NzbFwQdokM7czytC7uuucty98mHWXWsVK5M8B+gRH
D5M2Ogl0l7mb2a+h1YyB5oQGCvHCUcgsUacl4OKARoN6tICpn3QKcyrYO01q7cQQxtu2op//6VEe
zQFWLBA8G9XQWlA4HmXGFHzQGkte6moWNp3LcsNVZNqmfpsenh7q0Rz4OVRAuZaASiDYe/h17ClK
5jGlCd3QD0TfB30u8myuEyX2Tw+0bqgPNlxUJT8VAmv5zCUUfTiQIa9RdWLBvgwkrsOePnfqlFsv
XiRCzSNNh4K+gK3fqLyjSDJl4NIw6Z1e/Lxkt1lZYAdtPqE6+oCsVzeNEgUpcxqm6HwO6wBws1vU
1TPP+/gbcm1EpEddf9VGHEvBkZkUeJQHtG9MFWCZgNZ97Iz608itxd3Tr/bxN/QZAFWgcCm1ovx6
+Gr9xfEaU0yaXoWlfq0sWZ5WmY6f2X7/MIoM5M+rJmVjVBEPR5nLyB/dnM4VJNjRvspod4B3Hz/z
2qh1H00U7rSKpBBPhJ6c4sDRjPSSNF0GuP1b8IH0j+WcX+0e0/nmm9K4m320WgRRdPA2xKc7uNkh
lniNCWV0ErWYmr71Dd2PB1ApDdunZaHyNQJ/nJ0Ii8y+TLJi+aboL8UzKJ0z8z0M84pm3VC2AGeT
1jZvI7cdwMVyGgNbSmnqKsDDOZk5t6dwofrVxm6TJ+dtMCjqP5RjZ1BFYxUjab5mk45mfdaINEhu
03iSYCEBnvrujvOsGW69KaQ1GdcKOqeWsuydW6USpICo5yjTqToLAnKQ3gxH3E1NfNFTHIFPUtkn
LjTmAuGLaevXoQws9TE2AH+v7LZQIKEoS9JDQXLPxoKw6oLTLAmc8mbBnHE+w/QM9DkOkElzcFpr
go891HMB/EOR891ghkCH5VCOxbSmjEXImZp5ldp3k0i8NxVai/gQY8otty7VIHj2BbYTu0yEzW3q
LE6wwfCCPdGr25GMXUtwRZuQrr0D1HpR4ngbRvZ51XmZe4+oJ8YatJ5Mkn/OY+mDI9KlC8MncqGL
ObbXA2otNQRLIweFF5lTVZCg/DH6lK0yI8zqJpHtislJ7u04sZYzHdSW2EkKqoCFhKmSGzXHkPdj
ASekWnQ+ng1GuT8WnIvsXY5vHFnPXFWGrzbMBhvvpKDxYqJ0ehv1GSLhQsWFs/Mr/JGJQ/nbb2Nr
SADZ4/kEcbbwclo2UKmOAPqLHPuQmKTPeVmL/KZvete/m6Vu57O2lSVVYRLaI13BZohwJd3Ndh51
/W6cMBz/ogHsSlrZXCS119g9FOYCXznP3ddWCgA9KeblzLig0rdunbd4G/kFFzPJXg3dVyQkorAO
1J15W3d4nnyZjVe7LsYDtja0Vbt157anGeoLEe3asLJFuSlpc1XDPmryYASJ0ET28C1AW9BdSt3k
7fe+SQ3NCEHWBQuon9l1rm3q2PE5Rbp42g8Gy6ZTfkT7NbN16Z2EdM3d6MJuflit30J0q/CmuohG
ZPzYP7YQ6G8ax3I6yZXPdYevS0qeHz4//srWWUCT4fDFHgtRnkR9gP2pCJpMAAFfO7LLKqX+EaSG
zKkBs40bbImL1ZkZklxtlzhpotspxzWHKnkAzHzq4ro9wWK0+qZZVMNJ3LGGvxati3UDFg/lRbdE
9nxJqdbKD6OuB33mxplj72cWz7jLY2/ACcmNoouJpvn8TeAmmXOSVFNs0WPdALx33DgCGAqCAQx5
EOp544BcqfcU8GWwb9ys0Ccxvsj1lp2UEwzuO6/BmgNodxig+a9p/HHeYStjDyeKv1LuJX6bIJfo
nsn2Wk5DddqJBH1g5+JVTrWlbsKtTocIFH2rsu8LRAcC4DgXYNmKSjqnXj+W40cvk017Fq/Sx1OK
BYV7UbdFJG96DDn9912XxhbvKvD6M1/nejnp2p9+R0VsQFSWXfC+8brkihYJCzJ8nlbfbadvo6u4
xp2OpLwsk30W1lUNtUjq/G1jNOUmy6aznQ/Uj5/lEHSgUjPMG6oRrPsW7AfU0IzlvxYVyGL3DhaN
uA9Wbrp1AK2vgE0u/KdjFjtwN9t4KDYBq/FDpax2fWd5cdsCrsB2Ysqt62zOmrds/EpQiSOheeKK
gV2jLFvy4XFRZ3cwo2rwg5GezEk0hR6eKFqn9es5FHa8j63Ob+HBG1ohElzi9L72UgTneNUZfZBO
3ZhtNaUm/BAR1XB1r4AeXLpBZ5lrB4fAs4r9Ym3l99J0Oyva1j92UR+n+7Jfgo9+zsG5FVqP/o+m
oaEU1YNTrgyn2NDvNccoIJpeF9al39iJ2QGCzf3zZXQoAESj3Qf0etJhu7E7vG72UvTdfAB75Cyw
Hzs1bBGRgEJ3grmCumdXHY6lrBZgk1ZKHyd89qk7b4YIaNfk116x1zOk9bPGpkl7E5HaFfddZwwQ
JCxsAoxdIh8UEv3WOPuRFCJG8eegObgliZt9hovaF7a1xr7yKxUd+siTAOGQVduHOgk9aEuqkurT
kOb4+k0W3PjzuYcTsOFLVuQ74p6kRD0vPMkYUWXbURqj7OcNlbfscfWIPsyhQyptnmiRhHwwjMkG
N1g339IDjtFANAl/htlKVz0cOt/gfmdCs5fJnEO5E6VPjB+4IwjbFpbgMMeiwUE086JDxxnwKZnN
+DZ1Elo+CwuHNrT2xnpd43/jbAQSrhEFvorqHUahQXqeZwJbL8pQCUXFSuKDrOKhEbuhmTKJIbZK
f4hCmIJKoYMJd9sX8xdKgu2wTaU76n1mmp693Y+0RUeaA8I8qJ2232NALwDoFXUvN4kYuK8ONMYC
FhhzGPD2EITsyIP/XndlXJ4lcCF6oEoODk9VOYb+VlXJfEvWb8a6ua3pjzLCqqna+lBcupya1db3
W/lOLUMpNkXrcDFto9xOd+7Q06GNsm9cdqquutt4wciJ3xPTX+rhjQZ8V/mwxtIyC4CMwg+grD1m
3DhRElcfBEcfS56GeED9jQFDOHqN+w1f6pIDEMEQZdYBI2h6lLEA2WQFnjNbs3AY0PCS4oyaLFn5
eTaywvPXrZy7QQcRRwGQmXNjG9g3WG2N+d4vU7VXeMuoa7d1FliOgZ40ARKFbpIkWBhvemq8mIw0
KksPYq7D5ob+2iZ6jW0ZDfVdpIsOm5Z0GMYLbGgWd2+xvycYaJS01ULLmcQmb8Z0eisWOl8B90kv
vZappLcsAw6DHonOPKzM4tnHl7zLguyiJpbo7krcWwpWWiLD5Nx3+6hWELdaia1nReHXXoCZoj5G
MLlUXXQp3DnxviLQKeinx9lJRbvAcJD6m2GVD9EcbrkSeovIRLUzS9vi/tBAq9hJq+hP4XWBax1g
eHunSWQBMKjzIgQCyuUQ4GvZtwlnRzngas1N8ENjzVF/jqIpBh9ZGIescKXmW92DaNglVIehRFpx
kh1M6PczZfYoqajjugaC3mSwQoybVPD6G17Bni/jnXet27ZIW7v81raQBWx8GDDvqxgTFGLwpm8o
ERn5xhTjcO614Bi2gh3qEt9oiXclaIVuiwcM8L2QJmazH7swGD70kXA/zNxtmW4i6J2DHXYlFXO7
yLoDEJgu2vP/LWKrZEdve+R/I9fvQ8Ge5r7dzggdb2Ko75jq8strNkCOxo3Vl9a1bWxFvRa9LD8P
5wXAPuQUon3rJOmH0I7ZQSzIH/OmdwkSoeslEOooxfafDYf6uO0bC5XGINaufZOH4/uGZopldUIa
qeI7tX/Xpgs9FqXjIEjCUrrzN3lFVXZL4Erz/Sy0GU5nSvZAOJamvEMi4lqbebC8DqzBrG5A/vk2
krB8orcoidMPQiC+xtJsmNyN1jngxLIOZ0anOLNp+km/wcHNKnaySPENXuyooCgeN8P3vBPAM6K5
ZhmmTYpHS4+0bbVDVd27tp/jr1VmSJligxjYO+5s449Sz/V7P0n9UxniWbmxM4fbEneBqqVAn7WX
szKsVc+sfqB218F/wsEaGeKA2WOB4WdefR7xOrtYSjkVe4H5u7+fci++mdjp6vsgMY2/nWIF2jvu
Z8qPDf2Hh4KeEutgYj/zDzZOdeVWlfSWQw4uRbcdRMOpl83pctuXUHTAziiJxHGIIjg9pXXf+JGy
72stsPgxJhteL410b6YWoeFW4z32hu7B2Nr79uAfaF7tLxt7kD3Ez7nBrDmrqy+yjKqboefKSIid
5VyGhd8gcMEtFhGEU4Jf4DgIwxMh+3Q6S+kjoGgau+P3qCnLH3k9eB6sgpbTM/EyzOMCZyo/TzRl
y43sTNmB+qNPgISPvbA+IvQqSR6eF/3ch+cJd1JzEWWzCD8KzbXydg6D2eEHytyeDpUD6+gecszY
ARQojQbiPBXz3L2OS7gQOJnWdgtwmuYlkDjtwCa/KbCKvR8Vq2ufQ7cYcFZz8xZTSs/7ELXpcCe5
CZqt5hLq7pylBEva9OkM56CbNKBayxkupoWYHUjQwi2ExZow5+zej1crP9nF302z9lHXlV4+T03b
f8PfOB62VcChwzTFBmdTW02PuLGIMvCQTVZeeH4Yx4eCJgDAoyXOsPvctATASyHcd1Xi2u9wSaal
DstUuzgJVhOdtCzdbN/k+BuVSF8LPkMNdxA/6+Jb1IdVcKJwRf9Qe7kb7+CfAedFt+tufbEEH7wJ
g64bkfkw2ja0T3v1lz7hHneXF9TIPmX9PDv7zBqbeR9PRN6QdnpwirUJsl01UAPdWI1CZkVH6jAc
IrlAUytU790hguyx/iYShMk/kEwIbvGsjNOLUlla7XwkM3IvhtY+IR/bfHXo/2Zr81NiFdX1IVAJ
nFIgsvoO8XiFl10N1LYWYj+0k3fqjQsasIZws0UUNS13y2L1nyI/QFNbZbbzQc+Iq8qZvwReacdJ
kYz+8G5MjA1LztgNmGQmP3oYnOk4avsaO0p01dBhyQ7X3a6hnTAHeFPTcOrnQ/m1CIaFjY8i7bSh
Lw8Hwb5T7Tke2/20n+MAMQzxZwEkFgfkz1AwTHI5ehUM4nTWypxQ/QzDDZFG/8bAzKo4pTUQeaeF
zyWqxgo445vpzdLhg36ylAOA1nGwrOSErN/qCdZrxFvOMvqnSo3eQCqCvDPaGttprjHBxaA3we5T
Yc7kRB9YAVA1E7+uu43yCnFnVT5qtXkg1gU/66+hW86CSmDZTDu1WOk7Ir6Z+DPmCN2a0GPtN+DN
oPbLssg3XucUMNOhXsBA76X5qqoIVS4du3gipMrJ8pOJo7reMS/ZDaspiJy9FRVBtMuj1KYRvU/y
Tw0unPBAZkmUvSBHurcavbwO02j6bopmwXNvSkx3PtbD8I15Gbl7l+7I5AdetiUuCoTG1nno4Ku2
AVMDAQy8ipOfYnzclSeIejk4GwdjyAOXXtv+VODsDP7TBVO2N3a3YHKW/PSsjJ2bPEzG6iyzFvOR
BkRDzDQkBhdvd8kAUV1Z9DaI4m0895L11fRzejLWRCT9tV3rWexwnhDOrlq4qELSadPik536g7ON
jNN2+NXWZKmAcXFVv8uI4jAGr0fhWx/g3CTxW2qKCivrsIb9Ah4XZEj7JndzDxCvP1FvabIxqTG8
9SFFTxlCs7mcMrZpEcqDUbACUWP5yWW26PC71wzFD2Lb/mMN4VC8p8m3z3+kE8H3wadXFhKkXwnn
bG7rtHobx1HdnIhcr37aHbVqkgBN+r6LujdlNmvDHaIDfOMxNdyS/lYXYB63Ii/ehbUnTnnPn9rC
uWxK87qs5I+grLMd4rJvZS6mj2mg232ho+DEV+N5u0acVo1jdjFBbEH9J79GWs7xxX/iZL6EUG4g
MUKVKXdDm1g3lg8Uco+rGVwVv8bHbJviX/qRrITHTYYmeH53O3qv/1NXU2gMtz/u55g2b6IqtQfq
RCk9hr3rvOVi5kBx7GOi0xkF2A3iQ3yTibOy+5elhbmsUQuhrrPqk+iyPE6kTu7U4VcFfQn/26uI
QHgnu3l6YRmaUShT0Im1CkxQuRwl1FsUVF0V49bRS2XOuZhgzUYJ75lRjsgqenVFpeGd9DbVKhcq
51G9to06I0WHH1QwWnl4MBlHwQZeVtnsVZvN10kn9XVpuRBG58F411FtAC9rzqIfKLkISp5+t4+S
1AqoKtl2dOVoyj37KOVeBnDA5mxVZjKTtyHZX8DcYbBrMXJ7Ju/+p6GwMVIu+mMciNTRk2MiJx3L
YiiiZeh8nQpg2NEaUjbWXzWL/w0h1v83Z6q10PPPZerX39dwJ/9cfmsf6K/WP/VLf6VeUfFbe1tt
D5HML8XfL526+wrNk7ciGYAysNY8PuBfWkBv1anzX/iDdP4zXyhZ/6UF9OxXqwCQFjyXyY0iQL5E
ffWz9v13dY06Lj3onDXoCnw6OHDQelicob2+BQ5qOL3qxrqbcZ8j9uzsGUBe2AAi4hKDBQ6GUvs1
1XiSwlgr9pYy08YbhbsR9tTvUV+Ic+2Hwcclncr3DbCmEYKHhenCUtI7RNtbEN5JtzdnQW0PoNLV
/MyyWn/m0WMgISNJiebERQR1JEayJRRrVxu90VznD7U7dGBwIrT22LORMMmL5g2bZXw6QiE9sxf7
OX2Guw7w6AesrcV0R7J12msR7LeS+CybqqCswu0hzNNLQ2hw1Y2Jn9EJBR84DN2eZG00hOd1pq1T
1WdAQCMMePyoPQNauCcIU1s3WE75le3rhTDptQim9mQ0TXBSY054hiTewUOqBSQcl7V1T/uptU2g
DHxM+3aRV9I4KfJohYWix1X6/NerLrA6/G2C3/x6pt9FdD9VckeP6lOvXjEfMCnEcYNryYULXAn9
hX2S1W+yNg2u28le06YLWbdDXC3T9ahx1yOm1vDMSGUDks1k6GL0GsTvg2HMPyuyDGZjT25A+SyL
SG4hje89C7/5lBn3zE8+xkwzzTlgIHXQE4JuhwaEh59ndOUApbCkMa1v8mvHmb53Wb3sLR5wHwjg
54iGQtyYSPlMcjn9b/LObLltbMu2v3I/4OIEsNG/AmCjhqIkkpLtF4Rl2ej7Hl9fA8pz77Eolxiu
13rJiIxMG0S3sfZac45pZoOM963VX6asz/a9iivDK/Ii85QxrDYg2NLyLlpSjTQqgBMjBetH0BAc
vyrmOqKwoew7aXMO1jq2h+spUru1auTyvTWBZSO2ecNtrNZS1hpeTo92M0ZJ9ZKMbb1DdFk/Awyc
fhWqLT1WSpZem5ENOdgvxR10P8mFliitSDtIXKVOmpsSauveQnC1KmjpH5hR2q+FP59qeIxPRVfl
tGTy/EkyU8PDNUfdH6QV0bWNTZx7Nd03YU7IQIRctqErRwgZgMS7ciobtKd5vkczw3jM79VntRb+
LRCm0YVF/GjiA7nz22hgw2Rm5Tqp0+GgqlJM6ST5V2RjUpnP/GWO2U/DzjSlW/jf7VXQzNHdGDf7
PrXX40INtrWASCL5qyirkHYFW0QvHqUxcHJJtCstteUHBbFBjjemNzbjqAdM8ax4F1D1eQbJnK5v
Y/AYjAK9WVWD9LeS8tmaJHvdG317X/GhXyVwBquEUId6zC6N7N+KiN9fCSQBqrlQYVCEKUxozpaf
0giIpdanwG2sfqgdY6TNqBcN3VuBQOtXN+I5mVpF8iTMO/tBTrByGOZzKwmaN3QtarrquESIYNNI
GDLUgL0lA7Ftv7z9wszga8NLur3wVix13NmvNjBWIwY1UAHI6nktYvVoc4s+dJlUyl5cqhZFEm4Y
IU/2lpH1yYRJ+VPx+2GTgiZdgZ9sPDuN/K+f/5DlOOe/AysW3CVUDzBoztZO9tJFOJsidPuxr452
xP2NzQo8cTcpa0HX6KiVSrv6/KAfljEcXvik0fDB8UGbI86qXFkxAsHOnTSnSYT9KuyH6guVaPCj
S1S1c0AL5cNGj+f8lCT0GnxZzxLsUV3nf+0rtE9taGtf6XI0txKmaFrWinVjVKOXyBk6vc9/LAr9
82uEInX5vFEsI8qmUfl+AasHYpKZz7HfZ2fq6h18W6l7CSfGtk4iTH9jhxZ4rmXqVkZ6sWl7ooFI
OSdAgo6v2zSRApBOfC+htt7rUYplRyATM2oRbQisVbxB8+uXXJWYAhbRdd+3tQuM91mdKtnVQFy7
Ud74B0QrmAOqTN6YqXaqpWCA8GT500aTc8Xzg9I61H5oe8UQAKVUBlTHIXKLO0vmX1ycnSTmNZIG
xyu9HUOMVcy4TWecGIjOFSrKRqj9irQ9+x4ZTuBAJ8bsGfjwodlXh98i25xIK7GsTVzE9aqxA3+d
QNmf3cAq9DXtHOPQTIW8larQ3yRZExCMaNQwfHK+zFUIVj0cSG2ZU/7yOVaML2Mh4UKrCrxr+LCG
21wCvOyaRnNdD6K+1/WqeWjBybxqQaSsWc4StsroEogE7OfrLOwYf8SlMAkcRJ5mjpW6C3UBXCIm
AUOo5RfDJ9AKHYN+pzdddC/Fqrgmf5bkYoq/qzFOfZIwSDwbC+jyIskYmBv1TJ/e6DeZagf7DHQg
a7Yc0GRlv8BEB911saXu116ayiAlhRx1ixY3bQU9Vvti3akloeQle+SaWFJ3gha+HRtrWlkAAXwv
z+vyuxIUpdeqrQt4Mb4iir67A1hseNCRx1uQb1eWEbVrLN5fhOyrN2oVPhkBmzVRk0/f9NGOdgGt
lEww/Rny5i4FP3irzXQJEn22XzK+NpvcqKwlza1oU28MYIovIyZn1gtwT1Z9mqfU3zVFa+2tfrZh
3ObpzgS0w2Sv1DeNKd/D0v4WAvh9nGrm4FLc0OSlh0KwXUVvuSEgmkdebJCSkM0YM4El/PwBd5m1
Zy5Jn4la6ORXk/JEGS2uiiBWb+QguVLV2dqg1G3d0EqmY1alkhukZfnIJje5GWmEu2VsPOfSADJW
0ob72ijhCDPqu5ZyS9vOGeVsWlgbP+0Ht+xa+n6o1Bhb9R2NsrAHNTkT7kCQKIE0AR62b9zD4ZDq
7Te/RAEE3lrck52t3+pZA7NcEuaXKtE19D2EwhtG5ntZINGm6NKfE3nJm4xmnOnao9qjP6MpQeS3
3ayzcPRdI/YBEVbhz0JrkWnA/QWqm+gMUnvl6OdT5EbBXO06mep0XYtCemh5YR4GZSZTsgh2yFfH
VY3J8ge1GEOw3l6eIAwg16qWiUeYtbU704p6yitxIIReu85EI1cgCzKG5joP8gy6RWdCGrZe1unT
NuUGsKMOte9sTK1nyWizbcHac2L0X+7LRhRfKFXD1Qxa7LZRA4LGMNub5LXFY+q0QzqQFg2Ia1jr
lYlNElmwqJ3EDv0vzOKJvYvj6Gdt1ip6nzDLdxFKCCcqtOEqDYQgt2CqXqSx+mFWueVatQCTbYI1
httkbJQkmG7MIGhvojSa942o9RtTZ6BhmfOzGhm/Ct74NXLJDZ9G0qjp4bpKHN+LtKP/bI+256PA
3nRAk8iYMbaFzVRWZj62pZpJzCcAmYSU9jYca+qjaHgyRVepiJr11NO1VKnWkZS0+6Eqgh9TUnQr
SBd0yxmj0jnM+3nTBRXRtHrjr+yy9UnzmQAAUwrchaEh8+Ylg3Q3VH1+WKYfLAtlE21Sagfqaxki
8kyXSTXIUephctOMJ5iXEbt1U5VFvpOYT2BthGmwavsxfaWPmrg4GbNnhHkj6mhDe+n8iTCkTmLh
J1TOB2b/3e61YRcbVU3seaXcJXZprwZEGoHTQ3qGhmyVuXHdjyTNBYlJqmSQQ7h0Im2s/Y05gNB1
aDgVX6dq6sAMG0N9rbCOxS5DVIk3YHn3y7IEkJxG41b25WwfMV0n+FtXfBtUsyrITBxJcT8BcWJ3
Bzm99UYdguKidlFeh24ulH0PvK3850jxEBu7gGjuJeOK12CyyKvNqknWnY5E+5KO+DSIhzoyjOIV
pHfqFvziu76g2+9ixCSNjUHcfEuhTkwm79oK57XlybPOBziO+2hT5t14P+RTY6GsK6IN1HPlzrRK
y5trWQXLz+LbQeYiQGNUxvvcLAQLsV+H+qosg7pcN/Woqeuhj6rBk2mfKjcESJC6TOYGV1dOos0Q
EdmBSMu65TtuP3HwtHqUkzCOX/wRb+i9ZlT0dTSKkYQqWCnTdVT7qDoCxSqZm4dZ+wokFqkZU/67
koD37dtPTexAI6SmjTaTGJQjluV6q+epckfPvN4qdYBwS+aP2QofYzZvteVNLZ8qwOfWrZLlDbPW
5eyjcSBDS0vIGrQneuOWKIoTrWPSLEQwUQIhPBzvW52rxVTQ6B9RfCh34VxIhNwEivY9Jh+G2K+R
CCBHk6COr2M2lKSo0CbeNP7yF8l5SuzfWNu3ut4Q9Kyq6Ve6ZfyOPmF8Ysp1+dXu6rZy68IqH0UJ
tMxV0MmRHNfHPLBFqF11UL1VF8sGd4NusYlYTDKX3MOyJAEhjjGZC4ubxEDKXnWpNATMPYaalECh
7wvqRLR8ip2FfDjt4oZx1KR4pi7ZT3ZQcOnGJJ6dEsU4jiTTfprmKSRTk8Eq8YzTqH9PfUV+VjCe
EeSijGO5xlPc3yOc9H/NlhTvNLuw1rqAIV6UNg9oOHqWyK7LmhAGtwt1+z63Z1xjuql7kFmGguDH
Nl3bkRSumn6a1uS8PMj1rH1PkX/v9InYGilXVs3c5A/YhcPrQJqHu7ALe8VD6Ku4tOn9I2iCeoQH
qP8owhbhxsBu6prR87S16zTZm2pcPnSp0HazLbekvuT8uVatr4dUiVaDTU/eiRvb9jQqiTUsAfNF
aaqU1accii0A+/JGaZkomH6UvjYmVUclNsgd7fgWWSKVSokPiK5t/iufinGHbkE+lmEIbyecAVs7
BoLraJ1XZfd1bkkqb9WSBv5QKHxB/CTC4JPhCHMQm0ybulK3dFU0HjyzbGow6HO6NVrmt3xB1egG
/ezgmm2hXAHkpztvlAoSzkIBMu+UhuJv5TE3bxL0rT81shY8LWWwUKvyeK3EvfIYa7Uw3Iad/7bQ
5mCnJbzZUGKnJ19oz9SYB0aSD3UoyP+uyvqmmWRlk3btI1LlHhkCCPourImdUwu3NQvdCXni9+VI
ITXpmfQgDRNVuhURLz5LD+Eg264dspeUDH1aAQHqOBYf+lbo4z5o++6mKOJi3xD6uKWLYH1Tw1zc
Zy1UHJy86j4OrHylkYi1UnSyg4epDnYNAPo7Y+wasD5VfOol9bksZG2rYszFTcdcr/eLJ0SgEcE1
EFydKI4iD3hCtAVV8BQUlfG1G5nlYbaqX+tIgz8xMxUZQEmSo2QMxAvWlrZBaoR4jmQ7JW7bhxYD
euPwZtIiVFRzU3RC4+6rr1Gun4ih2c0tctQirVf/NyoC5H/obBy9AfSDqGVVDFq6ohI95ZSd0STv
5aRf4ovYsalK/dIY7aPV6T+gHTznPWt6JZeknnaHRIqPYTg5QRJ9F6F8etuJ/VWn+38jrkX5HNdy
93P4P+739Odrkb9Ponv7c/90wtlk/wuDjUbQG9YG4uPY4/6b2KJb/wJMJIMQw3PM3In/8u9OuKRY
/4LxAofy/3W82fn+uxUuCfEvaEN0r/E1C0Hb5a988WfzEtxGgDWRCuG1w99nirM2RGGZbcA43n/M
ypeBLoz8HBYXWi7vOx0L0vuN3UmAHo4WZlFnu3ip7tIp1Eb/UY3kVVx+ae1opdlsxo5t/2+w0H9L
8D+ffL0dDDskLcwFaIVf633LwI9svEyqIj2SAUMs851NFAnJawpcOJdwqZzG0oU2xZ9OD5AeXnOC
BdU/kOBahQknopvuF9EwJ41UTZbkCwdZrtF/ukX/XENabKgEMeMsg7T3p6WXiPlV5PGP5aI9onbA
LuMi0FvPwSXQ8x/Ohza34KGAOqaDjXx/KJ/9SyCrhv/YyuD8tVOZfkF64Ahy+4xIuXBeZzaZ5XYx
bmXeig2StIJz3BQjlaIsqjY6hFZPX2av1n9HdYWrCStpafjBll8c/crZ0ze0uFxGviyH0pfpxd7J
ZO/RAbvQWDtzP344ynJRf5uEaJWwSD6bg4NPJ0dyDPXZ3xvrHhECCInP22Lnl2w5IfDJtPR5rXDu
nZ0Q2XKdj0g0PMCkIJeYICVdXAKnv12V35+3t4MwHFOBVuOuM8T78xkHVc3jMgsP9auVeNNIqOqa
WMTxpbgSL2HlkF4R0jN9HkIUzISZrT8/x/PH/e3weKg1FjlmS+bZqiRKiKitKMJDn56YMh1Cyitk
YT+Gqrxw486QVf88H0yn//+hzhaMpo1QvAxVeMCxSuCM+Sivs321FrfUZxcYlX+8c78d6uzONSSS
0VzmUIrRXy2Ra0ErLrxP5y8vF86U3xgs+NwXQMH7+yYbnYIzpOZslnn+pN/oUbgC4wgNW9mGSEo/
v0/LxXn/mCz3h/kuCy2cDe1skNo0uGYmVQQH2pqrZOnat8DTvb8/CO+tjjMbaI+tn/WsO9rk4MhZ
IzCN/ZLEdtbjUzQMf/1amcvnlq41nmza5GdHwabHwDoU4aFq9fhISsGi3Pdpsnx+Mh+fAQ6DK5mK
QKPvf/4xlMepVktLDw8WQnJU/5ZLsNBfiiBYjTiIznCD2RJHMc/OpSFpqqeaZFUdajZ3d2Ea3fdh
vPnrU1mQvzI4OoawgJLfP2tovIxZ14fooKQorhIFdRnyps+PIT6uBOa7g5ydSltl7BksDuLt9kd1
KwC5P/d7CMNusH15vJ/dyZM9TBPX2g3j+eIgbibn4fPf8IdbpilUWss8lVSQt5Ljt7U9qcmdAn4V
HVSQXU5LFmmQXxrMXDrG2XsbNkDIUOtzxzQ0cEhO6+GCU/7SEdT3d2uKJ6kN2zI6DLShV6GOG7Su
Y+9/cqkWrg0IHVa6sxVuaPpiIFwvOuRJvY0jbGf5Be7Fn0/jP0c4+9C2Y1xk49RzBBa4Rg7cML9w
od5KxLNFjfv9n0OcMQVMs7MRro7RoV6Lzbg2NrMXOUfyf7zop1/yhYhO9z/MzeDdTc70wszcf7Rc
7QLw/4/nqSIVsyiNPhI3mNgwjJLn6NAl3VUwJx6QoL9fijTlP4d4+zL+9lwHUVVgfZiig723LJpP
ubT+/Gl4oy98uJIa3UieBZZv5ezbqlWlGUPN5eV9ST3QfltagJtil+z0O/9orn58vd6aHvfReEx3
yVpsi3W9CVeT8/r57/jjtfztZ5w9lWEWNwHexOhgGQcMIpSxuvf5Ed7mpp+d6dljmSqIefPEjA6T
62/86+knw3eE/3PrBCvTNZzJy1fpqqRD4iW5k+GM2Qfr+MJi+cfz1BlrUwMsldvZec7kl9Gf1KND
YFSboauy75Ko/J+fn+ryl3w4U1TKDGXRSy5KrHeVblt2IXW8ER2i4o7EFDeVbuhw4wb8OyL1Upix
8v92oLOHR8kleyAojbvGOEe1cKVcPMQfH1CBcIqQCfruVDDvT2ZEBDKrfBkPu5fsOl0rN8ozM4F+
a64wlrh4IDzaoK616m6QPrud0zkPwza8lm+2/4NvDAW9BaV1CcM737Z2eURNQIT5QSuaOzXO7kbl
kl5jUdad3Tnod4i4mf8D56LKeX+yRtFFc2wmzSHIe/NnM0v9QSEtEQ+dqjZo17RhZMivz7/gOKZf
JsjG3/EvpacSecbOIHv2MaK9dF2r5Mc59SRheSvi3v9hAQ9gdZwLEBxZ3DJ282P5F7mu04/eIAiC
1mMa7gZZJ1V0mhUC/GqLdQG9MFYk4tQb7UgoOAKWNJXyB9IN5Z0wfP5dr2d1obviLnWStLRIi5In
wB623YwI/yMlv/PrkfZrq87a41wBYifT3lAcYrFHdTVioS8cCxB064ihx9wZ1WKIPC1hkor2ZsTn
0Wo+DExC1oovkyXD2wQAY8oMFBdnmcX8+Nfnb8/H7QavDPUfSzqdHxW24Pub0KOUK8cxtpGST+0a
G0uzqjo5VXFe2NKuw+iz552VbrIwnneNyi8qMRU8f/4rltXo3TuMCpeG1JJrp5MQIp8tFFlORE4U
xf1B6P7dVD4Wmv7LTiec0nd8kf72Swb/gi2JopsLFQvZ5fsznqMoCYcxkDmY7JhYKKT6wpKkLdXR
u/OB5Me7w9PN/gBty9maJJeawMeuRUcLtzOJqfTOvxrWoL4Wk9/i+NVy+VFSa4nG9KgSbm2kunmN
uTL+lUVJgO2bKGBHtPiYUF9NaX0iRauJ3WjUzCe/9dnvysIqXn1GFPfwIMpfbWfIr6KZu29TJgYb
qWOvElmqj83oAvIDkivPXY6/MdaTR6Oy9cpRChW8GQ314CbQRfZgJfYIdcEiStqMK8aWuKvyN8os
A+06KfNdgI2KqVGmJDpSOTbjTkeZKF+oAt62hO8vHv3HJVyI5Ju3vuL7+0PGbhO2VR8dJcJ0dxB8
NUdWOqYwQYqzIxrS9pthNtK15RcyEcSB+hjkwQ/C5Inbto1LQZJvjLnznwNgZ9ke6SahQ2dbSky4
NtzlIjkmclISe77QsXzf2krwbFdFqwQ3gGoQAYJ2OeB1hJAzqcWJwPpKwZ7dNaumsvq7GuMpCbul
7M5FKh1scAxr20pymoGDeYBigmxmKnaqL7q1DMhznU76dM26WHgNk9Vdn5q2RzoG+Ii4VVefv376
sjN6f47o5ugZWjYEJuRNZ8/r0MpBbbeKfMTytSxFqBh+9cQ3J9jLFHETFZL2FQXMfEXPXxoYFrTa
w6BOcb/F+pLvA7bcRwQb9ffOmKd7HMThE1835digjILLEig4wqdiKO/bLOPbjO0wUrHF9/iLp3io
HvQooZo0sy7ZGTIjJ2RIvi+74A+sn8wsxi9h3TAsogkT/ewLBIeEH5Ni4MJgqNK9ZCR95UayhHCB
dyD4WWJLeyY3zb4Pmw71rxz3iJz6zEy+CGa9P6ZRQsOilKX8VNFHPQxS3O5E0uHY6sFtoC5ICF+4
9FwvO8N3F5mV1qR1hBlC6Jpx3tmecNVUqPjsY4diCmQzEfbNrrHJzYN83fVH3JhT5FUh01FYQ3QJ
8bo2jHPmoU4615/87unz2/6hPFsY/vQxxL/9CecLISQsv9P65Nh0MaHQVaaDbjHN+8+PovzhMEiy
KWjoE/LP8z2YHCgwUbDIH9HO4pcdOuPWjyUiXgJ5m/CpQdGxyqbA2PgiQgk1t+N+yPzcjZoJUQ1K
sfuGd3D9+a/6w4+C00a8BMFKNLDPper4vkM9U4f8mA/YLeu20FfApy8pBj/Wc0xNkPazktFa4bNz
1i3IkkYJDaUsMDzWzQ3iERLZpMDYWsumvZySQwvI8FYJTG01pLC0GberqyyActHB0FpNXQsgUp3x
m2LAxwwgM66VJdWbs+TRajBCd8OYbQ3D17ddk4fbHjLQTQvUG+pI0rjoOZUVlUbkNj6Ahs8v4Yfy
bTk3vtgKbWyaLQu49vcWc2AFKIOaqjgOVQCgxjAlBpOEoJiJHm4+P9R7YwGlN4fi4tHS4ylipnG2
Brczj6mGW/9oEYF8YxOfszJL2YbQqdLUTnPTzfo0OdooVdyyZPb++eE/PCzL4W140ZAY6ZQteQW/
n6lhpIU/GW15pDCV3NEgLAR2UXdhLHXmAvnnLBlvLJWJgTj+rfX02/63LCO5Ke22OmLwC7EKhXZE
Ils7r5LKCDciQwqosUt5DDLf4Auv7GrMaG6vaNJWIBlYzMyZU46Jcp0ibXNIzDZ/RdLCccH76eRU
0SFf7yxCbRiI9Vjmo/f5dVru+PsVjleJ6BY8EGS3EKr4/jpJEhyMPFrUw2M3u4pea8Db7cDVG/3Q
lnroCKm9cNE+zDnYzLOb/+ewFoDC94cMSefhuz1XxwTukiMidARWC0tiUEaukdSZaI8wZU8J4Pu/
P1kAfv/ELdKGO6tZW2H3gljy+mgnyA0JiyU4rZln0h3rvER/rHWHwhJ/lwj+9oxwbWn6MXzjbM/L
dbnONES8an2M0Wy60xj5Lq7HS9zRj68222m2n2TUqlSxbzro355EpQu0tuThOgZjHKOnDV9aZARu
NyT+Xz8ykCW5hxYfIfaB54TTLsB+TkyseiQvQGIjFfsrvvXzZgLWBSPFFJ5O3uKFh0ZZnor3DyqP
KDZGpt8KyMnzBxXKUCcbQyEdYxwDK2RPV00PtAGVhWe0w3VrWzdK2B0xXaxb3yIlpNcfW1/Dsphc
IuZ9XFvYXdMUhxXBc6ydB2nWaoNb3hilY9gy2FJi89cYdcWFq7w8i2fnuyRmErWiWOS0nI+vUhUI
XxvGwak2kdEZokCZJoLIUwsrW/WxfwkU/bGGp9Z5kwSwr4PnqS5n/dsDZEFQk2S9NY9NZHwrKnUT
+OS3gnh7GP2DTtpUQ9cpBzAR5USnoNVeJ0l14QX9eNI6MwfImkQn0hY6L2ppS7HlhAJ6XEDVbi6m
+XqiPGEqUEwo1035wlfiw6ifHQsZOEzd+eKDAT9vd2U5n6+FpHoMo0WdFs5CfM2x+903YgFy14x0
HrVptjtkuyOOG4mwwHCNNEt7bfnu/3U7la8ywD0MYhhPsZecrcYIqsfeJBzkiO3bxocnSeihlV+f
r4JvcYPvHy2G2QLbirGYuvg2v7/TZKDVeFG07BQh8mTH3qNi98g22Jb1rMyunvbtlTyFirZptU4b
3KQysTXCfymYpcI5cerMAiJXEnboamTyBJ6lDXbqlpFg1sXWdS+ni6lArZMvc4ZTxtG7kh432LEA
Ur3hW/dszvLnEp7iSCS5UdveIEa8OmgC72M2JXsx57XstenUsQGWov5KdHHYOKixpCe20CJ346ix
v0aahF4UgiwAPZSoZeZJSSU9avUsToU9Z/SY7FyWAEj6Ob8MK3zg5XKM5a6JAV07C/1xP4kqHl3e
Qclww7J4TOVKfv38kv/hOTNB/vIw4WfVuOhnlzxUewNTU1ueAohwZMqQq2LPKoJOAvVUV4uhNehw
YLZmHF/r/QQ4Iy6TU+W3l8Z6H9cu0gZRBS1zSlyrizjp97e8gGFugtyJT7KZBjeTAbcfFUd9ofj7
Q4uKw7BHgQ4HwV+c10WYGmUsdn58GgIz3laRbN0EMLDo3cQJXUI/2fpW1KyiTgoflW4wHR605q9X
UIuPDS1spElvOQJnp+qnhjYXBtBKu7Z3DLPH0zDW8l1W2EeVvKVLqYQfFy+aYbgM31Jf2aOd1TUl
zs8EC2d0ypLFsBYG/XYWy5dIB0ijB+GladxHgQXfYZmkBApdpsFsjd6fIFt8aUS6HZ/GImu3U9Ni
GUVnCIbSQHaZVxWt0oGXzy5IxzLsdF34lupJfi+WDD3882aUH4axBWMITM6L2TRcmIN9LPWWX8g6
zk6Kfdv5Jck1M+zojMUnS+EW6LWNnIrDu5R62rZNMEQSQF2d8uhiW/4PzzlTVmIWls0yyrnlZv32
NYPnUsW4VeITLSscjhSZazqLlwb+f/hoWiZKMYEFj4UUYMD7wxihDHDWMhATmLSxDBlCIFPSaa3T
KgCwGSG6702MZolR3056l1zrQUx8TCir3oBy48ITv9zw9ws7+x0T8Qbt/wXqf7bKVMpY1VKeJ6co
swFfTr8MqzgafvDVN+O7puhfPl/VPpac1IHY7E1MQDpBbWdriUX72SToLyGpUi9vDNJIHiVr/kIL
U7lwYh83k8gf2boCTUe+xsf6/WVuA59INkCEJyxS35JAbu9hqaZ38UBmOISVYaX46nCVtUpDRnVk
rP76POkj0guA6IEP2jh7lqzOKvB/VcXJnE35OqtpAZayAQYjw3n0+aHgp3+4hwQ1qrTUkaqgFzDF
+1M14A7Fs+3Xp5JXtNzKfaR6slVpuALiJluVmoQVpcjV4dusT6q88SVakguIqvieF2nc3Zh+mmaY
IOCteeVcwh0UZaEfFKsK7icFYN8KmbhYkxlKNqqIhvo4CLgWvdyF8Py0PL0zIu6EJ2pD/q70g/YL
q52+xSdRa9cGBM7vY+K3pRPBijNoADKDWKjGuc+7TEUAus6KvtoFlC48LGj/BnbFL5YgyNkBmafd
j92kveRBYkfuxAu6ygy1rt02NQdCGXJ7WAqN6dEP+f+cni3+o53H6jFlm9E5dupXpwakrJPzOnrh
omO7lsucPC+dU2ucStP7zoFUQuAZbnnz0BR6tTMxyFvrMAZ5ig9V+OrOqPJMcnRaENup5DY4y4iB
zhVzkysS3XAa0uk8QmHyf7EBTgb6+J1sOhQX/ZdZ6Zg5zXqSriA7EZyRJOYIbSmHXrySkcwgjpcX
aQEJeaG8SZRyIEWtaMMOUPRAQTO3U0iBWQzmhmAzyeAuMB6IlWSa9zVRbF8rqyXzMNeUvkNAVJEQ
zKBpsryhiAWTFl2tdI95G04CKkZN9mhBJeAd/fIZ7pghVlPPBtNdLJLGvVQtyKmyiYVwcluGeQ29
Ock9GL2G7yWhATrU7+v8mZW6LbxOjKkJR0mRFks+4xh8ZdV04+eB/RLR0H2BAJPtCORbiKt2XRgr
XQryCi9jNmtOkgs/8jpNj65w3kvITDMtOvGNEBirUqtgv2b26p1NcZk7ZlqwN+XByL+mcxevW0iI
V/I4NiuWAP06qKXoONsKXEY9Gj0xa3oABc+fJ08M4x0vn1zujSapVQeskZZ7UWEmWO6yOnq0Gekd
AHDGrZcbM8S7Oc92SJ2m7/GcaIYriPuztrHezbLTSFg2nGCxTDdKnv209Azy2Uh//VjbPuBq2QrC
h5YX72uX+ObXsrOqe6md0p9dl6a3tWZEyIQDrbgZZcCLnmQ0wUsF7veZkSUuL0xe8v2MqLlwMBOf
tEFLNkpaFalXq0j5cJla2RN81+6mMiaiIqsy7BxNDCHG25m8MBfm2PRUTOzmuUTJbLh1qGFsDeCy
Xk/2xExnpK55jpsSVkci5G9VUxO5PM1R/VjVtYmToKFId2a/13d2C1DLjYnmW5fEBeYYBbRVPbXJ
aRJaf1cqETYBKQ/ach8BGo8dHWkZRzCG6FsuWcY+mPPgJY+MjndfMtQUnmu03Gh73+eW8cVnGl5T
8kgKTQhpHr8xRWXPTrRh6ZBeqMZeDYgXfkGpFJXnk4oI5WQsptfKstubfozF1moGLsMEPCFpksDD
6iXfJoNsvIZgFEFEFZ36LKvzsOd28OQFNN301Sj1DbGZeEWeIv4bdnu5sC03So3uOI+U+cdkmHFS
N1C2X0clUfadZaevgbALWBNGWR5wVptH2W/mF3yNGhM3oejAivt0MwUmsYuamtOircr5F6A1p8mk
uz62r8BrTlsQHc2rwdwCnuRi2kMN8BxoiVG5PNhw5NTWUndSwM4G/bhfXWeQQEFBBhH44NZSpsIZ
gx5LMSBD+RfoWv+eam04BL40PWVKNV0TrZgGsGB9g3KS/hxtpLCafpJkM3P5qk7zueSs+mUhRkzY
KHa4ZYT+Qrkqqkp2qF/iwNNmnj3WuEjgG9P7+CG3kuhWHuJC8bh3OL0jq9Wea0X3pwvtm4+FoE3Q
EB9RleRZth5nTfU2biWlSqbq5BtNdh1AywFYaKUetw4nWSrZXgcZfgv5+FJV/taNeV8UIQ9ngkNP
g32Adi5RqkdgVMGUdifwtH0M8UKIbQi7cpV0Aga5XJgW/nC/TRPs9BOftJLcy8GVSKhw07xp9sSE
JzuhwXAFzEurSU5M8I293VxNZmP2a8IA8UvSW62LTZrp7d5mmTY9LkiHrGCooxO+unxyhaD+bBQz
SmGY22m4Ca3RgNvSYzJyxUgX2Wl9JXjoDCzsFxorHwVpXHXa0+yIFpgSKJf3ZYWmJfECha1PQpQA
aOLJeBha7XsGNOVOtyt5VdRF7qoV1slYJXCtzjJCOzMzhUUY8x4YJiG8VaveakPP5zOd0m3ZmLaD
j0Dc4WXpN1AwFDzEsVgN2mxdtRjXHxcm8TUo8/5CPfix8lx6NYhgF6IDdIez4ULMV26cbL0+YRVO
ibkpbDcKpc7FX6ZfuHJLaXn2+Px2qA9Fri0KGc2mWZ+mLgxWajTonj3Pl1LT/nBC6tJJZOgGnwFl
zfvbM8paCDlfz0++VH4fervbB5ZVuaok6Re6P384HwRCuBjIgEaofD4CKpHFd0FkFKe6JU93pL0L
zVVLLzQA/nAUKthlQ0QxS8/3bCcCYdmqjD4oT/9F3Xktx400+f5VzgMsNuBNxIm9ANrRDY0oUuwb
BClpCt4W7NOfHzi7+6lBBfto7/ZyYiRVV6EqKyvzb6KRK05mIbmTjQbr59nyehSI2zb8YoRPbCIY
J/x01SZVCelW9/VTyk0RlJ0ZB5UEgPH5KO+PuF+3ACOwWKZBwYyOEn2D02GQsbRgZIb9U+kfN6h+
++iPBk5Q+X9H2yI4C6ZY74X1cKu1s20030eb4dQAdYCAVC2It8qWWM5YyfYShvju8xkuD5j1BCno
A8O22RcEy9MJkgiAqzHF8GRX3q00yMyNKnnL0u6n0pZnSq4fvxllgF/GWr1vwsTLWt1U+qc+vzat
73Hy+Plc3nvyn01meWD98vLXtYEq4sjyXXl+7Xu+3HTbfnPxZgaZ7/pa8BAFe0LbRt+hn79R/TME
jXVJgNebSqsHHtyynpiHrnYLVJDSLnRj/JrWhaoFYVpOlPlg0mtBlertpZZWQMqqIpHqNi1jvQJM
NjlobI7Q2be8GazbDM+14swjVltdwe+/i/hCLkyj0vmA7FSbOAqVsp6+hnk8fus0hN5Si6eso0Tz
RVebIfRfI3xABh8lYNuTF7LUkZDBWPp2Kip713lNc1vjqDNobXYtJ7zYkLgRm9hM04fPv+Fqj7z/
VAPqPh0mBKKA4Zx+wpn3JVmdPX71ZkfZIEsBumTkafn5KKtdz1EGkc8lwqMeth/KbKejtGZvKDka
3F8ncu37OFcwvqjaLkgpux3QWv1PR9M/YsD+f5ru/m/Telx6uJ9pPQ7/5/jzdRF7PNF6XP7WPwxX
BWbrv2sgbKiRY3+xRPX/prja1r/TEIK8QwmI5t+S2fwXxVX3YL+SAXCXwZGlBsff+i+Kq4UrNAAE
zEgtupTv8pH/8X9POKDt6r9PtPuWzfCvqLKUdLmduQP4t7hoYOGebhYdXOfUc2ZfMmdEdUCI6XnQ
NDSjUBSEcC71b3YrUXKys6y/CcPYeSCiRq+DtNyYCmzavfyygnf/jPzrDzq9JJbfA96A0iqXH0Vu
jsrp74nnKNSGNjZftLx3r4Y4ri9nQ2bBmOrngOnL1E6mTjkKfi9J4yKgRYNqNRTq5GrujMmxCtHu
vZhBnmP0STGH+vK4HWFbZvE5oMpvx6S7Cj2RTYFY4umY0vKQOHYZs+W6LfewQAI87zfn2AWrvgzL
uMztl3FWl4XlYGWBf1hylLtxU+zEpdjWF6+qr2zOoQBW1fqPQy1B75d7qaZdkhkxQ+FswaQwHAlC
X93Ewfd6cxh8w6eUcibCvZO0fv109D0I1Y6D/+9yFa1DXEZuFjbYKL91CGu2QYLdzIVIGhP1v4LX
wn7RAREbB6+OLdpRShUgdFKKTU9C7wW6sNw2oM8tcIUxSh4zjY6LQtBbDSrVhQNOMPBaFSFqoWMo
tQvbASeRJIIN7kdKmt4aThE2Pi0I982Vgyj8Ftiy5RsTYiibGeeN2m8qy34J894+UFpFOVyOHqam
I4nKvo3nHhkVDhCaSaGezntlajt9iwiH9r0q2wzNJqOVP9oyxglIAMJvtogbhih8I13/WI1qGQJ/
WKyFWuLL4ziB6gJ8hQb8oZjj1AU2jlmNb8B28PZxaCCnk1dhRc8biQ2Pil2XetS42pYevyySFi0v
rcI6A2eL6xb9BiyjFLNzNz1eXGNAWaSy/NyOEdya20m/GRKPKcdjkpdXcx7qLXKNZoP7eyfzh4mW
yZ9RN6hL0+8gQi55NyERjeTTDeZFHgqAeTO/Rdos941WzNdIOilnMvt14AErxCPaddFwBgSBkOnp
KJPhIACK1tBbhXlF0Edg82MnLQOvqc9Zf344ne9jEeNcTG4tkB+roIspXNLEbaa9qQMxkMEqo/Mx
aSpUv25VHEMkinpf4jGKH23phT+zKml0vwOke+ycENHXP4u5/Jyl+UB9BRUCLpfVz2mbRhCSJ6aO
ndOOgvOwCzVZHZrJmc80zk7jHweVoG7zGTHyWPLID4bWLhr4elfkL0RH7BlQ6gq6xE1xLI4F1olh
Ejj2omFOkeua+kT+9U9mugy/DAyB1eRSps61Cvnz1HSthoPsC23owkcNAYIHnbqtBU5w9/lQS9j7
V4h6HwocM+UZdMHAYqzRYC7SvxE6ZShCxp1xN6SzuXP7ugs+H2Wd6zEh+GOsKBaXZHprV+1WIIXl
yMp+wWQMUL5jNzc6qPwgnOPpyqO2+/z5eOtkWyfl0KAAc3GSwYLTPj0lQAJRxxqcRbYuihdjDdwh
THvYyaTGYQyezjejHuUrtND5zHpiI7teUXYMwCE6gWhnL4oSp2PLys1ynL8MdNaS9C3H6UmgVAkX
xI9l0xfXKPpSNAkVu3Nxc+tEuqUNU+CR5cYI2BRzZNT73MZwE6UfJ292/eCUb3qtKIbfu/jabUsL
ZvNFp8uZWxNR3reR5lm6Gaqk7mHvoFNjZc1kU9oskNAxIUBfDK1J2iA0YvWeDC75MYsafR7sGev4
AgMQA9IeJrwTrQvJosWJIQ4uylbVVnOwukauaBifKhSi633sRQ7aXI0S/sXyhek+qaMUmUvTybzH
vHfMG52mCG3vVFARngsMJKnsGcpQoRjSaT9oCxcViUzu9BeF0ZfSR0cJZbkSxEXQNoNV7Qd1stSd
R0vA2zgkhk+jWblfAbHzh5NOz8ogzVXRBwJW0qFHZIoWXWZo48FyBL5ruEd65k0ZtiN6QELYsOZL
3ZlvOjeckwOeb4Z+F1WzSA+Zlqs2cCKrv+UQ9FkQ2lqWHmqziS4pnFDKMIY5ifZxa+QWpw91qMDV
okzlga424WZUq8HaV6LFu8uDv8In0xGcuvOKeGn0JHXY7J22GkbKmSOdlJmqtAhwl2ymTW4OCHZF
jiv+bp1FUAyGPPe9WWvIfkaq8AgxWFUEiZrXw8JIUQfAoLqUG9TwgO2LgdiT4gL7NOPF9pCmeT7v
UFRykQ5FUpOWCofycbbE8JSX6pQFhdNY9/SRmnyblB4eItjN03ySoWM+I4lc0tNqvWSDZREmc2rW
JTUwRg3uRmxTs/ZRus6iK62CuRAUdui0FwgTJv1mdrIC5w/Dy7t9YufRU1d79XMzz+J7OnnCuKyN
pL4aRjMNt2nWlu62R7z2Rz+OS98Uf49iq8al93Vu9OjvMYfRsw3xlRSoRrYG+1mp0FqaEyN6qmRk
4ug2dsKh76mndwpWWl2ABcuw04bGmbdYgtl7YbTzE44qssQmsyuJ1/jRFEGl6vGukwbwz8lEmBqh
ORuDxLTHaOsi46feD2GrX1Le1+FZOOWAKhaN9ypop0G7o4nUzFsam2GAzKlt7oxyrpPHLEK8+0gW
58Y/UpIuJKAyEd0KbLu+Wm2LH1KPJD3qrLqeJNcqpDcEHK0B2BW+WXgeFZOnXgmlwXHXGfUxxWjI
GfrtLMMqCQq0WB+FjcfdFuFN8wZtb/crgEvvpVISMicYVem3El1TRCaNmi6GPocIbyduSd4k1ew2
njStpYdSuLjWDtZPFAC8v41Eas8tPTaU8K1G6BeNMvMXrLGyk4MY3CzapCCgH+Y0szDhQ4f4XuOf
RF9QFOO2K8pxCIyspgPGjx9rHEKwuER/2axuLdG0N+YokEKtnBrWCk6MmBjnFG0RsLCyR0XtvMk3
2t7eEs76ewOdXLqtYQ4aPWz0ewue6FNf593jNBslOH7s8h6U1k2OkRwsphJ58BuAeqAqwsdCPROz
ZI6kGtoby0o17Lw7p79xlaV0oigDSnwTJsKLqVzf4LPYm+33fgCu43tuj9eKmlrOW5VSX/GpzCiL
ZStGaP4Utu3fjtMPm1qmE5qms5Ld1LYiv8SA6qOgyqbhLtQKZPoJGqBoUqso7hCqo9eUJg5fAlnC
9t4opwhmmJHitMhagiEo8P/6MVnYjRIRC3wtIoSVajREhFoHC4XwrrYIbJvBVtRvQk15u0IxM/dK
ntodb0vVzJADxUjrL0fUWncA+6rhdpIDAmYBhX6wBlLOay8fW7JjXUuGDc1xhNyJWbqxKRyjbLbY
EWRjENZJVW37bOywQx5L+9keLYm1Hk2v25r8I97mRt5VgZIifuqj6Zi9pKlufkXND9WTVkFrb1dn
2jRvIL55LxJMZrv1WkSiAoT1gTUiWeeW/qR2NidwVGZiIwS/23peGgVtO4ohEBjHUk2tBRy5MSui
ftNDKxo3QgsnwlzetnSp58oB5gjdhn7kGKkUDukjXibGVBXbodKTr1PCv7sFSar8yLSSpKJVhlwG
GBXT9Z7F0LGPcPySG1OXGuLQkR0XQV/auO5Fs4froZoXOVbSdtcZ27jKVHAQsn4ZC2WefNea8ouh
mxA6D42m0XdZ5FS46JZ5T9T0EjwJ1RGbUr+g+iB9s3Iiazfqjl0hKu3i6Tt2jZf4iWJ7SN72k/0A
gER8z4uR1xbJibzSMWXF7GeMH1NLxZVZxGFzTT2lsoKp65b0j5Y6RHOystHHAq3ukWRIEYjWlSS8
73qrvTXSrIw5VprzN3USDGEUM3SOekr1eNvLZn7tAafPuyGfxi+JJfqv7thXiu8qzdRtKiyRb53Y
tH8U5BGL8QR43E0Da+8+jVr7ezuH89+5Iaadq4TEwMzGrHJjStfON7qQPCIFjbRHNUc5e1GB5b1n
4RSOssOAFP9W15HXvxCYOILG693jVCY8A001HR6zGGDilllYVNpBTbao9WfznTlUOBMBeAr9mnY2
LlnZ0L4l3dTeyqIExIgzdRZtIZaHb2M9TiyZNS5i307RI3U51RIeVCN+oOQsf8icP+vzdEv/Jnme
rkSWmFtZ3hfY1KGeWodusYMxZj23g9Jwwc5OYu2l7oxZMPcKQOuktJ0bK4+jaGsBRAAnQmS67ly3
wuhs7oRCjEDswzdSy37DaWHS6OJ2ziFtEdD2S89EPnPB1x1T+nBfh2jIsfJ2pvahpa1S+32Iue2G
GzM6AjBIX5K6tdmRqZ2/ki0l3/NedwhcyCjTiZBdcodYPwJKNbC/dIfNAe8tEfXes5YAyjLycYww
OcHxE8CMMV7kUTtcY5v9BHu1vC0LET+1hauZ6FHKudk5OPzONEMN81hnRdoHtSi9aFeoQ/eALYOD
fS5pZwhrX8HEQAtdIoHgnOBajiAoIIK6kVhhImt8o3eWl/u5qQ35FiPZWhDUCFOxFtPRdTUDVFOv
tPWl2daI4uazGCnyjFWCPYvmjPIQKap+yKekW5xBwpsZETW4L0klv+g1VslcTxZRMDYHRNUj7Blw
JT72Zd9xSWv5aG6qHKlJX2b2+GxyTtPA0OuS+s5IBNaTCfFO3Bi+QA3S3I3A1E4PsN+LpV+PYlI3
9ihFfZk0ItuFUCm0oJY4kt5CaM9fK7VEFJgTg8sAHsQuBpMzxumw7MJ6pElTCEoe+aCPZQEhPS66
fagZOUZ5nZPgl2YpFdG/77znqKjLO9TU5E2qxUIGpkvn2fdSpdePQuCjW8atbV8XJtysDhA0OPdR
H4ZHVOIrPVDKErKb5jaQN03yC5/iR3JY4kpGTlwlLJEsh2IfJrC6kh6lZWRuJC3xTq8JH+ow222Q
VY01BGGkDfNOVSbnrZim7E6iNUqI4mq/wFKtJ5LwqLq3Z5jQl2rTu1/D0JLiYqrztkJVuIjNK30w
wnzaiiqpwmRTOdAu79GawzRRVKYpdopSUkJK85I4pQ1V+D1OOyVGIN00bgEqpWAtmi5pD7p02tus
SXV5YeqETV+YKlUb5FMLL9DMSZ+3k9JEEcwAeyzgd0/tHVWxXt05oAKumnbSvuVl7n1XK8JBgKSr
ijexoaWN36nkIIGgST4HGNUa2s4xC9BfbZz2OHBYXAthGwNo0e05vq09fAWVcC6G3YgDG6l601TT
xkZAvAWnViq3UqrzCHQcHwhuErf/4Sa4kpMA8AJb4GVKd4BpN+CSDnwAa5w2pftFgRNbtMksjloD
ci8UanVh8Yizd3VfJw+u6BDxT+eYcCl5wNzVfY8kftxPWOc53uT89N45NFlRYAqXROEtaQyy45Ne
NQczKUzgWw3gB1xTHeKwMNQ3rxQTmLomfag5aluwoOQ5Lq/yBzaF+2anzvUcRxsVXsXILsO1xHa/
8ozFSSUcGoyFuYy7V73QO0wGAQvfuo3S4ioRRgrCqlVWPumEtPBmkqjZxoGJ/gNi1dEAn1FXpXgS
uNI2132Vx3Tr+2Vio521EUy7Tr/FTNQpryYLbWXYCkn/olDpg3rPExkzw9laJH9tNhkBCH3rJif4
Q/GDea/0Q0zTjg5AT0lPeKHf4F3/HFFCedOT0SR95hFrQUcS02XU1u2TXQr2Ht69hrnv9RLWqkbh
ahNFCcCKCKw1oSxtw/vcg45pV3WFObHrOVcQjYH6hLLJ7+dYzb7wLMVM0BxAH4Z2pjwXasE5XKTo
n3idR09KWRVHqzY7VISy4akPpdH4Fc/j6yrDpfUOff1esJS20tQUdvXuFrD0/Gj2ff6Gy2034Odt
Wy/95HRy54UR5kJxL8fYXwQC2zcxtsX3KXS88JIqR6heqXjvDuBBTIghpZek3/gRzXOu9PaXZKzG
B0tMBCIHfvd1ij8JWbozeQAQI5t+gRNO5X2OJAVfJY/cBpCpFtsXkRNHSPUL2Ki2hGriloOBObg5
T9/LPn5DblEKGN5GctVR5iY3KNx50yVEE79wYx4zk4ST5U/tbH1tqo5CLrK43g52vIMUNveIF4R0
RotNhW89+7Sc1Nkv0kHwyI+M9ltLdYgGwyBK88aOYf/u0XGI5LXpCqfapklK0W0YvfE5cYxO+aq3
Lur5E6uXbdppbvOrSLcre0s31HK2btf0D86IrsAiZD60F31u9PqzmCPQdEYTC4Bz7lDYWy0t+r/j
ojfMXaIiD7uLFAcZ4Slq5ySoQNUPFzjRQRYMqetCRVIRBnVpQt0JFu1giaLCFmw5Xggrut7bMDed
c6XEQ6fBx2uKS6usOu2gFji1+9y8fbqLarvo/Bm/xIpMya1wRkC7XB4MPRmsXaljVb7TZhNrezEa
c7IdaiQcSWlGtbgUtemlx1kpENdOcnNCAdMWDThPtx5Rl8q1vL4CoxumX6hAFOZTPOEjvWVBnPnA
d3GGXaYsXzyEHcv9lujRnZQGhOcR5QwtGNW8f6yQnvnG+wiHZDRksqfI0E2SPBVs1i6seOJ4CYlP
0KPLrm1S0zRvEBU3sRSZ2zrfO9GIHYsn0NAMMrK+JbMoyy9pJJPnnm2VBJ3tJHReaHtzFKq4bA80
r3lnh81AYqWBo6uB68bT18LSqP2P1GXuE3qWha8qVf2sZWYngjBjU1w5nre8L400t670LKyMhR5n
fXNhkg7B0FvlY54hm7+llaAkwb9R7tetCiGFlw7p/J+VFwMKiNXYoGP6343V37QFP1RTHaR/EOKl
YAp0HJrXae1vnsd6kvMEMyqzh202CbytMu3MIB+Kqe+DUCJ2gXQR4VYtgDSzqdBQzH0ZO6fFwMMI
D6WFcp6jl+SreD2fqbt/KKYyHhmyTrVjoRKti7fQVKREvi98mb0W6A35uY9FnIrjl1PsoJM8RW48
7ZQRx6zPV/PjRHUYclT7yWZZy7VhWwNCLrZlWhw9B0PZGBuCK4UcI2jyOdxYaSfvPx/vw9fjrtNR
QnRA6cHkWMParBoD9Ixi7NEbonk/pq4TqGlbn1lOa10fPhkFnvzpHkFIfZiEYVDTyJXySi+57+wI
1yIzUqozYJiPE0I7A6dE3VU1g+2yAnIovSTpdkRxBNvtkaRm9e1kFd3j58v2cUIQRmGHQMFhFM1d
/v8vnVXqPzIc56w4qnih+hGPRJ6H0VtHHfZMG+F38/l1pNXxGkdkeLBEKo6KK+SFQdFuY3jV359P
58OuW+AOKuqHsPN02iKr71MPSH3H/VAcs0Gku6Z0UWsReo0NSGvgDzgrF5+Pt1b74FQBbMPbj++E
kRg9i9P1A0KfNXKu2+MEv/pFKFWRBw3k/C9A6bNF9KQ6FKN4DJEouFNbMe6UxkByBpSGfT/bEtPp
EAuw0ZTqmS7Ybz7swqjjx0Fq16F/n/4wbRJNX3HgjhZRc4/ukel3raVczFX3/fM1+M2HBRLFyQN9
ydPOXm2hhq4F1+VYH8Hr5gGmIymkCiM8E09+Nx9It4vW6YIiWeveZah8V4OZy2OSeTrFn/zHnCl5
ENGUPjPSBxQa35SmC7GSPWQucrSnSzfyZHMG0bbHDIeCbd6V+oHienHLY0M7KHU4HOpsjm5aAPhP
WdMAXJFDdTNrrf7T6oU4EwfWikzLFuNZv2ARoIUS2Vb9sLEy584tpuEI8joBFOf0PFq8KLH3GckB
6GmeP/o21GvnENe0ITZ2i67GLuGc3Q19aeIGJmsw4yb4QQjLHuapHk/+kKaFN10UOlYTQWoXGrIR
WScOVW3kN4pTiB+4LSm3rjVUMyYoBQbj+LPj1tdQKg0mJN/ue8L/rZKGEJ//cEsttyT0w+UbAGRb
x74wT0uafbb7Euexdl0mo/ZMzy/dfT7Kb7YUX1pHsYadu8AqT7+zU9YuBEetO2JmUR/JMeub3tby
nVlb5/i0vxkK+L6Gz4AB6kp7/8a/hFnH0HI3nUN5zJDh8RWVXDV3iuekboozk/rQwQResGwUDZo6
I64V3SvFEvAti/lIU2U7K7a7JfsctziG/rSTOEGC6JzS04e5eUDIUIkhqVmQxPYqpYk7MOula8ij
kNNzia3fF3Jb1W+yqP3yhx+MkTgI7jI5YBRrXeXe1ZUiq0V/dDvKOmGcDjsIcRpm7ni9fD7UxyDA
WEsyiGYSvWBAFKvNMVGxCyu3O5phNN8qsgzvtNYagwz3uaCc+2iLd/GS8cuXkcflNyXruoMSR9ZG
jUf76cyvWdbwpNPPrwGsD45aA3UJn/7010xZXqlKXPXHhOcdhCHHPsCi6Hc0LunWjpr7ECZTCJu/
sR8cDJi2PLatJ4gIKlUPb5/gnvby+U/63VdfgDIoSiw5nrpaH8VpB2r1Rn/sOjW+hrujbqPOqi8p
K5/bYGulIDgviNDD6Fw0WkA9rBkwhV0N/aB34xELpQm52pqaHOhBD1vZuXWmW8D6PHvcTh+fXA/d
PN/ILG/fWCV9+Ezmw1+Ld/Tst/pEOd/pMyBYqtMWf5sIc1NG5CV/SUWNJ2bDQr3ZlCqetEFRnrIk
Uh8/X7ZlWVYfkn0Fi4hIsDAIVteyPvbhnMXGeBywud0jKQeVzQ2LM3fGGnb/vmJ8GxU8E4/dD1Eg
oz+qTXkxHQstarZK7dh/zRBad7VR5Q8R2tFBnUvHj/Az+svBpesOySlWbBrldmpdsXNk3l2BcjMP
vLzGw+drsGzW9Rqg9cqbQKeZoq+PlqY3qUQKdTqOmtX55Cn5NqrFSx1yxqJ+OOdA8bslNx1DR8gZ
k06o3adnx6OhsHTzpyNdA7qO4YjJm8AS648nBT6GMhPQFVjt67jbGDJUAaTPRwUTNwqfcbsvsWD2
S3VWbvRW+x/MihzFWAj6bCPCwums9A5TT+GV03GwVeUSbRU65ogobD+f1W/WDgUQw6U+Bf8YbaTT
UfJKgO0WzXSsp5mPk/XKW16W+pnrfmVlvBzphSUCWBVYBGO564zL0ge39hLtGCZOc9nV1oj0WRpS
WDVp5uTUzvay6fILrbbp/bdmeCwX7Vq7NbLr2Cpqak7gCCZKVjeGCwZfcWNSbk+76lKajsWQFGe2
8Md1IRV1FhUjFblTIIOn62LnVlWEiqYdq1TEuwpLUr/ozOjMMf4YYxmFxUEvCait8a5j+UvW0Ciu
0dkonx2Twgv3Sa/mmwmHto0nB+PMhD6eSVBzRFlzuWY4kstP+WWoRDWkB0HaOroWdfbJMfWgdxr7
xjPr8ZKuuLH5fGN9SFPYswyl2hwYQsGatDWhNwWqSPWOzFvbo6GHG62e2DaqM3OtURqPp31Fbejb
58O+11dOYw8kDnJ6CjxcJki5nM5TR6BHLxupHEFF6QeiglT+qmok7q5KdvdfSp+Km3JKq+7eBSfb
0kOOrG+hntdJMNuKd2xNetIBHESqoJ//tI9bavllS7kE3UweOKtsNBpsr0QrIjxirZt94WhHX7FV
Tc+M8pt1xwGOkoKNNhbXz+pAh3qlhwpC5cd00NKtiszixhZaTWsuauq/YjuO98hEijMH/DejsrX4
klzfgAnXwFetNkKI7jRReEcoFwKtsp8ppMqXJJPRXusKC/OSLD3Dm/24pUFF2ou2Bik3s10taDvV
s5chZPTakPxeeMkImDlrqJO3ZbRP1OkP9UU5p6C80IVECwu0Px/ydGvVuqL2ST0Wr+wxUkTutZsY
ZN2ZmPBxm3hcMEvFwbEcrvYlU/zloNL0q/VG2tWrbc0/vATlH7XNz11m68DDK9vmqcnhpEwJA3g1
CL0jvQLNZL1WoXNDYLKvnGg2/Mgqrf2f7XpDg7LC+4GkniTbWyunFQZvu4o89TWXbn0FCdoMRiHC
289H0Zcf/OuxX4Zh9/HQI8xRJ1yFN0dTgIZ17AXscXOAkYOnDxeV3ifxde0o1jViTphiuhMmREMG
gW9TuQBY4CH3VuMr1OGB4kt9NxeagfRFphUGoJfI24+ellT7AiVLiVQz2PmNUmr9vTe73lOjKrhH
4nSa6Tya1eIcK2K9v9/nxL7mtCDr9xHh3WPly/OZpRu0LbbR5XbKh/pSzuYtCIE/tANAKZkV/Ndo
awc0kJFeWHiM1kkt2xhSWpvSCc8ZX33YeO+jvMcKuulQKk93N7mG1HLTyV/rJFWCLDNQAvbqZpcN
/c/Pt8THkcg8F4D4QnKiOr4KhCgli3lGKOFVZHy7QbF50C1OlDNsgzN33W+GMlUeyHAM3ml5y5H+
5cjmRQ0wNRvj10Id9ausRAdwxuXokuhunwnvH56tJIKQGKCucJMT+tbhYUh4dfeFmb4WEonppjKx
UQXUD8ZXVipu0LHC08etVN+civBnbyCKajTGcB1NUdn7CT2dM4nFOl6tf9Bq8opo7bR11PQVfA1N
OS1XDiLTSe0+/5y/GwZitre4IS0czeUG+mWNG83N+6Yy0te4Eeqm8XL1zjWG8u3zUZbs4DSM2DYa
i4uwNckDb9/VKGUMVGyQ5ava4wNtZWp3TVVkvAIT7z3LHAvZ1vAwGZ8q8KxhlJzpcayvUdbSdikC
EChVtFHXbwzH7PIIeF75SgfMuU5gefmElW5vWChpI08cHdGk+R+s7Mmgq4wp1KMaAJ5bvkosaPc2
wvP7zu37M9vkQ2LG3KhuwjpkXsS0tVCUZeO4EYdl9RqlVfStVELkbUSNhsqkddsKBckLRBVprbNP
u71Y9AYTLMtKH1DHHMzEfapqlrf9/Ht/DLHoZSMnqf9DkXxXg/xlVyE6Wwg0j5pXE/z1daY41pO7
0LoNGoM3nRTnBBN+M94iD4uFwpKdood3ur/SrHPihKfjK3jE+XYErH9X187o466r3lRmfE4WXF/K
DasNTceEvg83I+1/ZzWgUdWlYwAIfQ0dpEt2SZ5buh8j9JL5snej70o6uE/erCo/ZDr2QAPm+hC1
LTJHCKrkfzUju3VTc29eWKTIth/bg6duashaqt+VqYXnB39411QFYnrm6Dp/2xJoRvD5Z/rN4acN
Q1GQCADVcl2wN5HMyTTZtq9e1mlgUdz2CqPlcPeno/A+Be6mk63QvLVWpZsuHmg2RLN8tfJ23Aol
Vg8IxPyhLgP3LKMgRAwVHilZ6FunWyDOBluaoOpe7bnF181N0w1oY+NPwyU0YR36q0vPzSRtXX33
lpAfx0Y6v+Y893ZqPIdboKvxmePzIVwanGTuPILm8tJbiMm/BuWFVNGokde90khR2m0UmdBJjCzR
tqGQzU1ijOoFYLkhw3eZinHreNmZbPnDgeIXgMWEIrXkSGzw01+QzxNvHUPtX2WkmFdTP0wAkXvg
TvkItGLBmH++R04jNPcunRpc/2ykApbO4HonakXXtWgXzbQDq2fglmXl2908Aqi2jINlgQuJ4qk8
x9BaSYb+Mywxg1IstMKPFTVAKbKrLG0+Ssw4HnKnlAYckx58bLp42iKM78SXjiOg6ZtG1KsXNkxs
srgExakzp+Q02Xn/KZZDOFn6gUhXvkecX0KmHgPxwt+GnzJje2n3BcroMcUwbAS7P2pxvg/FXHnK
Q2lF92V9ICWQ2axobDgccFn2JZwTMDlReADoee5xvgqU72PxQmA386LEhnAt3G2ESp4hjKYevSoW
TmDNU3pXJiGYVlLzHnN6XTSPfQLibEO+twgwy14s1h9ZfY3gVmhuSnBmB3B8MEcMUanGlSKL+raw
vFC580QqLkEQKY+KRvvdL9hdj65Zt18/356nB/KfWRBXoOIjpU6auAouU2w3I60TtqettQ5ECqnd
mlorg3ocpod5HNRr2Cv1W24U/c2UOMWZd9hvNscC0lhqpEQfem6nxzGeWiVDQXE+9prdbloFoFlM
wgQHoyn/fB9yDukRUbzks63z+34spFRkrR7NGMp25yrzhRdmoL5aOBqfr6rLr/7XJfrPqr6fdxA2
C69rtapGpk9GgbDJMQfgucGYpfrZhqketKrbFDhnpdeyVrzLCE29Pypx/OfIkIkR+MSZgvmermdZ
JU5fQu04jlndfE+4ORCoNM2lEhpdzFmbnOuN/+4DUtkwlqcFRe4P7YuyiKxsVjhyUB03kIXcSxTn
3E1kac2Z030aupe5LdxdLnUXvQZaP+u90mvorMW1cTRzQmqQmnGyM7y6/gbzHAJTHBXR8+ffccWZ
/mdI5DMorpDlL3rpp8sJ3VOGfTyrRzdpemfXuyZOUrCeoofBa4djMVbgm9G6TO9706iuibnFtYMq
bVDzL565ST5uKp3rCt03el8849Y3NKjKnnxvqf0CpoipRyQkZvMEz1FHeQ4+ZJI9xs0IxLKo9O+f
L8RpPvW+DkvJjLtzkcr4AD2alXIWtjSMI6Yn/WU2h9lG9UAGfz7Kx70EZoamHsVIjqm6VqBCgWOO
IBl6R13BhlcdPX2DJd2rQFDxzFb6OBIQGPYs0Zt0nk7i6XfVx3bA40Amr3R6tY2WmPnOapRu4yqx
PPeO+bh2pLwqphVANsyF4Ho6VkRnvu48mb5Wwite0pG2GqBJfSsEoN+mF+WNBvtsC5vWfFIG2yTs
SzUI8wJ4JwSTwOmAAMdKfS4T+n/sncdy3UqWRX+lo+aogDeDmgC4jt7JkBMEjQiPTPgEvr7XVVdE
U1cKMarH/WbvvZBAgEDmyXP2XvsPz4D8Hx+4MVZuAK/H//9hX161Vvrkg1TPs0/GRdDnYySWPt2Z
OZPRv/9i//QImCJAZCPkwWS9+fVSSIxV5jhp/dz0qt7payM2IrONw9+v8nupRW4M8fXkndA3RHz0
61WGpIdw0PTyeVKVddHR52G2q884YxxylVblPSJ1GOK/X/QPt0Z6I7Jn9k8bLsnxq/3wFCGkVQr/
jaRuBsU92HZzWJriP6+haHTCZztqU1iOTpc+LyPbSy1FyxmgSqDzgazVNc3cNlDhPymQfw5bf928
HE7bBBocafkQEU4eo4ukauwIy3uGB5RidwoG99VPtezcSkp1zZveMnB3HQCLheFAUagQ4uREm3ue
G81+5u45BrsllosKkiltOnL4Krni/KT6xScDfNMIZ2vtH0yVdeVWL1zjzMl1kktdbc4lNl+vt8JR
Qe+nHlX6e4PVwQ+VqpwvipaDDFvWHvxax/NQOMCb/TYgAf4uknokpM3hZ0QSMUad4QUPiF2nt3EE
MomnqyCXJjAZPRyQaWovq14TrVdLaW91fUrbiHbChFsYLOlrJ3RuM0cHVIeoveeVcMzBPO89rONM
DpLizZtaE2tMY6mbeW7on4mkEyr2ewNzJITKtSGdqXO08wF/kB7VotQzLDt6msQFrmItMsvBJLWv
qO7I4lLvwsHkzPwlweeuSKF7dlYfjkA36P5LYwHHjZCdi0vAosoI66Gs6Yt7Q9HEU1XgPW1Wq8Zc
p1YHIC8mBdxvKEOGTe0fMR9Y7/yvk+rqzzqZJ+1FhEvH4DxkBagKqDr4pk7e/xK5MIDb5s3XnHBM
3+va3+KNXf2HRsAxIShCbw6ieCnzOwNPz98/vhOx5e9XPznNGY0EaAUu+212wksozfJV3NuXw3f3
1kkiaUT5uJNePOz+ftnTovn0nk+++Ybs29TWuGplMQdZnVc8g2eaBqm3w4XsbNzFjsZ++mR5O93/
T696UlSWLo6CZJi5V5wvnsfz/YrYuOKxD3hnk8/g6X844LCceWxZjOFpIZ+W5pUyJz74pnt2cTVm
oURHc15ay4+8TuWNDI7G8VxT+5xoytA3e42XzJYPnU0kB4iTLG6NodwuoyMONjv7Ye0zf9M3dJMg
zqszjvYYYGVlHsBb2J9s739YlBkW6OZPHtXvCacZzk5l5sQxNnMnOWp3COtdYWz+/hr8YQOlOYOk
HYIZ0pVTNMhUtbO7qL56bkesxEswB/GyTrgv0sX5P1yK2ojIE9ht6AxOvrLUtmYYABZ7NRC/fe2m
bmxUQ3AAMLV88k39YRf9CTR1eHj6cWf79YNOLCyZE/jjZy0z8Q8zuKIuIPn0fNLWNgu7IQnuBqmW
u//8Yf48R6OCotd1uo8CI4E25SXN8+h0ZkyokmCClVjRmvvZJ2Xm7+cI2vUcJHg90Bmg0fn1Dg2r
KQLlBs0zaXYVlnTsa1mWlfvZHrXQmrti+/db+0MzBrbqETCHNAfx9SkRVJNjNdtVxZCA+e2mbZl1
lATax7050Q6F/P9Nq8jV6ij3zmzbyjc2GoNPSrDTNYsD7zFmi9fUp/vGRPrXm7bGRSV0KPm1FjjD
BuaVl5YzJFe1ZuTXZFYm25ofkQznhZz0xfrPkvE4QNCQ4Qlw8OYFRmpwUmzaXpECaakN5iRG/52X
+Idh22KLV6o4SMR6+2DuxSe/599vmSoGVBvDZE5O9Gl/veVmbYKCCsd8TvtVnLWYt9tQ6jXQsEb0
N2U1Qyvox/rSa7t+46/9Z2ri31Yh7pmqkAfP1Y/au1+vP7tVhmXDMp/t5Ij3dGx1UazOZ+eLn2r6
j/Uap5efaGCGT0fPxumXMx8R7kQCOM/02HsjTJsjQR4LcnAuZFqNRzaJVsU2Asjvdo+JEAhLCqtG
p/EiokyUw1UGiv5xCDQAEaLucIPV1iJMHFuTQ2rXPOt3kF3881FY4+XUJMlmwMrTR2aFxVcwCz+6
tZJ3Yq3Ea9KszCXAkhexwdtmRX27FFkMDcnYY3uXbohUE8tRak3ro2bOZoZ/P8Fbr9psfbWAAiGG
rsy1jVxYb1/8pMOIkphBtQdM5h+MZer1nQEMeYoaSi3yBPpgmUI9EYYTOljMWtRgOPs3g505F1ae
TsdEq05eC1Gbdtg1jX6ljQ4/vSqUdZY6dv2qytwGMMeLG9VNhpOY4PSWDAzfnJ56PH67wCModpco
Msg/Wxp+29RNvFgss+RHHU+HpwElKsXC3SplP69dkixQo6aaBAxhu5TYhnugxkSaaswiv0n6MpgO
WHOx8rYa5Xs0dFmdx0tq5regrb2vkoTMLpyVZ98tJJZcGTyT8aypAu2TDwtDMa/uL++cjUeIlq5j
c0pninZSd4FlMOZSYi228K1jqR5x/3ZN2QWEn/pFXDQ0vnAZH/ERptUGZFcnhv6QreSq2IWqmFJO
AAVj10sTe1cNsr8Y0n54qbKCaOhRc7oz1ZhwOAxr7JwwJ4HifNDUsELV1XNvN40ToJgq8YtXHPfu
GgJTX1sSPnFuTsNsvrgVluWwA2iSkNTgqWSrqrlE3jRPeOuhBkHbE2aD4S6A9uRs13Ut8sioevkK
Oknr4lJo9YM7T2rZIXC3CZENEjKcPU3C/ud1K4N7IGzNQjPPh6+WZEN1DzpOOVHezeKaw3R6WSDx
H0OjF+tjkKjl3PTzOiEUrU8vx3KABhMsGiYcvSvXWy8fSy1OS6ntx9kVagPoprhM9VElR6x/Q+63
D7wlNsox+O6K0bjPB0j3m3xY/JcqFetljenT3MIk0/pwYnry3HS2fg0GZnmk8wzCYdIdVrxymbwf
djliLmQBTm6bkvg5lH2iDM6HSqRPooeGFRbmCmUJzAmnJ9LigchYXRG69tDdOaKWQaT3nUCNWY3O
K1kQbcLDF47cYODVAEGRZf/QEsuhX9YDjIq4CExV7GRQB2s8tw0RCVVSz9rXBSByH2e6kbZx0Q5q
uazaFZ7Ais7mWUkhl6vAKbXiFhJAUjy5MnE0tIHtOONKJla5v7P0pPLhRhSpKPbjOqkpC/HGuNXl
nOloXtDdau7eQwSgRaJLxZcCY2VPVp1W2nGRljqBHpJ+Uyjqatwhx4BnwkmPeByc3PKH5w7DN39a
+SOGky3zEZzVPyQWrClXkpayXZOkv6g1LdPxQBckxSvG42cc0w0yHgnUgWK5TFQYdWsGxdWSKBtw
tuyNeSeGsgULNhbjfrZ6OURz2clpQwRRVkf6qC3lee3r1Q8aSO7FYhdOgRvPdIAIzYZ7SX+0e7Wt
3m4jRj3uOQy7AienSjh0KQnTBfASHDO0R7kCnqTXaUSIkK92R00v/wW5TraxGAysB+axjX5GpNCi
bWjAmRderzI7rrUWOK89ou49GEbf3qVq0ppDM9SyvJhcwnmvu9ny8HbQqjoYYy/OcAc3bR4V2lq9
ZlniXfmJ7/KwrVmTWIystAsNIvMuuU9r3WpLw3qVTG57BRBVex8HieJ+yTULGpaqE9gWVZFcErNB
ErwSRpruEYkHeyOjRop46as+0gdLmHFpzSOBvrPKmytbuhVxz0bS11tDTJAnmC9DciiI+vQObZaN
1h7RIby3RE8xN68z3xD+jR6sheAHDwXpKq8elAyUpyYz3a3JL/p7gG2bcO60mmDrmXl6N+lD3YYt
re9HBAOJszE0QsI2ZZYkhwGACyl8iVe9TkaL+cLMslWPa8IiJb9ms9mYAT9HLIM0P3dyfj6QcsYx
Mslrs1erzx0CQ+kMtOjxpXublkDjzoCfinPGRLAZOp+wFrhdAcderdIWmK726h0XSrP64iV0U8Ie
HNjDyjb73o5lN4Sc4lOk9XCHgLgnS/6U9D4YOVzagYQnQNLezh+N9JtaOwQj5uT3LuvTYJiRlVR0
dhoi7y9HHThp2HVrbpPT3jryCF/LHFotlqtv3XFhujnAuM1DiGKcHhJIZyktCHN9QL5FgkybtMPX
xRby3e8b64m1HC6YsFL7W1ks7YtsB8ozV8sLnqzlZWK3dNJ75pe7ykgOnmLTE1n5oMncIJ0yr0cT
/l4+vdkE1hM4yk1SxQ+GsbHyDtKtnWck5ThZDhGeFlA1hWwtRh4300zz3ABlEa1FJfTNgFdzCb0x
qMDe1mgH4nX2rZ1IOZNFbacnX0zh9g1TMa34gsPe+bK4QyvoPvW5uRnAQj3ST03J+VJBeU0kOQ+C
IBDjorNIfIaOZ94XTeM+ewnJZyEQl/GCiJghjQyh5S8sHHYd9QE8h9Cy6A3tvGS1r7R6hjKRLAtA
LSpJ2maDL+FGomAnSCmH3ETLKhHe3l0YOMV2ohfseZaeaRDL3MEPZxLCtmUlOaU3gkU2XGStP9p5
FXxl2F9noDTb0aEAK7z9YGUOu4M0zHeivdwq6vQyfxW5GmpYDkV1bg/E78CiEjp0GSVmMwYSph67
fspm6mjRFlvRLCUY1RLGFxCRY1ZPU+bWLaUd0DYZuOn3Vcur8axE5+CEtmhTM1y6oLJDuZLbvmGl
oYdDicOH1Tcr1DfdysanttHq1zYnbG0Pfk3fFUsONxMgwHJmTTXh1kAdMUSbdTV8dex0eJIQYsi0
M7J2P9qjnbL9eOaD3fjyDuGbvGnqDBk1ry8VYcWxe9skptBD0Anltetrr25rDQ3zpZoVdVbaWCDs
yid+24XyjY0yAg2qmTACdWDGQEBTA0v5nMqElDI3n/I3kIg1lDMa4ukuGc2GrLZC2tYXVm9y2/J2
NaF9MCDi8DlYzY3HNMIC6LCs9q5fCN9gkxlnlgs3t3405VCZ11VqJZf5oM+MfGwFiLDHMPiFVZ1d
RvWFDbhxKI27xa+JTNegXn2h86F757nvNwRkwYapQibIiX/fsNTOEfiXeXmcqfvJd1PQSnZjD49p
S5u+J5M4Y9q7U6vNlj8vkExm+KDDjoKDr0lAjSFDqVj15Mmmt7geysyQ4qXRXSiH+tqu43b0U/e5
87ViCV21ZneW3ZoQoubeqfYjJ8BvzNThSSv8C9qZC0X2a1YFHn1UBNWhni0T2U++Ek9BblRg5EDC
zRsgIib+KOHzJzIOQhGTwKK+VcaSzVdV0knnnd/fqD+WCfo0OKa5rp+1LDPpZgg6s7rIWDRgcg+m
dVe33VzvNaeouzOrUlm6nWU5uF8lWN4L2PTuQ27Yo7VF1mG8A91Yutit06GMB17FPq5n3GPbfrTG
MlaVsCXjwbFd8R9a4zmJHJ22SWbgdAUY1OFIu5FjrNOSymMMmsTCmaOw6aoFWvs4GaupELPqk7o0
jWr1bhZ7KtVOrGanYi/35zTy+YKJ703I82LlMpcxsgjR+0HskKdFSAPFU22QdHNY6o4qYs1H/TrV
jeFi9oIMSqFd16/W4C5sGEtbllt7qcr0AvRJflk0NKtjI+E4B4YB7NXWm2ibR8kosIbRq9Zv0GLP
lOu+13+dhmxuD5xlYCZx2/WblLp3JZdJ07YaDIQl7LuBVKapMXIzcliNbhwH3ucOXuDkbfp0cC2C
6Lv+B8dl/QFE0vDMOq2JrSC9axvYc50iHXPNA5GvZFFO1WR90xKSCHnunCi2Hbd2UXBiZdlYMuLu
/OkYyMbf2N8qvWg5eNStJncQhbort2tJilUGx7bYqs2lJ8Or1JNzSYTgRY38BhzEnFYDIIXVNDdG
UdWXVY3JItRb13xRWcsWPnmQoKJkao1N2msYFQQY9q2drrodDuOUN4+UYcXGV72IcAoClpYOHh2w
VNDVoiBt2djMZWHjLbo1jQhZh/WfmWUfp20tOoQwgdVGE/g6zhZumRIottRrDgOTtvoOD+Pc7fTe
1HdeBVTpQgpWnjLvDDLcCMG7qYOxdSK7S4s6HI8DbI48Oil5VT8WT8rR1XfdWMoGeq5Coi26Puhi
QUSfgn6n0SF3Jo88cJNpz8Xo8i+hyBkY8mXZ82vZm/Z74K/B3eLMRnGoNBcKoZYVBUe6Ovmut+N6
XReaDUx20J3nCfqnDVVX88WWNVehuS1qY7iSXeJ0V6ZU66uTtKI765YZnnsyHSncoIk5lLPrvM9W
506baQmkHg31EZ1Ifpt9XzWqsLgrVPqbuV8WcPbOQkybCXU5uPBBma3xNLbzHM/zXF9VIwZoYAMz
u5+BukwRJFmIfO96TfZdo2p/8ZJ0HSJ4qjqoAAhifPqWxgy4MOvsBxzi2noYFNMhrGT9fIkwepn2
yTExbkc/VL23QPWoThvlvICdC2QsQIs7sXTTANT9EWZWhBVq5gfiGNlghWT2yNJFjgXPlmMnN5t3
z6Io/Ywzi5k3TJdK9RZAmQeUVhDUsBm10b7m1OgtnJJpULD52N4DqAEfu4ppprCcaJEOBNNxvGUf
aeHqAnMsrkCvetoBrkQN3hIKqHHWGfWSxpU10XW3tGz8ks9HOKbt1h5O86Sst1aBpOA4cmOIhsUT
a13q5F3k2JCJ9poxNdbGnJnEY06voWOCLsxvetkdn0HnGF+VyhmNsSuOzyqblyvkAfN1XtRLcrAB
QLRUXVK7Ai2TLpFtiekRc9fELE0pcamXC2mL6KZadEfKsl6nLO+TM/LAENYuXu/u29prf6wJENuN
iTNXC8fVzuo4mGvxAOOyO88sulOhcMGxhVVbdfegkUdMz8Ow0M/UAr3fV07RO9dQVTygqrOoOZAj
F9lPpqL6ZVhvn+MtBDibWMQpRHW3gMu0R724XFbDflad502hWRrsnxDAMjsyM46Soaecfg5Hdxoe
11UAfBCeV3OezHL/XEFnSc5Ny6b5MVJW6aHK3P7hGAfyZYXCfxFYcs42vSA6InYKz7tOMtu9KnK5
vtW9NtgRf1f7nlWl+za31M5hwPN6ghnZAxrOPfMZp3BpcslMFWEiKus7vbz0vpwAbHFEz82JqFen
I1GvDeQNXv8Uw57QWFwkpgOPpQds+2bQbaU/1HxONgRpUJ90NcaEdUSyK1MU9M2Fi2odXiSxD/3O
crvhe6eK/P3vzfHTZvyvUy2aSb82SeGb6nqZMEtzlRmTtRsR2qh5JSzE7JMZym89q18mlcypf73S
rI1zYk5T80a65TXdZq5ENpM/Uf+CuBq2ZvDw91s77f+e3tpJy50gXYudidGoLBmEM7Rr8pu/X+F0
AnV6hZMOt9NIwvSWvnmjBRMejWza66w+ucbpPOjnNZDkoJdFvYJE8OSx5dJhHmQ0b82h39mxt9MO
/1nWxr+nuB8ucfKg1No7g6/M5g0x+aar3455tn9/UCdmgt8vcfKk8BIaYI24C45IrMWNGfZh9bWN
u816FtymN2uU/V+GxB9u6vh2fBCGONhme5j7zVvmjzs737Uj7amdLZpdle4b7Rv2rU9u8o/v24cr
nsxYzG4hUrjkii5+oqTbpv1ns8E/fqwfrnD8/x/uiTYjuwZNrjdd07e2Zh9coMxJclb2n4hQfhuZ
nb51Jw3mBPtv7o1L84al4oAsNFq8jn2visfuEn52pBv9tmh+dMan/KY/LhPItGAlHWXEzsn7Tk93
lcwNmzfvHjXHWf01PxOkLITlzr7n7F7GxSUs+vvlYgk/C1A6HVj9vOkPlz75DujfL25u+s3bFDyP
6gsnhXTuYt9609MrjYhT23r6+2fxx/XjwwVPvgrUzY21dF7zVvPFBcNX3P2RDu3771f58y/zw2VO
PoWVuZ9XQxNjCTG2dzc3ULBjCEOfXOaPr/+Hq5y8/hg1Mmukq/JWeyQ6UPfknyU7fvZqnLz+5mJr
6Oh5XBKE7bChh2AcQRWRIlfrM5PVH5fdD3dz8gFoBB4b0uBawo+8rfPkPUEwrj95ZMZvVyHClrkh
77lBfKnjnvxm2lWktrkq48101XyD8gtu7ATifXWLNV6yo8C2HdJL5lYWgUtNFVG9lS8FoP54VDbC
9aKvVVgHrh13QpsiA5Ec8lDpf/KDnth1Wb8DQ4d2cxxeM0nFT/3rymOZozzC+5IXZKMMyDmAqDLy
iLnKIjqfeR4PreW/18eDZSjHAvYFRgRySyar924NFVgwZZ21OQ+WZH0psQcwgp+teSBI1RzkGYIA
j7gUP6DDOmpZGtbHaXU4mauPCdgC0puYeN0++S6On9cvU7RjRXIUIRypVkefxq835bUMPuvj9u0X
e+Dqjgjd5/4x/RLc0kM8ZOKKdJjPdsLffuO/VEG/scPqoh5yw6IKqv2CYvZpTa4XHpxkJJt+lpj2
qTzrZH1BjO4tTU1xVz/nV/lZeesf3BsEfB5n7wsi0FIg1j/qT/aOPy5qHxRpJ+90Yky9g5qAOm+5
X4NvUkbwzf7+m/vjQv3hEidv4yL6ombkyE6LvC7UjFuN91AbbspuerRpKjfjc5C9/rzm/wde/gMJ
1YfHHz8Pz//1oxmYulw91z/+9Y+r/PW5e07H51/jLvkz/4679M1/or4FfgDdUMfrfIyTnH/0w7/+
ofneP3F8HAUYTKlx6Vos6f/OuzScfx5VizAaOYohdfX4U70Yh+xf/zD0f9L3YJlxUMDhEYN9cpJu
+be0y1/fR4d/MNUhsQ5w1tEbOzUiexVMJpuIlW3XMKPuW8e592zCnqyk+Qxw8evH/fNSyF0o1LFH
YHs8PeII12I8zbR8S8jUoa2HW1KYCEan990l54On7T/8Hm7+Z6X6GJv5++V45Aj2oT5xev0NEVNK
8tvm3OmY/FgPduJvLIP5WU4rjTSZ6pLRSrr9+xV/f5bHsgxdDX46YEencNKp6x1SLrhiZjtVNENz
VVO7Sarms1r6J+rvf9fm46OE9YhhD1TWkRlyKh5ypOgIeFy6bZsm/d7qEA/kxmCl4URm0pkgsws2
RT88OEsht02DMmOZ7/mbniZbfqeO2xFu0Zuhh2AvXNzuGrKy3LhmcmictrxzRgDPf380J1XW8TVz
XSpWfEe8Yzyh46L1oTgviCs2KnjncB6HS5rqF0vd33hpsFyQNxqSLUgnnUllWENO36xzP3+yKBrH
7eqXR3b8AfBV8bHZfIQ6X+jHH0Clx5FPRZJFYXRFGdGBKs9hTJrbQJH/4qELyIL0EBha5I9aRCvk
wkyCM5U6z7o+n4tUoUvT11e4x/Mn5cOv6/XPR4OD1sRMjg2Dz/r4In94NEgIi8zx6npL8qUzbtYE
njwSJKc/DGOjR5gyVwJy6FSGs+nMjL6Z1nxyjMZFefJ4WIjY7VlTgJXCXz31nBSrJ+w8D/JtTUjq
O7MR52ldFifDoujpB81cK4HIfC1vmryqH0lneUjmdY0TrTlmKJgESU2MyaIV5CIt2Uye6c7KKYyg
363lTQ8j3ZsI4TfNY76QOJDiQazisDhp+R39i0nixYPdA/7fpO5s54w5zWneVRp6iA2RGjnjt4AI
lAtTtGQ9Jvakw70bvOkutciM9JuquGoSAanWWLTgsWvz4VvPP980kegvyypmedWv3erFZPeQ2qmW
Vt0UTQ4HSzLY3PayCNDtdMecCVqrsSH05typ6+bKmxlchJnopx/5apHFMbtj0kZe35XPtMOSr13Z
LAeWodIijEStu2aolm3ZtNru5/z4W0+0XLFbEn1xzxx3gsGCq/jguViaQ0+6zZXfEyk0lbjwai72
YDmV68K695kJtcZRC6IP7+aiGDqXhp9cgf8Q35a07y6IGKfRb8uldcIKYjDTt2mdxK4aRXVhdd7w
npnzsnfJx/gGkOuYZqW0+nuDnPKqWYP50vAGsogMVM7VkBMhoUlGdY20CicaSn8oow6311mWDT3F
pi2WfVMlhrnt82mCKlOPR7xk0CYkdLrBvKMBPY27fiaId+OncopMw3MvApSLFOLoUl5knmnElTly
OWSykcumSDlibHxwG/amU+66RolFytGWZzkLQuv0YjirWx0TZJpLbhI/B7O3cR7a5dDS4C0Pku2E
Se/AlF8wR9/i4ymjqZVIgfsW7dA1/t4l3ZuLqSfxZJXW+TqSwxgdbbhdaFvDFzt1Cp3+aq+eTbst
aMAWcmrPyg7N6GZahyW9XPtUK2K9KOxQgYG6TUobidG41NpDihyjDDu0QXHTAtvZjOXEyBxzxJBH
hFG467b2pCmIevGcW6UtSXYgiGO+En1evXfeYv/wh2QmwKg1mOkmXr5fdUYiLcEdlzy44r2bGD07
i3+TLET7WRX1tx9cllntva1Bcy8t1/niNXV5rlXBuM8tvwwTMuJolfudfZ1IVTNuRwmWr221xe6S
wVdJ3FvIQdnBWBdSO8ogjW07Q3cigYQslV2cZx5d2mq0nZ1vTV2cIbNBc1VUG0KsxJeeKcNzUjTf
NNBHkWkt1b6SLiIisiPicfIIcQDJaKpcxZW7JNFqgOFl+KbdpolPl7jwkVgS5MqzXuxbMakz35Le
+Wy34IpRwMRV3nUHwpDsCNa8iQLDuKJBbG00Ei0WY7wwTCHPCPPYMllSh0LvDJRBw7pfDf+e7qwf
MuvicKXVzPwr7VoXFnpJA9ml6gfjMI9eTeC9L0kUyJutRTFeAiUeMWpOBnEw5o05F++FoSMsytMq
dhLNIU3OkIdiDfJzRdBmm67zpd5Y67sqjPxLzbr5vWMEcejyvo6noblNs8oNLY+gi7CG7sIozW+i
nmdCgM3AWLcGhzwXY7fD3qsdx+Z8Ys00rrcqQVQSS3hXeTzX1TdkjtbWTfNr/Egy7qUgwwQKMPo8
vayp2o4T204ad0gmHNI0/Dl4ML3WBiLYnDW0FZlhpGnFW1V3V9DEsjuUe5Fn5482CWuURqI5d53S
ayId9e+3tjTKq6QYy/PcJVfIcLz2bMqGkbwgjvfaLLyDtcwXcoYM3oArvWrq/HbODVr9SA2adSPt
jtS3Xs5XU7WM72h3rTM14KfXTQa1SBTkt7GzGOqY6VrsXMngjySkQ01mdOQEg7dNZf9WEG0GJLdr
rwnXkU2MqkPbtSIb3wcQDUFYBYUGSnXpqr03U1aEUnU5wOivqsmQDvtqvbCR0N82dbCcGUhh4iaw
izOPSI+vGYvFLk2FudNQ1l0YA6odr21eSxoR1zNYnp0Q63pl9+tdoKHpwoQYdiMJbswV1YriP7Bh
cDVUKilZ5k/1KpfvFYKMM2aBwQtjCPVU4effQCNj7JlrwroYhobkN8ZHfewT57eTteXctIKqkDSr
4QF837o1xmS+9qsKazuWsc3UHme6drocZvSVUW7qQkVmIqZ96iEIZQYomAmDOEus7LHLUmtX9mSh
kNm29FdsyfaryoHNOGWHnb8mLc/PidUEG8jfj9hrh76mZOTVvsA7OJvE+owqhmw+Ap0iyS2I0E9e
aNcuG9JP7oLeWnfHwEALQVOVZd0zQ5dil6KaiAqogwfZpRuUfFBZM/daZvM9RkrzvMXnm1rEgNCn
aDdZU+AKxLKzTQ2DUcCiRe0kvdAhQypCzPdC8lp33eEvOyR6Fa/BdGbn3mtuLMmuKcd58zNtm6SL
hpDJ+qkm7vBmXQjgkHLQfphecZc2TpgGjE+ln1UbabC3oenIf7itNA5Dl2db4mSD27EjiNTOfTVG
FaQppDKDbYWBIMZJlyxUle2O24KhOBII42VBg/ScmRlsk8Xp1dVagirPkKExGjU7+zvVBqhavq4s
mpjcTXtFVs2XHCd/FQc+MScz6aKd31sPU+WPbQTv9yYZ3FFustLu4kq4wXWX5miE+aHvidabnoJO
y68boytHkgMZy56vwjQu5iULHtdydW2iTpjIh4Nm6l/5EnKyUS30zJXWtD9Kx+cVCjJn+L7CrLwl
t1rtcpmkXizqhkVRjqWRRLy+KPTyicSwEBP54MeL8vHF2TmwgziXOkZHM8MFHXNCLTvMgAgCIrl0
5jXeD3GjrWpEUVp34mviagzT8TWa7X5VQdOGC/raB5EX64S6eC5E1JP2+RX/HxGWpML07/2I1B6E
mRIExJM7iWbP6eUD2lpqvayrnkTbjDGhMKxCUjMuaqu1r9AlCRttVuolZ6IuVL9z68659P28eHMr
v0o3Kfk+B0KFrIu6y/w9JrjhLlhqn6+Q/fkbTFI76u2huVejoEUHBktmmBJCV8eh5vd68rhgf97V
SDvP+6Ka97NM5WW+DPYLNkIqTLIGm+BpkbP/XtWt2vGWr7czIvF9QwauEcu+tXamcg0EFmD1tlOC
YICReuUx/yWG3iFqbU03/lIuN4WZutNdHvhLFo+5XrMFuk6corjir+2Lia6QF0gkznW6WalyZDSa
LDJiKMqL0vMLtdNlo74bcx1conVwsiBOBjxYIKEzilokUln9pfIq9Yo7d/ohR3+5N8ifDeKBKKWD
b8D8iB2FGo5cJl1/yXvFGk6ZJO7btKmym6k7LgYiGBcHs0PCLryIgN8lKsC7tuKF2C2t0K6GViHd
aSGbbApzRjlqZP/N3nntRo5l2/aLWKA3wHliBCNC3rt8IVKO3m/arz+DyupuiVV51cW3CxygX6qV
ohgMbrfWnGM2j2gRnMeGa4ce9Ytsa4q0u1I4IxxHRSiu82iS9umYilOrr5qHxq7ZLFkNGbcuTtfh
vhxHgCh11fooIoMJ1TqW2gKjnkY9mH3npE0kkA6deZ9GBhuxejLOoIiQsRiRdubZDjI1l6823hHy
p/jnXRHCGkcJWpdvzPDkX2CdRf2+10oqurdyk4bpvTCk+GikyZ9zIHSk1E0Rp98ncRZcZkAL8Wqb
Q3INyxKVuj7G4kBgUrfJCHPiQZDYiX8YmVtMUhnOFDXcd6rEGliTPAZByDFOgrzhU3IUr27IFG2e
YiGyYav0kfWuOkl/SMb2UMkjp5BBbu6GjAXHQsb2IKIyOqhIBtuNmYppTwMm3HbgVo/Im/I9ZAEq
gYbI/Ng8hGdJjd3E1xzC7fK62kGonjaOb1Wvqo9vGjVzkDNkWvl2Cq326uOI/49KgLdFxv/+Z/6d
F+TvJFyF4qM49Z//OouwJzfFu/h//qv9WzHX15rlP/pyZepcf97dXJb78h/eR4nuqn2rx+u3pk1/
3UXwVsz/8r/94Z+FvtuxpND3UrS5mK+Gjzn/UuyzKBz/O7jpbwqEwVv9l3//qzhIlQ9oJIQeyACU
c4jP+VdtUP6D+hFlChSfUFrgBczVsj9rg6r2B5UCBbYoMGJAyzqljH/VBpU/CJMxMdDhwgTN69j/
pDZofWCC/lM0AUFK34U8JPiw+GlwXC5KyVFdjVFQFfCvUrU7yeKp0Da1TFzzpucA9koFM443TevL
1kFCi1RtiqYiGkbLCl/aA0uBdRcmHewhX3K69NinfaLTch6j6hIFs3Qux+GUkCNZ5uT49JX/kJZs
Yd2BAMYXYyDYpxli+8wh79ZGQpaWiIKZZI9bGXvHM1u/MjiVVGU6ttkG7yn9+Ls09zvrZJRzmXxN
IteHfutkRI8aniMnsXM01npZkyhYd80Bo5W4qzkLctip/TrDlJ5Xk4cXOMk2hK6F0zvt1tE6JUxX
QWeTkI5jExIGkB1WceANZiz1E4b5UJf3o2WTp0f9tJPf8opzcb5DsN3pNqTtwrbIFe9ZgcgdZY73
ROwP/g9bqGiqU2PUtHNcMxphKV0bm5GbmSGozamrNc0F9+rDCChaNudjP7rV6M+LLIS9Xdt1XbPp
UYlcj1bQ03euRvTEMti3y4T+fr4lwq48Lajs1FsW6Iq0wDaCVChkGTedXzQKMrhSvS7rMdsJkB8n
vin70UaM6eOoSNpsoMMXIkZwtDQtzYyMPj0hEpCN9o3TlJqbDYkju32tdpzXyUklvLdElstZFOVm
gaOITRWHOb+S2EAkjhoSiDjKJgmvha+fJ9A/yy0qQ03Z6nH7pPS9aDadPV0QuN17ySjYvRSqtiPD
xbyOSr18ocKOBLmuOHRQD8kfMQGEh4nxlW+zwZrupzQzXnMOtcomh1FdeJGN/min6YHSbpTYTzw6
sepNpmHS6l2STif/AAyLZ2X2PhpaLJNBcZt2Qiu3BsEl7Y+gqofkNAuK3iYwFSkIYX+GOWr+HupM
o/2E1p45ikv5v5nOS/KSx10tBL3qOjL5YimdKSyklCOKndzoxe00GvGJXtUOsWLmaVcMZ5Mj3luy
HV2n5KA9+pSxSHo4CjhCbXKJuk0dGWh0K0d4g92epg1rUB2m+XNs1LdjPZ+4AiiiNCFR3g+W/YKv
vNpqgxqgGif/W+k644AIx97VxrAP1JKCFvTwQxwM06YMpXuRyveJ7mMp0EWzm/CiUVAq0z07i9Oh
dOZlKtkh0tUOY1ru1ca692WN7l90aGxLclXVcLBuYY+R5Jrslkl+bYacHaj5XJnpSVSY3jSYwU7v
dfttSvVXicC+2PYvEZWrNzlS8I3eT40bFQlj3888v1RxWZN+scGemW7T3noNZKAaVBMUBKp9sDXZ
dCZGWc22kIupGuJN6EvNpiCM3J1IjHvu+L5PBh+aTRacOs2cId8b6kNeBA+iCI4dJ/ihV9YNxspw
00fpDwe7MSDIzN52Unte4gh+IkHySlXtoynutEOsxOR5t/XxZKXlRpRUskC3xX76EFIdcrNgyrc0
gHoO+fgxEiUzr5uyvDPK/knKxEU/JZukESdyzGHcKNozrFDZHbM6R4JWFO9mrEi7oi+op0QGk8Vg
DeNxX5Kk2k/sHruu8MJgQEEbVD0Szrbb1HgDPHXK2LZFuYGrTobsUZqgvNkaQeYo02hnmxgHiFct
D5DLf6Bm7naxYdLQrZOzapLT89ypLwP8JlulAxSt+KZz2tQdT8RSiaY3Gvtczs16U7bGNe7dB5Tg
u7igiY10O7kSjjjEsSpcrUAFIztePPhPoak/507FOTKGrJnqwwOuL2TMQ+3vECaDn9Ca8CyPkk2V
CN8zTDk+sHWiT2loyGeq+tgoG4SMkXamUdw74ZQZH7cW530rVOlRJN2JnTQ3VttcllLMFEJVcdta
yHc1+zpTSHQxu7Te91b/mKZBdlMXGlXKfqi2ZKZW20io6gFJ+UFVuuGchGOoYFYU4LyWt5FWnYqB
yG6VgmyDr+8p6rV9rQfP1MT1267XL1L09YXAdOayofLiSnEOuDXgiYmuPBh9fdcM7WtmFmdJEp1Q
4oyZrtv7rNCeGluy8XH50vkgRouQe5ApQiqv2MIObqSip5GHYQca8pj45LNinuj7dG+1vrpRUEpN
iUn8CSPKTS1/H+n6PmmV4mCGzY68vY6zfLEvDGebjhJvZyVdYkJ9xZZ4TIT3uaZURw1Q1CNIy1fM
b9m5NfGZBUVKEMoqoW5G+Trmw50h5+9qMx6beuiNVRlsh6I47SJ2pbUypuDEpasU1S87U7wX0iAd
ZZV+XHaNeCYHxSt94m6zgkoO+Y7xBsO+RfBZ9QIF4jJL7WITlOIllKORGR9ypl4Dd7b72afUqLtE
Dq6n1tG2SGu3Wee8kvFIDnJKgTA2js3eIrDMjtnnYhPJ8gNLexJV6B5SprtchvfzLgs5uRUFL6Nb
BdimdDfuZL4Bpyd1VUMchnnOkqXiZVAGobOkWBoARuqGyj263XHHIVkowg0VlXdq1xQcbV4srZ4a
NHlCVWraUkpWQuqh8NOC6pnsaF7Heju1rVu7TZL+FM9dfIRYJJNmoCJGbvNKtbPCqXayxIpTvKtK
axXZUcWUQdx0mzqhCUyL8x4wmBBP3TbmZpGzKmrTqyeR0gfTD13m+Gp5eM1RMu8HmegBdU8uQW/E
ex9/4ZDvGyEGaR8GTX5war1T7/jy1KI7HyFoHstUDi7nhsdV00TycyUzjraYI4ilY/9ghMMNtemk
MA6WFJqqm2WdtqvqagqMh6THqrXRgmSADM/5fZKvcNWHquQVktbLBGnHRB9XjG7LkDxzivEkbSVZ
L4Ps0R9VTd7aRXEnK6RBSheRTHVUOWrtRH4actBLYhvGwt5MLHyGmk8UMsdW1ys4BHEPi1PDjRbq
19BtfcRSBkqeJJFALJOzkRgBPumgb/bYVqckxGeipNSNfa0ezzJVbisVRyzZZdWWJCrL5vFqU25Q
Lgtxf3l2oQFOMhLqcJvG5pRcbRNcWuk5eZJ1c4lTumaSrdldX43ZOFobrSFzltx2TsSBYzfRE+WZ
H4KFILpTArTwN4MSk1oOYQOrUaTzonpsoS5htsWsJ1jFrJoOAFKlsJE0OhtO3fUWy87UhxnC/LAM
cTQ1ncClE6lpIOj/1IbfvnW9PEaXfWIP4lEU2ZAd+Z08e67hM8abAY6wp9O1S6D4p8N0aweGbu6w
LvTxxWRr6Wh7VNJtayd6B1Vp1PnhPukzKItwGOPhIc/U5trPDITZQUNDxKNUBvw/6hwKLmE3hPi6
0zHq9zkkUbyTTiwaHEk4lgker6x9iKdPZnjrmBvZMmeelDksoJPiAHvqfCfZ9CE7mi0jPcu2peZI
guBzurRB41achyuO1QbN6vGiHoPc2vlylqRHSpmr+n3Yk2fm4hMrkm2ZTY3jDTguCx5aR4sj0BAr
wB0ANjBSv9rUklk/QgaMsOaGsdvYSXqcCbXZtcYo9mAHpwcVDf1Tm8YtezV42LVDk7Ex1H2fEKru
+oDftzRL2q0WDgKGVkPVtRHS6eAgVjDNRD9NMM4dSEzuj8g5ra6LlNnOGME1uHgxtoLHjbF6IvJ8
sNWDlRIwLttMW3xKyXPCxt5aNYHTgLia5GBWPuvYFCQndtoC0fPTZqdFZnHbpJKYQZzpxi5K/Qzf
YfpTxAR+xaEU38eDJZ9KbVC/wzhgl2ixx39Lfdl8r8uJRhRJe9Kz3bYZfVCpsx7KMLG8ok6LbRHY
lYLj2G7Z8kTqLrSyeEcNyH6xI0qac2k4cGO/vjI1tlipkj2zojyXxMu6nK79jUT44GWlmMkzp1Wi
B2qJILIiiQ94JfAdNKySND+wNGFDf5YKoz+qk2w8GDUFys1sjtxILUFWUcCUiNbfPArAde7GqrMp
bOWPLDjpBktC+aiPXeCBTeg3WemH9xBR0Lmm4sRpG7HVUuydIik5mFitqewcHDJz30TrHiAl1Nt6
jCx8tmFCl5kssKESb41dBbvGCIurvq8us7zLTgOIuJzGYFQkNqt4MqXxRslm7zAOK3Wr9pV+N0Tt
nd/rId0lXaIKbmKrIlS8gBLnQcNVjhWkCy42vugloyu+92n1nGU5hkelVeJtEjcphbSaU2OvD26v
d+UDn4TN6ei0sH+zbuQMGZtHFmGU533WlEctLUI+eDfsYWkOWz4JgKp/XqH578ovF+VbfiPqtzdx
9rP8/6IGQ2XimxpM9FWiZfEbf1Zh9D/QpJBQo5HGYAMxRIDxS6Gl8gM0mQ6ZT2RaOcbMl/uXQEv7
AxIUuik29XDo7Rmd/WcRRv8DLYfK6oAfFFSozG/9A4GW+SG9+FyEAROE/BLNlE3up0Va9Fd9iJXi
dYuZDFPiX8phP8oDWxkNT7ADM1cebU4rYHXcoYuSEMq/JRgoAqrYEec7CIg1IgNzM6hmfQuLLmKa
S3p8UE5hoCSVjKiiMxS0lWwfl4CXyFxFHKKmBb+RyNpWaTjSulVGnOMuUa06PtC0RiBQyjRoz/Sc
s+hmDIo5vCOSmQszQTIhpiekbBssoVbsDpKCThR6LQOhwXgmXJjj2hkUKVKtpAjLIcAMOWUTao1n
esPBLIkjeIuzLRKOjpmVXC/T/d7V+4QZP8FIVB50SYSZSzEimzaxrzLLaH2MGGA0B9iPYWyhnhWg
KLWdBlzN9Ex6GsVGqhJzPOi5nj7OKbTneqgDXhNBGlzUk3B+hiROPxaBsF9LXwUM04wG+aMhNvLE
HdtWMcnW4k8+BAqBKG6s46U/G9XUyY77LpmdGwVr/badCWJHOm334kabYlNsCTPsVQ+Tv9NsLDYk
kyd3oR/iyWvt+wKoiXJj0N+czoy4bk8d07fJORFSytYICNR0nIImaC4adibpkRq3tuCkpyYnJIIO
wi2afnjM6a23zOh22HMWHHL/vgjjTt/1jhRmB5Q1NYh1s4pRqURN9VyPYE6IdbGtl9DM/XBD2xm9
q6+JkDaxiliaHguu2Giu/8/NwZfGL4qa/WnErsssJVqBDgKUCaWKkck0noP6JDYMCcA4pAVjR1J8
RfAYvP7URfqCezNvM6ZcYjPCeG805gC8qWqbgygk6TVENcHRnyb2CWiM8FqiZfyu6PqdiIKSYn5D
Nx4XlI0QGBRbdNP2FB94Qkm1S1NlIEFvqmtckZOqPajFkFAb0mWMhtZoGNet3sFT6OJWDthlo/92
u9R0JA4PPZoZDInD45CbmrwZqjZ/UYWExdDWCPZxJ0KrrqrUNLg3RYmynaoR0U0zB505e065fgvV
zH/x+yy/oBusPEcyxwwAgwk7nKylu+CClJUl10px6sGUVyxvzCs/2sZxlT34eNpKl+OVBnVhyKef
umSUF3Tl2sClWAfoNukKW2xlTKqOa4dVgTlRjeLiWBW1Rr1EVotoExgNUiLZ70fZVaNJmR5xUPsv
pCzpFr1mQEInht0GpOS1WdncgKQeK08LpP69E2pyWVHmC45hncqvVUWrdscSjWgEq6j9GBuBeSVM
4TwWlpWyp0PzHx3h6RMFrKc0u6g4ZyVuhqUUx3FkxbiKhR28cYaENmDUlS3zQxzMgLbskS037NOA
+sSQ3vVgEB1msXBq7+IiDZ7om/LNOCmZPq5Uy7W5TQDmxNuqDownhFETZUWl8h9DjehFV4fJc+bY
QLhklb/o+VY83k9jr4UXXdYAuiSxpU2u6wFt6VbDdZxsffZbBx3+Tb8nKdQQXlCbtK2MuK/HTVsV
VE6rMrYbjK4T0CY8IQmHRz/jq0xoxqmu5LQUBStn0LNtDlR32sEWDXFPF8n8CR2aflsIFEC+srSL
zhoJaS+IGxPvrTLZJYbwWvPNHb747kmSreIpAzzQuj34GRpd8FrZRQ50YFHe2JxbCbcWg2tyHr5I
m7x/bmxRn5RDgIg1gLmEOWAsByQhpIxc+w6GUA+Too5IkC68QmMIKdi2S0JAzSXDLYfdQWFs40MO
yDejace9Z1llGeLvlBGuJG1CaJhqBddRlXWCMhykhFytmJIrncUHHAsJlllQNdmZP5l5cYIfF4UD
ALWg9RBsBC1JJmgeduyphOOZIKJ/RDbUTbeNgoGufeVY140v+ZNrlGaIDVyw3PE+D9FTFMnwnesm
l+2tw0C71XVTNLCxtOLYz1Sl8ZLApqQQQDoTLpOpTM1ZphpHs1k10JVQYqPyqaQSB76goFJY4Ji+
j5rQB0aK/1uBymsoI9RuubxXI7SEmxpylON2kZwDvsV3/BSKkF69AHDQbgPgtcdT4ssc8C1Lfx2c
SK5clvr4yTaokeczNdToe9rfmazSQw5r5bUX6AXbacJ5Q0/COjKaJOv2fqQm7/GgpufGgFYLZs/0
hBG8fgklZsLNWBTmq9K0ku+OMDruhwKbtavBr3pHmhbCubCKk1QhgyBS1PYMwjoFk9Av8OeVVVwX
W84BFNMAtwDYoJbxYIIAC10yNRLS0/ntR79CTedCx52uE3bi74kkumO6SxFUhUgX+z6NQaeEneVc
6DDa2NXKsmK4Xa2iopOrkJwtEXbKkdFavDNtn5hMjAyayPVbBGXzudK8Tag0UOGsSXt3U18X1U6P
A8ASOpAAxINGIp+FKfSgZpDQZw1Vqc3OcU6oVxzlqI83H7Vy6hjUzaXA7ungDr/q6nrSRdpPugwi
5BcnQVmXen02XGLcMqjFq/gJ7dPAUbrk1AykLmZdGSY/vwW0RD0ffLjOO5BAWTsAMasp+jtBJitH
o0Qe1lU9VoD1LL1Osy2cSboICTL1M5vjTnqSi5CWjjXFyouFdbx/VUbKaadF6qfSlqmX7sbw0ekY
+8TX5t/E8p6OofYcoFyFQCsjcsa/buq+2FYfnZdpELJ/1AC7Ch/MSUi610hNHt8KiBcFBYyYcqgf
9QFNIJPpHebfR3fI+egUhVPT+T+okTQarLi5m1T8ai11vxpN6F/ntlP90YOqkoqbR38Fn2H81ajq
HCjOPTLKTLdPnQjQ0ruAHJWcN0wQ9U5oaAbPoiQo6jP/o1kWOolC5yxja0EfbfpoqoXwQqyTICHO
F3NTUASnKoSI4LmoJVoaoRhkvqbYyMQm0n1uVA2RNh0Gv9U1vFhDoOmv7SDa9Dj4aAxaBtGkKGQc
W0L5MDcP/Y9Gogws2jqk9I3MXfXRceQ1pfuoTWak3DfypEYokCx2wrzIxnBndwji3dwwesqCMb0u
6wnGjoK4WBrUPag7/11uEVkgJorNkVkiGal1+TIHSnXiZd6KLoMlY1dANdC51sl4xDNHgzPKHTxG
swYAdwFWRk5Pwlht3yR20Wf24Fs/rHyUrZ2CrCPaKViqKc7ZnTN6fR5ByJ4shR58YZj4l6gORDYP
rSvOyWuUNG9sFZBbhYlE71Tig6Ug/DRldG122oNbl1b1zJwQtTuja7DyQI+I9E2g9Z19IayWYa7Y
KShanU3HnHLWBpRPfRRLnolN9r3S5IQNvBPlbL+TqdI8E7YTSo58ppMQqDlghxhBN+3ZGSCEATVA
bQTgYAgPiXXzTncQnrgM1eqWxhACqpbmJTytvtcbFBjKYHolAWBz+zB8z1UTWX3amTinWCLHE0E9
GEcJO2oy/XJLD1wQH/S3msrskcU42OGOlTDgEdcY5R4kpbRQuZhA7zYCnF+2yY0W6FhXgSa/hLQY
tLgTQD6xux3b4kTvUwQjY4ggBUqaRGSy0wO02CQs3zpqiHaW0YK8puICBFE9SZwCpkKgoYH0utYC
ehcj5ZcoV/It0Fwg9cDTiwnyBZX/nASJtgp9loM6ady4HPN2Q71xtLZ9DErClRunf4E5DPaKdnHx
FpQQPzxA5lX8XKalPtZbirycLcYGcsJ2MmfQ4ob0sg5gsUaFr07cohPtULmTYZVKt+PUMTuIyecg
VNfNB03yvXHUBAyxqumcO5NF1N8liRbJ12E9+saVUesaai/VQoFlbWr2/vptMfQx2OCgLjN4lP9X
PhDj0SuWqjm9+Pflg8ufCbW+n19VH/Ov/KofWNYfZI7gapkjZkiB0ZBq/KofmDJFAuDk+FipE+Dp
RN/xZ/1As/7gLE/k3+yFmTm8GAH/rB+g7wAArSL+wODFz/nRP6gffDUeo37QLQIBGc1fqwaoQ9EQ
TLnpFdQq0OmH884w/cbx9LuLz26ST5YV00zbAcifCVYwu8dAdqfq9f7TI/4b+9bvLr2QnNDA0dFp
ZAxGI29ZSXzJpcZvrrz6/Fc/3XjiK1HPoolKzBwuSt050Qj8+8bP87s7X/hJUa2ZdtgFptd20g/Q
JZtAdsKV16YQ9fm+wz5u4JBIhleoYIcGvCd9u/K75O39fOlAlyp9QnDm0RSUN0nvG9sewvrKG2fU
fL66NncjdJU3xS8F0y/F9Az9x3bVuzLLp75cvKRk1BXQLa0agmjfAlmjNfdr2kOihhzsv38RlyB2
x+n7NiHAALaWPhvCgFu1+XdQhd+8K3PJ8fOdW2rdVjg/dIJ1CumqI0bjSGf/8R3c4HeXX4zPJgjN
DoWz4eHSefKhTJuldrfumS/GZ9FPdZOVXNpCXenSeD3lGHu07trzx/k0OtM6JeBPbQyvRHrLadQ3
3LoWb+suvhieuBoGv/YLvs8ZtELOXZRV39jofve4F6OTt4QohnnOCiitQPzdIs38xkA5P9b/FIH/
PY3PMsDPj2TSwZWrcmx4MfVAF2DTdEH/oj5h+j1b91wWIzTU6CwpY2Sg3ZWPaJCfBP3rmisbzmJ4
Qmh0pl4Ogc/25nENM7kMvgs7+fsnbqBz/PJYug6+K1VbVH2Z3B9ltp+ctIr6Tfzf7y6+GJwmUUZ+
KvtgrjX91JyyA8B1b90jWQzMqe8NuZjHPWUGL1TV40Tuv/E9/+6uFwNT8dGRq5JteJXEzjqwpOYd
XWl8t+7G57/6aWjqhgrUPObqqj8+6C0EQ0Nf+UwWAxPbRIs9Mho9SVZfp5kea0jK07rbXoxMxHi5
MbQBpzF7GDlGIWajKletWtyMJX0KZKtZBR3puqlhXnJw2k9RdbvuxhejUspBxmsjaqSoVO96VLMR
PPntqmsvM3tT/JVBG7WDF1XGCdEL513S/aOMm39NV4a9GJfZZLZSCr3Va6MUuYWIz9PeeV1324th
OWqZ0xVyr3s5snOXTO+9oc1chn9v7P/rxd74sEd/er2RDoeVGQ0D8wln28py3qVsWvlMFgOzAblf
FoKOL8Wnt1Jq7oPvSEnz4Pvr4sBp4eugxMOiTE7M0waleI5E+FwOpO9QP7+79mJUKrAvS7w/g4dO
LzvJI7O9xUAfrNqHE1bx9c7NepTUpCwHr9fsl9TQb7LU+WbF/N2NL1bMujCqMenb0VPNUYLXqxzT
37JXbQoNezEsu0nBOoJm16P2uVca9brJh+2qV3AmfnyeYRN/wGvoYIvWJPVKs0MMaOG6t9tajMrU
NybaKBULmtViBTai07ANg5X3vRiWcVD7pkEJyCuj5DFH76tk3wVz/+ar/EuwlA0wgp4fkuKckBin
4yBr50a9bvaeBQGfH7hPS6bxeRNRT3eq29IZxJDZfQMx+92tz///pwlFy9XMTqo5KqOVjqJcewzi
lXuI2X7y+dKBlHS6pPCC0+PsPGSB6N/SZNVWFoX714vHiQG6QBMsaaV4lClNuq0sf5PQ8rtnshiZ
GPzCWgdOjSRpCDakxG/plaxc1KzFyKS0JhNmwKIGF3TOLHxsE3PdBuUv7BKlRjnHc/ag1xvXEvyD
B1Lb1k1X5mJsVpqW6LYAPEGv6pYW0fWEFGrVjLJMkyeRwWosWiWs80nmjp39phvrvkpzsY/V84EG
HcR1z+o1rPiYUlPtdt1dL4ZlqFG7btVk8BC3Ge5QZrdhMq289mJUBlgGSBTjiRR2NHmpUDYEn2Wr
Cilog74OHXaCum04pGy0tUXHT6CjE12+8uKLcdmLzkoCLeIdVBFgm0H+s8rHq3VPfDEuQxp9fSXz
xENFnGmJ4hlIXNddejEqnZZYwBC7qofn823onRddntYNHGOxXoaF0Vih3oARsToIHkAASZ6Krlfd
t7EYlZ0ylkTQ8F2S1nNNtBWsliQ5X3ftxYJJq1EF9s/SoOtqtRsMsz9SiRtaN+iNxci0ZFFjreEV
FyGWjKBv0+0ofcv2/c0UvkzKs5KY/JsYk1w/DfJTqqCZ8v2+P1r3ZBbDMzYHJbMbY/CmwriTzfja
EuuGj7EYm9D82xiWE1VlSeyiPsIorZGpsu62F2OzqVMgNURLeGqpX+VjtM3q/Juzw/yt/c0Of8l7
ldS4ow9cjZ7cRl7ZyZ4s+uceNbUCVXLd3S+GKIErSUNDbfJIQtkpRrCT6YivuvQyg9Q0fGJZJe4e
z1kOXqi9w96wbgVaBgsGuNuscipGz2pLZPDJRGPQkN7W3fhiiCZyPZpJUU8e6Jj7uO5/VOW6g4++
GJ6ELoVqB0rE0/r0NRXWG2fZeN17CBjwy8YwlG2jjodp8OSseEKJeCmHz+uex2JgIr4aZGfyWdpi
cdmA/glRdK+79GJkprhCqhwbGwkcDdgDpzG2Y72yJjY7pT9vlbUJVX7cz57eaLwJ8vJGFva6TaG+
WDQtYlw64gNGLy8zFKXmTaOX6yYrfTkiSdWymVFUryJW0LN8s/cQua27b22xbHZCknyCKEevqtRj
2ZdvnXHlFnzGWX5+2iHiHKc25NEzpu6BTfOxSVzAqrdEWwzIIsVL4ciA8ADz3cTk90yFtXKW0hZD
khyjcbAQPXq1NLSubsLyjkL9bt2NL8YklCM9SeQSzlY5nAy2fDU57arCPXDEr497jKBL4E4YPeCA
txIOVy9oO2PlA18MS3xdFRkZKtjhIjqzFfUgBeJ63SNZDEqTcEmciVxaydVHAqNubB0F8bprL0Zl
FDpwrYCGeSRsZxuT+qNltw/rrr0Ylp3caKY+jhweovElLacnW8I5tura6mJUQomAwJJQp3bG5KII
sm5OQ7tdd+3FsExlRc9hR6mslClhYt2h1MJvZqp5+P3N9kRdDEvTTvKpNCe2J3GqPWMwg6ynHKyg
IDsMgR9xPeuGkboYo2qN/LTBFetZWvrUq3j9hP+67vEsRqiPCFqeJl5HmYO3Oeh3k2k/rrv0YoRa
ckN6mc7jAZNyTVo9Nipn5aUX4zMw2w7NHNXCQG4vAhPnb16tvPRifMZ6NOIU5a7LqCQKzoipLxXr
ymLqYnySwNVA14gnL4rLAXLGOBzlhBt+s1uen+vfvY6LEZoC08POWTMjSqN4ioe6Ocv8qPnmZf/N
1Wcxz+flbRjx51jEVni5qbwEAki73pk/V70pymKM6pnRwzFjVS6z7KodMEb2tbNu3loqgQbdsaDh
0c6kzhm6aVKRSG18R27/3UNZDEwskrEMpYyB2VlnKtRPotbWrW/KYmBquArMMOeZ9KlPIpxJPFWT
3K573vPH+VSe7SFz9q0TsqFNb3K7+olk/WndlRcDk/W+8S0tmDzR5/YevHwMVEVM3zyT+bP/zRs+
G9I+37eq97mslTxu5JgNCRxhOlykxiSum9AJw+2aj4Dx7esfiXtSezqDj2DY1Uk52g9Kae/XXXrx
noelVjORhzydUfkp1dJ5PKrryirKYmoZS0SmAr6o58NSBYdRvLRjtG5K/KBbf3pdhGxmadVTFVdl
sY8VGyPQd4W933yjSw1THgJKJ+iCSlMTF0eGEW26cIA2JvnrJsWljqktapTwY0yBuUhu8O7fTaP9
uubbNP6iYrIAA+hhTssqbw34bB3ifcweq94VQ15MLa3s60GZUhmHEvTmQHLfpBPoo3W3vphcUA83
EhmXnJXDEo7ElN8FxKqtu/ZicmliGybuOL+JkXPVQyPxB6T46669mF4GKchJAGVSdCT8OEpovvRm
Fm3WXXw5u8QzTgPMpZeFRN0GAwS9ZqWEkbf666wiYFgpwUjZ3Y81w5WRAuEl0lc+lsXKH0qO6EAQ
sDaLvts0kLsJV5FWvYgsl1/vvGkUGCsmox8cwyHIMy+ru8s1Txy179dL9+SCjuQI0qzGCFA57XGX
xPfrLr14w820A37dsdWasMpuaFfE20kNVxXf9Vm9/HkdEhC6B42WtVf7yYUlmnN4FavmK91ZvOFB
GhppnvO0KzN+VtioKLJxte6RLN5vlHR2BLB88MrQh6QyHlL7u4Su+YP/dWHWl1IgBQp8UVj94MG0
vlPH9gSFw8oHsni3TbMbLLJwebf1aQc94ryNnd2qB7JUAsGiiPAawm3Gd4JJJNJOOitdd9tLKZBU
F4giI2OkroybePBv8EncrLvtxYD0s0bRZYVdhI9w9kAcOVR1cqPXXXwxJItRskTpOEyChrT/X87O
rMduW9nCv0gAKWqgXjXsHnbPbrftvAixj62BkkiJoqZff9c+uBdIM3EalwiQAIajVlMsslhctT61
J9ejVxVuj7ZCclRyS6YaSyBMIdTDsjZw3geIwO3hVkjWBzxo4ROwFWb36lTDITkd0Kbp9nArKHGA
8MY65kjzR3pPpuFcyslxUKyg3Grc9o4TQwJ0aWaHfv5XjIYlt9e29hzesqidR8xBtYYP6Ck/A6n3
waMtFsv/Sd0CWwrECK+jWaFsGAKNDAwqTEiBlAcz+ZagQ+/TBZt8H8MM5tlD42kEe+t7ys3xpQ78
9Tyai23ShfTgn5aNBeZqWwZ1v6Ij/ZGRyMNR59IniOJ4/byvMK1yUrYGNu1HzrNGI/tlrGP2JfDL
c6iGa6ehtrU6PshsE5RuS9HS7s2f5psSbPgPxvo3i6ut1NkvuIiOwZD+SL6rES3ph9s5EK0y7/cx
2AEP++xJVew9LZp9zX3QztwGxAqZDp2vRtBNFTFISgrdd2h7dtvabZGOB7R3VIImUawe7JV9uNAA
Zby6La6xFTM1+qU9qQ+Fnno9ZgAnwUyoWd0acMCxfD/gTb2CVD9jVEYC4s1Rwq4U3Y4fJGqXJfof
NmFbqOPDComWPb4maCnlSyKXLxzMQDRTnnoYPjldPMKW5f1voGNwwiFdVKAUzQ0p4BqaPKCAOIVu
66GtA0ziVcByBfexMCS968LlFr3NHzz6ss/8w/jYOkCoPBQ6bLEcck+3b5OHlAXtmBwEBX/AqDnN
e1t1VO5oONX+qNDEMe/5svYR0KgAXro93d6d4cwViHBShS7RHNrF8xUwFK9uz74M219O+TucWWH+
hzcnxrsSxD8N7fiH26OtdeZYVtpso8akSWBDaPStNyqnukdgy456r2roCIlK0XY6hCfYlAR1ukFW
6/bm1vZcTiG8v7QCoQc9vPmKSjZwDbDkdXu6tdiMTRXNfQRNN7AiX/x2g9cObGTdnm0tNYAlDJ1G
ZbU4yHRH64mnBwncvqctPtorFfKBo2VYCQNcB+AeGQzjHR9urTABESMMqoewqEP4AMzNcT+F8sZp
UGzYWBUH2xJzDMo6HT/0MtygJd1t47CVRyN4IkJw+AVUngd+9QoGPTqm3RoJg78pj3rWwT8ST4ef
RuHt7W3D1g+2jUsQ/sOy+F8X9L/EvWzKI25hWoSmUP6ljqI7vrk1ysJD/f2SQnUcb0GJftMaBnZp
XSU/4RT30XL+u/e2QrNFNxtwBnhvYqqbeI7vF+YYl7buaCopPLoE2jYZzKCKEd34cAzkudsctAIT
uMnZ9IuKCn0c/Jo0/qc12Du37cfWHMGKZ4MsAxwI2C+/mYV+OYbFLaOzJUcLrIjVqiAiO9bmdYwo
zEDd7jqCwDrRNk20EHYxyo5AVMp3GHcBIelWHIN3zvtJCAQxSOgavVvoIT5gZio++zKa3D6mLToK
YWJZRWWMSViRh4sr/eERx095mfd/icsVm0MYjkcEjGZ73MzTHECZWvtuq2xghSY+Jllg6hgWW7m8
oUb+RU3RZ6cJbsuO6iXc/TDy8egVfjixnLJmit32Y1t3BC6g2vagi4pGqjPZxzOcWB3H24rLdQfN
QbcrGthjWhXLJJ7nzqduu7GtO4KHMFzLJcZEHN65iReQDQPidqz9m/CIhJCiG7w44YfIYXgMWyX4
YDt9TFt6FDdVHxzNFhY7kFFRPDyEvXxye7QVmHCIhjt9s4QFyGp35eHBIdBNwByw8H3s1J4oowMa
5mJEdF5dFpSKwg/Y7b2twIRfYqfrAEMCy/O30pArf+rdSrTMispImX0P2BoWaM8ZYOyVbYuSjlPQ
2i9jQ2DeuGBM+A6hbt+St6Xu1Ve3MbEy2XLVIHjF+JbTBsBYKIDomtTsOMGtyOTUG5ZNoOneG/l9
vyevq6MTAfAZ7ycKQQOehOd3VPRGXgFI99Rw7pbcXyxS/7p+e01MPKisL1YBKobJN6zw0G4q61un
EbfFRxW89+b2MsX3YD6FG+kKr6JuDYqgFr9/d5iWxloCgAvB+BvIW3WaeLCbc3txKzYpBPQNDFrx
4mXw5wZT82LpEzcNfeBbsQlwKFmTy1QxYNO8Nk0YXRFSKbfd3rfD08c4hx4cGijdHlgAjLbjBcp/
XXD/stnTDXoMBFFUeJO5hZPjdTkrt7zNFh3pkcBhtTVREXT+/eJXBXRpjuNhBSbBLVvDL7WfOIjk
tc90c5q20e1cYguO5ObDwhxujkXnV+fStK8CqFWnKWjrjXoYBoP+2yC/D71HJgRc/+BZ6rZj2oIj
eml8LEEOKOLmaK4SXYG6NMVuI06twFwkIMYg2IRQYW2g3Mqt+b43XvLDbVys0KxhUcZr2LCieFXH
Wch0/4S7t9Lxg1qxqSTdaoBsYJsEvvapRLny0YC88N3t3a3YLM0SrAaKAFgGMPiRcqFAqtNudQNb
eFTuW71pg4cLWf7YYmrSfv1fg7H/p9NOYCt3lI97qqbCkc2XK8zSAUBGW2H40ant8un+4XRva3e2
wItxjYIFsQ9YfX80bYVm356xBZixRbllcraKZ1TBiN8BHaeirB9qgLZmot2u3mz9Dlz1emwWl1UA
yOusn6oFyK/9cEvlbAmPDxvxA4BJPL1GeijAnsrMdgRuGYAt4VEDHj7TCEn/FN42c/S6DfE3p9lu
o+lEX8X7FGJY4O8NWgVswt9msdaf3J5uRWqLNqukg1NkwXj4DZDcKzVot3otscK09TokLQNswmZw
hbMO7B8Y4krHoiexc9wNTryY51GB5tktA9EMBsPR4TjmVo47SXDRNvSEF6Y0Ya78DRJYftRuqyOx
9lJvGvy48VBeqdvwDnnMNaxsnRRZzFY0dmvjrQw+3kV4qarQWmjc7FO3Gw9mmxGtWzXpRKGmGoHO
2wSHn6LXsHRKFoHufJ+IBt1RiqFCIpqAB52XPv0T0OA3l1nObPVRu0X1AdNoHLb25UzhzVbuHzUu
XgLl76suS+yN1AvN/06VpD9tC/tFluXF7a2t2Oy2pPJKMOcKAZPpU1w3PwagNByH24rOsWJqCTuG
mTIfN0kDKSYN5K9/f/F/3olYYsVm6O2AC0c1PJS2GmiTYyjvsDs1JwC83PxJQKd4P1sAeawiPmBs
dIDmeV/AxjqZ5skpa4TB/fun82SLYCYLiJsw5YOA7dsWcaf8gtlKpHoUPvMufDhOYvS98e9tv7gF
vy1EgmV9szQxxiTU5H5BoS8ulcj+/ZP+ZprbbA6grsQA+hwO5oAO38Jvm59CMbj5nzDblQiYJ1bD
IDQsOo8Dbo9CSEJiN4Mf7GPvP+ZQhX2I1h1cqIDFfCNh/Z3hLKPdpoptTZS0ZdD7l6UlgXt3JdYJ
LYxAhLuNuhWk4PJwCZIfdgrQEZqZAQn4kbTsNzFqGxOpxlQVrFmDohIMmKEh8PWPbfC4TNk8U8dF
nVthum/lWPoaP2Wt2vZuGsDbCLbOzSCG2cokKdtpBF8O5We2A22wRGsOU+EPMt3fDJAtTwAIQpB+
wgK5esvwstc/4hZe/qAQfPD830SUrVHoYoWyfHl5+cp8itR4A7CqU/oCy973Mz4ISq+vlkttUcGz
X47+TQtYuNvGYeufpoqWYNFWYTGr4T6RxzVAFc9O092WP0Eu3astwns3Q8sg2ADgBnVAp9IisxVQ
o4TUEexHDAoEa0U/kNvBO9xEYcy2KmqByZlXiY8JZOY96EKPUQdcsNuoWLsp8YPFkwEc9IekeYiC
6jp2M5pjtgLq6AA6nMllUefBiwn7ez7EwvGtrS3UpxXXQYAy8QYUYdqa8QvczN2Sf2brnzZvmtCq
jyFZ1v0TeBY3iQTr12m4bdlTGHhq3D28uAaXBrDsT54UbvPbVgxRkKGqcMVqGA+gYq5QOXuwEXTb
oW2nIhaUQ7XEUVBwDtOpiHiFUfpwHBRrD6X1uPFywEyZyvoZAIFHVdPPbuNtZbk4OQcynBCXECO8
7IRo4HXpR2XL3yzitmZIiB5yBAhWUCT2v5R+naIX7gogO7f9ObJCE+rsepkmGIRG9bzDc2GYXxRb
hVuqGFmb5wxMETAw+KJztwX5UiUQbIHD5FRuYZEVoB7gLoJchqYX40vI2E1E3C4s4Pn+fv/xAEsb
RYkQEkKVwH6GT9WScLepaDsWJRUS6GbF6XkZu1sADN6O2k28xmzNkLdBsyzADilMDx4EqKUq2+LF
Lfht1dAQANdMJ+RyCjCGcZbnfWBun9KWDEWexGkuRqoC+i/4Rxp8ijbcfzrFpy0a6toyBk4Q7+0n
4r4avw4B++T2ZCu7FRFZjvZyhuPNnMcyBBAqXt0U8Sy0QpNw5sVgYwWFoh6AlW9boF7dXtsKS6yx
ACXGDE9Oou/tFP9cj/i726OtmFxoF6wTDEkLtHkBGibmpVgcLcqYLRjqODOsksElF49fcAt10s3k
ZtvPbMWQWZaolsA3FtEyEGh7hJ9C3OskYGG2ZqhOlmWLDEalCkkWDPPjYCK3BdxWDM1+M1X+ToMC
JDRoy+fpWW+z07UtswVDpAaKkDOMdzO3e6oUS3cme7fdPrB2zQAc7mFuLjuPGKfnVrDule9z6fp4
KzS9RdC5VBiXtmdZI/z7PnErxDNbMzQtlenBlwqwnuxAM3pAGpz5Ctmg2/5g64Z04sEKLiBBsR/r
Q6DrPKm52zpr+xXRKTgEZxOu5Aw4oPKof9RsdytR2rKhI0xwnwp2aNH79cNCInLmVEZuU9HWDS0j
JQnZ8OImih9mj3+C+XjhtGTZqqGwK30yGQibl1ksJJ2r0dy0McBYbp/TNi0Ko70KoxLSr1gvb53f
17iB7h3nii0eOkCLGvoaasSt5MXIqgegkJ26J5htWgTjV28IgNQsFGCTt5EpSUaDfv8g/H+T19rq
oRmcx3lVE3SCPqjUSavYzwq4vyZN5rp2/LLWDlqbCYZOYIKgn37l6Riv6eLF8oNf4DfVjwtK6K+S
GVLvB86aUEGQbgzupQdPYjTMuLV7MmbtoxIMznA1GB6Uz867YN+TsR/c3tzWEWkatU2jcQM6hhPP
iOA3UyuX3CmabCURwf1nn3RIbncd5SDntlkgosUtlGwdUQicBq/JpcNB0EalrW7QT2Wq1W11tJVE
vdZLP/ojkA+mOZGq/3Qcbq1ISDbfzxa1UG+Fmw6uEksu0qrpZVrubv6qzBYSib6rKBZdCHKSfc54
d+hc88b1i1o7abSRbVljgDCiuMqSKXkkkduFOeDZ70eFjigPC0FRLou6CgC6CGROx6lihWc/rkJU
K+QhfZuA3Na1ougqz+0CFGDG9y++g8+cbDzGyhKsdcpIc/Zm42Z4ARzN+4cPnYj3ipKoGGA0/RAM
lSmmqJrcot/WE1FfGxZuFE8HmjglzfIgx+nFKfhtOdExbK2Ck3IEldy+3cbHzNNmaya3HMDWE41h
zVqgxjERpx9+m3ztuBt7hNn+RSOg0tU4XlTJe/lnF9UapbPazYwKCdD7z4mzZz8eskPNrDoglI2b
fbrzoi357DbmVngmyuvFhPshtDdCzELm8BquQMotimwtkYrAdxvK8XKFwK5gWFqYDztAf7N/2lKi
UvEBzNDLIdSE5f3Rz98BIhdupyJbSTQjuRDUIBdlZvQKIs0vLefDSf3A/qYgWnQ1l5NAkcUkTdEC
1Q71RuLm7ILe9PfTRYybmIAlR7G817logz1dpWN7Nvubhmiu5Y5/UHo66Jy2lH1j9eKklkHv+/sX
l9KIJDI40KmZnMXo/8kr4Tji1u5JgQRKwksdkZbl0+XR4LyfnMKHWNGZVMlA5hEr+bwlOVftPcjV
btVPWz7UsSHywpXjaF4uc7YhFUo6Mrot47Z6SOrejMeIPhtQcp8AM71fPzrHXQb1H/QgtvtPVekk
OkBmLcKGkQJ4uvC70R6qOUe9Jq9uo27vn7IknocjVgHJww3YwyJtUAd1ebZvK4g8svZK9DW+aC3m
504c9ApyqCH/96dfwvDvo+PbCqKhH0NWDjicd+XW3g1qKl/DaYHAEo0WHhDHnR/fdXFAf20qYm7F
Kd9WFs19ubTjUuForfu741KDKeFy9sEaf0kr/uk3suJ2ihgYbQ22VTQPk9d+Cnu/aBM+oSd0gy9b
Ma5b6KXDdGiZlWUcwPCQedppIvi2+EjufaIbDsDyAZVgBsjq2ziH7INvFfzmN7v8+V+E6kAw9+HS
41spP/oip1lklJZu1s++bX4EzHEXJFXJik2vIj3iwM9BGI+dwtu3BUi4WPeafcckDlvyGKjDv472
MXBamHxbegR35q1MZrz6uE83i4Les6ROG69v6462bQgGj7aXGx8UmDBd12fohbsPShK/CT5behQB
w5uoVvNiQ2PDUDSc8s9ESFz5LnMDJCe2TDKe4qHbce9hwEh32tp8W5dEtNzAikQJJzFBCFhI4CV3
JR00cZuof9Mm4T4SIA9EQdQuKh0UXVOPCrf10JYmHYmeSVx2ccFU778ugWkfm2VqW7eZaouTALmu
hNdgMsVRnemKH6lW1O2qzLe1Sb6a/bWqMDDdurb5XrNbVdVu1QSfW5lzFHlJx3c8nCbteCJe/+d8
7G66Id9WJ+GM5U2Ld1nYal5edcObZnJwSod8W5O0QFai6h3bQZnoZyn6/pEKQp00eL4tSdKXxb2p
OmBMyYLcM+J/XPpw/n3z/OfUwrcVSZukeydIAn1fPZrvABG1JEViPrJ8Vt3+6d9/yG9WfVuWpIWq
BfEwOsLb3pBAzykdqNMB17d1SUSjjWhfsCyTaBJZ30CYPHSh42y3hUkR6RO5aSyeUciqVMJB8jT5
ffvB4P9uXC4f5S+74cb6JpqBsELmsn73S3EHl3S39cu2CoKjFPM47BOKZaMZ3JcfZBU4Hfqh53v/
1jHFnbNkGJPjICgON5UPKyLt1qLk21KZOdAylh1qW93B1pTjZE53N1qvb2tl5EFIT1poZbxZv8LP
8FHGXvNBzvabb2lLZXrQ4qfR9JfysPDQC8qLpjQfFSz+W5n4h4wwsmbK0cxz2ywB1A/9xPtrU5E1
Tr2k9oKrvtPd00DKfk9lghU043UTf/agIF1yGsIJIR17UZvcQAR3+f9BUDqtqvQ/8jCg9L9lsH94
O1sGVyX8INWCKw/0IPHyrtKRntOGt76XmtlUcdpMffTSVEbUGY1kKK8HyTaprvxlNsuRqv2AGy6E
Ue1O8WcbujragNY3jYn3X3szxEkK9bTIqyoxN4uc/f1Uh56Yc7UPUCPvQNwb2Kwb2MWFqzfAY8c0
cVpGqn+TRxvxIlmbrc/bYylF5puh/B4uuxryRoj180aUqO4hP4xNWvKxHrN9X8zLui9H/MsXfVnD
AKsV0+0g+/VxB9YveGhrwaM7mHEd1d0RAspwFt5QV8DYHtPwhtvHeD3vaytln640nMsj5dOkNoDQ
CYCA8Tb3sI0EAIpvJ6C1DwF9rKQQELKunK+BaRXNlVxRAPuid39Prvadd3426amsPoPjOD71Ege/
x4OHXZcKFg3NbUKCljwM7URZlihUs+88WffrUziNw8bSGrY4IRYwKhMURTvQWvusEx1b7syUbM0f
K/Wpuql2ERmKJrJoap49BsrOXe0fBq5L1JBYPpvAVArXthQy7dQ360KfJ0MGfYOMvuJpv0muQfzp
9uMEuiyg23k4lZ0ugrqS4R/z4K1jnE6t8bs91yTWnMPxXOgVxAPTi+THqsaS/gJpYRpfWQzl053q
wnV49ILYS87T6iX9o+HHgg/AF1GaFNTmZQgztOvvx+UlcY3XZzG6GurXpTWhfKzakLdBFoxAbqm0
n6mc78ASiPib8CdcPBktjrK+bglGGT0iTXXi9VFKlUZQeb1UJqTr49z3KELEQ7202dqvg/5PItdy
MsU8DvD2Z9Ooz1A685khuwYdl6DdeVs+DWWLewWYNHX0tStr5udKVjyftCJt7h09xVcPAwJK3xDI
OiPH2h64nunnhzH2x4dqaQJYIlZ98q0MuKpuIx5POOnpspoO/EJe2+HsNwYyi3h/GRx1JTEKNGd0
nXQ+i7D5Qg4p9RVLeu8WFcnJQ5m27kmxTyp4omNPb2a+sDEbetn6Kd17E58kqwRPkwA46ZSPHRiZ
SRCWMl2WDrXpDniHb30zrHvKK17RtPdwXyU0ma44IBknWMjF39D6jTtbNR0yG+q56fKgXKc9pbxX
V5Na2dd1ivYw1aFSAkLlhq85WMeVuVJhwP7TzIsHEmobfYqnREpQodujzMM4qOS1HBVuaZbpqFKy
hMkr20OdD0m0bicNu5P6YasS7+SB7DDcQF6ov40jrW4bU9d/+oLirYSAXWHWrdHKbuakbOSL8oDw
ymoKT5386PoxSanqk+l53Ll47iT65NNpLenTVgpe57olhOdRx1uQ23p5I5NDPZfKw2FtD71yyedB
v3R6jK73GIStfGPxOp28ftjVaZ7ovhbInkORwmrD/JyqgZF7UgtZp1CgjO256g3u0CQaxNaboRUy
m0qvG67ZUQ66wJ6763uogm8Gvk4/6VFhdPqqzbW3VBXWmZHdCEnnt6EO8NdxYzHOWYt7ouca3fg8
9ckePm3LGItb8JdCaAGqVocnFmz8kxipMOdAK7QC1VKt4mTM0Xh3smuNvgZvZjsPHXDJKVdwZcqW
ivnrk89aeByy8ehO/bRvG8jPZD8+q4FvVzHuSO6aoG6HnDI0GIcBihp3yRF1JNuiXaJbUgp910Vr
NPya1m6IT1Vo4i1NBJ/81JNDsz2PSY27kIodPf4doGMZN4CC04KuYSnyvR8WKIK2pDleZFivLIeN
MDrriJmOlyDEkgHERKLEN5PMsMoGEW9heTPU630JdS8uuPm8dcW6+2zPeAMrqFSYSJirpuvAtk1D
tnQpQ6f3mbKanZa+nd6SHSzDdZ/4dD0KKHpvp33fp6e1H1SJOyeIfKNnJffW3GMvKsN7PSf75z1R
tDl5Bxqvr1ruwXMhEyMDFg2QmuhXFUca/eMJYSXaARuR3HYG5nw3A9x5hUjbamQqNzNcsO7npUka
YKEoac+YUeN9zZsGbe1rX+H2FaieYh9ruj4PF0raIwtbyTIjFP0jiOE8h3JeX8Fi/uKb8pmreKy7
M6t4HOawwSRlA9eNmeYNrFqLWVa/WuXNbyjYHzmaUTDR6yQZMy+Glx2OB0H83OHO6kuk5fIjObpt
TGlr4iQrkzK8UQ1T8OBft/tAE/PStAGPMjnBElCJlp31sixDGqyyP6NiU2Uz2ugyqjpyE+ghOW/y
mEm+8ggkQ46/1H5TulZ/BOjffRJS1VubBqWKZB5IzPsXCMR0cD2xgwzpFmtSn9pOJG3Wrt0S5qNv
om+0TCJU1r15OzJEdeCl0jcjfUNQmTLfEuGNd1V31LDQaw95ErpsgivIrFqVYurpcxdoOKKTg7Y3
NQNAOPO4CcYU1nvxtazbY85gRTHV11wk8T0ocqNJZeN121VYt01wy5qFKpNN27TPazqRXbNHJeo4
yNYBwKI8EV313I0qGnOlSfNa+ZPuUlKubM50283pYOi0pFMUifXBa5PYZI1OxI0cur4/b3F8dFdz
LDz94vv0MBnkOLjuYxVSkIrvDTtxrjx53bRtjMqPCfoUPj//6ekyDKcpDFudJ2FFb8Um2+aKg18z
FnIlTd5FXGcsWJBOaRHKLwvoxks6a+wB6U67bx2fknODjvAUXrhPrRgBsm1Y62OlRwuNyOuNcn3y
kXGkG4KxTNlOsUkvhLcPW1f3aUPESsACX65ngTNEvNI4ZZKyFD9J5lNSPm6m+borYIPZFrLrrVk4
qjAqwp03m7GPmaCFu6e3QZf+PBPTh7elqcMqWzalzf18TOWSRboCUEmNtRedmBrRXlqhxc83KZKY
ar2hZIjHrJv7VqSbf2zipHg0jw9sqY3J5rln1bU8BDyFtyap49s5Rj6SjqNazK/d78IkDY4OaL8F
Sfia63LlXT6OlU+yhiJ3gP/6RqYvvC49nY+UlyaXFUCdeKFNv6JOpprsgPn0HZJ69OyzsFz+sxoO
fxoZlKTJVoHZdI7iMXlARfYor7wQydVVJ3W4vybT1IWYy/5KsqGa9/5prBf2VYXKR4zsnkSGkpTe
mHFY0Pa4F/dlk2sNi7cr5sGF4MTKJKA3YEF2SY5GqKp6qdD7RB76JDziFOlAdd0P1PMxAr0/P3Af
h4y8XtcyyVSX0C8m9jaB2lsTieHaM6BspkODvDVLwqZnDx0UCnUmGo2+m2XT4nHxZ1yD1gFMHNLo
gFTvOkxq0Z3HmtNX1OaXOMO6OVzFPuWP7baTOW8j1eiXg07rC96bfGe8hCmihOlBc0MOsFBSmNTy
5cex7NwvQPNGnW7r53XP27jR8Ruai6PpOsLXF3E2xTSpvpt+Bhn1aHBLm1bbkLyGXG4tTJ3riBQe
oLhNtnszGU7VAHfd3Eyz2c/wmDJTFlSDP+adgZNdhqSf3DXVsC3IfnU3nHv4XH2BUwonqVQG3pOj
mjcYi8Zq+zPxh43WEJms63CtFyzQ17qbB1noSaA7Du+6JODLt2ENcSS23sKw0esesY6L7ZM06DE6
H3uNs6q/7aK/2bYw8fMpBrMpLzd68JzOfhBkB43G4LpZfY71ZvFrWHbP8z5f0yPCMXBtQT9+wzdn
4Rkk8X76qQZsoVdhFBzjn8JHe1HGIlptT3tY7/SZLZ6pC9gElTwfWtKfoiCmX6VP54eaYe/PfTqa
EKeFfkb/A6QkYd4FY3nkySCNuVZ6a1nOg3bwbpIaartnJKLMZABtNtNn3h9K3Qu4vSHjWoYNpY96
nk4ET34YygMJZt/XrPvc+mFv7tohjJOvXhcG8uvi9yR6pNu88uudcva6sJApzLNOPcplCpvrCXyf
MEdaTUU2wu9/KDaTDH6G5geS/ISyC94BaUOPFbK/3Xh3XhyV822gcO2RHd3YKUSMkkc6tmECBW8M
yV18i1mfYPxh4OM9NqQsvSdwoZAOtKWHCMLHbuuoQzsVvtOJ7WRfcXUC87OURrMh6FcIptdg7iJM
OvSNb/KbkqZdfyQwoSx/zKKkx3+SBTNX//J9BCq5sBq7CUfUhEdlZjqfmHSP5cYKPV4QcU2TrGcj
9NTm3YbdKxVThcNt1czNn0EfRV83ALwuVXlVkQi4+BgRgFuitTqZHnvmnjMP/y0BARBm3c5lsI5y
f6IgXNZ7lixMLCrHWlAP+KiGwxKlxaFJ5n6rcXqZ692HLR/uIJMCNr9a5KwRu87AQfBJCiVOpbAq
bHAJWXDYflsEms5RhEZrYh/nSBsJzN6juIQYOOVLtwdfqd+yGJmGpF4W1F1TPS50ZdVPLLPjkK8J
5tKpNmPMb3i4KNAWwmSbkm9JPfn6xdSoELwMMlZdpsNoqHDKqAxAwh3D4hdjHS2LkNKqSSDwmtlx
j88aNecD3JNP/hA17RVd2DI+eppRP1+wwrS3Uo7rJwBQQWxVg6mDZ9WIBdkpagXkpwFOkhYxQWvh
NURNy5FNSLmXT3rXZEnDo++7212v5XJVa8pwzXX4v6DsWUm6ymr7k6CJ4BM3lUE7iKf0BGdTw4a8
kyZQ53hdm5/DsJdapdqHtxhSeCkwCykQh+K0diRu8VtyeP1r9dArLq8RhOZrTbqSp2wx/NqPDv6r
JTGOqxHp4jDbcVmiCyaauLuf8VVUm4rRoEqd7nMvu/RoV4YvYY7wCfRrNL3tR7ClBJ83X/UcLLkf
jv5TlMz+cGa4rmPIfbC9pVU3hBMEnJ3xYT2ssemBfJmwkz/CU7VIlM/Ej41WgyngK6oD4A1rmiC2
kGBnSk24V5k9guaSLezCRz8B3u4pBDFLZgxl6CE7cEju8uaYdX0+tibUWN+6mqUQS6NJvMH5c75h
MKC/342p2hRUqZXf6WCfcIbyJGt0+j/MfVtvpMia7V/Z6nf2RABBREjTWzpA3u303WXXC3JVuYAA
guAe8OvPyuqec9pZPeXZfhqpVJJlJ5Dw8V3XWh+2ygafWNmJb551SP9MaNfZq4yDibdGUxeism7N
EnwFqxk2gQGdlkUBFtHf4BANuxiFI3r4IUoH3HKoyEFPuGpUsSXBVGFh+iDqwIugXUEfKUHnKbSQ
mrgrKEdXBitdElSaNqjFDvEGdEIfYKkdOut1gMVmhSfRz4EEQ0Scps0BFYCbg9DLaFEGBIb4cZPU
wLENVdokh5bqBZvIKU/cCCWeuJ2yRvKQyEnoyIgufwogirbr66R1o9StxEMyCKClGyOz+yZtgk/F
wAsWUVLkL6B/LXcCayJwkRMCOiofX4Zj5snrYEzyz5wMJY2dqdA7nGS+9mbPWcGxFjdFqnoXyZKd
qmhIRLdhqe3JrlIzENS+gGlEpmBYWKJGLEJaL0gD0jXEtE2KODdg+9SUwGXunXaqs7v0BPz9bAqD
NMfFJMb/Dlpumt1VgNdjREMRpdCvESgd8gSNtmMh+/KimxlZqcGBjE+O29Gs2lYV4haiuGSKuOPC
6yaIWnqIMT5nSdwOSO4bGJhD0UpzyjZkFl2kaLFZBdFpdEdClttVIeujy/j8MLnFsE1LQeZDn9a6
/dpZkiBYVH2f7p25q8CCJCL35BgqUGquLfG8MpJFUzWhzz3HufaaObvsvUyQKO0N3y3COsmu0xb6
33WRpPlDlWJ73nUict9FjkpHGw15mt4Q7mIDk+yG6si60cMCkjKp50uLonrnNVNzmBPXHyLUTlAZ
YgkCaY+SrLjWvi++0Kos87jgyEzCmuXyzsN20T1G4QYyVsPYIsscc/uIHo1GBu2A6IrSRtX9wWl5
gMFsO82fSD1Nu8RpFy8sZaKOZqyr7yXlvNHoQ1B4i2Qul+pQjSj4DmMrpAqHhQ42mguLOp/p0oE4
FMMz2whVjl0WQkYnT+44S404OMrJ96Upyilq/cI6ezcZBoO7yftXLBEs0pANfcZDuvhzs/EhMvU8
CGvHCHlccpW7k3vhJ/JmGDKARyF4J2wMt7lcdl5u3IsSQ+5XEOn5jcDA4nkWKC72OqNlsm1pSdiG
+ME8bLDmpe3DvpnyWwZ64o3fJ1kTtgmfn0Fb5E+unvS+6D29Inpczxl6LUx/nTy8EqHfddMT5gd+
CHQMsjVM6+E5a3JMUV9eeeh/Y3dWB4jAakT69JjRxe4axM4bcGg6Z1cFFi3SMkimG1+6y37sOMvD
OZHlPjWbr2aZwn7GpjPrkynmm15CWiIKTp3gjKr0zi3T7IkKGFcucg3sks+GDXZHgpbXAr5oor4q
8CgU1hAd57R0j0G6zC8JmnwPFUu6q9nInm6lpo+SzOE8td9ZOt4vZUnRWO7TdK/YUhi0/Fh2YE2W
7fBgnNB0WLICHM1UzXHftVMV4vazh8RZ7BgHSJ7baHDKHFgh9Ni+ewsE5vA2eOhBY5OjvJUomq9y
OYgrx1NVh6gzp11IYbZ4T7u5vFFksuN6MZ5frLJ8Rt91JH7zDCQbcRG5PQ/d+cq5odLpd9QjPVa7
JJP+6rNlfhXzaAgakDNrEBIq8V1DCe2bz0aFjwbNWEQJ/G6Cvgda8+hEZu6dm6JBDYrdNDw3rq7c
cNIexAzKtu2TuJZctaGbssQiOZztxWBtriKG/vw9UDCehRKPo1MUpd30GS1Co9dj0IhXvFjuNgiW
o3a86igVLS69pR2LMDDecNUEMr2Eu+ZfigrLyN9BXfw3w6ZzaQDoOvedYTlg8Xx0d+CuzpEHaaWP
4Qe4+3bAVxK0NtxCAzECE3dGpFul6zx/bBR8BgJPc5M3ozoND6naqhHuiLrTx1bduMHpdv1lntqM
fl53WBq8svZkPwabw/NlcD7ERXDPed/Uq+csQRhdQWuTim0ekGXvdpiEfgj36J4Tv4FWV2h4A1I5
TcEtSS5cqZ4+dNPPSd/zrNBqyRagrvwuXNLg2gncj1niOeMbwyUQPjRsJU2TL2aqnmkr3gP2/TdW
fk75HjQvEy/DsVmafOrEEin+sRV87jnhO+/ykimLaW3m6M+swhwrHT9/6GafE74h/DR7UAaAoJnG
Jgc2BR6GoK8fO/YZMNDrm0yiKgQpu3JfFwxYZEPtxwbY54RvjI5AiGlO9EzufMGSuD6mael/DIR2
TvhGZWMrj4GgCfUbFSsU0I8YoTUfQySwM9iQ589oIHYnIxxockHRqjDe8tGDn3nDDF58qooaYMyh
OwazilzTfUg+xj1fFAGtSDTeA5Cn/N4+orUYBTb79DFLOYPzih6zMgdsnlXSzt51XmR+OC3p8DGH
ck77xlg0kEuWgWXvYJQzNc6Oq+xjCkzuOe+bTYTIgBgId3nozWJ2AegC6uoP3Zdz3veY2oQvkO8C
9E4+jg1mUmjQffDYZ29nZaHMj0434CWtuy35sCo1/VjsOed9j8HSJFzgstHLXU9afZZF/fKxO3IW
NFvIZwbsJKzHvWGJJq+Yt3nXLfHHjn72aooZwII0gbyjGmSHheFtTLGU4p2IyRHX/wZ3ck77Zujj
QLIXXJhyGpA7pl6CRaotsYBdeAZzYbS1VGG2VUDtnyu0/uON3m73r//Ez19rg54BdjOd/fiv+7rC
v/88feb//c3bT/xr81ofX6rX7vyP3nwGx/3zvPFL//LmB6zcBUr2BsPg+fa1wxbEH8dPX+vTX/5P
f/mP1x9HuZ/N6++/fa0H3Z+Olua1/u3PX+2+/f4b6GuU8hOs+T/+epI//+L0LX7/7f98Gf5xOXSw
rD8O+fZzry9d//tvjP2TsCCQXGDICvTvCSE6vf7Xb4iEQAannAFAfQLNa4C8s99/c9k/heQQXfKE
z2FuJzZmV6Pg++NXOAx2krpA8lL06H/7r+u7/sMI/nguuCl//vwPPVTXNaqgDt/qra1wj7NTY05y
lOOC4WRn5u4MSz0BGuNBLiXdYyQlV7NK4izxlpgsLgUOErzEiWV3EpvdnCWYtiPWLcceK7BVJivW
bKHz1qbBTkPn6tSJ+5O9/G9Z1mX+ta27+nt/bjdvTO3KvOq7vn197S9fzPlf/m+0sF8b1/WLfqne
mtbpA39YlcP5Pyn3XBH4HpdC/IDY/mFWjvD+SbBYmjBGGATHyGmh8p92Jf+JoQRQNES6WDboBidz
+NOucDzJXSEx7wBKnQSw03/Drn7o4P9/H8RYINEKgWYo54F0veBcG+Y0oOh8CcBlA7b8GoI/9M7l
UOJfFgx2XWHdo1ON/W5cADiIEu2iOjZBcMlIqS48hxSxO6BFqnogbgj32QYdp6YDpKp3YgmY0yaA
o4sBchHAN1n9Du3gh1jD2dUL6nLfdyHpc7r+t5UTLR0mZSKB6nYCcV1lSX6QsnJVVGHrOFAt7LlG
5z9EJYEhFC90tgfoDnW3oQwjSD9ngDZkKIhJvl4UboL1B2Cf0JPYd9oAMxEMn7HB+Ja5QfPEiQ98
UK7lZ0DgSUyVp7A61CoZNXa2mwb8t0OGLDpOlr6PwUYBRVtn9ZGMVb6ta6dbI0Md18Ug3HWDqfWh
rSr7Tp4q3kSU09N0PRhSQHwuJXDoZ/eDtaSqh7LwVqKt7H2JIeQQLkODTQKYOYSYqhdPDdyFDYd2
/PIXj/p3HupUAr99FgGF3I+Lq4CrlOd0Q10CqCGGjq6GCf8tSsqHvlzmuBa5XRuTrEveljEQc5gc
jOMjZrDFfqbm668v462fPN0BmLPgAdRkcAfouRpEnRlob1jRr6YRwwEHS/RCMpXfHS4efbeCvG/W
vgedPYFY335xLpgPpKKLCEDYOVd5xGLxAcS/HrgPzKwADX6qwIPuhH7vRD8/XZwocDlAJIyiL3KG
YNZmTDVbgn7lK8i3hgtb6k1Ss36tG9ePLW+LsGuFu1ejYu8kcD94rudfUsIZuAD3oYdwTlVN8GRT
Y4YecvE98FsGGzMFtI1i0aV8hZ3F90YnSWhLCAbQ5REgwveaI3/35RGcmYdYy4Kf7nLnpAF01Np+
hdHHE0nqF9sET8rDyp1m6qOpp2utg/tfG9MpqJ59aSkJfHYApSXOzk0aAuIT0UPeQ6esY7s8x7aM
oBDm4ddn+dl+BJVw5tQVTFL4YFzFX9o/g0WLFljhdsWLPItn6Ws4rL4LdeG/RwX+m8eIcwU+Ikvg
S4w2zuorwJumoulYi8foHzCZfGgoe3UyraKcEIPGcLtqCDaOYGQVu3336dff9CyLOb2dAnNgkKsQ
3hALz/sXnb8IDgtrV73nfmuL+oLYFpOb/rOXDlus8V3XBiLquQ1ilfE74sjPk5JzxBYXQ0fLNk0K
dvQgijwq3tsp8DdP4c2lnb1cfVdlY5Li0jiTe1fLa+n3X/Bo3vHQP9job20Kt4ATl7ge3BP85dun
jUm6sBDqbVfKt3e87zai9h5Lr20xyRxWnaPWGckuxQTKp1uk4M1Y8e+xQv58CnDQFIbte+651mmu
gMoHOgNGIJoaYAIj48l47wk1n2LNT19UIq0glLrAh5/FIlKrsprIiLMo/pDO/L4vTyBPoLcw1f21
Xf3s9AViP1J2fDcMvM6dvvKhMNuwoV15i2m3S8qf8nrGlBQT8M3IegZQP/Bdvz7n3309iNvCOTAv
8Ok5bVq2lAZWde3KN8N9KiUa51n7pff5HjPJb78+19+9tq7HfxQgONNPG7QbB7ijZG7bVTmrMq6c
xkbI4KsonWsbZUZNG9PnYzj14qlOp4g0xv2I3QJNhW+LTUmQDDx7P4YpcQjoYi0URPxLiRB/OHXE
1yAJxFCzfZ3xWC4oVXls83qDvPUW1EDnnXv+ty+P/8P/E8QBaC2+fXkAyICCc6bbFbP1ExAxt6jT
L2fa3xtqHpHaXSN2AQDDvvsZNAPte72GH5Im5zaNwSScFHIsAMfO3CfQtECXdWkLKcJxXqnRuZAF
qTdForJVz/S687vVWOTFGqouTmhBjXXCzGNZ7GCjat97fqhnGhU+V2HSOMUWkh4kbmv9Hv3zZ+OU
gqBeREaCi6TemZMhEC/OFkYoApf/kA+e2IOHveFinsJldKbo1+b5s+tEKDnpPKI8hY2ea8F1kxsA
blXSlcQI+FtR5HfMq73vo/NeevtD8+nt/cdLjpNBVZKh73iuq6QUBrq28MmKQsjbKc3TAhpaNOvu
2qbIK/MEM5m0nfUaGld7m7oyZpJMWwNAxkAwCtbcA2wts0CGFfxzHwiAOCc/DQ2matueIZmgWXbT
AtIW+mUlQubaNjanlebe4Eec2K9p/962jPNnxQlCAYI/cppT5n7ujadBZ4HJGoDnUEBhWUklbix4
J4C7+kmcT/o9v3ye1PxxPkE9VJ4oJM91KsDUUCMBzWHVIjs/1Iqwmy5NgvjXNnHukk9nwVYnIUDC
xEzonDtZ+jmtclItKzcBBmQx2RdgYT73vrnoAIGV/VK9c8Lz/BAnhIAkyHFIajwUIKcL+ksWZc2U
CUaLeeWmPH0y2C2xAvTqxW3pV1oWbViNUPhStf/elOeHWNBfbfJ0YuTE3ilJxDz1p76vEr0CeMCu
yka3oUEUcmvvPgG2OSymztu7o1kpph7E8j0LxJ0m+RXWdVwkyICWunpyASILR5m9t/Dy/KXEZaFQ
gI/iIOP4wfnwzAJa22m8CyvZdAJwy9TfmSSVYFnN78mSnNH7GFpTQD+SHwWQBMLlfPJazM4Alj4Q
KT1Ly6hFoxoEKRP73F0Aq9PFauEuiYOFvrApWc8AnEWo/ICZq/01zAP4gin/8mv7+xtzEAy8YFyO
QJ51Lk41QBAM5yrsSnVBD9RUWYHy0ZkV48sLqBNPakhzwA7LbP3r8/4UqjmhCJKoBBlc8KloeGuH
6NnAn1s1Qbau+F4GCxAikldFFUsL+Jcr1HIx6aE+BFB1WY8g6HEQHZv+nYzhx8z4rVUiUaDCpx4j
cJjnj2QoGw/qos6I/YeT942Z5LkY86uJuMMG+ILXYhqC+xG5zUksTaa3rTLztiyXuHJlduOIdleU
XFwMY1FvbcsBludpqkPt1O2h8W279p2lvuFOm12ZxWG7wl/oTmpgU2tS6mcGcZNtDXbD594s7gZU
DLkZAE1H30E364YDxQSIUliBS4I9EmN1rCe9acBLi9y5qYAf0e7O+uqLRn9tT9EKQwuX2lvA/nCR
gx9L5dZr4OEfm8mzt8D36FAA0QgMYceOTc1UmI9lfVV1kGrKZMVXWUNVjGS0TOJ0AsWjLBr/2AuF
rkhAWnGwEy0eCl4rtjEcYMt3EpeffTwCoy/BdYPIKzaJnCVPS6OEX5TtuJqgz/BNlE3y4NJEb6uF
PDIwGd/Jh//GCPHgka2hxEKH8Sef5MzNrNggpxW4Wvcs9R/wDL8AafoZxEGgXqYUJVW3bbi3Smfn
nQ7Mqef9JvFHIyzg4tSWp0B//QQIqPJFC4CKxxXWkiWPAzVuWOUg7FScJF/z0Q1A0rCNE7mlY2+D
KZk+lcDZ3Gdlyw8pr4PvoxphiMo6h77qIHQGqA5wY21T59hCcPJmBZntLbiPbiR1k0c9AP23BJt+
NgZEDAjdDvnm12/1z97Ex4vr+kSir0aCc7hAyeZZttOEtwnsNyA02vy6lbm4EsbCdoIs2YnRpmDJ
8dJ9x3SQCJys4+27jLgiEL1wBRJS7GfZXEaTPk0StCESENPydaF0EVImqp1biz6DnHJgnrGIsAuA
rrV815qcAa5dOdVVwir9zYJv9SnVIBNNQD3sdMfs9YKREzpIxeAfFKhfTyIAytM14/dysBQ8YdEd
QD0sjwIM2zlsEs18YC2F3PZDBegTJGXqa9uwZ03pkfCSbrFU0D8A1tuCaVE9LLJ68bRO8d719c4D
e+NTyyv+ea4lMLR1XV6C3Wt3ZdLyrWFuc42l4zxCxiJvx9k3x+lETI0SENOrlcEOxx0ENtptBmr2
fU14XcfjSQ8D8Xar2WCes57QjUoCDeTqADaONs0Y5ggzT1lVTw/o28hV4Rdui6VndR6ZRqWQ0KrR
X1gZj+BGVFVbX+Rd2V1ZZ8bPST3Wh0RNCza5d+Py4hSD84I8m953k8demG0G0MpkgahNO7daqZ6a
Z1tKFS/NZG8KNZRriNAtO9I7+RUgzvMNHZM6GsG5DJ3OBVCuV4rGGYQhXjJ3OMm0eCORaSgYNksY
3dde3DW6ObYpusnrotFJlM3KXjKQomKWkbRZKwPIeZQ4jhts5qTHvQim7h6YzxbCSikxz8tYmnXX
VNDCPbEZjzSn5rIbgNUt2lx/Fl4D0FyW9WsQRnks0wDcWUBpwzHgvVq1dVGo0KCt+4xchp2w0vkU
ZpypLVhnfKVFCuqeVzf7uVBq6+ZN8Q10+uEatO8A4EpZhQudsmNZWbWffTffcJUDQKcXFQmivKgj
FUxt9tQqM/Qyg5DXAAB0kcX9KAPsXuqEswdymr3afjYdEgkCOuCCijddiR5trk3OZuFHgds2m35M
wCMFxbFGDykYMatwqV8gd/dKYKwzIZotkVauVJE5UarGfINFct5OVE2+AX9xOJI5yPeZSsW2bLvl
ljhuBqrAKAGeTqdy3i9Q0rwB6NSJFmbkReGBhLCo/I6qgl40zOgNqMPksZWePgAbwUBGm5N11xJa
rUiuh71tiyZudCChJCLHtW0F/5wPQbNdtG+bCHLaWWSLufqUD3pBeNXzZeIAZeu6DsQvSSXdPfij
TZQvfEVnMcSLDRy8ZDS/Va41e7/m8nEeQchpE2ZvWwf5RbjUorls5zJZ12MZmXHmuCM9PWIXZRMt
6IddgoK+sk037WsAwI91DV40AJ80Bmw+33R5NfRYaV6LIASw2dn389QcWaDaO7wmzwNvvTgQpowd
1BSbvnX5TvbgggJr7GwX1ufxwhx+nxc9B2M6kU+WKntrQc7/agAMhbuaxNrAad4W6C9fDsT0MURL
xXGuyuCS82S8bIeFf3ERBb5K7eDRJZUCVQzakT+e6dRBfLgESP+Y5LZGHdfP9YECPm63vC+KuKta
lH5zPvaXoIpgWpWDAnFPMSG4nTW2TdLAlVGek+YAtPd85RTVSnqdvR5AHb4FayU/QJutXo9o7K9d
DsKc4woHY3sZRNiJLQ4NquF9UamXCTKcQ9gnyomI03tb7J28CYBGOvqmlSs3D9R1jhL1WqcFSLro
NQIZ4oIpcNXXi3c59Rx8RE1rJIuqYBI0E1rkFaDF3mWQs7ELg3J60E6zCuplucsnRY9cwX5xihZ9
U1ASsDKWeHHbth6g/aco2Pca465xGBMUJDkULlYJYu1zyfFZ3Qnz7A6tOnReBqlcqzVYRlN98LjJ
N5WYJJZCVTSHAAZkr6MJN+KphlJDCgTzqI+sHkBWSsZ9U3Y7kwnQXqDyttaGNXtMrs0xL0poWijg
2UFtbm4HIZbPS9vln4LZn2+0zO70VDuvAbTO4HtyFqGHRo+gH0HdAeDKSM3LcM2TLqM7rHcf5kuj
c6C2TacoZAeU4VdGQTJiu4waKHquzH6pCncdgFKH6Izh2MPIR5uvLKgGbqyHdLRbrdv0Ji99K9e8
l0OMOzxhmdwASZ8YXVplY+EZJ5yaORg3Q5DydVbYFNNAjHctqM/jsjMLNesE7LMbAyVqEBSbAFx3
1T6UFjj+rG2DKygs1K+KOvZTmUkHp+7GaT1Sm3zyHB+Y7Qwz/PXUjfWTQnecg7bhBPUqs2xed7It
snDKennoOfm2DDVfDWO/hiQCYO9j0xQQjAA5W1n1SRJdbvIEa9iAcYUcBaLMdI3m+PgZjNripSBV
fl8bm64rDQRAJO3k9mus5utyeHFneXbAj21iv+gFGGhg/mwZYNeXCSl3k/TKG8xH6++L9iBzx7im
Ie7X9BBYb742zoiuSDrZSPsMeBVXGW9PM6hegXcwHEYwuABd2YAFNq1ApPVfJgkK5sg8+5Ak0ixr
S53smNS+90pI/sXwkV+lPWu/OaZEnjiA/fxgIRUFPoA/22tDLbKawgj+sCwupoc1I0djVLGTkONA
47G396iDeNgBoX9ASC2fh4VI0A2wzgOiBhWcWRW1dXpHivGAegfUYOvQSHbpoWzVTcDA6ZZjIy8c
i5d1TIm3Q9dRQD8NYPF6Q3sHY24DQqzDLDbfkdLdEDr1cYYJ5Gerlip/5N3yPEMzgKwRpHWKEueU
XGDFzSbvarydWSb3s3X3KfLwbWVbaOsGqHk2LXhLJWRfkpBj76gOM7dBlPM6Dy7Y91qEdq4xR8A9
EfYa7NUM9KBTFiSHNNuMmWG7eoQMCBi+VbOlNt8LXOMl0pXuGo60DHnPH8HORR7TlvIQeAHY2Wq8
mcAoWyN0q4PtlwMBUyfugQe/V8imGSihGz4gpXbKka7HrNwOU1/BgUKCD2VeFw4u/6STajVlmE0N
YIQhILvfE9jUljENSRwCzBRo+ito2QRrk1V5iGVZUOaop6cADJhteVolZieDE7Iie8QdKr5UTabD
QhO+LgRPj41skF0LuSvYCDJ95XZXPbj4u+HUNGqbzH4Kgirfd2UKD9Qm8yMhZX+owY7t66peTSWI
VHQidTx0VoMrC3A/t6LYgfSyAa9yjDxIt6wMuOXGzrGfqnu8zGVUpMuxgApEdGLLrTrAD/sAFGVo
TPg3IqEQdWWW1Ds758MaTE19VUxmvnYX01XrtjXZcabwoAwDw5tWZVAACSg5LrO6Qmwb7OnOIIOd
kW9U2By8mgLgynIeVJGEo7thdsAstazYBaTom1uQCOWFoNXXZNTzoSzRwIqDIRAX9vQL0kJ3JAIf
GdoxdUoBBvb9MMvBmwTZrt3C+w8hHxu7zyC4iX5YOjzgOIcRb9d+xLTt1LWn/Utavcw8Z2uCHdpx
DavdD8WMjMxLsk3jlz7y5ERduAML4LEMnmGaNFCHqo6WaXp0fNimQo7hDK7eJl0CqmMndZi40sfH
p69e4IDBCk7J8QdKCQCkaQeJIO/BSeoGzJd0vh1zmu+8viDX6ZA0m9ElKHKg/usEMQXFAiQvECbh
Pul8wRe32jStPz8Ek4EsgqzVra8CwDoaUK8iPrpYp01qzS69VBdQDqq4X4a1A6tfULiFXPLmgBlJ
3oZynj3o+eQ+Xp4BeP45opoUa5mN2Sr1urSIJilZrMBcf4Wgi5niKoDaARDoCYizTtMH1zOEcWA6
oq0/K16md6NTmF2vrK3XaTKJNEbLYrzpDOrcSEEi59j0yXQca9euG9cx0O2fE7gpUCyr+6FUzkWJ
nTkI90uABABsUvSM0MMEviYe/MWECcOjJ5VvbyF1wl7sWH13VMP8NTpZYNZa0sZuTjhUY8VkOqBS
ZlNuJqDcLtCKcvYp+ENrWmh1m5fBENIG2zWzKtCfqtHpT5IXkG06xXyaaaQvZY6burQzHG/PaxGD
/o4cGVFw53QmhWa/7pFiL/m2A58dnVxmVrZ0mqOtZKRPvOi5JzZEI0ZslCOwYBazoBl6iKtqbswa
nBiRRB2ow6sp9/h2zNJ+Fcyl+TrDvGKScrZOhMPXDFkjZvs9ZElQf87ONavSboMawVz8ANP0fktX
xVLNY0iTmrzUWFIeB62g+0T1BpOxTEQGfe4QBY5Yd4vGloccSCWQouNuYkjqPJvFRCXTCynSdl26
eDhQAdg3cj5itEcfF+N841qlj+Pk5V/GnpD1MqTV18GpAO+ACkIR+b2+ncoh3Xeszi6wKhG+3Wck
zszshcyfwLCGWga9k36a28gsLJyd0yV1ATovY3khoK5joNnS6miQYxK1ztiAv+luJtBdw743zrYx
RQOFfT7sCbrXG8tksqeg+G5Spzcx1QmJU2HwsraYOLmpBr0aziq0pkX94nTyEg36xY2ypQVOBE3X
LeulhSCGk3PMQ2os1QO/Ke3v3XkJsjCo6TSFED1uVsVUblq0RC4lQYe29dieBlMPLlqL9Db1BtxF
0B93kPZtAWGdA6iHeOMnbI2bdsY4jQuqVAn71Vi1gw6bPjiVRLxrQVXO7hfmZ3uH0JqEWDRnjtBE
xfjGIJ6Go2iR3WkPhYC6T6c82SWUpLFGSwIdiPku7fJgP49pG+dCpvOphzzsEo+Oaw1dQmiogQFX
ELgkWdbgbhGygCiIlHqDzgCIB8jdV0pNRUJCgZ3QWEY1IEapjvKLtuiPg0W5iLATjdIbv6aY1GOX
bvIs3c4e5zJAMwqAvesUCyYjdEb8sA7KIBqT5AKU0zwO+m6CqKCSK8+pd8vSImT7zpNt1a4LslcN
vmM0+acibqrduIf+28ouQQfdqlFu2t7sfPAEI8jvL/ejxoc9yLREvaVkl1LowxMMr1CrRN1YjHE9
pQ3aIPOCN1aqlQE9eF2TZY3+foqZ4ykiqNxsIAI/XQiFjp+L3ZJRIhIw75P5fm7B3Sa8KFbECfgl
9cCzZbm58HSRr4ocpsAyOq/ETDA6ye2lVn0KD1jeQlCqB/u0gjyK6ZHv2o0bkAc8hJc+VY+4UY8z
K7aT325mGxymoWouG0RkKDq2qWniHATcBIg5TyJFWWbJQojlaYgOOPYavPVuT10kQcuiQg5POYWN
zxzsfvDK+Vosrb3x8waKaGbUzq3PiiZsUuUeIQk1vuYyYBGh+tOCGWUd+kU3QUUWzRPZOXY1+30a
JdA2xPIB6X/F+yRDdXL7M4zlEDDP7UODZlGEnYobrWUP3F5wnZQBeJbg2X8aqXcvFhfqN5BVOzKA
+kKgvD7llZvHHHo4wHvR5aDbplwZPM1tDsGJKJeQFAJ3uEMm9H+pO7PdyI0tXb9KvwANBmfeksxJ
mZqHknRDVJUkBucxOD39+bLsfbZVdruwLxrohoECbJeUySEi1vrXP5hTWGBSERrIcF+Nfn3EBYNW
kq6dUzQDaFmyN8AJrB/89NGYNQUZUyIjLYY3FWdbdjteOYvmGnjTuLGNEZEY/kuXOPJ4t6anvKtU
ijrCsyfbw40rrxJNHHK65Ksz6i2DiigwzocifYqXpeb4zu2rQQ7GZdEkxZWOmjsa2mSrY3SGQ1oS
mj/ygYVhXzpzV7K4Jmfv2Jn17Ip53gvVhyjO+eWUBrD7hvmbP2nNXZ3NTA0cWpd4FesFGDfzA8cE
LbNnt9k6qu33lmGUV1qbxZeDLPxvbt0JA2Jl7WN0JjXQtAJCQRcmbaVxUkjdSR8HQB4svrw5Nr7b
69n9shBOc9be4ruB9pKCOEmSqNGV/OqCiRxb1sStyzM4JlNbHSvdXLzIW93+3XcWycfJjLHEMgz7
KluSa9dtpiubM/ltzjLtvunM/CNuyuU0F0nz0pdmfjcM+igCVwfRclsG9stki90QI5cY896IcsAa
3IskL0+d2JHZtR5L0eieUfgsD6JKux2WTeNjT8TrLU930MNBpXIfY4a3SzI9O7ldUmCg4jXHqs7i
YkO/MweUPsgB3BS/qXawQmXPUxeasl4jg4++HNCxMUHryBlr5wLcMYO61VvedumcDFrgOFz5OUqu
ZFzkjSIK+77sxm7fpTZVjZcnjEtJDU+YCdAfzXepqOZ42/oCoD0Xnf01WXEqDGBUIhwuZx4TfnNa
djQGthfDc4tv/tkOYXUnvBlmdA0PLYqMsDXLBkeS0nqqFjP5olHauPXib7y8rY0AcE6LvLZF+bDM
HBPlirK9GVzzKe1NYDR3Tu7Z4+9A9ELdoiVm5E9pcp+DPlKo2dvWaXez2WUQjr0DziFO4Hld4ApJ
rJjgNcH48RWnSg6oenYZQmgfZg6rTJcNCDcGCOuqyH8wlr1k2BDOyAAjzUsAfT3WXJsPT6nXHli6
6nunAGu6YuqjWmLVqUMFbuoWRDDWAAZkal/kXHrgLrZ96oRW76Tr15t1LoaoGPPhIEGxEZjX8bse
c0QPGOJvrdW235cZRwlbzWakKPQcfIBx/vLHY1rVzelMAD2A12uhRoR71CFP7vGEwyJS+lURSn7u
wiQ8oObWgfQBwfb3CulxAHw1XjYJGwWWR+IhV8rf6Mp0NstooyUWFf4moveKmOpMP3uctg4v0+zd
tsBapx8N9yKr6TGRlTiZSMMjq8+GQF9qXMKywubYnbxj2jsXqJ8KnOOM7eJhghW0cNt3BvZk98IS
5W60FlToGVVhAAE622FJ5++tSc0bwxyal6yr3a9VlubPnRj6J3C1s8dLuuAJmBmyRqk/928xU4Ij
VjjmYdaAiRcqnhMKnOaG0NtsVy3JzeJVWWRWi3z651nPj8ilz+OWM4WMS3Bch9n+zySjiWFULnWj
3QgLD06N7PXAFv5jlYNJY9ZTxaK5t/lWj8xc3jmeKFrw9nGh6pmF/dU5l9NT4jk7t6XVL/TiUWCp
etHX2D/mGPmBr9n+L77z30zgbfZ5iCSmw8CXgffnqbMFwoTzWg57s86sxyWd/VDOpqQJwGi2sCBq
9ecdx1D1myQyOOgZGhzRtluXpOcgrjUgfVIcdYd/vpd/nZvZLkxsYZ6FMIb4OYDK1Ks2Wd2k3RhA
3j1ME+ZRtzENZlC10sJhM4+DlrSLXxGSzhOxnx4hBBc0EucppAMN4vPtcG1sC70hbTdrLYoLv47b
YHHmMYti6T40mfkVevrjAp849LpspEWgULcZGARD61U3xdoUsBbtr0AP+SWDSO9qwtX04LaLGa0a
07ZyNWros/p5SNUJhgmzmCOGHR8d5NsARNulUmvYBvTE+I5g9CpG+xOIRmwwcvR35Qptz2Y8j7Vk
VX7XFlQDbpGTjeiXOefCWtN2O84DcAyOBuM6vnS5WKMuLtVOyzDbhk+EjWpavnhID5JgzITzfWXt
BCy9+mitya8Sj//CvHNtWNeoUXy4Dc5fmbv+QirPjNnSptHsJZq6Zefrvn8FEp/j6+aABrWOKx+U
p6VsN/lbKhw9NDObRIt/fqX+Ql+CWGGgwoLkwwjH/TlBYeT/NKnS682wmM6tE+NNizxruvnxKf8D
aqb/Tir3SfL095K7/4VaJ7qXPz2Os1rvD8nc70K6x04l6uvyZx3dj5/4Q+xko2hyoQMx/jcY/Ntn
cvMfYifb+43ZNSiLqRv8yJ/FTpqp/wZ/iOUKT8zxbNuCu/WH2onYrt/4GWhk//qlzn8id/pMTaD1
drEGhK4F9AY/8i8u7bUzjJY1acZmLSv9pS+w+1Fr0j6AWDDu+9Odufl9t/mzZO/z3vfHZwndgobK
ZYEYfd6DFvBtk5kocRaVS/5W7KQ3I0f7Fsai2qlEU/c5LOzQ7nAD/OdP/rxE/vhkPhNBAZQT6E+f
P9mbzbYc6TM2edKSzWuXcASoe/75Q/72VsK1O7NhoXn8xTjeUkQA0PJvUtu77705qJjW5b/S3/60
7/xxLX/6mJ92ckHtgwcMHzN1Y3qlKsxoprbTHhpLy9MAx1vsZDApWgJZYHhkF/mXdF1u5aySX4jd
f+Ke/uubwP7lH8t2fmZhTAX7OyQjvknIzhb1YX2pheluDO2d4E/RhdNWhEbQhUU4RN4tTnph+Q3X
swszcA//mcnJX7/N+R34E92xgkboWMx4N+OU1FFLAarNs/UfPmPGC/BeEDzwgDlMf06TsayFuYOq
mIYYjb3VjKK4QlIGuAq1ev/Pr9PP76zrmJQH6BEYm0KE/Tkf0AJ3xawzWxmWk4sDe5MnOgy/SmeA
Ks59+XdlgOzEMSEqo+Rlo0Jr83Oml640YD0MczEtmzNMy7RFrnujVsgFLElK5s4a8QTaYQZsfcMt
2l8DA6JA8zokHEs5/Z83jAdf13HbsVEHyWDGJbXZYTE64zTGlC6hM4IqeW0XWp6EeAqLNOx8iQet
bvUCVzvUIf2R8c7c44pe42lPTI+DSb2ZYbFsLcyYgjob8wJjMGZ7l+XCnTkwVMN/GVXDlSfdW5xO
T2hIgKpwEIPWquWtG/Z+MgtE9u5oRZOnlkd3GuhvurG1vGi2tKHYp+c/dw3epv5ednOT3ZtG1WBw
N9FcYqLU1n6koUB/gnkTx9fKVAm8PUoCyB+LPYIvaqmWfScFwNIDNTXihbTFM8W9aPR8k8Q2UYBa
2WhPSE+wOpZ+P0cQpvpsR8OYdji2ewkGa6stjZBxiLXrMVPDSC+TIN6NKPF2nXtP0lrF5vPZFDWN
TA+HuJn0BwzOVk27LFYX3DWvB+/NqudGXPtFArrgD8lgBDMcm4JvI1K1sZWuXaaW8Nrd5J3Z+hP+
52++nuHstnPJXD0mGnSkCOCuj7ea6bX6Jp+H4ivRoDY5qfiFLVvsvA0mpFijM9oikmBTTj0YOURa
cWN0RkonxdD5pq366maYTPe2E7nzzWaN1NhPDcWdP0qBLkMCkwdpbuKbGy/OOkYmrmwfVOidimyM
z1TQzWVZBo0lp4ccffpMvToBF5eSCiiQou1EMDZG8Z3zk5HGJMb2JcV9vQQgMeRDmWgeFEjI3t81
zNqwHS/PRCPctxg5k/BzboMTWlzUucWLRRcpAsUglNE+rvMfudMtly3g2PckafobWa5oZCf4Cl0I
TjZeT4ROfFkKnQ02aZLkOjVNTQZulXu3JPwJptNVPzY4nmnj/TwO7RuYUNoclnia66Bvtc7CQEyT
X9aW6MKIorYeAy+dGNFaoiuuhiYdsDFuveGkzBH7sNHpx1tDmfjeYR4/XZmJOaehNabqvjNyWCWJ
ofePHobZh045He1X4TI4mXTd5lzQ8exMl9LC8Dod9dtFQrk8C9uaOMT3VkEhWjUTEQYv+rWhdUAd
jAS0vY7NHm54Cqph0OfCfIPaMerH2i/1S82CwGAgkRI7XjPvemrHKuNmDigPlVvor45PgjfWkymm
HHXVWHd+fKab0/TXH6TvOD/yoAid6aDbB9z9jC6yWR55pYo3meD3Fk3JMs2ssqxpg4yN8ipLBLcp
s2LB0AfmFo7NPAbQwYVFvda9cwm5zypCGsLheRm98hLyy2BHKW/MXVnNzRiuxLm+V5j64T+WmTnv
LXwpxc2hgt6NiEadvdVm5ZHOZ+2AYGnx97nB4g7sGgJ9JAwg9Y2Vu1gwLd3ENF0ZCku5dChaGYl1
yVVoyIYsicnGdU0Ke7zBL9iaowLCFQN+DcavYxppwthDzCdbEXF0SvMWcWMh6fi3buquORS1hHCb
yfZTfdM6MVRD5khGjWc2C+G2yRr4jqlC0bWXCE/jyMBH2rvAarTrEMG2uIzHzqxbO2ttu/UkOs19
8tdSGeGapOO97C1d7qre1CUt00hwRAtpuiDKPetW4JJsvFk1aZyTJMiRCoyqv6Y1y6CKkxkw78sY
d8oNU167DfH+a7O9viztFDKhn809rKvzA9MH4KbEwYs3XNn7eJt96d+PbSbKKE81i7AKvdKdndNN
Gdtg52i4uZeQaXaGT4McWIMZAz1DTiR5JTHwpJk9PPCBmFdOoN5tdETsnVMhQFdN2Wy93IVgkae6
aveQOKYH0Fysr3tZTHcO/E89lLFtmEcwRDkR/LDMPQeBLLx9hcJ9jcx1JlTBmDDga9zZhAeDOmYK
1ypt20jUfPltadeGdhTKwCu1zGoYuVg6agQ5dM0jBSapWB4y7isdC1FnAyZTeJuz6LRB742X1KbA
2XwARMR+HEfJQbSYumbYd9l57XUbINKiCmtsk4HLSfEYHpyciW/EwWl+gV05u3trnmb/TnNibphW
VS3jZUPvGMzIJp4C1pddh6wcvF8azu3xoNIUw09V020ACwtADeEP2SXbakb+Q9c4B2sx6r3eJOu9
gOYk4X3E9j0ROeR6dbFRUTQubRfBJ/WZfM7Shu4gDFgiJ88bp4+mz90i6sqsbcKS8xzn2bXqh52b
dlZ/UQgfPOO87TSBzrWBN1Su8UVyndcLHtXP0LGa5aRJjexLa9SwEI4zyzy1Zi/ZBlPYatsuzq3f
zbz+B9rY6/EdR/Du/b/w5Oj/a6uqt69A7tX/AXsO46wy/u+9X+6br+knw5gff//3htX6zQSUwuvF
0ykJz8Se/9+vCg/fDpQTuoXgEXXWuTH5w5zDMn+jhKSPpJs916wW/+tfpi/ub44O6ET+BC2maSMW
+k/MOT4XxWhiaFdR8NmAkDTT9HKfi/z1zAurMurEFXZHvXUSYU27ZfUMXFQFgUIBLDzXOvgY1j9D
0RlmttWuRIYvgJ1sCSs1LM5+i5HRYf0N4V5U+bY0J/VaZW4ZM+OJ44M2MnDc4KNh7WyVF/hnTzMD
FpwGcP4ISiPWNjYxKOUvKPXGZ1Y7ZvjwbdCHCQAlE0T7Z42iLZ1Ej53hzcjG9jLHVr4g46rg21Ou
+Zf1bCiU4NAOLjAvlF8bGG8ycvE4iDe655ESOfnVIIJad/zrxWFePC5Zdm/MkIWjUhP2va+W7OhA
pmW6Fdso3NfKqDq2mElcpjPcO1w+cST1ICDnEaQ+XF2Xzu43pd90dxanS/MLQOCnXvbHFfOiAXIg
fIKf/3MgIjmmbmHXxRubvW1B06mBH9waWJRRGrSK0Mu8luE1TNbLAiZ/uoNhp9NAdlqzGVpT/kom
8uP9+XczdP5CHkG5yEMtF6YrAuPP71dJUe56gnkxtatnHWrVaPcZxvNukOBI10az6SyPYztCT7eH
Ik45oxeC0ny/SlPGFwPuItPKBDYQdEcfjOizgSAA3blyTdxUt6rJyw9mTU58tJu2vFTUHMW9jgfu
Da0KSjAIgvBQOVofbOVJEYCZEGjx47/idd3kW0PHbjlcCJUaI0rcvNj2DLHiAD/qc5YSM9fA7mvo
PnaD7z7ZOqJvwqklbCqMVzOFa4WFOG80LCqgeEw1Jb9yspawhBk6POP4zy+jUUNeYiAzSPYV7Lf9
We+99dKYAhXKtYo3tbfgXa/lcT1vzKxo66hyS986VMvZVwbXxPwEg0U89v7Cb7Jrl6WZZwQdBGPp
XxZ644iwMkQBL4AAELzWiwKCe8Pd1cgkUX37i7X1U6Id4ARqI+YAiC9p2l2coz4/WNq/LpFtiuF8
MUKsqBJtWveuVuH7Tf3g7NYk7/XQnxbB4AydropmZ1wpYfIFuvCgYkpvfCb5L0Zs40yBGDbBBq0k
bwi8h5FzWC9dzFmvu2UT+SXIyN2fNum/Qc+w8Trvbv9+O7kI0zIF3j6uoCU+zzY+X0Sz6D1E4vFD
2cIbSYOy6DF6HpsezYPfT4FbroRTOMuybgRcrVOc2uvOmwzrPfbpfF7iKlYmJdc5vaH2qFa/JG5L
0liPh66M8mWF3jqapvqqEGzRgbXCwZXYPNfXduOeS43ChsTIMNTo7hFuMKi3CrO+0dxEmLuZEMxx
g3mH3e8I6GOoNq8tzxarIL0Iq7U8U/sKzcVCziGkKy1XD96HaNobpAV43kpDW2Aetxnlq6QrHehR
YqRtLblcj5KM5ipMSt7B3eDZ1QcdljSHAJ5yewVprn3xjNwRx2EmAC6mlceYBKJRCemzqGmgYrQh
gVK88Ju0dyHONjXJaBt+ySnuEsvA4m9a7ia94fU352Z50chuSKK5H5V2z4qu821mo8KAuDpNy6bI
s/QBRL/ZJE6RTjsJec8MKOS4j52GrVLUDxRtr/z0eT008zg9SL92tFsftoaisrGxS2d8qt9lJY4j
l2OalMvWhC6TR+Pq0/2zZtsXZDwcbdrYQ4qVy9i9tVg6ufeyog+hrLKbde8pHXZONs3TC3b6RbGV
ePUlIVxnud4oU7T51kNZz4ZFhhqMlVTgGGINQl7YE6mNAe6s7hU039a8c9d2TKM4S7mKITPQUCl8
Sg/5FBuwZD3qyxp3vYtmWNdkYxFtPm8Xf+mssIVP3kKeONuUx1NvLZGX+G25Me1Rbw+F49RMCtE+
X7hGm5KuB3/qWfUWavSRLIkiAl+QX2Tlxi4B0E2O6Bt36B6qez9PzHJIhn+Z0jL7IDaqIPywshLx
VtvdfOMSOpVBSKq1mUyPyvoqWhDgC884y2rjfihhgpOdtGz6XmVt1LGm5Eav7UQ+opkgq7WGNU0M
DY7UIYFI+kqUZNwM+LLHyrheO6xjLn7fmX84EosAKT3rvk21roSFx4Vxd8eV/bxGM6KH0Dw9fHd8
f76p/FYXtAjTqN0X1sBp4mmCxfZ7nVKXJd9Q0WDRN3bzTO+h54sV/r4UUSyN1ONZNvIrGrvq59e5
Ph+REnoT1Bhs7xB3hINJNOSblZvF2XTcV7PWsSenNcTPxibo62mWtTNThTszH7z6c/Pi9flgXBfM
xVHA/HhdV6ON7WclFA+9/LHx//7SdZMs/a3XjDq5EbAFq5PMJ8LNoE3n5NH13lei/IjmslKN3rcb
E/vZQG2En55FQA18ThfdBalUt9wTE+GEXKwXbSAb1y7c4doRk0Z+JXEq32ZtouGo4votywt9j0tM
dpQJu+7YG/ZB9TVLuWqGAlafMe6TsvpIsGqJKF6cZIt7TH6FxpAwDSvXU1LD6k4twRgPJkNc3Z7I
NYn1L/MIAxgs3Nhka7a8zPDnr2pXrx790UMKX5Et9Uokh38sFrqmcMFpfCJzjY6Z3BM41gj0nmAs
+IfWnupLWy3LFJRJk92Y00Am2JJ55j6huHCDeXEl8gf73pMzEFUtMUmCmTwOA472k1KEdE21E3SJ
C5OusXt34SNUKkLH1rjRdeEnxE8Z6Rri7ZEaAa7o5IkJd7nL606TMFlH+8YRZX0SXsMzMDX1oGYy
3fq4h4/gzmjJOg9gqhkmO8K+J70jeSufuYfecr1Wioy0qc43YM7kwxQDGt8huyKd9EPPpu6LJyjC
Nqsda4SOsM9qh7Gs4y9znt2rtUsOQ6u6E1dfkK+i1Mvs4y8Bhzg+5P6Ukyal6jOaipBpaMw+ctOs
ulgtFnQ6SkLTtNkTYd34jRkKsmZJdwO2mzYovaDi24X8ANMo79mxS9BP3PirIGuoBZABwqlo3FJe
T37rY+sIkWBrJz2cu8LCUjWE0WoTbdOW2WmFWipDT/bqu4cckFbBJSIq8tsx/lqvvrkXZWW8Yrp2
TmvU3PZbmmoERsWxvtwTz+Ds9DRptaDA+DKPXAhR8N+tzKBDd5wrfPahzfelt2MnUadyIo2q6q3k
zP9o96Qfrq/jQg2dgAuV21Y2Z6oRNNVvHI2Y0gP0pPuszoZ9WTddlKwAXcHgVZZxkVK+uPuizBAW
jIonFsywjN60erbeHTl+xPraXSboEqOBJulxsfz4xdPx7NC8GVTY6ptvA6EHcHqXFNqsHnukYrkj
SYC8F3wUmXbHLGsy/6gXY3vHJCOOAGbmlIC2qXlfdBKLvKxvb9jhSdrwWHtX+PwM34UY3HslRxV1
k4BQXcere1IVLOyoKwzgttjwbhtjcb8SHtneZpqT3lHKlhuiztcvuZjs40Apy27TxJdAlOv3nj7j
C1NGqtm+H27hcUB3WgY/qCDWQC1vkvFliFO0743rd/1Vacj1YS0bMyOWxDuXY33XjPvctG3/paYb
TcA7NQxnUB6ehcBpB/sJZcdyKevYecnzlcVurKMfrKZdTRvNEkYX+okqPjzMTqwggyP+5NHRxQHb
gVcggFtJ6sGoo0ZFMBjbSpYjBfFgcRijgfXNoKLBcrdTCsN9y2mQf8mZpDpbgoTHo0W+HrJC3S92
/QB6H7YudKOwbusB9JXkgv0wlPZ7mSX1xSrZ3OE7m7MDG9IpUOcLiFtIEZf0LL3DZUXRvYrBexx9
wUzGgzehM+ZwmdAE51TcZ6PlS5/VdxmKcnt2rH1sWAkSxH6U/YYiKI9q0qM5Z0SFsVUdV9o7KDby
HHj5KfL/YvGZ2Wkkoo3+PGynOU5WPJRIqeS4a9i7heYSlKIrSD2UJb46NQjeiCmJux5OGaipdje5
qYAUNvouWlTOTRwvHVGI15qBw6syXaRLyl/0sFwsq9nZKaUQZ4A+Av5OYys3cLoadeNQKaUnQRRa
zvpfjAGNkPJnngSj1ZOf+f1zihr6ll7JGy8sSMMgnVQd2R+KePIzmjcF6FvsdHikBjQUS9VbAD2O
D5LuzL2ZkbK5y+CuM93y3SYcV8+iq5lsRwtARKlarThzBEGOFjOB1B/HG3tyiYXJpWh2ysz9Y9ko
39sYFHg9bO5J3y/nvoPNJHUId2lsMgMJUtmbcZLdGWrmXLXAbT8ojq6cMhNQdHujxcUBXSVSJ2dl
EuY3TIZ4JVOt3GooLI9TXpvHElWitdOJkYWylPS5dazLmfdf00lNJpx4wrlRUme8uJjEeeDhaFFz
zlDa57m+tWJZYvGgdB9iWqPTgc0w/IcoBhCE6K5Zixl6+cJiL8B8NvQzFOsrZcDXDqsUcMCVY3kl
2O6yE8p5T4Tbb5dzqlhsU21tZrQmV3lRNq++SHy6I0nIMG4EyhHQt0kQABXHzSPIFzR/zPWaxQji
NXUYY/Y2LykhH4pB0Jia6OdIYwaH0de23RluYuC0j072pFf0/9GqSP25oPEZnLAxVfrkj1lvh4lf
ec9T2SVRapMVxUgp9Z5aMG1U1sS3UB05fnPI8B67MBqiM0O/dFm+Z8yY/sKsjScPVv3Jr2bu/2IO
qAKJ3XFPDoqNbpPoynpEiFO/WEUz7vLBz14t8FQWQ1HPbwb47S1ecfnCFcvYOijNMQ+VgZDqoBd6
lQMGKP017pOiD6YfTQBDuNk4LXn+lCWkH246f23X7bhOtbcHsCaMy0IQqZ258xNhfCL+MO0pPeqp
Ph84/70DnLLh5PdwYUMyBVUTkau3nvmSGpGpVH89kgbDXL9I0a2YTCxnTqej1nt37Nx+g+mHeSQa
K30zzLgegnaevRuAJUYhVWGJUD9vFrboSIirrbHfd0bS3VN+j4HG8g8wykr3TXxuCGUNvsGNzy8x
XK0PvdQ6hmmuPDBXeyNDHbyXBMUDi24SYeEldP6dfraOGjRnL9M4Pwc7S3jrdvbeWaX1oUZbuyv9
tHv1Z4YEKIGSDYN4MzJcrdRCVHQeSqaucm8clu87QzSGbcThmc9k0jOtreWKDXSVTkWLIGpxia6o
TWJtegJytHP/hWeDw78j/V7IrgR/hxg2nEcGlRUgigAIIREmB/wzx/1oWNXFMqTzjsNyYugojl7h
ukMYExkLd12fb3Qqj13mw3V33eRRnImDRmexWeimsV/LGeX/ulxbKD6eYRU3K0OLSR5F3a8mIdxJ
t3MWo7oxNJNpDW97nuxma1bo6Ip+KxcxPs6kNe1cLPSeWt3c1mgWr3uYivJHYNFpLdy3GtUojORY
6ixRRjtHvFWz/TCurJE4UTl6y9TwLlJAwwOnz7uckuTN0dpxv0iBGS6bahX5iMFOeuaiWfddJ62h
42a+CHEllHfsksVl6SmEjU1KUFMBvcTirPfRc5oQl7bTkjnPdeonIT6o0E4bQWmrmzA8aPzCNhu7
m5JAkQ00//FyWot3VDb+diTm7dA5ZnG0MvJIx5hUMA40zJaFVr6T1At7xu1bZti9Q/Z8Unf2NmPy
bO9kXg1XVt33t0C0+c5thHbRaYxwN73P+ENTrkTChl7VBgNuYcIX/mpuC62kvkZ3I8PMq7MLHZH2
LQkTX9ekmS8oL4Z9TljTqVAu8hcgv2uj7IunEevLlolTl3I2c9B/mUgx3UnylygvjGEICc1Kp61Z
pLxLvJ8HwvZSgm2ryf9mEZ16V/X6wMM345EpuUSMKaYCWsCUQgzeDAC8H8xWaVwEVQ37JL4ZAUOq
fDdpzvLNnazium8wl72w0ePe9C45aahhV7Z7jbnt25mbRcGcDyvF7GB+Qf2IPVvHjGfHGGz+FucV
OGBG1cHqBajTSFeiQeE1XqnJOyshwHBmdmx5JZGeFOpZKHUb9LtJ0HuMtE0bshmltemVNW7b2Hix
2lYcqwyrEIJkh63dTpmznTXtVZ91d2eMbhWKLJuP5OMmB5wcVJAPYLTUKJytXTYw3s5FfCBTjd5A
DNWy77Ate5wHl+k2+4Kdb5yB7zzDXv0CATceUPn4M3CUnwON1u2rDf+bEMG8rx+WOX7oELJck8rn
docJZwdgY0hk2UNXjSXcel9h6a6cbLpJGS3F11A1vHDsRv+p0otu4zk6UwN0jaivk8nCJWaAb9rO
WXFHPbhuxWQaLfx5u/tGVnL3VSGHAzFrx+/zNCA8Ja5sgwK42I1lYcE/lQhyPH+yLuYRF+AeRQAu
B1P7TQktv5E2zhIkGENwddbJuDRo/eudBlp4mAjkOtQ0SbflOG5dt/DWyE2W4tuaDs0CzM08X8jy
mJveEogulnthlWwUapV7twZDIQ58UGHlKO+9mwikDmEienY0uOSnQxrQumE36856C/yqnls8e/a1
MvrhZunyZVvL4ZXjuLzPvApVcV4WN+UiD4qr3Smy97BecXL1bk3OZF+s2bDqF4nr9dOmLWcN9wK7
ffbK4arJEKjUDH7C2XTTZxgF+h1pfiWGSjmCdJKwX/y8b/ZachYYudp9HRNKmYE9LHtqZsxsB1Oj
2qZPBlGenPI0qhU5O7mFO7OLnVeNjMooT0x5mfGUhnp0CC51YlI8cXSsDmA9QzT1xnLA3FS768kW
OlDz2CwF8064Sl0A+iWh5JjadpqGwYc1LKc6dTW5MdaBwaTfm3AVGFMvlAC2Sq/0zhcvsaKym/q6
izfob+ujX48z2FxTvbrSpIYrlg9RzhPyVRRERoH8L9ZiJEO+nV0w7O4ukU87V1h5PKITrxCCVm+I
R/UHuyeSZ9uXfXVd+FNgTXP/NFiVTE8wVoanHv78RYsVx4tX/Uhzh1No3GTUEfNrZXvopUZX6UU0
xCpTEf2QA9w1pQmkE3yBuEagvqq9SdGBCijUnDyR1Nv+wS1h2QSIRKY1WM5IUGyhnNtJcwS4bM2E
KtUfakQQaaHpj0trKYYEEklaIkfrqFU6f4HGHqWvNZUPnLjduHWqsximJgwV7/giAR4YaUbKSEDj
aI4DMZYSnQhFFUKlfEo39izm5kRlgi1QO3RsMwSK03TxTD3AJ1nmv0qH+TvEHHKQTUEJ254hwGfE
vCV9e8Jr8h1lw3LhlUq392Siyjxc6mRAKalionDjbrnCJaJ5/mfA/vM474zWOx7u4LCzYXYzNfpp
luQ5Y9+Kev3q1X11eVbP7JIFz7UV0DVKSVzGDq5Qdxoz7jLECEDf/vPH/3Xk4aE04BtYuDN4FkS/
z9eOL5EkUh0kedWxXNiUJKQDIPppunyPS8seHxrM8uBF6D6PgFhV/VtGnlu/7aAtdbBLFfgMNX+b
RQvZmvkhVtpSHFWdxERNS6PUIhSF7XxTr3Db4IpkpvaLLLKfRRyY5rt8b3wDPZzWbSTiny9Bkw5J
iQLZOt5wubOTnQQHh/tAQu04gs5thlyIglIp/3/MndeW3TiSrl9lXoBn0ZvbbdNtpkyV3A2XqiTR
W9A//XzInjmTm8nePKq5Ob16tapbLSFBBIBAxG/o6UQFrKdjmGmyVaOMwydTpHl+nhsFj0PtpWuj
oBuc/QsYD1r93xiRXPekWWdE2DUPxwqpjK7xc17/kIbBYesEdYZPINSJc2AgYAJlJ+Tn4uJ+34Lr
+emlLb2aJJ35yC9dJK/0eMjpOMzbR0SWcF4cnSaaKB9as7cBWl2KjNswP1C9kxwFGLhSFfr6J6Sw
DUSkBh3cdpnXf/jXphM6wilnraJG5XNu0HnFctLqURRpJthWo6BN7BXROGa7emo1XsdjSvqApifh
IkaDSAnqUZse87jGjpqOKeqxl9sxbFyDUyHxa4gjoNpLj9hCTXMpLwy3f868qE53upkRvXgaZe43
MHxVf1QmNvb3vGa9DwN27+kl1PVQ23FcRokfTnYZPUJrCi0EEisctRs9irMTLTC81gcL4fXdC9C8
SmQ3iEoANL2hnfRPlhXg3uk1cJupggGGOdXkzeMhz3lqkEvX7llBVAudG7bAL15MyQdDBe91iGt6
JvtxdpXvVTS4w/tBRPYfHmCibGe0bVVu7I4Xbd/X7UAXtgcbwJQafPzT0qBupjGROzR1dj3LFPkK
9O9o37XxLHF9Y1keCwtZmYsAExEemzjWp8fZs8P0AUkO/tnk0fZM9V/EZ+xEVQqZmmVWdxyiafKo
guI0TznuDsoOSIguDnUKEnDn5iF/VB/dMiZDKmgaH9ymS9zvlZ2nqLuVTvKFAr86/XE7Eq4PU4Af
UGw4RkwZDCrH0iKEo0GbJhNV6R1aTIXMoEPAv2N2n6t59WDHDfUAtbTJJcxWP06KB9H95Qf4LeDQ
H9s+Uf/W8Of/Q2oLMqGvFuENteXd96r7/h/+z+E/zl1c/Pz+muPy8kf/BRnSLA8iC6gfnevCkfSK
/4YMaab6f7h4XKqUmlTclb/zX4ghhd+BFwPaXHqS4APkSDX8/6a4aJp0+3EMSU0xJeFQ+x3QkAyN
/9kmrgPJBroMe5C/8OWkvj79BmNUldHznCfh0ibatUar/Co0c0sP/jpCX4axDMA7uiYFMd9oUuYU
i3mHVO4TKhTZn4aazAezaUsff9niM9Rz83PZKvq9oeXq5zoia3u1NivwgLezBBGFmQRoKyT4YQhd
z1IpqZRj0xxeCnVuz1rq5gey0w0MwtogNsvCmgESI7m4HiRSZTddC6MLIJpgj6gq1A69Sfa3p3J9
6Msv6SFIQAMKJI78Vf4Ur5gcyozwiTfF0UUF8Siv+/w4uygdKW6+JQu/NiEk2lGGNkjRYEBdD5V2
NWHddDwtUFX52ytd5QQM39iyalkbBn0moN9onUDVWyxOixD3hPlTdEGopj1GA3V0SnHtxoWwgFO9
fDhJUHmB8JH3q4tMJO5FqWg9ZhmhV6JraZQzcHE1O5WB/nMQI2BNYbtHo+tcyjcRmqHjXILrt73f
j0VHQ9dXOpcgN72UOqdRYQbK4EaXSKDSErm5dehmJ/sXlPPfJl4yf77e10Q5yS3S5jDk3KW1kzeR
iIyGHl3qVP0xYBe38+zqvVW5uHHrGKbcDsqVJcRRizjhqDLI8haR0rEjGgQ1sO2mI3PuEtrLuRi3
cEoroY9RlGp6OOQhy/di7/Uq9IMm7m09bxKcp8cAfYQMhcx8+jmogKF/cz5YVpBV02MheeAGX4Rk
nmKnbldJjmICrF/En6j5Bp7QNk6MN4sE1RlZJQz6VItdZurXGyxo3RwJs4oTA2W4gx3m6Q87RK7K
7lD1L+ek/91lYjzXojSD6jixtxxvoqkyNCKKL7Qa0kOUUOmGyZIff/fjQe8DgKXhGcB3XDq54AY/
1G5i5pdRt7T7OTF6utoQ4W6P8nY/I40NchZvEba0Yy1FlkuLGTZOAJHBxgKpGU0VPYB6/IEogneK
2lB/nub+PUQd8avqm/I50FF7LOdy2nhKvol9XtAeu5kszJGn1yJWYiubSqSwoosZmRMKkcqPAG37
3145JiitpXTyWSa8iJRMwDmrkdm5eEHbHYMC+ZUJ+/f/5SiLqZQYO4jMmKJLq6coAuiUosLBbTZG
ebONuVLk5iLvIDs3rMUo3jS6GVpO+SVX8CEL7WH6lkVKdwQM6248P9eHgo9oyueAo8vff3ViqOiU
uSBZ8gtQT/ujgedesNProf2Ugoncoj9el1O4YExuMU5AEw0BABrWYrCZqusEv6O85E32brRQ5ahH
k7Zei2Kc2u/h3s00qIf+7vZGeBt/DGtJoW8IS/x7Ucng1QeJihfNxdVCZYeoFQ9QGmm/vWiMgpo5
FiBSOGJJZ8X2MMFp2SovtQe0Zt/rSpc/1rOEzoICicP725Na+ZYUhtjClnzT8EK/XjgnMWaEtNMK
gUpQ4UckrrJPWWR3wSl3Z9cPndn9gY2EfRkrJf6v18z/+92JF6BNzg0inwoR1/T14GHjmKUxOvWl
hIlSHNIxc+iYFE3yNYoy4xut3ETb356v/CuvrmsyH5NHANea1Gx3F/tbT+dR1GEuLuEIjwQVkPDd
7CUJUDvN2mAmv4kXhiIB4f1hGvg+LvMgRY0ThKnL9sJbUv9lDrHmV6rQkt1vz4j8hiMLqVBZXpF3
36utN0wdXutF1l/mTgP1gaXFKacZdh8qQfDl9lBvrlEyD14npHTscQe3peuhSi9tTMVqukvj5tRg
WKSHQToGUGxo70zQIRsZ3MpiUTzk9UXCKoHw8gu/mlpYthJAKLqLojMhUXnIUDfFsB8riEi3p/Zm
H8ipGYCaSQ54JC5f9oReM6oo81zIhrTvAzaqqPz0+dNoOYNfzA1a7aXX20cnD62N8tJKnPAtOVU8
nBnglCxkAeZZTzGL1roLvQbEagFff4McOPu3JyhPp0XgX42yWDu7jmtaH3p3MXL1a2fSa9HN2LvL
lTL4A3kqSGbo6p9vj7m6ftLrBcg74CF3cQHRycZlJGDMgS63hGh+qXH2OCrBFG7kBqsj0WNxeeJ7
JCmLJ6EN6bo3Wqe7eFU+70uDGpGwcmMPGHsrDVkdivMZrQzp5KoulguF7LFHSb+7zENf3iOVqGJ7
qc4PsTCLjTV7YdcvFo3LGI9qas8aO2GxAYRuIyMQ6/3FVeAB7yrbTXyEblJQO3Z4UbsRPcWxcqwY
BSPYRsARcv2nUzfFc40yzfsmsjJ94wBdiVaX/S8lQ6QewPJZXKljjctH31+moWwIGvqNMICDjWtp
bRSDHEweMzAllus5x7PSzi2j4JVArb3uxlNKGnq8HZ8r5xnveooklHe4iJbEnzga224CpH3RB65a
Wv7GWW2S+t7RshpkuEh++zzDI5pqL04lVJN4j1yfZ8PkRUJp1fkyJBInykLtHaGg+K/p1eF3p0bQ
mGQRGlQNZCIWUToJpyjnzFTpVjYcW7kQugazhXrGQakHJ9hndADSjdh4e4ia2N+SSNBmwl1dX4Rr
SBet1oFhXUywwBOcVIuqrgKDrLmfARvRlO7bon+XeXQTL1AzLWfjB3h7yPHK02X1iZyGq3dxF3ZQ
UWuti5WLDfr4YQCe8Tzlijij+I8wZILgpHlIRIDe7O2v/TZcyWR4wkLp4Rx/0+CD0hdwNZfBBY1L
91ikDfJ0tB037qi3o8jbgYoGeH9qbMvTQMVqcgQ+FFwCMBcnrDuioxOXW8UoyoXLqwI7X5odUITZ
FIj/LK4Kq1JQmTY8/bmGgmS+H51RAYThDpb7HrhbM55ksRRVB0g78xOgO918yJuiRDQ2qbwxP0HF
zft9ruV06edgVu12pzeZW4K7DJDB9EUHzvRgmIOq3Du2DfDHksrcu9xA2BWibx98UuxCoVwzGWZ2
l1ZBpQPtV0oWUgsbtKzrSoIexxh1L1MdEDP20J22vjUI1U6oQOTz56zQ4/QdzQL2mB5Xwn6k5RLj
fhyOaVV+RIkCZ1C16g3r1PR5l3yP035oTwbAq+Bd1LWR94zSmPhliQahiAjGUPRUAB427/Gg7dr3
HQKUgAKtMG93Zm3DGDCgkKWHxOzElzCfHeeQu6obQlIOMjRZRyNPkPczwAVGGf6GT7GWVU+qOmaf
2hbs0zGhUhX/YdPk5E4hY/4+GlOm+xGghfg5EmhvHmMgaN9Qdqg+KzqFrPNMPy86CZvO93mGHtN9
xj4rVZ7GZEyc+9ENQqU8TlMQaO+TQbPqXZnTrH2eAaMMJ5Wj6rthTpp7iPICGfayEGWNIV3nzjhQ
VTTo0YcF6B0nPUL+femZ2M2bsHJ26JIk7inQlfGj0o80viroUl+aNofc5HUOWu/C5KraG51h5ofQ
C2JaUSjao0co9Q5bKrr3Sgs3/aAJoYpdNeYKLRUcOP6iT26DfhkpEJJO9vGT2ppldKwq0/vZtyBT
9u6c9fE+RuRBg2EVTPlhthEkuKAvbA0nQNYD5DPwiQ2gLwoWznNOJ7R9wSo6f3EfmqB0U6cDPIjo
Qe2CGYSQuC8Vr/zLnl3xl92Ulb5X2jTrTqYYQtRjmlgfU5TLVf3bSFku+jk7+FfcKSgslecMdwZx
HAEpgC8I7ag7zSOs/xN+PJl6H+AF550EJB9t73opzfAdRbt05g0eIQSvW7qw79MWDxe4kpnbmTuw
vu1wKOCVqgcU2JXsIOahBoaTtmmLOx1gsV2fNU33bZq0Wpy8AV7LCQ2TJj4aOp4ID8JTaiEAk2KN
8OhaYFl2tWIR7kkv8vixEVi5XAAat9qPIYBSgw0ihmvVpRsza9iXwu1D7gvwVvethcjr2Uqgvn23
YWAUsB+8DI1jXS2BHYnYa/dOmNnv6SZEIMxjCr/qzg7q0Lq3PcT7Tk5Wlc157gJElOOUP7yDpBIj
ogrpHXZYO0TqAzeliUR4j3gFehRqjAI5RgnvbDSz7Z0z0OR4Fk2DFAnNa939EkJ+gABN+6EpPs1a
bwc/ZrBc4ZfJ0lBOwOs8HKtDoQIV6bAGQWaV6j3aW+J7ldVW+yFlt8P4r3jlAM7JqX+3eO+0gfQf
BUB3mKOh/BH3RYt2HlgzlTPrpBYFQtEPs2VMdH+HXwiN/jUCWtnjxYW+DeIPDw1E0p9IbXxtG6wz
vCg72JX1EfEQ4i2wQmBUlnp0LJH/Et1YnNpClyScCbpBb/g5dioTaspNdwar7+MA9Bk+B6EU44YI
tOm5RazC2YFlSv6cSFF2MbX1h66rzrkNYNYLqDarHYKXoL1R7a614eTNklJQTyVcJMD7ujYhdDhG
UCMCpT1U84y7Y1w/owANRm1AaAW2ToFdD2U7ZbJ+ITIDVy+2L0kTdmAXJTYWHMt9pnvP0NML9K3G
8G7WjL+mqB8OqaM8GVYrjm5RVCdwGea57bTwAGvTbyYDv4dMCfovttHeOeArT24bG390Q/kEino+
IvAQ3MdQyu5IaHs6wPo74DHJoWsL7Yxq4SOwQNkY1nE6FHNzdrEQe84KCAiVHUZHE2LWxdTyb0Zu
abhITe9rB3scqMriNMZB/UiRI/wSDPDJi3H6IjSdcht8YymvibZjlBXnpk5Os5v/RODrlA1BcGeC
7ZoiGCGACwTdCdCmd1pn1BbQ7Rw9kB0NvKH8WLWwdA5d0nbluwFFi/muzVIze2/ajeXtlToGH8o5
6XUPNrYY8V0T5oa1t5vILZ9LhHiKv8e5mEegcIVjHVSlKV1YlBhTDT+nZir7X2k86f0HLwUo5IOL
manCUyUxzhUsLP1nrqv5hBJsZc3zH1MxB/28U+Er9g81NLDmb0DiavNOLfMihtIa6MlRVIAvHvKp
w8ccycbsgyKM2Dlnw2xMZy3B2O1OSzSebD0lI+vU4uZR/srrPOi0fcRdm7iHHHVwr9sDGTOegtAx
/9bgNnnfAw7p8Ajcue6ONvL8KQxJF4nVXZPGrXGXQHOfDpgdlBbiJpEFZ2cMnN5Gr3i0v/SZ0g1P
3F5OsHOjJEpxZg5TvxQjKHiKVK55cATASdBZyJybqHX8gO1eYYzWKvP4SKN9tndjaefDrhwHF0hX
reTgjEBuos1izRUGq1hPsGy6GvFaKlTzV9EGzQyEHEYqqktpmWFRksRAPHMD5IVnwfStlC56iBoV
WG5aw1uH94YZyKmGpPduRGjP27t1hzxpib6J+YfZRtHfNWwstN97bpWnWoMdsDdcLuqDO7Sd6rdW
kWV7YNKFOPBdSN4mdzTRaBJh9aMdRKAdyrzDWmIMJ/pjQMxN+10BVgd/mXhCB3o/KkghnwJsjKZz
E8xe9NSMkQryBbluY3xKWqCbaOgAtMMzFPHje3ek8rtXG8MQwP/sBoxhW2etucuz0RMHil/In+8Q
0OECs3PLel+jwIZRrNYVHyr805GZSSGFPqPXZIyHsga08qHDZK55h0pSwnkZ67ZzSIxhkvYUrSh9
sLwDp3UzeDz6rRovtViDSXAenHLQHwAY9cr73KiA9OS1Wn0jK7DfRZgeY7WlDwJ4Zjh28RE6iPaN
LF/NH2q2JA96HSm2HzCG6idzDHunhs2Z6fOZy8JK9m2XpoAxjTTuQMnjo1icUbEGiF72MCPOaU8K
ClyrVKU7SopaEjczPDWEzcjTFTdpohOM98E+ZE6fFRH6WK2tPtIiGyY4LrRIQKS5ya+p15P4nv97
/DE0BUDJphphivejzCWkdlu6d6sUgXRzBPUOVtEiatDpyJUPhVHX3tGZJu6FGs8S3BuEJjgmuFoq
8TgWWfXDkonmfd8XDqTDOEpouIxhZWEdwjYdznWpGdNFUzGiPlUYQc3ngC5ud9bzHkFoEzOAfI8X
Oq62zWBXwFdbJfqEoQRKX8haOB+LWY3dXV2iKHd2u8D7EccaNsei0QcWrw1oOTfVHH6nbFIXdxM5
fXFCiUdH+j9sYQ7efjW9ea1JCWJaORyqOq2lpSWviMbY1aBk+jhth35SVtDuJq145iILjqgOThO6
X8PvCWTSPXgZlf8k+aP5uGyhktSnTTl1yMVzjd03sNWPSTw6h7qEt3x7gm/qC3Io16CIb1JZpK54
/d6neK5p0NQj32PT7BpFTS/gmajW5HOgg9wq48fbA755ITIgRROEQ3Sb+sJS1xkBBGpxIM8wfTGc
L6FraV9Tzyw3yiaro9CxtWG/WExQruursqxajxDkDCfyNYnbulOsyg6evWlWt0yb1waS5V8cxHkH
0ha5Hqi3zb5Jqzb2a8uo7/VMzEdjSprz7Y/2pqDHR+NZ7YIosVQLDePrUaoW7tBUitgHuxLeecAR
dvaYFBcng2Z0e6i1gCAcLFqpFCroQVwPlTUTyfowxBhVNB/azOOYKBD5J9X7Spv3y+3BVudF3CHh
w96i/no9WFJGTgPiI8ZWMDOf1XCo/57FiLL8BCfn9lCrC0U9S3U0uVzLVkeRFVkJuZHipGaEXLJN
H4hPiudE/R//YCCKr3T/ODYo1V/PCft6CLlk5n4QFJAnbcWxPxnq4LX/IMQlZgAkE+VkVNIX43Ar
mAV6pH5ept1nZ7JhLJbIjxe/W9JxgUtRzWEb8QtQtOtxsMoN9LkjIJzIQuYl0pDud9zo4+9+Nbqs
DsKIFvgHVmkximgjVCJNmD4uGg9PWd2rT7mdZhvAn7fxBkqWahHoSE8e6ouSY9bTllG93rl0Zabu
AwAze5KgGr+/TP/t5bkealGhUkXWu9U0ORdn6LRLrRbuM82pYuP4XolqUg8AYLKUStl2sYHcsMpr
EzLVpUoU577u+nAX8OTdKHW//WzADOh/EgNEm75sK/deZpqAxUO/6lF7mMocILAwawXRsNpLPv1u
JBgGLAQqlTyqKd8vIsHpHT3tci/0lSxUm+cCrGB+ob1rnm6Ps3K1X42zOLlne0aLT8kjv9UxpsQV
6KiJn4jKYoAXWPNJuGH7+6e4IRXoXVIy5mcvdiwSsW4sE3DfncwMlnw65A8GSI/4DnGs6O/b01uJ
DNj5iHThYWAYxhJsP+lDgoqwGvlx7mD5qrWpQ5Y8Vr9uD/M2NCgXAy0zbEgjmvuCqH910VL8VD2p
EOpD4E2+znFfn6yu5K2fKXO//9+NJYvCr8ZK3MxVXHtO/T7W5/dgS80DEmjDkWpLuLFUb7+eLCtD
AgNQDVxEWwzVUe0LwnGM/TY3gk8UBrQT/VVn405a+3iyS0ebinV604xAwMEwG+R6/B5dZbyZ7cHr
PjSg2vq9l86usbGNVyfFUgHxtcClLA8LjF1CWFsGWcQwUBEYkX5qtc7eOJJkLnLVEHQBfHHFcjNJ
5Je62Fe6rPdbOBP66NiOPAaBkNQcSlZ/16hu+dS5Q/KUoGbpmyYKayeg+W6w8SOsfFeXjwok1pAt
a2+xepZIqANNdeI7gpI5T7Y5wHK0TMrPWogq/eF2WMq/7c2EPT4nXQ8SNHVx0pshFEY4c4lvdoY4
8QqiyWkjjWSaafKAc2n7GBZCv2s8Or63R15ZUBerDFo6ZLjyX9cbAjmZ2MtySBzJlEHNqHF66wZ9
2ojStVFQXATTBpbJfoO/sdwRU2AoG34M9vEzWqxRfuB/RDjg9mzkwb78jmi52fIz0vJcBg5iuTyJ
MbzzFWOYP9qtWX1MnDDY2xj6HCrqv97GgGthQgLF3vN4iwC5uf58uTMNczgosV8JgLeTq/SnTCje
Qwte4OPtucmVeDM3DmFb3qLem1dPgXN9jSBz7Keh6E7siRAM6aXqdfVTCf34kMz9VsNvdXZywciq
bIkqvZ7dQDVe+nEmvtVrEFR4ST44yqjsGsMRG6fl2g6gm0kCb3PqOtK74/XB3MQtuI2Rc6xD3/mj
HdXZY90q+cPQ4nbWa+itIJNbeQ/o4PbH2x92dZYOAzNRyiHOIqMbKYub+Fom/qjZ4puBbi/MATGj
rTAZQbvVHV8NUdfTEIzjfOGEu55oFOX15DKG73boMwWVUR2iGSPEoteKR1udza+3Z7caNq/Gk2ft
qxsvrxoKW9S9/HxA8gy/2J9hh39YjtXcA42r/ElDV2QD0bH2RXVW0zN0Org6lJKrMQ3EUgdk9ahs
BsH0GCQ4V+Ce2RVf0Y9R9Y2zU5No8OXGeD3aInQoO9HdSvTE1xpRmYexqLudZKK/SzpId0VSRPQU
KQRPrdvh1Y1D32foI1uZxYvJ1ZsfA+aLBLKAnlzWebwgmr0hdriJh4GKZ5E5xY86jagn4S5HxbYv
8VyFP07TkBZWObxvLD1418VVeCfllmDyq/Mxsgur2jji1yIAeVWgvmQheCgtzigXGjk61irCY1oX
HdMyGQRerCkFYnAMHToIhfMXl321UaVZDQKTDIo/K5FRi8ADmoCuX0cjvLPo9ZSF8QmJSSTWEePf
ODvWbhfeY2RZEmYPwvI63GpXaQK35ewwRmnhGuDMZk/9Fsd37YSiuEXb9iU1WeIF2lKkhUDVFy07
DVHfyBYfs6gXTzoc7Q+z03qPBmz3O60OtsxfVr+kBSYRRDAlr6VriNmkaiUKLfFTL7WOnpjrY6j3
xgOYk3ojVtYyLwAlcECh2JreEkzNBdbFpOGpP4/NT7SIbfS/6vmnqA10KRwdXQ4UL7+WcDJ/0vMU
GxjB1T1kkP5AIQPQbekylF8dVpka1vxOkPoNb4KzouQtlBbc0lD+wFL4Y4pXw2cntzK69oP2Y8yt
r1PRm6fK7YyPjarQ/Y2sYd44QdcWHjaKJQ2ipFS0DL9XP1Q6TQ2lY1IktTQonjaaNp+Cam6/68OE
6+aUFd/oKogPiqbbGx9kdWgQW9y9aElYy+wMT73eK1XgcE4ZDM4+SpyEFkhCnwwteHXAOtKwaPxq
aNOVhyz3vG5ja62dHYZn6SC5cK6hfHM9dwWzPB4DIvH1OdWea6AVf8IzSi4a9h0HoUbWGeNyY9rI
qtbuSLD8cFgoIco9fT2qVycj1bcq8bPClD6rpVnK5lWkPPdUyu+NQlNOt2/JtS1mUkumZEDaD//1
ekT8unEqTufEbxBxxZgk7zBnyUbFQjQMndetbGfts2I0y6NNAuDJPK6H6+cAkSZMYn0talzGQb9E
pCG4HQ/NltMwDN6viJfWp9uTXP2ssCYpldIXsF+sJ18FMqyZDto5F0HXj/RT8VNGV1Wn53qWRMnu
ZHSa+PP2kGvflZcpYpw8ijSgpNcTHduknBKYoFhbG8WzE4XjdKiasI+Aopvp+38wGBoB4LbhCfFs
ux4sDt25RRCSx73VZJ+sDnTgqRzj7K/GSWmg3x7sLWqVtymDQZa2YWC6y685eoWoUfAH6FXyjlGS
dKAXP4RHOrLz3kYVuEfq632siuKA/Cjy4LND+ycUmDMqaAr9g4MbUB43BKgpig2LiJJlqs6J0Wdt
rS79GuRt66fYxmLMRJXZN9KxfkZsJrB3Bn3XJ8ulCbDxE7xlUMkPwlkFIZebijP8+vPX0IhqS0rE
Nqkw954m1PFp7vFrTOp4fq5cT4n3wE7etVprPmEAr2GKq3WQEgb8wW8vztq5CUKaPhBPMgq1cie8
ivQ+TCJkVprUT8zIPVG4KqM9vpT1Y1e506nrIu9vE1unCzav9lZcrKWjkh0MVkJHQXyZB4qmm0JE
3TO/yEGn4qKumF9aN+m+KEh+NXt7EuJsYPPl7uahQgoZu47RAvwLo3rjUFs7ZXhNUcWACUKgLmIC
9cUMPc4u9TW0j/sdxH3sZ8xY0IKeJyr+KGiGwS9FydR5I/dbG9mhQafzzOFEXTYWWuZVKJxnEuOj
oedfFWp07JTW/JB1QBN2DeijfWchAbHx9dfOG5jFsuWJhgVWedcLb45eOWGxyM2B1cGTNmKVY2ID
+wFDwi03t7U5wuUkxEjMmKp+PZRiY4sBlIN2A+D2UzC2WChQir4H96s8ijz6lBS9uvFd16f3P2Mu
Ml1hucACMSTCU6KPH4cp/ACWoHgMyiq/v72D1u4Kqpb0rB16eJBwr2dXAvGrVdAGflDWzrgbdBTr
z3XRdd7e0YsQ64VOaTayndUxISV6FHAAdC8PkMAzoCdNVeoPBe14bInmTtmxw2FOpYZ3LHtn69pf
OydIKGVy5RIxyxotTiMdHpl66o8xuLUgr0DD6UVQ3+l6aj+isxq1O8EteVC8Zqv5tho/ZFSUVWS2
bcjff3VGRT3orV4nfpSweSjVwLeTEVKH3b1XkBHGTWKrzrH6UEY34v+OuDigC8/JECFOUr/Qwc9K
69CDwNHqCKC8eXBE2x9mp/ia66N31pE3PMdRp28cSWtPNZf2D9m9Qyto2b+gZgsYtiKs9LywzrGn
ovuCvNhGuXF1WW3PJM35F5P2+tMiwWPMdS5SH5n79IQUeYipmu1i4tFHTz2Q9VPfTohxKhPY29v7
ZnWHvhp6sap25PKACjSaGXSHlZ1nZ9GftQvmcac6EkR8e7TVzynVB+SmAUCwWNEwFn1jCowxJ2VG
z9/t8QkAzDeMW9WNtWkBlJNIeVAKGFhef1EdtTJLQ07Ub9xKK3eJbSFeTHqbU1BoVDDxt+e1OhzZ
uCT7YQG67DxVejXHSegSqTYdh11cZPVnQLDiF45cXfYPYpK3nWxNy06NsUgbM2kAWcwKR12H/5AA
r4/D3RhtxOTqlFxON6Ke9smSLA8zQJShF2M4SE9D3ZsR2Ngzwo/tx0Gg9LeRAK0dpaSCMOLhMCHw
sVBQUARdcq/D3rArjfRjiwrf18bwoi/Is5juXlBC+AdVJh5sLxiTl7fqItkICq1A4QIdK8z4EORu
8urce0hO7jKg6cjGTua7OhDT3W8HigfHlccMBXjcJuR3eHWItlaQuUZBsmXOeNjtXMfIaB6CT9u5
itA33hdrGS4E15fHOMbGUGuvR+PERq4KJx3KEwW8jd4WSMlnGVKbxXS2w0Y/tXqQPyUgz6qd1aj1
QTGF8yXTRLERTSvrKx3OiSQLKifvkOufxMaIKOMEzfykN8fqvmsCEIVBroIVxVPS+KMtGvHt9qde
ua/QHZLleVhdhJUM8FefuikgLKCgTE5HnfUvrQzhrDR4JmIpZDxD+QpOAOCdLVHBlROOsqXkq7I3
VQhs16OKqPKwfldZ4GKelEMTOS0YyUF30+Pt6a3Vnjjh4DJT5JFyO4vcChKio5RFk/tjg/rVUWs8
GnA2JhF/zm3JcxlIf3KX9PU+6a3kSNqQH6I6hF2N+solwKT1zi5GZUNxYG2dZdfMYheTYy41FefG
C2pe0LkP+EnDhguDUjSiy/oMkUa9h4xafd34DCvPFyljSPEPMUAQY3JBXi2zHgxtn8+cU2RAwb4t
Wm8/Vwh+EheDZFWo+5QGcAcFBlSsyhf7Q1XSYmPaa7HGUUnqST+GS2Bxr9FfAh7ksa0pq85/xDXC
jko23Slm73zEUs4+EW5begsykhb1e8SzZLfeYS6Ykl1PfEwzUxnoOvtubkwfuhAt18eK8j3uBdQU
DggVfU5pSU0gfboQ8UDPM+ZPtz/+2mqTDlLKhldIU39xhlYDxBJrZFePGn6bu2ooTOtg8Tz86SC2
2z56yLOXGzfF2qc2qezxTgPUBObsetpNY0R2atqZL5Ss/1NPZgWdt8S8OFNfHdpMVe4i6ICn2xNd
HZRyPaVmGs/oKF0POo7WZDRtmPuO3pdHCFzKWZ1ieMaZWt9BXGi/DqnSbgTVS+guVxjkI8VMyiFQ
RhehrWRtkLWKlftGEpefKfbiCtU4w6dmLoezaiAd7OJeBHR/3ilmEB5slJ32tHSqe21uo6PblOa5
rCDv3f4YqycPPosU9km5KeEsliAoFTww8AnwUaI17nql9Q7A8oZ474IJ2CsavK/AgCXUx1N4MHVB
E7RAo7jDe6SsUePX1CjZuFfXIpFnCS9pUggEaRY/0pRM1aBHde7TZnYGzAygovJ1OklCjNWGWwbr
FW3jQ6ztQNl2kK9pfl3WK7S2jALb03NfmSrtZDW1fo9ncXwPhb8+jRaYAc9V7H2PL0O4g7s3bQXI
WlhaXKc050kn3jzJMBfD7Iuus2+biE0cho4+3a43DGgE4NnnszdF1oXg2mOT1qFlQ+Eb1eZ4x6HS
7LEiqx8S0Uw4awOa2o0YNP0I2rCCtKQP2Y/bQSNj9TqW2XXyhSO7jToNx+sdhEBQYybICvtdpQ7d
HraE9ieW1Qhq3x7nbdoK01f2MzkZKXIuOxBpMqKnIntrbU3VbuK/WlyCVVc+aIiEej9vj7YyK5iC
gARl2DHYIuzqGbMP/OgB82I1FB7qqKznsxnG9bDxwFgbyENQSuUUIHlc4jaMqsjRjqcr7qZgNzFp
yA+IK2xJ0clrarFIuqqB6qFrSFLxpkSkG4LZUl6gAV7GwL9wkToAI4m7XREb0adcKXIYdAKwyg6x
+rT/fvtzvt1Q3GY21RsJvtURNLgOEpe8AmhYnPogrZx3Hsyl+VjovRp+qZSmohYJ9fhvoTgxV0vb
CgxslHL6bbY6CirUICW+VJMQYPlDvkoo6oiORKwMCPDHU4aZn403lQDhhUqsok0gnmqXzVJn+tfb
k397hHGhAT6QIGr2yDJ1ckI0zklVeNY1ox7s0UXDSG8Ubj6drZzhD2htV7+PCGVQkK4mby6WfYl8
KJCFrPSRFW/MbP5BOXDeO73Vn7FurJ94mMdfaq/3NpZ5ZaaA32nQ0WiRYliLtEFRQrvqOoqetjng
HRSTvqMJkhXQLo3Ri6FCZaq7v/11V84FmY+SKWpcqWiSXK8qBjQRGrSUWGYVOvahy3snvctqo5ay
tdik3R5tbYY0NSSakgPPNGTS+jqGqAaUmGzxuLQHA6pwAb9pdkflT1e0g0+1vVU2DoiV+dGBROsQ
B+YXcNf1iNLpyq68IPM1vVXt+7lV8U5rab9Un9B7aH77unV4UIEVR6iDcuuywz+bSWdNulH4uAuW
BxWNBR/nVOhplLLOJl2KP3/7e1KUV3lPAJWjPr3IdZFMw7XCzWDCJnZ2N7cGPpGePv0sbIE1UguX
desofHu1og0lxUAkuksnv77+nkoWaQneAIUPsUJXDtUYPAcId+BcNWV3Vt95j16G3fVGlK4c8//J
2XntyG10XfuKCDCHU7LDzEjDVrAsSyeELUvMOfPqv6fmBf5fTTaaaMMHMiBAu6u4q2qHtdeiPMAF
TIGXkah1L4Z5GHSnEH3yuYDULxIDc//UdTQ/39/Nm1agwUJPGiT9hlVJQdMUwUu58EtBBB1p7eDZ
0rgXJt44A+wdozvsn4Djib//7QzA3lrUej2VQDPIh096DN4IkRMjUU+LakfqCVkGpLzuL21rFPwr
E4EO3RTWtu6naFHYxH3rFH7UxcYnK1r0zxqkAz+XSKjXl71pHO4b3O4lE0pkfIBEBcx9PaaUFIKP
VtZKvzdN6dhXjIcHQyft9FFuLcshgALVDpM8ycD1XhahrieRaWMlt5hMVDOmwJFeZPq2oVSMstPp
P6xKwDiAgIiAY/XtkjmwOhuWAN+URu016hjG1Mp55xnYHjH+fV28PuRVQM9Xl2QnIRwRNWntj1mR
vBTBkh2DEOp+r8lV4LZtPP0VhHag7LjI9qYUZimdwPjMZMy611oFYDUnzal8CFSGixEmygutcQgB
TNNJpcfdA5gRPFHoDdIgWhuLe3I4FXFpvzGHH4hJ9+c5fJznBiZJIU3OSXOgZVh7R81oOCp9Y+Mn
fV2gNCwb9V9zS+XveN8rbnghobUD5Si40y0b2xygrZtR0PLh0o/dobLCF8VWf6lZVfiTVO1Bvbfm
uIGp4avAbAGTrS+QudQh3UiX0UdU7NtUo0Evye1HU8j1dBlyLPcXt4193+77txiMuvCa7y3v6kKG
22LyFZSvwKsFcuUFctKlR55v5z3aQZEDk1ed10I2cdxrw28PA5cl41P09nhYqehcn3C7ANpfpPXM
CYcAurCbr52y/BmCp/JqY7wUlVzvnPHN9vKoAXUUOBcKDCRm1xZ7Q2Pconak1wgJuEMz6UdJhdYC
pQzet0V5NGJ4s4asIhmMwv6ubjBFbplBQ5frNc5U+YkErWMELUakigcfMYWA+2HH4uacU3Am4HtL
BFWaTasdjadeLhFqRLFHsxbzMJWS1Lnok1j/NnI0GTtnY/MOYI13WyRNLI5Y+no3acJqoCjE9Mww
ly6SbdJHvZ/3AIe31iS48iE/50Do647zNDahxi0Q++O0QO+B/snBzm3pRUKh/NEggQWJ0TfOuyDG
X18qWWQkCKCDpa/LqXoByZMdZwWJqvunTnyEq4wTKxBtinyOwGczosptHwwGXEx+T3nljxLAKByu
cUIxscvDoPhnLOJUztwWJpbwXa8FU+laaaM6e8x2tzaWOJZmF9sHTZ+4HX4LViJJDsJ0AlNPyTEo
j71al+0BmgdjeE0cs/8PzgI8k3iWe5Syovg1v1lz2sHoLWMgmy8AWqNsUqINVRZdt/P63FoVL4IA
0BGJ0ZK4tjM2cz6DswFQk1kJ7Lt9bP8b2+riKQHMNf/JGNgRCnCkdmv8dNAFChMdGAMEiqCi4iTh
EbaA5tOS52jT3veb7XHjEnHQfSHEg7lvg7iUQ6RTQwruw1whIA2ZB4oGi/No1+pt73i6gQOKN2EV
oaCc5XTmKNEDzWt0DgOj6WIoKLTkB6Pp8UVFsfXhU8fX4rmjT0YFRFkHXnkFZQr1sdynWyHmgEar
kE5dXsIBdn8Dt7c/iBVKZAyRcLUyLHPtGkNSBJHRULtssm6o4apRcsmFtqmcD9ZQxaFb16LOcd/o
5pFjPzljfC8SVZa5OmXmQpYa13noh6Uu+bGMrpUExxbML03+tFTtN7WNtJ0o88ZC6TUh9wML9o02
WUKLJIlB/vp6gjBt11T6t9Kpx0+8HMlBCmB+3Fnk9tDhkUJThIYrCOi19EBll840jTQo0onaB0Ka
VvtDksP5j0aaYYe5v6Pb1dELoQNjA90D/m6tHrm6lPXIBDfnI7snlZ6qNnJ1GKtZQqW7syIoqYy8
3tPg2H5GoShk8hkxjfzvyncSR89MM++QgEIL/gXuZijCslnvPqmEj26XTCFkaMjW77wV2zOvw5XL
eafRR4S0Bj/BYtZDMUbbwRnR3pacBHgmwlinh3cURCg4SEJAunZrdlyzAI63WHQwU2v52WlR/Csr
iv5PWy9qwKi00D/ft7dyF3rEpHSwOgoUMBPn6xO/gIZsJbWcXrlTA4Qy6d/ZMCsdos7aY9lebaAw
hUeqtK+AvVpM2FyfeRnwlFzZ5vyKVqD5uUFnm4rqEu/EXbes0IhB9YxfTLltdci7BZ6oopunV1lv
qZfw/hwTXct2HF8Xd+9vkYNYjDjQVInBpjAMunpDDZR+mzIy5lcxz4M+r5LU6rFwGqgc45qzcnCG
1po8q7bmX2GnVqUL1MV8H5Icav4IL+M3JSytT6Xc1dOxLXJNdc0um0pPN9tYOrIG9A5DEGGD2+bA
YZ9HGYqxF71MpO61HTghXjmiMHai+6yPZ3XWyuiERHhuXvpmrIeDiob4T8fK9Zn2y0jq5866FYbv
E9Nqo9e0stvi6FRzM6JO1cjslE7y9iQDu5mf0e3Ov6RpZC1u0FTa9JiPv+0dUH6ifipcHKnVJ1pU
pYKkyZZf675on4Osco5KnsG15iQ1rGq1usO5fsPHKZoD76ElQ66/rsooeSrpUj4qr9pY656iVcZR
gBsR8taSPb/YuoWtqIQ7vNo0idchD52JwZyDRXlFAbdz+xDUw9KGe6+n2KCV89mAxuk24oKQy642
ULdgp0ubSXtFwkSCYbGZgtNotcoxVFLJU+f+V5coZnmaB0bo7t8XN44XGykCLAvw0qbtr0njkCNu
Nr3WRpEfCqkIP8pqZu14yOqKx0Moa4K5onBHM4RS5PVVocGfaU4Qn7zCtPWHGUOiNdmyWxfRzxBa
GXcO9jKb7bJ0lZNHi1AAKGjhXhuUin40m0JSXhNoA5/apPgy69XeSNxNI2+EHhRJRFh3bcQp275L
zFp9DTsg/H2oRCfui+Vw/wttvZ3auEoFlwoTAoVr/uouqxCtpXf+CggiKE9DtbSGC7ia+jhstLvT
hDc+FUU0huJhHwaYu16UZXV1MAeD/oo+uvKth7nwWWMs/gXEQvhaM5p/mtI52XmLb6wRPCxmGV0B
ZLWm65IMpZ0h6tNfSYqlf3W7Cb4sY8yAF/op9WNROL4IqJvTpgvVHjpVq3aRMc5K3CS2/gpJGNzm
kpEe9CpiugwKwENAU27nhK1iqv/ZEw04waVAXUR40W/ZWZqbYxhQkHlNgnQ8TIGRexaKl08o0fYu
1JLTx/v+sv2AIiJ+0/ug9Ujj8dpeXMYMDsKV8UosbA1eMGtV92wh+Ns8K05r1e9a5nQA62d5auzE
qtt7zNBorjHTgByGKMxcm+5kQrxxUYzXGEpSL5jk4B+A0IClwEmdpyacP+lMM3qTMuyRiN3YZIEq
BZpLBYApUe3ackJHO5xtuILop46HKgk6CCVn5H4HqPCKYjIf/qhUTbipkQ3lRuOGubYHb3ddMQhL
tcsKC5cR8vScLii0a3GGsHA9zMOv+191e9dgD85zEmEAtKQC1wZnZ4n0LO6kV3Zfd7uugBfErvfa
D2uIJ86KGUaoxMLoe2x4iqZFT63UlF4NyfALPV0O7VD9PRryL6PTUOmOu89xZKPsLs+XUTGe7GSa
dpxoVcP5309gdIVDymq5965XCm4cwCeRjd/rZh8dzCkwx88orVoO1JGO3cEHC69AfobbOwp+9ooC
a6QlQ6a4c+9uzxEgSBox5FyktXTRr3/Hoqt1lMZp6Dt14Lhz01doxtdt9bdZMYBbJUwu6tFU7xVZ
tssXiockX1QqSYrW9PqD5Uw0SvPYR2LUfGI4oJ2PepVXsttGKqqjwyCbf2vqbBhutWjdl0Kp9Z+P
+hqtDAqrmmhE8VivjrFlNbIVj8DTIkimXttUSY5GUY87Hr09stSSROkfmSUcbo2xSiYrSDPwwn4h
qbI7JuMLvSPbdQbpBRzBXq1ge36wRn0MOAQCOkSN11+Ty6qrk7DLfaR0im+pVuhH20nGp/s795aN
XEdywgybB0keLF/runsEl7i+qFLpx4m9mKpbs3up2zQURs99r8Q/y0KXl4NTjBX0oxKk6ONLCCMG
0rYFbJVmJQ+WZ+YoJn2G5s35N6RLoriKA/zYS1q5Lg+z4oTaMzeOlezMbtzaIqrNvL60DUTr4HqL
8qS3yqJ3cj9RetOj+S95VgnD7/0t2j71AJyEkiIDR+CNN8XKCYWa2QkK30KvDF1P2zyMQWZ6FTDo
031TmwVR1AO9BYyXkJPUbhWf9cFiVoUVlH6nOLE3DpHk2RDF7jRTN/cEVjgr+BQ5EP2/1X1VBklf
KNlYcWDz+FQ3GqFEM5uSGwSI7biA4YdTb6rRjqvdWJzgsyBeYlybZa4cWtPGzITJpPY7s1u8VuqZ
utWV6fjwFpJfkQ+jj0vVcl2yzPIpTmdEEPwxUAava7uQtLOKD/etbHwCkjpxy9IJ5D1FN+Xa82B3
N+I6HlkLFMBPy2wmrxmhzYHKz17TcWsKgqS3WJM5XcbeVts2LUjBDM5S+cvYmue2163DEJqMLUrR
ww8IARCjJ4xnUL0TCLjrVVGJSTXYfWu/Vyb1K98mhQUF6cFjUs9T7NZjH0B7s6iPxrfCLPpd6Dm+
IQlXK5S7pFCjqqn9RNUYqOvmBBr3YPkWpFF+cvJMenBaialODAJaIJQm19oUz+OuFpWIovZlO6ue
bFDa5yhNu2OfWg+2/d5MsZkC+0nHmKrh9ZZOhtLrWaNgKlaqJzmBqrON9f6YUht6l0Dl+vG+Y24P
GZwqBENU7sjwkH+5tqdbVeJIgVb7wJPNY5kbxSlXpAdBpv9bFRVCjgCQf0oo11aMutfjbHBqHwpS
+RDaSu5mo7mcDHWuduLWmwuiDEmbDBlbhtmuTVlKao7dYtf+YijB3yCtxg9tNy87d/z2SmTbfrOy
+ky0vNBOgHrJZ0zE8GLT6iZPS9QGXQxwrf9KxvijN4fky3/4WLDSi7uKT7ZO7GqrMBQGuxt/Ce3w
ZRSM6xqCFo/vIO4OiIU8Eo6FtYyzoXeBFDVm4/dQ+3KUE+RUonh++EYkIhHQZkE9xtjh6i0OIOOv
GxtHb4Mk9XToY327DqcXC3mCD/e37caNiJI4DTQxd8wTsfJxgIshg2tL7YeDE37OmkV+npXoXTjH
w86TddMSNQXgsAJ7uy7lxpTtjKKzatg75f5gt3bsKlFie3NMf+H+om74udDE4t4FLSPg29d+ThjT
aUOeNH43hZKXV2pxUkPt038wQiVSVBPovq4j2Fw2e7ONisZXRGbf5cvodrOyd5g2cfKbJxD6imkR
ipCr+7wZ4Nmv+gGH46Q+1xU8//WMhAnBWv0c5sWe+vStr6QKoIyIYtHJFYf7t3qFFVPVcvqZVcXB
lBAHzr10KqS4u/SDUfY7PnHrQ4EcBI0mSEQo2F1b0xg1DfJ5aRj/1qpzHMqIDxto/9z/UrfX9P+s
rLFhgcNoGhyrjd/GcXOgzF94dYI2TRmFP+9burUeOggEMQRmGhiA6/Uwg9gtFCYbv5Hi4TkZF90L
2yk4/gcrZIh8JNxvA3kO1aKEiNBp/Apqu0OjzD+UHFWJ/2BEkOXQDSFiX0fqcVOPUjimrR+oEcrC
Yzeeo9l4PEgneObl4+OAENxgf2EetJ3eLlsfwIT9XdEGw3nWEepUz/9hNQzAihk33vJ1UosUVWcu
Qd7CFNssi+ukk2y6TVHUe9SpNz0AWO3bTBnNEOGLv52fzjE6Brpiti2f5wOpgeUiUPZwPsudLSAL
gOwhx+LNu7aS9cYUDzrUcmhdacegahGPsoBiPLxp5GiCVAcqKuYY1JWVAWy00ZgQ2GWD4iVJLB20
qn/8hiMYAU8i1PXEnysr4ZCYSIgaTA0gRfFBjWP5B5Nw2sdw6dLniUvo7/urEvHUVZJOWYn10Oej
3EVVffW42sVQWpMNGHuxKrl/KqOulj6P0dwvr8E4l/VrMQWBeYot1LqfaER34cMhOpVDKsEaMZKg
al8teMzZ8kkfKj9tWkq0URgqP6sMVUmP6TDpLwiG+r0bcPuKkPVg0eYPfGYdUOhOglbWrHPMiGB6
rygkPT+BY1jOmoEYimupeb5XDt7aFLxXArRN5YZIaXUS5J5B0QSYnB/O8hgdHDmrza/Zog3hF0lv
JO3vKk3CnSKG+Devv+21TfGbfjt9YTsOEzXfzu96WX2fUhw7mFHe/TWnxKD33Wh70MV1wlVPx11I
M6++om0vrS7B8egzsSUdpgYUdVaH1c4DeWsTcVW43KmVUfNZLSgelG6Q27r3Zy39M9fb3kVC632/
qM99Uu4Ft7d2T6jd0uNm/Bh1yOvdK0tlSSnp9j5Cc+0LhGL/gGyez/aCMPn9zdtYErcXHs0MAm0t
nphrS5JG5a/qps63y0o6JLCFMpCktW68zM2Oqc134t7iRQYtrRPObGYv8rkuYxOdZz8oYP1KE6c/
JF21d8BuLIgoEAA4MCuBnl5dyG09DUqMsBnMJ3GtumEX/zulQY7guYH8+MObR3XcBLDAWabRufIJ
HcXserTVARCSWTKlXjGrigSSo1RejXLl3tI29+Uboh50HNmIuD9WXkHcZDRtro++ao88Az1Qw8JD
LcNsnlAjM2gbzy06WrTqhj9rUr5+JxDZbi2BqGDj5B2i2LXBjs6od/CJZd/Msvg4UGrxWiXoz+Ni
7PEtbDJXKsQ4JoN6nG36rqtgG3DTEtVjroHyRWQULbqS7MROTkgz676aNdY/mRbEj3Y/aZhxN/Mm
CepnUufrs2CHU00nt7H83mY24kwHKDTOcLIryPgO0rzHvLQ9D1RdoV/Gd+iW0QO9NjeN/ZCGXWkz
3DzIXhcppiuru7fj9qMJ0ROa8MzIcfbWaYukwW/maMniZxGj5YfG7vBOq2vtAuVHiMN2Drk4Xlf3
PsSw9K1oxjFSIIZ1rxdVKYkQaJg1Hyly/RCVQJ7M2W5OqjHJqErXqtf2Mf1kisBPba3uvQUbv4F0
8I0/m2Ygt8ya3saMwHDkvbX4kLw14ckeG0y0Wttl72hzNQbCoihSIjuJ3szp/mWwOZ2YBjQCNoXa
M2mUdr1yXYnQ1wxKBZZyu6pOyaBFysmpokg9clKH6cCza9ieEU3ZcqykVn+QbEcgpkDSsfvgroUy
zCphrE2iqFIZdD9ZUJ8zUsf+oETEUtHYKp/RYt1rsmw+NbAzMDnkCvxHJ3R103Z97sTLYhrMSEnN
kyoFqflslEZGm5I38pgWMcJ9Y20BjdA7FeUznUxZO97f9c0hEj9CiIqLaS2L0Ph61yVQEvmcpQYF
Boh3uJKyl6Uw1J3ewuYQMQIAfTT5CjVWFVjmtZW8rRZ7sCFHGyOlfBlnKz1U1P0PvbErQ3/TlGi3
Ap3nknVWB4hOCUmLYge+4XT6fOrQkMm9EOnBxdN7+GDdR/cPSmGq1PxHGEwJ+XplllZb+TR0lj85
VeiaIVTLdRxXO0nfJngS5HYkeyBLqaJsqLEr1aHZlNqWP1Cnu1h2o/6wALI8VyPa5E5eyN/vr2q7
iTgF2TK4SzaSD3e9qmyQtKXrbcePZjtlDAU6BI+GbvbRhHbt0RuP14miu+jWg4Imr7221ahGhsxn
G/jM0hewrEtzc5CqpjrKrW4gF4rEL1BJyc7VoyJFZgb5vb7s7O+N9dJ8ouMpaN9F8+b6NySVYdNP
wWlKON+fSqXvD3Fe2sfB6ueP97f2bXb86obXiH6pWfM603YGE31ty9QyMW0xppcmUOrOjdA/rs4J
H167pHLdN0cz5sI9IKeIZkpDpNCd5KZp9HM1zLP0xI2YkQsYYcskxij0QRMtSuYvcLwUzUlK4jFw
1aIz03fNojXDwY4d41fT1kbplsagzAjJZvkwuGZdQUIdpY7W/9nMsY4VCNGbQ9JnfXeYs6SEoGnm
NOluGjaMVTLlVQR/pLoejE9yWtqh23ChSO6omO15pkAdeNAK6do51bvpouSdOX4MHDMInpMeuNx7
ZZTq5lUJ66Y5tE4Fn8ZUxLr2XKhGmaAyqnc5ALpMz78y3zYvp0Zvgsmbk2XK/+gthnPPTSiH4TFR
u3Y5yAZ5kWtn5vQ3/C5F4skaB+IY5zkEgVXC4O7RzsPJdkd70eqPaasOyDw3piE9wSocDB7nbAxP
7KusH5cUup6PfUHrrnWVeR6dkxxbbfM16lNou92MbEyDQqSuO/3SSGP9red7DV+SobHz75Pa9/kH
KW6oA4dVmAZ/TDUKaYjKB1MUvNhaXPQfgkmV50+OVrYzmJRYCZ+XsVEqt4KeqjoDcDKIf4k8zY8A
Z+3y6b7Tbe8ParvU8sBt05gklrn2ObCnLUqBeXoh3NS+j3W9/BlpiCxolZ2fJLkqdiLB7VtO9kqD
C81FejNwgF7bKyZlgYhpqC7lmBnvFF7s4RBAb/6V4nP0MtKpfQV6NfxsJ2XaSZy3EQzNJ1Iy5MN5
rRiruDYdaHo7D5K4/81MPaB0VP7RyJDzHoteQnZHbwvHoOacDH/d3+LtQ0rpnOXCuIXraOu5Oigi
4gYdpOQi1cmILPI86m5k12axk0RsPyWNB9hcYbCnkUcH+Hp9dZnqcs+jdhnTjjM4lGr2K2Ne+E8O
BzCjJlOM6nh/advbEZOsiOVR2QS8fm1Si1QE3motvUjpUqonFbn17FgwMTy8hzZisXecdbuTZEEw
RgqeNAHnXT0+cUkNx5bhTshhtz5mw6ycgvzRkXiiPWAAgGhExMn/OKsjUUxjuDAMGfippnfnCujk
p7JfhicZSrxjCkSifzhSwCAfTBCKiEbBKrxU9URPEI0JfKbq1LOTIG+BWNSDGo1iWUxbAuLgMXtj
5rr+VjkVqsI04+TicMou2hKZniWF1s4nEuf3+g2zydsFUylTZkJd69pKmoU5QsJ6fSmYYB2eqiKD
hBYSjwWRn1mzyvMM0Uf3MioMn50Xuks7yPmti2CfHEFgIOi2rImpBysmYCq16hIhcnFskcV0KzVs
d/x+awXmEKaPqW3ii6Sa16vMjTavsj4bLxQW+49Vrg/HJFL3uuY3rIhFsJ/A/YBcib//rdKXhepC
1cAcL7pazC9wXQduTmFm54vdsgK5vUivhJE1pDVIKeKbRjZd3uCddS7FP6eqWvb4QbZXBTUH7gpC
RnwcuvLrxRRAxpgIGqZL0hTvokCyvLQLE6RzGKq5fym9qT9e+6CAdpORk7qADl5Xc5ZYr7VGS+YL
Kq5LARI/jD7V5oygtpUtanEY1HGxP1Rt2MhH4g+j/jClZqe4I6Mq499hLlE/q8elCN3E6CX7aATW
+N4YQ8n414kQg9lxphs7I2aMiPkYG+b3rm41ycpChahnvhAAiUpkJj9NStdfbIto5v7WbJ8I+P+I
LzkYnFAaEdcfIdTkoV8Yq7sQ0Q6N2zI3/FRE4/BvSfv1D8kcm/Z03+KtxRHxkN5BIcQjscqCtCBt
xtRIlsuQ9sML44q5N1NfPNiLpezs4w1HdsgixWw+NDsgaK4XFzSpFOpdml/kWVaeunCJPAZe050t
3EYRRBDcoTDfUwkl9bq2YsWytkgM0176euif1ESv/mRi0jhK1AVdBzbLQ9b380475dbSgGALynTo
ijapq2CEDyenw2jFIH4VF7mnUiPdOzg3PhZIDCpaEKfwmK8jlbAZ+kRKiuISV5QTHBoZZ7BIhTfK
WvpBn5fqew8RQO4yNDaeg2Z8mWR9/K4nYfaSodP4ju55cwxLYG6mnu+xW2z2gGKlIFcWmBGG8d5I
Fn+7DaFWntXZ6pXLkBcUCQy7dWXJUp/v++vWiiihAw0F3UPNcn1C6MoxYBYixBvNYHaXOFWONrj7
HVddM1Vy9CihE4aKeSSBRF15UULOW6Zq1/uZms+m6+hEpj+heOjb9+Fi1PJr0ZPSPtGSnhnJWyy7
OmeSvdgvdViEqhf0SdIdUWJfJncyx4HyyTLne8RuG3cQrErE3Xg5RUfQn9eubio0Cfum6X1VUms3
iTVwdpD6uJKaqjuut912MWZAiQ3sP7XidbEEFAEJGHPcPp2UxhusqDxrSeocHv244shiQRgRZDbX
C8ogG0a3vB78SW/BmDhqdKZ6mj8azokJY4HLAWlMuXAtTizraauApZf9RTKVl3JI84Pcz9KOC22u
8jcrTINQJ0Sdco1lrplpAyffYIUkxu0T459eW57KGuEZMwj3BFu3rkARC0egPyGadOsynTEmJJ+Z
plDrdoLY1VLGQYy2Dql0Z9rX+1/ppi3RKxe6VMiarM5GGbSMcEJ36UtFArt4E+leKfFuOCYF3/um
tm7HsoSkDqxlwFjXCQV6eVkPCYPij11oeoocBod4qfe6xJsng08F9pcBYhhIuMRXr+6SZmOnLmwe
mnLlYeyLmfpML33uNEZ3Gq2sTooZ7w2B3VwalVtZZILbbHcy7aildKj4yzy3J62gJhil/V6J7qYV
QgpmSMA3885fnyil78I2KnXFjzQz9/q2qN9pfbgnbHHbChAayMnF0MaqHm520zzV4DnRteoML0iS
+lmS2r0Jq5tWmPPmFmKAYoOuTI0Iis7Zxu8aC/7+hHu57qQ9KMhNZ2B+S4y+kDKvwYj5nBbmQOLk
oyK1eGoeX0w5+CMrtT+SsnodiuAxqU5eGpzv/9tbl/EjOTHQx+ELJVX3vQiROumdsDoYRb+HBt90
LYQlEi963lSSNtI8LfTJvT5Liq+NiHEOqv0Uh8WTFUEEotXLl3opvwd98BG9hwcZJN7WyG4yCUt9
gK6m+LK/hQZt1hhdEuMfECEEZ7UfZjDGTvGUUWN6NJ5lkQJeBbiG9IIC+LWptMMtlgUniXpH9RDK
tt3S0ahGjt1eHnPLH7lwAYLzjBCRrO5BmYJzS7tWRdbTQZXQyaUXkynq8/0r8NZta1KKEzA4yn9r
aFI86b0xN7XqN4FlH5Hh+RkAjzjYYbrXZF8LqvGZQARR2KavC6SEpsX13jHM0VZBXy5+oaUR/KUT
2KO5Ur2stIrziJzFpV+i6bUflOFUKV1wot5ZPRVdOFIGtfaYlLbbC0icOBI6DqIxhrSuf01eaLOh
L/riT0Y4e0XmQLa9FNrDgQ2JKBgsgdmhf7sWAaL304TQjKp+wbYewm74bkz1Hj3Bdilci/gjpDs0
EDYsmLR8U6q42uyHUiWdlHBAB83u9B1P2UQcUJeAxaDdLQbOeZyvNywIol6JnMjy49p8P9vG68Ao
pxtB30X7ec9ZNksy6LZAS82EJJggIBnXxpwJOtEhaQ0fSi39MOY6sje5tke5ecsKY5UCYkh3h290
bQXg75A402D4RmPUrqkOzklP+7356JtWqMoytwocAYTHtRXbbgDjMCfgM+YeMzQsaSjch8Hn+wf5
hhXBTSEeSWgBaJhdW6mAXegLQ6J+qJXLASF45Th00nS4b2VzXdCSYxYGml6B196E0NPsdO0kJTYM
WW33uc7oGsVa2v2AF6XfOTq3TMHtxIAmn0dANK8XZMcQOjf8ED/vh8ItF3U4WzpNxthJmke70KwK
QJNQQCUmIvu9NkVdNINJKqfTKKXRAf1VuEdk+MnbfNmDhd34TAgeialQ+uu43cpUXJZdLrU0NUMZ
wdc+UPpXxe7mR199sSCmhyiSk+jQqb1eUBNR74u1mAU5+rcYWehnrXegHbCnR6uHgrgBZBIScsSa
EBxcGyo6eFziMA8vGmxDR7tSf5SQ0u1kVAzi8c9clfTIBKjEk7tRz9tOYMkFsZRq9rY/Ns1cHirV
Dj/U6NRNXk+vTAfmrJbWhce0zg7RnI7hn/FcTvZHC41I9SWklTB+zWI5LY5zUUOuZhI+Vh5NRtWv
mnQIvirjWC1upHU0QEtFGgxXTQZTe64MyW5chAIYVXE7s50QTIZzuDgjfJq2h9yZ58wtbTmUDioa
OZOXmkTEp6DLWtNV1GTUj6U8jdopd8auPjlKO+bnEHXE6aUfbLM+O1aQn2LoxKzZpX8yqZ/mvFzG
vwC70WA168l+CdNIr58gYXWi59FJy18ZZ/AnAaymnJYxscP3ThHp8UkQzPedO+mLHB/GCjzLp2ki
bv8YpHoUnedRaajRSPHcvFdH20DugKosMrFKkU2u1gbO9zLvcXgCVEdm5B8FCDcui/yzGQEA9aZK
V1O3hCy4eM9TPjWnWk+WT3LWWt9SZcxKfm1WRYdpkfTvtk7x4GjPxaJ+NgfN6J5iBHFVj9EvSXVh
h6ghN7aCylSPJgiG6t8279OPIEUUBRoQQq9T0RlI5eYNClqXRIHn7GVuqnE8Ty1yS6c0YSz8KSA7
hAACYrTh4xgrwzeJKi9YGd5CI/OcSAr0n5QfQ9kzlymbfyHUZqleghRJ5xVTXrVeZiaB9WkhxHJO
9aBXg1fkwzKcDaUwkqfOtCbG8fNyHqVXnkTmGfVGDz+UbFH8j2ONQXqUqZpFp9pOtb8io9A1j+G+
rDo6Y5pbH+V0zpj2HoLoUzhKTuZVZltJ0C7JdX0YrGSUcYx+UA/jFEVoiTK7rb9L0yFVXvIxmGMS
xdlJPnRMKc9PelOki8vHkGjDt1ZtezkD/rNHsz+Jfi1z2NmeEzb5jyBsi09miOqYaxBrtV4Vjsmn
ftYm+Y9s6bXXWZ4ylI/xNMWBj8yUE28uDKk8IKdaLs9dJ+fdwWwpkHw0Fj1LDl2kS/FF0TMpOSfk
luEZlIgZHReptNXjHHU9qAzxGb7WldKqJwoEquHJSTJWp6lMKvkMRqRXPSW1otql4e1MZ/pDyexG
cbZ8h8TPHITkB+fJ1etAzw4xPDPfBwW1okMLJqJyGdqf1IOt1YpxqJCEN45N18rmT0Wpc9mLtEZN
wWc46odak2PzgyKXbZm6TGS1f6WcW8UzjTRUQY9lSncqW13+cf9l3F7sXC8gxWgtMz23qU/2dRhT
XFXopI/FJ9Reoy8SzJufHjTCK04RXaHAZNF2WkNi6C/38ZAuxWWQaSU3LUzrliqN3n0rm5fXpKIk
WPEZVQYrui5YKKM8jplUNpeQEtapc6r4yYgl9c+mg9L3vqnNrolgBQkLQEyEyeSP1+8HyiNGpLZt
czGqznyKhjH3tEHRDg9aoVlH85OZRlI3gaG8tsLYf0A7YOguqTPYxiEfR/mdMTnTg7LfTBAxCU2V
mo8ErIKS6bUdtdWmuWLOC5JIRhmrNBpyF4Bi8oU+gn6cQOOcQrMvwp3licTp+nWk3wX5DnBBIeWz
nrbI4mgKupHIvLaG4Nmy/kmUEQWxsGUANi3oyEed6apNLz08owM+kFFsmtcQFcPFs1pvKEOZtFSm
6ReVMp11IZkG79Dn+x9vuzqiMhLTtxDdACV4vamNtmi5YOzyNTuQTqaka+8SenEHo7L1U5aq77IY
4hanHbWHYxviQVJDWCcJEIhzrg1rfc3LonWOP9bsXwji6l2LINpO7LlNq4Cck+mQ7ZBXbZT+yEHq
ejQlx2/6IPnopFZyUvRK+tpFtK3hCFi+3N/OjT1x4kS/F84Doql1V7noaAEjBt9camoCL0x3NEzf
kvEzhnFCBODf+9a25xsAH/V8bhFyU7Kf6z2sJSeQszHpL045znDzmaUrh3J9vG9l208RlU74Zpm8
FeQna4QuA5VWH3JtXWYpL0ZXkYr/Y+68muNG0jX9Vyb6HnPgzYkzE7FAWRpViRIpc4OgJDY8EkDC
//p9oO49R1XFZa3uNmIuWkOyspBI85nXYKBVVxFE8zDV9M7PXMON1zIruuKH5k2LjmumhEDqskHI
uzLPxLjJa4jj95mTW52Po3t4rYt3eazyJSmjczMuUKtzjqZW8cFx6A0HTl+VqKVJVymhsB934zXf
2FeGIsGju0T0z9yft12jiBUbj2p3KKypX6FLlz2immncVkLprvQmXx2KCjOoRTqGUP1P37AS15M3
xGZ3aJJodAIOOko6VhR1xIpqU9ubK696OVNODjuKKEtzbjGKIfkwl+/zS7FvqvJW1SdnOLS8xeIA
dVPBHmvOLRQhXazdAtnxZ/vSahzdF0av1o+uiWcv6MYqdZD/1pJohyM6HZNBi5NrtZiLTIWvB2ib
e4BluNjNnn49d1DaFlx+f3AULQmMISVupY12l+geLSerhp45Ktc6DK/sMgqSsICgnFNY05cv9cuc
xAYqHxON1wMXRBf7ON5Yx5A5uTL3l6962cusqIXGeJmRTzm6m1kxjwe9oyUcGIqYD9iwesmqm2Yz
uhIavDLaX6wXZ4EbX5QLpyKZNWpn8wGC5LRLkg4Qa5gkd3CBvr29pi7f2cKUpMy6ZMuIUp3dMJ7A
2LaYwvHAaaW8R6sxsvbUzPVVWbhGsUEOpp6CPBuaOPjtgWm2U0Xm6PqpZ3v63nInAnICUvVA+aFa
UVJX/FhThlWneuKg1XW+G5Z4/u1BLy8AYGYEXRTLl9vbOTuSnRlRbtFH06HMJ+8h6efotlQsD7m+
pL+TRYai/NsDvvIiKU6SoHNE4PN6rp6qmZ0kMywZkMm/j5wUTRM0wR/DsE22bw91uRG4sKlT8iKp
9XvnfUq7DDVjdorpIFU3vtXTDBXCIrnmlPDaDBIRwBdGzfSy1CZMI9LIzqaDGcbTk2MlchVpVr5V
uzRcdShkXwG1vTKB2EeiIaazE1ipZ4FIO9sSGYlSPWi5Z+PJWnXc1JjZpc14zTjnlQlkKGRuFj31
BTJ4uiKx4ulFImv1YERDuEbS3NyZRvrbFVEKOew2SpX0DDkrzx7IKPI8LhG8PlhDa+6zwZvuqeVc
03l45VnQ+KPeykEMMui8uzuUUtKebrSDdEBLZHk7wiwdi9XbS+6nE9rphcQTUN1FAJaDn+bh6ZQN
ThIprhOqh56eobEKKwPwnKDwgoigGNVvyugCaW9BHb+fmrj2NkD/ZRRRNaoUbzc1qp4FeuiNT5Mz
TvOzPpS5sy5Vp7MC7EEH99DopZoHqg3E8CYLm+a7EyZ2eyPqpHcfyUUrFW2xhE6lYcVxupniXvlN
e3jSM7oXi00zaDqm8xw50aLOlvdlrR3MInHeEc+h659VyYJK1LRPb0/oK7trITuyhckLqeqdLY6x
KThEUlU75EKFt61ZoGJ9uHXGkUJxI9dNnur2lSD8cqlwJ9JYphq2eNCdd0ndFvmycSzxjVEyfau7
CTim2ZRXlsryzU9XCtVsaNRM40LX1c+eLNO1vswQaTh4tui/5ZbsNyxc46GcqWtNY2N/MvH13muT
al7Bvl+eIGSmAElJtNGh4Bw5XaNdaAAZilmjiGhUd3kzaU9dBsJ/mChivv36XplKhqIPTI0C+tM5
nJELp1WkYKjQyId7g6Vyk+ids397lMsrm4iAygSMUg4QdMBOH8hp0azGBt44UPhtVqU1WJtiLN37
UW+iD1li5z88vOM3bw96+WgocqOqBoYV5ifQ39NBUVrOG1HqxoEujBfYTZY8uV5s/XZAvSCheEtI
wtNGP3dIm6rUnATWUQdMHZM7nHnZ6u5g39u1cw37e7ksKLsAOuWQJKjmv08fqBgdr1Jogh48Nf7W
zF67V7tq2gyxvNbPe+WURI0OwDT9KeQKOTBPh4ptCsxmbVgH4OmZgqcxBL90naUIP+01E7/HVWIO
FewjTJW0GzueZ7mq7VocVK92m7WejNX0KUlGD6XS3lw6XKOpprvI6ZNjPWXRtJoapf6B53OUvHfA
iUQ7HYmNYm2XahJDUXIxfNa6IvF8MCt1CP0pl9O1UGeZsNMdzgaHh4dGHGuABPv0KdFnL8PBFcah
kcmfoq2NwDG7fRVCANIT+Tz18X7KGjzNlCsh7CtLc2HxUEQgJFkAYacD27mcB6re+sHwhH03m4ry
nFuNdmUD/MThnT0fnXYuATRZGOe8XNejyNLMbmMdoES5AfV/613u2t0qStv2veZIeVBR8d1OVieC
cRqqI7YDyUrY7TWfuMuVu9gWc6cTVNKO1Jbz4ZeMhySuS5AhcA8OthM+1UolaMZaUL2fs/Xv7vqF
+bdsRi7ARW3rdKjWFlER0ks7mIqbrA3MLeiK0Bp5e5RXHghIMTkjpUMMO86xt9OcVZXi5hYhETXw
wkqiba/POGLHrJ23h7q8hpyli0/gulREL/rRiLtlXldJ66BFjrKaoq59tLWsD6LGpfKhuTGMwFGb
0tVo5NUV/tflOmVsiuQc3KxWSlGnkznkapWoOmOnSeKt5sTISXb0ZPX2E746mfgZQLylJI5W9eko
Tp/jWCN765DMVbeNMO29i0nENpjRX8sFLnc8D+QsQPDFqgHk2OlQdaOMWKqq1mECkol2KHfEg5cU
8lPMsl1lhlH8yJu0+xxS44z8KLK9awqmrz3sYtDLqqHtcHFfmIkZ96wd61DBdPgwKnF/j9Zi9Mku
rGu1ylf2P1cuYn0sUJDYF14lojGRqgh1+4CgT+/swrlXHD+rbQ92pJOmTiC8eHgSMmkKgtcx77eq
J5P63m40HKdqAFnllYzvtfknYOYWI4MnTj1bUGY2OSiANvbBjOREbTEvaLtOHytZr01hW74MtW/S
izaayH9b6BesPLxJYCMaZSiQ+aevfsbyZFgcag6Ezm7QJ2oIIj1qtknTdlee8rV3vOiucIcy/bAA
ToeSNE4oD8fOoS9H3QfTZB+U1kajJAvNh7f3ziVMi8dCuIYFRQRCtedsrHbAk72OBof11PbKCurb
8JLmNSqNhVLM7wdNTpPvzF1+mIYsGVewbMNs04q2e5BpYY9bI9Pja5WSZdDTi2dJ6Qm8qCJQQjzH
UfVl1MpaxO5hUBvzneiL/n4ETfbx7Wd/ZRRyHAQc0UNdLKLO3qidRBUcks47OEM3gjkppfjaW/Z0
5QB+5W0uPAaIUGTZvKwz2JEtYqeblcLlRikyYEfT9DBY2rDRYtu88kRLwHE2bxyDy5QRIyOkfHZP
Oqk5O12vuofcbfvH3orDW+B1tG+dXPVVM+yefnsGEbIBDgx9hG6neXbyloqodWpa7sF2wtyv2hxm
r9teM0R/bQJ/NjAWmU3u5bMJ7HppRJ6beYesKLt16HZdoAmnQJBXvWZv9cqS+MlYAxS0SIuda65a
VuRETp17BznW02poqypA8e6azMBroyxuC+D4mDW0sE73d9w049hR/TlYLd4nLeJ6q5Qyz+63Xw6d
JuSuF4wsfYizs3LU4pJuTRYduRWtbSmGzleN8Bq55ZVnAUzFKmC9cX6ch2Y2esLIbCAJVQ1GHnSJ
k+0zTshrNbGLKIZ9+lPkl7Yxwdm5QaqbDppTYKl7NAu3m1cTh9b8qGWypC7Wjoq777hry1WKZpMe
1FJXIe/aLcjufHRN+R4Vc318wDQT8AWFgSYPCM5x315kJpTUtzjmviQqoit+jYett8LuyeO/s65U
dnlIseredQcBoEN1SvoqiWUVjw1CJseWsyXBcNduVd/rBmS4UFeY8m8Cx87mXjhIKvhaFOUPZZd1
08ehRCM/83U7Nc2ARzDkbdWEYIKMSElQWMDP0/Mz3Uq/Dxn+og9JarVi1+hCt9YmykbD7YimleOr
GpXiL0OjJjOaVdpk3ypmojmHxMtFvU8wUgihoQwoS5X65NE0neU8+bhh9JWvIFGaNasIvKD5TWvx
4nn5zYXnAC3+WWDn0LvU1+oJAVALmdxDRwCwso0iWrUFMvJvj3Jx1i2jQOyBIbcEKOehmFQUTYcS
5R5c0aVHG7siv+gj8zY3xnEdDrn8/PZ4Fwt90dy36H1TWIHvc36Me2btCX6qHdIuEZtaR7I2bkzr
t59q4RsSZFJ3oLRtnx0NFqQNFeEJ/dBETrMSTlptYKQpt1Y1KntLr6+xji9nkRxyYTeDjta4dJd9
92tmlapKZzfSOOC/ZB7xv/NiPwar/RSFhhL5aoeh89vzuDzByR1FOQzQ8iJbsABxz4tTk/TaKjN6
QrimKJyV5VT1izlMcbW1S47fbW0po7XBdGG0r5Rafsr9nQ0NLQdEK7jmpbR+dl2BJlw86TzvUMix
m95Vo5d/z5wy+9w4QxZtnEzvvmI3RCcvz8ZoROHRQ12l88LupWoLqey9HOso37BzxVuxJl1wgwbd
58fYdqW+JWFs5lWSmA4kynpsqy+GU0QIyXXpZAVV1nTJWlDtaVZdYon2gxfa9p+h3jufIJcavZ9M
KBT6KkjE517Sut28PfEXsTOdShtNGQj7SzZ2LoQc5S3d2xk1gKZKh4cmi7p3qTdYnDq2onyzZ/Wx
dPvVhKz+90b08svbo19c4kvpjmiOSg8Qb2K604XWxEC50FTwDkqaJduhbbSGjrEeZcHUZtmVAujF
beESA1GxW4ThFw702YsOB6MtZSO9gxcBYhxIl3x4q1/tsTD9Uqm3Zam/j1yO/7ef8eKIICeEaQ0q
B9wKFLBls/2ymXqjgYJCYeqg60W7aSUssyKCLvK7o1AIAflAJZS03r6YycYpVCtL0uOQiO7zoIjc
R8dYf3p7lMv3xSiwJTSAFjzJeWHXqmcMvbIyPcpeybZOoal35ThnG4pb1zKrizOIlJ2BKBJQLKCQ
dn4GeYMsEFij5JJ7+EjY45cxi5wghIzfdn185fy5fDD4rUtZixtKR27hbLQoLkcRVVV0bIa+Cqgd
0GPOK+OdVnS/bUZI4QNkNqVxHop6kn66HopxRB8P94pjOgraO3VTbPocPZi339TlquMpkE+kLEEd
knzxdBSFMp3Qy5o7sAnzgIgj3os08rZvj/LKtC25EpcTHWwK1cvp8svarmNHONkQZ0xbZkSrSnjV
V3eGyOunsozV1dujXVwStEu4Y3kiB3Vgehmno1lhMtjFwL2uWtHsWwWaal6tfG+q/lZJe7EFS3pN
cfGVB+QOBG+O4sxy954N2XEi2XPWZkcA7tU+tFqaXlOr5OyuNuyvnIavvDNv6Ztw0S8cxJ8I+F9m
M3bGyFSjCrkoIaN7D1nqj6lZiPXbs/jaKLRdde73RfDpfBZ7faIYlbvFEZFYRLVk6617b7r2rl4b
ZWm8oljJtqIaffqu4ijVSiQLiqPeueEGZor9HMVW+vV3nwUZKROA1CJBThH4bBRbYodhDGFxtMMx
w0oE97SsRZry7VEuLw5GsXgp0MQQsjzfsbOjzrqQZXkUuTFvC/hca2/K5g1aUu3eVPTRr1EOv23r
wr4GgLlc8saiRMCBRC6yUDlOpzEctArkdFwcheb0w4PeFHb6DlaMPh4bksjy46RX3Te7Cq30tyXe
f3oxGOin0C+ktrV8tV9Wo6xyqaWDFMc8tgc3EJWHBR32ur+/xeib0w4iKOINok10Ok6eTKEzu5E4
hj1KLfAEisAqkD3zctv57UNxEVvg/uLmQrH1PMo00kKAPW/FsazmbkNdxD6KtBVXIsrLCumi6QA5
CpEbohcQNqdPlMjU6BQlF8c+zYadnZnZJnaUcEsWlqz1obJXRQEWmMq4G4xYTq17dzDflZx5V47n
yzsUvj5bnY720rs4Xz3s7ZwKpSOOFSY726Eubb8Y4nJtKE240jI6aG9vlMtNz3iw9SkYUnS/wL+L
erJqK0qrYyiSFJJWPeEmXF4LWV97KtJZLuxFDOSiBVvqucnx1VVHeD1RMBteGpReCJtUD6t1Maty
9/ZTvbIHIQgC5iZBAd54ng2RtMzN1DjVka1iBFxPxjqhsb3xcvCN7kxRAXBw9Pz2oK9MJfHBUu1c
GE/U707XEOd2iL7ioksU6l4QooNpBToRrHvllb0ymRS1KF7D38Kc6RxpoYHVHq1JrY+iLdU/E7sU
D0Vml08Sb7+1XiW/jUqFJAZRi7sULBOaeGdxias3Aye2Wx1B5xo3i5r2Rh9NO0gN8/PbM7icGyd5
HSNxrlCJ5PgiYj0L95umBvIZ8WQUYIy1jPK6DxALg2NV6xkSJkleqI/2BGfb6+N236SVuPINXlk4
1JGhqoFC4wQ9r+jJTq/7eU7lkTNOGGvO60ZfG9rQFTee0Kp6j6qB8lAK1RJXsoGfzOXThwc1Q2+U
y2MJAc/F0+M4SYEDddYxr7HQcLigrAr9VHQPqugG6c862XsVmKi7GG3z5s/KGWdnqw5FKj+Uzgx5
zs+EPdt/arYU9a0yGt60bUe9lgszSS33b7+q80UIH4OlwDtaoBVLina62LsBpHU/a/mxd0q56ufs
JlLCY2lGn2gb/26mtAwG9oYq0ZINXkis6proNGdOy2MspIbZa95jv6r+bvrCKKg2c0gtKCZypbNH
knmlt0XZNkeMC+3AshRvy1J7tLxKBIAk2it3zvliX4YDrEcKT2ZBe26Z4V8u68oEtOm6kzwmleJs
W5M7Jvd6bQ0vrA8Gd8y3chrcddPYUaBPdXzlFDk/rRgeVh5BEuER9/i53k3eVrIl8GqPhoLtjJFr
0UaxIdi9vUwuR2Ef/xR54FTkSD47O2yJ8q8xR90RgRr3vobyVuzGoh6uRcg/OyK/7h4dlrtGMQQ5
BErl9nmcYMtcKb2uG44UhjDQ0Y10dLfSm9UbpGbncpO7c/rFtJRaex83aE3MK5hLKMcCCmiRSXLV
TtZUMHTYvXkVJR/T3lDnLey8dAzcfkBdZuoRmoEo6qWp32W2O2+jsLC/ZY5afExCahN+0cQpJstu
5H2ekIGF1aAqj4Yt7fQ3gyIelrIBeS9YrcVy8KyRYmQQFse6HI/CU77qvRlvY5HaV3b4BTtjGcXl
FEQ9gKHY5qcL1Kgj3S2SaqIm22vauhmt1vRr8G7TalZKBJ+8caQepoyth1BvNEblMTfY/dvUily5
weI6RYuloYzoj8jaKCt6TMbwm6nRYrvASmbb0tOlinKW7VW1O1Dum6tj77kE24XmvFOKjp79z3X8
H9/H/4xeBFkAOPtS/vu/+Pd3UU2QHuL27J//PlQv5Ye2eXlp75+r/1r+9L9/9fQP/32fUFmT4s/2
/LdO/ojP/3v81XP7fPKPddkm7fS+e2mmhxfZ5e3PAfimy2/+v/7wHy8/P+XjVL3864/vouPo4tMi
uL9//P2j/Y9//cGO/I9fP/3vH717Lvir/1X+EE1DHPTXR/39+y/Psv3XH9o/QfGhakcdYdGOoQf2
xz+Gl79+wllNwY6b2QMJSUf2j3+UAprhv/4w9X8uzXBghoRnVCGWYEKK7u8fobcEBAvsx2LuxRb+
P9/r5P38z/v6R4kOs0jKVv7rj5955P8cCEDk6ZouHg9LyYtj4Twa071ysTzIUuxuhfot6VPnaI5i
BOoxi2CmHu7LJhf7sHXcx97J213Y1cpjWFd3MFEjUhll7bVTMPI7aTFBDDEH1zf7MXkaG7MPEqyj
AJvW7gYB4TJIx/57oTZf54i7CW+M92EFisIBMr0eOy8OyEazfW6jtqDKEuXpyGy+NlryFaL4l2qY
01UpjNtpDB9VOzYgUU/xNqybW80tlKAey0ey8Q5r2PQlXNpZYi58EZk4KAzFp3rq+7WsJ+dG10W7
NfR2WmvsAzTWpQsCd2y/m4r6wFcp7ikEBoMYSIaHUfqlOSZ+UwE/i2Y3wUF0Sv1Som+UeQmH4WAj
8qwIe5UN7S1VFWUD6Khczy4WoO3QROtKGD+EOaO+NSCqnVl4n7tx/zHNqwcjqn6EmfLJxDWdmU6s
P5VRu3HHJP5Iz8rcZc6w85A63imZV6MRUs03c++Wf+GDf2vXfhQF/zvfiCeb9/+6XU9+a/silk0h
zz/q/8M9TdnjrV19fG6eo+55+nVb//yTvza2Ypn/BEay7F8OfpBmS2zw185WbPYv0v5Adyn/gE1Y
4r6/t7aief8ElkpICJnjrx/+995WdOefINaW04LCHCErbJLf2NzLof4/e5tqNoHaArH+mWwtlIfT
m2lCrV4f7ChbG1H+oVyIgjQnjaAKo2vqWK+PtPQ+uWyJ084qKmaf2Zpiprh3OBONpk61jsOcoQ4x
ymtNh9eGWhTWsTwlBaAzcPpQnGBdq7c8lBprxzgHy6to1kPdhFda8KeR+1+TRz5HB4cckir9ErL9
EnfizVxDsfdA8Y66zAM5ppZPbVu7rdzW8q00yj79srj+Ppp/PYpPc6q/BwTywVFMQnVhI9ynEWC3
NMnWVtnkMErdr+mQNvcK9/kmiz3Ft2J5zfuFeuJp6Mmw1LZV3tkC9IL2dr5IsFSExiqNeL0ARI8K
zfyXsprCdZKV8c6IY/dDP1bDuwko2tpoZbVb4A83Y9U770JYHCurAeVoVRn+BVoiN2mEcmpPlHSc
48gNzKKx7rDma/YezJ6dFtnOh5TUERkSDlUpZR4GM4YwNLNF1d5Wfe7e2KPIvuS6VUAQjlGVyOpS
yKDJqnal9k1IZTcftc+g89qgMTLnS6+GxTY2uMd8OUjl4Pam+z1UQ/OryatLQHM1FUEnLU6/7drp
Dk2S9tkR+Y846xcDBexFyBdv4TD2QV1lnrYCT5AyH47jjwivBXVhjLdu0+Q7V8tt6rCJ8kkzY/ed
5dQDl0jfbmy7qxERkc74VDqW3CJDkhyywdX9HHWRvdl47c5Si2cVBNEurAfkl+teRk+qLbTnpsu0
D1UbgUxVx6ztfESrv0O+pNOlDm6+ma2h2ypmiO794mGxUuzOin0vAfYd5Dr0YytVsdRATiX/1pJL
BWFr13dxvhhMyE7NVlmhNJ/7XGYPiFwMH5240vbulForXYF9tejL0A81lCBN8G+VZZQYqzlMlLtR
j9yVkqiWD1On+x7ZQMrDONQ+KkbVKb4rMH4nGyjSO1s02a4v8nDfJK661sHYrcLGkzdxhIB+mjfR
sc3rcK857Qzrhf9z1xWqgiklbKlVIyZrQ4vPtP3QHRFByvX+purRYJoKq6a0B+1Z85FXdm7a1Iq/
RPTyNH92Q0KUPrcDSoHjxphV44ZoqnxGEr2BgdSm+vceCSL40YXsdkPo0uKIW1o4ud64Oy1JSFFq
2UxrnA61Ff0IAJ0iOSTSmSWk2+5HyxFwU4xeV/uqPcjKN4xGe2hVot9OVeVtihbp3laZ3Jke8CaR
cx0HKm2j3i+B6AaVnuaY47X15xoFkD2e2Yaf6LT4Om/xqzeW/ArmUen30EFXxtRz24+a9dQOvTjq
lV2v46jMglBU4Se3ndMAzR37M9aP6o1bxNmTpfaz68Ok/DpB0lrXwsFSZXZfWq0sN22ZOJ81YWsr
y26nj4lXRA8leL87uze9x7DI9MGPbLI/HBRuvDYu71V2H2J/OFY8oqCvHjqjCt9pGgZqfjuX44c4
tNRVJobwR0JicBgt/EdmTI1uvWTM3iuWlJ9do3La92Zb1fla4WvI70qMx8AaVE6B4kw5qWIzlH2r
rpyZNlDvT3ETCrrz0qi3Ua/X9c4d6Vu/71U9jVd1p9Tqj9IDWrsx+r4LtyWxZLkNLRc4MiYcQtzH
qgx3mSG99DEDkaz5EVTeH7L3OmeDLUA0raNEU7HWc0UW3XOlMN9zNGZuEE6t+XWuFbtdjfrsOBu6
OpjA4EhlDjd2UjlIKUXuUW2LnQNly9rmuom8Y+NV5rCaPZBUu9Liyz67ztR9pC1pZivLmzNnDSjA
BEI1S6zgJ7MYbmJrCMVN6U39p7JQzX5LNWB8Lnra6n5tSqsOal2O3zs1VeZtV0rjaehCz7lBUab9
Eymf6YM2FTFdsyxEJLQsbGjhTqHP8b5RlMxcFaDFxts4NbR2RUSQPzRR5PpKEj4mBJJbtTKBYsLA
DULZ3llq44GMF8JvpAOns23CTd/jEdl4TrWqxYB1JKI/kKoCrZzCJ6NPmi4o0vRPM57moMeKx59q
r8oDltPIL1ZAtEyFqDqyjJumdMn/O0+9BWrDecF87PHBe0ktp7+rTaU6IhinBSoeuCnoMX0nkAHy
WfwfMpaXaNVgiLRspzLeVhsd1l7sfZSdPDS2vQshLVeM5SItVMttFdk3ujPWK7fsSr8MTe2gm9NT
t8zRTLofuWuX/MBph1s7VvYg6m7zMX8ahvqzRctiO4bTd6vWno0eCWg0BbWmv9Ps6tFV4/6Re2hb
T/YOrbR8bze4wOV10vndgGNPqFNIRAZgL0qxxfxW8Xt7fsomto0fRvSLnfk5T5o7kWX33JJbcv8/
pdC2wjAPplkBuKs+iDp/Xxpe6ZM6bgfb2CZO3H3tOBv8Ig4liBt77/QzXMRSmu8QT/0Tff6P4K8P
jsYi8cr3lY57qaM3axF7nxpFrxa7b0EbF4QdRknv3Yp11M87R61v47zehhSlgzmNv4+qF1Td5Efe
C5Sozq8tbxXP+ZOoqtbPrZ4jM09bP0ty8kIj0OryzrLGL4nt7KguBD1SYJQwghkB8TwtfLNtn5ue
bzxrd3E2HQqzuWliWfvKpBFvoj1mIg8mm2HtpM6hlUPhg5h6Fwmde9/o7kkS9Q+m06wpN2+xUfhY
YFyNpFEj7ms33BVNwTrSi53VaZvpZ7cun76EllIFqZ3fDEO7NhM393WNNRwKRQ8G9MVWg1DMbQdv
ZhWNiu1P5YAK8tBsU+HWPrA3JMm8JhBurvi6o29Rl479dGqOSpzWnzSM24LKMJsDGM+j0ZsdfmCj
Ie6QmIp9vTbzTd8lN2bSe6u0jlsaiPnHxCI0RJQGRoASbbO83HRzsge0d2vJ+DkX2Y/SUOuH2IzW
kxMjBqXrNyl1y74y/Cixkw9e4d5OdWQcFqX6ALkFb8cAPHxarmmbrKgSqhsoiIgFjO6nKZxezEoQ
oFh2F3QiijlOQXXMcoBq1mrOex1A3buEauIqR8PeV1Usx6sCFTVP6d6rbeXtPWF9lkrKlMnp1nPS
cGPn6r6eC3UbVW370IPM3whRD5tCCXferA/PujLG9zW67TfdNBzDpNxNatgFZqPP95li7ZGvErtk
mPcN1umr0VG+Gtz1O60be0QstPt+tt/jQ5OB84xG1OHT9At2UzAqqkWAW36OyZCCoQHC3YEym8Lh
oSxktmq75HPr2XLTjPHnyWZEkmsZjO74XvbJk9CGh8I1b0HXAJ7QRcziDrfVoOvvNEe5HxwS6Nhu
B+KC+MM4qe80o98bRfUekbEbFDTueg2Ysl/aDUC4uBy2tXDvtRnTRVctvuIMfGubzU6Mw0HUVrmZ
Ov3OtMaP1aT9mSXDzjHqhzoOn/LcfgCbjB16c+fk8REyUr/p526tTbPq52pnBMk0frcRscPWbG1m
7t5rm50c0u1cm3cK29U33QkNr+wee/t3eZphX+omsAK0bwb87rlLtn2busDnOII0BdN1s36IJo3m
sukc0ixfY5690TMNml6eIdhWrLR4Vu5stfyIU823kgaWX1J/gcICey0XCkt2iG+kMRWEgsMWdeHM
nyha+ijyNn6M3ycCanbDvTTf1aN2N6fsddk0nIUCNHGSWMaDU7fvNH7oI0eCP0WmtMHYuJ5fVSD9
2qpzfK/SHxWp7Uuo4ejKzY5fqP20x7BHD5RG/wEf9ElAu/Y9xRzRUlO+V7mpbqyos29SY0AAJZaP
uTA/lHGnBA6lKh82OVUTUKyx32B5/N5q6pk2puP5kY6ZeiaQWO/c/nsfoaxZ9tV9Zw/KTTIo65mt
zVLxPsu8/Do25cqR6fwBGT3Xr4wGfUCHywljn3pTDZ5GkTb/ZLX9xEcOX6ZCuy9y7huKz8xtVVDc
1aW2M2cpVu0o0x9gHL/pLUxBqdxOjXgOS3dajzqIr8Rd0+3I/Bx4ItgR0M+1rc2bNLYxZXMrCzx2
/6ERDpdLZe95fh7FLt+lSfWS40EBBBvxaXucArU2kiBB1tAHUxjfjp5J/JZ6DuAhqfitnsvbsJfm
RtCI2895J6nwaaLc2WlWbsVsp+qqVKuUmBV3V602Ot8Q00sxd9UKbcTYL40OPBBAl7We1/W2DTur
XOldWvmaVMenOZ/GG4lQ1ffIi7KPmde8kzKdAshKxYe5wx9jrpQSp6dQvyuylkREbe3uSS0dLcgK
4mO1kMO3skHqEpnwWFsXhnA/JMhDrEREzrfsRVZdFEUBNRbxoo3xfKcARH/qI8v704niftsOhjL6
dpFWqynJqsCNMxA/Lt2MIOrz+CGmkficqfm4a0zjfjbCeDOobvYun/TkJe1mp10ZnrS/KoD6g85U
LK4HwuqgjcKs9WXt7Us3hpAUS3XaJ51WCz8ddXc7lyVJE+pL+l2Mu/0NmlNJYOIutyqTdj6G/5u6
M0lz3Mi29FbeAh7yQ99M0ZBOJ+m9hzcTfOHhHugbg6ExYEe1jtpY/VS+JhXKlyrNqiaaSAoGCYPZ
tXv/c47vzjt3cRQmTFCv44ge0PKq5oww8a1DQxsVo25/pbVhpGFaYL4FXOOS5sIa7YKxOw3sgnt7
7KoT7p3u47AiJdbJ470Z0e+HdAPVjqaniHsN45ZUd+ZbAgXdb+sstzSy84lL1NrLs7vM3lEWhpzC
0pfpfR9kTVwZnRYRgczrNIvppVhzE38Uw7inOdCXYZBb1RlhZvGkZRXlb6rri4gqBwkUK9b7YRta
l/QcoC+KVfjT88htnMvF/FCBVZ/0auujyV37Y94MYJODU1JbBGUuc9b10gShw7t/XS1LtjczFHbC
Tsezg51ogn3pF6Mlb5fpwRjjPOI/lUpZtyIwxOOy4QS4yoXyrDEOubOlYTX7n/NgpEnGRnItt4AH
jTo+zvW+W49AdNPD4DSXroZXKrGXpSnaWF2e1HVhZ9qS8YLlVE3mXa2zbteT3qAy8n+2crX8LoGX
0pw7L0e8NJ11WxTGEgtwuTL2mlHX65H+uL9YCdrscojqJXWbRNVe3dHx0oyzHJzUvnMr33gZ7Wa1
Q0dBAYQou7OHxl5P4KFsrs0iD3qeIVEwi67aM1/zX9rVsbhsFVlE3mTTsMV0icvfnkL00vBOB3Nn
GLU49b6Zk5jpy9gnKSPpVjEljl/T0hZNup8a19kh0Vqu5kmnPNnmZABIiPgz4m7p2x3KIo8WTGlH
jIvGmD6hf2JeSOd+Su/EQrVkKFSP3NrUvuPg36KyNHGK9XhcVT/v+arqurIJbuHK/7jOark8YP+A
qacbzqNIynHJzqVUb7a/fbmFKsNVQ20yW6OWzBp2p3mf7lFbP/gVlxwC+K6hA5co6LL5pLJ1jOvN
cHZKDXky99N0PVbFcO5Hf9lP9VYf89Wur4tSGFSYlvVK3uYPxvzcP4DdYlsv2l1XuxMwy7QmXWs/
pSZF8OrI3VSUATcKMxsjcPg88sbUPY5mS8Cyo81n3Dn6XQpPcBg7x83DJjU5Kzel3Uxo7Rff2Kmx
w5WyX6vQcbYPsoJYebbSMSu13N1qMLoNV3NqoiZ37x3bPg7O6ia+tZ34+ziRgzglHlhHAmP9Dqtf
Xz9sJP+deJUVB6ZnRVpl8MNjigu33t+oogsOuauPu8xWwbUIFgPyaFzLF9k1M1GlmJ8epqH+6Dvp
xm49VgksPIMOv+r2ahV2YuP3FOFl2DB+kN+LlSFv7pOL3hW+tsvTrDjkmy9uRTc9lAh4Y+bA32Zd
x68UAWQyiPVdjcIOe31Ok8bsgived+8qU+6amAJ+OZj1XYeXfTi3hvW6Nq3YpXM+RIo+Qbj41g2t
zvVG0KkltiBvYq4Y09Gp1BZZstIoiRxn3cEaYCrDsdYYLMxMr9JwwJ8w9KAljlzUvmMj83NwyVbz
2ZqXralvSrX65yJIb30HVawzmPObFWjlIVhJyg672foJoJyKUBhT++zM7IJ1k933o16cfK1lUwOv
2s14y14BuOhvBhvzoUdhF4+t8M5s8WXkCF9ecY3BY9LPp5AWSx2pssASdvCcgy6dKalNQ71utFcT
6frriT54c1uqZeWiU7YfWpou9/jrOGVYBk755oxtlfS+kR5Svnwie7UlwhztJaSFnx6mJm+usY/1
dvow6g9B75QItzB+iIht0599MXFYapZL3Gs7PbYtlnfcxfukGzzxkmnZEhkEdZ3LpQ0OWhoYRGdv
JY3NkqBhHJ+J0A37hohQzcUwVgrxbZ2q7bCmlRXN+BlFjjX0MdxHE2ZL/R2nCs7hTmO9NeLbZoOM
Z71+m3VSZ18KqMo80ZYqzKylLuJqDbxvJn5fZMyY2V4Fg3YNgVmHm1Y3NCG656qnzb7FRpeiECXn
hGCV0MfZYEnxIluV5eOasb2yHMorOWx2MsLOEFLXEXJozpSgOa9H6MysFJtCWRrvjd11V9aIX3Jp
aSLkfbpz1SyJH2383VTRry+NvIoCv3fvZlE3N/aAdymhjbjleWDBQaG7B60ryBA2ng0fEz3Ibi7y
HWZ71SqcMG0HdgmWhD9gGW3NVWSN7jehWZeZYE8Js+2YxkVI1w4BEz9b9W9e6V+VqXVnrf47Adkf
lFIOJW4578Xij7e5rT7tfrMhNGWTpLbHtUPKjzxb4hEJ2UEUGpc8oY8HA5rsjnduOG9dNZ4Gjvir
BqfoGHBtvcpFphK3t6pdVniaflcxN71el+LsFOuLJdbvWikmbmzL+tiCDT7YCw0OUD6yIGpA28Qc
zdt+aigzbcW8tlmMJbSL5TiZ07JrnTZ4SeWqXhyr5x5l+dq5myie68IOvV6NYebjmF3b6tGd/W/k
kR87o6p3dVPFRKpzwg1ENGFY8da6q4jNdNn3s7r2vPyKoiGmoXtaoZ7fxco5WsHSc5+6wuLycRmK
ZFR+3FTbg4tIIaIDvwP/lTFaxbO/zSa1bxtbTonB9VAU98sgYxrg8cD/1DmsxXISh6UtDp5ybrwi
eA0G/VguiJFsc79l5XUm7Ct/a55wV/F3ddFEejFdTR37ZVDcS216mvP+eWinaOj8K3qqu1yhu6Ud
EjTzdSaLGGJ4t6TG18iAQBpevLryrtU25900rXhYjLgmcYnbhYwJj026bEhkt24vpddcEV/ACMeJ
cB5Pegr1utaOg+DtbYOj5Rm7Jp0XGBp/pzQVsTLuMNHZBU7zrW+2OC+GtzVbEPxzNb5cbbbsOmvz
qHH6XYX3g62t49vcuDvI0UeXOOd+MMcQNi24XgP3Oe2nyAnMpLYnVtEWB5XYrVVPQZunoUfn3zU5
3zzvAlSlYdZ8NlYvblQTyKvF7GJOjesFvPd1sazrxhn2WBkf7JxTvUjVIcusmJik0LQrSoR2Po1d
u+diylpNrVM7LgcaBpHKZTTzN62y7q0v0WOWZcT5ETct+GkQvHoa26CfcWjr7qlx2gcMznip9ZHW
CqYkdTruvM5gKmDwMCbS0N2T8uQ+d+eInsedZfVWlJV5VOfMjUZ/pwVVe+KnPAdO+jSOA1XGD2sx
T7Iodqqo7uzFPopyqmJZyyc3re9WP6e7rPhD6D5z2QnMeTdl2SkLOgZNRfOY6uJcQ/LMnOjWaMab
aOZYuXof4pRwn+WTiLbgfQVFqHn5Mg4P+qPalTLLxLI2M3JddaoGeZZ+z37hn7WpP9ZSxLXDu6x1
hzbl2j/xjgWKwV/YLxMhll1z39fZyZrL90VOd2vWFowQxmuz3KIcPvSBxvpKGVDHXTqNieu452my
VahplwbmIMK2m9U9pgW0tZ2KA2Es7zjw71HwnhGp7Ta9ooFg0lrj21czFv9OMB7nllDRop/CwZuP
4PJJPtGIrRd9X+TBrreNo2qmNpILTAdtp7vWaU426ETkZsvD7KyPeZ3GuMweiwlKr7XkkkwWFNkY
sJumWt+GeWdNu7HQr4o85e7JuuJum6ATfscI2acjMb11NhHtNlunVqstrqR3tLFGjbN6+NSXidNl
+qlydRiW8mB3QUys+tuce/dMjJ5Np/XpvE/vtTUft8oPDswinmx2rZ7ZIDPO8xjkH+u8XuekoqSl
e4cR/RUuSmyXDHuMIiBSOsXMzhgeFrRhAMpBERmFOgrbODhVs08D59nftFuEVzLstC0LZWY/TkUr
o3QYIzurz8vcfF3i5JUw98hZ8UXLvwfIy0DBikNqc/G7XOU6vjqitlvuJrGlV0enzo/45T1UrnjA
KRPzd0det7284fxDrRnYEc4Lz3WWq31jjtRPHoANU8GowTjdG6oT2F61T7XthQl2uDTqiAf/LY6E
G/eKVD+BdRePeOMYkTaV6mbbmMph6pRdJOLm9LgVzVN1SfLOU9okFZYfK0jfwLXLTo2DF+CRTqD5
eloMfQ7rYCNhohivfMl7wftRH+QqvH2mbP+mZg+5GoVnPK+XuaCOEi1sL2kgoWeOwaFWtojMqaXh
4xODsF8oZ1+1kuB7Fl2wHTGnNs4IR0aidGUtdp3Q8sQYhksJ5Ls4jeOMRAe9uqrGOn9strT8qCyz
vKtXQdenClaCuZZUR3tamA/zWjh3lpfrfJkiyK6atNK/5jmgE6NBLbMRpWD9Wbr1O4FZWI3l+HCV
FkDYIdqy6U1bBFkwNkzQnSGmfolU4KNuHc3KvOLP/pjqlNzKph3uBdPDK9IvvUerCLYXV3P8276Z
/RstEEYX0TeCKiqyLZazrSf5UKs7WofWW6rl+vtCJ/mK7PhAhU6d9jtX6GlUMoarAQcDwZRnbHap
VywPgieTrJQ3SdoTpGuYnGGtzIrvgfAsOhbbBPoLYMxU3aIeX9l9ylEdnUlZO8YJZBV0afDgpDV6
L11yb6wpLvBx1ExrZ9AlYWOfl7M9m8XZXx2XZ9Say7e6TVWUcnO/np3F/543AeezSRc0qyY79P1p
jhe7Vs/6RK7EYmVfWcUp0K1rQbwIvmsRPjf9lTTb6don0PG0FPKzzPN3b3TG24LuQWIslXiaGluf
QruT8ylQVXdYt6l6HBwaq/1S0JShrxpvg2FEXue0RG31jyQ6BPwSdcZQkgaq420fLbPBJcyDYDko
TdZ7OF72H33zdp4v+qPohpYXiK1NZHpsd8YNxh7lTtF2ewj0rToWo4MgqrhnNGQ9ENdAHSwG/nMd
qidWfough2r7RUm1HWpQ08SUiHBjatg5cTLCQJZinZORFmpsWrSaLuGid6JI/XPaedrN2uWdG3qz
6vrQKRSdi26ub01oMo3iMjvag1o4O5b0cppAXIRLj4C5kJYVTY5RHtPcLu/1znsXgyl29H/kLqvc
ek/tFESa5zRFSFI4fa1sHG/02esKVgDpJrwZTnU9OVXwGIwEBoRy6uTnZqT6EGUTik2BO8yt3+sN
1zW3zXHIMaf9vASwdB7lG1d8z97jHjmMlAUlw/Qhz9hoLNon53RQ9rX0s/Harvq64P3csJch06Oa
MTBU5dXEAHSIg6xMqf3NwX4y+swkr09ZW8TEkA4Aycbo1ZtJa8J+1VYqRuKDVDUx1SJa79WQRnNV
zUUeB85CGss4OueCQR1/pube9KlEYa+VdCmdtdlCv+zM8N+3FmKnJ94LNaC55qzlTDdT9uuUq0RX
p8Zr4JZu/kqAEhYAKmeyFXuA89bh38fcEIZgFJlkM4AV4w0/M5iNjUK/wbFQjvt/Jyy0lK5Fo6Iv
MTki8oPPilbWuIrKfs0vzgLciX9jhf4Ssfd/h+Pdzl8YMg1f/waMK/9tN7Wf3zFAbv9/oPMuFPz/
zNw+/O//hQ3f7yFdVMHAer9ht47zN9q7yCeJjIDQMy5ePX+H8/g3yMYu5B3Yk8UQFfLrP9k8U/8b
1C1hTHhfmA7me0Ba/8HdaqbxtwuS56BHQA8Mp2X9FTbvtzzA/4bzSJUybLxmMfjBlAathvkLX2b6
28gLmWLvifRQu8GRYekiX7UA4LPSXW9nkTbJ/axpSrq6czCPjEBXbTkag40buWrdTSRWGpTbXps7
xXRyawN5MNQlMWUWY1lfT0bhCkYZkvQfbL6b0BcLmzzmn7UXS0A+XpMhN+/awaNXPxH8VIe2sebY
nTXe8JnZZWBFjZish1RuZRVbtnKGSNY0zWkmTfLKzhZronfQv8rJ7X7g6eJ92O3Qff711f4vqfL/
J9lSls7/vHrvvobp91wp//l/cKWuD/zNUkZJRusJ0eF/LV3NZw2SzhmwDLEKswzg7/9au/rfIEpx
r8cBAusWZKeXjPj/XLyG/zegcWQfF98ieFSSWf8CWPoLM8iIHz+Gi5AEThHD7l8TZ3Inpds0lFki
9I2eErkEezwW0z9xU+Td/Ud89e+fAjoLr4Jaha/0ewJzYHbbiSpjVj70D6Ty7fug+J4r72zTuI+L
ar7TrO7nPzyFP4cwf/tMD60PckH8sP7gNNr6fdtCLmgxDuhOomup9pD5U3py5PZdzbN1Vq35Z/Hg
vxCtv30mij6eNvoioP5fMN1lxN+VWkdjoFO8GEE+XtcSFwCcgP4s4uCf/aL0oS+W4VCffzDzNjqn
8DIfu9JVSYwMW12LrUyvb5aMW/WKvfyVpS/jjiZu/ScqmT98Rz4P9w4TxR4aNZTtv3+WwVZaTmWb
gmmRPzPjs0fjselwQYsrMi7+LFzxD+uTd4eITd2AD0b6o1/Y3n9gdx0pIAMMe0gu7kZRX2BFDemf
X/3rtfJPP4VP8kAxLzY7v5DI4+qtdV26QzLVKj37LVWplpt98tc+5aLZQXTMm+ZcZBp/EDG1vSXt
gjCXGnruLphNbYebUvsnArRfn89vyiDeNaJbuFNBAPz+F+uN3MZbjEyeady48zTG8thZqXvdCyPd
/+Uv5F0SYpDl0vAFPP79RxEVOjrk2MhkpTNFpJvVcUtFyPmXPwXX0MDkATuoVH+1rxpWEtkI2ZRJ
j5NarHEjCZd1y/76w4GZ1uH/qW8N7AR+/13qAUTc7IVMFu6koWzgO5uJ+eFf+y5sDOz1bIG4CGAl
8Af3XKe0RTOUKhGCLkWZ9srYp6Mm7L9Xlcgz/rkY6PJa/HdJQsgQRQ0WQmwO5iXN+Fc3QB7CME+B
0BNPlyppdCWvsByr3jLbZxbjV3Z796+/2C9+AnwiZjFYu/qcTKy5PyRa5E3XTvMMMIyzQBfWSIri
ydCqHWK28tp2+++Z3QT7jTKcGD5HHk27Lk4eTOeffHNcfi4r/B+/PJ4yrBdOR7xfqcv8X3ZhaXvb
7OG8mSwZwtcI3do8hNq8eYyFSgJMQDt7irnYBlM2d0tFZPW3y43Tv4eNyFaaVEv2teq2rK8hJpQ8
C7Us26tjstfdMevwkUZLLafnajVILcEIF5z0mJ0PD5qqyiI2B3fJuLDb23BVEy14J41qmXft0g8n
HU9QGSorVz5sU189XQK8m6scmxBzX2SgURhSF34e0wI2R6avk+vFep/nXG/nAqJdLsv6SbVZbuTm
ppv9mhlCUjTmblMcddriFX0uDQRMVpk6TiU+zaFOtwHf5DZfuJ2u/bbeGBXDCO1okonrnzx7rZw4
y7Tp1BXdptENan0RSUfvnomNLmRU6JKoyNZJp6RE2XAs25VUqCqrqqel8KCKlzRbT+lo6f1n6+OO
FtJU4ZV1q8Ir6ZOngx5tk9HJHU0xCfpQjw1hCQoX9cRaJu9FegMspWmOg58w1NIZIho5gyQHovau
smu3i7xBs484sGt+aNFGKGMdeeauIyGVKNDMMvO4CUTWhlZhYg8toVidGKnMprjPK+9Bb7wWFkRd
/hS9Uni1a3zvn9o20CHU7YJp5SxT+aMcxbJFBb5OWeLoKnvPDRk8QENb71q+eG1olOjPQmVXNTiG
vejLXicxoQ9Rsy8AbH2/vMmsVz83u+VknuzsdRL28L3Q9S6Nm2Kh75922SQjmSr3lSwOxAAiDS7J
0bb0Tu5w6WXRGdOwlPf6HxVIYX5VktaJCM0d1jrqGL+JxCxLeZ1xZach47ksxrRjWV/cTyQXjq6g
u20iQ9AyT78ZhDt8k9jQOHtrdjOY9qEgjUOVabBn7uhaoW72qYhTTgon7NVcVPE85s1eq0rvfcyK
/lVrVvdlsXpVN3f+7JZ+dx/oXCbOU4BYfUpGUm73BTiKERW5GTzwyEybAc+iFUlFWbSEbaCCb25F
zy0hWZjeTrHQUD/6GkjWfvBcxtnVUMG8FKMv2sisHGHE6SSZ6C+Z493aeAhbYT3YhRba62pup+zi
4HOmpVmN6VvlbwRBZgqzUGVn7udm1v1TPyr0FXIblR76SAAvHRkxv2vL5JBuSpjt/dqVG0DV4NGt
p1HWPpJ5K3BOStP+tuvMkaJ4NJihm/D7QNRGPj95U0kbbfDL4KnK8U07KGuqbvKhQSWZNrYldnXd
iuqMhYT9pm2zSENjVIZ+RCqgSgg5bGaSVBtLN5o27OvjvM2dMyFhxpdX9JsfT7aXXi+uaV6yYZFh
7RxjGBmvBqAQUAWDi/OSKA1Di/xim7bQSA1v2ZmdnyLxMEkOcNt2pkWWazTqdJi+o1exX4ESgE4m
xM224LEa3UC4vRaYBK/Q8ediKx8JCJsMjFLrBDOkO5j3PAMOXGPETEipuWiDAlsass814AY60MXV
7bPT9/lHx1G2hu0IZxWujnK+JntuvlkD0MJ+mEz7bfXt/B0uvPi2GaP1Vm+K9nKa9ahy1gzHoLjP
M/V4MQSAQGH6DGx7wawRt1Bb6EVXt4lDHgGydIyW3urFWj+WVXQPsGJlSb89HUXYLcqbwYE2xCxC
zrWdWJ2ZPmEGU5inTqNlFfV5FaQhv7D+o7OZnCcTplkcWLwVC7w39qihW0j3Jxc03EzagXHzVWqT
VYPXfeaJA0S1dTXXHmXO3OTihVThModBpj0frb3dfQ3FpDGoqH0DEj4w3pzN214vmqUgKqkweqJe
TWDOKSsWhnb2ytvoWQQfH/x+tvesZc+O5kCo75u+SANVEL1IemB4CR8nS18f/Lbyfwat6G22YqoA
xmTFpmGKWvcfDnvAJzaFmgwtW3PvTTE6WbQQeHlhaGEqwpkzKCGZTTKd6+b8LjDMoQWHRlkVdlCW
QbjMVv4xjZIIeNsvwELSAZeBRCsDAzo9NapHLEqdDJDZ1GY8xOusDyerm5pjb9jVbUWjGUjecjsf
SKme6iTNB/GTBDtrjh0764CevQLsSxXCvMNhzLm3HFRpdas3P0Y193elNvgV0+nVX8NtRay9tPpQ
kG1dak+L2tZXlU/jGInUZOk3Zm99ZpxB66HWVzRPZdr0Mw3HBh3SavfGwMxKZ+po0MiW1xVpOUPo
jXl5N9dtBexTTsa9vsFehLSZNLFD3D0uF960f+hUzvjV1HPHjnDSrX8GhEGvYS07u41yX1tPcrJm
b2dy6bs3x7kCzYDVwIZ0cVfnyrXz/sUvoGdCNRgNBlzaWHyrCWaBZMCTzovy1Vp/0n+1nHhqp244
2S2Y0pXm1niE9ZtjBbGLUS4EOA524ii5uTz4dc6rjZG8R6aRRt8H+ry9NXC2aBGbNTUQ9AT+2Iy1
5Z5FbXkX3YZO40mNxnxskCSMPJc8vVcccSN77aSfB8xhMTqoUvnMnlNZIQd7cFMulF5Ax7P7JXRz
2df9IL/wGQoG5nF1ue5BcafHGYqLaMh6zJFHBLlihIYMKMCzbdHeB7vZXifdAyZc7Uk+EE+BaEKo
ykk2GJB3douamcDMOdW6holagp3ufXVX/TL0sMeUH3S0X1yzM39setpdTYy9WwxJTfMb0RYMAbeh
0G4BBcE4vcLKgeiFvKUM0D9sJqUCY13nwj2YLAdm2Lb+YUjbuOuLUXxR29kAEJkzPmspuW8hBrby
bGa9HJLR91NyAOaRXjnOo9a9Mabak9YgMz8EjM9P0+BtmEajD/vYGn8R8YTxESeNtVaHVIw+oRTe
SOFX+TaQ2kiDnprYmA4tyijs9820euCCiXrSLXv7kbGoO0RpunVbgjVyRfnkaiv4OPZgbdz3yPFC
+pxiCd0lKA9yyHUjLCT9jdBXAHqRl/r+Xe2xw0VUWW6fbHZQPZWMMBBdohT8aEzjIhZIJUrbRWza
BZpiOJsPy8a4pywLEGxrbfV4W6R8xiXOPw82A7i90ERaJ3YjDaY5W2rKqGzQCFxp1A1FwqMizcAG
eHDjtJKmxRmq1TmFbN+qhF4nw4sx95HSZJUsmtghln1LUC9NxGJPLhiT08LGh8E42ILCQ/OBzYmn
/5ZZXj9iWuemAo63MquGvPsACXQI3eW8jf6o345bx8TWX0oKMXSpvAD8+tqHrvdQbppammemIMF9
PRrEqyqBhC3GQ2G+w9oW3NSh7TSDulXdblinbUiGtKjLXZurvNvBv2bMskXVa9w4wTLCJZgBV2yX
bG+sqoYfgpE7e4YpGuhyZyWyGJgONEAbgoIbVh80n8Kbp4vGyrY/O+aEbiQEY37y1CijgMwWRKmu
R8cXcgfGf2ePFojnusmRi0XGwGFXCeE9UM9N6EBFWzzP3A5E0vnSYkzepApgXBHw0m5V+2OQ83DS
aIQTju54DOgd7Pu/3EWRwd0N8lW3BvXMr9Z8QQMIEzaCEWloIyD92GQ+PCCxSN0ozXPq4KJug3dm
bmYXynXA6B0brOCG248+RiDcjJKWojTnyF8VTlWmrRoZp9bI2LvE7OF5ntfmSSd0fgX6EN63tPHr
TyzCGheVQSYOZFuzCVfW6NSHDKiSbbNe+B4Fe9PZnAZEqjaOcI89Mh4jhI1Gd+Bo5K9HpNu073TN
F8SWyIF6lCqO64eSvMGPWoesjoL6gpV15aSeeb9wTCq1Vv3M65nStwo2+d0l7cuPLG5vbLHVXBc7
IZbyZA3eRZlUqRXlDbPr7z0e5DN8Yjm9oVMcXj3SaKpw28z1M1N6P0Z5iwCmNSrEcRZBHk7Z44+K
va3ZHcdRK4nGmzP/069Ec23Z2yY5jTBpnpy1xXs5zdKTJqv6Nlsd68kO+uU2R3gMtu6V4i5n0jdG
FoAgdTX30KvcdpqfzMWUjLSZ0DKa/Z16ybsgRYXabuA2g4WWIuxnaf2YWAncRgp8SkMPn+LvRVZp
t5jtzp8wrkiQxqmloJ0bhJCxzEonacYC8qRdhuVpbSfvaS4vb2ZTavlPn+vqozKmOr+WmGHklOKL
zdUlQIEbr2PXAPwZTMsxJ17b+9LWmxTRSqeySGXLUkbNAvXairT9qPwVPpokd1Df0unAbit9HdbQ
QPY0I4xL2zXKNa/9gZN4ZUSmO/hUTO6oM/qeMuoQB33v99TrkPoyuwteLa0AGkPJstoJhLjHmLEy
SSZNix5UavEoIgjv2Y6u385YX6ep/2OpGY7iM2YM3NeNWr92evDMGD1W9+rUS74eyx4X/5BTcjKT
ilFNGw4zArLQ7ce2DHvfN577rXbvy65cMfDn71TF3WBpb723yK8A9QXFYFdNt5woqt+xUTe32Oeu
b5sMmmcPZUYTmo0qfqaDGPpkVu34wxrH7GuaVSX5GbZ2jH3GL1UI9C1+rvyk6ERm1wMxTl2OzMG0
HxeDa000tB3hYY1l5JHvrfO75wb5y6TbdUkIeEaXXbZBjjzTH10Shn3AiJ07SQ85N9Og09jadC1c
ym34EVIJQI+w0F2ux97ocYDKM4/joXCoEYLWpWUxjJ3dJzj1disBBShYw7oDFuTdnfB7N2WrvHhY
5fxotX2JDtHAXCtaFFPX2BI95hFzKh1eZBYDejEfXeDOU7JGaqllmYw3tyE8ErGgN3LD8L0vjxvO
ve4V6kvT+lJGsFVLEdaVsUnWfAarhcei2sK5aEQdidm1wXyHrXxPhe59t0sprNB2J8y6pemXxJFS
+MOVQXDUSWflyLsnbjD8tbyxbmKrFNnan4pAWme36dNnu0yX1noaDZG65rOXwRvEyzQTb4MQCXcn
/2kbnWK4pwcBih+ULRihx7998cSmH/IqRzqq6YP4wDxDGSBousxOcyE5EP2mFg7KeGgbHYYfYV2O
KAYYzae12Q+dra7tEq+BxHVHbQzbLDd5Gz1V/nBRodccwADKUYE9XBAWecs/g9kjBgbttn7WEBB8
03Shc6D3a/dNJzrhsZSN70Sje3lRdZUWL6rKh4C+YAfoTDrrTzPQzM+xbDnosN7lDmT7SgKuSa76
YV6WdUU94yCUqg0I2Oj/sHdmy5EjZ5N9IsiAwH6byJX7ThZvYGSRhT2wBwJ4+jno1i9VUS3VaK5m
zMZk1lpKxUwikYGIz92PCzypYVRRSn4z2OnNYFgOe+4q7fDs2F6xSYi+pgcSgs6LHg0Xwof2S5AH
NdPiKOFxQwAX2jNUkZlUHRObsZSnxC+99sXKx8C8CBfprsj5amYF7FGvSFlafFIb0ZXk19bnK7xL
UpdmhmOy9yeWltIzcpszYRzkF1UuY+wJS4Bf56SIAJNwc4Mqdg7BmK7u9N6dSkG6JiEoUvLUi+ra
rgcOnmlwNjVT2D1A7hnrqxzzSbB1iRoz1cRC1Q9n8RK440OXThrzm7Y1kUxghH62acLBGclDhkt8
3mji3uAyKtVlUIsIDl+FJZhFzqiN8uKYDJ3TGE/dAKDg1h4aOb0GveeVV0kzDSreTyK2/YOTIn1v
ZzMR5lnj40ZoUYuLJDD4BqTh3K2xviW7xRATmAerHPxwP1KVwMFymMMQHWqIU80D0nAas60urGZR
HYEzL4y12uL5x9G68dQQMtkQPQMtmnDG2SfI5ZrMFb7rsQsTcnsZ+wmxMdOpt/eBszQlB2hbrwk1
GhJTGKO+WfOoKctPsqz9JSVIvbQ4cU2EylIBwvYwjzW7RY1hnHamyWYY6WaOz4mbX0AyocnabCYu
jvpduI+sgbmfRMbiANg/DMWYKjvqGhZQi+sNdekjmFTmM+yc8QaiQdTVZ0U9NKsIszPpnpM8CMtz
U7Q5+e4+gad7zHuuwffM70kxS1NlluCGznR7oYOknR5crOLeyAiNuf/NKEEsMygTpUuOywJxgcUF
TxEk1clwZHbPw6ovngCaeSIqUm9Jtw4U1PxxNkirHmK7DdrzonPd7E6TbeBKeNoOOZGPcXCuMRGT
xyzHERoihAZm/1spzVrMG1b22rO3WAVrGW/altjvEQeLYZ8KpBXK6quwEi9V3MV3SDy1LXa6t8My
I6vf5YU+zVavrWU34O1JggMxt8FQmBmzxGZWXNjEf5khc0oi+2Cb/WC2GzxKrLAb3TRldzH5nc2T
WBlu6xWQFtKxX3Ye/Hwv/FOi+v+el5+ocUhIPykoK8XuF87c5Rvt5TJrx89fvAPrX/of7wAGFoup
rm+uYh4qKBrPn7YXw7P+hpZumkDLoYQixPJHf/e9WA62F/iatLIKNLlVaf+7cYA/gRzLHyELrYQ6
bCr/hW/gj+rrf4osLgxG6qZ8cImoz4IyyFWB+kmYLTmU1HmdSoaXrQZh4/vxMZ+lhkw1z8tDpVLn
xFjU3+uJqEiajNOzt/TOZ+Wl8Rv8z+PozApDHVYrnjZQW58t2zjIroFIXWjj3hn6gHhyFz5kud1G
Pqe8A2dszMFFI1/bsTcf6ikbP/vGvU0YzEEFsE1M3FK157kS6XVfufFZarBPgmiDk1LMoBeCjs2z
X4WcFbUKrA+vGt0XyKjdzczYizSJ7u+TBkrURg8V6xLFj8M9RwhOom5T/phZhEhfzBZwgIxV4skS
rf2x5BVTx4lY0G2HmZoYTYNBUWjHqSNR2pxeap49m3JgFrG3VR+cytqad7GdLC+ehx5nBmV9Wbem
eo2rlnh1N2ngA4x+96zGuHaxzdKMEBbio6zpRGuLcJ+P5k0TT9ajJ/vmw86W4ck26qLi5GiaR2bx
YaQXkgPbskGyUDrn2BXkBPFbltWzQKXsI2Y9YqtMi+z7T3fyXzgvflXT11sDAXC9a83QA7P9tYRb
FgtFuQmdVq7X4+7AF3MySWBs/3iV/2oR+Y9Wol9Ydv8vm+cwDf0H+1FdvsmPXxaRtTTmz0VEOH9b
a/sohDMh/P4Jn/xzDWE1sPjaAp7GHGN6MI3+sYQAw4MNH2CG8H10XXxI/1hDnPBv6Lursozvg87z
wPpv1pA/DA//XEN801p55VDZWI+oJOXn/bqGMBdEP0iUyaOeUdjOXnLSkbmV8PSTicF4pPJBVnKs
88IbeExkNcAC6YMYRff3u+nfCuarvP/lrdgmV8pFxXbQwb4sZ8pppxYfnRmNbEx3BKTj3dh1d2hz
4jd2ht+9Em6xnxdOH2zYPDaC0bOuGIJxso2KosuvPSLzv3Eb/NUFxlkGf5AuvSAEs//ra4mawIfB
ph6EzqAOi+qxu1vorGE2kYRM1bidHXBjBGmhlggt9uGo5t/UX/zV7/vze/hyZRfmvrlHA0GU+ml2
bdttuI1lZtxpWv5+c2nXH/X1Q8SLyYPJtoLVf/Xrr+vOqprihvspWObxwgJaZtNdUJJUk3wRDNJQ
eup/44FZP66vr+kTqeTrQCEKrpsvr2lwvnNTfr2cTzHdGK0x7YRhpFFf98aVUZicMhBofmNYEr96
HP746vClCWm4BaHOF+mLx2FO2lkWI/Cliq7g5wA0GmrouBBlU5MH5sXWyMydLwXMMDKPWyeMgcFQ
ERCoV/AllXd0E8cF1mB68AdqyRAJzkNu3EPKMG6kR8XLNcyCIiOWjZ/9xodx+rsevL+6M9CXYJg4
dAzRwPjrpSsLAk2E1jH/O8W6/V1JEGFZZQQ07bH+9tOq+BcPJaTMf/2kMDpyuSAjsnzZXz6pmZG4
ltgZIjI+kOt69NWQFYbwYR3IFFPBSJJ9q5zSKJlyCf/Cd1uxEk9cOnyyheHLJjHqeCJI2qfFxkqH
5gJUJvYMwvR+uwGrYQ9HRU+U3LYdY4EoR3d+AItmWajFqn5U2tfV45I5WYpbaqwYQpEjDshGO0od
UZzbH6JB1di4ViBvZFoVZCwtqaS79bN83gI0MBB8GhylzN/jrt4GeauarUlYKbuBNeJMxwY+dIpu
2RL5NXgUv0ocxeW+wuriXnbB2K1J+cQghKGc95E9Dil5Wy7uti/izIvsdpq2ZtygB4SLEXy3EhPI
mtNanbHpgza4s3SgUOtHggLkddMWll87oNYY6TDuBAoxk4LRKl44XoQ3o13FzI+wdjy6gucNQSpV
37pFCzl3rseaFR716DEcmkRzIiwFsae+/cZlQmAMJjF+rH69eY+JIuu2JIM4eTLAcj8nB5zkZrJU
XFCEVfbfPWf2n7Nq9F5wZ2qLU3aO5c0dlu89+TrOW1Ztv7iM1666HHePNYvplrm4LzakporXAlRE
sO3kQvq9B1pwO8AKxVBSN+4TvX8xY6Lam+9zRm5j1Cy1eb8YjK12cAvVPZWRwd3ir/Q/ps84HXQe
rARLUS7HxkW4ZlJVwS4kjLMgjAWc1jFg+G24MUI/wTOnlP/dkzoGHFQY2Y8hd6xsmztGceEgfwwb
buZs2pJMmdS1m/TijFzUBAiTheqOZ6Zf7jyRCX/c1GzGlicdJ6Y6eIZ2vLNU1o5zlgWoTuxuq0nl
BzTj/HHlT/hRkDik6WU+FexRa7977NdDBR6S0GmODiWI7skZKw/NVvUwFJwg7YbNqGJSHsyPLYv/
jfhzJq6g95CbcyySGJt1Jm/vuqrVt+xFpYjIYpNZbljM4I/FNstxpevyu83OU++WjlEqyROTmSH6
/PBKMGhs94ZhLGY0KN+dj3O/6vk5/I8QtJs/gDRU/RxBe8rsiAcbesmSwabbsdXp32BTJhZ0Otch
aAM3fqOWfIJvFwrjKoHG5h5FCrVzQ8uAN12SVOq8rRQNAqeDXKP3QQUnf9vajHk2QzDT5s3z0Q/l
uTsRaH+sW7ZTG07WI+d2jPtUJmAmmi9jIAvGpejGeX7W+L4JcTWtC3RIDlp/xn2aE6+dUv61mgWA
fM3Q7sp3wZfMiUJKP9FXZDU+9V6cqmtBHi29NrvJ1QRHx/rcSTDzb7M4Gc3bhtz6s2sO6HeEcuru
gCBvRObA3cl8XhhMcxotZ+J1ZtgNV9wC4bPZzFCI8naCqEQfVcHAx4rD5QSXY4C7S9j9bqGfqtwS
rYPLZImUFPCEohoZTWheKtETqEkLs5WbIZtBENUtM/IjPD13Jj5lsoKwaNau9ewaTAR9YBbvljsu
6gU9PmNwx8wkbl9rz+uWIaLRt5DmZSpUK1DYLcb357Edt+TtvMxTfqQUreE1w9BW4GkypeU711Vh
jKi4ISG3pGTjlNnCOsUG6KltBnLtAQrhqEjcLj5PQekS67dTT0woSkVVHSan4Saku9iomX8nI6Yi
QOEPLf7BdI3j46ArzQAQLX0sGZNjXxfPM2MwvDtzE9SRgRHP2yt7TA41PV7VpdMjNxz7eejre1Sd
Cgk7l94TBib14CkZXhhWl15Se7dgSCqs2N8s2B/O627U+7Tw0q0HOjXSjIU36aKaxx7v1T1JbPTA
pFXudlosJlKlruRbTAaXczTCyTzJ+a5Pm/4xHef6gk60YQvMRD3FxjzydU7ibex7u44EG0ZWfVlS
FXzF+PatdggIYjPD44wNkczi0JEi7cts16eh2jti8jdGnIhtOhj+hH5QlQ99ppS5cUecSzN+4rYI
GOQ27WaZ8m8JsLutY5doTGM6uMe6GrM92mf4Ai/SgMqQ3HaKAfkxa9yLKgzjy2zRoIhtuXcVgu9E
MOYcowfxl3pRmDBVceaNQP+WebknmAYGEnUgkqDRcGCZ3o4xAfRrhx4qouIQKsjAOMrl3ggSoi6p
6vdZUab7gVRi7LfP7ZJy0ncaHbz1VR8QOC+rI4UB46mga/BbqIU+TjX0zmpg4dLaDQ5hUrKqAGQk
1O/o7zKsn4siLo9dne5mG2SUEk0RFUGsmr0PBugy1xKdzacJuegb/K65Fb+SRbcOVY3qBa7Mj98t
QovShrdXSPE9mBq3iHARvLYFEvwwZzzN+7yA8tOh8tQ4LjZNXD/HevLANizNg82qF7kGKW/sAPau
UjXOHn/8kaeNtzPC9Jxk/Xftkz3Cp3RbSwgVSZ0fDJE/E466wSygDyU2JShLXCsGvMMuwbxP5nJm
gI8Y1m2sUqoTHh1zj9hzBmXqgZmFE0nKfyJsRu1+ysnB5k7sns0FQgRDLcB362RxZG9Q8XByzJeY
OQlx8A73rCWFfZUH0qkZlMD578RUkD5nmrpRRfvqyDa9l2BA0EHMoXUJZ+tA7PykuSm92dsPrYpP
7GQfbNe3rqbM5YkD8emagvWzLguPVQMbM+jr93QStMDGZ6LDsDrkVn8Khno5qxO6pJ0aANHYXyAB
g5H0gYK5cl1WpjSZ8y3b34uGXPwPdorBu7/gnqqY2cMUDHVkGs5yni9ej6F9FAzLFe5Wx2ce7UiS
jHM9YT/nccpsX8Xwq51453TpqcmW5d6d7Osx9z/Nkb+Dx58sfp8z1DZ/TNIDWCSH68ZAQ1cyOChh
QxU2qu/IFR24zaBFw3WuUwIcL9qlsddZ0tuCU2+BKDHiPxSZsTUbo75dTEEzd6cpqF5g6eKc3cOA
2o6BA8eux9DmMT2SOA847NAgZQw7doPxKXMnASMwULtMzrc1ZI996levSa8CJDvrrAgIQ+OuP1TU
523CNd0K5mnwmzeHqMImNvp7Q+WnAYtJn6Qvgx0/MNWfCah15w19uKt/763Keb4xj7A2QxtfVVRK
AN9tyTO3KfYwjkcxu55xsL73kKw2tOIEkU+77iHFAAfMrAy2IMlWngt827BHodhQHBEfIEzY67XP
vJd6JoFL0fQPs8wyho/zth8r/Lrde1PZq7Iu5LZHeQRORNWNP7+in467FITUYoTDhR3MrLdzfemw
IZ42LPbQBZZkeqSpIfN2w2x0DCFtpbGKTBPVES2dEJXuDOxBSUgMG6ZCsWwH9o4viZvY/DBIuu9i
bHFT6GFm2WvjPIiCosuOZF+X28yLk/s50/IZWxjeH9/NgL2pKgGiJmwoSBs1CfMTT5q1bHIPh0dk
cc+1UZl5QOLipWJYyaOUSy/Lyd2yP/HkyUpRNXFFuMv4QlB8yQ74POHcNYs/XOVqjp29FTv1DRik
JsYrF9rHyuzTM8ETmJNe7JHp7TqhT2ZRhkcDtaqIlgW3OH0YEv+RE6b2e2J5jAldEzT/Lrft7geX
kbxhSgvbtk/n8KObAxSDLh5xIBStn2TgmJ0p3ffT4L+Go3YEIJ7ZVaeGHoWrnlkPl9Ew44fcpPEc
BIsv7oI5K+vINqz8yhxm6KAMa4M3a5IWDwJmUYKb2qUbgNalIt3wW+bxjsFmG2wpfB2gNwcxO1/h
4p3awB+Cq6PCxnzi6HtPywZc9ZAhDjPWCcLARsi1sIjDLf9ZYU/CXgLD7EcTW7Qtj71DdXZDgxP4
Mcax7cYbjewEXbR+TWx73k1uLJ6G0B0E81ejf55Cv+u2WHC4Sj4+SihZYeEvURMk3kVW4ojZLgLO
/YY+w447nUcXmpk1Vk+eP2dPGbZXUBRC+g9WoHmMBUMRwDXHilpCbY+7177pc67VGoDOYmOkN2T2
6QSD2OzskjEGvuQmhebF0bBfcY6QXIHdBZxfQMw4DcJpP2PhZ68VLJfb0DMRGWunPZWQgoHP1LKl
8K0M3eehi9kFYlpeDkVvAUlBs/N11EyMzFbclDcgN4/Wu0qz8NmJQ9YjLKA56y7i/Yo777zHvjGo
feq4MaFJYLK5c/y2/igUxHcOuJjIIhw78wUOIKZsJCNA8WCOd/Ejh70jD0Zt4Z0NZucVC4n7YCPC
YyWkI6KOMuU2GEYD1PWtP0L8g+UzwxRyQzl9eKO0u2iRPdP7ATcDxnOw5UnsVtlZz4vcYeuAJMVg
CLeq4w4Fj8vJK6MBW9W0yexgeY8rt76dDawBUUve/ymuRftdleZyXRDOqNdvWeNyLyTtQ5ULbMaD
BwR82w5hmJNRR0jeJmhlOVsZjz3LsCxgdMLYdV49GaPUj1pk342eICZPXAziG36hnpRvOmQ/ZKbt
W7AQnIGcwaeznS3C8hIsNc7TKfAl52tgpfLQi6Z81D1G740lK/lhjCN+hz7p2jtFZg1tepHwBwJW
2mSH/dz8gOXtLIDRTQq+epF4zo7WbfyFGnlmxMg0zUO0uPASMeYa07ZxtfGtVEGHXLkYFMB1JX7E
jcIHUOx1YVA5XmFq5iIPM4cqN+6MYgdQVnfRUAb2npMvj4t0yhMf51Lp3tnVkqM8s8N/LAEN8GP7
gOz/MjSYuqhYrQZCL6Zsd4bompNi8Jjs5yHB/Z0PnnWqMHtbtGXkg94v3pAPB5zF4XzplnQr4Y0R
+ZNRhwRN/NxJbxHbDQiCLoaOnYuFEfY5pi1yJnZFP0PYrScjoyuWz8DuweOEdSzZ4ytlYB83SeKY
PSQKHh6dT0Nv002PHi59IichvyYbbNneWpAcCyILc9EfA0YZ1cFM7PK2G+C1RshGIG+6IlUZN5Zg
gqwKuFIbPEEs5zGPcI5rak89BsaoqfGC5zhzawX1gifUPgE5Mu57Ky7e/vPM64+B5y/DSWRAcsJ+
SAnpHzPgXydsXk3wKrardFtKbd4tbpOfKoZC8IXDGku3jby0GaBZsFsJzLzfcn6ur3BhJnvLa4wH
0RftJQHW1Nr/5zf2L4Na3hcRMVJaTP1Idn6ZXmah2xeEQlJ4GvM3Agcj+/MayASm+B37MfPmv345
AqsMhYUgTGVZX8bgRdJ23qi9DNIEYDMRz9ZWMXw4ktb7EUAd+M1I+NdsLrNZAs4eIzq6wEhxm195
AI6QiaBpI9sOC/D3t7aOu+CpSmS9c9LUmF/9ybCKtxZgyG5xB+83g86/mKoymGF3zJTF8R33y7XF
Rl8zZURfmFnDNwGPESjynnkwpJz+lOD+rWjyLx8jiUyT+h584LYg5f5FyiAFVAAI5qV0Ny97ulUA
C8C42VoDvNKWEOruP3+Of/Grrb+UMD0bacr72gruj31puut8X/gEAgAo05MwsHa1hqF/8xn+y0sR
1GS2SD0wwVO09vXPf5K3bRs3RJqWvFQSeJFvsqkhEwMrf7Hc/4POrv9NAkjz+e/7+P5vJCeEKDD/
SbqEZ5K8lb+Kl/yV/3FA/I0aI+KbHh81wVJo2v9wQNg4IHwL3SB0MTKw3P5DvaRvD8mTG4QQqMA8
sSIX/u6AsOEqsO6IkNJE2rQQHP8b9XL9Hv1zbeUVLN6dySKG12It3FsVmp/uEHZP5eKYuY+frfCv
0hwfFvnBdh+oJDur4J0gXDoOPh5ZZJfm6KX3P12rvxA0vkhA6xfBWoVYABKmz9v4qnZBEcIExrQ7
4p0a8NiH1dmL+blxpD4p5q/gHGa25zgpsiu3MnwOKExodgtkQtZaBqzn2vWaJ4J93/DMsiNptT09
iIRWp4PR0B2x7yQ2Zu39TjP7okuub52nERod1w3ljDnxr9euZWqJNMzh0fNmXVE6kFnevs8ajhEE
+/yXuRUj3dUAmPmd4kVkJwQtq6AvUPRx9J+vo7WuUr98kFRSYFewPbgGrmDh/PJm5rmvktSeorrQ
07IL1cguxwGoau7RKPN3hvku+DgnD4g4VEu9lz0VK0dSw4N50E2VpWc1D3PQt4YbQ+U0zBwK9pQw
GnayPiPqbNJS8pul99dnDFeQskebYfzaGom3ZnUA/Xz3USLYl63QkIZdIvibRI6Wd/TIB1J1URfM
XgoeQuQVkyyctpA52dD95rI5Xy8bdgL8RCtDx13fB9/bn98BU3Wa4oZ8Ys+c0uSVqkWSedYAzwq7
VEyL2xpe+BnlXcq4AZUdOgyARpzhKAi1F98VmP773YDchq5vlZyDIZ1mw9N//za53TyKlNkDwXZY
f42fvqakl73MjNcaSjMsKIVgE3pvdnWxb0bQyBEmwcGKOjHW4pgvhkivmkWn+QF6GGcOYS6t3vUQ
yuytJ9uAvFQPefLPB8C/fYx+CayvHyYeLh7YWMtXVskfXquf3iO3uaBbQNRAs92kuyY833RRng7r
EBGL3kJefa73lQodtkdzRTTbC0qGtkYg/KMcG45SyZQHZwuBrPeefM+ewWcxnbdu+Z6Tpaw3ni66
u9od2iDybBdjqOSZ6Ww7A64eUJYwcRgb5ZW6RnGI3UPHQz9+1GM/PfpMgTAjjevZxBurIPnNjWyt
Jo9fvn4MItmghv56lsfQ9uUDIkYl5DziSVRkXvKIL2tCbZppsmuezCpBacBKD4NtcvLdNAvzOQ2U
fdENHbNuRDnJdEPkwv/N20LC//K+8N0BhmKr4bguFgr6G3+5cdpwmBipEVNwurr0T1Y9AaQdZp1v
Q6ZC8j0XFSd7n9KU8byshpPMxjrf5ZPNVHAIbkJp4uyylJ5OflNqFA1j3+dd9zSaIzELG6IteexT
SWIavbeCaRYNlBrt+q7TF/jTOJtKvQlwcl1nFh6KFRUqz/DNU3hqdvkOvRIHnJIfkuREhKcTkOTi
Xc1dlzElmed8Z8T1OryZKsJD0242ISFYznDf+Pa078r5h2o9BBHMdNrsZrbFiJ3nBHx74OCNYx5F
l5ZbNlrVeReQ+g0M09zLdliKiNsl/Si6tUVbtbxfblXIlb2pad0xsta9DOeSuAtV0mzUxvGMApK7
xQzdQ2KbznFpdHNveck9820avrgjjqXOl0tH007BflUW+yppm0OjveDNIKsR5YmdXsZVZgFWiL1X
1nIaTjpnC644PM61mRxdKeQZ9UA940K/YJ6PdZborJso6nIS4T63HgJz4Rv3S85Msc8HeSqtOTlY
BKL2Ff7mLQhjeriGabpravEYxm1xLRpUfSvjRDyv/Qxd1R2MTF4QQvZfukoTb1QORT2VmaOKmTmN
LGfuRF3EWUjK/VOPbftRDZy1dA82vi8OPS7yGxJu0D+CuLpv0uE1E6Hem6P8tHFA9jtiv9T0EQRh
kjmb3nKLhpS/mx3Gbex8+AcZycT5j37o/Y+WM8BN6Izec6fj4LPpSI5g7Z7WviAoZA4Z9UPTX7Lv
EE41noBsymO6ghRdU56bbs+skNETZ1A+BxJ5QI8X0ydxmusUWd5LsttpAPibLF18suuqqg9TXndX
CuzPxvK9jiliiMqspvpk94G3NeZGHoTy0id7ZmIrF/s8T+KJ8c7knFFsArZhqkpqnFQqT4NKyuMy
N4pVH+/1Y9NS7VIkdJOVdGa+BZbbvYuJxCNwDWfZB5mQ9+7AuIU6FNdD2CU4EC11DYZVojmMJN2J
smJaCPpmeMY6hlvaWJ0kwiT9CKDQMOuI88oEinlkAo93iLa9sWxIexfOmPNNgqW5LzRW0BP5w+ww
5o6zwaLxQuTcvg+YkO1o1GzfWViLI0U37SuggPKmVUyJ4d2io8y52nLR22xTYaQoWGAf2hz7mJ59
/NQp8fetuYgcFAms0Uc3w/2edglruUfUYBMiEZ4gtBUXc9EulwmDNBwlZhGJNLssXQN1PHXCIy11
5jmhY6pHNF1j7TS+N3j1Hy0A+eQueqHPpszr9ipAeagquhXKeLpB9/82jI7aazOgvxM+shtxfiSF
K6yJJpMiuw1VHKNDF9ZtgLniDlnAOAl4CHCxGT91lR/SbJQSi2CU0YMvLZwju6ob/lv2lJsyp+BY
Ee+RyvBPCKjJQ+n7+l0xE3wZ5pWpKmHqYLdp6qtZWcsRZgP/0GBTmR/P3YdVExBlmJPLb0MxK5Dd
CEZcpPkIipJJzlDGDK5tClUfiwUMMmVl1+Sf5/dwoQGinYf3ynEJYLVTsWlsIz2n+6e8r7q2uBpF
rn4QNzfZ+9p5fWE4SXiISbcd+2DxjoIkbLexqfictihvMop5zj1W/fIBmHx8cYyhviP4CzS2tIOz
DARCBGCAi0BtQfq9yqnH8qs1pIplMtz60qJAJGe4lrikBHh6OCSlrTTZWQ5DeELOmd4sKpvaXd8O
8kkUgX1duOmKOq30hU35w9Eiq3Qm4uaN1LG6xUCQnzEw1AcUZ3/vuUZx1WnP3DUTYY5Rdv1TLJv4
opw6cZqDfMYAooablpLQ637g1Sb+38lO2bB0sWUjxemZCrKyPCQEJyN2YNMzFbHDVdGRlj54Sd25
+7jsKb2ei6y9DjBrbLJuGjri2UnyaWbNQNoHymheVNmV13OQmDyorQZ7KP493Oul/MSNqC6rFa6a
VV53M+aqilLsXlHvEeDDvvaEMwKLcE3Iu+41IBSgSXtmy8zrihazykjjQh31Jo0AMPxdi4OVuk06
UVwiIKd31iS6U17HRb2xqhUPg0r1By3efGo5mF1QHuddMMQnZR+nCGa8tDjAiR/JCmb+0aLd5Xvn
q8+MUu5TTFjyjL3zTOBY8Q8/ZkWjZQlcTigzWgxmdtRd29S7AuF8Tx2WeGi0ZSzobM6HQQrjgkIM
on/OMKrrbBT7VdrNjWZ87CtpHVxleg/A9cR+0M14WopavPphtQfIwdA5HRbr0wWJt/GBjd7ETtId
2ITqb3psoDLTe3qVudjAyyTrT16DfL+h3BZTZ0lRJNbv+Xro5vaohjVKQox+wwpgn2coLDjOmme1
hOGZYSdYxyYf08Aagx9J7K8p8ww6bsmpa+E+OeCMkmeOtNWRvgODstKy7th2iM/GcybEP5o7nXVt
CYiORkGrgwfIbXTedRS3HmC5AL4PnPqeb3Z5vuCAo+m3KxIYJTjanNiGuov3fDfXrvE0uNS2UZXj
f9N2RQdJG1sZCMw4JBGjmRWrgpNYiw72QOq/eyLPD1EafAvhSjufPi0OpjeeXJBZ+wpOj0OXSxLx
bX4TyrmvKIBAKYkPRPDDezK93euoyuReMR78McE9+kwo0LjN6NPck7DzYF6jPG7w6JBKbtB2I4a9
+kT6Dnm/ST8GEj6nonA73iGxuiwLGzKfaXE5rJ8ZRaLGjOzCs6rImuyYA9/fFDlfEXs223uASj0n
C4fdBSht+5DrxYrQFwEGUcaZ3ArRkTur3CL7sJhdnAuSlJzcJdGpxsyQwGw1rA0a8fxEyM24xfuR
TlsDKxfaVTi7L7gx3AjyQ3FPxhnjQ53BdSHv95EK1wy2mC9ZARzUDqJj5nzj1k3PUbtq7LMZ+8Y1
SVN+94HYO6kvYgHbMORbvx8JQl9UqqjvRjys5BfN+WOE0UxYqJqpLkLE9L+JFbyxMS2m2Bu2f8Ej
1Se+iagS5vGWm5VkH8mkYR8aIIPP0Aby4MnFa7q3yhGKBLMBl2/7xDgT4lEDP2fac7ANmZjjbk02
ncZkdKuyZp4pIRvIJB/pVONxHuMKokDUK+cb7o4iuQgzGhX2eet54XYyZ+XuBTaiKkpEADOiH8JH
Kx2rD0HQ7qg47P1IWo/N6jhVw6Uel+SmWkiyBmokYAdYCytNb4YjjgBKm/LNKOVl6o810A8r/JDm
QB44tyEewFZqv/HkTS8a5sBHk0aiJMp1hq2EGC4lj6SseG4gYnlg3LOGp5jdpBeQVFoj6vLRAYjO
/mbLk6f+VrWJr3eWL+NHos/9uMctCDdDirKetmqxfO59w2vFPglV+TFMNuj4Fouxnjp+8LgK1fzM
2niLeWwRiMWaSAA68JOHQjvxG9WVPmQe26gOGGB0HZW4OR+nrJjkgbmq/00CX6KD0SCNfLDCOey2
dD0tHeid1H8Lc+wdWILYEXqvHu4P3If+YFKRTLvhlTGmCOHUQhFtl/gmA0rTuvpOs9lmTwLGEpcI
UHRK5Fqkk02TifSCJItxReouLaP1cU0aZcqm6aygYO+REjvt4oUMXescoauBVjHS3/5Kk116wVdZ
GmemaYzDge3BuBzy2a3FjlM2ZRJDSrn3+ZQuA50U0xSQ8u1i8ykAxGFtEOKQk8sEuC1KML5k9u6t
W0eW6RrdxpENfkabfUt2bkMLe8KAMuRbgwxftgua0SWw3AZsjuVE0hWG10A9nSbbeQtmJruaJzz1
XpjzaZUl/X3EFugldfGuUA+hg29pR4UFPKvA3klPenf1os8SL/VuIMOLM/qljTc66QlaD87CBcvL
/8XcmezGkWzZ9lceau4JN3PzbvBqEC0j2AYbkdLEQUqi933vX/+WU5nvKkK6JFSDwgUuCqhUpiy8
s+acvdfGsjj3irRFjmpw29HovaPrxtKQWtCERaXcx2Ju2Du5VaaklY3Vedv6xvPA5H2VJ0X36lKL
VHxGhHii52uY8gJ4TIsoTTlztghzim1sNe0MhJlo5k4O+roNP538q0F1RbbUcA8AMw1IIvyglD+X
YY+O/bZp2BwqbKoec2tGnbQpSnplNZHeYFvKAn3OBN8OmD5in5h0oy0R03TlEiQbBktsZD130QSM
pulxZ7BES7dZ2knjN9e5N2lqLRzTx/okaKfQpJdoUKawaT+3cngDZvXpuT766Ncb0k7oKvP6qwXo
uUYuO5IO9n2SKI3MauWOnNRanMp6MLm4gRtULPN+IcaunSaoHv+wOAWbltI25TveO9OS1okCHqaH
neucoRcT2QRfle5ij8Ymn38HX+Af+Cn9UjcKMSeSsOFnQQeaYIHPWjZmLC7RS0XXgigf3tpQDVcf
/LhjiwE1PQrkLjYKReHMNdXpj9MRkjdFya6vTvG2+p7g4Ffpk4tKOS3T7qL3nWibkJhGesIE0WFr
J2UHoEIRpfdBsfG40TSXF2kzwfKmnUb/jrSc41oMjjyJbqNLOWSNtHa7ak7CGNa+ZTQbItjMD17O
4+bPj+EMh0uWNLaEoZ88FgV9uw9DsrG8UT032lB8aqx6WuaN5T6/f5N/OxIGSh16uMOLMBfHfqr8
pT6pq7kPE0Ijp4Q4WVffw7uBne92avc21B/55e7zlP+dEuMpVH7Ni7Ei6b3573/bifoP7C9Jnfv1
Tn+p/Q6U4v/chl/zn1tMb//VPy0mCPLMPqbgUeP6OjLZ2n+5LMxUZylBzX0kxvrHZOv8xb+K5Qep
N3axuZH0T49J2H9hiYX5bdo2Dlwqu3/SY3prFf9UHMXJxFsBxY1eCa47VBLH70cWdmiBoDcAXrO0
dTG1/Yq4MZtdp42Aq83Yr5WObu9pmtw5ensXzvEVhUHdPUkmss/IyTmzw6pcBBCtFh3QvwsrCV4Q
jbf7IChdtPnluWgpjLOmu9e+FLyAydh88EGd1FKZ4i18fhY9f1ric9vu+DL6AkMDO/x0ndALhzbS
UkHwwhsTSdpSK/mu2wjdx0/P+jf9sZNPizFxMSIKo/CP09E67TH5pqYhwcx8wkR0+tJu8irtjOJh
+lEXfC5Q//yMTgc66R+1KM5Dx6PZrVTyBZR6unRS9/79i/ndGFyNzmrJ26XU/Oc/zRNNa9Dra0J/
rRXU0aq+5gjQwI95f5QTiK853zPkDkxFuDwt+usnl0K8h55PRaqtMAq5xDMl53lKgBxAP7etnoBo
PFS1WNtxIzbRJA6pM/yRUuPvH2C6am4oUZI/bapaeSfcIkLp6sbks+d9fDk188Gqa5Bs9P3fIIJ/
23k5bUT+uGCHD59av2KJObng0JyMesKZsCLya1wST/kSMCdjAXIQEyb2dYZShfBbdUB/+dpZ5d37
NxyD6a8vDyrjuTVFl5Y+7sk2yMgG9MbKC9ccKvErlVeJNsm1sqJXn8P/IbbMw9sWPYUCS5pS8qKM
6NUIk4tCoi8KEMmR1wjxMwffvzGCSd20yrkqQ/MAEIl4TOuKPt2rjvU9Cx1QRWNiYCLQoHi2ZbQQ
5AHviYYj3FxwIBVSfOsSwI+Vzv8ZPeMwGdAAQYzcmaL8EnvWfe2oA/Whg6MzsrL9h4jMyKVlRi92
Ydew8kAyzaP1jZct5p9BD5iEZSSOPYSVBUWTg2r9F48C7IJK7GcHvCfeKv4IcpZ5p3sDyWcyATEY
ONWZVQ9yGUQMldQZtK9RxtSZ9elAT8ZZgekkHa9LL8JIHqLayX5cGcCRy7Erx3NVznNeiE4to3aw
122YrGFcP+E75KpIE54usymFUdQ7Ky1v5BrhwFVp0DCZTOuzZtfZY+P2HpirGtOg4M5paQBkKCat
1c9qdys9TodZmb5YiX0FT+CKOMP8LK7z6TKJW3czmg55dNawYA6fLp0CPqwdBAgXDT/cZGEGg0W3
rwS+wQX5vCAJNI5ok20cijh9iUfjE64uuXLtGhNNkKxTm58gUG8/zM/Vs7ML3FDskockuG5db51E
ND3awqmXEFH0FeA5UumDCqFbTZLQMN/kt9s4KHayEcc/lLz+CNsIkgggIgd/Ye5uMpHhaQp0l8KN
feUGibs1q3HcliMgGZh/xIIQsGXETbHBDuvAFe3lutaCaQMeZjrLc/NAG9o8zx1ehWEazPOe2wCd
etpUxHqtIxial/DPZh4mgiHMgHPeFv+vl7HElWXyik3iSQY2sYT89sS3sy1h4zscZt0yH6bnvpOv
FjTGkvLYJoj4XPWJf7Erg1dr9CdiCXvwdvXoEq9Gga8Nu2ZNVbQkbCg5oLjNt/DJJFYUfnfshtPG
9eonYEr6yoyseBUKdyDRsScAihx0qu6hvzHgXW8BLfDWZM3TZPICaGb4qvkIV/OxemoGO14PhCwt
eg1hKoAJqHwVxFfCKItl4oqDKwqJkJVfRpeb/9rLLuaPRu/4i3tQ2UvMn3A3+dzbgOzFmUYBiYXD
mgo8/urWdRaUeF5NJMQci9KXsLKugp5YNa+/prB9j78wgqlax5elwQs/MW9DY5aUUXt1mLzOhYdL
tCbt56ssE/06SzgDN5l7JUbjQPQBLizLfzHwxVCg41SWeNUMPL9QGuhnjTs12uGjTa7mSu95YGLi
MiUk4fsotEaqIwEwJgyklJDmT9SevnazMmVwKOBNU7zyUu2e7JxhMf8Tw89fsR69ZD6fLMej+zoQ
JGwy+TaNHa9oKT5FqTyAqOajlXwc2fziI/ei1EsbJmNHvmwkUvgyR5ZPfatZT3Y17KF6DvshLZxV
CjQHKbreUGNSwZXRQK4kyI/Hadc8GrPmR+qaFl0SIkZ1LHH4RIvkBTEeV0CmPXW/yd+QwEt8aJen
X9O5AAgNd+nOQl3auE+VHbxgBqMPWD0l+XzvFYQe2mJMyjbviRPwu3MneE3Cctq8fadaYd+nqIpp
LaG/8WcDTpVX+dlccVxHvsl963hJnE67H8aYl0tz9y6RaBuHZtdtp6LkUwepLl7qHvDVxPW+6z23
Vg6GttYQWdx7ujwkcUrquCy95zrCO2jO2z7PnafGchAXhp1rcxfAFFuCHGGIm3YPO5ZnCe5yuHEM
JsGoF4RFk+SymyEeNA94tSGa1iN1A6mdYcR1VkmlPY8DaZGGk8plxPx91kom/NjMnyzAKHw2+HVw
r9bFRviTvKWg6s0vNDWKjiL32jViVCv0KQFHxYHJfyla7YwOzgAsqaVhoo/8iLFjpk+NA8lGzItD
2y2bGBgEhL+ofqySILiOtSxZm5X5TBxAvFKUT1a9WzsrGRj6EwAW87weShzOpV58FpozbB2iOS+1
RDnmisDol9rX4ttQ155FiZt+GUbz84t0Yqi9YtLWshdy3fWl+kZqQH4WYgVYxj4fCwBovnAfH+Iw
SuCXosdiVnb6E5ial2FgeZ4npwIo9t5gwXYG/t6iq57elkX2rYeRZg22mKig0jivi7E3n2nZbABq
uzIm3sPM5jMomDBwu3JBZLWeKwEFvK77a7Nrwi/I953V2xwRh9aVXhfZHdbPFz8pvH3hI7Juchlu
mOLnNSW5TzraOBSn/dU8Hw9TC7sqD19BUdwURnuJe/yrCpLPZFidxzPOFFsU3tOBlMg8SwHOdLok
O5UPTjLFYWaiIZHriUWPDkiAEafj+VDqdC8Hm4OK51SrXLdx4Pn1TsYdBLou3cgEri9E9uEGaynq
9b4eyMNkWmdH+QSlkcuUOtnNA99jQhf0Sxu69yNwcQpDfGFV+Fr4/NuinD/aeYPxtl3IRPU0WvFL
SVgca1ZtrE3M9h9UIE70VvO+eLY+GxZwNMVB/aQCYaQc9bJhCtZwvTE12aCoGYlJM3rtw0oupxCY
otSN8INx36osR6eLGd0ClETXwT3MkrnjnT/mkrqthU9Svd1dB6G9apoAoGh38OLEXhSCoC+CZPWF
XqHW8PJLGhqfhF0+oYrf2jGW9JRyBil/Bls2XL96hRsLf3VUTXfAFunEcXBbBnW98xr9q+k0GqRM
7RFF5R06+PNSOORoDiYgJf9B1O23SCZnRI7i9ea17hLvtaDAvwwwW1h+yTYt6YYrU2viPcBl1FYe
E7dhW7t+3rvTLOBD550zI3Vl0L1aRiSjraEhTpu6ia9H4r3pBoesm/Bq2DUmsFGIup+WvUOJJC3i
ATcyNshWk/v3N+K/HFAtYksknC3O2NR/TusweWEXVh06aP0lm5AuSdmkCWuHjfU1Kpg9WVhfPxjx
lzeKIW0xJ1NJwSv1pj/66UgnWyOjupggxZrvFA9H7YhYmQ5G4Prrup4+4x/dlcQekjSqtp3nXM3b
STkxoacY8pbNbDAQE2vuvGfSe7ZA81Ou2AyMRvyCiiOmTc+pLXN2Y9it6ghpQy6T17KonoyCnU47
ca6JjAMIPBCSdVwsQ1IhVvOyj+ggWdN4OkjF1nHebmqIizCezPMVX2coWSTwYY/o/vSGXRuHlrc9
HehZdzlJ596p+USAo6zAomhnoudpY8pGXce/yUHqacCxeZ+7kq503UdkNPusyRO9/v2PlZEzl9+z
MPQj8ajDECDEcuvKJb63YGKlxQcZn1WBbpU2b+wAiHLRrdUTXM52ywjLJyqlzZrNs7eHcTv9oNr8
r1XTjmpu2+/51XP6vT4tzP1HltwoE//7ktttnj5nIUXQ7xn4w3H37f/+F6Fd/yi6pfuXjU+AADip
6N2I+TP7gaMirVGi0aSS5ihO4WhK/3+xTTn8EfUbG6+IK3FVUOj5W9CtjL8sgQaaj5YSGYfnP8JR
mSdBjraEpYMCkZIflQCd0tFcEf/pk3RyDVEKZb1l4flTeY6rsoW6S/HKOLM0zZpuOlEhRWATOfnp
bRGyol4RfhxJSdew9/pmNbV5LL4FMdTnHYoVMp4aQUljWeYiTdeuH3rNqifb3GMLpdO4gOVtus+4
2UK00Ikvymt7MgJxMYJt1c6aKIU7ivEUNM59nHitdonPXhEOQEB3nl+Qw+aTbxDa4qyLird9CUhe
eycJ6L3Vy3zkENZmB6MN62kXtrF6zKtGK1bskU3MVn6fXqN0YBfR+jbePKTqIk/ZBU8C0mtjZL13
4dlx1esrdOaD/qDTMfauKDiOxTbgjGOtR1gQEqyAR83awaepaBQH2WcVpJ7Fct91w1lGgKaLQdtN
PHDxDeTsqTUavvWhBEEQ4W2HQCIyK2aacXAepWQnaRuQfnmxIji+9y8TNCWXqTEgmYtDYAFVWfcX
etKTCBuHXUDWT+mEX5pmam5Ha8a6jmE9ADXuMmNDTJHlrFN0jWqjopi0WZreBJXohj9b0AFTdcml
knn/BDCmsGikkASzTvwqFJAPtHkVwmn3HTrp+CkOnJXvuWO6qsJaMaxvHZKhyi/o19n02RrLR4wa
Cv9blqoYFz6Rg2z4zXGVqLp+Bl5DnktOfdDlK7gI6PM9jjOjuwRvaGKA30vSH2gsovw9j7S6NFZY
45KHwIgx0BZOcjmQIEFzXEhjL0AZvPjGNOKVxgDapUbyVTczGoNlmhFFEtNGu7ZjU3CuHvu4WQnR
mud6NERfkrriraH8QQJ0kVLuW8EbdF59ZCtsIzR/KBeymiH+pobjZmVMsr4DPBDonAq6Ykv1ro8I
izAy7g3v6SX7RDIHcYkBFQf0AkiqMPVW25T+7Ag0ZdyHHMf9cT2VRQBGVpF3tgSc3pxVZguyPZFp
c4uAA4mbCJ38sW3KCTsxIdIPin5fx75BkGbUqC6G/2pb2VUeavNPHZwWaWDQVfdZGYbfHIJHiBg3
ou6xD8KgXDWFMd63tWXjS0Q4KhY9TFXtbAwbAMckaPnfXDcIHiox2TjRvEHCbiVbhOiGfixey9rH
jg5tNTpktCFJisAZfCgzE7R7REcd9UxtAVT0xi753Hcd9G6avzwAiZX1PCVtBFYCreZv2Emb8YJ8
jF6CaDasg4hi/4HOm6pmSaK3hVHpPJtd4rqrqq6dT2GDi3NRjWFwC91C6wivLKNrCiHI1DqsjC8p
uzFkhC1/tqB1P3DHYele+LYy7skwyG+r1gYlrexa7uLMBVkF7Kl+hNIsmgu7bMezDiqQhpPUcy9p
bNICT+oywvOetpW+ViU0jqVKLf0a3pTH3r+JAQRBNiravSzVQDoL9udvRa/133OjmpJdRgC1f2MW
ZQojX+ijt3axcgK/9kze6NqU2Ref34BeympJC0e+opFIgtmevaeRxl8dP1XDBp1rQSZSqNkPzdCl
9lLSpSdkC7N9ui47ET8ISxu9VZO26ePgGh3KfUymXyvq/DdOn4hokZglWCaaNgaC+TZAGq0htmBw
j1rK6BIJZTfIxxZ67+jJRiOxkrbAgAs1hqb0ZPl+U+/RdyDbLUGoXWR+PjgbMoomXN0WCqF1PXq6
s2nwonNQqQ0E9U4Ec3qBitN5ANnvuuxbx5SgM9GlV/O3624CqiJn3hBhzvHFEN2UaLBHpprEO7AB
TKulIlf6pmxK/4nMtxxVhXKJtmfQjlAhlCTerg4MYBQmj+0tf3wM16U0csDDbCGfU7037GXVM8ut
Sj5pRcoRsM+N3fce+lIdby/poGV9oHccQf73cgvbekBVfKkijh8LUSTavlAcV5d81tNX2/Odh1y2
zXfCTShm2pKiaO368Zc66hSy9tzKvSU3nN9uscvzV1Xqx3c1tMkW4IcqQG+7orM5FxbjHbAfM9r2
6BY5gGJgr4iJABSBIbcLITa4mZduoGynBMoRXPyJp9ZVGNtz75vTzUWMxJw6VGYGU+vS5lc+IL9H
6xA6I8dlAoEoJPROFGyLOtZvfTLCh7WTGhU5MZFqd7TSZc6+fuxuYRsNPUQC6qHUgEpxx3nUv7bH
ihJ2McpZG+nUGPV1mDTXqu5hbzuG37PEin76lvh+vyfODh1dO9ZiWIphbOA4AWg4sDsAS8IKaz+V
2WB8FlbjG0sUy5RNgh4A3wL0l3psk1Hcano2MEtAWqEc1RX2WS8ypINFZBrlSpe5b20CIoDKZe9q
Klzq5Bc967ZChl6rniQjJ0utm2y0WXImkuVqBOkJFScjU+ONFvNzlhXOtXaV+7L+1KpAHib+gbaZ
CdshCqBQPLBQ5fHe7FrJKld10zoknklbu1XsFYssrVsdzBoEjU3ug2lfYeJt+Relaz9hHmvTdWEp
7coFmpKi6XZ4a9Ky6MeVDZj+FWU3IvOgnHMEjalF3kkaYfuVv4McGR1sMSGUQXhTtHpoYJMqJN9X
MIl9CpO+XDpFYMMwcszwziUs0uOV54msFVsGQgaw+Z973mhRf69d9BzByKS5AFAUv0wQea7KQUqO
pnmpkEgoniI4kaw5CGA04z6NRbeNEih2kG8tImJyZ7RYfj0J2t2J5Kzr9b34SRjeEK40YZYXSUuV
buHZyCNJVKIMSrSZaz+aOWArVqjaeMhjV0xbWsgT0qdGm/Bx98OsaR5r8PZqwjAOXpuRAIVHCP2g
HmcUybPCTpcWHw21o6A3761wogoE7MUrSOUL3BtEOGG3tos2VBcDpdlhbaIiaal1kdu26C12yKBB
OvnSakMm2FF4gI5IWP7SQN8r97EJaoLVnZhFwAm1dgv/ropXgQNcYhEBHmo3Io6Us5Bl1x6CQKv8
/VTiEdylOAq6i2py5k9pFMWqYEmILsSo0BFSSzf1JZX9ERogMu7bHmnerUU170tvIwhbyLyOtmbb
ptF8RksIjixy3tbENmO2GTpsEdwWhD4RGIl6x7xkf+qojYE9ybqYQorh14aapZ9alEj7xR6CkMVm
onLX3k1kuE35Ihxoo13Aeu+CT2yPo2QLUyHrLyR8JHevJi3Pb2tg8f0mbPVe7Mre8WraBEJ4X8lr
iIONObRzEXrM3PLCNJB43GJYMDhQC+T51z+dfn7ThD7u23KiULSfeTDm3IpGXXDSt50z0qwiqvxV
yh9fqirGg57b6df3RxHzweRfRaK3YSCE27rJYUsx3El/3a0KwuabMl4Vag4EcsNkuBN2w9zJBjOi
iSJkcUFGZBQtR4ONoV5hSPQQBty//ZA/OhX/WwHJ0ZH3XXLzf+S5l4rfO+fetq5Pj738B3+rTDjX
/jVnuZsWIAadLi8yjr8xzO5f4BZhsiMXmQ+ys1v/b5EJAfG044EikuMMxMGZj8T/nHsFzmhT6LqJ
CGU+Fcs/EZmYx0oJjs5KYXBXHH85ifGWnohMPPYROm1YACaFrvwN6UD4V/w2qlpK6A0YJbyeRdxs
yMWcqhtdbybrlryxKDpzo8odbyrgeUa8CDj3O+mqpxbcnUVpBZYRJYkz59ZU+iHO3fxT4IcOB6WU
9DhUlHForvOABulBkUPvbbQ8JaWSXWnmVADIIPUNSJXjsQzSpR4hKaXOJNtbdgNAdV0sPTcO5oev
UIC08abQ3Ggv6S+TuEVJHfwBtCgF1K3sSc9SYN4FawhtLjS6KU0sVBb0y4rk0uTgTk8E+lOAFLmh
jJa1WaSTAmmTpBqFZnxLn4/cMz2iR7TRZUdhUBfRlKiNVY/cqkRzOTkvGreidPVHKpYfzwYhizEb
vF2QGSfPptSyTnLPbDKPch/vEH2DivbDVLjnrGdki/z01v5mvjpRgMzjocbkXRNv/0OgeVwC8UKf
Q7xo6OBEGqr1hezYRWBrAuv0ostUVrNVAJhXniEl+Dq5tbjvir5+Gmn+xm8H7490PHOB+19zG7+I
bSi+M9yYgDVs6jzHv4gOzRT5fiaoE0YU51fk+spVy+4Cixfig2lrR5Q71k7i1tYKtS1UjSy1/Y9+
xtud/vl3YM6lTOsyTxvsdPg0j3+HZYFU0xKPfLDAaxJrlYcc7K5j3P0uLaymJ4fGA2+2kA7bkfMB
beJ3XSTlSgyatBZxXMjpmaJD7X7ilXeUv02GLsA4SDEcg/LC0LRsF4UF3d7OT+P00HvTyJLVDSQc
YFNuKIYu33/Y8+JzfEV87iwZDrQdWyI/Ob4iPXKC+SxM1FfIufsLwgM7XVsB1qoP3qpj+Sb6OBj0
iDdBPVNZnzWcxwOhb/B4R9Aw0BsdGiJsOydhNWTH1ywpVlD76s0Ug8T7l3c6rTEqHw7qTSGkK4jJ
OB51TmUEphx4kISlT2mCowg7DTKYq8itzt4f65crpBvgoBjlGoFCkLJxPBbGVjeRBEIHC1wJQ7ES
Riy9M0hJnbMfy8aU5wj9h8H9YHY4bltwY5HU0RVCuyjAtr2pF38uWOIOc4yUMhR73jlfcBB1fJN6
UUlFDVHDJ0F436ZJCV9//2p/ubMMa9Hw0lH1GYZ0Tj7JSab9CJoLRjMNiwlendkPl2yqinYRilx9
fX+040bJfJEKmAfADsWwrHon99ZuYtlNk83BddLi9qyqCnKDW8Ogvpa4NzXqzTXduQl/CTiE94em
As2DO/pGLJO7OxPWbbA+dK2PH6znIU8BeMn7Q1p3AeEANHKdscMkdPE5MR1Vk7bsz+ZmxwS9x1vm
x2z/BSmYpI3HhS5MmqB1Y+HvzuPKGm/I8eoyBEoGhEmCaWFel4NmEdmUxEi66Gi0kOwOPZ44ylE8
4PSQT1nVYKkQ5LZii+vL8bZodGuCV2Vp1qzuCCc0YWVh9md6bcUkDnW9rU8PZdhp3XdfLyf/oVd9
58BPxiAYX6o+lOoqzHRRHjI3tQacMn5uRRzpDd8+j3VCp7Hc09X28GUk+XhFipLC1+hQtAVYNbEV
b0kazUL5CF6gsTp6V5RwOBlHRC89BFNCXwdL0SQA6kEUrjDMTANZsBTpErKKZ6eIiilZKwJmce86
uwLJTXTe+LoRXFWdk8GpHvNUnfF3+O7EiZjwKJrvjBy9JGghvQvpK3qeQChcpo5atzQnvwoAGUfp
jjfXHmCa0Wp2oTB1c5RLH2gaZsHWlp65hp2RDsZNKih7q9eM3m5fnVE6Qfy2yo3MRaKQIWQHsNfO
JwRJpbMbiSgLU835jp3JbR9k1cfjK4qdgm7okKP6eIETV6DyIRGnXIYGlHj6T6LX6u/sb6BW2uMU
RN9dFzwbfjyPnQln7aiUFxzhCrz4ZIQG+Qon0dCvY9UQKLBQfd0SIgNONXlUckIkW1mQCPaytVL3
rKeCr1MpwY+5C3DealcWPgfWII3gv/ougJ6b3bCDKV5TupjurQ/vIaDARj0rfqpR7wWs7IlOnrBF
8KV+yd4wlLccjFzjHJNoTVoNCFSHF9cKzT0YFDZJqzAz/eFhLKrhzHdtLHRFrmCeE1yd2Bz38MPS
LabIc4+AXrjrvOkzR2OP5LfW9OJkGnUwjGsJKLgogUYYb3tR0wq9qEvsL9a2yEKRkFDRx8E0Lhyf
jIJJawhyIFl09pkCf9gORGclu75gXRmW4P7C1vH3VEpNu1wDCVfRPS2mtP00BYRDtsuyivRgNxiI
1Hh1HaKYN7E0kgJEu47FDh0U4NbyUeKQ1vcE7HRWuuhcz+K0OQ0UR8GEqkzaBlqqxrJWvtLQEFfG
qKKdMeDJWzaULfFBDnPaw41jjdzZRV5QCX8hKl2EOx4u6evKgzawSv0qlnvC7dmW6n1PPX6QERVF
s8zL9qqQeZFdTGA1R2IIWyrngsJMVy5j2UPHhtbRDRfAc0SwdXpb+JfCBG75CTG4H7eXXYT4qV73
fZA3I1mK1FQB086g8JcEXEb94IVNHIK8r6JkoDBl903WkSDsucFDTV0PIhpU677d086wrF0X27Hh
bxwyKit5XY2JRgFaTxs7JzEBLqCGKtNgpgAnisn+MwYo2Ty2Gr1Z5FOa0D+ldqu35zZEsmGnVUbj
XWpAD2/V0Cv1dWxMO/loQTyerudsK8FSC1ZOuOw4cLCcTNdkycUaQNBNCbJhmWdxvavTvCTrrcR3
Rjj8BwvEr+NJg3M3Xck3/4ZzsoWKoOOIthvdTez1wVkW4PXM5zA8x2CSnibD/GC847Vwvr65pEDc
FrgUNsXqRK+seVbXUex0N8iRnCVv47AZIO8sicquL6iliAW5wKhZLSP/YA93cjJ4G3oWwMjZrGJL
U52shG3OviKRE8e0NgAkGzNVUJweEu9c14PyUcc4vUskD2dZVJVJvnDap1gyI4iuRAaLDwQbv+xd
2VSCBKOgbM34OTVvUX5q1ZLJp4VOH3mvwegb+6gVcmfacNvfX/+PHy9bD5u/26S1TEYVZlT3ZBSQ
q1PEJVavMQsu9ulC0+ttnrCv3GbK8ZtVS8ZM+MGgpwcemC4WO0iwOBIxinzjVf10aZY3UjC0G++1
5CvrlonKshgiD707quRB3+1ojTXesqkAjpCPPTY7x4MR+/Snlz4D1lzYN3ig8HGfvGmQwUrPMYJ5
4xOAlDfgsfgVBssM2Gd1WXJKnB13pUE22/sDn77ihLPQendtZi7gHIY5P/mfLl8a/ihpMqkz7NEA
ZYH8jc2Wera4zZgdg21ekxY/yamzlk1ohsbZ+8Mf723n1xzQHOcU20JxBX7OOB5eg5QKlTa0N6OL
pTcBQbL36adfeeSsph886d+MRXlHziA3/ETq1H2QyAYeBYfVDXts98Jnp7UA5xXfFFY0rP/0spCv
za8T77IxqxuOLytp9a4fzVLbgECn20lqfHKO+QxYiW6QY/P+YMfHkrepggXWMl1KVzYVL3k82Ihs
fXZ2+1uUss4uqmJ3GSiiZ2WBp9pwMgI0iNM0PpgSfjMqOECOJbDYiPk5fXK+U7P5NZS2ScykOeRS
9lj4xxaBrC7vEs2Jl0LrzOqDZ3hSe+ViKbeiCREWEi4Xi87JC0NOAdsQ6Ybb3J5ifZtGBDBxXh9R
W0qRWhtX9wlWQDFN0wAyb5ECtQDG1MPAxSzUfPBzfnmlKJAgY+E3Ee7GqnTy2fqEs/h0Z4gUiIRG
VBFxZsiG25Lg5RG62p/e8reJigPvDPPjSc/f8k/falQFopFtXW4dp+oqEhhSOjiO6HFqUO937LT+
1lqhk3wwRRxPy9xym8XdspiVWIs4m50Mq7oyHwIYIds+HvS7yJD9La0FaCFt22oLKjjwnd9/o4/n
5LcR0R5RhWIBxBF6WkvQYwEsl+3f1u/FWtK3uc6IeN9msikeeamfpIqy2xSp7YXPdu7w/uCnMyKP
kdIXnxOFuZmCebLyDtC4ktLyGiKTOHTGiUBFCVXiPlGS2MmsFpsebflqIAP2g+crjpfZ+bqB9LLC
spWi6IUb8vgBe36mkco1dNuu9adt6DQTASup+7WiM42qUGGV6Zt4ibsB0UzX9mdWbFnbWDcB4SCn
XMi261atJ4v6gwfyy3vOa2RwY8TM4WSqOXnPc+Kxraipxq1WDt3SNdtiq9XTc5d2H82cv9x9RlLU
OJRNCZ8YvZPvG9BF2ub1hOJ+1vkOGVHMmNWbHbZj7XOjBfUFIk9roRER/pFJ/ncXiSJtLtAzOCy6
47ufKz+r0F+OW6pq7PFQfcfwCfxnl3v77f137O2b+Vehgyc9S1/ZO7sUWnRi7E6etNKAXmHCFFvu
QL1uE4RDelPl2yx14l2ZWPUyl+iXpFP6V4M7im1DrB/kq0q/KyZyO6akfFQpTXCfg9oSmlV6mcZx
8D3TrI9mneMn8jdfmUt2TapfrJsn5cQmxX4uCwf2emgaYp8QdDV90bREYwKggXs9O9FuU5A7uQn8
v/8oVfF0eKZWgq9cut0spzrT0PFTgRM1IP838TvldrfLtCI7mGX3HIug21JBSJYAWtx9poXN5v1n
dLzAscbMA9tsdnHQIgl/+1h/mm2BMNAmHQJ9g084+5ZocZ+uArvSab8bdkG0q7K6T4CnzYf3xz2e
budx5wMVXSvX1W1ejXly/GlcohEIValGfYPkQm4pvcsVoXLQlAKQKFjlk93/YDyIi3zYHK6o+h2P
RzbBQLGHgrrp2TUqTKe/1CJ6OWh9XgJ0iB9Mr7+7PHwFcNKRYrN2nkwlmlFUSeuU+sZSuXudmRWn
tiZozUXLYZyym+WpDxbp345IuRbiFyRi5rHjC8wbww0Fu/dNr3R/pbul3I6UDdeG14FIG1T+AWD0
eB758QB5bqg+6ETP+OPj8YBbdPVA5OjGVKG/8Emuue35J6vOGp3/wVDGHDU6r1UwFE4+DgfYe6uk
N20mL5vFUkBhSJYbnHXsDZ72R4vAj+tidoR+zPSFnP5ksEb0/ogrCzNyP5gXNTK6C6usULBQrbt9
/5389RbOhWA+Pfa1LIT2yTuZ9pY1g5b0jexce+0GAIt00ysf4rq0/2j3PF+VZXLwYtJHyfDrXqMB
Ul9EiJM3sVUXa1O1cFp9ImWIj4EVaQY5sQtuvPnz6+NE/RYSa1hiziH/+RsHT92TdNTomM1CIuIa
smPuB9UbyY590Yf0l1+nUAuwCEbzuSnEhHTyyUm3jbugC+UmtEk1uRa5jfqYeCQnahZDhaqOaBgE
mZjqGme8j/xiMMIPLvjXyZQKwtzt5mbjqz+t3OA2JlGra8WGBD6sngOa2azA2FRSCEA49v8oO6/d
uJVsDT8RAeZwy85B0ZYt+YZw2GbOxfj056Pm4rjZQhMCZowBBlA1yapVK/wBEzV9jJLPf9qp0iPY
aNxdJnj1i7eM1m2qGh2LliYo46kFcPAZO5wGINybUsPdLm2gyH3609oTBAUIAY0bee57ysuFEq70
2jaMzNcW3PRWwcEDnqNdL6BdPnqnU6LE9mVegqDv5eNJddg3uJBrW1kjGVezpDlQN5EjJvG4ayUH
7zKpMNaffzzEMWBGgf+naJ9VtrDPDOgdtcbtBFRNmHm6wowp3qOPvaQLcx23+WSTVAt0MO6L+Z4J
Yc2USE4q2zCF9hiEknbfWWF39hCmewbGHG8+/WjsUPI+BJJBiBiz94nxJs4sEesBCsRVYRT9I8j6
P3HZi/3tlS7z/PeYw/ZAiYuHwztlnlowO+riuMHEAUU78Yog7eQ6mmTRws1+vQydhwm8Oinmw+iY
fStnrNO+yvB1qeVABxiX02Jaqbmqfb/9ONfxhb4KuBqSJJpI3A2XG9F2pF6qI13ZyonNniAQ4b2S
l3/kAGJXC7x0Q3+r3UZOudSgvd4iE2DHQHKEofMk7HS58mhLIskhUGxbvZPQS8ZghNnAWWrVt9Er
zfXt5/xoNTqTDCiRkIBHMYsnGXWD4jMR2vYAiKm4LLQQxQgoV0sS61iGg1V/csWpuw4ZR6WpQ4eO
hPDy+Typ9PLUh1gFJj7AVFX5r1GtY4/NjMsYuvvkBc9qXOs0xoC+AI7SZ28TKdXWyWVHbBqplQ8l
OeFOSnMvwTbYjj7rHv6+GJmuRu8RrtFc78qgVM0DwWJFowY7tQD9G6dNeQR8jC1gkZsLZ+6ypzB1
lnk44vIEC6PLrM4uQRvUh9e2utj0ijAOmV8MTw0kGWM9AJ/EUs+s77xJfFmtTeOV/1V+MrpM6yvk
aOwfi8R+vlXridDeRdgDCh99cvqp0XZgvuvGWIMu7Jp59kSNTmbNf8lnqNjmNXSPuDD4B63YdLWJ
4Q9e4sFjUWIMf8QeMH68fSg+Wgz5JS48OmCcxNnh18CtaQoWkJugyKKTZ6OI5ORMSAFjF59/LtqN
UyvCYHMiX395GnrNa/TS1IvNqAQlmiWO38poO+R4uuZdmf349INxUXP4uHtYzZ6dhrhB9SJrOXs+
I/UtVZL9LS4nTewg07/cXmp+k/PBuA0Az7Av3s2MLh8ssuoGH2VLbPDvFkfMMA+UFvrGNG3KIiCk
qwIT7IX9+O4Y8f8tCA4E3ZypG04zEbgsbYjLRUOw9vCO8hrYs5M9SgbbBDO8SuzHjvmuh0TNyVIb
bwsOTvYQxsORL+z1EHGrUUqfEmD9hzrJUVL+9LswgVjS9EPGChTebD/1TizwH2aWj8pUtoUE7qCu
CaAc+Tkbz420CrdVoWPf98ll+XPm1OGkX0+UeBdQ/KfqFpHuQ2XKug1oCfRlGWS7emVoYN7D8SCL
iqaDIhbu56ujM605gQ35EtRwE3Pz3yrA83upD2KswfQhif+GGho2NfnCIS/kemEz6/ypi489LaXT
vuWr09KZZxz4ROWBMYTdptMNCRKC1L2kjTM8336JH61CWc/5lA2Z+DM98D8vEVPWcixNs9vUuqTf
w4Au8AHxuoXT8tFro2Aje5qqQ/B9l6sE2iBUtbG6jaWV7bFX43LbBrWUuLVULhVqVyeT94ZYFbKR
ND2nK/hyLc0QjVYW8AFUCEBrxxhLtwSngy5wiFV13JnbpGmyz8a5KXJPQLrp8SDITvnWv68RDWVF
iVBcnJi6aznXx3siz7BR1LTc3v5iHzwf8xuiANuese48pVGLQWSNTRe3UwftDy5dfYpMAC4fPfIu
X3Nd7nceFemv26t+8AXfEZBAzabO2tXQMZDRGqrQxQmN9q/W5Mq5AbZCX00fFrpNH68EIBLKDt0Q
dbZX9DSjo21oHLEQ44rRlAgmTu2ssVFbAkPMs2CCKA/1/0vNskPLCyRPz4ZuY9txcY5QgyiQufHq
lRlDZ4wGL3jExjmCh5V3C7nNDDdHLJ/WBpsOKJI2PdvmcsdUSNxAXhm7jUBCy5XJhnGmRjAGtiJ0
RUolbM6zsDae8aN1Rte0B+dRbr3+Qa6r+sQdER0GxyvWcZ6i2uMVDL+pYmVpIch+EB+YsnPFcXej
dzf/7h51o6PTYNwoQvxFS2P42qJDuhAe5ln69C64SUFtgNUEU6BdvovRTGI6NnzyurXiY0Hg3dqV
p53tNtA2kMiUhS7DVWI5rQeLnSYDdQEyu5frgaYqkjRpWa/U1S0WAAyYGz3c0ndSUIBq6i3xA7n0
DsQ/EvLZ7vZZ+ugEY+kIBAfUBF9+tnyjj3HjhWDYSrNP7pRSaeVdbdr9nZVDK0KuOGkehCEM/e72
uh++ZmpKUBPTpGwO1hiVpOtbmS2H+2yzppi1T7Ww1LWZJtijx/bSHOCDPW4Cj2DXcYwxJ5jLxLY1
YMbRVNpNgQKH5wY4G/xHk9P4Ch2iF2gEwTkfgN/+aaOuXRfor5ZrScaTF1s22MJyUAi4FR6e7K3c
h7kLNDpf+zaW9bdfzHXIYTNQH9J14nuAmJnth7xNaUO37UZtqUeLMS4UeGRKrqwQV9C8x9urXX+G
KYV49/aksqEZdLkah00zC5BtGy2W0cAnH3uDoEGU8fBtbT1JWQioH60H54m9Rq7KkGJ2uqCujkkL
LRHYfNyinGsOXvKSJyESBnUTOWCx+E75wqIfvFKULKjv6T2jYa3NbmGhM01v5KjZ1EUY70Yma99l
H5y1h3tetLr9Qq9j1GTyNvHIYJIZ7LXLFwp4brAHORk2QdDU/6mtDp8rtrrvt1eZ4bumiH25zOw9
wi2tOmiIWNeCg1rXlgheFZh/JVWNqv4ttdqS7hQtV7C3Un35P39M+idZD7MvZVh7zfr2r7l6vyQ5
GHBOb5gmOI3Qy2dOqOq0nBRhq8C5XqdgnfZ54MnuQH25ub3U1f6hmW+DqSOz574ir7pcyi/90UOj
xtjmYds8giTDWjsF7CUPJUYMQ9z0C3fjBwsiKE/VyNgCidP5iCTo4kYEyAJt0f7IzjKf/Jtmw+ex
ncC4CxoL2a3bT3h1H5C8MUfjH3pvCm/28gmp1xKUcCN123ty/qCGvvkso+v519dhoLgpaFBacTJD
k6PfoI+7r0OMTW7/hKtUZFp9kq5l/DSNbWebizzP0RIMnLd+FpRvGaPLe5mWwKtcC1wg4z7y15CO
TagZarmwsa+30iSxhNsnM274ctos4bLwqNY9c1C3DFImPpPh1BukoJuDnw66s7CZru4+nhMFXQf9
XBalx3n5qgt82Ax9LNRt20vZOgRy/Mwb/ZsOfrg2oNTtk075/FlhTqBYnEpwXRoQzcs1jUIuOm4h
dYvGtzRptyEOjPmPZbzmPloFC7fsB5sJ8OcklTXNS6/a7b3mSIbeCW1LzRqudXXoT2NpY4iiaMUX
reiqrezHyV07Ef0S2Oz/3d5IV8GQjQICFfoVkwwStulr/1OJ+NGIl2ORKNvRjNOj11jeAUX6Jb3q
GaiL10j6wGblMzIdAsY2CwoydU5aZa2+lXrZ+172WXeoQ917rdPEN9ei8SjuUIBI0IODeF6sctQD
ftBrtvSFDfXB88IolyfmiTK1s2Y/BLEVoy6YiGHB7hvfSjBmB8SuyoXBzXVImuBFRAcIK+QJ8zvb
rHpbZBRl2wSNPV2FUuTKDl8WnHh69mzw8J/+ityc1Iq0H8lU58dEi00frnenb0kUfgfoIa4NyV6a
1kxb4aLDwIcjHcCjlOBHHjoLe7XEjTGKGt2fwfDRds4Ll+qr3juqiHe3n+fq/dFcgI3LswBsJBec
wsI/u1JkFVUdHMVt2IHQdhEvMl0zs7NHpc6fvChu17fXu3o01mNTYk2NKjwl1nw9Sw2FNaLCTbvG
e5FBw60B+2coMlcV/pO3F7uKaSyGS69tvTdTAV1fPpxkpTqs/kjZYk41QMMX9UuajICRtTE4Upgx
fs+RR/n0olPHWDe4txgBzHmvaYMiAe48TIpMrTgXrSOfTDyDd4RXc2Miq7EWBnTY24vCm77cMlMW
NB17xsHMNvial4+qIsxT0qYWp6yrU+0OyoQHu6GNygr3by30HosYoJRLopbiqpmM5u+i6xqUd0QQ
3DvSOIR/YKuV34AKB+jVNW2wbWhjyke5dxJpZxjoNmDnkg7dqcAk9weiE3gFh4MkbRF21bIlC4/p
uvn3CEzPQ0uWXjEDBqa/s2gZRwlgHRwnT3h3xfVX4ZTKQ5SYGI70UD6R1PSwrT5SkbcPFTqTSIWJ
TkWGyVKjAKcmP1vAE84vjwlHD6F3GnwAMoOTefl+ccpyEAbp43PMW8bUL/TGeFyBrqzx17WEZUDS
QPgL3WsIWWtIhvg/oxCWagvx7r3LcvFijPd7GgtlRh9EiXlsMCoHZWozOkee3qPym+VI6r9i46w6
q4wqXesRPK6Evkfoy1RxDW5Naz1myCcNut+IE5IuwgjWZqIEnrKiG4yaEIJMjlIpq1xLZfs/kDb9
Hv1ILz9bBdwZN0LRJluZXovZ4e1tOz+gjG6o7TgqRFRARZMZ+r/RJ2jkGDUNTz2jfNvU3+UcypFa
SJ0Cu6stomYVYIZmbMdqFNnL7aXfCTUXL5K1CeBAmaaTww+4XFtuHb/Jmlo/hbGk99kqG3o4g3KA
E5rvWjYckK8R04qA35LCRHPxQU1atBu9rqqRi4fyyGxNiZCdweDLf62UUkb9svVtYxtqQaStW0PE
p7RB7OtZHXvsqFJhSrLbKUkqndCALd9Uu8mfJZGWCvM6R1RnyQvlJHc9dUjhXlax9qUPRVq7QdP3
kFWdTHsQMBmlXdJEg3/26f0d7cBzyk2ig8jGnQ367gZ8Q2i+ooUzoFmCQvRdp0J634m4Lf2tryhF
/6Ii7/VNtF5MShAn9W90r9EmyWs9wLS2zu3fdki775imVfsn9QatcOmW1abLQE5LdzkAw36HlGxx
SnJjtB9Equq7GkZ5ude7OFHXlgc7YOK9k02dCxP57S9DTXq9NRNjcE7SBODfwQtTDnHh5BAuG70d
NgtfeB5CmGbjO2fSU6Fw5/hefuCU9rymNmNwznKyO/SJ7GavM703d2Si417QGf5+e8Xrw8mSLMjw
Glek6/2cpRXDPSLQGS87vfnjtJ36I43hwiB6rfrFKsZ7Arfk0oOU5zqmb610LK5glMpoKGH9ZGaR
6gYGwcXtuLf9YxyHyrAb/RwdLB1FVfN75znht0EquvDe8O3c2iOkVC0REt5HNLPDwXhjatRDgyBn
nVUDqTwYpo+mxVmtChHhHh1lheLKSoGvIsPI6BConRcenbLBKh0JojxQU2C+UW8fMi+ge8KEE0Xu
3BZ5BHYGnZDvwJGdByNqg/QY6GoC87tTEz++Hwe07tAViw1U+vRk62hE+CNg7PgLnFkl23FcZOFi
bFChyYqcLfy/XsKzeIBhiAoa3Ssdn29PGSxczmPViVDNu/1d5zXg1PlRUU+mv80Mk7B5uZMaOp2l
LxznZHVp918Bn2BnQud9HRXde5QlvpTbarh8u32QOQsXz3sRdPkpGGsphEgasSAz5k0Ux8IZwE9N
+9SlHgZb6FF2Rr2iY5f9sgLMt17oEiTWH5jcyk8f5ZzwpRZqa/4y7A59h1C3h3aFY5jyc1ACISoU
Ky20ijrfapUjen5D9AKoDhCpm+DM3qAkZRTSNw7oiLaU4aX+vVcGMuI/JTSVbj1WLfpE6Ow537CG
dR5sDx8SdjQBroLSFdn3EjjD/B7hzxwkU1+Vv3oFAwdzIct6f+ez10KRylHDYnFC5M2+yQh0SqVb
Z5yQK0/zEFwvswgcKcpm06djWW81q2x3RhpBQQsMKX3VJeJk7lKplGPh4lQdOf+VVWCGRzkIwnDS
wIqkN6cqhYpePPzjrYUUpbpWilLucSSGits8459aChT/I0iERxD1pOXuZOKquoYd6eVOryaNFq/r
HfOHkUII/qKUvZ3f2THyJGurjmq+oGEPGpzbKNQPlSZl5RcGlZn2GFuG2p4Fo1UoL0GPg2Kn4Ii5
0Ruer0NEWsVGvLFHPI1xaO++6B4m8ivdaq2nKkUo896x4ug5y6zSwzHTHJgY2nVRet/zSI4mIMhQ
drTi7FiPXk3MOeHHcXKkF8xXx5MmMtj9LjeEs0dzhh8LmRoqvQtKvPobhjEWw1kRSv6320frvYkx
/47gwwwGqkCmrwAWISqjCH81yikp8PZkwFPZP0lVfSRaanB4vxXgMoErFG/ceLGOeuAQqEw9WosD
sG6gE6MniQ1zrd4NFTKbDxXd1uApqoT24mtFLhAbSytJ+pEzH7O++AEYkbOBEwQ+5VQB7WuBDGXw
u0SLc5ONleE5WJnXurNyRMTNb/tj/8UpUyVc1XmUovdG2rlQEn0QXfhN1HlgHCcBm9k9NSoIpNqp
M5xMybPrI5ib5lGTdJTtOXOqfNKrVvEenBYt3LtIyAizLfyA6yxMowtDZjvxUoB4zo5SN9K418xW
OTWmXPt3sZD9u0pvBHr1iScHmwFydnoSHPVqe/vrz6tBC+oZKf6UBtI1pdV/GViDJGde3OTRGbWF
Du8PIWVPvZpo0ko2Cmshkr4zyC63GsBkSyHjpDrT5TkKRRhyhZ+GZ58UP20ryiDb1/y9R0ua9r7W
ZflrUwKUXHVaV+BeHuqSQSCUJNyBZaHaaMSjntidyiHCjcFpaBPJox9hc11kiXpgu+ISv44BA/sL
r+n6A7ErIDTJdK/oQM5R97ISIxKJIsYp6UMbA4y8weHPGgs7fc4NBZVS02i/KQ3xcmHhD74Ps15e
FZgK/tXmOTJElF4SUYhHNDP0ryPDOPUF5UlcoVzyX6Ndoi1fnwXG2HTOyaCmRuR8JOL3bVMGURid
UV3O6X/IASazLemz90gmbYcPGNYrhVuLOvjVpGZUP93ekNNZm20RkN0IitFQV1RtXrzXRoW6sFE7
pxIlrWPvjSZ5mhXLT9C0jTs1QbhwIbeYEdXAQJogPAjqjHCpoqndL88AzuswK2W0S9pOwR4P69qk
fQrblGEyHiNV+Zr4AldovKDDdFLkrMUKDZLAflRwX3wzfcX3bCq/usUzvh2SwVXlITWXJvIfpLaM
w8Eqg7jl5IBJufyZstSBbTIr/1w6HnkjnrltjFdOJ5p7aTAB3ldpOEKiyzQ8pJOgeKD7gwlCVgpP
eQiyQmT+lja3JM6mYKLtmipawPdOlmAYUg2oie+lXjN+SZ4ioQ3W8A2yrW9hHLrQWbg+SyAziCo0
gIk6DPsunwMHiWKspTg45wBDjhGILCaZOAVL+zBIFGTWUM7Wk0mUKyvyhW+tT9/ycnvRogHeO9Gv
bNC2s28d5EGFCUdonTCU7l8NO8Nj3S3NDHEyq+h8oscoUNRAdcfzppECLc+VJg9O4ErsvXrVRgON
rEGr5IrbG6zzT+y50+olYv42fmsMMPgYWmEM/1aWg7Y3zLj1PVd0wVTGCwxwtI1j065Z9WOa4alm
WWW9qVFr7c+lkjbZ76qUirB6wLa3rqtNILURbtYDkg0SJhitmVnnXrMK42s7luKQVUqhb+s0cFSX
oM1DjDG6TW7nDNlPjmlDFWM4qDv5cS/96DTZ75MtMh8a0ev2sb3qznBuZJXRPXHDJE5NYeWfLqYV
WUWN2BE9DnOUu1Vsq5VYV6qUfvd9W8pWpQiQ4twycWVUFOZW9hO9a11qDrd/xgd7y6DZyB3DRBcK
0exnxLE8TL0A/2wTLdM1tAEqAzsYZcWNmVLuRsAEawZ2Rrzw/B8sTBec/QyWy6GlMoW1f56/cjpK
ET8bTgAbmpgUPiy3VYskj+RIleTS84vOwIeW6qIPahO4GdQm9PlVXaOJcrmuFSBjGrbeeLLDvrQQ
co5as9oOFocCr2K7/U/ui8jDvRM9naOnI8hciSwTG6/uEPE2G704avjp2KcIdSdcOzBhn9p5irdl
NBKGqxFf4Q699FguvjPqLEdS1nSo70hcFXvv0YYYToEzROapHeCY/kwGDJ3uEX/vteex1OOfbY9E
FUzbzjdXhicNardp7CDszHWN6Rc2diMsuf3tXfB+SV2ecvyhJ4QgdxiQurmmqVBRo9Uy2TkZSh4p
B3ivVrXGOCAbnsssz75xYkkR0sh3vlIX5G+oVLR2z+QrGmuLpq0RINKRRdIfRB7TxQHRdQwi/GhM
SkDZUMvK8wZiW6Ha7tnJuU/wFgPLhFVTcMDmlBrDGWPb2vlKXt91AaDdF7Xokf1xQzkMQQn3ShN8
dVJ6t2sL50f9Z4uYUrjEMbzezPR9SXVkfGg5z/PDLCacVa+lxbk1uugo25FXrtGOTyv/gLQUBmK+
mab1Tu+aKKsWcsTr+38qJxF/mNRLbLb05YbuBjHGbevnZ0Wq7b+xnnRuZ1XhvorpT7qKWYT6dmG3
XHW6UQyhlUsCbjPphbV+uaRqRTioe2p6NnozIgdPvNDco3xv76owe1LQXvgbWxDn8cYdvpoVxvBu
2Tn5k4x0drEQwN67xxdbl1dOD48kGZWC6+5y7Pd2oSa1OEdjKw34QrWF3K5ps03w+sHoFf3RkAvz
odGEj6FXkRrJUzOWre67YTpICGd3gLsDhKVkTIm+lHnX6qY72p6QXupE0r0nopAUHOoxGYt9H4dR
8IhGXGkupczm1ZckCDM8Q1YJob8pg718rQmXZoruen32MzuOfkSaFmTPZoDs4KaNHPWoW0OY/zUG
4uVRS5C/XaORGnbfGN7E2xB1OkwRgEiV8Qp+PGL80MZQkiemWm+eYqXZF+ho2bMcDgR6HIu9H17c
Ip5V5nqRrHMkpF/gtGC5VyoD4T7SsF3YAdPDsNBFYCvUk7UU6Xp3NPI41FZS4PUaSmER6YFYC2DB
6d5rvNTejp1q+D9MGFstAqLoE2ziXMlbBLWwD/FGtYbvhGRJk977RqKhGZc7+g+vQ0PjKHrVrJ+l
pAfrHWcmGtdBhfZSD5om3AujCqsd/vCmfGjYl6WroCEr3EL2Q2cDY6tTDyb6Xd4+6BUMV41JJTJY
Fa2FPp5wxvEnggm4brme7hV+4XpVpSIoa8Y2Rgp1ZyfSd9PpRbCWAq2qjYVTcxUjQEZMJRxZM6Nu
BGguvy4zdtOo/Mw/S2amNL+wKUD73hOddgy7Bg/eBrE4H+qDtlk4rVcFCgsT2hkY4OpDfTBbWAR4
KbS26Z9RxOusVW5Iwb42O7X861RSWB/DUkEXv2pCNV8NhJJfRpeZb0gMxBW8tD52hjffoIJCDTbC
cJLwEuZZc4hNqdGOvq4k4eiKZEh+BVwhwQKfcjL+vsw/LWWC05EjgAFjUjhL4tU+HrVUzaKzI9H8
2Cl4Gqzhbur3llZ5ZyY1quraqenRwkq6ZJfSQAkwWlBwD41ja10nnikvNB+u0FsEmyl7A7tMwJmw
Npef0qeuE1WSpmf2PNpvsAd0SBqIvlvn2vdDaZXaKHGMOQOIbe2X1a/M8py3oYmxOpS0vGu+3f7E
14GDDA6W5IQBpQK1Z1eALyyyGOgUZ5IIZKocposbK4kVi0azZR9kIMir2ysq05+8jLo4QEHRoPLF
lh19hstXkJAx4Lqbe2cpxkVAuKI0pPFcd3K8oQunays6lyEWFLmeVEG7GpqO97C2k8EEkZz6+JA/
4jNjZieybV+X14rnO/ZO0+lXdKBW/TENFs7B1TFAWOFd6Ip2BH3xOR1ysGPGdE1nnK1ez45NnFtf
7EQMFbaC+O+lNZNSl0m49JC1gbUwAn2HsFy8LuZ2cFomT0GFrvbcWHBArUYoo6Od2TV2Fh+kWim+
CV3OIwu/Pd+2tsLSsOaEFj2EqboxQhxFPbcfKts7WZHS2m7N52iwig1lGcMHx/kVQNfO74qki6sn
XY7qYZerQ6JgVN9kuEfKtvTUlS3uChmaqlqA4xNqp/EG2dpw+CJjiGX/RtQ6/k+Pka5cx2qID42S
akOwUhmjfw2LAefHYQgNa+PpFk49eWAL55Rh2KF6WzQNYJgihcugcZXramlEa8KMpKwHGXjbm9rk
1bmLgtLvXAQTI7yHfFHRK9OUxF7ajfPYSnggNICBNibs95VoD4M/OrKlnB17HGQNt0DrS8auz5J3
xpA1z3YYjneRUckrn6rrNBhNuu08K9/LRS6tideo/WD5cdSVwH6O0Ep3Yf/7HKTUWao/rn6pDjBd
nmoPUjVy2VkwDrwgiFotrY7lKBt7O0nCPzk97v1QSjh5qkAGk1haCA8frInEHag/WrV0xuYjazoH
eefVUndMylbeh33RrnCvzVZQXbs9StWWG2r4Xd6OEPMAQWzQQNHSoJ3I6dSXlwGiiAoDiFXZ7DN9
TL8aFt5m8MsyuBC1TCN/YQfMI+D7asQioIc0g9EIu1zNEo4UWEJu9kVB7u9Yk0lnU9ZWsR4UvHdW
udNq9icr2GnNqTECpIFdB07uck1fxau2zLN23ySO8R3WI0zOwvbj7F7vI4Hgr1QlX1NBorWw8Eev
luuQKg2QCZiuWfoNwdPxPENp9rmoq7XVGTnOXHEd1i4gClw/b3/Iq1dLD5ZpKgBEhKGRpJn+/38L
dfiIYUbJe0h1kE+I4kQbJxXq1qutXxWWqAvLvXcc/g2VYO8AB7/r30zEgisAbep0jZON5r5Soiix
dk05+E2zwgg9xcwpUvRuZTWjOT6Y4VAcq1gqzDMiv1HxWKYV5XY5Kv4PUPhqiE8SOu90fTXwIpFD
bF9jIWu82Uoi/yyJaFCsBj2P1ghCR18zUFcxMhHQo/ehnalP3RAAzYsztc/PWeWY3R6rjzR4cSA7
GME2E95Qqhs2nO79Dn1snn8GTIMJHkEHKb1blXIjkt8V3SdMk0rfaPN1GhllsE4YSSduluFPuNJH
Vf0tZ5EITrIE2XEbkHX732Oq3eZQ53GxLjN0aw4iFQjTwpACB4rEr6KeO9LgTWaDiFxVpYZAo9pZ
bV6Cd9AU6p8sUPVjNvhZAzSkbauvaPXGSwDRD/YGXUH4zNyoSA/qsywAjzMqoSgJDkPuK+NXFecX
N49T+T9secbmPhlideGgX+19ptm0cierDhIaY84bd0I0uk0jCQ9xpST3FiKsYGBht/5AASpcIsnO
Uwa24v+mF1A5JjrR7ISneS5oHwwAfCQAGbQU6BqCz+/XNn7Aa2zhClylbZmyS0qLpXPAsZodA/BF
kw0CeDxK7NkcwwiRA0+jxuCQ9x7AC5TQfKXQ7tgw7e/bJ3z6U7OlJuU58K42+Yn6nuv9c8JhwY+U
apW5p4jo3FLNEUbvUQT7LLdiEkVSppD5njqCcryMJIoDsBGUib33/ULSv7dyi3p1WulysxQhr248
hNwgJ6EfohEgFWcWIUPUchumqva+gff/wAgWzULfVsDf44CNYHvCyMzp2mRhFDPbL0gkkoJzHMBS
wiq051NJhYq9qdpeeyrwPdngDm+uTK2UbbfStGKfYruQuVQz1l8pC/T97Y84z8jfF59ER/EnAUh9
Ra3QjcSJ69pTnxScT+sNkIYYP7raHtvqgHp2on2poUbteqvQ5LtGMrI7/O4RQY2BJJ38YLThWBsY
X9BCl4z0Lqrb7iGOMRRdqJ5mMeP9dzpMj6hFQe/TsprtAt8YvSITylM1WPI3NfPg8MR136wI1km2
ruwq/HL71Vx/FprbTICmSxp+vTNbkS6cDOChUp8gYY/+Q5MN9UugSsmw7q1WEcfYk5U3JR0C/6BZ
tf7t9upTDPzndPG8/yPz8u/UX583ywbRaqhbqOpTA0dlg1eqgeOf0a6kTNb3UpnamLNO1O+EWX2N
7+3Cvrh+3bRzaS1Ts06+13O0NE+Jba0zak8+lN5NmxcxuLhUfXEScFqrwtbFuFBozUL0+wPzDzov
tEPRUpwd8yRSG8eTcv0Jfxsk42NLb1+kPKL1gHyA+nj77c5O+v8WY/iKiTCMaeq6y900DKOs1kVm
PImBDvF9bwnpLzqhHjc9bOa7QY4DcjAEKW4v+9Ez0mvkPxbcBRQiLpfllUYSfGXziWlF/EuSAEOs
aOVYR72jMF64Cj56RsC84M+hTcEEmUUzFVXHToB8e2JiRHYb9ZL0ZLae/KDGAwi9QBb6Oq+bfmHs
OOdlvL9bQIEsSEVFaj27/rAlNys19/Snwh+dcTXowKyrprGwaw+1fp3hXfinlgHcyJEUAkUx/I3V
OOrb7Vf98c+AKA4Rn3v4SmJEymshesnSn1pNUs5yr8VbU+p0jCgRTD0pIjCPZjQUv4cgtO8BK3n7
vAm1hag17/lMLwMIxiTWwDEFJD97GaZRirzkhuMj1E15ALqX97ui1XzQNzhVcKkAzHoc497MNjRI
AyYTXTdOASVI9nGgl0vc9g8ONtRj7mtmwzp45NkP0is9S+Iq1p+wgQUQVoXBVuSdusETJD4LD1fQ
29/hestPMsdolgJ+gdY6l5UJInkCPDbe41jiueTWVVp8R/EpcjN6FNVCDLkOmmQinC9kDYHU6/Ob
1PHiQCrUIn7C7SyDwVxF4+REAbNXM6UAf1o7bK019LbyDa3A5NWRW6Nd0oa/PneMhahGJiUG5hzz
Np+gzSjlxoABQ1Onv/g9zSrqOq1awZO3R/xifPWEFcGwkOJefVjiNLsdtyhq50kA+TK2KFxKrd/V
2jP4iT7bMpHFd7g7GIooIJMz8l4IL9frGexrUFRsb2Ct8w5rLqeI84Wq95THEFwOQmuyr3oByGzb
OX4tcEfpx8/NrACwsyQvdOqBEEHniXU25nhURbbzVBuiaA65Y4S7MrGcbF0YWd/t5BFV7YXXOu8k
vy8K/wCQMwPgSbf88r0GJiOTBD0t7DnRnQe6LGfVKx709vi1rzGWX1c1KepRLZ3kjgaCMmwGxx+y
VSrLaX/AMBhRqLYzA2nhYF3tdZ1KhragpYGVBWEyS0+cYDAKnDudJzw9m5e46tJXSw/sxmUeVesP
bRlTrTLbTJ6yNkVeKbXChSb7BzvApIJjsoqYOcOJ2S9olbTMtWHwn9uILpHqh+qbl4f5yhaVH69i
JfGXBqbTX7xIinhmh34CfTvgsMocnowJipQgY+U8tV45SqdcS9JDUtg2p7l3GlxUx0JfByHEnhVz
SMZMn4xlSAqTn7P5GCtT0s9iZ6Ig7tyHZfgcgPWJtl1sJbu6iH1s2BkfLZyv62dF22d6zgm+A8Vq
dn23mggzfKTi50iSxAGTKvnraJTaD183XnFXibaJk4NRD2k2lgtLX9+d0zdFn4I8DOSQPl9by2vL
t2AAP2OQbnzzslHfKUMuHwTu1W9mYORf8PoLV8KDAYa6efi313114bB/cPBMSF50yxD+IJmYk74z
s5XyDqLPk1b3PpCbQhPiS9hjIfTAQKAdGePlZC8oIHUM7Lte8va6lMW9q5RdlK0GNVDPVaeO48K2
f6+hL3chPE+gBZOG4NSdn22DTOQqnnGxQxbH1b4RimSU67wqrNZNKnkI1yH+v96uCHycdWyzDsuV
QN13g06W7+/tQhqrXR91XoQmuh2ZW7R30//j7Lx240aiNPxEBJjDLdlBaiVLatmybwjJ9rCYUzE+
/X70XqybLajhBQYzFx64mmTVqRP+8E2dmGYdYPEoJt3xyXxME0YCu87xxv9oRPdfZIY3+9NQEwID
hlN1hXaaTN4/3+Hn+QrCgc5yixBfFx3SVbRLknTWHNlzwmxXabZxhGk5igNLJ8mRuKtATN8zG68A
a5kgmScdzobTpLeO2ucXTtvZPcpP4YcAGISEyj/Ln//VX+i4dhwbReJHYFwWQ2Jsz75GttY421Yd
ot7PXRfIVmQ3yfPnL+GDhbnU6FDBfqMWWTccbDtkQkUIevRQ4EDNEPLGK6OAtN+jiob7ejr3RxGJ
iwT8s1TJJCNDTnjRkUCddd2kIhAYSZWN0ZOUlpYjbqDVKHK4NbbeONJfaLR/9KUhpy56CjQ92Eqr
1+tWAJR6LY2euiyLfoPMadO97BNDPgzK4FnbyW41BkuJDZAxB4VaPssKX/WNoaW1sWnVWrlwrj6K
OpQry3X2B8iwPldKFEmz7m3xFA+F81Jxm993JT4kCBYKxGHwNEVTMh2v89wMocko/QjqTsj951//
jwfJ6njbXGjcD5yDRetute9qMfatjLzHQemK6tpEacH1yzDVU9TGHW/e5nGJHZsXp00bALW3XiOr
LTDhNrOkuxpLpQhfQuTGQl8xs+n3CMgaJzCvdh70TuRf4EWJ3M9oY9UBNkLF8zTQrwtcerTyXnHt
KcbKLI/u5khkv52OxINmd2HcNl439rsoNZL42VXjTgQgN1wZRJYysbiblgv9CBmFg6Y12dbqAEHu
RKXg3BnWoC32VimVfZe5bQbbxfScqwmJPm8TN1kZ/0wQR6R13mEgniaLeGDbs+99PW5bd8eObYW/
4ClB7XhDovrkt8UX4OH9dCshyg2YvSqiPqjarBpvhpWZ06GVCA9sR2+0tU0v3BJ8YFzPDxi/Gz/Q
DtRg7KRJ/PL5x1vr/ZCtESpAfIH6InrZax2nviszS8eI41GiqvVrKoZ63gtXwRIOQHxsBmWZD3BG
JiiCft66efeuc5VFeCJ6ebZLW9n0ftPX8t4sNHyVerfsfja4ScVBimRkdSHE/Zm5rPbaAgTQqPmp
F/jJp3stLkaYHJGnPIq5yPsNPE04RkhCTCprW0Lc9Hqf1Q+RbFV3rwCsarCoG6hk2jzsTb+aop6i
qhmMHkPBsVORf9TtjtFSu1hxDob2Pocq+8DI1OpNG5L02cnVxNxW8ayOG03a+N1AP84fLPQppq0C
0IWF2xwqW9mPes0u71OT/yC+fZ3VvC+/Ev1UbyUQhkvnf8lo1i8Dzi81IkDL5e4/fRkqDRm1ir3w
kVG2ob5x0Q1D4kNpFBEjqqkyXwuGY4gFDVOh3kP99Q5erCrlARqUOlhB2MvqUNL1uVTDnie64DYW
6QUKZ9iO1mooaUvHLO3JKJ5SJujNg9Ggl5RAVonvQRtbaLHk7YV7+HxFurG03RZttmWYtbyqv+4+
MRqyKlMvf4JMpat+WDN3nXKnb/yonRgxlZdwtR8tSMwj3DGdpBe9/PlfC4KXYpoQttVTbg/uFTfg
4hTdMWbGGLzR9mobVu3V52f1/JqllQ6Ulnv8o85zFmHROWtd9dTHQ4vVaO58bzNj1oIuL5LA6PK0
9huGWxeWPa+byG+WsRNdP4RD1mkFUk3IWMRO8TR4qKfeYxjTl0HijfUvy6TbzQTDnb1tPCyT39lS
kNz1Lb1rLpmGf/DCOfFUb4xgcMz1Vnuqd5DWb8hgnnJ9ToO2Be5GPBTfbUBm/iKEcSGd/mA9aK6M
agBELaJNq6RVjtGgmF3RPJW5J/YINP/wCsBdcJLaPW6o4unzj/vBZc6jIe3NtsEkBG/n0w2FBm4x
TJNRP4VpgkREMgmYNK7UipAk2Zh2DfmG2JLjaPpNTz+ZS6lHEewJepRML5TKHz07tB7C4x/A01oC
WBVGWrl13zxFYTjsI32ubo1UM5A0DMuHHMjvRSPyD1ZkW5NDcoqRTlk/PRMrE/GCDhxmbLblBqKw
9U6DbPSu5sqhl540XeP6UxuxNNabEMipmcsHFYGQAj0rY5AYytauFdhqoRi+XWoOXPRR93xFmikl
dm2Y1aaNCrUI1G4GHtERRgREr874bvRl2u9Eo0InHBBtnABg4sj3xRsd88IF9sEZXpATDNxBEHOc
lpT2r7CBjatijLbMnuqmy46qyJA2zRUIAYkxHNAfTq+5964vbK3ze4JxyMIsIVW0F8W800VzKNVF
E87Ok5mrxROfEzSDPho/6qHR9zai8t+YKMud8DredITk26HWNKzoQ5BMOdYq2vTPZ4spke4tkwsX
MPHah3HykG9sgRs/RbGWFn4z2dY2r+NwBF3q6rdV2mH/+flLON9gSzsZhg0DDFDVZ/yaGDOABPPX
pwziiuJ3ZdQFvITpJU6Q6oDT2YwXUqvz6oQVEVriIEF6Q0vx9K0PqB8CfGPFNJzn7yKWZpDNc2z7
TV3028+fDkoFf9tJLmDRK6f+4/4jbPGcp6uFVlqT5AmPKO3M3ZswJfIe0O+BFb/ThmnHFptgAVyy
LiUeJYg/pWiyRaKLzBdOdua9SsNQWtXnRNXTzQDFsXkswjbJrqwSP+XfnLfW/hL3Se9uyhQw3ZvU
UQEiNZ5BpiVzaTdXkNyjw6gmTQJiVJJvYXo0XqN2O5jHSBqRea/Yap/6lQVzjReB/K7xRoMKNgQK
w9VEnt/Tvss2AKyU6aB0pX6nR3lrdQFqlarhV6bV4dBqTJ7+olCjcRFUYjxS4/YzFommlmMBYoS7
0gAO78Pq7FJfSULnm9Mb/f2S0KdXDdiUnTWMQm7qhM7vZuA8ZsEIv9n1I0UdxRQMnlmoL3A+peqn
pJxhgAjY/OgqNUY5meX178JUEtwArVJ9yOWgPmujpU22bxVmH14nSVmFt7aIXECzsWY95m7YFr6j
Z9o3C//eCTC4Fn5JSkyDNzk0+QaDbqn/Jh+1jK8Fx7C8KSPLjH2YdPX7LKrmrelon+07VWtvOM8K
GjLIRsx+mpZTfGxKBq7G0GWvDUZij7EZ1VPAHCl8ylMaUo5VpWmQ97TpNiUyajdFBmc5iOvRebK7
yPgaRkN/xBk5/Nmnnpb5dN+L/LrXo+i1Ap33m9akFm4dKevoGTr9bAR5Sh3gZ2g4GEGSzTK7L4w+
HO4TdSjfUb2hipq0hPZvbXii8ZWszVy0PPQp2k/0C6tN7LWq3Ndp0b7PcEXcG6EJhBnRzNJj3x5j
T+woEiPzzp1D6T2CQ4jhuqm5fePq0/BCu7NMdtCxixvSNNcLGtuta24FLHiCKZ7qR3supNzCUMKP
MknsqqI4WwKA4ylwaVSEbX4gRl2+dZU+pPc8lNjMU+922xkA/QGUc65jVa52w/PkwpbbzHM7jdsm
TOvfVRiaLemeOsxBGTpd9tIxPdRf6qg0xsDsW805hsjhvg8m5e0znNyxv3HVFPtmBIRDsRd5FGP4
gABDswnrcprRns/RxYBYYEm2OdO2t0YyDglaxt75NlHIqDhe+Cn4cSwxoO8Yt5e7ZBQatZhXIdEf
04JTg0SthYBC2WuvfSHz4btW1ab+EI1T0j0bvP5XOjhl/24KxxvgX3mtXl6LKBtu1V5ryh/RAEz3
kVHsPOLD2FTDVon61vnZtVEy/NeK2LTvW4/G8S5H4WDyK9uVh1KNvdFfiBsGn6ge36y09R4qM2ys
mzRq1BHuSg/ZbmoErgzDNFA1bUI9Du+BZVn5gf8x28pxqEfc9+aM9mRGrqT400CucOWGVJxfcysV
wcx0TF5ncz2Qa0o5zcjxoWXrW1E+O5tpNmvnqWvTqOT7pi2e0bna9oFs6uGhmedZu6b8UfZ2n1je
HuYpmDQZ2Ubmx90U97vCk2l+o9fZNOwMNC2iaxujwvnYm5XX3PO8YfmSQM+kmkQGVz5otW5/MaWM
tK2Zy/y3VDxNXLgqzxKGRXqNyA2ogbE7Q/DTuG7QLqlSdZgA1ujWY5i6cQpLJAw3kOvkcDBn6Fn7
MAvTS4CGs+trUQFG9BHHCfC+6LSeLgwILXJ7CrwnOyuUX7jlHSUti3ijayGyQ59fX2eXs4UWLGUi
07+lfjPXhazZjQtFxUWioi+RfJzzd3QIjdoPJ8t60mUzXUhwz7NtBhJ4Xy9PBmkeEMXp0810lpAM
08VzYQ3uFt8I9T4ey+IX7BDtXmva8aDarbHXZqufAhSowtofe/P188deV1YMudGfX9QYl39gaZ7+
iJgpZw5rKH/WJ6PUfaNiCqZ1ZfyulFmyQ6eWUmrOrGa8k83QAW/Ku38eScFmQNqP3jX8Mu+MUZeX
gD9xocue4eTW4U5N9PG3knVMKdKGi/cgGApcqCfPG6kWKqIkpDwxBS31zulja0qFthZR4qk1EIjO
rLDYJE4d4b9dkxt4lVbdD0WVupupzdr3qgwLnx7WBKrMpNn7r3kh5wuSApwdl2QUot3pj0EqjY6h
XoxPGK9bwZRoMkDXQCLgYEnn0ZPKJZb5B+eKGSD1HVghUAVrnC+IaRzTOmN6shB59odaWFe5kQ5f
J1mGl6j56+CxbDAG/LRDkPtEeGpVw9qJi0uzG5XPndXo0cYzpBc4Wh2lD56TyFvRNc0XBpD578/3
9XJc/85FWRabP6aOi9UHU5HlZ/1V5IihQg+u0atnF6pY+IDLOPuJg9h+mzFf31dRX0abvKDeujPc
Lv/2+errF7ysvujxcrCBvzHzPV2d7C7sqyqTzzSBMHfNi9J5RHisv7ZbTH8vBJJ15MLqjRYX0FEy
cpOqYpXk446dGDYEqGd9kHiW0psSPrhFvCGZo+nvZlQJcWHJs3Eao3zKchz3YGSin7rugYKyHFAL
8Opjrhg6h2OR5DL8HAo+WkRpnUdXoCMH7WupjuTq5POztwEwY7yXkc7os3EjbQpQy3LQzREqilzR
mLjJDqytfmsZoc0Fa0RKG4gcgTgq7N7boX5VIwhrDEP/S1Wi8dsEsvx7hvac/fz51zvfsjwcYjcU
TgvueM1n8Cz+St0t5LHLq+q/Bat421AfHFM5ToEytvZNjGfl188XPQN1siATpIWvTrcHSYrVBZR3
kVvNblEec9VDHClvULcKOieObiKrc6xrYWWgkSGrQ86eGss5uFrVX1Wt0hh7Y1D6CgJwN1V7ytnx
ypvIcq70SZHj0+e/c7nsTw/WYsxOoCK7RRZx3ayPLQAxad3qz1NTVHhp0iuRe4Sw/xH9DcOZdTxe
KzU4rca1X4km8cZF5lZ/7us2mXbF7PyyQJzFgdarDDn+/aEIhjwPJSyHd31e87QyW5TVnhXshTcM
2Apx7cxGPV24d87jwrLG/62zqpCBsCfZoIb6M7VA7UJVAYfgo44yhRumPgDJPn+sj5bD73cRdF6Y
OevhXDU2TjW6s/EcM/0mZaviG8uKs5+qSItLvdHzfUHjG2T5EndZcg0/iJNCOiLWqTTCdPg+KFVo
+z1dzZd/fSS6+gsJZzmfcBFW10ldq0i7MkM+RmOtlaQqcubaZNYWxEmjv3++2NklssiwLFo/DHaR
inZWkdVGklRz6zQ+GmXaNRuRF947hV/+armdOd2CEouPVpxU/82QsS559J1FoWVxAIjwiJkxc1+f
3iGABQwcJSZxpGqKC8gIKOfC73M9PwmjLNzLKi2utdCer//9oREXIAMGDLdQXk/XhQ8DIxGW6VHI
JmSU49XmtsAA8Tgnc3UsUfKlN9GpduybVm3/82UGgIE2CogxpO7A3K5Wd2YgLEZVw6ZKaJYaQwp3
bSyUN7Otq+tOtJd6cmdHZFmP1JpNC7gXlaPTpwXbGYocWOER629XOYhBy6vd2IUZ6BkkMbzN5y/3
7JQgKLZArxbdKh0lmFWg0e3G0Um9+uPcRDKnc5Kbv7y5uuRM8Kc7fhKlkYRc8MoklnAkcew8fSzT
FBn3bD4d3Zj2yI8cKC06u7UbJZuk6bs7O6OTdqV3thduDQZX9FgHu67rfWF50yFzYivzM3to56sw
tiQyrFaFBEraI40iqHqnZj7Udp01R9cV1VWpqo3mg8fu8iDt5yz2UbehqvdlQUUv93DzURFIqsJ+
KbsmeRNxiz7D52/27EOiosqNgXQ9MyIm4avA0JDJORLVgSPWTw5ojNF51SZX7Gu7uyTDcb4UlH7a
qTgDQO5Hcfn05Q6zHkHEE83R9oQ8CpF6ejDE7VM3Aprdff5Y55kWOgDLXJwdCrqLVvXpYuBtY0pH
vTl2CxVtH45tduUMqPkHaJzI5j9PlUm74Ftmay+MrnoG8T/TN58xSghw+chReSjmWRQbtXWUx0nN
az1w6nYENNBHWCzihzf/TCKXSURrd/p/FtnaFbODqdopEmEghKJFWz/U8GvyC3iWs/hq0PpCBmeh
TZAmr7VUOOJNGtt5d9SctkfPr6miPT+p+zLqTflt0p1qaxr5uE/oOl/YLstrOz0gfD1YxJxEOuRn
Gbrm5XUU1lN3rAS9PKQEKwbn5pibXdDEat3ucxHN8YVFz0L6choZHkIcAi0DUOr0W3Y1SaUDY/mI
eVM37pHaKsCkVIk0NqRrw32R4Lmetek/XyWsy/gQYQWyAcg4qw3bNFYUx0bTH3WjTVBwSFv1IIz5
2oWf872nPo7JHfVLHZWzY7JkhzDVGdeqDhncKtnpxdgkElmjY9HR0/QLDxiH7/VKlu/Cwcmq7ecn
5aymZ2bpAB5BHo/Lg7C+ekqwRqDaikm8YOrj3sQ1o2hNDMktnb67uCn3thlrD4vG6T2NOuuq45Hv
62ZoL3zkdV8H3sJyWpdw5CwF9joTkkrF+KNA11+jf/FF05UGNozRbBC/iP1EKOq2zOfR7zWz3HVq
aR0aqJ3/lvn9+Q2LfDjlL2QKcojTnaYWA8qQdoWRQS6sba32/W1rzcR0EV4y015daX+WAgEGyWtp
EcLyOl2q6hQduAHe03ropXfDOEU3c4IKy+dfd3V0/ncVgOtQMxYQ73ozKaNXgMrEn6QuhbkTMUDM
NGnETlFj8wbJJfMmJG+5EHxXO/jPolD76JEA6oSZsEoO7M6ZY8flSzKEBeKQFdlBZ9TkW1N+SeV0
FY/+dykQNKAcODOcltO3CAFU9Vr8dTFmStRNrSAyqjlJu4lR47lV6Ltu/v19kmQRC5YeyRmL3mAe
CJRO1XZNmeoPugSVnBXMV4Z09AIjLEe/s9Pk//M+QeDSKuNc4FRy+pC5PtlJPXnabnBVtIdk2viQ
87ytyljwwlIfvE+wl6TQtHIXzZJVojXV8ahD09F3VqZMpV9l+Pf4ICu977MDhyqynObCZfbBDmVF
lqMAAv287vkg9zkvQF99N0TRuIE1Nu/J7p19bonmVp/EjwlhsX+rJ5ddw7ZkLYzDF1T/6pgLp57t
P8KqyphFgd2bANwdJLjsBAmyzzfM6q7+sxRAPbosRNiFXXn67Sp1NPXUC9WdMeLakaK9synGqNwY
VdYEcZXPO/in1Rawxj+bQfOQxFHSc0ALi6nt6cpm405F3OVLrwHpn2ZCbr01S9zEPCZAnz/kR7sG
FhxcIBI8iq/VBY1qrrSNFCOApIrUnVuPc5B0ff6gkwH5uiIv2Xl+EGAgatpogZMSYNuxOhCpHcqo
o+G7i5aNY6MdswhW5VfCnH59/mQfrsSQgfuYi4nb8fQlJhjmOmpa8FBiKvRfw5R39qOmCFXzsZ2b
Xz9f7fw9cgMv7hUEM4LMWqh2nhvdSD0CdUV1vVNML93G+KPt2ynODiqj2gt3//nTAZMilpEHEluo
mE+fTo52NSt6Ye46QDtXZmZrO6HP9Q/bDf8VJMVBWNb6A0vipNN3PV2rs+2CpLIzdzb8aksGNrlM
1vpR7DT1vh8Bce4sKYfiHkYl9V0wdnreH1FDtscreFJhdKFeP487jK1ornsOKBYDzujp76n6WdYl
INCdC1LKqn0uxDR6H220WDbW1Ef5FsvYxTSkj9NLsJ4PvvNSdFE3g39XgdGcrm1pTqWNYW8BcUb2
iBvE1Q+oUbi7qS2ZM9ujuJBcnUehPwGWpj7smsVP6HRB9McGMpACjgWCGTvyyvg1dPviGg9MdZvU
SnsH9CL0B8TnL4T3M91MUI/ol4JbX5C/pPCrZxUO8NmiG9WdLio1ZNzLt+/rfAySvKve5t4Yb/Ii
AyFtFTbU1VF9rPuq3JfzOBxNpx63ICf1p389Z6T18EHptxG1kG45fR39LEojBmi2wylH3Fg6YmBo
3BY3oizn+8pyH/99OdTHAL2B8UGDcTmGfw1VaJhzyyGyvVNct3uu9QzNj8TtU1rPgF+2dWZ62YVr
5/xk4/lHSc/JXvhU66Sej+lW2hQZOyMVRQv8u5xLvxV2uesRP5gvZEV/Gr1/lYUcbg8IOhhABgBE
ZHV118wQ7C0zQqm8beNmY7p0Zuy2059GORcbhjdyY82pE8R5BktUqK8e0jhBPmIbDkKpvPDsS863
/jEENJWoTQZKB/f0dWPNoo2d1ujYCudyn0lvSgN8dER54VCdn+I/Xk0Gdm50VSFqnq6jtnrfZwIn
x5jqifEDpEMMmPKbvOxxkM/c98930QePhV8JteFi8EqbanWQ2tQuIoGG6g5eHk1VkL33rijVL5+v
8sHG4Wm4EQB/oxiwNjSsXAk0qVBxb8wS8yhHgSCflw7DTVfUne5/vth5DF60W+izM6yAbPjHzemv
gzHV6WSpWogXZivEm1A8643OajRfY32qtFuuCXR+48ZML5ERPnjKhdZIUCL8Qn1aXUYS3teSrC0V
0dzdWMJsYl+BtB60k6K+fP6QH2wT1kJ4kGxsSXRX29HVsMMbTbwbLUByB0Gw3CRGZfqARsRWOOkl
PcgP11vQhHxGDv/6Um9de3Q7x+aiTefwKkvc7OCQq1zTkTc3tOEvWUJ+uB5l+yKDsNhsr+4WMtrG
hrJg7ow8sbeePmm7Mg0dVC2owyZmkpdulOXjnJzvPyoHsL7BP9ANXksqGekkDLd2zV3d0LnYoZTi
PCtIVdd+HTbtVnVbR/MTp0G+VqnaTmycrPX2OBINW7XAWAE3iEsh52w/8ZMY6xJw2VUwCdfxr6iN
xlIqa1dQ/d3wq6dtMeb1LnOmfwR4E2ZRvoWpyqiTI0oZehp1RNLM8aK8ucNgvLqPKhpiYh7FlnZm
te0Zll6gqpyFHdZDYGAx5ASBC9TkdD1sq1AqQchjJ/XGVXymKQXmaBN8mgvB4OwdEgUokaBlQMZd
ZpinC6VmTmLYp/qeo5nsJHTz/eQ1+pZI/u3zE3n2SDB9iTt8KNR1LEL36Uqjq7T4YLEJDG2Intk0
1sFK9Uvwr/NV+KtpGy4Bhl7gOsGkq6YXkAmtvVYqRr4wHnQ98sMxG9tLOnvnr46wSBFucyHRGF67
TcxGZsqxlO4+nKL0J17K9lVYwJTTgJ/9oxYCwXrxLAHBwEqgNdanL3O0xiqN2kVl2MQqWUWTP7QV
4zY05E2mKuEFiZXzt7i41xCoKfXIXNe7ok+7NLWbyt2bNhBOLN7mm7A2lavPd8QfBujfMYVyklyB
8TxJOTTIP83Jv26i3nYmDJlkuYEQqtm+Aa2waK5bWNf2xksqHQ5u31nOcMcJ4ZXq2lSEezzBBdrE
imHjw+BhUsYd0uJTNjRFJoMMKq8BQKOdmp1WRNqPGiuH3wL1xecBxMID8xjji4X9UUY+nE0vVZF0
N3j36c/D2EnVhyDnagGq5oBqhySyfiajrLoADzX1bnTV8U0MuptvoEtNNzKhlQczYEqBWjW6Nx9o
YRH/UrPC+KpwphBihdOojxGugXng6ZlS3qtlL/vbsHJwlyyz1P7lGa2ZB7owxRFU5/DGRETgo+HQ
G7mNWhMgHcGnllehJaP7EvUruetyR+l3SL/E8wZuSF7uHDPKaz9K1cTZ2oMeaV/cpmp/DV2ZF/uO
FtA2nEMNMRhrnIdfRpQzYYtGTuN2MA10nkGaWoz3giYTKMjhgDjm1aErBpckzsZ43TfTDomJvWaB
QDd86UYNKDTdS7v8oWizSGxxKbPC34Y5dsmWxKMxA2gvRn4tq3F2A1fktdYGC0i+5hWaHc0D0lG8
FXJjADDtqy5GvQqiIiIZr8tCjuPvvKqtmu6b4fWEo26avvWhw+wIR0mv8fat0nfm5sKOJAadbEja
G5w0F6iju8x0V1kDFr5YSIk+gpaelPukMuUm10rw3SIy512Hq4uPm1t8XaC7t22wcbqw/vpWJ6En
AeRYEFJosKwdVfq5LWHTaMk2tMfyIJ32Ley7YgdTvt45eimPFx53vR61P5GLSw3xsWXisnpeSw9F
NgsnOUSYBKCd6+l5s8N/Tre2WCka5mYWeTxcm3qlW9dOW7ty28IxuBlntfP2zghMde+YSTzv0MtQ
w21dN6jK5bU5TfAIYzf9UbYCSyhow6N6h9dSGj7boA/KwEAMuL6fULM9DBApIF5rHv9WOAuPOWl4
/01GjlZu9XrQ5cZ2cNb0LSMdHb9pbanCWhhw8srxqGg3PXhEpHGdiEyIKUbRfMfBp3F2uJEK/MfT
XhyBrMv0IQ07EzuCCu+65dJ9V/u4N7dNnSTFvdcIzdgDShPalZ7o6X+aiTNd4as1JZZP1Ei8L4Oj
V08YcUbf+VKI6Gn9jH6v1sb9nYPM9HYYahk/4xqcqjf81jF+Ty1IFl+jRInmW2wWQciGRu2U+2jI
nQKvoVTTUxTlW/t61Np2+BKPReHuJ8Urs8ADgnbnlRp+wsbsFXvq2bDbpAxhPHNrYf4MpQF+AG0L
20rt1re1pAH4m8ZNrr/WMqrH6mqIBSNvt87meO8kSaQdxyryHOnj2zFbB53aVNn0YOOiL8aUqOOz
bczaLzSLa+2GnpkG+HCsPIzAXT3Lt2hn47ZnwhzoXz/fiZRuq6PHoIQx1NIWMKlqOQan6QFA+UEn
5JWHCIeTug1qejnOrpTLgRdKWUJKsDj2zc51cvuYjeH4nxcRFr5UkG5cPy1lZyD+pIOQlbR3Omx3
i/hddQtxH5Vc5Nu8x+UvYDpdmduYAxEZDP7VEH+FZJx0P4+FXjywx4ckKHKAO3CfZ+AAoaGW5Zde
iYbqcUYTJt9ZLrj2rQohePFkKnAQCqJBVePbvnG01JeTOpcd7rdFMu7KEeHVOwXXW4TI0NRDC6od
0av+Zk6tOX+3Yf5brzoE+Xe3FShhdKbWtdduHGULY1w1JjcgHujZvTchYv07nkKvIhDZoMzupZ2V
2gH19m6bF7Oe7DyReU3DazKMOHAyI2t/MNpzgimrQohCovLkIZkxpcT8KrKm0J/CukZMZO5LtE5E
EoU7YEnpvaljAIlOcFGE6N7k0KKQep3q67hzymmXRJzuuzCLoDrwbmgshbGRHMK2UTruz9xq4Q+D
x+t8XR1nZ2fFcC3AGpj6YzMMxdXkiTEN0D7p1OupUNARV0jxH9F2xE/Rd5uRISdips2kBKJxZPKS
AkF8nZs87MDyICgflUGr1KLZ5JnM1Y1qxMqEyH6VWhsHaXslYLAhsHNsde46vzBK04XSbUz5XG3K
vuoH3xZlrD7AXgydnyDnlPkKRYIy30oBaQiBbs1LskcSF+vrWBdteqTxPG+UQkvcg4WP4c8my7Sn
qot67ZrXr06b2hmTV8n5ia5A7vCRE7zZamWDgqm+N9QkcUCslIYVVGNkvIbguC1fhF2MDUBk1Pu4
LebprYh7j5mvkjjTW+W1Bp9J08fsfkwFIJWsDsdj1LlgVnVV4iAZt8xlZZ8VV1Gpl2IzDVXEPg5j
gUmG6obY32aDVWQvhTKFP0ylksYDTBg8F8HRq2Jnt1V+ZQ0Y+RydOZliRPJdhK7sqi/jY2hA0df3
A+Aa5xo7hghNgyaWRlNv6P+k+XY2h2I6zrC4fpv8oZL55uwwlzNijQvX95JUtvsi4pq7imr8se3t
ZDatGSRJNSdvDiwME//dEHdKP7TzdrxBQyExD2IWaM4XWoocheK0w9VUATi7E4hbGDdzqOTaJpNJ
1TOVFmnkow46elu97PTsF/Oz3rvh77JIVkPAJVvVqSGA2VOUVZsohvK+7fFqhoEEONnzjbRtqx+9
VhvZtm1t1I5DBgE/e4CHLei5WUaPGEk0X02ttia/sEdj2k+DbpaBV4n4pgNAM91BsNZGGlDcLttM
aso1PQ2F5K/vyaFR+va8LvEnteh2QOSicaQBn4tXlRNd3iVD3r3Uhacr/5GDGYVv1CGsbEOJB80f
E1XDiFYkl6BHZ1c+ZHgCLePvhWoJWvA0ziZmp/dKDaZCSccsg7ARQgoC2mx3o59YraYFssPk8/lS
fF+Hd5ZdYMqL8Ayc+PUgAr0yBEDGyjrAX8uKR7eZG28KaIw0Pw1dCPveanoEyRcXG2WrdA1Amkrk
RDNzVKwZZrHkyLjpMP9noa1pYSFa9BLXFssT7X5WwvZ9GNo+HXw5DItwfKG5twCvan2T913Xpxea
y2ukE10zOg9UY/Rgl8pZXdXNJhVZOjJfB9jcRnLbYSSZXeud5jWbomkhD0KIjt+yonRfzMKqUQbM
ncr5ggiLQSUwMv24VYooVpfSRkP/omQAHT5RZCVihlKsGz6Ze25swXOX2rc2lcnBLCvNei7M1Pzm
WlKTvhZ7iHHbVZe7d59/rj84iL8TYaZukH/p06tgp5eB3+ku8STGkmFk9AcM6MZqlxUq2rw2lXSF
V8JDgnypt5Vml8S+F40hzjRq+72ZEKPG61bIA/JU301mO79VHWkTf8qn/sXs+l9uOOiXPMLOEgd+
KoK9uro0+bkYVl0gk4Fr4/wPZee1IzdyheEnIsAcbsnOPRpNzyiMdENoFRiLmcXw9P4o36jZwjRk
wPZCXi+bxQqn/vOHdhpO+ItM1eCPVUvccpRW9KLJJk4gnLlolh8ddRjL3ZIcmd9pat0uqUUJtDS2
YdHcer2aPd7oAsesUwfm+ZEmVretMXo3OME5csZIULve+T7LKr3+PpCWueeAFdNvvsEeeNWuIo3P
PsHzSFXYF1VZwrfncnF2SLdyH3XKKDWQUeKeFB0oZPIbKGozHGREq0in+sZD5SHbGV5nm+fyA4pP
NA1RYRWL1xmhO9D0OHxs/qp6bHJ6VHfeYblbXL0C4NZy7/8/5A0KcD3FeqLcMssY3VPUusOxoiB6
Dw7vPTSIbH/2zaAQipFhVvD2yN0+FRAWTPh3BgTKgNW69QxUW3oP/FvlTmrtm5TAv0OJQ737FJEV
FH/IEP24D7DM9Ht95t8z8fqN+WJMU16DqyXE2us3LjJ8YonfE+c2U70Hl/zRctdlxH9dEtqiT0pd
D5Wf1gZSWa2tLP19jHbB2mHWhmgla0JVHvh4yeOUprLBxaFurHw/4lbwin1d3m8w91LSgPtN8avl
HY1dlYWV9/XtAbyZeYtUCBAKn3uu8dqaQRW1bdzreEacHLvfTV4SfRusDhOqPLeeOAujLdno/Xvc
IKyfE4y9O+rO3yzL6zFcQmVhQmK8y2Gylu3rMqmKeZyzs5yNWtvEXjQ85F0NwXug9BCbMUHg7Y9G
bNYvDnBpzclvtU+6XPIIwirDA8aIrDLa6g4FbhjIWYTiP2yHknewq91yl81cOYNyLJ129GO4aco2
Z49uJt/sXb17GrzYephINMaLHjMsZSvVChNNv4gr84eJuR430ZE0oV3UaXa3JeImjs50rDz93E86
MtypzSrlS9VxVU6PpjHY5JJyaKoxJmxdXvlqHLbq/u2PdkPzW+yF2NoMkF40sfzXauoNswcwpqbn
wY7G2Te8qTtp7Tw8gqCXe3CA9OzRG/dVLfqBCkM7GXnffXv7R6xnzpK5wiUeG0/UHbCXVr/BKyt8
t+1engk7ddBMhdQiPmtcS0/09MA2DSMlE8vUmsHYKRgFJGczKdV8988/g464iWsMGwEU5VUDcZzn
QXPzuDtnzkSI62A7Y9DjfokYTY/xS45d/MitKFPeyRHL7Enm5Z1JvCa8E7ND9xKeKXQTkiJuONmN
FwPJJXF9HsI5cvdx53XEcUq3cY9z10NwxdlD1g9csZr/zLrDnl3YZvmIpKtvZp8kOedU51E0BJXs
lHbXNwmy+Ear7YzAK1WfuoMr1T7dpTJvH0r8ZMdvId/YO8mhdM+FGYajr0BqPbVe1Axcjpq6sndW
Pyv7UMn6Yvv2iK+Bcl6XLvzyooufJe98PfkGYgXnSHHKM+Zz30fyn+QmjbPPeJxW9+xibnriy7PA
DyAY8H3p+62elaadmyfc74iAVr6PWgYlPMxFYm1lPSX7qgcb9cnudcpdg9r/I84FuBgkov8CIieP
cOLurr11dcBGj0fPwqCGdUKJsjpxJgDNoZnS5qzAfMXStJMRGStZ3QUq5k99oLfJfE/H+ptp8Oc2
uTx0kQvjULdsHutym+3EVse668/JQh04k0xSGQdZ6i1ph1mnSx+XPCGTc4s4UXmZbJFX72tTnTfZ
lHf56xwDUL16AB3vk9hTom3h5c05pZLVGz/TYdE+kJKMrgdfXgrR2Y4c4l+yLLW/SNIkOK6MIhms
xwYgbbggGeC85UrbvSpmmSjprhaCUD8p2aXBbMzRfVQtFM135t0NpsQoQLFCsw5VaWFwriZDNYSK
WSCePdPe6x6n2FIjKCdtlR80mpOu34V4420aqyWep+i76juikxE3wjTFPNttmZ+nJcFwk8D1SIIq
teNPeRWV02GcNSXdVJNuHKUV9s2dImXNDl9yuNB7c8NAFLN05fTrFdMV9P5J62nOjsPkfd+WHOrv
khhgWMMmNz/XmWY9qnNjhYt5qBW/V6SZtUGPtHbEqiZLnM9vL+G/rCvoLADFMHhoOoMVX/8iHdtZ
F7f4kV3TqM6jLWFPkur3pGnl+75246dh8MInynv92FgWIZdqNRo4iHjm+DlqoEveGaK/rKoltG6h
mywk5DW7Z4xFOGDfYpzxGImAeggf9ol2nfdmTat/VulA33nizRkK0XJhzNImZWNZciSuh6DsZa6F
itqdjUFGTTBUToGzToe914aPKSp8mcxBb5+1lL9p65YgrNhUuQvdJssN684XuR0AXp8fgQUlhgQ3
v2YgNThSK7s5W61jJ1h80P/aqJEp7f+caEjw7iqFqRzfngbLgvljW6FCgGsEX3hZUeT6/g6x/rNh
pzsjmyXmU7gVlmhgpn7+oEx1Z1FRJM09l+i/PI0ujLNIjVmgN7L43NIKtgZnkQRoc7HFLkUl7UH3
+pMh8vTX26+2annyahpSCLjltHNZdL8XwB+vlk22xDhkNrdzN2OFVNAWoSOpGHeA7tt3YurAf+EO
gl8clOrrSVSh13ZCiPXbRJTz8E5qrR1/Hnr62Qck4mF4B3dZX+SX9g6XDpzills8iprVRX5SZdyH
VmpfCL+0tDQoZ6/NuB322O34IzvfsB8wrImOQqMGa4JCn3pJ6GuY/6csbJctTR7iNcKBmSW3wpzb
mQjpIprpn5pVZG9sspOq1Hfx0ta1e2XrsqT+mG/8enr5+DPTE8Nzlc739WhNEvjaMWf70nq2eKIj
5aXgiKYnfHCSd1hoia9KP2NEGmLKcaiKMn9GBT+8VqaetneqtuXLrH4LP4FSHnEFgMiaeNZPqkXi
uBk/F5FD9EFkkoOOEEr7OjSx8xKPowPg6OV3iCCrZc4ILGoO/sWKozGybosQwEaNMEh5cYci/BHi
7/shVNx5/k8panz/sOwepoe3V8L69Pn/M3HagKTMQoCrcT3qhYBYAzqvXia+jXesMPgqzpVZFq7w
izDXXYB/kdn7sI1E2W4x4M2rLwon/byZvCFqtgDzqrxnV7+6Piy/CuqYt2x2KDKIA7j+VdVshjm+
yeNFzeZt55DYGjA5joOemlYwVmSnhqPJTgQAXhiHGA5UE9wZmOVq8McUYPfDPJtz2V0cUJZr1PVP
yJwu6bIp1C5FrUWJr1cysfcNduvKqzGE6tPcFUOxTRrZyKCNpzb+GMIFEacCMYJKNnZM3rQPrdwS
G1K/uF/faR//7k9f/0A2CpBdmsdc0fmh1z+wKRviLNXOhnFQa3N6Qm/hkRUo6hgfrCEmUePBbCY5
HoHZvbjwtX52tCBtyNm5qCjT5Q75XUbPCR6VyRFXGHnxohdG1J7DYSyO5GMMw68GQghWa7UC8g93
bxDtTqQR5liE8KQacF8R6gQsYZPbvYhRxB1d/KlK3E1eVYrbbfRI0Q7kWlnDbtQmT7wPPexrdooX
YY/XV66cLm7d2IAhShd320ZSC23THB/qU4nCtwn6fh4+WLJLjG0uu7DXsd6YiLakQa+TCpTpEf3n
XEkH+6lox8naFFMN9mXHYdUf9DHBcn3OVOWZX5W/gjnR1h/4oHlg5UNChaxmkzj19fgIT98UT2FZ
2O09+Gu9yphMuA9wJaLYW/yq1jeVSinhxZmddhnqQT4UXijAGyYcjYiMxJavIBpN32SkYQ07XAcJ
jhqHmq56vHTUVG+6QwVYoaj8GlRxNF2o7NBAamtJFwk9+AeUZv3czeH7oR3jA0kYZTDkLUBHEWa/
XLMID5oMyzu7zV8fDC4JJsYSZz+5nrIEJlV6VlTN8+iZ8YFWmfCdAlIdfyyeUndSXltuDMJv7Ewc
7qznZcu4Xi5Q43nlRQ7o4NCwWi4xXviJOk7xczU4sbdpa+LswY9hyBIxYmeB3ZEJ8CGRmhPMGEc/
E6RlfM699F4Qwe0YQC7kC+iQGQHX1mx9hUZpk5ZK/9w7zHQz1HRfy8X0ILAF2qtmnXxDVBwHeWf/
YwQvn33Rny/8NbBz+M2rHQ0hMY1VUSoXVwtHEj8sGU8PmFOk5gba4IQMtJMaZhyld3cz/f1W16PP
u9qLbo9KHlRodcyoCZy8xmvzZwTiTg1YbdT5cnuZVC0HllkYjxiCctbP3qhWfozF5PwyjhbXrW7y
jDQmBoOUi4dBkTQVuAwN4UVnuxt/jdCYpvTnhExxeDdBTaGTmQpM8rtI98pgxMgvfxirPq59N870
ybercYzpJjYaTeqsaM7lEJVik7eswm0nadMIN0V5TeTOiNaRBj9stESLqo3uhLJ5F86xme1Aa0u5
A1JR0hRH7axvP1CYlU+2Mc1fQ3bA8GKVdU2+BWSPYgvbevYQQxCRvW+dxKyDubO7JY24V53vc4eA
IYjgI4UnjHFzNgdMzfj/GnFqP4VuJB6KlMbrfhKehaW7juMhQ8WAdaemq1tnUwGW9huMPF1Y/y1u
Dj7+0079Aok9bZ+K0O3EeRit1AgwmXHpppaWDElkiAuR0A0exZjtnGZ0n9GHOKXvxGHzOYPUwCUU
Yfb4xbKF9XW5z7tQzvr2CcpNYe/7RIqUNmcTiyAe5NBAYVWHgysKZfg0mFNzyBLsk4jVMBrlAX+k
guKxItN2a5NzS5+CRBZoHIGntWb6oxnoqhLNUOoQYKKpNuuv7hA59tMiV5qfIDsr2hFCoNXGweQ5
EUaDkpB3qjhjrg/1UKjvUnbgtN7Nw9yYJO/2HG+zM7Gkx5LAly+NTcrLAwLQ/KyRwWD/RG3mPhWD
GD7p5TS6vg6BodhERVl5G11AelAldhWbOY+8A3wkLkmBiuM1pIU4hrOAYMw9xXjzTntrcMuvJQHM
uj+4c/qZa2XubSZlofHYuVHUgT5HEB32MPbU9LVE7+7tq7mqpoAWLZy6pnRbD9GKFYdBM+FV328t
s/Hy42SMuXp0tUL+V+ciyjakFZTVxKYp3Y8tF0/joY9E7yAsi5XaL+NOOuJQE4GYBmwI8qw5wjFf
uknDhV2dwOySjSk8e3rPRMjFt5YEv/AxHPVyOCoWHpvYjCpptXd6pRNQDgdsH0EZOusDApRIPsy1
arW+HGP9+zxPGYtrqDz1TOaga2E5WyZ17IexFPl2LM1qL/CE0D4osGnmaGcncXuE8FSQ3bwUNVRU
wlE/jkrl0lfU7CpEQxNaeHe6MDrEI2bWQ6VsrRj0Fn/LrL1IspLzJ33uJ8vvM6GEd7jvq8qfTRJh
Cz1zinDwO9C86yMKji8sEDvpniG96BsIcO42rWL1YVLLGI+QPjtV9Cz+9UBm0S33esSrC3q6tngE
nIa9gXbrOctptAiRJx/c1C2/e04LSF2ynrUzSHb4vui85h4P8fZAsixUrNw46C+C9qxqbUF2sDHH
hnVhMs+a5vfu2BvCt1mgaD4T29zH4STkI6xBtFybNsmS+N8PZ8zFNLiQOG4sStDV4Wy3Yk6xtU2e
ixE7WL/JceFr6UsdTVGHL4YkpdQypuRgd7NzGfGo3Spdoty5ga6uX8unR9DFAQVpnbPZWyGII37H
uaeV4jm3BE5bAb4NGPKyvjCsi6CxqkdLa2znzkXjb0/FYYSKCJCAtvLq1XMccGoTc9hnR1XjC9bs
8c+OjKwD3Pr8vdrSZ7mHba0u2r/fE9rrQsznMEEbdz3FZYVkrDaK8plcrqI4KMWYjVvoXqbf1GXp
bIibdt3HqR4+FZGS7ukrE/ISU829a9DxPL1dl93OPhtPJRgWUM91QJllPf4BxVS4fWBqqVXPA8Eo
X9uuqh/EFFrBQDv9nNHAGQMRsSuQyNXfWXV/WerUJKj+gRVQfN3UQw6ndD7W5bPRt+mj7A11Mw5W
/20EXPaJ4uBum3bp89vve/u5sSAHfsLbgKlurnvSuVYTOjJV6bPs4WFWScopqAylyPwxqXa0imAY
vv3E3++xqr0MEodxDVmitW8W+GA3VAttSQgY0VuaXygYgAex7cbyEHGyaoifrXw3GxWtuK42C4X9
O4y97jO7gVI9EHawnMddVNannlCL9BGMgkM5DPX5hV8OeZ7NRcwYUJeT4f2YHOIhMz+b8HjH50dM
Ruv3SUMtt3n7xW6mDuYCECPYpJdQYbik11MHiUkJj0GmL8LBZHvjtVZ9UKA87jUcnw9YYpNh5AAR
QRssnPrOqK4QCibrgumxa1FR0N8zlu/8x7wlhmLAAKjKX0wrHnatojJlqJTQ1+Z1UDQyO5B4Z7w3
YCSelCTVXt5+9zVGvzx/gcr4T1rjaG1Wz3cQg8NWbtRnVstgBEpKgB8ltLR+jp5MLuBWpl/PqtPu
09ouPvRVnOc+DmDORwgGxNaqwvr09k+6WU7sXQ5nH2jEIqAyVyU+SeOwIHOUxGmW5M8kjCsH0hbm
EFq3aR1SLLoe5Nzc82C4WU/EEbN0yR1bQonBP6+/wwyRPAQJN5/rkHSz8yQN8RDWAjJ5WXvZYYCo
+v3t91yhuow8TmnL8NJ6hAC07nDGGO+7WDJPz/2oiA9trZTPTqKl+zinun77UbdDCtYP9R57Cw5m
+ifXLxdFMSTiwYteKkzuP5eD/mVIXPtccL0Xfh/22dZWqvRfL+lUsQhUuaQiJcc4Z/UdG5p8sNzq
8DlpjejMnc0NVK0uKfNC69GuHedcF5R9Pitb3gFAb4eWJyPWp7ELIMbsvn7fWR/LMcv7+KUEmzkg
tYILq8kmeh82aNTunIM0dPjHXW2MuIczXWFX0T5e5u7140omM3eoxHmm/KgJdBjwSaHamjMxoLIU
ZvtTdRDsf5hR1pIZF2kC2JESPCVChfg0Msg4ZGO/7Qii2dl6pfzAZT9Ldm2SiKfB9US4M+CBNKTL
pQkEX1Cm+FS7WYupOmE+neu3fRe3dOrjsN50DunBODIhyzgOg1b2T1TjWv9dw1kxf8wst1a5ZWWm
Nr7vls633+FHaB76oS0SWjJO/akSifhYp3mcw4JL7AUql9G8jXq1/q6xIWSb0k6bCCPn1pC+zS79
2DY9whYKaxUyUVw0P93WnATu/W3VvbO6VvmSwnHuHyFAtp/iplRe3aJvv+ezZqRblFfzk22J0Awi
GVvdg2r01jNeZfN3CMNcPkVDDEImJ88OEPmUWMnretj7+RTF7wYDi3t/UPMpPXUiLZ/7EM/MY1G0
s7Up6UwElZfAaItoPhV+35HKFZieO4itao9zdHCmSQ0UF1Xqp3rUFG/fR231i0DfjFWRI1Pd5646
4GHOzV352eiyLp8gcKcbyspy3JF5WqrnEJjlIUqNXPEBdrtf/BvqOkXm8N2z5WBsTXLeCh/QRn5U
hqnWP5PMWZyalnPhhEjLcMl2Cvt0M8VaT1ROX5dbFFz4AQDgtRK6M9xuv4JxTeHMn9sbogosaMJ6
Vpb245RHM91TlT7Xk8ttady5ajk1DybYRfLRalNRb0Jue2PQapGRH8aRWs2PY3JMcVMurUNTFkKD
X49sgdSWPjX3ViJE/66ewE4Ce+40Sb5FnYUnzKKkLrezHpI9GXDf8qqvQoeL41t1VHzqEbBlGwLg
+r3EnNB4GcuFTmHoeQO1hFI09qlPJ8OPdY8LKs5a87hJytJ9Bbz37O91A0N2g7lI97GOTC8NOj11
0rOl2UW5mTptMh8EbtblER5+8o1UDYWk0ihRuMpLo5flRpLF/D3imPocQdv7KvJCEIyhVsUOEpZn
PaZJ5OL0jtBjW4dD6LwCf5fVBuhucvxZr1CoOcz/2E8QVSWox3rrB5t/11564kweewVy6AaWMU2D
ns2txxK6oyuWlIb2miN7U59IYbbDyXcS2352Q0B/uGYCxKmRnnrgMsguAiaQDXXvp11cT9s2I733
vdmQ47LzujhyPpJyZ3qdT/osjrn81ElNN7aghRRYsVIYu1EOeemHuBnij5ww2Vg3mRi3jtPyi+CG
GNa7NG6616YY+u8L6e1HrjG5g4FPOz600mu/FlhgJQ9FKNPyOE4kRVrzZNu+maSjc8xaYQkyZUJF
Uo0VyavVF634ETZuZwIJ9Lod6H2qf69Rs4aHrOq9ws8FlfdmqCZoHVpMX/AICzu3ADcGYV5g41d2
kBnN0H0P20lmJ0nOyfyS9lauHUjDwbOKfpaSkVYyCsvXuwolBfMR/YPLaXHA3mqkvVg2GSYZscxw
MEqSKlBhyMsN1CkyQbDEjOKNKt3QPCpxn0YnxwkLkxHU04mYHqGHIHh5om26sDEfnXl0JuxCSytJ
dpSrNkChmVevKIUJwOqtEE2pjx7AmLHUMg2CCFM93hUUENbHzgj7/p0MgdMCobkF2bmC1DJCcnX7
0xDWiMBCs2ne9Yxqb23wYRyzM5mB2rzTJSCFbypaKnajZeFP2eq0ETITDXIAxz21ydaEHoFxYhqb
djDWGY5TWpkprV8g9dvyD9DrvY0G9meGT/nPGd/Rj4amtf1Benygx7CbnBEJhTq3mOWURBAVjtV+
qyQE10ekL46klmpyPZiMyohPU6cq2OfEXT46GwRgpb5XEJC5lxh/5V/l4KWK7+Sl8lNBqC8RMXhW
va2N0LnnfaPdFsOu40AjpwBcFOyWcX2QOlVFmqst6xc3iuPx2A6Fe4xr7AU2GaYkHWlsVWv/ijIv
eQ/YpShIEFmNWqE2tJ966H9bRP2ZFeQJM2lr1ab4qTlNAw48hFUXWB6Jlfs0aYYHZyKi+p+rLIQb
S/lIsQPVYe2aGtkOLCEtbl4EFmMV51Xvbcdcc/0lj0nZmnYsN0keNfe8vW9HjYIVNjmgPE3Gm6aQ
16gKA9dVLwaqQo52rynFvutdSPTz2MXsuF036EEip+F1yPp68Ic5i+458t4W0JTO+sKhQ+NHh2D1
7WqA2HwotfJlRg/yX81zYT/FA/K0uFQCZFXq8V+LWgTV3PZBLhZ68ZpaYxqDyWhOxjNsgOiBSPC0
2qimWzyN1tQ+S0iJiJvL/p7l+O178ljoMzZQG7LfdSbl3LRCb6PBeB5ij9JtjuMdR4r7mOWzeLTt
8uXf35K7EJAwHlS3l27orVNh6K3xDA+y/UrAkOWrKbFqI+ShKeitoj3UtZr/K5pCD59UBw8gbbE5
WzvSlRW0pVTG+YtFhEvqR1hk7xC7yffoczvE81Ol+B3dNXSDrXvPred2PsNigzkGRwuo4YZ+kpCf
B3Im3ed+qFBRwWKFoq17SdAYVtxu+sxMDi05hkZQoUT6PAyhfg/b+stPgAWJIwSXwsVNYw3h0U0Y
ZZ8VL92YLQlJGQ6Lg1YYjh/VXkWLfC78SB2c18JTPImBgCXvuCncTjO2Qtp6+Byoi3n36vYEkkuG
W+20L1xzjD1NxaHDqEkzT2aUFs+t3hQf355oNw/0Fs6pw0cndwpYaQXf1mqbKtC59RetN5N39YBC
kXw660Rnpz6hDrnng76mxlHOLVRFbM4WyA60fHXjdkpcXdFfhi9WWTQ1HSS746DyII74vaKQuzWU
if1xmF3ng2n3UN11YyjfKxAK7xmn3IIgy0/hvdlEWNdIFFbnjoXOsU5l+GIWPalU+EM/ui5ZHAkz
EV1FXiQ7XSuUzRCp4Zd8CTxJtMb4Gk+99ly5M3YSb3+Lv/wgDJs5SzgMFyqPs7pRTgZtIJf97YOG
Q8KDSivkS59jNxgkRFzHeGS1CRmDNmhfps/TKYo0LiSZx2qw9Er9r5PVPZuymxWBLZK1WNP+/lZ0
YK+HKAs9r260OKcDozajj9O2+61r8+GrGc/WA5vF62S1xgG5vnrMktKq7gzJenriQwhhltb7MlXQ
z60+kTfpoZX3eXNR6qSKT0hamvzJqQq3PaDzwrIWq0IUgW9/hzVuwkNZFUj2kD7SV1nb4xZRkYg0
d92nDIONH13HrXnf8qf6Xlc5A7b2KJp+Zwyibu5s+2tMkv0PWys4Y3B6QejXG5DaN1DWFIB8aCze
f2En7HdVOWvmNtW9wdtac6p8ybF4MIPWbqf4+PZ73/BMFqIm3AYMcfiLhdxx/bVh7DUNCuvoUhYE
zY26ghS3mEUVGG2efUGF1e09M1IuXonN7YjPx8eql7PvUoDfw65u9gl+y2J5iccmvOkF6r7+LUpN
DCBch/yiiWQ6LWZ5W25R6SHEVOpsaFFj+73nRSF2JK3Yh+6cfZLNHBqHO2OyPOdPlIfHA9J6OCxx
LKGjW50JOJcb/QBYfJmkWhybaRKPZjM63AOhKH1v8LL75phj+2IQs/ATgDJCb2zd2aRvp4UNrgWT
mD0TcG7NZyMSEJORXFqXXtLiDOyiT0t0Eab6sVE7c9rEhCn3gYlMyfZJ4en17duDcLsgOAwRd2Kj
gBwAUu/1t+gxNk3HWh0v2G+IS0b++m52ei8gIanc54T0HBmie3X1MrDXAw+DEltKlbgrJHBrfD5U
LENWIuovbTf3HvHIhVf5Q24pR5CddP/2G97sMzyGsaX4geDCEljtcwmsgaYWmnZx1byPfAwlwCpE
G/5KRjXcRYbp3rk1rDfW5b1MKB0wxgzaD/rqga0YW0LRoHSZM6niIwnV7+x4TKZHaBfyyDzOPtHJ
trZguA4rbM5j985H/dsrs6tT6MBWR2yzWmBmOWllo9bqhZxI7BzAvOT0GPUYnodFQlByTgsvv9Me
v5nIvDUEfkYP/w6dK9/1RErgl4g2m9SLFRG7EFjd3B6AVnozUF3pGA+gSITQiDAUgVmG8Y+3P/Jf
xnw5S9jSAVsorFdvbHc1a6ZojAtnWtn5yO2az9Vi5Jt1mAwdOL3SfRGDUiEZcIIQkdvx7R9wM6WJ
91kadzhwsorhWl+/Ps2GSp0UXb/M9H+6jZlUinnMNFzbGi+M7qUy/L4KXa0gMGtNZePSee1FTnf9
uDYusJ5CoHkpUlz/NnUtLXQGXWkOD1ARunJPnCduHyKMCWoYExtaZmllo/IfZBLDALGW0jj0BTyz
KPESbGk9meeGL80Y8lJQm1Urzl07qZWDS6gV7+iVkfNXpha3pMohVLHS23iLohs3G3+2YbTmAVdV
2LiyjYHEk6qSeG+MbmJtRmsp+juP6M9Ejml3pzWgLffQ9VhQU+OvuxQ0XG9WYyGTrqSbZF/yaQRy
kuUlxYDKRNeDL1fZh5TzcZI75z6pym07dsPerOziW+/G0yvmMXIPd1S996NuzhZ0MgtzY5mNpAOt
e16xqUuLPPj5ohWA3ftEiRrvAcWU6LUgdwtlz4BXoIw4T3jbqtOFQowIdj7PqVYV99webjZ5fgwu
ePCBuRCQWbnakeC+xc08lvNF14s4xx8lJgh1GicZOFplbZE5D36ahcbm7TXxt8eidF6yAah53HXN
gUjKwe+l1C4ORivWUbEbG656GYNa13UllYcWWtSurbvuTqPqL4uR84xdYDnRuHEu//sfLdixQcMJ
r0+9QEbLftmNO2/iRtEl5CFPre+85VrHudysYC/yQO63VPbr0wzcqPDmWaqXEM3IlwiOUB/03MsK
gL483sAUmNMz9P1hE/eVo2/raKBhoRVpc9TgGD+4jTNJIsJV+1XqmaH7tTLbjj9Gjbpp7C6dtgO5
jPZLD0E7DnCnSZwNXkb1IUHNLP0yqwpvYw5JjnikkQv3XZu6xMep0xP35E+rkYWQoaOWJ2cLsTP3
+N943x8jq6ZuDMDJseYIaAU7Z2J0dtII23dSsct7wX1/exp9fEaQnd3h21x/xy71ROmlocKFwE27
d5Nah35n1k38iBf8HUX77bOspQ4kwGtBSm6UPw4uczmQv3fE/Kv9Powi3PZzM1MrOJP69PbCuH0W
oB5DyAaNhIGLyPV7iShX3MgZ4pOLKKf05Yh9kqGkXbPp4L3fQxNX1cBCoiGHiZn5+3jEu//6aXk4
Sxu6aHiscs885N7UPqnpVG8ovVw0a6K9s/r+8jyUWsgEqTwY0vVRiNGQSkxSbB85byRWu7DIpVpG
ld/VGPal9ED/Ealc3pAnAqnAntEhfKzeUKMjO879bB2L2vqUuLX2pDZaeyq7cQggBMs7FeWq2Pj/
4xhPOu8WYVprhkWGr1jIS1rHrFFgl8y26SuWWm6NPtP8UFWmQyK6eRP1WIuHniF2b8+e9V3u9/O5
QDK8cBGJJVkhSQJTFkfpcvdIWyL+EuPrdo6gx30hdFR8QYLVHazS0zMMBQr3QWDatQ/p6p/EbKp3
fsqq6Pv/L2HX46gDXOO0u55aliEILQHsPBZj426Qjk/fWw+3r8YS/ftU63A/qjB3OtDvyH6+PQp/
WUOLMSk3eexeFr789aNndv6WyDf7qDipd+pAdrcJNoUvTlnL728/6m8TGgCNSaYafPa1R4nwQtjh
A4+qCrPa4YpSbojFogsw9MPenvA4e/t5q3Pz96h6rse4gs1wcC+v/ucm66bIbyaN6Ux31PCHOm3P
LghuoLUqCv8pTLOAUb2nN759TUSdi8CSzYlj7Hed9cdje5KF1QL11NHBLvBVag1Uz7mHi2+0auAW
rXbn4Lx9TWz+fuOTECwAPc3r1/TmxLSxFEM8nZu0+oZE3yD+gF8bFqGFn3SUPyk9WvU717PbicNj
KUkAo3lTHOauHxsVobrsuibboUz2WlRbR7elow0IZF/+9UPibLPoO6HuwhleLw9CMEP894V5xKRF
/dUitvxMVJLp0Pe3sW3jFJrfAcaW47+OLJdOHS0FJSiL8sbbHVdHPMSA9Y92XMTvah3RdlDg8P7Q
iUl7IJhqDBrXTg5vv+3N/Fmeujj4AuktmMpqM3CgZLeil+4R+ozzBKJEDa7TvP8GmabEDzQz3TtP
vPmUmPGjXTF57mJx4KwWykiXJnRHTEkxy9MDYAQRH5KJpIs4r9TyzsMQ3DMz/rhosC6vP+dyEflj
gZD6DhMeu7gTF8HhWRCaIY9VY8so0EQ9oBlqvMzzzbBrrMeyFMC2joDVXrM5dUe1kGN4NjAwwzJG
6sPMJRX6SwP7H1nSjjs1WWdtkYppK6yueXYKvfzmVpb5JUodY9gY6qR+4AAfW4QaEclQrhUN2jHB
xqZ/Ug38a7azDEX9WW9txKCDUBr3SaJgybeomioiZqa6aDYTth/66yJ5koGJ9sM8zXrp5DsYKipc
i6aa5acWabTxwgGntf7/KDuP5biVbIt+ESLgzRRA+aJIGVJmgpChEgmfQMJ+/Vt13+SKvCFGdw86
oh1YMJknz9l7bVVLC/xpDxwibsoqe2zd5tYtbZjA71rQoE8NWAKB/kGO7zoHWmRi8YPf4Ym0ugc3
84OTUSwLAh/pV8EO0qr6CDXN/x7YdfBRuxniHWoIAz2ecH7j121/mN40GMkm7aaNDReJJFFYBeN+
zWz7xJ/p6j3Vfal2RWvJ8SzGAe7AVtv+u9CvZXjsMRXeB9IUH260gq8NBeNXrCCrGQfYJs4F6pw8
ceh5tYlowrB+tKymnOK5nN0vDtPcPG4sa1M7gEvaOYRjs1zGejF+9qix7d1sKM9K0WPoOeZ/N16I
yQnvZg55wASntuouMlijDF106Ux3wRQp0M1Drf27MOvaIiFQ2cgeOj+3ARriTcSt0xjdx1H1IjvU
U5nf9Qyn+tjEDvOzFB6t+Aad1a4JhfGzAIYr49B2qq/ili5w41339HkMuJf51avqqnqA9usaP0pH
beehFmH0Y47KutjjylB1Ok3GhJ9PdUt0BtBvXlGR0hsY1lXVsUCKVewib7XUfQN1q4xru6vcveW3
7LC9acEIypHJ3wtsnB7k7EnJZAOUXB4AVQxLIkNYdj87ayq6O1zQatgp8t/93wOAqDzxtqmACVVr
B+WZU3u/O1rh1YF1o78CeUTwHMNst7z7zFs6GKD+Rl5OUM1l6m5NNj6ZVb+sVuJiibpqOt3DiJXJ
UvOSuutiPNcq2t67Ya+37yPKqLXZwQqtf3SAN/VXe82M792s+XqU16McjLsMhEZS0IFkfM8EgrRp
0fZjq8lrz03xUQFibdLSWKfqEsC0Y7xe+uZasmrL0kz0tg1oMfKyND7yNU79h8puAeUFlrl82vKh
D35CWDGgWG4TQQmls+BWi9nA888lHOAcFTTKoJiX2ftpMvBUx0rP/ZWI+vpGkBD2R+1Pm3MkT2J4
KPrRCs7+YHQqaeVaPfdKKhfSW6eMHd1pNfG3DZX+vJTRrEGpyRpGmM5rHLcerB/RtrM6NpsVbUjC
XCy1MA70eqlG5Q6/SM6Vw6/JcLvuIS87QtuTycomgMGa3k/i1mN/agDrkrS7TvMatxha69iIZjRM
mTa87koug1vdl/NSlfHgOOuv0c+iJa0ky3Y8zKs04mkoiEblztrDQ0YUVZha0rM+9/3cPEjP8MO9
6BG6keyFeIfjc4nZE8rA+LHxaU4DO8J7GOfdMIo7ukoLwNBAN8XVcgB+PvP65+GlFGZwF4o262If
eml0QoYjHpt8s/wYLDT/hciZUZwHvrgBvHlV9i5fzLl3aUbENNDsS21UpBjWja7qZCCmHpwnfBNE
fFqZT1G9GX06Q36egN0uI9GUgaxPodPTUdNF1ZLGum1BkNA8s92D2rrQvSol/G9NvYT3rokyNB3c
cWT+XLlTsQtAl4c/+rlYcN3dQLLJMiHhSjCClkCF/QVyfB+oQew7rx8F7bdezokI14keATGhzway
m98zFrQfi2/mn/zeUV5yO+OSHmhFy69pLFh9iDVbL4UW+YfNb30vnqKZhaPK8+jJMCYHYGVuFupQ
F952gnO/Eo2UtdnnRVQKfU44ym8LQWx3gUIwmRpbN97ldhmKJEcINe3C0VhOUTS0XyoDc2s8r3YX
xKE29JNAjvCbvgt5Q60/KLXLMArRG1kC+at0DcSpfRu00a3tWLEIRU1l5IdugrG+dZaODoyIqjXV
/WRYRJKZPKRtgN+NkCiUCdXW+t6mkZ2jSfXG6j7Ky+VJO6J6X0ikjBjJfdXeuwUG9feOa0TrTaIl
suG0FI34rVd3Wne9U6ryfbVs3mXVM914w1ibb12ml69mrrxybzZ9ZO8ZvvbX/DZmZkqBHGtYS9+K
59FXsPTxyosDPnv/GjSWYcfB0jafqkEYz1nQWuoE/XieaXhhSojdwSg5fEMeS9D3+nUCEqut9qoV
nJQz3YGSmbM16I7OxM2FgypJPQAHCoIdH+jd5M3Mz7POBNqhvOjsl2wQZDy5RX3qMzUPJ4fTn97R
chpNfIORQTOoIMUhqYpBXR0JEJ0QA6x2KDRpKSXeQBZIjKnNm++8tqjvZw7aKi3MZsAbMdQufH7H
l9cqEhESVBzwztUd2+xX0Wc3Hn6YSz8GZqsLjBzO8CGs3WDicCSrYsfhf3weEbV81Y5q3B0DV33k
VGsSDF8znsUK6JXva4kbP15Ls5piC+pYgQCFh3WQ8zR+KBmOAJVBMHS/tl1AncXM5itpD8F231Ru
OMdeMQUlkukG2NQyUMKw4zRtm9wSJQziCiwdsAxF1s/Alc2cLNus77QR9t8NxB7l1THn4dmq6SnF
mHmH+qMJUkbwTJvwswMWZUisuZ6eC8NaytMYKas52lhxQfn1jRMlHSrVIB5sUIchyMHiEubD/CtA
D476wVeefrJaXXY7MfQmIc1V7VhHX0LWR/i9ru2ddC1tH+QW6g8e6kbJD+RcmA5OBouA8Jc+o4cC
eHMdO7875z2QvFhTBzvPC8k78oBQAW0uMsxpF7UDQtfWL6fnif1E79twuZmjxCLcO6+cfRPadyC+
RO4w97HylV2graI8STwBaCO2Jxgxp6WFoHAwzBDpbI84HMAxaRtujPwta45VOec7I0JHeaiCwXmC
Xbe1OyzyPW3JcaUui6Jt/ajksECzXigjdzScfRpP1Gmok43FC451FJUfDGlgKRKI5cOk24LwASa9
tcJRt6y7LnJacR6wQy2xs1pueRxLET7nEcrXODL6yd/XS1O0SZ0jjmd/De0+RbDKU4/avNFnYAv1
lDKAa/LPCq5QH7fZaB3MZiOmFg50TyoRanN+z0qcD05/36rvMrjT2UF1oJ2Q/mayOJWZsPkQZ2uZ
YzqPLZz+VfoItGsjbz/4cHTmc85LD9a8URn07NzoCdwU1phiEm5/tdIrP0DGphT0sNCF59lefET5
FR9AidrhYlY+TwgOK81eqtMRAHUkDPD1oE+32Gs2SrpKFZBYXYZnJJgGIy996ksMBreXGgCBBf9v
17hhbn6UsCqth2gDdhejhZcqNiM9Qy4E3HOzyy1humxDee+DCe8vkNd0OqwsHIAWWs33O3RICz95
eoyGNMw7/oJg8+rHBl2z88nsrGxGXNpoPgB0wtEeBXXLgMkZcuvE6X4EeY+TWi/39gz88mR7GNJj
LL91zgKed3Awp34mQcA2+y7JPJyESFht1MsxNvzhcwvxvafTEU4itaaqaPcVc6ZoN6jReF8Sw+18
C3P+n+NO2n2GiUH5Rtr1VmU86A5WJHpQFJopcSdclrC0ur0b2mWgTKkr44MCsvQpxDItL54aNVwH
owoORq9Zv/FWyyUpDd20V5t5aXly3cl0YitqeXKtNa94HOgK4cBudDffuUNNOUOjsTCggJaUXp5Q
TfARjYvxNcCzk33DLNK/03DI9MEYlBm+MVv6r74J02X6UDSROQG/aGBAZmmGUQv3JKbhvE2V/mhb
yk6y0XD3Zr3+HibDfqPj+U9T5OXR1+eczWiTeT2s5T+PvjNKRmUwgjsxfw2Kq4Oe3UmxwedBOkA2
lLcpBJMHtLLKPmc5y1DczZN9LD2DMMBRA0JPyPaOHkuR32JiWMKDmH6uJPiGfi2eYpFfzT4fe7gw
0v9EcIDbXBe0IT9psDV7wojXnHiNkoensSEY6TiNcDmJANDOhy4opH2xl7lertARyhtmvpq4GUNZ
JJXZNvchDAL0dkYPqPpb2XWuF7db6P4Gt4S03CJ04NGUZrZeW7V4n30N+C1u2EJ+gxHiEBj5mSH3
2t0g3NPt6eSFb1QxZ5Z9OLDNzLrau23VAxNcfKI71Mi3cJYYLLbTmktT72kPbZfVn+1mb8HGtXb5
6pePaxSO+WNnYKNOORIuGXjZ0inYHXT2xszhVauWKKfbrJh0GvrWRBP/+QTpqQ1zcBOHG1Hjfphx
dl/LWto10uFqoU0tgp8rkdqHfBk//b0v9LpLg7GV+RgdKVSvDCH/vLLgZI+2qi3OkfbPqASy56Am
DtWx4NO90dt71YICvR0hsOQyKFpeOQ2NzFrgc5XkqEj4qcjgwwumqjXpgAl8yrK3RLX/0YnnenQv
GYoFEVFjLzpC6Lc7ZgGZd/IRrhxtuRUPxgblIa16f32yeySuAS/KxZZjtsUEF1EDIvRxz6Y0tue/
3+ZXD5jwZ4iyPOQARBqTkD9vM2WhHWlsASettunYd6O9L5bw5tSJ0I1D2uy/DaP9o8izLHij3/hf
l/ZxygExuulNXgYWWdAwGRea/gmoMnUdx5c9pUK/ByDHnrhkzfgl4DZdgpLAqr//6v96BIwBEFbe
NK78+BePwHEVEJRg9U+MRMAj4V8PYpaGrEtBo2MVK/NixCWjeiu2tORwXQ4LMCzNrvmuiiCqvLE6
/8criE+MfwKzwSf5D5zrX01CxDEdSUQBPd9tGg7d3EQqNRbDPI9L1Uk6acUy7f5+D/7j9nNJ2Aj4
QG+N7RejEHAIeGja2Tt5Y22ncszFYfYMI82lm59ta10OQ4+GC1xX/eHvV/6PrYjpPkInvm00Dv88
nH/92MFagrJcmFREWofojETxnc7rxOw5Qjim6HFnm02o89+v+l+/F+08znU+PT6623/+r6s6dp2J
W//sNAAwM75XVeTk+4kYsmS2g5kcuTkjn2icy2qfr1vUv4EA/M/LM3niHzdw88vL41raNAgUfjTW
x32DBOsSLuv8oGYdNBDf+uynwGF+hK0T1m9sxK9b0DdQEiNjKMJYVP/Zp//105uFVioNDmarMNsC
MPEsSgkHdbKsIsw1RVzgpUsW1DL3vpz8O3IBqjfW2FfL+S3pEE0FY2vzphl88cEBQHXIZwu90zC0
9r5elTi1eX8tg2Z7Q1L2+tsmEhAbzE1OHt64WC+qjiGYO5iurCsjPd1p7zS20bBDhjTO6tyt1BWW
jCzj3uxFsI9UWaj36Ix1vt/KIrzOkzW9NZr7R8zxRyHEkAPgrHWjS2O9fsnkBZHcWJsocDF1yjsA
xK1w2FH1H/wq2i5LmPXFGUAuUKJK6eoymngBL27ju+ul3myIf+jRaf5Zst8ZiBDfejivPkiG/LyU
LP+sh6jMXygmIvJXuadjca66iX6sX0x7hqIqxeRrP29uu5vA7bwF8Xr1QXBRxoagUVBpgB+4vTH/
eim3wR2YP5TlGToKiIjeF/Y7hDfqkgtRbacBf95ID2Ut8qMA7eb/r8sBl2f8g5gUIZxnvUTEeKay
2XPd4mzOBKNqkhs7UEED+Us9UI1jgSsR2YiXTTtD+NPH/3EtQliB7oxi3A+ROrwUV/DkZ3tjEn3K
RD+cScmw6hi6GKMF5ORnEyTACQ3PrBJljubvv1/7JdYVZzoTYpYD1gR8DubL1QD/jrN29SpP5tqs
j6Bx+uZgWnrh5FUwrh4wNHXXpVFoTAYMrtnTbBNQl6LsJpZE+2NXp67GRC2SrRlV9d0Kl86+4AgS
5qGse+foj+Xy5e9/9Kv98bZbgE++ze3+McP8+bJ0RCnQ+3M7Sqbs6tOk+LJ2ud7bXv9rWiL3LcDi
q9XqdjmovshDaDYTEfzn5axpYTyr/O5UCWXvXBqrv7W9lXvdgC/7X+f2t2sxSeJVxDfIBf+8lolX
rlha1Z2EK4cP5ajlFpv/n1BqgTDazfD4P0n5Jhzh9TrJHUVNxODVQb5EH/LPC4/45VgZySHro3pa
znRV7Z12mulOUnp9Bfs53/Wrh10dMm2dxUAGh+e+RQSaoG0Qb8h/Xt1xBKTow9ybsIkmyMu70K0G
jRatnJMFHvrzwMj03nWEE53qyJ2aN/biV+sdEutbigr+TJAKvFN//nI3VISbtUhxaG5B5oNq31tH
yYsXngwbyQJ0or7ESKBIdXnDSvLqRYbLxJGKupaw8lsP8s9LK90q2XDIPW3+Utmxzbdz5zTMplp7
uve74I0wpte3lcshWYD4EXKEe1nnCgOdPj216dQX/px2ei0eiA4pDstcvVVfvb6p7k3s4nPYR/WC
av7PX+a5wCDl1kwnW5rFoXbtbFeU6IlqQaszHhv7XW0J/T8/SZoZdJd5ithOX9XNSEECDXh9OkW3
wNkU81g1JROpxiJmcOlWR7Ep9VyoenkruOnV9gUk56bhvNXPmFH8F59tR7cmCLFanZCQZZ9dYHzv
adcSfupkkzmcVxkECo9CbeC4jTJp7/++IL6+2//ouDgeYz+9oe3+vNtjXfcGpxP3RKRhpGJtBnlc
ucSN6Lm0d/j2n5WV6TeWqtdvE1rHgPWC6tmjjHvx3UhMkMXKXnpqZVeeK8uboOhRPfeJQX8pO/79
J776VDBQ47vyfYw/KCtfdY8i9NeFFfSXTnVzHYeyY4IFw4b5od/Mz3R2ucP/8yVvlicUegCs8QTc
7vq/ahLZ5CEklFlfkOhZTDrnitlbVVAgIKJdxLkTSr/xK2/37I/SEDI1Em0KILy9bMov3qMiKpuM
F2m8mHA5LfJcAj2eOs3A8Pnvv+2l4h1JNaft24KHspwLvqzyekb/ANfN5VIodGEnYBl+k0hat/KX
GBb/Y+jBO46SjcYc3MVGhl9N3t/6jnlK8cCUdpY/2yaY/dj022B+43zw+mGDyaQExWxLeYLq6c87
bwzBtECWNy9dTXMytsnRiG10BO/DcZ2P9bD+r42tKAAZjDLX5fZT9b5Yh0vsM6azEKxUV8sSnAdS
Jd9p5f1eLCs/EDVkje9J0zKPxTS/ZS169RXdLPqAtjmLgifE//LnT7Xy2SNllkxKTBiTDzkEc7e+
85bMr69dNb9FU3j9gt1+KqJaGlwIu16etjdScENwJgSZhG3vPpGlQywSlHWve+NNvi05f77JnKwd
CwEvgHM6drf//F8fT9h4zGUBSF0qKhq57nTXkpe6mWP5ufbWcDkZCK/694C86umnn7nt17+/4C+v
f7NoYlKHsI6gDPXy7RX71/UnKcyerTC/LMKovzql7SZr6dlYJcehTrK+Lb7PcGYOrjFVIv37tV8u
x/9c+9ZdYP9zoQ6+KBjLRRlDZnNtjJAFIUG5OjMCYaIYdNsXPdfN05L3y+e/X/TlN3O7KG8wh0rk
xBwjXuy4fOwwrqteXmTGZx9LNE0f3FkRSKMXLMEF83XxxgL50oXJPkuTlE2Ho7zLxhu9WCGRPGIs
gjJE7v2U74Yuzwg+KvWDE0iitqH5H3sUS8lYZo2V9BrBWjD60Rt3+z+e9K2XgBieIDne7BeLRYGu
RQ1Mqy7kozmfI+Z090a71JdwchGoeVmxnKPAmFMvQv7693v+z8b677f8dgM4iCAGpdghRPHFej2g
4LE2RxcXMprb6lgyASb9SzDMihshuse+Qs/F7K1fmA5323bq1tzIklIYDM71PP2UorfX/biirkK1
j8+qnomfQLB9YZRQfMcJ9Vb6AUeXF58mfzSGdj4KXk2qlZdLzthw4PT7Zjv3UFze+cvMzTFmpKsx
9OHQjqVunLNHuACIX4XM74G4b/F7GJ2wiJuibILHng3lU2Or4RlZ1/zoLMRMHwHh+EZs+2wW1wjV
ovwKXxcOdxa1MrvWjgBqNDFsvqK3qcVTrtz8eZG3/E9oz/OTo/U07bPV7o8r41xU350wfuddtlh3
inE2BAASjTt1z4BivGKnhXgV071rinQYRgjZKzP6ck/geOeRLkrEi33AYODCpBSmV3+vW2XtWFWN
/Jva1Dq8gwQ9Kt5KpDDJDTvzMC7N1D622hMDMAtrJI21dgbPPLrwTJ9zEh3urXwbvzUL4KlYCXt6
FIyfQFNucvmtZ6szUHT2pTqVvsNJMWLJIx/L1fKCX9lzd2MVzPs28+g0baGV720nD7NzRNR2cIUJ
k5U5wpqp+tQieinue0uDu3ZGr383Y/pFlhCMuXecvU3nh7Bl0kPewhIYxESosr7rqzI7uR7qHxBB
vhrfr75arMTCHwXtpUIOtxfozURKxHRX7KSgH5BKs54fZ1xuzb0LhbxN2mYTJsLByb+srqeyxBtH
msIRuZKnshvwRa7tMl20EBLb0LqF35pgLAM8IGop04KJ55iK2m6+2nnvmnEx4wBkdp0vP0ajZfgu
kY49hzOm3ncT3CeAIZVtf4jGtRfvSIyp1ruOdaKJ24mY26TcFnQq9aqdi1/AaIOJF/bDTjIj+OZH
2YARfiOpLnODlexeIYEPMcPPnZi85WgfzLAtD1bm8oogvQcYvoQD6RD9NCHV5k2zk5L2u7kH5tTX
Rwz7pHpR2eDwtRqlf02rUD9Ns/OKHantVvXgBuQ+XjdIUtbBmDxl3UWZcujLjH74tEF16k7RhNQF
j+E8EsVZOdaVLmL1M1jyESrMZjM5ORRTN/CucSCEaLR00zPkPtFdOrL70ARCR/6GvCMUv1E95OV7
b66D5bfHpK8kOy0KspT0cT87OkJ1BNmDI0GgQHfqMHPy4JRKuPTD6BS13LmOEvq0EhFc7wqxoRKF
z6+6tHTVMKQk97XoBIB6uqfFnWizozowrQ98uIbzERIh8o1gyqVMcHC7PxnHzlUqppviqZSNa8fb
WGn9iBDK/hzmLHsPOJb1bmgr0/ok8xGtWYZ11U9XVMj+lwKQKEfplayb6GyLzf0Faob3AbWP2SdB
udXvtw2yR12JvEzx3XmPtOKW8tHm/EbyuBssQ1zR+RxOkN2cdU8Ad9UbSei2s4VjBi3clJIbEzXf
Wa6H78wJt2/krJu/TJhOMiG8KFLf9FD2LfOTITxEt4z0tHQyNR0yC8we0oRxK3GaosDGtDDxXwS3
JnrSLenFAKQczA9Vudzag4v2rrNZY1sbltFTwPfqrLmofnG2xCXRKw23wSENJTClkwAJG++XQdHa
Vma/1V8NJikIQV2TD63wJuL7+B767soMNRt3pgoAFJuLT+/Nhpd0jgwYYrHDxvAd33lH5B+qNB33
nPQuUFmWfreROuthy+68FtnxDG+5LbaMtAsysRMamySOIIVrv0zu2qkE5mf/ZY06PtqM8+xnR4ro
azFOrnsX2CJKTVAq49mAwHuIWmgTRP8OY32kY9QC/alo4p67zZblAYUp1U3dGZ29JAWYNiSfkLo+
QHpc3XPbQTY/2RDqT8rbxvZ9xwi7s+Megb2VIqWUd5Fbjut5ZGM/k6JSWGnTZ42/u2nin6IKPWZK
qTaHIO2sGYTi2jpfidVU4tBFqKEPnNiKIA0Rp5gJ3vjBJfV3MDIRr2g6zDKOpqb9GNVsb59hQtnN
QzcOwXDuwx6ZUNHZXX2vWHeMY5t34jkbPGsjqljZk7vTteUuqTNr5McrUkgjxYOiQqy+dvQZxBjR
7+Za10FM0LtlpchwfTIeBAL6E3L2cD7KHPRcikxbo58qRno/96vWWftugGQ2X2h9bWioa5QZyLFa
2Qz662zmnTzNkT1cqzAqSzI7+uVcm3llfpiixSW7wQV4KZVtjOnq686imp7UyYH8maec7+361E2T
Lm5hO3OUepxbPmIAjR7denZdaI5rkH/OKEnnh5uY7CsLSPtDO7lxt0npVOd8tez+i0eXY97lMB0A
YGZGbaVhp9zyE+otC0RzmOUHEHJC7jBzC+s7Rwdjx40D4XpzxZyMsbamtK78liBRf+hsDw2Q3IIB
D6TcusMydlvHlwweRF83exXBu1vWUf88+nnwnFdt2+7pgrn6aG5a/1oHgR647ToflUHmFoyCLQbA
bXrTUSBq4mRx2DzS3X/QKQWI54eV+xy1/CkJceO5BbaH9mK6+MKzfna5bzXXaItgPMYWouzqc6Z4
T0/uZlv572zMbDcuGTV/Xipsb0chN3imYVVPR4tnGJ4cQ3pPFdmAxCfUq0lPgA5wfgm8dfF2fdMb
znE1AuUmMJLs6uL1Yv4uAznptPAM07jkyq/ExR2DSiSRkG5wzabQPIBg5RAGbFOaj+ZiRoeVsU4b
Izox6z3E7bb5IVgnRNK0wOviICBfOFnQlPgHEkpda397nCABhyySMbxY4wDs0wvwWtD1escKJWRq
CtHu8knTkauNdStJRMkH7aedBQYT23hYPxlOgSqzM0Y329eNw4avyHnYo6qx59SWjZ0fgCOuxZ4a
kdBGITXv7gQAdb1rVrTSiUFi17izRCVIpdDa+0w8yioS2IpIFgiVDYrd3EbVD7Uqae2raEK4qHHV
70M3B4UnwzajQosUql3HiB7JXgqGH0FBLkhJTW2Ov4M2QCrW6gJ74mRK+odTbofFXe9ulg0JC87/
HQlAlXdag1CmVXaLazW2xQH26TT+GltzMHhJ03VOtqMEXlG/BaXvojw1AvntRlGh1s3n5b6khQpX
E1nkmMomnMJ39GOG/L4OmmL8uE5Gc6hJs6CkY6IVHSCBBg3SyVasSOfUEOKqjrsIOqWOUXIGD/h5
yu6ul3RMPtBBKp46+ijNcYl6TbXVebZKZ6dbvxjthMY97vyqtpOJkXl3NAZzCtJegjbZ4UdDva88
ZGpTg3E7mUn0WPDHIiuDtalyY/5py1aQYNm1jrvj5UakFtr1SmOSXnbCglP738rSLftdpoq5ZKWi
tZcudjD4RyX95iIIAhaJmp3hTjr+4L8LOjxoUUySgNddWsnHCRgaXXCSU5eNCRR/+JVb5TpMKuYw
au5QmnfklgHbU8QEUhzX1zkgWYN3tjIQWSC1vlXcNPnfK6RCHsWjqwwok0jyWJn9uoZab/TDp6Vv
vDK12rARO0ncIu3UpRnvfThH6895MyCLYkuZT8ose9R2hB1EdyIjwHIASWRk9kMXzcP7zRRjecVe
EfVYC4aoFw1OotY0r1tt5d98w8v7UzZGK+sWnREbqJ4utxi7BbUnTtSBLJjQ5RWNRVgZQRy1Ct0A
cN3c2bOjjnUaFsxEUsBXjUgbMVdHP4Ptfpebk/cDIX7HeF1HQX4wymo6SidaCGfvy7KMNTIc8zpv
s+EkaP1ln97gIPW+ltRryYLM5hOXrgEcq3Vrz1L1/nzgJVIe9qViMZNsiJzyfq0GApe9warpGHY5
aTDTMkWEDkjKJReir/VUbzfNaAUnrDwTv7PmjwupQsMOgW139EFhmzsozBzwQEdoN2lLxJep17ZA
jmNGQUYmY09FCq4Q/9Ikk1EENaWILucfoUFBElc69JadiKKKEFNLgPryMK6tJ+oRWx+3m6F6U5Hf
xz5d+gwFLLNEEnocDSeII6O9GyTGA6+0yvCuiYS77bjL+JNzs+ekobvN/1T7NtXnzYciLsNaD5Ac
tY+3adQLtp+qXiSLFYHscxVu+Sd3GrJ9RJUvmnSco/4pyOypOCtyhj5Zcg0ARq14Y8m5LrC9x3Y3
Fu1ukU21JFM/9tVxmBT//q0vHIIatoyaYqdH1o+4dvRyADAl6vda+t7XbFvReZJYQIAR2lAqZ4Bs
3VLHk960xyHSkBZwbdaINpaOV5VXcCrBcGf4dnsXEkVjH8UQhuSjYViizkVhqOFx5ovJc6vXMpmm
Pvvih8h/Yh//GZFBnApjH3WJSjri9IKzyFFW7cplmr6tI/xdwMf2MoDlMDLuPoJr/ykfBLSQ2Z/B
7LKlhzvDWbYmtXQbPfesICWxe6av+5+6bIuvqjbd5amuWix55i0BsZml8xMfiFrvggE16wH0ofhG
wsa0ns06DFdA5G2p3w9Zr8+121ttms+1Mx9Lbdt7qwsjdJ4reUbnug1EayLY3xoCQLYo91LhrS0b
mSNHtBB0A43wk+n4U3+eOX99VyRL/O6kj5ekCt3ePZCpke0XNrKazEiPsOlmdIzJjztHKgKCum3A
BkR9jgzSHvD5xQK593vLXkpzjyC02s4NHWa9D7a2W1IONd6coAVpH9daIRpFW+FHeChVyUpqepv7
OSiKatkBQbG6nYXw3EqVI+1kZCBff25LfsS+zgGifbTRLg+PytDKT+VWQ48RG7kme/jHYQBH2dvC
xMaCRozX4C/LOzZhUD+s3LV3mmhOc/L1TBRmqjSWhQWzCGz0OFtVnl3Nn49XhFVMJKKgV3woS+IE
46JA2w3OOLJzUhnqsm7ezY2wZopEGN07DjpmeyOBuPPdWPbDe3wiQ3Hw/cb2DjefwXkmddP8JyeO
j7bYLHXYrEaaqD4as7sr+Xi+95KFInUi0lH3BeF2KyYCRVbPLnPyenkX+UoHT2y0VvAopEW5HyMo
6r9bGZjxB4VZ2LqGAz3XpA9Mtd1hfLLQf0NLM3dOoKIfrKzsY0275F2s6CVwSFMrUu1+wBWzq0b4
fvulEObnAcmmmfRjjoA6qzXZoO46i2dfFNrkHOcbWsSuJTOjeaPL+Lqn63iAYGhmkyDk/h9n59Xc
Ns6F4V/EGfZyq2rLTpzEtpTkhpO27A3s/PXfA19ZlEYcfzu7F1tmIYDAwcE5b6F9el5PFtqUsMdU
8aDh2dU9xbaGUj8kHDD98CnLvXCoR3zDKBntwdtFxsuRQTmoFO2BRYNfmnPqbSOu3TjBq9vA53En
qpxApChwQFETj5t9XVRpd4hNgSbZ7YEvMAG026AhOy6QAJp8uM6fz7lJIBYFOiODCiGF46WNlH0V
lDo98SBQYWQ52e9gSCBw6Kg4rGyh2+uWIstfrQuyheb11V9DExCkJshI2rizTkntDFZvWkrykLnA
L7jup+lAyRDNc6sty9cK/HHzMCaCphXMj5+xE1ISAL4CjU6DhXF7bS6KzgQP/iQzJ+eytLn7sjKM
aejpTfAYdVZ61NMpvkeH1VgRxVLIP0k53OkNLnJ5YTTb20NfFPoNMFKgNOlMopbqqrOie8UBbU1Q
KAcnKbLveiv8nWIaMD9Mo3uAfBkvFLkvpsrGx6oYPIoqhXftWTdDC1Fkz40xOfRhVeDE11tPVlVo
nyZ+I1tA1qL65sRhDJe++BypCBQLQCh3qybr1DQEz/ffYPMwFqaXHuoBRPs2GV0RfzWsdhxgYL7B
GNrAWdsjmJi1Gw45NhrYnoY7J0c1ZVQF/CB7bBFHF0mXe6dYGdRpnxCdzJ1lp3G4b5GKNu9TV0vy
jQ/P6KMNEhrHfCSHHIG2DPCStwbKuy4U5rcZsJMkfq2DetqasFkxnA5rwjzMLO77EprvI1WZEkRN
mQw2zDXKE6vOrr2FXTOLIm+/hP65ZI+Ad7kQxpavY1ephvjVaFU7QUbKT/d9NIV7rZzEd68bjW1k
1ks417cQ8a5BwrDAMUzoUhJgB7RtFkJqTBW6aHDS1ySPyidkKhKo+Gpm3Iu+wJ3Cl+R8PCe6qlyZ
3Jl74YJ6cZ02o5JbQvfMR7CHS3FtdoLkj6Jgjrgv8RTpl3l/LvY9rVcDYkaZ5WGzgjWMu2VttPDw
aiRhVmHVOuSFEHyCTZmPoqJwHOsQedG7f3GHKv5bEef/ZBB+8pURgqFc62nY7us+7RcQQvM+Pb/V
ARwoF5AKmm6/4ffe7SBSEAuj9HB85pBUOUkhwlorvEtoizuiqfsVnc4C6pWfanh38h7EzwFI+n9m
p2Tf+Tb1+DCWRXHET1kfF/A2l+tIm17DeRimPHgtUzabz34bNAqj9QbsHx18nZE8/qbXeAqvqrzM
7i1WdAked3VEQ97BRCObP85HzE2v7nKlHZ7TyIellbSh/4j9NMyxjCpatCoHA3/TD8Xbty/A9EyJ
EgOMpsr4+G6WbdJleucMw3NEDfQb4szj9wQW10kbkVfm0Jv/3R5vFm/fxgNQyPemeW5z75+Ph/6e
2/Adh2dzsuDh53UBCDcdX/XSUaqNZyikfL5Xf+ExWC6gpa8NDdJBdgdRFUOM7nxolIsjlxRxfMZF
u75rXcWS0lTWn6JU613SWua92gXua5abzevtSctJnccJjCmRogKOAhEOfM9s5EwD6V4zMtd68hV5
gUqsxEhtVQl0Y2HbXhmL1jx0MxXgLRDL2QUalJU3ZuY4PSetVn/XBrd5kGJYLRoRuDkt3J5XdiyD
ga6l7YA20lztjk5elwA6Hp+T0kXzsiEN1u5x0WkBGKstSh1JhaLa7cW8Oia0Ag+0lMNfs1PSNx2i
7bw9nwkef1DV6su1W5uesisSYaKQ1OC/tJAeX1tTCwUwYO0Ggkj2bE01Kke4bgimGTXiudSLp7xO
jGM6jr9vz+3yHuNUvBtodhphYEpM8DQ+E54lgz+O155AuUe0mfPq925wB63S+nN70IsFBSlC5g9q
Er6GRNid706rwr0UK6/hxRIRD28v7Cmm+IlnVbuoAKWDbhCkzYWv+Kbv+f5MoKQl9ScJ/ZqEQ82B
DXVVTlrqOOUriGAD6bupdaLt4KVkD1EZZ1+KKkn1e1Sv9bsqpPWxc6dKU+9zXW+9fRAadXWYtJNj
l+IUhJPzxcR8Fsn6cnqscP6oGixRHDyD8JFywnadDfao7sfKwNtgUiwlooMAQXjdmkh/PgemP9w1
flCJtR3WCEkHZYweC+gb44uBCnF/VwS+OHYRahgrLp3+e+yFhv+XIkYw/cLrufxbdKP7OOhQP9YY
EIc1TGndTRYWbf5K4GnGQwUmEVAuIijgsfNPZZad44+AtV8FTwXIO/hvOSu9GQd/rwlIXcAKLBoo
MXWL3zTzKHunVu+gtGNRphLYaiQfvD4Ia5ReEO6nqQN+fO4hqJZlWDuu37xqee+ZgCsKd6f5OWbK
Pi+YZJPVol84jBdZlxwTKJB8v0msxxw/F1B4r/qi6F77XGt7XKvQulzHSGTklIum3tw6WtL99eIS
+73KrdVPgdf3A5IZndneDdpUCLBKGU22hbWYRwn5uyxw7RwiQj3Aw/OPM5SwKwy/L1+dpss+BVPr
3wEsCiZ5oVFS+NihZTA4qm8OBSR6GB+fD0aNwK595BVeMdE0fvt+6/4xA6MPNrRIeqQEHLfPFnbf
PDgxJDA+CQXiTYiggX4+ZG00ABScqn1VMlrBwsurI3A8dVfjifBHEBGLhxRdmX6BLyhj3lmgAGAn
H8SMjho9B+B82AwRQ/ptpvJioHZa7/XGdp6M1q1/aE6MgFpG0Cdc5U7xgIxssfRR3x7e58OzsUFN
UsEDdu28Hcl3CZLwETugeu68oK5E+8Ma3HT4McXBaG0sYTvNa214+YOb9RZbrvBfXc1QrLtxDNFA
0s0m+ZXh2OTte4yK3T3t3PrZHWNUWxK91urtZHZ6DmG7N/MNzRYd4xn6AjaP/NYVd6ZfDUrP2wHq
2rAPeSwAuvbR+FFoFGp9uxlK6hvIHqjeqztKLPrk5wJaT6DFW8XswmSfFOwEQP5t1W77wNf9PR0r
pfk0DKHXP9FV8P7xjHPLf308jubzWCdO+dVC+IBxOzFCEF6pRRKIT7aPdcvfD25i9i84LRsMLOA+
EojzTxuprVO5U+C9oESBLoWD/MyLGPLsodSj0t56go2ycG4uNrGHDCcvDrDsmJppzuwqBzBQIF5B
MXTIowq0A6roT82Yp/Q8AzuQyj50Rr5pASb3u9uTvToyZ5X6BmUufc4BRhRkol7d5a/cej0nhaqk
2ujtk5Nr6uc8HnH8Tf1lFKMMBO/3LzL35PUWUiXAvXEZmgUKJ6m5iLn9ZEsEQWJRa9YJEQzHO1Rd
PTo7ynJ9t3arSacGqagPbkmle90igxIe8Amyo4Pn4rq8UlER/5XRnV5KrubrQsHrjY5NcDEMfu3s
fPthrBbGUCivbWILcwWgpvyFMKQotv5o4sRhjf5zhQ6Asrn9Pebh+m1cSPeS2cDrfU5PCUUHeGXI
g6Ni+SV4nAK9BtG5X6MuLLa3h5pDSXGJZ44SlM6lBQF97qA19ho4A01RXsVQ1g9N3ZS/Ol/Ntkqk
a+tSqyJjm7mZZ63rtFNjnDY0+76xnHrJV2IeS+XvkPxnnABQqbgo7CUmHfwYy6PXsRtc427C/Pl7
Wmc5vdQe1RtTgoHWedBO+mMWcVUuHL55pgkVT2f+UJJB8bo4zZyf90lzk9KBAHocfBXX1KlH9Kcr
/P4U07qGoEsnbmHlLycsR5Q2bWwtVn923AOd2KMgfHVE/Kk9mIlVbvqs7z9nKdz3lTC4ndXAxuqq
odmwv/3V5WzOTh6zBYGp6bAeYSTPC8y4iTrIXjTJsQpSda/WvfpYpK0PIKCRlmai77ZNbFhPjlOI
LbXxfOFxdrnB33hCJik2j0FA+OernYSj74L/TI4BNngPilY4ewvg+jZpTWXpmry2zuxt+TgiC0Tt
4Xys2qFd4mtRehwmfEdxtM1+1I7Zr5C0T/YQ76YflF6xk2zSZOkNehk/PGhJOJeoUrkDrs750G3V
K7ShveToTjZof+HFz2rYSrvGzDpMtVedfIV+zO1ve2UnU74FXeNgZC5pk+eDDkNG26amOI6CFmxa
EEyIAUcaWgvrKIqTYQXESluiN1yZqXzY0yRHz4Esc0bkUDQ0pkRUZEcwf/ahaafmhZ01kc0mkc2T
x7C/N5MSfHwbIabjsbBUaxzu6fOpxo3nT60x5UeQFgcafdgd9VRXtnrvo3Z1e1mvHBnKM8hWU1qT
wgXzLTtxWNGYzY6F73c/M3/wtpqJlk2fxOU9Ot76Q0ld6keA7M0nCNxLX/X68ICO3tja1JHPp8ri
B8jl2HzVdsiGh6EVbr6CSkIVN2sL51s1wpcPNZ9uYciDdVOpTWwvxMhrH5myBsLWuNNzacid9y7f
bKKBarWf5EcfLuGR/6LeJA7SqQ3OsBHg5zFYDUpRf7A2RmQ2EC0iycXkkfrj7CNj/+uJvozy4zTa
wZ3tDaq9Re663hdlbQfroWiqtZp7MHYqHli3P/q1s8TTSXLyQeOQCZ7PmBdrnHBY86Mzgtda98Bt
QZrUwz8f6al0W0zo8i7s6YuHNHVI+j4OR5ciBK/I2XzDDoi5ExnxqVSkX3bRC5iiUd+E28ZCEAfU
YgqQMNCUz0NHprAngbYOjoBVBspIjdOFN85lgiB/D+xono2IosBGPl8D3QrHTjRhdBr9wADqWPSd
v0chmMqIZ+J3vMaQKRq2XlJGzlYdGow/RTDwyyOqYUvuSBfHgCiKrrpMVPDgpCB9/mNGNfLdTjcC
8sS4+TOCaHgM+xLIbBsPaKU0tVrV+xwYlLVubT2O73Os8RY2xdXfQDVY5dFjsytmv8EY0y7W0iw6
idqaNj17504po/RXknS/enVyXiMjQwE198NpHVRJuBDfL04hSyAdYbjP3mRzZvdZ0Zd9YaF0eMrV
wNlyXqqY3rAvNl3TeD80WvaPSKhFCynpRWkDUhe9JJkzIBFLW3IWgIqqS6Y6FsoRDT4s50caPWu8
/5J9ihnoa2YODjLHFe6Hodo8mkAO7poxGb4hR9A/9WzMhVrytY9Ae1yW6vlF3DjnG2HgQQKTxglO
xoBUyCrMIVUMYzGpKI3E6srIRucx8BNxV4xuseHcTgu74CKtYD1kb0K2iXgfzh/fmiVpuPaEJLAd
BS+geLyjVOd6TB0zfbUV00bNJ6rSP8OU9McPRiWG9niqcSx5AtHlPJ876N0p7S12gDbUxR1qSDVf
oqKYVGHJZ3Wlu7893pUdx3OUnhU1UZfG9yzuG1OkdSA8ohMZVv/cqmnDU0xX13ZkqZvJ8s0vYcBu
uD3oReiFRAibCQgir0NqG3L93102iZugaN3r8clD9PcJ5jdhpdJspM3rJzEpS+ysa3N8cxIkm/C4
ZuS/fzfcyNPAhlWW0KwOXLRFlWmtU3WAFxqis2kHIIINPfUWgqtMGs7ycCbJXS477R5xf36rK2UP
K31wk1NuZCWCtSHSau2kwp1JqLfcXtBrM/QcmYiCYMDuTf6WdzM025qQCmvg2DlRuhooVj+X2ogU
+BQ7YO6shEctFpe3B71ySnQdXQ16A6gR0AQ/H3QKbcVQu0w5Kq2CT2DgxcnJ6HNnE6RWtyFbN7p1
DvbzwYltZ+GEXrlJyUWpwiJ6RCeIFT4fHIEHVY8t2z8GRZ/kKx3KjYD3JPQQmWfNB4Fqi02YIr2O
Uq6fN+uyyFzKsPCvV0mT9vvbayGHO/vYVAjpyfO+5SPIDP3854QkjmMJ7v+IGLh6b48WqM+o7lR3
kzYADxY+98X5kaOxr3iAyH1tz86PwD0wqTHqPbpK5G39LlP3lZ8c2hy1GMS4R+/59uyWxpvdir5e
Dc0AbfLYBkn0b3L8Gqvzqusz9Hzt33iDN/r/MUM003hJ8mInM5l9XoyKSnR7zPAYVeWvQGnhJjVO
8lIDV2OCefT94xOUvT0LPBjl/XmnjaZwHFNujI9qU0ffQINmh8wJxE7BjNddkxC68f3tES83DM9H
jcKYLtnUCJacb5jIxmys0cv4aKstlhNep4FJVCl9dGWmLq3mRXiALQ7uh+WEy6up8xqgi6yjRs01
ProxsU4B6u8f8s5pys0gsArcuI5v3GshYOvd7VlebhwGls13ahKEirk4ijbqiVXbVnQMB1Bl67H0
UmWjmFGibcHk16/QzOD33R7zIizJydJOxGSTAwJc93xloTCgIOq3ybFpmuLVjyDHAB32vM+OMrgv
/pSOf31DZBgWpGGyZEF1mVFT5aJjS6EV/hG5w+y7Fk0UmUpiJEeSG/9nJlyktLPQCPZK5lu/0QOM
ENeoBh06d8jbvR7rYQuJoPpwPOJn2Ih2y8QevMQskfT9sM1gZsVHGlNTtxWxlQRbNelHmnSK83J7
xS/yNTln8lWZQaIzNt9ekK3H2iuVBLaLivawlw/1bzFSt3UJobvIo2SwArJX/szzAMw7rI3kePsX
XNlnvJ3fEnapZzpHH2RROLnJRM0JJYJW/1pOZbhPAlpDa5wRgp06pan20SRVljO5gmiMc64u2m4a
TY1BMazkOFWtqDdV4FG/tt2yeFYgqN1BqfX+QLZp2n3cGkHDbeCHCzimK8eaZja1RKBCqMjO09QU
VwnFwhrhCEwTQ9NSc9JPnVC6PyplZW9LM6J3T3BMi4VTLWv355cdr3ZiMncvQEK6KOcnDLonCZzw
02NmxnG9jfNOH+/AT2YLX/XK/Gi58jKhHEHldr6v7BaEfZYF+dGLauO71bgwAeGor2u4Qy8sR/A0
wEBeuHkuH0Mg69jHPP+w06H0NLvsKm3AwMePs6MNeTT4lfhmme6RDm0pQClG8EwqKcyNyrXe/lZb
E/0FDX03ATO3a+9RWG+mrVL18dKj6MqFgWAOrAnZggWuO7sRkQfXAlTBsqNmVGG4LWEXrWiLuN0D
8t9iWMjQr4yGIDDyeSw/JIl507UwgTq0JV8URltbfQV4jqolNU8n+WvB6IsWYva14Xj8k8mABocN
OYvZ9MREoQoQdVDcOtjkBm+sNfWu+j/Fsewft4PFle3L+rF3wfEg+jB3p9LqFvcYPCggYljGtA99
nIQOfpwnr7fHuTopQxqpoQpBljbbSEg3FDGhoTiOZVL+0DxoTsjS0yUvtG4hAl+58xBToH7jkojL
U3l+IlEYRcMH+Ymj7U4tBlJa1T1AEdPu0glzp7y2tRcUruNdOhntgqzcldDLPYN8Lg9X+jvzflYO
SN0IjTE/qlWGmYFpC/Z/4jv7GkLrc4vJ6sLWvBIViHZyl5D90pyfpdrDCDjUSJ3i6KiB/s0L7HRT
8wpDhyxNPoV+WQVb+lEfdevkcqMETNdOwtt42c29a7WmaqLRqMojigrVGoeEaFsaSbExxhqQPurS
+9u752Jd+Z5g0XXaC+C0+ZvzT5qOsJeqMdWOJq3hB8wBasAtJp13eL4QU2uYokv9wosNyyjyrFOC
omhD3/B8SMV0KbPjQHEMUFLdhelYPyVhgxMBzumAqW/P7zJTYkVp2oCKRJseicDZLZIaTQHMW9OP
sTbWz05e9V/cHh7bLsuAICEZWFrVXadpsGVTJcUQq3LuQQssyWJdbCfZlyQUUAEjfyB1O5+0QdsR
uQTNOGJupt5BPx1O2B5BOnC7HANCa49ZWbxk6XiBQJbbicWmkIafI8nDbPJ52hdjkJj6ER+p9BSH
HYKBaMR+acdah1k1DNVvdTBwpFOb6ZSXIt4MgYNVGRaJa3+q0CoYRTj8u/1JLrccVx85DTAnWQ+a
192KJKlVtbWMo5Kn0e+ujlIfV4ve0+Ef+0F2JyIB+OP2mJd7jjHRvENPCnQZykbny9/wWI+LwTaO
Ze46v2Ls+T5XqC3AHwv17e2hLuI+a05Fjz4wyEOEleRPeVckgag4yQvUPHZDbzZr5FbydCN6ZUl9
7NqOkvUtQiLJoTmvpgZuq5rVGFgYo6XlI21982fQ4RZSB1r918L2I121hrF0BVz7eEiNgoUC0ABI
a7aQtjIORcIvOjatmtir1urgHkY1uiz0153vQ+sh7XN7Qa99O6kkR3ZG7L+A4Yqmoo0RCOMIDcF8
VALHrPZpP6CPUXTukg7l5dejY8LEyBIITox2/vUKfHWVLImNo4gMXfnsoJRhbBtRq/af27O6uEt5
NQHO4AvSqkHUc3Y0YaYCmJksDIsNFYFis5HvcS/x1W8hsWyXuyicb3oDlgcStk66sEkvNw+jExcR
7ZeZ0NxDmKphmYetbR3LSEMfXimR++qr6g4NIbEJoGAqK88eq93tOV9unvNRZ6/WNKmiNNUVRlXH
7jlE8eW+gA8FL0O3/ovhSS9cbtfWmCyWcEua7qHRd/4xBSoHPe6F9hHN9nSbunq4pZQYrSo7qD8h
TFKtYx/BZixg2v9jpsyV4gCKrVx2cpu9CwJxF+Cn0072Ef0qHDhTU43WYT7VYlt4iLuFY4AbzscX
V3a2qNWR3l6U2LvBwWZRpPaxShPzDhaavzVbrCw3QApt8LGJXf2+PeK1TUSTUSUjpLvHuTmfpDIC
UUyw6Do2pe2eOjHo2W6IsN9Zx4EOeVrLCpq6TY3S8BIP6PrQDAtqUmP/y3//bn0HZlRZqFwdQeOH
mCX5Au9CQfdQCK2+x6GJlQejv+Q4K6Pb2ZMUggPlFllsQuMYC+7zYZNxdPMYY8UTkh7qnYXUzwDM
rfjn0lJrVmkKExiosLNBrCRAkc3+6H4GREgdWtL5XMid81m3XaNCPFbKUxsFOoJMdXPSIq3d8s/8
dYmq96smRuPByUS4MPLFekv+gwMml9YGCz6HLhjFYNUI8VWnOIhzFBo0c1v1XbE3+ihCg6UMDlGW
ioVL+8pqg2wCG4QUI1DbebuhKksX0l0tTqGAsyOKoHpEElDskX9yt7g5aVuM7csttqDVN7NvlIUz
fJk60j2X3UFppWzKz37+tcs8sLwcpbOTjQJHi+KD4v2zQeVOT6oxTubeIVnCNtW2lJrUJcrzOwXP
c/s+wW10IV5f3IH8FL44PCYJIbDmKqflkJh8gKQ+wZjC+DSYDMwmx+hXrPXWQsVJv7gC5Vg0F4CV
UdcDtng+7UDESJXVpjhBsyy9dUBa+zz2TqttMb2rH8XYKsGWZNZHaykOc8ybpO5chckP5acwghpp
Dkpc4zSYUron9kEtwTkpwLk2VpwvRmgp/g5ZRRsx6TJuprXXFlO0Qp+1RU8L5r6zDotkek5rKKMf
jFhMjZILty0YI+mRfT61KUWAosEc4KQjm7qZCmnAZntiE2Hedt+05WfyunKBCntx6TGmC3MT2RkO
EbHjfEwgkQAxnaA54TbqMFdpqT7QS5om5PBUt/x4bVgOKJH6krMApnwWpMAWecK3uuaEVot5Kmua
jwR/ZRc4qnKgYAjYpWureKvFU56tQ9doURfBLvnDS82MaYPKZoBHp/l82h0SHsWglu0JXFP4xC/9
0aZRsO/MIduqrdDv/EZfAnNd3PcIlluAOojPSFtbc5zPEMRwxwazPaUVSt3rgjMNhsRCYKYdVfPQ
O5m7N3Sc/VbUnL7fnu8bze38bpDVHt5a/Il9mTX/znpZQznv0hPV6fC1T9Tszh1E66yrPMihC1f1
uMNGGE2sJgv7x0HzxM+wQbxKEWh/3be11sKb65Tib4/S+1OMX9WuRcblDgnjYGWUX8Jipyq6dxfD
69tHLVDvhQziMt4yAx4sgMcJ8QS980+WjGoncFRJT1Yyxj8auFmPDVJu+spEJmOrpFq60VoaC3CC
w1U1Gfr97SW8clJgvtBToSQBkHzO+vAavy4CtchOpWuEXypU1T6HChaqmBWiYRSUzkJNSb+yX3SE
cB0+GDLD+vyTtWmSYliv5Sea6OKx1p3kDjuMDqXLaepwizOLJ88LwpdKd7J25XejqqxzZJu+JtBW
P6cILz2PkxhadOJM6MaTUx0p1U8bsPfeJrXsZgNgUflKDzNpV0Wdtsl6sCb/TuBh9GzAEFs744Qe
aWZwv0VZZT4mSchL6vay6jLNne1M2f7j+QsbmR7Z7CgOiodsa6lnJw8cMn41WMxiIWCLIl81Vt3/
BCvlobufIKhDn84ItphoJ+W95PAbO2xb3GaddWX0u55K5bs3habYQUwzrdVQUvOQQJkxWqUcswNw
HXSjHD20P5V6mivr2zOZbVCpWWwC+MXnCpoYKJJZVg2qGrxmZfoHcAjVjl64tuEBXiAqasB6qitn
0yFitUfsA33Vrom2t4ef7c+34SkfwOzF3QMy8ew5EftpDY7eQwTTSPJ9keMuk2gZRQTXDUl/ww/y
/ik80ifmKKDIQ62MtOv8PJaT74hcmdLDiHKPDSyq1+1v+Bm7qtQiduo/GeLDEPnSeJFNPMv33oaW
dChuLlp7vGHmQ4+JXzRBilB+pn5GKSKL1gaohlcFLa94jSX9f4EajgsLPIdbvA3LS4L3EuA/DbD1
+bCZ79r0Mkfa4qo6GiujT4q9O+bxt7Doc2SVIAfubeFEEBwb3f2cZB3Us5Iq/h9bIGB9+3Nf/TUo
p4C2ALBrq/MSsKXj1SRh14emVkLcRYbM33ZtaryYCtraK+z8dClb5U1HWp4xYbIv63iNYfMUP1E9
bhbC1SxavS0OPec3ZhxqPG+c03dvHrvs207N1OzQZP2/yK677ZQLhK0K36AQQ9dm5ejIXaqhjgLV
7aWQEeJdBJFDw/GWdESKWjIxPP8uKZZ5qkAH7qCEVEvtUCvGFV2a3yYB+/X2UG+luPlY1N0RnaBc
C1p6dspQesrbrk0KpPzD7N4wUpjseVpHXyGdFcVLPYjix9hbivvcdnbzaihGgdITZjN7D9UjUPll
owXflYYa64PJm1/fgLIrrBUY4Opfb3fOa2uEibZTEZIYn2//+GvrRH5JbZsUhGtMBrB3nyitpqaL
kro89KM2vtRVcIxH0X4yfNtfCIVXRyKr5JZ2eR7Ns0pEhStXyYPyECiqvpvswEFzlnfSNiuDPll4
CV3ZeYQgZkUggGMzBwJ5cCAxo9fKAz7vYHbRj+uHe8w0gs+9IjSEqjsje4bxb6IEMmVuv7Dxr8wV
zwNq59SMXfuydq7GE7WqpDw0VRY/tWFmf6mnuv+hqb1xd/sDXs6UgTRSSBRGwBrMMXxKITqzHvPu
QLKMxHCDeaeSK9Y9N3b6SVHs8BOV8tdWD5aqubNHF7BIkJgcMg+SCf3XOU+syjvV8dHlRL3XjR6z
1sFJTb6KF5byIq5TQoUsR2mK8CoFG843aONGdqSroj1MTqpthwbD+jwQ015VRmXdCFHfDUF1ur2m
F7e2JNbSZHJhnOGVNm9C2LxbndK2yoPQwV6v3SattgXipy/qgJkiymGF86UohYVQsx+gzJWItPl7
+ydcmTYIL8hSPMSk69jsXqlRsgx1aDT3dDccVKj7Etd4fZoeYrfHI6Wg2rNK27xb2E2XH9WmVuNA
+NDwUrrA/qt5Els9cluHAgP5cKV1SvLVaNBxvz27y4uKvUNviVIuNV1SeHmA3oUdJSpBH+GdfQg9
fGFee9D/KGmBDymOYvK0YTVGcYQQthdpyn3i6nmz6xEIC1aum+ZFc1e2GOZ+u/2jLr+6dHGSgG8Q
vx6E/vPfJIAHdgjqdYe0pUhGObDCvdtMhnuiTG6sfG9I/vmx328xiynvjQZ/j9s/4HLx+QESPSLZ
iZ4zfwYrLbK3rZX2B00NjL/GqBjtSknN6cMnimorWDdZnZF4apk0vlv71O7FWJdOd+jQl/yRGumR
eom7BctYPkJQ6++kfupiZiI37NklSVMT7DY5CfARHvmzLx6VDYqrtj4cRnbtFxz0ynLNx1DblVZJ
2UegjP1L5DQGyn/NYJMwan61y/H7GjfoXVA9HNiu0WcrUkIwejwJSObTwVobVh+T6iV17WwyDSbj
GtlR5A8hS/tYAGCabZKG1VhwOo6Ai5bE4JGGrNEeGk3NfVwuB7fLVuHkp08QTsPyOXFBxVFyH8FD
O13TvgSenfO/QuirfEa3VyBZShXRfDHtQmmfOFDuXR6NifZTw1zB+zd1Ws27STGg5rRR19uPksul
rSggCXvVaZS7ebCF8E0RvGzYZErRnJC7KI9+2XrlobIK4xdkkBoeZJZXo74iPmj5Bjq+ba3LCjdA
Wqdtui+HsslP5KDKvxyhaO9O2lmiSMmyFCvIhigYdtnwX1gM3qOZ41K2Yu81LjLmzuTtO0A67hqt
6u7RGyJdrDABEa9mPCYvSUehHJtw30P1v6tBLfsoQQ77AvfcFwWiFOuFg4G5mtCkx4sFO6fwNOmD
rwPqMuPhXxJHYUWVl+oC8pHo7t+bWDn9SmurR0ZfOIbyCfXs7jlGlLX6QSu1++LjXO5veKSV+qpz
pmB6KgHcVytDF07/RYd1oawookTPPupvyTqw/TTZmlVZufda1WAhWcUZRnN11If4oVhRJv5jkVD3
rWgc5es2dqmd4W/g/vTTtC0Wspu3p81sf9M2AfBNvgExz5qVIiZUcG1yTXFwjV49hi6u8avIR4h0
FWeAtHRU4se1Emdm8wmQxqD7a0Rs5AYrW/UptbwAdxC/aQc8QCl07rKG2d/H4YTQzcrmSYNms2eU
01Iglnnw/Gfza+Hk0nUCqji7XhM3CigSRPXBQbNrY+Pw2q0yPS7QqW9bQKLO8A0lvAIzKpF9rnGm
hPaja4cmEe5PIHbTEsrsInOiFe25XPVcQHBMvNm916E3kzW6LRB/x2w99k2UHkelRxoq0MaFy25e
LieFIeel/CXnL1v7s0cCJF0E8p28PnC8+VDcP0OPqCIARZrY3ZdMQ9lduDyanbTIvoVDFe78FLzR
wt65MmdUF8A7EPh5s8yfrh4Px7bza5z76tHeY7LQfcpEHW1To9AWhrooCNAfYCSH1gR5OOyE89iv
AzYm5ejNQyb06mua5Bnm48FIZEiLsNLWXRmW32/faheZDGwP3hUsMvhx6gPz66bMnaav9OpgaqH1
tYiz4h7EtfJJL7Lpn6IEqNODe13a17MKkkqDT9roSSCqhJHPgV9xl+u514zmA6Y3VE/RWbd/wtrp
kJu1IdFhu14HOyuyarEmuR1/9zESLptxapRI2oeoC3fuxbrbaH85wNpB1vEomHPPp7Spyaoc66Gm
EXI/8WDZNampbDS9Vdb60C0B2+WxPTvWAPhcMKjgseiak1Scf+eps8EBiNB8EJ1lbbkP+j9xqgtt
N2GcWFDEr+OvQYiw06c8S9BI+uAnl6NjhYaUCJcfFJ/z0c2xDgcN45oH3+IQt2iVwecX/YOwLPTN
UbHNvpheoai728NeWWRXyiwiTcOjH/bq+bBWNRhu17r6A+YT3jrT3EgcUxLFP2kY5OoxtpEMvD3i
RcooFSTAvkEdkF2/OWJyDPGsVTxfe3CiUT+6pZXvtEnT9wh5GH9wivTwyMFZB+1kU9+blPrKBaTz
le8MvYm+LuRI4vecXhP0NdAk3dAeBOj+79nQGs+KgEqAAZ5yl2SDep/aQfWpVCVh+PbcL6IWGC2+
L/KeMFGouc3Otd42Gf/Q0x6SsRnrFS6k04suPLS2A0RTF1p8l6Ga0UAMISrAeGA5Zxuanl9fQP/W
HjisUv1WQTcBure+CslxNzlx7Q6uVf6vQnr+GQdLvb8f9CH+8HKf/4rZnM0OsDoqGdpDJfzgZBU2
IbN0JgMbGH+YfqD8a67LLAgEpK88KBbuq2srjqICwHIglwB0Z2swZqjb5wMrPrQ+TRoU9HF10QHn
0SlwooXPe7mzUJ8EjQeCXj6C50DnILMz1a5s/SFU+8R4aFUXk5AiC+5xFLQjPBzM5o+vJFP0KfWL
Nl/43pdHmZqdpYOC4WPT9ZQH790bxYjDscDq035QJh/jpQA18nEzttH45JROtKE3YC0w7q+OKKEh
gPclf2EWPFyrb72C2umDkWflNsVjvP4fZ+e1IzeydOsnIkBvblmmvWxLLOmG0B5D723y6f8ve+Mc
dLEKRfQGBoMZzQBRmcyMDLNiLV9VS+1r7bX2YVR0/eNfk/yeEhMvsmT6lu/muyWaA7wFULg6T43G
iKWxTEZxKAAIq2gS9c2GsStfk5ltxgUI8SjarAnFbUW1EJR39KeMwcHPs5HZ3yF6Xx71cWn8TC0n
GP+sLNlXdehspH4Xp1b2b4DOEtcgA3hRwJlGuOTbYoEOrIrM7qhms0pknC11xSgkJIEb5/biO1L5
5sTiEOCvBQyxKsaqyDwR2qgNK81qqVSUPMC9kz0loLEfcgiGPrqzQAdxg/RRGcqmX76yZ7cplHIo
fT1ZVqoc64abWXtJv4tpFx60KtOCTImTH1o+Gl8/6ICxTCRhMIwgZZHN1QHyRsUaLV20T33a619V
ezE+ZyABdylKErV/29ZFEIctADwWnhcwDzDo88MaF3h2LzHbp8FEmsiK+uyx5TVHtGYEF6CRC/p6
2mxVca98S6DsnB8KxkB5jJXVKGHKpYxm/akreivadVOivLaN5X0fUTA4wJ00bByey2cGwAqUKvRO
cAWMma9c7BInrq2AiXlSQjP/huxC2P5lq6mjcWTtkjKfbydm+jO0JKFOAbTnAQ6eMPaoSyXVJqng
5dUxSIFgACFLobu9/jXIOnG1Ylc8tXrlHNVCio1G4i/Cti1/e1mQY2aYBg21ZPyuxHuff+CqL4a4
dbTlKaKGUDzoi01yPqphc6dPJZVdyMXdaT8bsC80sMK0r+pCOINOS2UKAbonrdMft4/chcviF0HA
wSCopJdkbPD8F9VmDtQZVayneu4jaHxsrct3YUKK9IQIFyx9UGG7yS6Ky6S/K8m83dfbP+DyzOMo
8Vq0MQGmXMCiReGKiObZ/GQiggEeHdTJji5Gbt8vTaKbxwQh5+k301fGZjFhlZXz6DGDRg+bTO2t
m2ecrx2H1VvkC9HnAdbX5Sl3+ATOUzZ0YOF9BUFEGFiKqYqyP/NQZsMhipYqhSUvz7zvWgrDuLev
LatHM4KlOdqGR18fFj6JpICQDJBAH6CeXL3OszQBUev0OeqFZ3bPc6mQOAKl6jvn3q0UiAxVo4hN
SvNzZGuHJaTAm/tL4zTVg9LHPdA0fMaydX1XR4bd4sgQIOExCBouwI7hUnrQannoYFLIE/5ECbu7
j0FMtPvWhuRvFJZ4sTRkU4/1KPTig0mntE9x8y2LJxy/YDfr6K5q7Iv+3LhGfVfwGWweA6C8f42l
E93p9TjnR0/kWVb4uTaV9QPsWKqAIzmcd3DLhPmGP5N35F0a+PaDyE6YwOc51LnW5+eozDMljJXU
eM7Re7vvmSURfoyU19bzID/4uR2mf+iUwLmPF7l4dPPeE3aXA3dxcgXxQETn5syHXcFxdnmJTPRh
LMrK3pXJ0hc+ABKgTs3cAUW8fWNX/pLl8jNk74KKwxW98YHGdmNUivucWShK+YXCj/bbBr4BZm8Z
Xtwwd3ncMEfvAoQjLUYmMc9318sthj1n230eTH0+upnQqgdTCdFlreJs1+TJvHcUzd6rHfxGG1/2
mm0mW+lvUsyB8Ew+ne+ix2Roinoec/dZIdOH8YfSFX2ocNIfQBVHyn1K3uf5cSLK7wxOQpN0e6dX
vlHuNDgDSM1pIxDUrdvGjFuloyAhfVY6WN1Mxjj2eCzruCgIA7RCKPddnGyFA1fWzJwKLOOSupGY
YBUOaDh8K1N775l0PG32uZEieEkjSextM0mfom5CbwiI9VejnTR943JfWzHZLmIwgBWpTK6MRwgb
AW9mxVzT+uCMXn4v0tB4sVUt6Mp4PFBBd4+3d3mNLGAE4E3xnHBENs752udfGeGdaF4WIV7ULDLS
vUjNzv0PaD3ttbJMuK8ja/Qkz9042q+lmonoNLc1HUr6MMmXws2t70ii5vk3wGHmvMutSFiOL2an
jILeHsK29hd10Yadp9biDk2SZYvedX0jZWcajyD5Zd4m6KSDendM29FVKrfXjGe066qD8FIt3Rle
670MaiKUjfu4/kQUYmi1kN4wY8RmrZuKql4seklJ7ClCYPGgdSkK6Fo1PdrpuKBYnGrfhtHaKoNc
uD4WRsQE9MNEsAb02PkK53jJa1MBPjY4qRb5eq11ziu9W21Qd04K98xrXxhqT1MqnGl25VMMc9yu
k4NOG7Dd9fVg0XJSWPZVERrhgp7/ksqbER+kzv8iUPpDGNtTlmVfV9o02kdFEdNd3ThTdy9KZMR+
Q+jroRl3+7y+NcbfvwNytguOaaI2MgVqFKvzCodIifJyoz570HdGez5yHcFqCp7YT4fGUfZhtGRP
qVDV6IG6rfajnZioo9trdIyFTRUCbMYOpvsp/dSGuICG/lflLDsYzrwwhAo/mYf7Mmz08jPaafa8
w6DdvdZRHNuHXDOQuaV+FBtfi3BarLt5HueTVWvD/OCEg6ru0q4dxrvIKqrxEJmxEe96XY0+d4T4
8RFwcs8f5B70E66xAOaGzmzU1YYGXeHu0ekre5/8QTEReoWQkJ/Tza81GWdf+zQUs2yvAHlHG3ME
09sdzGnKta/glOeHNvKi+bNmdDrMokwFm/sJuUTnVzoty6sag1zztbhgCOb297i4EIy94affUiiq
sc7qkUCQ04lhQ42f4Z9WtaOlj83nqDGUTx1KhXurKJrqnmByqyq6Stu4ffgqeQRNJrUYlpcH9d2l
N5ZoKjqr9p5do1l2lZJ1D10pkeulmO2vGZqEH+ygYJGAj8qFdMCSYWR19EsP8g7Io7znobTcfQiF
89eht6Y9ESf6v7c39SL6xRg02SjRsDg4GtduJptpj3VtHb+Ae1u0+8xKQLOBi1YNf6G1KajJqZW7
b1LRSwFKByFrpxdqtk+sOH6StzjfuPmXG84vAulEG1nuwXrKpgtd2t/MZ72Ubmv9R6Ae/4MUnVZ7
J0W0tN7Zai9cuHW5Bbg9xqFpGjJdef6FifbmhFm96KWyjP5Jx+yRlmbyaE+ztfHuXpiCBY15LUb+
JJ8t2cq5qSEeQ/IsW39uwTR+GvRk/qQ0bYJIKVMlt7/s2pVDEEYpjr4BaTDNuHW0PIo2GgA02U+5
lzTKoe8a7zD2oWX7wuZ6+0rdew+w20JUbMbzL68Uzpfbv0Du25n/JKSSpL1UXLk69noEYZ7aoW7a
fHhRY8eu9jlc9vlz1IhC/LltSJex6doSpGge1HayJmitvmATMVyXoQRPOgSAfNcthvM8T4ho7Osi
NL6ICn4YvxFaHZPEwbCxiya9UI68u9TAfSagbeVVGwBVv6BXpJFb5MOEVKJZocHtphY9evRabe9n
T76ObBWAlp9h5BmjsxGIXhx9dgySVEjTKPqBdF6tQ2vbgdIsw5FUR/rHoXO0z1AJaY8hHKP/Dq2y
hdG5Yo/HTc6H4Glooq6OozZ2WqshSvIyjEu1y82w+MNLpQs/M4ovRV3ZGy784vhTiWayQEKSGM0m
8D0//p2SWiPhaP/iLvBMdokd8tbY2fKHVHR4vX0oLp4LaYvnAkQfd5vO6bktcDBeCqNX/6I2rf6i
pbNy9Nw0fNKiRj92gzX/q8ez2PiAF0ZpR4P0B+qD28bmKomaHBTsETmGyNFZ5GAVlHy2PmV32lCD
rwPi4+zGrMp+317qxUWTVonaICChtERz+nypoah0JLV79aXWFhCFipWIX6AM44fbZi6+HsgpYiJO
i9QJwkGfm6npkZnIT2gvTusiEquXZvFE/Gp/1SdHO9y2dXEysSUPJLeZVVHDO7fFdNusJmj/vsyJ
WT5yB/QjkivLo5VAhoTsTln/vG3w2uJkzRA1DlBkJGbnBms1oQ6WjkhPw3Kl+pxeyNsXgFYPMJxM
W+fkDR985rFI6XkJeOLZIBCRq5vOHCtzdsLKPi1hZLr7tKU8vJ+9dKDdqzFSuzSN4UHIbLU/q9rO
TgCAIA6O4ISw/MpDiwNiXg8NkGjuvxkglepdYTO1pDLhPfnU2RzlN1z/Tse0CSpLf3VzwVEUrZOP
vwncwqI85kONBPKYD8XPKZvcb+1sECOqhQD/j9p1UgeAYhWEG27v8xud0/nKdUti+uUcCbu9DuxD
CC3AM0Tai53ZaueRQ7TuggwU6Zo4REbsJk8Waj+fqbVFyE9GkfklNWpU3lOT2J8OaVcMj8w61/pD
lswupabUcma/KLKOSW/otzz0JnQ9+1lNULKVh5Yu+vRc5NBBdDsBm2/LwHKiV8O3qmP7fhEJa8k+
7PpZ2fB2axQVbOpypXKVpIuw1K2yqQZKtLbKp4wp4aRtD6aeGiCkQMnv9GZy7unrV2JPzdz6BNIw
leOYmvNQGFH4GlmV+NpN5vSHbItxCzv08myfFot91FUl3yF6/O/t77LyXG+/lViL8IcbjnvWz8//
CJcYjKVtHdi5ppxEVYyfoFFFDR7U1CEOu+y+tsJi4zCsOxT/tYrDovzKFBjd2XOrs57BDBhbVUB/
KX+YiebvR5SsnyRvwLNqlMvPjKotumSq9ThHebFLBALbH165fAGZtQEiRZq3eij6uVArlZHIoAX+
50NTCV/i5Oa/jKGePxmG6Pe8neFGg1ZmDe9ugVw4mT1/UWOkGL9Gd2hmTgbeGF0wVnZ7mGi4840r
8RDH+o9YDMuDhWCmXxZi3HihpB87N4xBxiMZ5GLSh3Wf77iHRvagddUUsLnTQ98Z0QOuVjnMtfqn
qN1u4824XKcsJcqWj07Xx1s3fQDq40LLeQy8CSyuYzOm0wh33ldObOwjI0+/dgggf528YaumuM5s
2GICKYzjayhnUEM9XylTC1o+J70I6tAbHwcUxSlgmh4dxVz7oYZqdqzzrGBsqCEmThVX7DsmvO5n
Rd9KslZvy39/CREd1BCUjmhRnP+SeF6aopr6OQhnof/TEx3dW0abBl3TWBufdx0Kv9mSLAVkyNCO
Evec28rGRLFzqxOBN84eBYRkWZh9HGFJ3GWL48Z+XgPJpMNXJp6fWPXyn2HUEJnoR7oxD3HlxT8I
Cb1iN4Rp89mo4WHcJ/VsKI9ZMRW/LQuORT/VtdL0+aR9tJuG0Ppx+0Ze2y9YfIATyCo8CP7zNbiu
aKheWHPAntKGFDUAGWRaRX0HS1a7ETxdXghHkuKTJckuFVXoc2Px2FRLz9hm4DhJCPlLG2aHpVjQ
tBydHumcRnenrWkTecnOLyE5Ge8C8dQbZGJ1Ca1ozAGwDlpQoC640w1l3JPXRsJXheo+xW2s3ZUN
HJp9pi8RRZxs3kjNriwaVAjldrnDkNetwo8cGjsbtls9mMiEDqluV89FIVR/qlX73ySpxm+3v+jl
60IvlqQGFhg+6MW4lB62zRLDJRIovRsebCcrdh1GD7bWekclqqO9G0P/ftvo1UW+QRlAKdp0N86/
LHkNxMngNYKa1/cuLLX8oRiK/pO19PWh5Dht3L3LYwtaQ/ZXObmIC1w8JL2n5AsDvEFEU+zEiFTf
+UY0aF/FPFrax9J77jkHVvZz5bGVYMzV4pbFaMusMwKnbLWYERKPut0E9UDr4/cp6lc9OW9kTmlz
QOrA+VIkivNhzRiP0gmhHBSLgBq4Rec/gsZqDYuQYQeAVLTEN2F1vxNgR3dWVKnCH7oCSgdrk9Lh
4lHBrOtQFNdgGSB0kB/iXUmuUKA8tRhoCcqFoQibJJ52LaKJ+zRVrMCBDOvJ6XRx56LDeP/BM+VJ
q/QBgGQSu68TPG60osTGYgWwU6e/EbtLHz0ROl/NWi8PU4I80f9gD6gRfH20AyhunC/VFbMreMSt
wEzNErft0KsCnJImn9yxiu9a5FU3VnhxVVkhQQnZA8VOYJircAh6HWZVuKvBrCjTj7KuGKZFO+Co
aC1dqrgcf7Rg5rZGy69YhfVADm2iUkKpSN7ld580K5YpB7OsBCJxfnhxFO4qTRv2haxGSPGhfwq1
77Zw1RcXFhdMkkmLHRUK/PHqHNFTyJEx1JWA4Y3iT93bvINGU/8YR8f5cfs7Xh5ZaYqCrqwv4ghX
vsjNVJMUb1KC0E7Up3qK6ztjjs1Ta6AoNZkmmVg/knFC/bc1hHDVNH1sYHmSxWedhVRjPWhzEkcn
Ay5C8S1POvObZxVoy+ZMDDUQzCjWUfMK5nPKiTGlDUd14YVlyf4N5Iqzkq/N+ZcVTSqHgNv4ZKZ1
9a9biuFxnp3mKxO6qkXw5W7pnFw1CLiWiUdZr18zTpqzp0xercenOY6K2B912EAYLfoFuWXpK2pu
bVyYK6dIUltiiWo3oyeraCXvW6NYIsMLRJ1EHXETwcROGVCD8wsTF7Sxn9fMIVcCn+QbAnJdVR1t
ZByF4YT0aY3sYDU0W31VD9V7vZ3y5qNPKOKJFAYpRnI7LyEXee2i2RkudGLhI9buh3k0j30PqejO
ggvF2ttd3TzcvilX1odJEiNCMQna1c/PS53ZNQFsEp1qa2Dg34hH5XubV/MMXKr5+7atK0cFVkpm
K9Cwo3C2nlWJ6c4bDlwOpzbz6j0dz+wzsLjsrhd9egQQ/s//YI59pMZrknCuGzsKzASWwG2fmmFJ
YYpMe/NRT9v+GGnWojC0x8DO/2JRysuCI6Gotbp8ECkOrZbm8SnXq6zftVGRjI9dWjr6vl3KNEP7
JUNr57bRa1+QorJMd9hdXsvzLzjGprJk9EcDJc0V9aVBbbPcof8l+iNjytbWk3zl6cC5vUGkoGe4
AFKAT+3iwiviE2K6tDxp5ijlsfUG5W5J56Z+gYHpJUOhZGMI5nKVOreCZ5m7/yZudr5KrWgTsuci
ObmtjvYAgFxrV7UzL7Umtq7hVVv4bkDH1Cgv6vR6pWVoEDXJKSpj/QFEtXEEOz+8wLxRbdz466YY
vlAxBovCypu1vWsKo25ZFuza1X6uVP2AzIL91VPD7uO+jD3EVf8/Y/Lpevfqq1PtKo3qxqc6nabG
r5xR9H6k26ly76blVvfh8qBgjVan1EoguFkP37eKNniKwdJqbzTFbohcCIAKlL2RMHerTwvMJ08l
7uL1o9fhDfOJl5HoooshQK2JYtlfTk6Ul5N7LR+8E/BLxpZipdpSTL/y9Sh4kGkx5k91Z/041DbT
hlOsJ6eBZf3wagOcTOhIzogqNz+a7vAmULjGeeJZZOPh/OM1upiLdlrikygM8xlhKeUl7yd9N4lu
K5O7tiygSg5phpTdWbNkQ7+TUxpV4tMSzwV3retMxLKHqYt2PAxOvOHALp8FycDFsAgEtFDVrQ9K
yrkcdDtLTy1kEV/sqfoxxbbCYMqgvSbTMHy7fUAuA7Rzc6sYX9hVbEG8EJ/KaQHuBPyx4PGZJu+3
29nNZy9i4Om1m2oGzzJ+0OG29Y3FrjMaJUFlz+ui9GSPyUg9QB/9kOjpizK1C2oHZrFxbK7Zw23y
wnPzKd7K//7uzpdhyMQm79/Ja93pKfNS5XvkOiPqg8L609Kn2Kq+XTXIjBHTg7K7s55WrHq9Knk+
ktMovPC7OuvlS2VH9a53l/wBZPjwsbEqOL6YXGeIjiYZdCmU788X6JmD0YzgB08mBWXD7xiaV18G
ETfToRz0crn3hkZ1nqZkXtIdzcQtCuVr64UoSBI2g3wHxXpuf1ScPgoBFZzc2pzotNbET8JpgqJU
q7/Zja02x7XLCT2WBFBrmF1PZ+a5khhxFyanvG7Hb/k0UOswgDA+2NFSbhHPXjWGXhR7TBWb+fTz
xdHUHZkUU+NTpYTd8Lntx+ZBr2pRf5pBUG4U6S9LyOCvGddiJpBHg5LY6qyieaBN4HDTU0ETLaRB
Dj/fbp4TC+SUt/Q+ZC35bxfk0U6Pp44/LabEH3Qte55JxDYC4yvPl5whY1YOUPglHVZZlvk45jUX
R6ts67MReTMdwTj0jlPIyYbeZIiTe0prYLZuu4hLsRT2QY50g8PTJQOq/Crv7mzYF4mRD312Sks9
TPdN2Isfph22O7vLPNM38fv8XROUl7ukqoNyakpih97yPollGF96vd6aKpAf+qyEyk8C6svFJYKQ
DYbzn2TUhcN4V5ieysIqxG5MKYP5Jhf77vbar9wmREIdWjzk3pQKVnaiGToHC1jkSTfrmQRdhUh+
Wboc8hbByPfQdM7X2xavPAd4RRIPukIm3HOrmF3PeN7hjy9OeVSET0LQ10WgdYGlItSXv5PGU751
odYxdeY6G2KGVxYrEY84Z+6yRBScb2pmx2U2L3BzGmN5ajq1FzvNThqk/pQS/i970zdf+Yr0RilD
S7IuenwrSMGojnRzQR+f9LQYpkPVMPXqwxhi9xtH+MrK4E+jJAApKgnfOkmfcy0CSlkXpzoz1cjP
gE7uzTaRmEyrQV3U7rbICa45D6bFKTEBeAG4uJ5SHFLDamEkK05tEurH1qF5LbpF/4fqYvTYm2Vy
T/Gt39H2Nq2d7MuBFV3SY6op4sftE3XFc7jU+ImfyKpBN6yu79jo0SL4tqe41T2FUmma7hJIBYE5
dM4pUR00FI1MPdy2ut5ysLvMR+I5yXVVRm9XNwfu8cGhWiqCxIy6O8H/85AmA76znsZ/nMyLPsrA
Lg1Ce0GPDR9FILQyuLQjbxErpa9muE9zGvUP1bS0s0+/ZXjWZi/5YGQvDZLJy/6JzAPXdCOg6KIC
/R89MCDfLu9jGCP+gfNI6fZdtmx19uRHeu/wpDH6ekR/FKAB5srtfueDcyqDLYJ3ahAuWZ7uKaQW
3TfFc6J4bzRlvmx4oWtfT6o0yTSPjvE65B50tzdyEK9BLdpee0E4scifYfMwfi5pJA6NEO1G3CQ/
z3qBPLXUfKD74mVffb5mjDVvLhFCYfhw8WObrkarWuXTNJIh7qqFDF5lzuoXVZvlbkg86K5vH9j1
NZE7DOEC1WcZNxFenO9wY9V1PdapFjCpYhW+PujGN3jT8vtF8iz6ozKkX0bTy7/fNrv2gf81S17K
7ItspqxuZ7QM1rj0QgvUptFKvy7JtXyUVMz9bTtXvqgJwYHMQolnLsanRMG4RVInarA4k9ndWX3X
jvsBOvXkLkl19XXUJ/ujihOsTTYvJIEnZQtIPM63VOkL1KO9Sg9gUzbNuyqqBqXwlTRxugfNjMfW
pyxXKb9ur/QCVoJZ9hPEgfc29m+s6grGApm5MUxGkHZL9SVWzWKvwkZVgptpJv4xBs5uMmI4CjM+
tPPEUKLe2hvR45ULS3P8rdwv54rWxyk1Om3ImsGkLuzk7a5z7fBBjWlo+VZubw2Kr4MGuWKw4i6N
QEC/qPqcbzR6RnODcK0RZKFYvEdVU5p9zaxx72UtRIOWR+2mM5zqufGcrSLjlQOMg+DKAO8ASr5m
OUrqwqtpVJvBKIyh2DMukJoHr4+2aNeuHGDebmYi39jjUSU4X2OZ6w3Zi2ECFrJaD8WDNL5DozY0
T5NY0l/0xxrv/vZJurqtcg6P1jWefg3+bzOFXngSsrRpisRdF9VARntmgEw/NAzluV+8XNuPsxme
8mnZgrBc8YgQcEkANZU42gsrh8S0VEnXYeZ9gcH0Tw1sq72by0LPjvD8T4+zMpXioRu96ZvVRyQD
qQVL0MdfcehNyTioOuIT1wkXcz71CIxVCxj9SLMnoTAT5ENdV3ufC7gJtOdSdyF2vL3tVxdOrQ4i
CUjgGDo7/9JJxHAPPKp6ULexnn1SwrnYdyqytgcjHydnFyXJIgPgsrL2Fv+zHGqJtdPtH3HtuNH4
+P8/Qj//EYoO99qi1XrQqFr/GURV8augPHKwS6tDJ6EwNhZ95fnBSxC/SIYJQsbVO9A4kPZFyHAF
ugISg1c5HyHJE/pr2tMkPNR9vsCqZibRR7v40nfwnhAeU7RnJmEV9fci711tzIwgrtruTwy1c/gS
F6qiHBNQo8UxFKn7W5cTZx/fYJ55knkD6B8h4mqDpw5gfW0aATXm7sBgr3cMwWLmvm4vyWGx5i09
oms77HCMZUr/plBwbhAOdVp0bWcGbqV1z5k3jS+VU6XM2DSZi2JyWcaMBlC32hKCu2oYzgkQhpL7
dR27ZUgSl05bGYEyVdoxQYrSn6asffHUiRnmOgkrhEWFHucbT/5Vu6gighyg/sUlPl9wYc6jZkat
EdiV0X2axTB/G4uRho/eNPCW0JWdobmFSXhr+OTa2wcORqaQuC8QpeeGSySCq7rRDKQMmmXc12K0
5mMe1ZPiI2helBtO6uo6Jc8FYD9SHHV1daw+jybgPmZgD3EeZLWyfGHO1A39Ul9qLmsbG4cqpg91
9/ETzKvHyDIeUqLHzpe56FlcAdQ0gxrx4zsl7dNoZ3rdYPtJ4pUwTOQUc3a3bV5bK0QOBFO856A4
pe98nweUppittjADNTE/9XWkB30zGHcklJbsbgMgNxTx67bNay88uSzlJ1j2iM5XNhXAaEZMOByI
tkyjIwC1/Bj2qC4cb9u5dmzIVIGBkDLKmYbztcFgiAzv6ABqahTnH2Sk9Hy3TCNQUVOo/bxhTf7q
VcIhExywYdQeAACubkcUohqu2Z0dMGYbPun1UBX7aq5emrY9KXWa32l4RfcRomLdL8Kw3jB/5UPi
iZgD4ImjDr7mZQZAhKKRU9lBJ+bZvlPG0I5gbTSnoC3npb2Hl4QxO7NIxJZe+5WFc2aRPwaJBz3U
uksUppNjM22PZcucJFGxsQ9TPen9vg7/JcqwUz+KdEpc01whUjFXial+3DNJ9lzKmCAgSUdWJyqF
qb8yC9UJKqZV78ZCQ7ZQmWluxJ61QG47Q65EH3WLQuLKm06rStJkElrQ3FmZ1Vw6fXCROkEzGWpy
aCwjG32t8f5V0mjQ/dqejI2vfG2vJXxLOn5UFdYTf8JYVD5z4gSDMkXDsMvnNP5PPaRFvFfHIVSO
Rik65c4zlwrp5dbRX1v+ZIvS4tq6KWVLpKBEJq4fglnXhSogdwrStmj9pZ9sX2nmuPWtNPyGQHK8
NTx97XC/N7gKntDN6ZVchHagDkqVHnpAI9+S2VPH+xC4yd6FgLX0tTRSmsOHXQgpPJ1CYIbAa71V
RbHVu3nOy4YvXMZ1jXZ2B8veANZhZ0b9sDGqesUvgp6lpwzgU46zrPyVoc+wa5uhFURZa4Y+etOJ
6ZfuOG9UJq74RWZTDZBj0HeCH1l5KqiaIalh7jxA+rNZoImAqfFrPNfIAiWzIdrg43sowRsMrUi5
gfVpMdWcCaHFsIJKwJv7mMSu0+3C2qbzmTalu8GOdyXHksUWpiF40UBQrTbRMaNUxdVbgV0y2bRL
EmBNDYqY39oCpT/LG9TPBe/ON1gQ5w0vdNU0cHuGzCj5XFDc2GVOgWCyzWDmuQXKbqjdg5mZZfqg
gzhqH3UIwRiAj0Xyt8K/f5BP4k07EZw7lLL8DcFpeYnePeUoYoxd1vdOYMSQaKM8lP5Wx8bcicZp
NwDfl/cRNBXSIRwfnhtCwnNTOhIik5loFGLUqJ12StXVf8OdY4tjnhvWcHDVhMlutSlpx94+TJeu
R6f4ww4zNshju/68rjIP/UQiEZSlHUkKu6jYQ4Vm6t+lmMX9YvXx+O9tk5fXBZOwJ3ErJb/Kunap
GUUTTdYISLcphudIMZNi15DE7lQlibfay5c+AAg2cuwQ1AIruYiNVG9hiD9P7EAfq+QvzRFad4xy
r9mig7q2j5BywNUiAWsEuudfcNZ7zY4gnQ8sd2nLY5Y5ybJPhaNYd7ZROfvMDuctypYrpwa8C+VQ
MJw8YusCtzs4dmdlrRfQcjWaY9dUdKXSJrUlVKcLn2p3dP9hSrnZqlVevpqkwdRbyIel+M2ak4tN
FDR1AY2GVWV5O5jXo2NCezM5ul1k/Ck6d9mLSVuSnaLGg7mHKzbbKkJc2fD3v2Hdm2r0DvruKEpO
paVmn6OuT9JDVqOpuncHGNdNsfThh12hzP4Bt8vKO0oZq2/sTm4/jHClnXhylvgJEaPR2DWJlxm+
jVA5zIFp3fqpKPqfYdoPG27/0htK6xCDmJBPUIGQG/LeHQky54oSx0kPLe1VUAgId4QT9mvbm4Bu
5jL9QohaIRpQGBuO+MqN5bYSIVH+J5WyV+7JaDo7z01bCWbKMU+mwnR4kTnK9x5A0N1t53Dts0pJ
LyIE2AkuKG5yxkSXcs6iE1wyrQ9LS/TFS0OxH5b8uz571uttc1eukC1bCpJEhInftc40QBgVlaxM
CfIyRroVfqJZHAo2PzmYiKLPkd8KwGiRM9sbzdwrjknO2GMW6kdy41UI1g0RnJJ2GJ+GsBb2MRun
yLnrncT6HzaU6i+EmmTBlFfk73h3bEajTqsmtpKThgTuHY/MDIcms1q5u4zdXWIp1Nhv7+m1T8iT
QjOM9qqk5zm32BZj4qWzkZx6phanYwJCoLzzRGvF94wROO1DAZfx19s2r31HukME8DR0SVtWl6PI
QvjzTaDCeg+5xLSo865QkOewqt77ag9We+jMYktw+Nq1oPhLdYzdpTG/MqoszJfojRudYsZgZz/F
Gz7oiVF87VpmFm8v8KotNN7J80HYUWg/39SU+pwCrAjYfD41X9RMrXchzDfevhomtdw4M9fOJmEX
X4+hD2Dz6/qQA7ujAwHSKdP74o+qZVV01+dJU+4/vihgIsTo7B7jB9LlvTubXby0nZEVXpAnznhE
v8wJd0bfR8aDJZbOef24NY4GvQLUbQmbV+fSsCB50BTVC0Z3UqEW7aQ8r9mrZXLoUiP++7a1a3tI
MkuHnaWBCJH//d3a5rB24pxII7Do73+CRQoMEKioNjvctnPtWeAhfkNc4TbXJCFyfsvNhjwMaHtY
xb0XOckLnRL3ZdHAsULY5pYjUCiIEf9EZHjthvlroQDVEdJWqraQ0q82VVVHl8mYRgmyxXPpHRoI
70EHUD1V3chk+uw1R7Y4uUOcJesORdmVP26v/9rNl9SAnFPJknJRM4jirA5TPHg81OFLyGDbS0bO
8lxaS073AeG7ri2Mjdt4pYWJdAU4SSgwmPWACOn865qlhhRrmHiBFok2e6mqNvQ7lD2NO2RnTNQP
y7CIXB8yOF1/omFWfAotVKNPJaQV/9zeAE3exvNCGSUyYMXkD6SDVADPf0tE2XWsvSoMihyxF79l
u++Zmq9D6CO0/lEdvegu0rIezVVh3SmAgosdaal2CGmbiV3uNNm+scqtwZtrzwDSUtw2NOkAZ62c
SNTp1kITMGSmqirM/dzlzfRQZ2rCjLeIhnsFhdiH21tx1SRXHC1pTgI9wfOdgE14iPTKdIK5X6CB
U4ymf+HnTe7BMGeD0CwurJ+3Tb4Noax2H9zOG/YO/Cq51LnNGkqPspgGGxn02tWCWPVQMuZkKNqR
+nLb+QxZ6IZfpUrR7uJ4jOAtNdRf2TKHX0NPhU84q+LywWvCuTwZyoD8zO1feMVB8LPkZBs5PDHA
6pVKnMoLDSsK6ePUaeN7ohi8nSCPDvpRV1IUIXWrOFhG7lpfrLozPpjFM4xJ8V2GjnwPiHLXFxTG
nW7KamgYRRY3383UblQ/U1TtvvFAoB7zhpT3PnQkyzIzG/ZyvL186YDefR9pnvY3/LyQfMBUswY0
I2zlRoRY4QssUhU6dvoQTrtRyoLQwEWt5ba11WZjDQ8kO+ASGSh7k+enodEcKeRT6S91lZQ7MeTx
/5F2XjtuI9G6fiICzOGWSp3VbXts2TeE0zCzmNPTn696H2BblCDCszGA58KDKbHiCn/YOWaU7z1A
FXeWm4p7j0O6hcVUryQnyytJDi1rFUQiBkMjBXQ+tN1NTdhFs/5st2HyWI9VTJkksjdt4hmOD7Ii
35Zlqz+3lWrc2ZPb+lhXNGtFk8UR5FfIMhH/AGaBX7S8jIpITcwu6c2nAHeOY9MhIRHEhF9BKqaN
juPYGtN6cf/D26RoKrGfEpmkwwk4/+zeI9cVU8ujl6fz76pOvg7SAjgdSY/yrDU3yZy4d7dX+WJP
AXOAmk/LENwplJHFmHHrKiGY6uR5EEr8GHaj/cPr7G+x5+UrJcyL6ZSACvlhkJmY2mVrZzICU60H
NX2eU5Hg4qwFZbU1imGyUckJu2+QNNs1PPG1rzMkj4NgU74p8u//iFy6sm9qui/pc5a0xf0cdgr+
QQOgL7zfwk9/P5OSpwVTHLYBML3zsfrIbZoosdPnMUCzyg017bsBbuKHUcT9WqR07bug36AUTM2E
tVucTcHoeWhqKWezRLqotuiruGp3D6QzWUnuri0boTOCd9w+En14/llAp7iSgzzj0inltu/U53hI
koOV4NSyS0KtXTOHvjwG3DbcOIxJMU9behAbRkLg17BoMVXTz1acuJ/dwG0CjPaSltMvZuQGgDqt
SWVdXjvsUI4gAHyq0QBh5FT8sVsmNaNE6TqsoNdH3wsrNXd91gATxoqv3ZfT5HyzFU+LN3lizt8o
/Y+fdeyzd7f30SIM5RbgV4CBoWNGgQZg1/mv6DLL6qc5ZsI7dXxVmXkrqn6l4dir97Urap9MZja2
uOeEG1RW19SiL9YbyWSq5LIIh/f6RVtjdmA1u9kwHc02E/0j8qxmuwNcllQWerNqFnLj91bgrjzt
SwkrmevSKkTKjlHBh7yDnP+Y/LaNK7MGNHF00rhybb+olPSjYVQIFm2quuxFT8wTYfbSUrP7oEmT
t0cRWNAkbCW3tc0UuMkvXCpF6/e9GDzLBwbpDA9ObmXTkxPEuulTvuh+3F6tZcjK737PV2C+AiwB
trQoKA1OicZ0X3UvMfajWzFNHZ4LUS98QiHD3YgG00WnUYLHyNOUj3EqvEPi6WW7GXBbUTeqKaJP
bdCGK7toGczBoYZGIbsqxEug9NzFZqba7QVC6fuXPp46TD+LLIs2WavYx7CM23bXm239DypoUTP5
7ohnaFvaZkNsW7vJBtRVOb6lFpzJjRrrXnLUxkTRVm7Mi50ui4BwTIA+gRmH3Hq+02PRmUJtk/RF
ncbS3USGjlJmZyUveYML9VYkQ2PuvaBz8YJ3g7o52Ah4rQFILm4bmxgH/0mkKMDQk+We/wjXEgPC
AXX7YucgZDoojT+spFKbnesV1CZF2m8L05m/3N42l59OHQsZUfpeQAIurCBaq6vrXrHbF4BQ3X6s
gv7enpLR9lscAJxY3wgrT7bKVLpvpe30K3f6ldHpWEBlAV5McLMkVIrAHsZO9bqX0FPRvG0Htdtb
jjXoBypcavgd5nj7Sp5W0qnqs1EqWSHKu1Lnurho3qGcoFUlQMC5aImJkJo4L0D7oit2sHeViIBe
c6dfbqMFm0pX6q+3p/zKeNIaCzAACj2gzxYHonaou1KMSo4NmXXojxMIt41XpOWrlmfit41MT3q4
PeTl5cALTSOKM0gEyVcu4o/JTQRS9F1xDAlzXX8SwRQCTEp6xUBzrQvw4raNqObYlbmp7vJRsbs9
oW9dCr8DZvXZ0qFJPhlpZ8Q4sppVpI4rF4X8CWdJBd1rig7A8kD0Yocn98of9+4khsjTqyE+6s2U
5y9jM4Wgmeou+JwiIrYG077ceUgJMcs8LOw/qn/nozF8Yo1DVR49p5iwqVaGiD9pa8Oq+li17lfU
kQ0fKQb7YapidU0w4N3AfvG1dHrI3Dh2MMyWPcI6yesENmh0FBjEHtN+NIwNJHARv452UIFGHM2p
+xyBryi2Tpcm5UvUp2bmV1zuX5s6nQKk5Sz3MxdaHW66OfBC/NVIx/aZmpOBNNNkAdN1SzpX5Zjg
yWs5Qh8PbqoLqv9WQRQ60+T3G1UY5kvBPn9GnjN5yz1Y434Xx8UbdFHdO1TW0NVbZ4zncdtUyArs
AmFkeUhLvsFyE5oyfewmUD4mItaTtyh02h8emh3RJ0zgoC6HocfOmdF74B6pUv1TpjjBZ5y4POPB
nscp2TmZE2S/gYo05WNKHd34p4hViFiekdXG1orMMNhCI+qrh7w1s4FGoEx8gB5U5R5GtjU+AO+p
zccKpsHX0WjKeGONztzcK9gIG/d9kkz1kS0EEHHsZ+p3g/AyEDdK2DiwN9UyUva3z9uV3UW6iqok
PW6wnhdhsYpdZlQk8dFq2+FhqsX4Scf+7ymgrMjpM5vqt5JW1oQKqhbnbLNsrTB7+QugsAB7IYXj
F4CbO9/fFLM7TjdRDCKn3YdayaJPUZS329pRoXU2Gb5tsaKaL2ZcBnuQsmtop8vxOcVAHFAdYBd5
S451Vjszyul6QI0OFOI+ER6QMg8Rq2yju6mkKHn1bJunxO2q5w6BpGzr0eJMV1729wL0+Tkj4eKO
5XdImsCypZlZ9jQLT4+PcTHPjo+paax+dGujeRqGvnF9Tc/zJ95l51TgHfuAaEZ2gm4buh9mHn/7
S5aUZfJJC+ivfLUylNgfk6xRrDXri8s3wSVZkzLRRJ30AxfXUVOhk4JYQnXUsGV6mPQEpmmU8zT5
CuUtBYEzVfy8vUeXbD0CM5cOJB0CKswwupZjxjmmRp7XF8e+mbVhp6hD8Sl2m6LeiV4yarPIwpXc
T7UmTv6ZI8/IN3qhDM+DllQ4ZipGmFpfb/+m9wf/bLlkmMgcUAWWjPllrceaC0QVhlx7rUWdeS9l
EHXt60QSrz+FatIM276JPNvPCtOL3iZrtJRnJy0n/KhU0Ut4bxJlnxDAE8NGbXvMSvRKadNdX09F
+hnHjKE8tPk0eJ/GspvCnUCZ/aVGlmn8gAJpPu7LwAjVlSDnXU9x8VFU8VFu413jj+WDb1Rd6naF
abzirT7fq1M4/3Q7URgfHT0ID0ZbecmXuKo4l140xN6DhyJAdm+2XfvFsCuRbSNcEJ9sEz7RlzqL
qidnoFxxwM2uU560Iu3zfzwrjqcPuUP1cVMXTv4lC/S4XynRLEnREoYFI4IDRWmIF3JJUojsoUic
POuOaoPaHORNQyDiqgoRfuiHxon9fFa86C6PrQF/96yr/BZE3Mc5NENjl9JR4L8e7bZcSdku7hp+
C5rZuDcCfJG2Fed3XRwlfVfk/XgscuFod6jVhS9zXImHAKrDJi2y/Cto3hjiq9OPn+bBjVdCl4vT
yw9gbPDQlGUvL5k+SIQ+ON54NDv8HH3sW8xfuV3H1mbQQA+obTSsfPJliYAmmCyWAZADNYEgz/k3
GxHNXxM3paMKUf2HOvQP0xwme2lm4iek5Z4/uilSZ5oTiNeGRPeZ0skaqvYyV5a/gma/LBXSK/IW
Mz+OemW0JCVHyFDo3HZVZbZbpRj1BwWaULjplUIb79UeLWuBDlTxaIxuEs9+X+XGKKU94ACOymwk
z5bd9uZWGRq415qXUUIfrAbeljVpa06xlxcfv5o6KtxUMmYuwEUwrEHCAHQyUUptSjxGM73/wfuR
zzvR6fNL0M4/HX5kClq1dnZKoyDElQzFmyJsdKhvX3iXOwcwMJpDRN0g1FBGPV9GE6JwV6ZyAkvT
2UeJ+8tEr+KTivvwS5o1pfe3tXRw9KBNYO/CiKRptqjpzLEkV7XudOQ6r7EDaObXsnHNgxvr4ceo
my1/Hj3Oh9PV1un2p17ktxJOL+mmgIKpqr3v6D/ie0r2NWXs3j7OTd9+7oO0iREnDzVnF9BCfjWa
7N9YeN3n26NemWBUn6EJSlE3qR16PsE4f45e2VjO0YW/1Pug4dJ979jz17xtkueuiv+9Pd5FFkP5
gIhe8ueklP8St9o4fd0MSmQd5xlsRl7p46eurbuNNLRfuQMur73zoRafNttprbgisY52kWPI50Y1
ZjEq6IxtVEXDHlG++JB6ebYbjTE5ws1fY2BeBlf41lImpG4PXo4AZlGyCAVq0gkNt+OIqGF6b+Zl
2dzVQT2nfudV9R2KyyBh7MTNfxbtIGBrgKqZ77O2Ml96Okc/jLlP3iqMrLoNrq3xvkijaa17crnv
DAmoQ8WcBBi7G7lD/th3Sq+VI0GofiyVAWFzdey2ql0Pn5AQQU9MV+bsENBYFX/bZcD+SsreSREn
6nHLHortGWOdEKEfsUtWN4HrlJsmMp03QaX1jkJDeH97472Tps+iDCQAUIgF5IWvO/+TxXd6TTya
JVSS48S9qh1SwgrDD9LM1vxSBXvyELUqEs+uao/3WjeAg23DxlN4kWFlbHoY9comia2gP6S8tUey
qHF4MuZOwQlrMtXfpR6708Fpi/au09QpAMAlqtSv3NER+SbQ1WQrdCPzdkB4BuvQtRrmXXqc9hp1
JNNNfT0vJkkrceZw2+iKlb5ZnWUe4Ph3CEGpyvCRgmBdfANOqn82jVnhZpCsIL+Py+E+avspeKjB
f51ytFbe4q7pgqeBNFn4NS7jSEkXQ2v9vj2rl8cZHQAQUJQHaTyApznfPFbTiE7UmnNs6ZdF2yC3
AmVXQP+m69l1wRrT6V3DeLmIxDKUQahCS4Om8/GA6Sjg91XrqHVYwm4MYRL9pbQm/Fq11INTOc18
0Ka4y33S/17sjJ7r+h48mnIXxY7efhsE0HHEz2bYBrL3u+3AyWh+7OF0hyRHqlHWa3LittsTde2X
E9xKtAS+bjwsi5nKSyg84ZC2xyAEdOdUuR5t9bkxjw4VU+tTaHbKBky2ov+bp126S2lfua9a1RaV
bxcoYe9iQB+HuqRYAMK1E33qq6AZuu+KJ8Sm0d0i+8iMh/Nae/nyGpXkaqwhEe3AL3iphh6mcWdX
mIIcORLIf8Ui8tXCMR4aIUq/9hRvW4zVN69HPZ835K9brWSlbC4HkDO0uovbCd8mt0iHrj1OvJxv
mhdE3wSoVISVY/MwT139uW76fo2/LrfRYpsBMAJCAESTIGj5Fittpswo/opjM2KCsUV+Ldg6pWvc
lWMTbEe3btp7rsf8Lg8F5mi3t8rlk0wKQUuAx5GCs7scXJjCil0rq485/PY7tYJstVHdgLiVMuSp
CNX0++0Br7wAsF95pCw0QUHALrYmskrCzqekP4oKKNV2DMSoSV30EJn/aNhEfRmSKuTpP7eHvTLJ
1D0kgRC3Dyhv8mf98fC08EBnN+qGo0uilJ34ATh+Og7GgdshbMrmV03dxXouZqsQH51galfurqvj
Q5/R+UAaHMswt6uVgjBMdEcXf4cUIAh+zZ0xgYadvDrI2HE2rGtlQiPjIBRLXev8XJt2CVFhhWll
8vqef78xYJ6ZaWl/TPA8qUAFJrG7N90+eDMKJPfQ/VSofo9KvFLYuLK/ZJBJFYHLCPbAYrlpdHl9
OXl89ww6Sh9iSIYRhic/9CDmNh0wllnZ0VcuP2g8QApkz5RneCloUtipUbF7h+PoOvH4UIxG8S93
fGZsU8dOm0c0+NNfqWwhHrTMC34OtdMr27oa+2CjK71tPhqDnioHpagVbFZDOy2pjzl27iN32gEU
Nd0EEfI+tne39+h7VHB+E0gCEoUgKuEksMs63aAnuhBTMR8TLR7edPiHxrZE64tevhGUT2OYJq9R
SHl6M6PsHO0UmwB3O/d9Wz82URQLmqGIs/kCRxUgb3ijVv7k0RPeoDRVencl9IHGpzxbGo+FJvT0
VHZ2OmxENjr/qnOrfYH1zvmLqUN7B0MMCIQOc4jZ9O0PvdwUMFYQ7JAmkxKztEi0xszRSsNRUDUw
1OSu5lH6JyT7fM5hgW45Ff1KOHYlyaSdgWMYsv2Sb2ovMq1Ww7vbU+v+qLlVms3+rFM+9FuhtUGz
ibp4eOToRN7OQuA22eqFhRuqFVfGF6Rvu/hNs2f7x99OgfRm4vqj1ieRlovzqOSI6I+NOR91L9IM
v8NAFa8sL37oSYf3iCJjAHh7xMsbgBGllBKJLdCNZeGrHktvHpRhPrZmnfiDmekP4ah8CtyS+0io
nfqz4OI53B70cqWpi0jRFB5TKs9LjrNw+9ytIV8ehY7XVFGkpp+O8GrcTL0bRqf+dHu4ywjxfLjF
bYMhDP6BwaAe+wnpdVgu7Td0kU95Mukr78lloCLBqJRZyGNJ4pexaOqao5bVpXos86nZO/0QOHtK
TVb2o2mkk0qqN2gbgGRDllHMqZtu4jEdvb9kZpLUUDdA5EgqD0DRXGbUXZx7zhQF1tHRpnr2ac3r
wP5CddfgzLZyiq6spQy8uclB4nHDysn/4wk1I7cSBQISx6bP5gMIignRRSvDx7du7HtSnFzb317O
ayPyXjrgANhAxPznI0ZBbeKvPGpHrVIgYDppdPBGc8w2Yd6F23lo1oKTK/tHVqKk1BmIHxr/5wPW
YaM1oLP0Y9HP47wzc6t3X9XM9LDG0fXAXElL5T13ft8T9UmWmZRbAWS7mFGs4HSvrz3tKGIumFxB
Z+WAy2KtrxS9L4MPCR6kmUHcIROaBRpFicoZjFCqH4dWdButMen7ZNawz7GU3pBEqfeoDyVbfFkp
G//1EnJCyJ+k4xBS24sl7EPDGCsqscc0q9KHCDGjeyMAaNJBjdyiJbSKEpXfspxT+A/wWolZ2KyL
JYwraom4G+p4MxfmZoyS8SCQxHgqsjB60oLE23i4G79hM6I/o4jvbeK6m3bob606JVy5cKWQDkUZ
sCzQTOQV8sd5IaeuCgMnuSMvcPZxrrX0V0Gwf2dy7Q5+oeXmvNUU3VVWzum1TUwxGqlFWWa7KCt2
QznFUsvtSJPXOHiD28e+Im8g2wiclWfs6lgWxAhqmJRllyky9SYzhSGpHi1R9d+qRKk/4ocI/rnX
rHDlAbs6loRNkNoCRVvWtwUaCZE+8l2lkY+/+iDEapcUtje/i87FqP72xr22elKpE7c6VVLYFvtI
S0xvrimcHpGn8e4QpUe0LSmavdeo81d6+zAS6zn+5/ag1z4RQAjwn/ctvKxTidLsuq6etWOMYPsb
fhDqQ65X+A7SZ6Fh+h8Gk00LlAOojy73Z9u45RTQ1ziKdE7KRxXZx53hKoj6xkpmrUznlaucQgxw
OKx9gFVd5JmD2yE5lHCV21bibVOkl1Tyak//VlWDsu0Q//5LXSn5NlJbl9ce4QdLuLh65iiPTKFk
xtFR3GoLTcAo4A27yVbqPvhabTh7trS2AlO/soSgxihU8UDSSVj2vyan7oZuNrl/4lL/yrOdad8p
nTR3PHKm+bdoKXBEOPrR8QEXC7JB/pg/rhiXZMCbJ5tyalxn90PR/y4b+BVtRkGc/Zkaa2Y+V04F
A0rVfY4EAeziVDhuUY4xJayjbZRq97OX6m93lByt7sCeDqh269iablsE5ecVfc5rQxN7OHj/gudn
Zs+/Nc6sBLGLxDgqjlK+AtbK04NjTLl7AKOWfiMhGuC35sN/iXtstGpQRqRGQoF9Mcl2mLZFxB1+
nBU73daNk3c7LZ6D5zl0q6PaZaJeqd9d20PSW01KyUoxkcWnhjgpqUZj6EeqxMprjNuOs61En6T7
1J7zdGVir2RHtiOPpARnAMxY9r1GrYS0BU/4da5J/tzIy+2tk7dUCQplfiBAi/e9lqIZ1ubtg2I4
YfwSlUr4QPlE+3D7TrrExmFOReBF2i5pB3APzlfZNbIwhZecvcahzVqLvjVMPy7G+IOo5/GRV6W9
b5KpRNHeHuCHWyMqdeVY/wImSYkaxxexgd6+JsV+GUFRUqaOIcWSOHPLTpJWg31zrLZ+DaB+pH4c
lIQVYLOeAPxQ/tUH5WMKlMqPJ/zlV96997vxPKRh85G8SoYPp25paANoLY1wzWrZ9OVv5JkB3EeW
9YTCjHOItDT/UNRFv2v12PTtLqwfBivpVy6ay8Pn6lDIaTFJTveF+i+VcCyPC3d8JaBJus0YA3kb
qYa8oQqReL6rw0BsKlVfc2i5fDbYj9RiQS/R0YJscL4dClQH+8Qrh9cpMPrfs+u191CAGuUf0Po8
wZYZOuFfv1QASilWEZTjn3BRoDSnHJuiNnKPeagdojrVdb9pEwGBLHc/5HMVfL+95S8Pu0wjMQtD
q4434P10/nGHR3M8tOgqO5gJtOJ33/cW5VA7+DLgQf7x9lCXpwtXX/A8xE/SnZWtfD6dZh7y2BZp
/YK31XzfmWNx31XCSXfekAcPZhYMxz7q1F3Upka9qZCb/Mcy2kigUq7Fp8iYxM841US7ssMv8iAI
FkBNDZq0QFrAqZ3/LL0OqhaES/2Sd3r1GxLvCLWJ1oW4u/39F7tJ2jORR6JjIkXsl1Ti1osLUwu6
6QUShzsczCLixJgtKbrVhMXvcLbt/f9txMWEB4ndmhOirS8dxIxmo7hmdheEbfMUA385xLF+uD3e
cjNJmwgaPuAJwJCzixdvVWU3ChymOH8uCzO951k2noURHLUo/Wsm4PtQCP4ikcIfVC3PFy2r8qkI
yzx/jp2AlpaJxTCIvkycwMxice629ncN+bZpk2pIptz+zOV1JMemUwLNnXo20E7tfOyusUZ96Nzs
eRxpQcVZZcP6y10/tDutRJPKNX4XaD9/vT3qYvtIbingRRksy44ut9H5qOM8pW6jZOFpGhvrGYnF
bmvXbrExEzRiOG3TGlFNPnZ/XPz/MyAYBh4RWuZAEs8HdBqtVfVRDb50OETkP8yi7E+g6YK7aqpU
7znBJi7/gMugZb9qyFN5m2oO1yQMFlP9/htk24D4UsqVXFTT6ZX1wTwrX+JkDqJtVXgqqU8FAP3X
kOLuAqTLrgKgQWFd7m7P9/Lh+5+xmWgOLF10WmTn36/RxtZ7VO5Pydj3O7cLk02pBtZeRIHi3TlW
6vxbES2+NGZRH9SijZLdbNfKys+4OgN//IrFRu+bZmj6BsfDyRDNcJcZ5Qh6Njbm+s2O4/H3MJsJ
ahxJba55V8rvW64/jTLOlmzOXbCusiDHRys1lC8QynAKLyfTeGtK0hfiDGwCb8/2IsR5n2xge2xv
eBCwruQ0/PEOWbGlVnU4RCeAyrX6QdULXfFHDXvZLSFP+Gg2rZv+JkgeDkVZNGs317XDZRPkSKVY
lD6X/D5nRule1FV4CmrMD70yT45zUVRfUw8OAGFdYa8E2dcOF7QPnh2akSYn+/x7DWXywkE4If4Y
gztsZ5oHOxBzibFtuUPp95qKM277xJ2STSsgdG0oXyvVSvB9bYnxEaInKBFKvH3nv2Kuyk4Tcxme
HERO7wbDC7bG1FjbygYUfnuBrw8lAVEk9eRR8u//WGDFyhh/tsKTNg7p51qXwji6B7tIa3tnLVG8
NhiPLcE85D0qnIsb2tC4I+0WQ118O8dnKptmht99VeLmrsWW/ndJ9/vexagdyDbBA/nSYhYJHoa5
cavgS1TVGiia1Iim/aA04byD6js4+9szeW2vgoInwX8nqC210PSmHUMhRZWsCjnLwdHTbVqW7usU
DaEfBtOazu+1yZTZkDT6QKBwySakmhdmvVoqX0wCQ7/0HLTysj4sPnlmlK0Zx1w5Fy4pviflDPi8
ZWfKrNHqVDBG/AIyJdrwnfODBpjtvpvLu2bqvU+FETt7I1WG1HcF1uIr5/LKxxKbchHJhIt/Lday
pOUGQKsJT602JXdNN7WPXQTUA54TccXthVymvnLjMBjFd/oZwASXzlIWRSCS2k7hhRV18eKEivMr
Kos63vLfV7t8SOp4M6cqJdRunlWxqVwJ4ivA/vTbqin/2p5O/iBQqJDfZJ8OOMr5IQ3CMR+zTGNr
ldpwgLlB0SqP0GYtx7Z70JiDNfjJtfVmramnQjBwLuY7T2OlbiIrP5l6/2/o5HO+parrGZuGu+/O
mZX4GEAJ2gWB4d7Vxtrw15ZbquzJYh01iPeU5Y9bKdRzU8viAAsmKzG+Ze6AdnY0m98LLv5ft1f7
6lCUc2H+q1LuUv79H0PZTtg1hlcnpy6OlGCjItlT+KiyDqU/qlm1kkdeeU/JMehxazzeNM4Wqaup
j8nYQoE4ZXNn1B9EaeXqq53Y5fAPhWPH28xe3+c/A01rDrVFzeft9tdeuaRc3nEeVFnbpfN9/rUl
wOogzNzkVIbmBOgCXeN/SW7NT47RWP0+t8doDUB9dYIlUE42X6iaL+JVBO9Y4FRJTmZhT+PGHi0n
I2KjXXgMklH7dvsDr40mq3I2dWUJeF+MFrRjbYxxleIUNgY5vYAqnJ1jnru5/iMeBvPv3xhUfsjV
VfBhUu7lfD6zLgefpDrJSZjYk/kDt2SxbRsx31WOiNZQLNc/7n9Hk6v7x14NdHjaWhgnJ6NF9uNt
quY6eASSbf1y22hNW+HaYICypMUcag6EB+eDWQDszV7BS7go06D9MCZZ4m7mDjPaNx3CuLVy6147
GRKmDNWYO+cCc0ZlUShTPcUnXTH63LdKEie9AB3l5wZVv0M4uJ4wgKj2zS+0gIf2P5wMepFsGYnx
wznj/HNLYAIiLJ301DS1871xJuegJUO6E0pjvMWAX9eemavzi6qlFPDDIWCpltGadhfrgLJPg1ar
89ZL0SbwdbSShk2uVqs916vD0UxA40T6nC7fkL6M+rZEhvpkRwZM2qbW5nTTqE6+ad2hXrEZkpO1
yFFodchSAwxeqliLQG8K2qZosyQ7ed3gVo/qFM/G4wB1ZCV6vXKdeTDRaKVCd2LxFtep4XhhX1dG
fgry0c72WmxayejHQz3trUqZ5wfhZOaaosrVQdGBReVRR8RhGXgNRuRUvTSe7MagQO1sBCTkK904
NNtWpIa919DCXbOWvLJ8OLfSUkX1jC7AMjEJ0S209EpNT4pVR6jSaFRczZqcOyhjCLgF3J7bF+nV
r+StetdWIvpYTO2k12M4NyI9WdU0fPWK8W4KdaPc4KCRt9TUh3Yt2ZNvz3LT0J+jmsKKggxavE0a
YPdkQgDnNOei+GDO3LbUlGe721gVt+wzLXpQ86raOfnfv8qICSPAijY7T+OyiTzDeHPxUshO1NLz
am+VCNU4aZMbz9mMa/wmGnUj7vywDFR3Uyt5736+PdnXVhdAhEwfPCnJL//+j4sdjbgeuRQ7P+l5
Kn65vac8271hBxsI8OPh78dCeoiEQUYgIDDPx/IUVHrjoMZLM6ysp1grin9IjYLAT9T2++2hrl0D
UjKD3iDtFcLJ86EUsyUUQef+VAShNm7zqXXCHZyxNSeBa9MHogzoFsGxwZVzPo6obX0wW6c4hZFr
/aBZ7mIi2RXIghR4397+pqtjSRQ6NRHqfubinUBcy8aI28tPbmNld6j7iFecnB3HZ4etsfeujsXt
CQacDs9Fvhx2SOxBS81OVYrb1X2aDs2hLbgiDhrk9U+3P+za8dOJ04iFPbbhsnSL1kCE4SdupGmf
2Bh9qJbvwko5pgOiJn43jr9r0xjvbw969QvBwYDpJN5Hd+t85WA7zKLL2Ph12phPWZt1vyar7qet
1YJ33t4e7NqVRnEYISzyNGg/y6WTKDFNZecnWZE5h7ow8smPtRrIiDrrIXbfBZz8/e1Br30hSTqN
MpRlJe3k/As9JJaV2MRx1VVrEfujB3xWGJP7WIbOGp7i6liSL45oBTUBczEW5T9bD+YgP3nWQN/b
hnu2E9aAi5RmRGsdyGuz+a4yyKdJcZrFYLHpxK6d2cg3UnnP9wgbZTlQ47reaXkduQ/kxH/Z+JOJ
OTR40Kr/f8jFbnEBcJdYsBWnvEH95CnOjP4bBlV1tXErtfswVHSpbq/e1Y+UOlNcyrSHlgiVpGr7
ZshacbJVbLhgto8vgRJrid/j334/aUnx8T8MSKLEJSZFmcxF18uam7nUvFycIifKDwPL6dt2rG66
vG4eeZ7mlevs6gf+Md5iFQcrzDMzLMRpqHj2+EIWkdKj+ZvYu/ieaaW7UtuUh2z5ylO2p9oIFAdI
5eKunhq2S9jU4uSoeZ1va3vU4d0Jt1oJDa+dBSIEqTGOjA//Pj935dh5XUgBB3/hrvqaaYZy14S5
eGsn7+8Am++7UsJ9CSDw1OG9Ox9pbiWLpujFCR/ARN9lAEO+V1m0GgJeWyqpTyil/HD3umh7h0WS
YFcjTolTh2+5qIKPydx0d7D4PhRVbawERWvDLRZqADYMRjURp9qVhnt9Xni+KDRFUP/Xw3JrO81/
SDlhWoFpkLuftVuEJsTN3tzpZnGqSUvNrZM4xt4O8rr6aNV6uqYjd20nUpNAlQ1qvDRbOV+3CAex
NIwGgRa95bwmShcjmFeV1soTdyWxJTQnuKQjyU2yzPOGsU+DZrKKU4fiffDo6pHaHbLSrg4lmctT
a2FasamDSKgQjco1zeZrq/jn6Is3T3UaGa64hEazob6FIg2bfZ5rwvNT5BDUrVdiuHT7Crs2r3JC
JbpVNgcXV1hR2wgcJVpxGrs8GQ66og3VvujVNaji9XHI/OAGooa6bARWbU5Bn1ThhPisUv70Ym0o
Xz3KP38p/fJ+wKXyC0LHUnh16WObOOMk5rjjJFRxrhyivH4wR2ScssJ5iYQI1pwDr66Z1MkAVYPW
1/JCqcs5UMgCxckcg77ysyEQ2ynM5ru6ajt7E1neGrbs6h4FbQFxAZAi7brzo1BURlpWjSJOijLU
D66Ym00BMOzfmbbggdPavOEOlt2POi/f7c1yLeq0/hh5ceTrthiMIUvL09wk7k4Zh+kuU5rcT5si
Osz4U37xykDZ/odBwZxKnD217eU9g2hPGUZZI05orKFzpNSB65cDBOiEUGarco13G3cw156kqxvW
wUkcIxWgNtYiwS3ToaRTHnLhuPRODkqXOu5OguxWnr6rc/rHOIvV9GaVikRiE7QM1Q7mbPwTt0BN
qlrRlN/FSJI/p2HbPt2e1GsPLirkvE824SeYwfM9FKOGBmRQ5g9zroyHBC07dV8ZY2k8ocZqTSvX
6tXhDGQ4ZeWelGURuJA1NN1Ye+kJjRVd+YFpVZc+q51V2r0vu8XJ19ufd23xUAxT6b9AAQGXdf55
rTny9kZtAUupplCnaRkBYVV79poh7LXTT39AUsAouqJAeD6QrVWWwKw6OzmpiH+0Qg/nOwFFsdiX
sLKg/VlGd3f7264OKTM/ir10vc3Ft836ZKiT1+YnHLjy6OhZ/4+z81iS22ja9RUhAt5sgUaPwQzJ
oW1xg+AnUfDe4+r/p3gWh41GNIJSKLSQFMyuQpmszNcApv93hAjXPUc9vhFejkpbe5BfbHFnv45V
RggWAxLurWkoPfTGkhNLwv9vjYwf3QpM+Ew2VSg/FX2s1lOh57n6MIzIqb7Pp1yxUBtte81AY0+f
4sG1KshiD23TxcnLQrL35f6s7K0w3qWgvYX/MEXw6w/R9WY0NIgLX/Q6Wj+VcCZHd0nz5SkqHOfT
/Vh7W5a+ENglvgL1ks1q5vXbl4km5ZcBrmd7kuO4nj6pvZ6Grkwl3nOy9Lttr4V5EHdvVQN+Ywsx
wFuABZINPVkIm3Zsh9z5Ckm6lxJPkef2CGa4t8ZECoRUsaCybktc5dz2UlovxaVDWSs8qUm4/Iuv
soxscFh+Nzplebg/pXtDE5oy1DQQYLopeFt5BVx5SVjUUtHPb3G/tvlDW9nl5N0PtLdOxObRTIHI
vcGMcIMZa1byKu2zXIvdUWmT4dGWl6E7d/Ey2Qc35u5EIkvJVgWlAmjzelkW9Yj9uwmkruzn+SFB
CiywV1zY3KRPLMtL43kO/8tU4gMumu+UsrY+Q20GsExWpfKipFid+WsV0g3Rwbj/vD+Tu0PDvEsk
dKzJbW0tK2q0h3sev6bUJ7R/hhiz1QTx1clT+zk2TykAviOvPJFhbB+kYjKFiL+goWy2XpFpVbYg
13aZLdxCDDktBzc01+5krfaSeSP9vxfgduFjkWb1B+qq9f/uj3pv7/MMoRjLY5WX6uaDYqLE6U7H
4CJjHp+4YS8rNWTfPoI6VQO3kjuzQZgzscyv9wPvTTeQZgYOAphjbpN7pQve0CmP/4tdSbJPso7u
tTn2jnmiGdx96UCwrQdJwu5YSbiwlhTKO9ucXa5rbbR6qbj0pTWl58yBHvssSfXQ/pDSNUZSse0x
lHKRsMuOktz92JwEAsvGibCZ5yavjUmATy+rRkUgMtLCCjAgEegcOy//mu2409xRA0l30A3bOyBo
KtDzh2h+S1KRzaUzF6mj4p4iaYnpd9bNgW1y8H2EqJPGRyXqPQALiC5IXACf2LZbElfdIedsZyl1
93ZSvhpz/KRPKlV3eZijl9hqs+9tOsbPqWy1X9WsxJzFUItPyrAYb/dX2O2Uc39SPWPS6fxzwVyf
VUoyV9YKaPAihV1zzjXJCuy+SGNoSOhnujWYEigCztx9uB/3dmUT95doNNcN9IhNQjOCvkhGy44v
mjXWD2quh6nPxjV6L0+GVXzqOjvIR3dwqSImpBkag4KksjlH5HVGyAqhSF7afWa5o7XmjypF0emL
I2lt69JaMq3nOXG6/LyE2T88EzonctV0ro9oirdHGj+FBwBG3jQNbgiYlgW53his5JI2vGxWmDI/
6ylZk+eiAavsh7M59w8S7vS8EKTC9ow+062H+59gZxHyI5BWgB5CyfZWsp3SQGkUNPStlAwWke6q
/7vUBsOts870rQTbAsw0Aa2xiJdLYk78yzxCypxXSneoIXSbDQhdT6Hygi4moGGxR3/rsNXq2iNY
OseXdbZNBDD0WinO1PKQMbw/7t1AAm9PY5+y+HbvVYsMbkmJ4ksTw+tFyDhLpnNu5e0RruYg0Pba
aNXWNJq0IZDmNI8JRQp0mhHuqQ8+5N5eArWDUp7A1nOgXM+c3cpyltlzcukyNORcKl2y/KCj/TWd
GxOmPyqIcnNk8ioei9eXMqsGEiqMHUh9KHdeB21o1UplpCaXCL2ROICzPP/PUfLo3VyVc/4AqiKe
XW1ax4dyaczs4Bvurl0GQkIgWJTmVuRWTYxB0ZoGM8dxqL5aWjy9jHEfGec5oj7k5l2MIndUpebq
p1RrdVeZx8ksoTrYys+ylvvmdH9V3V4hzAcZkSY6j/wtDtrflm+vy2kYOnV6SSej/JrLa0uvBQs6
3yzYR/dj7S0sRN5RSaXIxJG22SpxVyudsqbZpYeDNL+i/qIiRd62s3NU/NmPJMwwhBnpLdAyQWOy
jztGFenmcqpBzvb/YjxRH3VV9qaPXJn6HdAC/rmpTaS52jWWlAHuUfN38hxXf0lj//eyLlZ0sHT2
hiRkkclh2QhUQq4/VB4idFdg63zhZ0y5jwrsgI45fYHuAHm2d8YjIojpCxcOsJDNdVOY4OBLNN8v
SRxby0enmvLkB3pVSeriwVgn7zI7HkNIiHIzPIxSH73vJzM8Eu3Zu+B//xWbC17WRqwfiia99H0n
P452jgBhQeJ86qdWfzZyQw1AVgzjwZNrL6w4HIShEbjCLWAjpYlrDHWcXqx4KrNTFEX6E/o88mdw
VpjPrQP6FS+wZdcj2fi9hYRkO5gjIdBz0zNIhglT+EZNLwn4+AAwJfmLamFMJfTszSNI+W406ui/
ShDAcTcZqxMv8OKnOb2gS5b7zTI7n5ykXijhzcmn+5t+bzlxuoPZEvh8+kvX67Yay0Y36iyFqBUj
HIkRQd27sE7T1Iu6yFC9ztIA4dZZliduBO/Vk5VYtz/e/xV7A0aVRDxIeJKA27/+Fa0yDOsIA+9i
h6guefKcKPVbVSST5Wpjhcft/XB7VxuS0PSuf3HXt7eMCietn3Ku0JpCz8/RkL9OAy4LKaKMX8B0
pwfh9kf3/8OJs+O3Qzxq9EVZiwI3W1PLWh+vOst5q9cVeAWP2+ToFtvbJL9KSgI1LnKe63BF19tq
q1TRxcQ8J38pVDnskJbERyd5aFNH+m6FzWT4sdSa9fn+xO6OlBIFgA7uj5vSGdfgMkOLAq5vmNNH
TJaEY4tU5ye7RFPyfqzdjwgNGsKhYCfcFGaXCextS6y4USYPMzUjaOpBdoHpx6fYmq0/bmALuoUM
dhsyMHIqmxNe0pMFNTkpuqy6Xs6nuDAj5yStQ3RwwO/NIck75XQKE9wnmwPemnrw9tKQXrq+Sd6n
bVuIoouUFY3Xq+qgHgxrbxopvYAsBIELYGuz9ZxiLMKhIV2f6T9hArXqxg9pqTTftqf06zprh3fH
7gB/ARptrmQy8+v1qWUUQ01AIpeyiMZzPsZO7UlZ1SM/ihrQ6f4q2Q1GY1l01bgwt0Q2bAqiCmHH
+BKrWlv46CpWi6uiadIjjIda1f1ou5MJhApjOOGbtEVrmh029W1ixZeJFsUrlg31qwJi8wQKJzW8
RE7IFf88IuVHkE1C455X7/VkKrBzlnTgfYPkb4nIT/+v0YbZW9kMk69MY3wwnXsD/C3c9mZqTVMa
KqSjLxWmWKdynXnGoYnh8z5O/l2pJvz8L8MTXDgDiPZNg3KYIfZjhMTnQ67xH4Bwr8ZiYq9XDubi
hrUx/oejmvYgVWOSRWF2eT2djRkmjUJj4TKapbJ4tdQsn7usD50HMn3t6f7g9h47bAFDsPBREtlW
DlSkqKaJisUlVxrZV6n5PdbA7AMzlh3JtbWuQrhbdtwVC6Af90PvfUeKnxCJ4diTt26WDeZ3uYy7
WHZZeu2vXJrl1DWjLgt0ZcYzNZLzb/fj7d1J1DqZWE4Yaq2beFlWdEYpzdAzLLP5SWm1L09FlZX+
aFbaI+ms8+iErbr698Pu7X5KXvwlpHxvONOos8BsswaAlMOsPs0ThSivNSExlWktFQd7YzcYzwxh
yQzpfqsX11tV0kVynINSG7sLDGh2iGGNg99a+jCf/8PIwKLyEgA0A4T4eqHmclL2qZFjiRNBlUBY
tXizpZyGUWfE/yWh+IW/AzIDun/LcCzmqFhHFMsuszQ066OFS9APs47LD4gaGW6/4JLgqmOkHjGe
N4tUQBnZgVTVWKM8dbbAp4zU1KmlmHpRv8qBWtnfFL2Lsa5YX6aizg4y4c0S/X/RLG54IdAGRHpz
EWapBA7E6ItXU55wmY3QX1bdBb+d0K+VqPU6qFPPa2Nqw8G6uQ0M141PSKmUhQ+p6PpTNnGYJ5k+
F69pGC/PUVp9GZjmDspLqDwm2UwSUOfzn7V+GS11QrragDjAtiDHdB20gEEaGmVUvka2vQD9yzWn
O+eJPnOqG6GG19/UVQd31d5AgcuhTIXaBkDczUDHJgrVlIX7ytmrnLW8cx5lDZOtCKO1D91i5h5S
80dBN7vy10CRioHbzROH5G0TNIrHBRJPXb42i9b5Y7Iquh9Fw/qagv44YlXrzNpv5SuqrrQ3NJ2O
LhsFa4PNruyaJARaYjh+pIBvETLpIeTcQp6P3t/brUEgB9w0hX4qQ1yum1E1mhLmY9E5fhwi2BIu
uv4R5/HRFZZe73u7rw7uxd14ZGtCttnglbiJN6WqIk215fhpVVvnrmRllrzLfEA8sweh+yDc9qP9
Gp649cVLnwrRZnUqnGd2LKmOn9t18z2R+savezN5oGx8xLnf+WSg1RgX3ickbdtyqtIZkCNbHXOE
ojJOVaT2Xqn2f8g0YWHQKKXJKIqK4A63HU6jmdJQK2fHn7ErdyO9Mn09xkBBVcribEqIeVWw1h/Q
4FH9+xfF7fiILO4JpCO4e7eam3gTFmpojo4/pppzNpVpwLEvOmINHUXZLHw1csBMDL3jc44pAf02
8xyb+ArcH8vtKhRjEeuPFx+QArFsfntIZ5Oi1aXWOj5CsMJacdKpWEDut41+8JO+c9z78fZGJTBG
VCVEO22rLAPDrWl1DPL8brXSc7LymqW4p57vR9kblcD3GrSPsBrYRpFDuW77IrL9drXNxwxiXey2
amnRb9cWMmuwKH86Lgx/gNSDRVOEt90WdSJbazjMvZKd19GuXntzaV7hQKen++O62cRkClhfoEbD
UcWS33ytKFPMXsuwvmpWtfFkkzt0bsvUB/9zpEtz438m/L04brnN0AtBGG2z/iSzlqROxUGoi5r0
S06X9MFwBmn1CkW1vuvF0H/g/E98rbPjGK1vI3zfm535Myq6Ae8hlFf1g7W6vezEL4IdAZKLOUbC
fTP6es0xFwin7OzEXfFUaF35PJMznWh/oCBvrsrzgsT3wWN+b8p/DyqW2u8bJImqtkYf5oyYbXvu
lTY8hRLw/jHFofvPvy6Ve17USIgI8fLrUEbL7EoxofS4StCgweYUF+5+KakGp+WR+s/ewAwuPOH4
QnNzKzU5hNkgaUOO0UeXQK/mpWCbVCLtzjwDmm+OVBBvtiQfTzzLhDA9/ZCtPPqIwcjSF2V2hpyc
vJMRCoMphAZLivrCuUitP4QSKWKxAOphZKgucsWKg+i37wYmIRx1lVtg0RsVddJp9tHVKE9NRFZ2
/7ttHp0iFEQCiC2kYAK8tNkpaqyrUemMoa+XVmR/GeHOFo9GFlftk57T1vVyjEbUAWt0A5ufsZlw
Hrv/C3a+JQ8kARdl/dBY3CTastJrkZUOkq+Gk/FP2JqpcpoLrf4QGklVHRxCO1+SQhrDlAGnAkDb
POjlaIUd1MtkElk1A3ApEwx2ekug39Nhmhy0ytq1PoA43s4xG4N3IAkMQGNIZ9efs8wzNIJs0e+f
CstTi7U/1ZM6nFeoMR9Ys8Opj9oYKZE6OhjuNrIQSvm1S0TXEEb9Jk/rQxNfKHAuQYGVw/ogPCS+
J47WvYOzBbsOl8vO8Uy1aIM0i9FM/LMvK9rfgh5NWw/mIliI63G3qRVZIcaggVzYduthOdn8jYeJ
5o+0VQ/OV/Fn/Z5q/4oFCBhPdpoX2Ixex0JwraOoEI9B1I1q7Lcj0iEoCS/NU64lan9ymixNP9pm
ND31aRlZL6QMTvRwf8DbQ54fAZoJzBoHIE/VbZ6qxVKeZU46BbAcqsfQUaM3J13sj2ndOW8AQ/qz
UajOx/tBt0uaSLDeeb+JxSVYM9cj7/k1q1UDJYob8Jo/4WpTzDk7UJ16X0qVtf9RcozEf1ZupyJ2
HVX8qt+OKDuLNRWh5imY2nTNviqrlRunCbCj8U034fZ6PKunz/dHuj0pREwgJOgWiC4xD9XrmLJU
GaPa5UtQSt1q+2gNjeMJJ7RMce2km478E3YmFugK2d4vWzFe+9fhxpqaZjk5S4DjmvkwGn30JdO5
t8dFjWtvWNLkKEW6XT9AoGkloCJoko1tD2NJkZ3GjpM1UFZOCtdQetBaTdcrT3IkS+bjyHXwrkca
4KDHsAU6iK9JQgbakkcPOKltrx/LhNYIk2UK+kiRvthtOAxuUiSWcmrX8oNqNxb0MoCBH8IuNNNz
q8fKl1BCweUJ4GB/ZEB5e2qRuXFyKCirUwbdUgicUe+rcoznoEmH6C/IwdFzVsk/h6mSPrGprPeI
Hqcfua6OKky3h4hIGUXHER0XYQhz/cXXdCi6RmqmIJzL+awmWnSKwDF/BTGmvJRxnL5N9LZf9XDt
3kuKib7X/QW+O3DgtUjdcZShLXEdPxwBDRsWn4G61vgJiXmnRTl3RMsCfQtz9eIoyb82WpP/BEtY
fb0ffGfx0aajZUCGDs59K3cVo5Y5hDODz+NV8vGfyV5bZ1bhfC9jf5qMvsP2T24Pnva7UXnECbEe
gXjf3BEzGkXIPVhTEFdx4i+6tQQWfgQnVc7qlqJ3Xz5wZh45fm1RemLBI9ctpK11cUXdFKAVOTZ6
fBOBJSDZvwgKHCiqpEKqM3Y+FOGc+GM1R2cjM95LIvNTMJ57+A8TDnaAK4t3LA+j669NK4xTE+n7
QIrD8YeDwlUcyzGVd1p8H8M4aT72Uuyc7wcVqeP1PcnAAVWLd4gw3tkERYKlX5XenrnwW/NBQoij
dhHHDP+5H2bvs5JW0oZFhoDp3XxWeOlCdzpHlLubW04va0EQTpbk2pvVxIo8rcuU9wuOwvVBHrBz
R4hyoi3OMwSDt1tYX/I5zJKCVWzV9Tks+vDD1LSfy64oD1bu3mYljomWDuVaUIXXn48nojyo3TgH
NQYqn7tmWb6oVWY/SlGuTmfLWob3kdo6vL2gDB8c2Duj5K6HsoYuHUfl9iuGK46W1GyXQEWR3WUD
TYE6plX7rK2KcuQmvnMqUp3lQIDZQM3K2lz1Wpzba5R0S6C0o8obpNZOsd6rTzyxgRQlxT+qbGv/
mnP6WdfS+u8/Xki/iuDoiiNDhwLp9SybPOLXUbHWQB/DJTyTU8Inc5O6CSNvXgYnfinHZJBPFsDW
Iz2RnS+Msi5AGDpVwh1rk1kNWgoZMZu5jjGpkVyM4+L1RV+XBPSyTW2hTbGZlntJbtw0GcsjvumN
ay+HFMciRExe1Xiabid+0LNwyluJr+zYI5FKx5BOkQZT+LVUk7X0JmnJq9hrAAqWHgJnkfxUrkpa
nyhAmCqys2nc+LoQn/8ul3nSBFmSV6dBnSx5PLi6ds4VxIiBKeDUDWBzm0GsQvsw0dQ5kNtpudh6
qHuW3KR/2N8W5zb9WHhDGvuOPHCzHEas2QwlLpaA0kJq+coqF76uwfGHq1Gk5cNsDPLB621n+UMI
EWbxNPN4mItV8lumi8RwnabqsgYOZSFsGNtxfLemlvyuRNb6fd8rUYkZgqU1T1lsTj+SVsZG5P4m
2NnudCwRDgGUQQVi20fQ4dxLvZHK/IQRNpGcDcnnEAvABuW+Mc//sGok5piTk7wXDBbeeJsrIoUC
CNq3kIPcrJbXWhtwiV6EMOVTGRXFEfhq56bgvSZUSn5F2zqH4cmQ5CHCaoGtRdNDauvzxwRN4a+y
NsiPsz2P7uBky8HrZe+bIgxIig1qkNbs5kjjxpwrpYjlIMUyw+taR3/u6iV2lVotfKBvCAYCPH6T
7KR+H2pNdHAJ740ZiR1hffWreL0JH09WDJBXUQKKkNbfxbBaL3SG4ue8VpTKI8OOq5O5CKuN++tI
/Lmby5/iKwUfrAsEw3Cze2xJjaOsHZXArLUpTNBxWPPhXctNjRpAaEu97qm1lYT/3g+7d46iacXt
wcHATbkJO2tymagSGzOWMu2EBo32yV7k1lMkuFzIi6d+O9Nd1PI5P6Dc7OV5tN7YtDQYKdhvu7iG
TLcjnbo1GClfJd4gtk5HXaBVrM+5kw2pm45Qw//q0ViKX+idA2jM4LejNhgqf+w/JvYwjUBaPlhU
oUC0qT7ppc4GGus1iMsW98wMEzKIR7G7yPV0Wqa2dyd5bB/Qp3SehhRZlLDSZbfT4iPczt6DD1ie
kDkU9WgAbNeHGtL7UWob/JJSGpsfy2DWP+Zslryui5LHZJm1kyWZFaiToaWKviZL9ez0lFGUKWJH
3l8eO7sB1B4PbUAFCC5uMacxN2BqTyrfCGWwR4PKnM9ps04nFCDrd2omw5Evy7g52IQ7qxIICqfc
LwzfLUQ7NquS7voSLI7UyVCKq2X0Mio7kV+Zdmmg6d3hZ2iHc31KdYWq4cG4d051apD0eGhGI/Kz
fe1rEpW7AUnEIF5k/VyHa+O2NvxRu7CUP89VhXEJ7W7k0fCD3OxAvZrbkdYfdxhWvsHSpRDP2JG1
O3HgvaodTqZut6RZgcCDpjUP9z/w7i4EU8A2JImjrbW5QqWy0jtJVvjCyph4o74Y7xQlyyrXxkj+
eZaq5gQRoX5vFDpP7Jnaums0Fcyw+79jb8KFsSrvPTBdIKyuF30uV41idGLR6wome+WSnKJ6UbGj
T6SDIe+kQ5RyKKYIGXCyIvU6lIYRzQArSg54bKlvjZl3vpooytv9Ae1cY1dRNudJ1LTAMnqi9Gau
fOvnPLyUlmqfldZGm1EZ7E9WGeZPYKzak4Ynx7f74bcbFxYwS5Q/8JeIEwf19SDJBBNjttclyNrQ
ebWtvLlkzZx+k5ciSblJVKd0UVXWD/KT7ajxt8Lvh84IzwrML7bNn4KeT6uivhkAo1zBpYPUcVwt
aZaHrOjr4bSYSU2htW4+Nb09tqc8o/p1QI7ZLiXxG0T6CeGC1/TNmeUoU+csmWIFi52O0Bzomeon
pU1BeeRZZ/0h5Irck26mjWgQqAEq+du3Zu4gGA2HzwoiMv4vRZE2XtGFRWCuzvS2YOwKkc4+Envf
Zgu/glLlZa75zOb2XI7sIa31srSDDPyR59T2Arqr761PlZ6179DltDr/TxcU1GdUf0FU83lJ9q8X
VFN3fLq4toMlhHItD/3wFs9yGxiD1CWnVuqqT6j5l+vBTXC7jgn7i6xJyQ1z0E3YbDAqQ89jO4hS
1XhStAETbXJQ522IB/VUlIvlLaE1Hx1H2zOC+RVgK9EWFu4EWxBNpeUm2vEOa6g2B0RnrNhxToWp
45Vzf1p3FiuBaA8AjcclYPuO1dsh7CPkvoPCogCDePpwbkJDfSqgHR8cCbuhAEdwKGDWcSP61FWN
njhTagfGOsSvXWuo8NOa2pvUqDpYLHuhuM94GNM9tKFZXi+WDpKXBe/RCerBaF4VOZ/OwKCMb9No
HTm87ewExiL6vwIfQYPnOhSPQgep+8IJBika37erxfZDhDuYwij+0NWz83T/g+2tDDRAQI5TXRYo
kOt4s1Kh8Wa1SpAmWQ/wf83+DtV4PJjAvWUPjJKmLwUogYe9jgJvB5gJWV1gWxWO4kvRdSBNrN54
qiHzhg+aEZYPo5bYR/AM8WV+f4aIhS+k+ATe5FeZ7jqwFXagQ4dMC2q1V1YX/8TlWcfq7LEzJCX0
ACCqD4UpLy8DTt2SFxrFIYZ1m/z9+gnYFsEbQ8nn5iVUlawdJzLVYBoaHaaYblWnNq/yc1vMI6pP
Zl6TJaRJjh18Tn/p/vfdm3lLSB9SIAUEvSUHTxwHja5HWmDFHTaBc90+jiUbJJHi9tOSSLbbYQR8
8PjbW1TiZBWDho2/3S9gbyTKWbESaMjGnxLadv9L+qr56/7QbnI9ZhbLL0rLhkDNkvRdf1y5rOwY
2LwalKWTPpc0aXyz7zBUk3rVp8duAW2T6ndNhAl73i9rdeoS50hIeWeCMUPUmWLWGOpQ4uz4rWaj
GsiWrYWjBLOhj3rkY5/d6R4CJoXiFbM2Z70/0r+KVA/GG3vEuz8JO6sLh3DqwjS/DfOGcpVo4zCa
nawHwxRFr0lhK5+jqrfOMXJVvbesc/FTs0rpZNvDUVV656iipiCK+5yK4kNcj5z7pOqWrNGDJIEw
8Ihc3WB4HRybi9bNRh37TT/JanRwlOycxcjB8M3BxhDW3qB/wqhx5AmdomBGpssPjbX7CM/Bhgit
mY/353bn8OAdw1tGED9F8f16gMgpRPVU12ogaWlZnftWnczT2Ea1bgCwRZ7Si3lQGO8nXSqTTw1G
0E/lVDv1n+8m9EP4uEw1H3o7zxhJtGRHjoo1spM7bp/ouW9btb4eLKWd74lgBl8S11OE5rfbyV4m
1e70RAv6xIn+rShIte5qNJ0fdfbkDvF4RCje2ToC3E/Jk3YcA9gsoNVGH6lSSy0YJ3n9kU8ZbcBu
fUvG2n4AXTy9rKlTHJTj9gbJfpG5xkXgLd5JV8cBU+BYC/IOP217GnXwRmBiFWPQfR7GRyDw3Xg0
eFlBPMCpf1yvIVTVyF5HpFKTVE9OVqjPkLHa0kOIM38ggRme7q/ZnfOA4gZ0YcJRSXbE7/ntOMq4
CdJhrc0gD0cVWRtqxs78Vxwv9uBjOq3M0WPYOTR7EZ+Ppfk8oZx5BPLcOZip+oOvcmDVCiEz8eF/
+xGIkVR13OdmYDe6XdeeUihx/WUqBosUo00a+cVI03FU/d5Jy/QzwBGU/LxOrZbBzcM5O0p/byeF
ZxMWYDxuqPzeyFvODi4bS9WYQUmFPfejqhues9QYvUjTs7cMFaY3u8ucr7ZW/ofrn9jAu2koUREB
MH89F/OwQhFicQVTvo6zx12C6mM0VJnlSXJVjy+T3SejR/lNidwOrPvP+wvi9rxksSOGw81E3xsV
r+v4q9pXSiKFeoC1eaW7a1lMD2OxmqnbyFp+cFTdnpgimNCaBAgLnkL8mN8/fKpyE+qlEVhlsvh2
GpfnrImtR23qPpGAhF8d3JXel1pcPqzDmJYHJ9hueOaYcqcuSlCbuU6GpDYwV9ID4i0vINLopBVG
+HGKFbQelrB+Fw/AYU+Tldezq3e8gA/Srd3ZRqRYzAIn9bY35aAcZlmrxXVsFMXnRc4/dupUPSXz
fLTR9yJBLiXzAbpC9r7Z6O1apY0Z23ogNfEjTg7h31Giy2d9nOM/rOiBDxGICQQoMR/hy26OMK7b
pkRPyACq4nT1B1SXUNI6gxoo5g9FPODVeMKe2LmA55SjYEWD9+ufL2Hh0cPlhyXjjTVYomVpbjSm
EWTrpAVt3s0f5bgZ3LjB1+l+qNvMVTT8QHTTMxG2c+K//7aAsyXThmp0jECK0EDz4HkD3Y5Mrfx2
P87ttYDwJRUd6uLc6jd3+opRRa3XjRXwXo7Pij2/ock8xm4WyppbhetRIWtvtVA7Q3SA448Kz2Zj
RjV3YTMQL9THZXa7TuM11E9l+WiOZX2wYMQ2u350MThIwaIIwCW07ZxKTW01PHOsoLJz8ytk9akN
HFxVin8We9bbH+qEbrnbhn2lH9x+e9PKAYMAo2ikU+q//nx2P0yGnIVm0Mq0zF3bkGyvrgzDk4o8
zVylyv7359+RVInzlVYpe0TcPL+tl1ZrVLuKbDNAqKjuH+1cy1tX7/Po/dgWzuRDlzqqle3NLsAa
lg9pN3Cmzaccm9HWxkUyyfjr5kMzluNjbDXme6Me8sc1ieTOy+2kPKoL7t2hnGfkwxpZxY1hDOdm
hhQiK8hq9drrQUXyYG2z/CVN6vSkGP2y+BNaNJ/mQf5D4weubSoiYCNx7SB14zK9nmW1wqEriRM7
KENp8OI1l/ykiJPz1Mj45+FNeLCMdnYL9AkbVQKhinuT+A+qXHWKTDyKusYTAD37BVWm4vuk2cpB
dXdnxbJ6hEKgmNmb6q4184jVm4XKnFlrPh51yCKGUELWXBlhF1lHxKLdeFQeSc/QGqMldT2V6ZiH
phVSgCz7sYGXLDnvVrOo/7fKS/euyMYjWPjeVFJLRplMg5ED1e06XmKN2HJLiwnAsixP3dxzG6cA
P2dtkY7g/TetRtI7IXcocnvodGheXwdLy6LucidyAkTMjXNfJNLnwk4xXy2b5ZwabevpkpZxylrL
eFLQ/YxcKzSUbxRltQPY1O124aeIjp9QZqL9sjkYzIQcmz6Iw3WFvC3ko/hbuRjK6K9Jnz+ZyqJ9
1fUmqs5oJpQ/7h9KW51jkeZC6gKFj0EEGFNtc4uprR2p2M46Qb6qMhTbsuzcyXK6H52cjLk768X4
pDvF4EthJQ2uUVk4CRpOr+enRR/tbyVeP+8tyT7axxxTm/WHwhrJME8TsbfoWW3fQ1FT11nVSmhS
KioAocrIMs2jPNb3XpxFheaaRSjnp3FZrLfW4KHv9u0y0z0csMVDVWpqy5MhOcMXjIUNzR9icACe
ow28q7S8MtqTqSADFaLnYfgr0lSaN886hrzIUc0neCfL+lX0eR6VOpckbzLCVFs8VEnVuffS1EG4
xit0NVcGb0ZEKhrcaS2UdPXGbkzCd+kql9k3ul3t+COS1SY5lyY5wiP8lTTu3Do1jfCrNKhtr7ph
oVkz8jC5tES48NhtO/0cKzHJj+YyTpKJ7moxTZ91vY2S1xn35+EcY/8s/0VpoVre10lVJk9arUvO
xZhiy34M5YUmottxBSij6zRj2D1UcAMxn1LXyCme6zYfEalOIzN6MuVaxz9mtEPlg2E3IF6zehhr
L06i2VxdA15WjWKgzAytWbb+HBJ5yQdX0de0flpaFe6Ws9ht8tBFU1O8LHY96u/jCEH/AE9lPXlQ
9S63kYlWUd9yoToXj03tyPlTCeN0/gI0Yy68Usnb0FedxdQR82uX7DGxKfX6GgYYi4vag2GcpbYL
bR9rBaXwaP9EDQ4tkdq9TYOirv8gIKRqr9JkYN8MDTjHXcsxlqJ9J81Q69zRph/5YTDNeP3HkNos
OdtYlsSv/YBvwnnOJLl/s6IyXx8yE33mE1R+waZSCkgEAei2MZqfgL+ujtfm+WxfcGSs5p+0tWcF
xXWTl+FzbqIA/DcGCWVVn6Z+WhLDn+Bb617VYA7buYq2Nnnu2nEZxYULOksbVG+mxyYUkis4W1/U
AVk7HJpDqa9enXypwxO+YX3Su7lWRVKKUhHKVi+rWdJek6q5nx5VSEP8b2ueVHXi0REy4+Q1XHur
fU0kKGgYmpqLliunpCmV9XGmn4UFcwseVHoXaaLh7ml9ZkaxV0+F2XxbqlnJn9PZ1MNzqeUA/vx1
kNLo0ZgRw2h8cukWdRPKrHY/ucrSTPEER3gFWXcqWjZp4ZZdWJvPpWNBJl5pklRPCOB3zgelTrTU
9JQBA913YxhF3T9RuGaJh7ZH2il+bBZD13lYYwP60Z3GzFBbDiUOJmeamGKPvkT8fxxd13LcuhL8
IlYxh1eGDcqWfGTZLyzJASRAEIEACeDrb+99cZ0q28erJYGZ6e7phuFyIibwdb0tQrIOBQ0uDGsE
RWrrbNRUnxHciG76xEQ86t1T0Y4JM017Wzfi72yLnB2MlPC9aTDnAuDmWrJ3YDJ1BPv00chTUCD3
0i5LpzJ9qkBxhn7ctzx9sEWpiquvK4xS/SIgIDmnfuTq18hBEtytvKzD27Hsyk1d5DebtPQIjPyR
s7aQ9cTJODfoZ6mKQ9ylUVxuZ6zfr1A9RZVAek0IIR5xV9WWyAuNVWWvWA2jy6OLt9S/bIXftgNq
VzI2906TIrRc0Cr/w0SK6PA2psdO2zlropscda/i8c+Y88h/ZlJI/Q7nTyfvNGwN2SuZCfxcsIpD
4LUF1CkH7g77r1Y1IW9eRh3b+G7CRmW4p1G5pel1Er4aZbsJkAd9SgwcNk68KKGXgHkxL39NmYrI
79nuuoBCCNTlMKWW2jOTMlan1O4pucPD1fK3hNWEfkTWbuTjtsxZjLMAD6Tp+LJkZeGE1bCaLm1i
i32/kAOGFCgztUl+A9+PCWlh9hj712jU+ENZPY/solMPfzsGtI48y03Z/SmZVLRfY7lx944XpCq7
7HDKdqXON3ney8Spy5Tu8XTxRt5e91W7/cuLqqLhXhsC6qncl4RejREHcmz9LHdcUjICIZQSPSef
OwQM25XWarUnZ+LRfa4SBaWrIUaCt2op6psFZkb0zaj6kPW2vYdG5LD5HVWOzY2YTHn8C2uhsrhb
J++9OS0OZlMf8ICC/cNRoygkJ5Qdbs+NLBu5IWwLks5hwsKFqToZKBUdHY9DXlADlfoOYwyxfUAp
F3sxlBauxr+cx+uDYuG2tcKQA/2SfE4RZ++vrIYE7akqJ2CbWL+HhTh4X7c2HaxES3HlsZ2jK/7t
qnwLhz/m/yaCU32NMaG6i4zSGRLzohB+bpe8mR92U44Gk+lWL59FGZXHvQUPcjPMNcwX72AA2PLh
F3mUKdJkcWYuvIBUQaBosi05M1V4e7QemHZ5tpD8mFdgzLno0bELYJNaFrKULWRqmFYaBaHgiweu
vQ4rrSE8aHnBRY3cUTEjLEmii35UFLngA9vrKDMtFMtk7jlWrqNujepys61xaENbC2MRcZm81SgW
CvLdDs82hQUHn/PyQpAkEtpbEkpz36yxmAYG17HpZ1GKxt9lpdP5MbiMV8cdhO9189NuezS/kr1J
LcxPN6uzi9bV2LRuM9goahdVylT1Mc4potuRE/GfjaEYfrAhH6PzHtZ5ngYohudKwieynMMn2w65
/Nu0ivEJBZDu5gWxMCq8CzrljHYSE3PofM6R/Na53OCZIsOscc/BNJk/IYcE7NJXFoVd5R3qpBvf
RtgWnBCDogzkZZubziv2EtMnMvtJ3IM7w4Jrj52PET49ye0bWaCg/INbaXWDEXzp4WuApUyfBvhG
ryEs6oWqCI/KH0gu7CCviYs2kk3xb5nY/FZpPe2o3IhDurN239CfEWfvmfPjbzVvYOEjpOapwU9V
JDtkERc/C1rX85OUa83Oy1br9WxXhgY8hgcG9pzh4XPCYidi/awcU+ChCGBt8Fltsj4deiwq/GuQ
O5+92MaklbvZ/8y1hbdzXZP5l85G8q4zH0PWSKo9Oc3cLm9ZRsbi2S3hoANEIBauOszEojlj2SVn
J+srZR8c45pckshCualmlNE7vqzHm8uy0b0oVUfNz3FlydxiZ7h8zQEgR68RvCSP34ojHCMRyZ51
aPvGFx8KPE6X7UVyH8fc/mFYgGPdksv8bTMie0EAcsjbZk0bdQ8PQdb72yLQNRYxnDlk5QzteWJK
dMJwxkRrh4BI13niE3HGbUuKi0w3lyMUNtveJFiAGUUBX9NfLXKluyqBu2xfl6Mlvcjl9DbueCG7
pIr42yyU/MPq2ozntLHC/wq8ypY/PsDls/MVK/E2TzKJXQ/7TyT2TAeYy19oMG3zLWJKHO8mhcMc
lLvE8UuAbQ6sMnlE+QP6JAkke2NoZjSKuUK/PqrqG8rbHN8dICfzvql9blvY+dbxacbrGnibEVr9
G6HdwnDWYDw8E2hX5FlRdMvd4cXIoAnYc/uSalCIDzaRx/GRR6CtWinssQ6InyDNhQmQBmiiAiFn
akuSFb3iaYnXp8hcNZh8qhCc5RHQ0yS4Bh/23cbzOclJVM5o75pStHYv4teFLe4vjVe+9wU+yXeW
RY0ZUMLytC3rfffPYfRJgykqR5uA1PXgm7kPMDeQXbEoxXrmd/jbg17mU09VgtzpqCaVvAjslzc/
UT55MVBUqegMMs2FsQ1xrKP+EFgIA1dd8/XMsnobnybNMvKDVbpah0PGW3amRx6Lzk9FoU9wrZmP
x81rC0ZJrpv4BGpilyGqGEocyXCd/VQ0iPR60wDOWFI4XHMh2ZGJH1m+l2ekN2tIf3jmLW85c2wa
mqOcjxdMFtXRo2esKaSaKgnXVGJxFNMiLJPZeB+LmhIc64xWd7hBIHVtC13rsqNM2ROBlH/vy6Ph
Et9oasB9p46PPfJ0jqrDqt2kzgGLWqbNa8L4D6HjbD/xOJOhr6yzvme1GJF2g9iZ+OqQHFcO6aLh
30klwzpixgriv4dDVzFS7Rbhu1XACTzGEUKLRS6Yq7wz3wNQVAgpoNBuDkh7t8Rw20a0JMt8X4yu
StRLtGcotUeHtMQkBTBfgo9Y9jq+q8yS5P2o1FY7jMQTqdDAYu38QYU9gR8XriK4/+VO/p0NyxQW
BlPvH0sOO/onzM5r/jXhifLewusf79ueGMxwJMc/tTUrZKaJs+WbH6E+7am1GIIc7Lc+aojkcfZ0
lH34PJvdNVHjArImnY7smhBr9J1MEUffTbVnazvHW/MGx8PiP8R++18Fetm4dWqHqeRqvayxm5L4
ZcApznTHSk/qT2TGxbSLLDgXbKQuAV7ikmXXLCz5N455C0DJljTq6tcIEWEqWbOyhXGIr3upxWba
2UWwGx3rxvE+ct7VnZBif7YsgUwomRyUDQsdU3PPRO5xH2BFrKXAJ2nvk0xPrbgF+17czEjWTULm
H0A8mvkk5tpkHeFyVZ2CtY4caJDQcGX1VOUIrWXT2q41Lz3i/DjKXODYk922NS7bPDX1v2bfyM91
gp14W+VT+S/WDfkqQxV4d1BYUWWNlgl+a/SPRXRTJsRLsVfoORoaDbLJydKmkhQfBwjhf5Pb+d5N
SOnwXdns/BdDijtGpxnXQA/RuMD0I+k6XgONLbJfBRTEabbMBRSfQFR6k8/o9pENnydtBq+Fr8JF
h2oZSGbXKjhcfC81hpN2Tl1JB8eWKoJCrlpYd2B7FDu3h2WyjyKzRbhLK/ttPbhuuhEoxkO0w/yu
3blNtkHlnsAZHU1m1Gabvxl95360nUg1n1se7Jp0M4aTqTuEbqoW/orT8+pir9sSRoThvGMGeS7Z
dJOcj4XbT1iuR2w1+gLzgLQrbN+63IYPLAJj7jtGFYAOKAeDawKbkO82pUJ0R5Wz3xjPBLaEI+31
xd3O3sOOhI2kS9Q8Iw5tb7BJ3PgteamzwGCPEDf7S5TnzPaz9whYXyGXejjgRvOItYlFdg0uSJgW
kk3+SzdaxsOIeCgJa6VInA3HHd1DLUW3roL3P4qlg7tquxCMxW3kGjCnoVnhqbqVOv0XzYhZ7pIN
Niod3rJFdzs8Xl9zfLJkgNaLTIOJvQv9NHtY6jGAFlXLZsu/yzV1R1s7ieowbWjoe1LOyW+exW7v
rUgS2lMAj/gshJYozRBSvdjMIS1rLaPpU6RmZVjrZXHUYqCF2r2wy9GjozTkFDCcPEJqBRQU9rYF
BjqHjYcB5lXlDpdWhpWRujLlj0NgyDY1cQRzb2newZOvRZsVIUtxO4fMwSsvhr7yoJAGjm6DVVmz
GTxgutVocOowYSZIMmpHfMe3Di5FgsDUC1P+qaLbiipP/dylrFJI6PA4N3Hyzqatvk22xZecafLL
sfroG+1hqxOPK32yO8AW3CZj/V0Rr+eTzkoU3AmKH9Uq6G6AgYiQfcCsNFmwSlFIjOXADi44ZmuG
i1IlvN2OzWUtzVRe9WsaPMH/++ADzJkktvwzONW1EC5NR58EIhZ8OygT7eaSZMQeHM+x07v6Ej1o
hcSJm6C+PNpRsR17qCTZVVtJmhIYCArO+2St46dy3kyM4hzDHBKS6SbtSEmbP3kmZuyy4eL7mNOp
mNtyrOC5WOldfEP/Y2BXnSHds/UlMonbFN3A8Q3ixRECAY+PpXByFZCVbIGLqPERmh4p1dFV8+Ly
53KEohffSJKesN0PhCvhcTH2xbzOX+gYUmzeKBv9OcTGisEtunxbUZR5J+wkMV/H9fQvpkaYAfCT
/8VTYUXPLaa21kzYTOsCsk+2NwiXCX+eKuO2JxFn6q7ay/ltprq2rZgS+mhRpNdTqCHzvVuMwodc
bZUIsAt2lANZ+YiYzcPQjjq5FGjuMzCPOfr4CwOYWHUwXMceHhbCy7HFuxVExwFITCfI2RZxyoE7
+RPwQwwtAsGrLXI8A+q62Mepy2EXbTpSYId3QHOh6f0CnHkeYjAqzfd4DyNwzfJYMCjChtkf0VwP
Cn6XmPml4WxIbUy/lXOUx9cUJ+bosBi72t9LFEMZLRad24dEAeK/jhY7CJdxDggJbdALyB6Rt/pN
ZoECdoFLE0QWa6qACmNKNp3yW4UZXab5owebnrRuhccDtNZlkZ6J25AF4Xc74Y+YKidX9CIu7moe
BdfGGRwyOhCm4JqSFeFJF+ngENfVc4E9HTPl+N3FHrtE2tDh+WMUhdX0e57jBKeIuIovMYUIcNay
ZGdYoVMKGgSaow4rj3HTYSLf5xYE+7SdubIrxq9GH8VHVdBqP1Ub8KBuMZbyFnCoMb/l7AoQChFm
z46SuuL9Whfw0GxDvc41XoBYJDc4+P9Nkw3fA2Ya9q0O6fEO+dosOylL/FOrQQzG40SBrp9XYqM3
A4Q3bZXmegYDtYtKdHuIEixjibH8l6cSBW6F+wtv1dxgBF6RdI1zD2lPNByYilwX0i29ysYodV4h
u3gn0FzybidY51ZpIcJpLKx+16xhpvV402i/YN7j8B4BoTOg0gMyzMQ2VUNe8eqZI+8FB3g6THxi
5YLbDte9HKpmjlgHasG/piqqP2IS1fSuJsEmL6lSHP1NiuZtwHbypltUFZU93lBbhQBAH8K1giDr
dcbOxtYf2wTJKOM4lKck7LAbx5G2R9dMmH2vWEIZX1RsiBqsLJJX1NyG9COP14/tsIVqw8225X5G
Amg+rLnC6NMcWfa6AC2dW4mE4C9WITED+TW4BLBAbSXgiJngN4mc0qyzZa6uyFsMtiM5t//w7KO/
1jarbBn6gX/wu8RwswoaljbWuQMXoch8840Ch3Bq6ELoYNjekIGuh6i7pdqW3yILchskHE9Qf4Pf
n4Qpsq/8Nvi0W8D4cMYwwAmI4kXcrTVm7d7XUzr2h9ztz5mL8rMEH/hvTGbxSZoIjoDjGOmkjUOe
ugHFBV0V3TjAsI3DkOWBIXFpQETgJnoGPAA/M6a6VhbMPy/7pnlnqC++4dlWHoc5X99zVQkGx5Pp
5mw77cU7x7CTdLUMNkf7Wla2w2fj4kTYugM33GqUrxEmHWsr8jC5weKGfrydyv9ggDXqrsa2GR9G
UBnhVALoeVOuurkkFMd/GilCrp8ZD+riU2ffoGNZpz7XJryoDRVuqFdhw/0MUNgPGLPwuGYYODQd
3yNQQSny8Qi+9j2nXQknBN2ZUWVHJwGRrINGlo9pGwslWVu4ZcKoBoNifM/TWs5dMHl44vYm9+Lo
fR0eKm0UoIJtrvpKq7qnyw7TnRIGjCdgCSk55fHmfieo6eVAPCfXHTZhrF8dyBEQcxs8cY5xAvpB
czGdbL7iG1zhWytaoebpzYoSmDre3fVDJM6hVzrKg3UcJo+yNVasL0HNSvXw9Kb/gWqP5w4sd/g7
7hiMerIsuugkm+s3J5Sqziqo8VcjouXuiLSxD6TMp+tcTFuJ9j45/qPFYdKOQlnhQC2Z1ffYK0L6
tpknemVBVc2pHmHQ3BVgjiJMdma6A9ZymLYAdXuncmjE21QHfXR7vE33UCEx3S1lOsqeodDcYRpW
cByodGZ6viHzpdMegpNOaTndULdGxNghAK4JCHUXoHIZuYWEqED+22DUpIYCvBP6MXRitGckMm/o
p8Xe7hnyLNtjYikWvrFy/i8ba6wIs1SER/zgYXosimg67ma/Y9RPeUE+a/gwRa3eAUJ3t1jeRwRW
U9zdiMz+KX0NBL2eHYLPqFrsR9A+GlvPazV2FtiEPxEsz73HDjueMVi5n+NURv/lJB4/kRuw1eh7
GLBqHxos6gJ+ZS02hEV8pzMiEEOZTMV9hp5077Lcr/8FTcZ/DjewbzFEs+cce6RZC9xf2NbBaDXp
SJxEP6mL4HHOGoyAHWTUgQ4R0tHA72XCpS0f13rpuI1uAj2WAn5isoHH0V7iReyPHVuEQ27CjFbP
y6JsSyvhziMaUs09Vsjt1tdZDTIRozHOh6P6ADMSFStvsfKk9v7QBWaBWE8+uyusipJutxsQIpnv
60uFFC1s3DqDbC/YiPE/1DUrNEkjdx/VLg9y8kUT7T3won28RkSv6VME8ehyIiXAXpTruXqAMfaR
AsLh80di4WGIxjcVHGgB5kTkKyi/n5J8SbDaVcaolHJPcDYq5RX6Tu/mH5nE63eqpsmoVoR1+lur
OsBMPDEz/rekmvI+Al2Kv8/To77MmGjqky0mIGgumbNzk0/LdI4WkAtnLVe5Pxlsk1Ztuh4AAcF7
7JiTNTrZAZtDqu7QzdIZ8xvu6BN0X+NxGRNjFfqQNPlOXTWFM7BrNLIbnw7WV/Cucc8zFoJxchYO
2Pb2or9i00nDuX45dIIigUTxBQcesW9AAptwHC0py0OeZ7OlA59yZU5CWoSKe1tL1gJBaOJLmS/F
D9ypeDkREsHw9i0H8W1W2iJCgUdTgrV07e8l0wYI5REZ30ZArObWgOUDTk+oo3ARNHXTHXE5qy6l
E/rHBsPy0o5rA9M9AWT6R4rTOvZOp0ieEM4iyguvHn5VJGF3nG7NWxARjjMkb0Af9zXcFrhyRz89
KBx0NStkC8NEfJpcaKJ9QFdXjJ8Zb2BKm7nFhj6uoumugvvODzNNUDEntcacAHVJswy0PIxEWw/J
BXRuMQy42b7PUQdmoXjHci7dO9gXsNBbm+YfqyIO5jYqqx9h0IjGPU4O/QD+QpAzSMOE39VVMbLH
iPuNfMeWmYouEJug5Cch30H8y8T/bGarwIlxWC7cF2qm5gfeiC1tdWFgnEHROQCbH9ODIum+3EH4
ZTyjwzzJCtd9Ne/1iRwjSK6oyF4bPU7p4Nwa4U+zco5hDU0EGvQY26iPN4GdfzoAwPB3HMOJs3Zs
jtQ/LmtC+duBmv8+kpT7N9gH4iuHJVbNhwxeD1+5zjZ+wsdCRCciCsbseTPY6PvJXGLU4whZtz0f
6bQN9Y7u/iJWjpIoA6xS2lzn5S8nMgMbaY5DdxFwXM8u8SHX+C2HfCH03vN8G7a61LiU4RvjcQ2a
8C2eOfcIDNzBG7Uh0VNxXgFcJa1aQeg8eAnkoc3RshpELzn8yoB8BwzlsH0qrikY9epjqSBIwcZS
s7sX6QweqFN1aoCX0kK80W2KeBf2TNF7RJ812UkicaF5CXu5RydTil0OcFHk4n6qEWXXZiko1EsR
1ngH1ZzNphNrfoiHaV6w9Xr7ko77tQlF+f2AVb17SvCGEfQyIPOKt1BsCM8YIH3Uig75jMEYzSRy
lh6Zk/736jnq1o6yc9F1Or4fwJ2werQ7cGFg3uuqVVbrvR8Z0V92B+03gBtjvwIEQtOAPLWl6ffS
r9g3NtPytBel51cSWdsBDto7FU/fMFBr3GnsGfXmfSzrsWtKrb+Ww+orbrTiA9G9OSZKZHD+Cti5
i56SI8ewu2EDACem/kRUq3yvjuIHg0sHrMcW+R/Z67nFK6LajFtcXH3OxHqeNVneE+Py8hTLxQAq
mNyvKndNg1q1jPbPkiXsqYyRkg71hihtmysVojvbzLXooMsBFkq1hnGN2Yvmb7AGVAW2yecLUUWD
REMH4GocSfVbZTnJT6j+Tf4qKi/T04RuzfWcEgbrxZiVbbHPZXpBNlg4gzTP7oF3AdfLBX9NIUU9
Ad+o1zaap/13nsLdfIM0AvdNTs2ga0n307EK407Z3KThmXL4Bk0FLEIGMP7rEBcTLNmwPlb0NaYS
EDkVLT7pOgEGqO3teiHEj1+gseVnTf0zhObN2rMKQRGt1c2K4pliva7dohUKs0il1aCJATi6IXfc
9uEw+xn5xrnuShNzg4hY1Kh2QmZq3OPVaUSL21UvaCQxWhgX9hjHNsewgMAJ+20fj+26zdjwxdDU
sF9oEPgTlK4xRrBSFxeNdzLDNGYzaDMlYfVpWebpH9y6SkDdmOZ+ZvBTSjCe1f63INhW6I5Rzn+r
CQ+lKMJkvmHftGohn2MTyDe7PtHCVcsJSVo6+1C+Xv8e0jGAzbEBMl2Zyf+Acy7BeBBuAFCRxNED
441uPjwUQNkTzdb9YwrarkAauYsu42IXCmGObg5cK1CvtKGIjqrnKsLpr00KvlBDTXzOxlCNJxVX
s35U0XKUoPum4u9Ui/gPJLFka7GNH8evHl0R1ney+aBvfomxOsnrvf6LOEScnNFRNqyr26ZzcVRg
XjWasAdIqtgdNFYJ/E4I1Bw5nlUEHsNtgymYkK94BTEASu5YcopNvB3dXFKlhwPNr+qxlCTMXyMn
u0OLk6LYRLj/k0uCPSZAmgogW5+BLdkfvHYqwT+nGsjHUaDJeaY1otoxtZgJPfpabKcpKcjRQSC0
Nmu3QALC+rFKkKmwNA4tvA4lPlU5YvpbKsjOTrbxOWZtzBzytlS9bX2YmIy6hCbyR7lARNMec27h
L6ICrdvdkhHihiYDOprB6KJBc5OjGNTRVG2thtYfYrCjZPMd0UnjWidl8Tcy+7o9+WhHc5cHuERC
ioIcIAZb0t+IBjOi23LtDNLHCOQzRw3Rau9Xs0Tt6Km0d0sIPj3dJgOAXzHeovIA4t6i6ubjYDyq
V9u4CsFzRAY1gHaA8qMxtIHkKLczGscIQMotYwmKFwp1EQZpr0BlSASg6rtSTKG8VNj5M70pNPHX
hbB8Gmb8MMVpd3m9g/Qp1qktV1o8To4u3+Tk9A8MNCMG7iheX8mYFFfUGhP3TbAKk2hYb1C9XaKr
5oHwFpvWgg7jrNdXDxr3izrfPOUykwf6GD3/M2gpATiDgRUdsSD0AXSHPb1UPkPvBXnbM439/jeO
Zra3DuK5rOWq4fdUUHNVABrhwAKu69aZJghp5kv6F0M7h/AwS/l3UXFGe60SUG9sI0vSQsUVV11S
G/dzmbi7ot6HewR8xuA284ksPW6nbyTE+C9QJwdWqqOk7pd68bBhPiZ88dUYQ85WJuIoWtAfvhlM
neu7lC7Hew6X+KIT4yjcMB9+uXNg5sQdHEeXHI7ckS2w1KjoS0oOtt/viEv8N6+QUbbYyoc3bQoC
LEO4caLffSrK04YtH6gJUjhrnlZ01Dejq5liNInUVgEyYePSmtCgGU/dLP8rasr/4j6EAISRZXqJ
63gabqU+9LXN6vFvDUngqa5HEK00KRaoRdSo30e4YICMRWNcw21/LJae8RV3ASo5TArTCQIiHJol
R0FzHjXC5fqwiG3AdizEGOQ47dDsPzTBob4ArV62Dm7HYR4g8QBtHIndLK+MJuvPnAOh6I484dmV
xYtZHipBOFit1Erp+3lKJ5Bo0FcO4H7Mct7wc0JyaoqCt0Cb1hX8PV7jodDTLPulVDn4hYxiaHAB
LthnhTFifTKNjY/rCLAIJCnCU5Xy9HUDXc4GMxG6vC0jwz4TxcdF78DxIyKcCAQIQkjj/GLm0TA8
CLhd3iGLRpiuCCwHvhhBpfCwEYxKPeofSc4BtnOYtosjgmSBrynwvjJa4guD6B6zv4djTWdS2OW0
hi6r7ZfKmD+OMTLiQ9cIBAXMD7muxfDzVVZiSntQxMXUNUuUxd0Sj9VnUTiYMTgQ170jCsv2gjXT
qUIQ+cOSH/o3vtXobyy9lIPCEBpfsrWqQJ1BQgl2aiRoQiuaaguFIRXbFyTWmNghIE8fkesevm84
TqKbx2i/9+jF3ZCsNP6Cr/nx4OG3NZ2PKK5fDyyb5G26LFZfShvQzRbcsLTDQaELlnbhVthlfIcx
loGKFEiWGgUaBQGbJgwIY/UeCg/YxqR71lxyOcrxZVtyMl89BB1lV+X7weFaVWUW8YFzkZ7mSMYo
ABZpor0K8NUFa7408dmXJTg+nSzbU4BdkOpYMm4CbyjU+UU7xtUBukA3zX7OR+fGy5FqKJ4MRQB1
IWs0JIzWNLtiCMIqm8VpLzrclUeERXbAf6ew0OwJvqEQiCSpnJM+3gLAVYCxtmpJ4WKJXnx1049p
nuvoV8AARc4CoNjS4Q0Ve4LoNbkeVxTIYu+hUQWe5yA9qnqEzkKRncObqjrZCphndxxFeVwO+P3w
rmRpQMmGSo7gnZYoJ6Lk8WcDUetfWph0wUcYt+KcYAipbn8TtZl6HMc3cKnUdjoaa/xNRXBTQ2gT
v86kPCBQxgoUbfMI3IqrNv5BR2jLHmGbS6ZTdqzuB2NGz90x0zI75ZjNQNMgk9ierdUOV0BTseS6
RajXZzbDcfcBGXYyOmH+qpAsCzqrOqPHAopJAeLFF+ywRFGvjl3fZ8Yi1GEdcQ/UNcPXG0Xqz76U
pT3XsxlzdCAzC7hwolw/lA4Pr+Nq3r8ZDjUncKFCZ22jbzL7CLTueirGQMlzWDLT9KXNcnsqUSOq
f2klq3esxI7u5MBhVne0qbevDOca+AdPgcjJEuFYbQzAFj55nECtEvTKOzRP+jGRMb2nyZafWLQf
j42cEpgLoCQ8CSQZ/AeJJGLuw4KVBogC6y17hMAXNFmks+ybrPJAOq3gXXqHENb8e6FV88xz5VkP
rp8js3Ev1jcsAWb/4+hMlhvHlSj6RYjgPGw1S7bl2S57w3BVdYEjCJDg+PXv6K072mVLJJCZ99yb
zZ0E/xiZLecO+liSidOQGsYq0dx6zj5GcqSnCcqPZZB2fW/KNqpOK3/xFUtoRZBbBBBzFJWn7/ED
gbqYEYfEjRMpDdc2Tl0u9UhGOyjPSW6CyQbUumtIYxz7PXZzERDNAZkYNChJaWaZohGFuiUUVf4j
ITJdjjGeo2VXpmv3ByoWFjhntm2RNoL1MOHF3rtFnl2Iw7V6P/pz8b70Ec/aTc18WRZJ346oesPH
ZW6drR2L4msWjH03EfcwoGv2XTd9fI9QPT+Doix/8UTF+AwYczOhAXIlvSSvmvZ+LAK4FzWNwX4o
wvJj0C5jmImbcOcA3S4bjbLzAicz/JlHyEkagzJ+8qPbomyVE1F2m+nru0HOyaXP2/StRTK+shmm
/q9PB7qpPg/spTRV+FR44/jYdu7wy9F+StGRjtOj4Zdj0K/D+rM0FPWrDYd5Y3UX/NesvKlgW2S9
VTJs7hqzOtRd2PB2QerMD6ZxkBK5S5owZqtstzbR+scdGLzr8Qbn27D5ZRO6n6WsqWtqJC9PRs7W
JMG8vw2O98UQmUM1K31c3Vj9p+faP9ssjM794Kj33u3dOxn0Ahk1oCUKlc53aYvUF/beAwDlsKeP
np5BT//mapR8HvwyqiSZSNQulQXJTJAsTbae6jz9wX9HxEd505+0OTqxto9wcNH77YU+Vh6Snpj5
tac1KE7Kl/aYqOReagbgXrAEG6J8EZhDU38B8qZXtN9DmtbPqk485E3u2m2bBodyXPo7SdaDcoZv
CIX/mmECRVDLXQuiuOG/snbUj+b7XvftW9YRnLktNCTO9F5oQXtF2uewtYke2x2kXPSe3HZg7cO4
97eKXvMhzKMYRlzb7m8UrV50qNw6flj72pynPuolo9/OQMInLfBIMV7xrfN0MzOA9k7U0B/WdmyH
fV5WC2E22o23UVKFv6y3iucVA+hHl2AKyVvZPbZCyb8TvDilFSkOP1ETOJ8DDcW36ETwpkTjPqJm
t09OXzcXI8XU75y88g+Su+LebcdmnzKIvkPVp0oeFq/514JZAtq0c75JAh3tB8gh9HcvvS42vJFG
o90zZ62/3Qo2alOnbnmp0YuPCYw0ghlp6x+RWpIfy61/8ZBL/6UNxFF8ddFJDCz/wMyaOsccICXm
B1Ir1bt0LVV8YswdozJs641c9auXWecnxHmypwxAvB0N87p09b5EF4CKrpW3H/oueE94V07VNBbI
GSODzKJ6ldzbT27s86NEF3u/i/RmuphDCe8XLhfO3Br10FM9qHtauAfEtfgjlWtzT4nMCl/OrvjJ
rYL6k8s5RrrLvIsjCP0Egliylp10hXOcp6S+cxRkNuCQUMgrbjP/9gORP88Rvpy6KMU1VtX8spad
N2/83niHUXvFtxgz/6uYOjNjuOiWM8WaGLGOBNkr2QHN10ycD9CwGxT/dXnm8/NlVjAaMaP3zUDA
vmBI0tAqS8QzN7c1P6dEIH+CAGeJADW2TM9uEwhmkSkGJo4RQmuWRGIbGCfeN9nij9GqKfZTa/wH
YEp9Z8Ej7zwAjo2N1fo4kxuWb8HzXLELJwUImeQcdTV95J5RYfuU6mpB0WeC+J7JvniuEL1BSx0x
M26WrfwelkwN+K1AiOwq2r/50MtdDxqXbCIbpjQNYcFWCrfMFwMxGIQPKWXkVQuLLSnC//UHXQUC
0Q+S9b1VKZ7+FIcXxrHo5sS6SCG835RXDRu2oEXtedVBdhNWVi83J4oSN3j2rVN4F7oxJkVrKsTw
X9uYydkwY3M+/Nz0Edg4jvavbASGP1VGTs2fcQji4WjxH1bfVb00Dg1fknV7+pY13CaDqN4gIcMa
OKVSbrOHM2EJs+lrvdJMqcgliWjVHbaceVVV2PLHTZV3we5RLWd6DQvId9vKieeHYQMJSgZblsZp
y9LY5KUzS23fRZTD221R8Iv1UMQmi58s+8+9B9kAR+/DUCZnPDHrX+Kxi2abL82Qn3J6gfZJNRQN
B7igeXYOeec2yXptRWRifejpM0p57GNmdcUmMaMeMeOleilejYHLHbn37Jp8KaSHaB8WRWvfBr+5
4R61r5cF10IIt9wf/Q6qo8BFt7JJtF3QHvaAsgkYg10zg2tYgFI493ULxcjmOSQZutvWKb1ew3gj
LpntDGo3y50/Rbl7VShNyclrepvxeSLmmD8cch7D1Gk17mjPXsbKjs+mX0dxBEUr7LBJRlhenwI+
G1ib5SR9svSsIqNndg5xUkzybRAxF3MyEDt5BYvpBmYave9ULAfFQvAeufWgziNOuxhRhLr7EoAM
pLS08zRtA+ll5J/XgJn7Auqvus+D2GY7/u6id1DRvGT+xTeSg+FH0/wzYLh13paOk/K7j51mpj9g
dzZ9j+xl43wRkO2RPLNSuVbP0WDd7qpRdL0zVurWO5Kg0UHKBx3iDE9CpTFGzXVTXCONpgcU2Tv+
PkC6iY91myn7L4pU1aPUQCC/4mrI1GfrDy469OR5TEj82VCvjoV2i+vc4IJlcM6OGW9bYETKjusc
zahsNGlcHb4jLIVvA326kwlxR3cO5Ea24vdI/OIgPL/wf+W2iMUDiufC19v1ol+uGRJX8oazBYOB
o/KWvNu1TcunGnQ4hoNUfnbCTRlnG9Lll/XcLBj0Hvu06DPU/tinv1gF/2i+4dNK5EkkwzIv24JZ
WaAOTHPb4pm0nrB8ZJsHB/KaOCAVKtIhMyA2mHXdo8hHRiEbKUwl061FtwjDI39gGp9cJ64glXEm
D/UZK/uAehx3SOmbaGqlJNiJDjr85dTJ4P4EZZRhEpksnpU9zmKdIXlihrpFB2VdOhxbSRG01/yG
nrurbR/Yo7+wY9M/c7YnVNlD0TErUp72/W/tCB6RuK+EJ9gIHdN7bwTeLTOSnZVRv+KzCef7bGRy
u+GkE+0u4+uMB+i/2zBk6wul4TEYyWfuR+m0vnkKIYbKx8xN0MUNQ4ruH8xnIy9Bwo/BrZSDbm98
Zijyom00jUcYxin7IZF76v51pg37s/IY2O6hfPOMZ1Yu5jjEw9Tck7QgUqbtZapP1sxqvBMqy7Kd
GwOEbtMp8INvXKdBuSdGf5qeSngmceiZCOJpVdiwN0ucMCLDjYyCnSuacqaB0qx7IT0d8ZB6pO7s
nCqfvJ1b1jz7h4SJt/ykZrRGoX+L2XcuYWqKYTpwvXgICF0RF+KORbdjwinAKgiE7YqUda6PSMG3
U/TMU01vp4buLgjGVCO69rYMdiYOxGKZltjFfRUz8gMqE035a7TiEwG+df3xQVSLio9hjSb0Ps0N
G9swNvDfb/IwXMHc4fu6m8CExhuWvJRblgQa84XbuJzOsnX9kFMOV2tLMl1YYm5ItS33Cx/KsJyy
kBzb19a0yAue3wblXZtpB07Ylw4KwD5hKmwebVyW5bd2S8mrSq/vrfWujbHKZgcKoMazh6F0W63P
CptR0x1rPpJFf0SWef2Xg3fFWxjS8to/tUnY19G7l/n4mzc5yxminVsMSUFHJU2dXJSW6t/ISZJu
RT2W6SGUdsTADJvvrMds9qvpnohyrLArHdX4FOMlxdlKLs1zPI0uDZFfNfN2qon14c3ofa//3ZK8
7uJWDBEZokPRskPkcUjbrmq2TERFeR+HlQi+4rVlFyhLjgZ1UDpkocNGcxTnDnZ1LHhnEwVpdt/E
kctMomalXnAReK/rvc95yUEL15jeLQgA7Rl0YUDANp5qH4ynq+oSc88i5kyIHe0GjGBKeZjWyT1E
isnsqfZnNi3ij/E7+emLSrYnZpSp8E6ju2jffe/YEL/8yWO/zT9VRZKXD4+Kg9Zu0B3XHpqJ3VVq
M/ZVBB1UWhihmQ0N+T4cmS94tJFTby+9nzKo2k9sc9L3yroYbshIquJ+25ORWjyrBKFabepkboGO
kQTrzSK6Iv3pCA3sJcN5kRc54YFkZh+Crgwmb09gf+SPj0k4qPWMw1qr3/gjEDz4K3zxrDVTz3s3
AabOd1pI+rVmmofsBeO2ZeHAxNQi2+AVBnBuPXZj3/F8+RWS0SpDiVk0E/Oxo4L9G66RsZfAZoRR
iDEaUExik+rX1cnT7lcuwAoCzrUq1RcEISsYSSKQtR3ujyCjz6n4nPJdnkzInRQ8JtrOMqmqI826
xgZRh039pyZILH+KCL1o/kFNmvyfP912erJannhyCHdgtoU6rXAMxi0T4uHEQ+jvhCebkHFsMcoP
PA51eR7AVNvHCB4hf65dfFeHtQxidZ6W0lIIrSRA1We/aENa5hhXIRbPZA0dJGRQu59RWe4kovYs
hc849boZD7W2osQ7btNlPOah48p2V45oBSdsnIjy2W1r250zVJHam6Zz/1tUXVfPYPphP8Ko8u5d
GniuS+kxKKVUxw78qx3SJPsDpT5MYlMPENU7AxUWJ7so07H+7cxVti6nRcp4+AgVeRZqk3sEO20k
qSVkvKDpMMhPRlmFRPmGCf3W7M1RvDONHMeDRno1X03HsB13pOPOnyAXo8Jswf3jvvkgNtxMIija
bqcC8LOr9pYE1WtxHXl0CAeDhgn0JJgluVV24PLnYB0ZnqNWJUYgMY4W9fNQe+UNHEMi9RHUndk7
u97clceMemk4tTHlfkkFWFbia2XUAdlaFE76GQwtAQ5bxpOZnTdDHJT1X0p8CbhL/CxdS4gem90v
vo0NKR0MW1+QgAZ/W8JuU3ChoaonCYC1fEgYMDIrBNf1rk1EFPzhfjHOccJjRtRqVjDQHnMCAYqN
b8LMHIq08MwV26Uo9olddPA3i5147LeB0wTToSS9q6QkgV+e+QVl1P0wvGJpcEDyVbl1RcBEaIPz
Di/uEtYenLcsBHkCQ4KiIZzREizXq1GzhDpTfXirmaV+F/E4A92HQ1E2B9vZOP9nM44ziFE519Mb
9utkOXLGk2tOAzRLAsepD92bhwxjI7AgfYnnal/9XlaVTc5O1yO1xNCNvCCRGpf4jdz7qbwHtsHV
XY43PqCLh6I5Fe3gwKCwa4O0BttX/vIW2HQMblJFpO+wFdNSibhcypkaEh/XN9kiXXc0IT60k03n
urU8yVrMr0RMoOAd9NIzmFnCEZfRUVH15Du2qnruchAThPGxSiQNL1/1FB6bcIigKQGZPB9fWT9n
APLtIjHaTZlXh/d87utyHebc14fAjmP6G08qJ9bOSaxlN4osvOVNs/32Cxos+NKBO3OLaeCi4r4c
QoaBezBTkhlCb3DzO9dTAgMYz3nZwY9YZlA7FhfV673NO6//pPrszac3YcdmZzBX1XRfOwIDKIVY
3O2WAfN4feZ5V32yW6iqcNWOMReooI8abfLmVHgtkqMR1SChR7NyZTFVrcgMT3Q69wdT9Yt99fzG
ThNw6ZSrAPFBQ2+yswfWqD/1uMRKS2zROrSPbsybrRjz9yuPsO7KfH6FwRf500r7vHxXECriJyRp
bv5dSRY2nlsO1mKFNHXc9IePtV2OSxfBQ2GenEu5cxptZ3A7k9BSOyxAWP+QX4bViWJtDDze1DiF
EUcMywvhb0JrGQDwHJpRmA0ZGIFIUR+htLm9uXAjc78SYdx3e8aNcavgG/ox8ncBuRFNeQpGX5fv
7FZoIcuhHcL5b7rKbvnDSMCxfxDuIu9lwMEa/8uHavL+c2bTj9UGUTSovYcaknrq95mjRnU0TtHz
fvdTOsYJl5ScbLhz55ZEiW1sOo27pXZsUR9r5v3EMnh42k+o7UVwnEepkudWkotyR8SpsS+V0kl4
7YzI1EuHxFr+Mi1o1yGf1lRfHdS4aOOLoGQHD/198RMy/M/OIfg09wi3qLsbWaJdbJ08YDWjiwQU
vK/M/6MXZ6FmJf3EV7efgMZ9P49L4nc3hHJhYVfHFYLg2fpj0Nxl0lnrzzCsw/QFTxv+fdrkylM7
V3Min9KsjNyTYcIV7OOWE+jO8lyYI+FPPqSPdggRTnL2U+yWGc/5ZSmMM91CBlZ6kJBYhplDaTGB
/wSXswanyCXyqeBD8YfBHrskhZtB9p5WnDzhEheXkQcsinaYCOLmjCxlvJUc6oDJziDXQuwbxJvQ
cudCk5kd2zty8K82TET3m7yYph62E+ZJ0vkXI+bgTk+umsVuRcf6f6c2Y0eG9y3xYeIGXsNy2UBr
+uK/yacc0eyWjLL5CEY5FdfQYL1hzfXq5wdZ9zI82YDRVU4MBb3FpZ9XTF741NvhhqdGGLEf+Nac
habYbTRIwCSNd8aJrYKDWkVjKT6alRCAFgdb8kANptynEdfc0u2x4xMu4XGyDg+2NJE65GYeQg1J
kjrRD6V6Tq4YLmBasr6JFH0mjAx6NdSV+KKBCGeeaOCleRsEoO39DvRSkt5dYOQYy/t0zgtFb64q
638JZlXBs6k4sM75jMRxp2CBMQlyZ40klVSuu+tVlOTMEkupysuAUlqSWbRymBHMYphxExdj8sPK
/5g+j3m0dMeeyKv+rQMguZ1vrR9HH81C9/4fwQmJfh8iVWPmyrw5xn6nkFA/MNQ4JJlEsLQfY5v6
3cHQPrdfIANLBodHWknxZ9LOqJ8BHwWFHBZFXmPoC298FgtJxuhobr7uwC3r5jlphhvC4hqX8r9L
BhyTY1RPIt6krclMdJ+3NXB9J8E6Dqstx+G4EPNS7ANCL0IyGjr4i/tKxriA02Cem9c2CHT6qKsV
9XGyA3/rlFC9uTuWug3Trynn49XUPiFn77EpGTNdambj1T7ks0/TbTXLNDjKOOm++lsYAB7PdAEl
GX13+kkGS5rjhVkfghO9HKku1NMsEbyPNU7A7ywJCmbz9Hiamt9Ddyg/VtIJJio24NmKwj6C6IRb
yzASwkpo8VWTbWrfkKasekczRh/dtEOfTw+QCNN6+4cZobZTivPEU5aJduGmauke3byTVbxf0tZl
CJ1Zn1Uh4Kx4Wkbl+HjajWeXK/dmiyglLP4OcMu26sccsT0P6AnKKuwb+GEfjKBkrlVcszQwYosh
1HY/89Kv+gS33RZbWUQEICSUO5BGhZwIBGX3zBCGyYahQI3QYtJk7h6C3K/T91m3KVRvoBMn2HB8
5Yb+wyOrZ8NobA7xwiSGXznBZbor8MAl76vCaY/Vssg41vaFW7JJqQtbi528NbHAYBZKV6271snq
JLhK16PyOFeBYXdzZFpv0U8wOEMevtBY+eyuZitrHLyVqeNP57mrCaBmYssQWjZLGjNnKgv/QEie
4z3XjSrsc7gwAX+3ZCe4v5wEEfSQEVRS3+ElJs91dMY2yTZRHmYR0QqxTq7TYKvmUhV9i0VUFgFb
XY75EkwsU+x8kvdLEN0lh7RtbxtL0ca9sqG1D1Vd2u82HTQfRu66lylJRfGII07TCnYtpcxOYQpR
RzFqBOINcCImvx2hS4AAKHc5OQUNFEaOyaPqYtpWbAVZt+5RgJmhJjD89GGiiIJuT6bTmD4y2W2K
E6cNihTzPuElX62m6v21dMZjasinB/ePEZGJGC5gN3gfxEK5vMHGDtpFHCPDZSSh2OFXpvUqzyPm
02BXck+ZcltIxTwzZgmT91JnkEp2G6tSrl+WKAyC4dgR1cIrAH1nPFp+oIZxnxoYU8DAvHS9PWFB
UHONMyb904oqxfwfaCUFQRMDuZfxIoHNSaaoi5NXWNvkD7fYm25fd+sCydTThqnHiqGAU5yHW11W
UEhgClS7YbQtjBLsZjQk8sKQit7vqqcUuwLEfWiHf3TCuCW3qD438kpFZT2/dpNLJNiBjeyuuqPr
X5z/1t6kxmeVX5d74uAFczWwMGho+UTXFQ1ih183W55rnTvNCwEvSTSd49UPdH3BdWLLKwad8tDS
fFf/MUVnwoRsBYRnsaESJuK5w5s7RQPtq7bTnxmDGPelXKcX5hJJfHTatvibS3jUzTqHgx8zdXV6
0WxWji//IIZ0/Qx4Kf5mI5FNbBAiXmxDS+nfVcHcTf8o790nGagCQXPIU3cXDtiVMEAZ73HumVEd
apHl1Vkknjo09ZL7ODXn/nl0b1gH4PIYf7uMVFuSRiYiZSCHACsnDMvla0fioLrm3MLV7xFfp+PS
laf5yNDJ6/3pnXM2TvyNE7XR8tGNCxXGhlbJrQ8to7kbluoN67XX+BNxLK7duHU7t6fxCcZbRxC0
Idub8QNB0+YGeMmb8ZjDXYPNH3queKIxYtnHz1w8zu+6ziHAMf34lymM8/YI7UxjPhIN5vGMtnS0
26HycMDneMAyhj0F0rrfLKu3Q7NT/42eIgM/BpN6A9zxAR2IQfV+9U3Cmo26hTs7hYM21aVMlO+S
fp423l71fTncF5CM5jlkJZr/CYBrg0/ZBIP3mCUMM+4EO067uwLogJSYOmq87pMRZhCeyceqL7o3
M+P2SKUp7A0xr8c0ywnS5Y8V1bmss8wCpco28n9D6qnO2XYlwXBnmJy4POT+incrcp1UXPuiHhl2
NwsdzwbJN1k/8ipspgdAIkIhpv+nxZOznT8FoKIkTtQ2XS9pIyL7JbgtE0u5yFCTqYrK+TfYf+MO
IG/kbY0gKEh1SAqjkTyBvCvPlcOsdaV2sEWhGMKmTTzv+eLmtMEiATWBvNfWTVptw2CtwL+IY2NC
CqabqfHTZ2AaQJ8ljO/dqhfBHWVU5NxJWLzhTmCHCuBEq7YaPoMwNOLipFD6jN/D2YOCS/uxO3nM
8MMfkRri4FigEE5nW1W4TnXaVo9Ap7Oi4vLjau+GHQUDdc3EqZJMa0TGCyEyFcx7lHJOFS4/ma4G
QLls5kDvk1rN0aFmSh28eoQgYiIsMbjqHZyI/aFpnqddQheOobScltdZlCUTVG/yCVuSoJJXz0xr
ezNpRE+sIh/Hfd1IOe17JMjyacqm1N853Oj5damXmxlhKr8L/DpXCZqII88Ff95Hdbi8mBLG+t4X
BHLdzRyRaFpV511qvEyUyBQdjMrXGMvUM0M63JwkNjn+0Xg4pwHPmZg/dX6VnWuOPKxJA5T8I3dP
0W8SDrLkdMNfgg1xE9rlSUgwjgVDFGFwiovJPgLPVv6fiXwJiXM0YN2PgGxdOkxdo+mBjolKyw1B
xUENXNJtU3rskJmYpuplQUlfdsu0Z3svCwqkQ7vPyTgFhNJuy86xI0kWQqTU1637j/O0Bk4ymOga
dZEFMGtwxEiWDzuXadi67+dFBow1veZ3Mi+e7rdzYtovMj0xEhfx0CS3XYdWpDykTDBwi2F01YCN
Oh8vLGGs+dIzj+iU4xqqOCLJvc1Fe1pnp16eCfHATUVv3S/vSw5iTDKNKoPlsW0r/5/x/fY/PKFO
eEzDRF79jBJzXxYDVZWj6FFolWkJwcN7NizjCivsrxCMdTxIiq1zLAsSpG0magIo1sLndyNV4Taz
biJbHTIYlhew+BLzFi7ieyIEW9zjMNvugb/Df8HqpX5c16uKU8mX0xzqrguZKZDQuGxiihRx4YfP
h1LEa/Gqw/n/li7KsUvmsBB2R+QBRBBNKy8uc6UIsWLK//h1NL7FnHB/hBcky31hbNxdbeuYd/6i
PviSTdUPv8OcERBDbVupk1uMXXvO6w5h1LRaZntEZPJRZNrjS3AXzPCoIm2116RNgKDnRTM8eyDt
y0kwmibKxK0rec+jpX6zDrmODmtXZC8Do0B/pwOq630DGDXyFGC9ZFwQ5smOOFTQasmGEWiWrncc
9bNUNpRbHm6qooLW0Ow91jFUvytVEyrFYCvrawzSKvRKb+cIZMJNksJV4jgz9RidiCaWBHAkJWUh
bgLNi7Ts2TTW6i1KjGl288iM/FsUgZ7PniEy5MlxZLbcUqJYsArKreuY0AbjUmCuBqB1Uzo9Ctwm
xXdX7oeqEBBoxMKFV+n09j/mdSL8O5Bs+qvr3aJ8RQaGBIlRm6/ogwTHJuvkndHKuOWlcRZxYsqZ
/GX0VF9SQWIXrowg1/sgjuNnGHFbHqJ+IpwF/6dL9jLxwA0BAiyT3tYdMXYEtWCmhqPFr/Ho43Jl
DJiZgvCBahW4+EKrve2I1G/e8Y52x4yh90KJVRGvQUihdq4ZuTnluU1DAOPMl2t4MSmvPzK8mzxK
Z1Tt1s7oKxcmhmNNRaWJ6RtbF8xRc9HssHlaTRjBMl096Mxx2xIB5oJNJfHrRDumDx0PzD9BmOot
iaBd6FFhU51DWmVNdsz7xDk3ujbBPSNL/JV9dYt9obXK3ypGPmT+0S14W0JYk+OCwMh4P6xdHOCC
FYYPRsXm0WFBcr1lHZj6O/HgoMmOLBGPmOKxOAJ9XbC0pEG43biFciMmIsAgu0rFFXuMx7SPT1QC
CKPjVDkgZ8hH7Laa1u6F0wCYdy3yft6RZbTCWiI8++lxsWa9qjjUTzabgvoY3QTxCNEmPkaz7kls
TfEGFHctK7sC/6D4oqoTMoikSabXcvdG9GHcXRLN2MX9cLUIrdljLsxBAXCaNN/TELnlfdVj3z1S
tTWWBaxR9ndBYbvLBjfRRzuVpN35GA9+5XDhCKX0zB8RuR60fpRP7MiIuCfEaSZU2P6MNVaaI5Xm
qnayDDkKGctjCZdV5PGKUTsHd5IcQ2e/MuhafohCQdP/vZhWYaV2siavCRzUmcNaVGy5iYSRMMmd
w/8ZN28ob5qbJjYcGfAhnODFszssDXKmmxeuhCVq82xeFjhmKZuPuk/XU9u7g/xVO2tGrKJHQNJ4
KLpFdTgtIHV3wxQRSNF7rutvPH9MryTsDqhJBkrkAIaLZiSEIFYocXnfoLA7tinhOK0wS3N9reD1
sx1+FcTXzqQEtXO18wkMS/fo/qT2dpNHfA5PyMXBjtmdRnZXXpOliOdd3CwjC2XycSjcF1aRjNXf
2RiDgpAlmhAfwmZc/xOIihUIe4/WqD17XUzUlFVt+mVQXtI9Izmm4EWtveGkG4tNPMnkcMGIFiZ/
koXYh1+c8Ut+T+hEt5tTuHHUlGE+F3yUDEaahLxo8Izir1dFLJ7mFg0X9AczPdLDz+qtJnPuXz/g
/8OXrGviB7xw5ZjsVV81O1NMMMU4hBZ5H4CCMs4pJyI/vAZI5+wRKk/uSdEs9XGq0jk8LG1XL6+F
x8JQhNQ00RdDrmkOJeRl5ph0TYjTVjPW3ZQrSC2zYPJfK0aSKBonPeUzPFZCuIQEpS8P8Dp0m/E0
188RkrjeFdar9GHOvYFAlLri7pRJOg0Psy71RfOs4zWLV3Fs9G2Z3qCM85yZUiT70g+H+9WsLhz4
ypt9V0OW4phuzXAufaz4O+kNFQaApQALzTIXCXTD7i8NaGjj/n7GhE4HtYruXkmDh06NFGxvneBm
PHojjcwmXsIy/G4sjqtNxcD/L1esfEp6HPhHrGPls5hEQA7CTSxi7tzNHUQTGrzYkOOBNjW5c/gd
RzfHCs8KnTsuQ9JWDE7T3eKa/KkjoID/fxzlZ88yuWmHr8Ktv5mzD/4GMHC9kmpk5ZbpUQxvyuSO
XK46BCFPYy8A6rVYjA4uhmy9TZZRfEe9sDNohUsLN5REumG7t7/nZcSwdYtrAEiK2OHGBrnxSpY9
vbLLlsD3uY0tISCuD2pFivH0HTFZLR7r0pEDlmVBuCFHZtPZp7brPEzv+I7KY+5E1LGDGLEjsNhL
oSOsrBrp5h4bwZwSJI3drimOXevr4cFQ6Q4nU03y91hyCDNZdeY3uYyTvx+WlTinAvXO7BgIUdOQ
pu2Ybc1GmBPB4SPT+rwc3lJZhNGh8adpOEzlZP7kKYX2rSm2L6oUIQHVA3AeiTuRT7IOGO2El3gN
Pmsg/3pfVYtfbea85CEOai7+DZ389CuVOla7Wim/3BH6MKJ1aS85qrUtMATq4r6RS/1uiZwAklSq
+gY0lPWdJgv3w/XI0bkjvsh/RuevP4jYWVHzPNlfkmQccJgD4gC/rcuEmTKbV7++gqcl/6Goyvgc
EPs2XYDsWnNNo1Cdh/5/HJ3XsqtIFkS/iAgoTMGrkD863vcLcdzFu8IUxdfP0rxN3Jju25IwtXdm
ruzwlAKMiF4JXgNVnyti1Rivis7ceXVKxD4vkeCyeS7cHaLCtMNXaMiH9VPFSocSqO6K7Uow9wIy
iv6Cea6N3nvM8/O+6HyUh0TA4953FBYkMRCK6FwmGFm25BRLfSxnNzgBSBwPIAxHwgc6i3Buaw4n
d2Qra3uXt8Yi1d3RZUEYDlO6wG57yN2M5pwRqx2T32pKnj2ltIM9YLL11UkKYd1mLWLVFYGuyCRC
CuAGTsBl6zH/RH+1uWRNN0fyrgqKxHpCmkI9ChdfjWc76N3htPRppfY5RnBrU1hR9N/SJ6AoKk58
wHcXQRwrGJbUPpKOZPqNGgSRl74MfUR3a5H+B2HzIuTtMWCYsEuozdthkk7SYiE3BQsi10h0w1U2
Tb3tEsjaQMfTcfp0RMS4sUmGbHyd6QRj9+uMajuNlsyfqqtZeDM2kdXfl4oOqcNYUVZ4IhJqmcNY
2BJM2Nxj3Fn7knl2GNhdxCs+OwZH+q7UZZrDpvkZIB7c65Gp+5IokLFYUPHps4jxwIRvxqEImgsb
fsBicO7mHteEzcNfGxKQ23Zdi8fSk9VPwmd8HgqGHTL+fJEsLef5BTzoqFg4Viv6rzRA92GeIw90
Pn5wt2skq/C0K5ttLtewOwYGzxaPtTJyzkpG8rwMxn3zw7y+o74YsI6Dpe0tswVELk8KSKUsMZdn
w/EJ/gsB8+EW0ySaebpg4CSUPjnt1smsRn6tmraMM+2DYXbIB2Zypkx2w9sOfh0hYgsqIlgUHjfF
SDQjFh5s140Eh/OKdssPXJgm4bmQzcu453RZhdvSn13Axq1VfAx+oF/BmLND7EC+veGVSMoL1XbW
8BmkkrI8e87Unp1FZd8BYPZvGxe5AaUyL36MnTaXTFWq+BuEays6WlhLc9APoZ1S8oBoxXkYeOU8
mxGFS3tr/6GJxhFlqfndjlj3i9eR0oTydRzX/jZE/a2/Qt/z+wf8UPrfCLWviCtndf7jNNU1ZxjV
qsYLocvvzrfKh3qwSwx6gYAsZ0o7wrjujEbfCt8mS8REw+ZkjGylHqPMR2yU/NoXMxf5z+QmtvVt
E5UlsCiVkXsui4RZhvGr2jpCkgtCIvSOy8Aq4ATtZvYe0eGk/VSvnER4+Natv9xUdibCR0lu3t3i
6F/Ks9PW4+/sRHZ3mHRUtTcURlZIObmPPNlofGebPuyXmeWdGeytFgHbpc3oW2v/XHVeHT3gvxUL
f2Vj/7VlHnln4YfC/iDPOj21Y5Xo85DXsyQS4TgDvFe8uQ/MJlXy0pFPSOIZ3/qyU+BhnxbsgC2S
wzScooKd+3MLoJeuDXfyD2UzwAPnfA9xiXhCgTPiE5ta4N+GkHfzzRzi96RVjNKFYxnhvCR5V0Tl
frBDTGER8kzswYneAR2nknPKPct9UJqWwUtixIj1qi+nJUYFY61Y62h5zExKqRdH93GOjZv7n+Wi
nDaN29Sp9abukhp/tg/3Do9Kn5H04VAAElEl7p/XsjK4tXFevUPcK+xDgjAhoQiJ8cnXvKS2QdaK
lXKRrhh/feBoSH0RmxnYtHzZu5rfGXPNkDusVtah9bd5gcx8yXoWe8KvJ+9Djv3kfoecPk8DBQms
AWmpKX9cz7hDzEGnJWbAHYEdIhmjM6sGh7F+rbtLPlI5uSUWl8BZbZmq4sxGz9pAzVOfjedk6PWt
8n2SxLL/jsoGSIRaPZWjSI2Y/8H5rr9W4jJBgIX2fteatMZtqieDyBWWCRpAy0jTD5NgVGMUbjc0
enBcg8SLa2BWlcXU2szQ6cBwSq6lyquGe7pWWNgg3KYy9kttIJkO9DwqzOcKUlJJzwhjVnuFDmKG
OmKHSFiKTTgmnBz+HtJTFwwx3bVNzwbHEa+c2ANI/G4DWawsIbO4mT9tBK+lf47BVA4dV7U/FAak
lFYwUvAoTtjTbew5GR9IfU68vXlBZoAjQ/2isZn8gHyH1hDlszaMDjZ8MHLPOJ194y9Hh8PxsmEP
Q9qzh9v0OGBfxStYwVDZ9DiG3C1MyOkzK1eYoiWbK6pWvDoobvNVgs6QJBWw9fpz+7EOCO5Xe5EE
LqXrp2o104ErBiAPzAPrscczk3BgK/qzG0U2sUrfEtCCy8n750Y2aw3Ldat9bkrrG3s9Li9fRcX9
tHQ85BJQXh3b30q94bQAECsLusjYhYohLrvrztgh7HCNi8AP3UbuIt46kdnPQz23zQ5BGv91OdWC
X2Kel18WJfWrTxDQB8mFVLMRtTvRwMPmhOwE5L0aDFzgE1Ot18+27KvvNRAZNFFEGsryao9UWzKO
CZu7MgjYoLNb3ThuWD9lWuJCqjSGWz7aHPwYmKpHfrTAxBkUj54cXJ5bezsLOvrBzdVsW5dZ99DX
nUgJeOYsHLC6jVnsmggQL42xaxU7jGcvUxP0D7w6KwCFPk908owNxfYBruu32tZ45pesXd+nOsAE
yJ1ZZ7Gcg/A+d2YOCkzaE8FIYZlqMzkCkyikzRbeTkLIbp+QfAljOp1rhwmhYAOO9797mwexfsEQ
KCSBTdzTKYIhcHl/zv5d52OQ9au9PEtZ+uDcMFtxjOP75syWsvs0DTUfXjtZ5NwMOWWbRo37XsgF
1i683nBztVseqJ1pIjK2inB7wTYkjwvu5xN8u7A/mwo5eJPBtSAvm4X4WzW5l08tSo0JHgTs41wK
dKWqScKfijAtDJOA4O9edkH45piaxXnFGfaJHSf/EyfrtcAmH7gxrXHq5G5tJayPAereuhNhUj3m
qZN9ddOVPEjizto3vHayWHUDVxc0nOQucGryxJweEAv5IngbmyTiMC3TaGnjJb+OInXTcEqqRNCm
u3Z2B5Z+Rd5jpqA77BV3KWo7QZhrFNtE6jQ7WEO2I0aDP2u10j+agJRAyQ/FKQnq9X3mOTjF0VDJ
j2WxVIbolOevhIP1R1X7IiQG5k33IbAkO25dDXtvtnlrbXJG2edocBIWuMEEOwgJm6HfLbCss4jA
hkiuqvTPhRza98iw1TonfHk/2AjhiACTY8Rfy0yeJTbWfF+10BEwAYzTrpkSeR/4xpp2g19nF1Ev
PJLdJSkyWB1+dz8PTfhjcm6XPYGMyNrQoSTqHfBIBMYZmYI9NOovdQQBc+jaLYhOk79od+v7Csgq
YpTz62TSwdHnLf5wzKcheSxrFyzGjME/2y6wi9u4bUcNlUrltldttCsEF4utvTOJM+srYv0UcQZf
yju+S3TrgUrIE9IXn4AUUDrtG9qcmLGGpbtpC/bd2zByDX/Cqv/ZTRDT+g0Sj8OZEVA/YXeC1ORT
WADVzsXNrASQQgdz673AHSX34QCsnygQOxP1UCmssRsalbh7m7UHOoHKnIY3qZ+H37ZQmL7dVvX/
9IzzgIqQVo8Uf46APX9WBzKKt6mdToV3VzoAbjQuqxbTGytqFyc/jo5GHDRs7+mjIgOgCCPTsLBA
JsK5RL9Mkh/xVnfsEjAxzCNNsDZH3Q/pG3b0e8MU6R/BpSJpoqjBH0bJ5pXTZ+FyRG8mdNXOyhwL
ihE4G8oyo7wrIpPtZ27/latAhbswcyogy32QfXc8mL4kGGF0+7GNMibsjLXd0owkVhX7yd8o6oI1
ieusl2N7XpXrhicWwR152whbLV+/8tXkXWZeRPUf9TyGqXYcRHOthFLXUQaMW81I0UVT9J90MIxt
WcqmPiEzJJmD6Jrs4tbYjuPrYQ5if7UQRzOEAEh0Vmoo4jVn5zBVmUPm3030F5q0h/XA6ZrlYgCc
R6DjBd3yfLltrbENwWyd+yeflEUfkOyRdH3kHN0JMqfsaE7TqtRraRf8c9RRmO4+X1iIbGRlhV9R
AtWKUxkZg02D57p80Gk50MhSJuW3ZOUaHSc5hq+WCrXBbxgQp3HrdvrXG4+MWA09kh/GAs1LSzRT
/Q5OX6gO0dC3L9gWlb+ZOPaCrWhkTVdOqhb5OtJw+KJhd2MmcKPBHJ3FhWudUqpjDhHB6m7nt41d
b0c5undoPtPIo4C9a7ghr1X2N9pR+fidIrPafxZ+dcFbYqjg7RD8Pmh3CR5Szcb1vcs1snPh2p0+
tWVYEwgHndZWMcusvPqa0DvHYdtk5I05U5iUOO7GIfVnXRhuuLlwScvfeRpBAPJRrOqSN6sbAWYZ
fOTkpOj9myHEgkmpUp4Um9HzO6qloDoN4j5MrsfAjgKAFSBnFuCEc8uywAKitYmR3TLgXFhD6mXX
2VWioHaL0tX3PFqy+s9H6FZHj8UtxR8TW/0NFKG0eSbf3ponpwjMk8HCyqpqmUNu8DaAXsi1mmuo
8Gshnle27xmv8WjOXmE7R8t7NhRze7GdUYjbjCpwHndF4QFTIC+Q3Ex4+ag3qonD7WRAPIn0cfl/
AapQ92wSCohHXVGqbUeVN0dVH4Vlw649Ge7DSRlz7KtW3fB651VD3k7Pv6zEqDfy8R9hOjAJBrOp
Eeo1NUUjb3XpR/7Wnvgvfq+movU+SJU68lHCduXbxpLM2hVSFuYhmrGmex7iLUfrDjbdDq0osfd6
mtIDp/FcxpUWCO1cflO7qXHyDl94wlmEwjnC85gYzfIOaA8QybRa5v6VtBQgjDRUyXSHJND6u3Zi
x/45rdwjFb8ZHN89noYqf4Q3hkLiBVP1hmmyDzZjb/R9NmgIR806r1hE4bnKo1v53XKDqNuLt3bo
1nlr+YoayA26N5lundhO8Q+xYHFPiszF+DBQgNe9tW7AZcIuhbWHjyObi/5Xo+viJ5I1dozVGSQ0
0QmvPTWZGrsOQ0lDvQIweo/oDPJRd8NEythV4/TxHmmnUOGrC6yL5CtWjOQzFEFmP8E2nMF/MeWe
gdIoeTfhQBkuFXLtgd1H0+DCx7xwIloCxGd12Ep+A+P0UXMwPgvrlM9WULxwYMQoD5i/UvYc1wVB
lpdQqsZ7IQTmghNkD0eEDyOkFQ8ALAgMEkm2YZ3DEHjJ8UIEB4779hFrRBW+IP7RyeXgq8y3XWDE
g67zzBx94AcXrVPnJYlKAogWaYFdOTX52W9sdm9oFil4lbzmsBSNXPrx4s7VZemviZJgQjt7rC20
9PNI/oZUL3ERsgazgc6DrXC0TiueyIwUow2b8N4dUpoj3XXQ5g4ZCasmDd+5+1/poNp+ck8V/g6j
J5YPJhWfV/hU4eH8j+Z4jJeSlQJdbpVUc01pvWFjwSFXkorYSI9381mw5Opvmxb1nmRYMt72kRXh
CLSB8EkSaRHxVIV8TwIBrHQWoQePmKVuXTfqXzA5NV/MsDL5iviYX5Mc2GiWQpQoKfna/CPnpkL2
ZZVAQ1qWJctOS5tmj7iw13Q7gj8Y4gnMK/QS5INbtr0KYY5fKa/iXhTXx5FPmivurVps/cLr66fE
dIOz99aaOXVc8K6CT9Grof/Llvd+WPvhvowaFgV+mKFENPMCziOp+2jrISpx1eW5brcz72PrzWel
G3yMo/WakrghTNFaB0/yqvAavuENxRAivKXhZZ1Z3bgtr3VFwEhwZI06q7hrvWUlZDyWOfKk6lHU
QiOXyyioqeaYBsqcEo6onrqV+ELY3raVrV5Nr7orzm117IeCbbF1q0Ckew+Q80vvMHG3q0NouOPe
WsHxajM68OaAzkVzeShGP/rMslD+hViIORCs0fxb1kFN2cMwdSAJALo/qzGoKd+ke6fBjtMsb8y1
eDpMPjsXr8EqRcOXzjiM9ES1jgkbTJLX1JVkJ6fzgQvhkCBGuua0LxxyIhhfEuOCeb4yDsx9hOkU
1GmPqLurTZ7mcYCzsDhUdp9T9Vn3P1VU2S1zttVhnLQi7R5TDmvtzsfkf+kjZP0tm3Vbs1TshAax
Stobn3NZ3c+m91GQIKXYbxBxoNJBq2YEnGUt1suyFsB6HTfqpmMdDF2/NzZLd8w5vahiWl8d61iS
3WZAdwsYXSLA4RlTzWizEZSknLYJMtijzzkSoijs42HAvDrlXIfGasy79/+2maJfcqK2gtq3Wyz2
y4mTkJfdCtF2H0ym9XAQTuADRRgmAO2pyIYtMa2OVA4Etb0bNHpvSUpCNnTpmmVfD5HKT3WO5x0S
ihOx8eSmYcsXaLkcEvSl+s7hhLDe+H4w+7sxkeLa85HPRXsUfuY9JNPsdZ9+To005SFmmA6oufIt
oUQMGluF3kkqOwTKBlieuoJcWKNmXBICxoHkROUFfcBxO8rSoHv0jFOdvKDKLTC37rDuHZZj3UMw
r8NfhO8VCcOY0KlvhjY120lcWdhsl9btbLGsv2Fbi7xhtQQcHmbw/BTfELh4qETY5XuHA8e1yaQt
vI8e0zzh8yW3vhzXJt+G0uPVO9x4k5vHM/CJ6oj8sD6tIu2j5SCII3kcsInoC34O7aLMu6tl3WBp
wh9S1wlHzTSw0GFh6hH7VGWx53FiPeBg7Jy4HYlaR7T7lUG9CwNPznGTISngrlYuk+nUTP+ZISxv
/AWjVhyxe48OweQGPfQk2D4BR0nJCTc2daB4gxMHkCeGaWfB2x/wItANuGIkkRXswIqeGWQR3tcm
WErrPcODeKOmSi5xAC/H7GkSpAi1t/ANcKLkJAzYaB3fV0JB9R4rHojkcQJRhH+4feQBZz9TEZKs
j6qXHPDQNtuGs9JC5qzqrgxm368tQAjV+EFxHaYOBx8RjtgmeU1wwv2HmCgKfsOFBQbmKOEe2zqs
753ea7/a5koPWXuYyX0UGfdSWAMv/3EVC1ylorVv6s4x03dt51H3aBNg3HNg7pjpjR80L05X++lZ
InRXZ5tF2cHLXYWlYmmE/dghH+L5cALx5TnXKyUPhab3r/VbOChuSMzTAD/Uu4BqkoSTyeSw/Hac
tNuuXQrlm6JIyoPQENzs2Sxz4m1r7BByu/ArlLsrS9XjEU+V554JyjS86UdVPCljz/bBmyjg3MDB
YMmCrgZIYxY2QR125pOVHBCTA4TDIU2kf0jmbrqKIYO7PnmZWn5pugj+eo5EF6iQGQYFQXv1YVBy
Xl8xk3Pa8J0l+VVTl463yrGSBx44ELIwLo9gxVzQrRt35JR/+n9HyIetDS9IPPAqET+jTOl+tnsC
JTtI5Tw56y5rrC9rINkrhCrD+zLL/TfCHq39ibjahE+64TmJlZJXoU2R8tr5sePb6/jpLrNtoRpd
rQ/bLOvDBDcI0eWNZgLAIV9nnTrlgHnlCx4dDzQWoqj1OayedwPqyigAgoVDXCoqJyjkk+/CT7f5
A3CqPmEdKFbNWTsy1VuPI88Fq9+Q3vITVZ9EOktKN4ZOztQ9tMPtNID0hHHbzfPN6GSUym0yt065
ofnJm6+UvVDw4XXDIBgcmpKKLlaueNWZifhZJn5fTnggtTyePTU93GE9WhfCf2BjRoIs/8E6iEKe
AXYyn5QKl+ZYSfy6e0/ywD1nnPD8o+36yW3FJLk+eN2K6WOQ65JSGJKJ9MQUjBt7YyNUJuf+2sX9
gKdgXQ927nf2/eQCIa+BpWEFcGq4VqrqJ06pDZ+W/GMZCf+xcUt1voZk1117FQiAZbgPASCrP2HY
pW1nXFK4hekV35IAdM7EggNEuDZM0+GlnPUw/4xWPTQjxi8lzVMbZpW1U3q5XuhCBIwOnKReUlHS
DL3RXEhfKHKW+Lw6HNwdNMTEfXB0PkWnqGNYu61rGZxXqi38C+5KtoIht/j4zhJzqg5R5VpLnA3R
CA3GqGELOqUadwNLC96m4TUGG1eBFyxfJkkG+MRcvsu4xpFc9asFyNu998F6IT/TL826f9sZixD8
dWa7xdWu+jt2icGwbxkqcGFkFYM7hsZy+RpNM7FYVJ3+KXSXmAd/XnrC2+McUZzD85Zom6/9+ZFN
iuPgv7v6q3jlZHcwMGXNBo6FGmI+pVqx8I1uHinsHKpDNiMoxpoOkbNdjwF9F3rkKVrmRdduwffJ
+2skl3GJfkZvEyxObT00dJKZje8OVK2MPfzFva2Jg0MAoxB+q30rfaYDRDhnHL6SjzGlc71XYARe
lh7AfgxBXdKfsswZ8tsyy1Tu69yxzjQp4VkRBVSeHVIop6luDJ0+Lqj2JIVTYG2ioKMonNpAEU5t
tV3B6AR7l63btx0VJkGOiIY71kFXcyY02m1KGnvl21jg9RH84ASiswk8GAuLutmzgEFihzJ+JZ8J
eiRjOcIad/tuUTTRuJ3estRtH9KCPHbcJwOTAg53RS/CtSHYOADn4nC0ZhtVb/R/ZFdP7etI8lvc
I/naIu6D1MH6CbDwFt9heaOgLa7xWhAsoyWtLvSZor3izwENlO5T0Gc3rlR5CvfA7ZfXpugt7M1j
ZN0UtCoFl9x21+ic535bAczylr9IdFP+zqNsfqyjXLZntFqyshuJQPZYRM5yJRXbmk1iOOMhdSm1
pMh86RguNJIpiyiHY44zjSRo6bEed0mbtR+EENfqnl+zac5k6ChqMzk4tBMaIqECLnPX/BYceXhn
TMFQx+T6BE0FghX2lhcN+rzVJZqa7oZKIg7USeXTPlLia+/I34cbZyJbFQLOtTHZ5u25AiYNwodt
2FH2VFDAEmSZtZ3wQtGAjmD6tOIMlEdUwmB5rUZJCGWA3HBUnirTGCv7tYOSIpz2aUzx7wSRrq3n
cCFayeMNse+B9YH3aLXsBR5SviHq0rOEFY9HgPUgrQKTaofi9dXWVA5vOq0mvAXSWw6WqfNbdHvh
HQqeIGdtLzrDGgKM8y7y/InmFB7AhUv21Q+be4Kz9iGg1QZkZduoYW8yDP3PyJXpC0WqTXdsytA6
6HqkjcTuQ3UuQ/aNjwtyZ/FFTH6CcxcGa/6rCotCVLigXPgIpG7/PmPZOEurt+nMXEitz72V1he9
ksrdLKp04RxLgvVxSOq5O5sJOjYqWORXezlZC6QdQ30Df6Ih6zh8zq1FxwNbiRk1jV4VP72fQeAt
Z0g+ANkzaJ//gB9OeJnQ9Z74/TM+XyhzuStdUAT4CcZqeq+qpCVPLdEMBR3FbCDRW5odr0PlHUbe
OiRzKHZyNspUgEiJWkyXukGrerAVKSh2F+SHaUTN253uC7iDCCArx18wvrRa6iFZd4nWoHN9VjLy
4kEzfchmOuziLsvK97EOC3cfUjuf066++vemccZkR06p90krXiHcK1LOIyYaBA52ui52iMKJ/iOE
BPAGkMjY37UsxeUGX033H0y6jM1TciUdFhzlEMZmEjRWUBUU9hWMeBvfgEl4jLSNl1DYRffYciqz
jwwK4t0fJgd5uAj1kf7RZn1YbNxZeNDwYpOmXu0bXEcUjy2qC6OnTNah2q2iUKyFR/GPjahmvOPK
++VIrc8YRXEg2zyLQaPMyv53NT/TQEmtonvug256DOEZ+bFlaew/uNPIjRqKv6507J6Ooqmsfp0h
x8Eec7IL9yBbvORlCofs7IC4rP7IL7nw54i/Cpx8+dADJNRs5insdhd7PkzwJ5Y3j2HW/k0ct8+P
IX4nloIEmEHmO83LnPj4Z1YvT8n/pj1doFvksnm8AYgRQpYnTrRbofETVWg88zwAAuGkFWUm+qQL
UELYEYABIZs02R0lC4Zb2riYjzJLihxs5ZLTxJjjJb1Jwrz4N8gAj1kA/mxkKRMWDiGFa9cm4XUO
RXJW6fOi1vmiDWJx3FJKm8T2WBsqEwma3QveNcOL34RJuxn6sckPzWx5ICGiJb1DUuODCzVRrtc4
rbiJRpiAG5WsZAY0DlaeU5hdvjlhTyl/scfefaMmOhCPsoL2cZwGqz+0Hin9AzUF15OhhdB+6uu+
PC4Kh39sKrkS6ksddQNYdvnG3VNXFEhw0roz+eQl22xoQ9jFE/73LTBEnzhqAOwAkz0VDkdbhSal
jsBL6OZz6jL5x7qIRwaskCnaMjFbX/iimR6z1gblmHjeVL+VJlmRmXyi68/M9aBTLcnIGOOQwDsm
CimOVOhNZh+sbdCddZX57YWj3sL/UVj+Pxh7I8SqQchDEoUhBYdBjf82JU7fn+gTJDVnYI0lrNL5
wt7CMXdfwK6HKMQBuSq4NKmAt1FgFFxJYagj241u/EjDTsrgxuWYbD6bdVHWaaGK83YIaqJIbBq9
twATSxDng0fVFgyDlRIGbbUDFsAg6zAF0oUJCMCOVHDg/sm8g45K2H0Fpp2XQVFPdgSBnsGjU8Uk
rtUGHkRYe2Chh1DH0C7mktHQiabSIuywTNfYkB3uPNWbe1BCwsMdGw3XuYs49U4UbjLvYRzQE4MD
Hy53O9uh2lAuC5OUF+50oc7yCrTCnctsYhYLSJNbrFtkhEltI23U+6zpdOIMgyFtxwaL9EEoxfQK
S3ekd5Ix4HNSLWJyh5mYxzqkNRsjP7VVm4RxJqJieRifQFrRTcFMahFbs0V3VoMO1MVmGL7SFkep
D47d9Hfcptl6Y8rZ+6+wSqZ2WjqG9VIWxv4aKCbq4mTt5Ougy4apnCw/zaQ8SbOY/HRtEPgZB3Yw
HINXhuOUHoXCtXoaRuzobintMbwdKs0LGmyG85rpPrpjU13mvPOyij15o/WlES3lUHBT5r1aQaPd
ljrP7xdHh2nct4quPauYmuzMi6e8rxlbqYJ0ZBTeLqxZiWq7o/uvgL5xcKQp8evDkNyzBbGCM0TM
hYeFSLIHXma23iBkB85OrzkezKwFNidwwnA59b31QZxf/IRVT70mSeX+QB1Q9dcJq/1uRsrTMCEl
LOKZZIuigTqbOg8+/ZUQhjxhYcWEr8cwLAxbinhwRnzoiTMg6ybuSHNry/b2MlPmJmJuaihQY7di
59tILl6zTVfjT3HnQe3ZOtoq9y2LPDeuu9z1HlHRy2m3UOV0leBnlezWFdQ3blWr7m45NND6t5lp
NHzmgmloPmR7yRTlJuNbULYcxeyCWiki3xGuUWfmptg1Iab0LfQDkuIDKd8/T8zha8mxlnbmJeu+
oUviFhGLNtNtp1vRv7sofjupqslnZWghnMBwH9+p9ADQFOBlvLe7DNc6Xc04dkBrvdd0QUUx0QvI
ETlPex+lah7Pfh0u9rYULgJJSY/zg/FYdh+HYlzGkx7y8AmkAXsDj61FxH/6RONwzndO3xI4nQ0F
FUz5TZTQoUgiNAuPYe9LrDyC1OWJqnDMyEDIBFV/VEi+ucwQ1jce4wQul1bqdvF1mj66s8RTzd7u
A6MPhh/fJ1a5Y/OUIbKnldcM736bROuJaW2a4Yu2EWj1MFnto+KbZv9NG6B9pSb51RNNHObeTJIx
JSNwdiLjltb7jsbM9g6pK7yBxOtz0QWEdkAutHCnV3prqpsaNJtzSNT/+exLGIInbYHhj3Rk7aI1
8dQh98B6/IdLX9zrhUPh1qESY4qFgtzF6csA24gxgGSUlSy6k5XadBAHygM5wZkgpG85gpeX51T0
ELjr4yxcyfa31MNjDb+NjfHok+F68216Ab5qEBXBTQRnFphYJNPJ6R7CzMNTveVva4zF67p0WF2w
83QRQ3khahhIYUX18QpngAs7n9ntO5hrnkEq6HavFx0+crD02t24Ls1NN1T2vPUdj+x6u3Ig+WAs
ytIDqsHMKrwUwzlyoeZtOWy40a4ag+G1MRPjQZfZGuqQyf1jK9k574QSwS8h4YmH48TrY9M1jXgv
ZhHegJ4sPsKWkosNFS0TfXkq6L9aZTNR9y11C1Th4pjZ+AhkTDjO6D9g5kxoy5PtEO5GNTQtoce2
PLmYbKajadvFO7CeoTmIIyTC7VLitD7Q2NB+rnR4Wh+2behat6DiVcwzyXykvXR5iAj5YrCw+rL9
sixsunEE9oAzbNBiJaSEz2L1kana/Q+W7VqeRgoFbgcAK8tGJGb8B9WiCLar5xKXXQMS3Ud6KHSw
Y3vW1udZr9foAgAmbKu0wEXIewTZ8br5w490Uv8763qi3qE1VivxOuqfs7khK0FKtcpOWeNYj6Tb
FaG0EMvFhX6GxL7hfJ5ghTai1/6hpUQrPVHSW23rKcGuEUM+SupjFAEkudGuAUMDjwAjm8dCO2ai
qbMblFvzmORcpEfinIZ3c5DR+Kl8XqFY+uDo7DnZY49bpe79Z2Jx1HbW6ZS5O+JHxAgwqmoNGsOj
iQmyGpNLPrA/h4juTlm+k2MV0J4Bp8gs1xGCfAmYErV+RPOk/ZNlV0P+U5YlEUWrVoLyFXD8ePk2
nB9XTvb8c3D29iispXK2BYEOd0dNFP17Qesx0NaMcysgCOKBNEfxL94SrMKyDyBi3HHaj/4mbKQj
9uMeIaj1GBc2PmM/exxVpe+p27DSvA+QYZJn+uLIWQJpjAhucpNghLkx1dC5f5xC1mI/84L6a+nC
+exGSrRPUdhDs9IINCvGBoFqwhXYRGfiFepMK0GanLt+cJ7HKKi5LVErnH1Fnkqf6Y5Y/tHKbP80
bIGq6w1ThTvCNwEi6Bh261bZELrxElrDHbg2bb2KmShUYnK2DOwbS5dBOc2xbLEdK6eXGsCMfZuk
7LJ/u5K6gIPBksh3CsbK++ACJHwRD5CekmPGjy++VTDazsnkuPnYb3WLVR2ldO2S8Krw/jFE9xj4
F36ic7IENMluLccb8Ud6bOF+Lb/gAB5y71GWkAzKPkHAIlD8P47OYzlyYwuiX4SIAlAG2LY3dENy
aGaDIIcjeG8KwNe/02+nkDQS2Q1UXZN50kHKG53chYfyEuF2xdLhIR7lRPKg0UdKyMaQ5Irceqsj
RrnjzpuhxYJOgXPCJs53FNfY6HMJiShx9H0DmNm5cucl6z4Oga/vwW5o/ey6LXtn7C5TehATP/ED
6mjEWbZX3Vk7jvbPq1EFMzmpsWpNkLp8ehlHtYe4NcUDz2lEwtnElB7ocQ6Axgyl3qfQsSQfKcvk
+SISRHjMiFVgfpd4HADFFZ3xWRDX44dIG++rRTsTvva4EwHjsyC8hLYfSdvVmXnmnHdIOFsso1bY
BNXd1EiCONu1RKsPwSY89SypyLV3B/86gg2ej5SYNNuNEwRMF/G1lDsVzFIdkBiY4t3PWH2cE0tJ
/homIEw24xAn+p6oCUTQcKV1irogK3XywkhW0bznDAr0cWiheDPaLW9gilDBZwWdbtjd7NbYoWfd
mJZU0xcEVrJ8WOFUpQcmadF3VQMpxbOIHO1QDmRkbkvXspCiRSLHbzbN/OGs0/yRGKudU6MaI++Z
qeHlQ0qZ7zogJT/V2EjkjDrz4bn2rutsSrzdFm2hZtC0olXIN8sk8Mxn4zjbfUnwTUiulWyq0+CQ
Y7lXXUCmqwDC4pxrPXXjhZvJnU6BT/f1jJNmunkLS1rdIYbJnoYs6zcrTgNCyaQgbicQkfpD8cCJ
0ldUYkdvYWCxiRA0IK0tiDM6lqEkZh6DJ6hTb1D2Ce11UPw2jO1uEcKjd+UXWHxORuQiuzwKIWz6
PozesGiW4jPEqL5AGGjSyXnWfYXMJR2BrODyRa/xBrBXgxLEuYPi3iIP0PtuzPr0GpHpjAjXkUl+
XRorq89Vk9v3xQ/VRV+N8lrjflU9u9MTbvQ4PNR+7z8MAf0Llu8kdrZTDtTiwn2zQp+kBOT/6erK
ec5gVTGeWZt2HV5sLeoc9fcIceAywifTh1ExAruwmRiXr8TLp48byRTUjF0n5o5RJHZgGhLJyMYt
4+SMi9o4EIAbgwp0iCdxdTqhg+1M+mBzp4uJZMWQERwD5FTGlSX8jLMTjAXkuWTr5l3wcNu6oFrK
0hKy5AjQa4Ow11wzL4rJEIdog+yd9HB6YsRQAF5v3Us9rSY7zkGZyT3pN7w8ugfyAjmRB+GFOXMA
W2gJOdvBlzh2O8do1tC6hpJbrB7i6C8Wlin81XTcvHf5vGo+H82fDR8zPS79K1l4XfZLo8+5qXNG
N6JqICcH9zLLzHMF9woUH2Q+vPXZkmqIVpiSD2YOPdoFyPUNsr40io61ToD1b9yZzwkLRQpFdd2V
s995BIQbWb3T6M6/hPYrFxBtig+BAZm+CBZJDk28IxHGm9x7IX17JavLFoA79lgXy2DncaziqEmb
+jjqtjW/ZZjSVbKMXA/YsHE5tDB/BmTfbGrYPlm2+KnxzG+OV9TgOIc171NnRuIQIW396Sfj/STg
5NAVcVTCIQ0ZFyGzEOI9YfBKJCWKQaLJRaP+zGlOajWlCMnwdJkETUYNQTywTbgun1ABkeTlu5X/
2C5akagGbZx6se4N59imjSD4YDvv4D14eZiK/YKs6RZ6opU4rgBaX1k0s0ep0FTnR81IAxlY/P9I
ZKB9uELGzhMXOXthBn1eEyLQlVQyLAgHEkqHbpZ/UKFAK2FjhsdwCZjLQ1ptVXENy04dfIYUxLq0
hZ53lI4eJytZdCjLdTazdBtHhF6cPw1cdtwRDJ+5nqMtVI34XzqIlsDFegItHa7+z5iSwhcXUfpN
DwTWAg3iD/RYsh1cPOJnv2RUtiGAPHO+OYeR8kc9D+GeIpHoz8JxDZKyAvrgXV1LeHTSH9vqlM6o
YhHBASp/SGi3/5TMqrKd6Uz2Khr5OI9zWDx22ezdGTPm83bplE9GzGLAOIaLI/xTq2cJ6oN1IDNx
sA8pRwRazRf69EEf2K2upBmsI2VOUSwZlWjZU19B+Vtthf2ypH+EUoQAEIJ9lf8yjTel96O35n/d
tZbuviyxNoz8Zg5tz5b+ff3OFzSEx3L1m3mLOpXo7XikJ7y4jP76bWXcrNk4ua6RPFSleO+m3L63
bmvaQxlYN9x3mev41zoOow+eiak9wjFV8ftUAOTeGqdnQG7Mou/LhZ5iF6D3IyZ6bmJintrIW7hh
I+81DCzhdE04rNNb11oQnDZU4q4m4aTcASohGZTBlz/valcmb9UicF75OZgMrEbsF8PdHKK324q5
78t7vCU1FW1VodpZ3EVcxaIIq25wngLHCOJRoHbLSmq/V4HzTzxPWLDSKwFpTfWHsfkAF7pLsEot
PIlzVDzT+cYf4PcYrmHFYqY1miiWWxULBy9iXKL2LXc9MQOI7GoNR27bJbUz3K2VGZvtQt+Tvkyq
7TjEZqPCXYjEDCPhxJgPrBmelBmZcddGheRQHwXeuN4Z+RlvGhNMKQxYQUHxgE9uHx+rusf92hRl
E8JMh83UsMZo44zZWdbg32kby3CySvWI0Nc6gYs8HBseTUXR+24tjgmBJna9x3WcsJBtHez23ZPX
pK17oPNq6relEivJXb7fDOEhT6MeH7lO8Cj3Go/zc9nIkQ8WshzQCUTGI25LltnhculWZIyHmbic
8r4NKq3vsnTgfLy6saxJVkGpHUzg7DjnJNyDRo1H1vLj+M0ealYfERvS7K1LSrTMRKDASti6PaG2
u6xr1upOMKxHTVYywQUTFkQDuKjW4I6fGKEXR7fij78kBX4nEGusKhDqNqNyLtnInPq4ijJJn9oC
reaGhr/lXyqtTYDYxeQFoHmfurvBnYv5M4trjwA2Z5HENIii2oaN7K9k0cj1RcCZ8y/NVACHctxl
MueRRnjepJSgxIeSR8GModIL5a5swTAdLeuDv/Q/Fm9AblxEZhSRKKm4pCsoQDHYIDop6KGXjpXq
uI1G31vpj0Fq71wIn5AQtLDVbqjREO9CzxmLZ5GR+ddtWk147n23cHEh9xoANt2zftDjc+b5fXVP
IbX0b8rS/TLbzON4p5wZ16CPEBd2ia6Hv4Py1+QB17x3V7lj94rMW5Qnv/Wgg2nMIIKBQU2czeJT
CRaVxyyodivBJihth7tsHuEgFzaa0Zq0040IVgOK+qwy1LHYgPLgO+f9snvAorogkoWSczMkgMSQ
oooQAjpfjDRHvw1RdaegePVpCdeedRuJmcUWxRZhqKCacSOFlIEEyBqgfazarW3u59qjTa9aYNJE
7c5oB3NCV8JzPsgx+HAZ277XKH/RvCDCuU+KLF0fnGkS5R8QI136ROIBJwEbfrsiB++K0LyM9Gnt
DtaC/ap7h5K9VlQmJ/Tw0Qfa4OYMrQzVPbo4wUtPO3U3lS0qxuFWqBHryMTplYVDa64AdfEVCMSX
7ta2szufRnQF3r4t3UE/JTy8GMIKCB8Pzkimw27m2vsOOuT0R0+rMcEByXBx07mBznZu1RThhSea
dAoIf7d8Btt8shkpup3S9AKQRPrlMvN9i61VDJbvWnQFqDZgzw7XrmnidTypcXXLn1UFi3Ph/2DK
l9Rt5yeSX2dx53hCvVMZyrIgvXnOwG1CZ0Bbsm2yPnDf51LOS37ku8hjFtHYBxWTRSJO/zSJP0aH
wjfZW8oqlZi1nJcP294NoP7CwjJMWH+H1fA7yuK4w2LvdZgoQeEV7kFRoRX3rJ+j6A8v7+oDw2Wh
j3ahTWKxo8O8+faH0hKXjL+pMyUYAC/LvoYcYOftrKQDypTn3VgnuTLezgsKBntjEfVoKMc0le2L
5S+Lc644hTlDmTzL13od5ksSZiAYWu4W0m2yGotyo2HGAwlWt0ctz/QXbZjs30uMpReeMIuKfgpw
ZnmNphEkUV1C+Y2BEH/jw1LyZIKMjPoEsn3zXrA5aUic4lvHzL+4CM1aEIMHD5X4uyIu/gEpA1GB
sK56eyBpzBsQWUTNzCjElAMjqkC+gYjURLYVk+P/RqMv66NFeOSe8xsBiHKKDKNnrfDzjHaYilMB
/DzZZ8pt8H0ijrvapIlDopRwWex9F+cfpYsTnUUz4zHq1yz/5iXv/lhs7tBktfA/2B+RS7dARQyP
ifYIbWaL1nxUJnKJsJ36+G1ty/EJzBST6xq3A/I2gqVxeNRyqr6pykL7L3d87pdGEYu5i8cunS+Y
S8rnKhyD/xLwI5ZMds8GiGEDyFhZMlT5Fmn4vL6ZWXrnnnw0f+v4bC23AxPZhhUOV9GRhWqEFLga
oaSklZIvddAtOW4riFSdW9wqpsYtfRYXt0h1NOfZzLiQmNFzMEzIaspmKstDOsy621kqM6IgIbKT
KIzQmLzfuWFtnIRxjUSmS5ldgqdEzEht5nYklIzeYSSm3NnnSql7L3dGNB+rnz1yvbCJn0LPgyXf
GcXivp51a7apw+l0IEVlDo7RbG5scODa2fAe5TfaUNEFcYduR2DE7GPbf+VuCnYtACCE4Zc0hAn/
Qc/c1PPL1wphDu85hZzcWIwqUGOxR3v9sx1D5AAbtPardz9hJf5vTUGFbzsrnXxbLsxyICKQhVNC
dYtfXM/HWcUzv7yx2aOChgFIN84coodPmro1El5jnX991qZXWdZhfqnXuElOjo6r+yonOBvTXztN
3mZOV5/sbslUZzdhKPucccjFl1RD5Hujcsiuo+iq7GahDet7S3KE+Lsoj+QpfLoRyB3H6z54bOBy
x5gU2i3zYwXeSGfxm+9irjm2pYfS8gzYu5w/J7wByFdnFRbHkcnZM4TA4GdCxocOfypd+WmjYZzv
ifkhyhN9LMBmWPw1IWADJvxNkHgNm0a3+ovLIrgnKhcBg4/L48VYj/xhNBNSPAYOQ6/27K5iZb8J
gGV8qFw1kBsjutJ9Uuuc+kfFbRQiBXdk3jWHccoL2yJCJzVhBB6GgJAKvlKBWK4hlZ8BSeYaOW0g
QucOzQorfNaFrQh+cEUFkh+C/OcTepzJEHeMNHdTpj3jB/yMFhyO6Bfs0qnbA7KvFg1FStIt4bgr
cbtQec53YUMy90FaEVwgS0TfkwGpuRsL128+qCOnjEx7zoovD0jGGxiTkViQuPpnuskeKzn7b1gy
zL+EG5moC5eOAI84yVwEnT+EaAvszmth4WFMmev/6K+n5TSLDFxfQwDIG5psDn0MddzGbSTYhJjW
Y0qTWK2iK5jg9Q+qlPULW6b/B6wxv4wXsNZhgoel7mCQEN2idDDdpYS5rKd1pGTY4ifBuhRSCn4Q
Ee2ufPJhOJ9I4hhvTkGa80fmxpl+Qj1VCWQuVFztvUo9vd5BK3SWHW5Bg5+cCBXYf+6Nu9VVdEm8
2wYwYIeuqvxuG237cwOgCbaB8bPiGsGzcgAyE4vyrAR/KttEqDIZBqO15/gEGeHeA3DNsRVOnXle
m4GUDWT6KQnWI7423gYSkVOu0N9+I5wfjPCufzLwycSvORkibm/UBISm4Eurd51fltnDTd3+m7eE
PJk+K5YtGJzMYxW75CfPbXOQ1XlEPNdfvCyIP4fIk6eRWBQWpJmc73SY9fKcEcoJk42aH5o9liPS
VdKQtX395hRZSSOW0jWTZYshfu9PJWE7cpy8Ae5aYps/c+d1Zue37rAeWdzmyyVgrsXuHeJy9YOO
OOSDyHi/689SAxI84ivw7eEWDrS8qdyZhm2W39ifwC1IE2Gt1Ubhs5/xnlO5So1nDHs/kCVi1LZd
3pBWu8nQqmxE7ZCdG8eUUxcdln0LiBfNeXS4XefAYAqStDw53NStvuu9VqzLEragS19tfYLWve1K
QOf0UlDJJwc4WuK5jkFvbsTtW2awWQ7pEXtPHjLiqDlRi3iwKIlsKe6ECMoTsZNkVdAire0JcA9C
gYzS/jNbDGaGkJP2NKFy5fdFfvYEkEZH37DHUrwzsW4peaKOPEDWS8s9+wuSK6JEObAvJwWpK+DI
/W29BdHdKF32pbP2O0iNg7Pshee3/lOyTCu3DU5+xEDop1+HxFtwIq5pez8JrufQa2x4SKTLZIqF
bLWi9C0kebdoPrpn+okOEy8+on9B2frtlYwBS1bBnI53vPelQZcrmleEGQR/o+egf+mc3EYACZcx
2Y+1Uo8Ze8IVfiaG0bRr1++a9z2muxrhGjOWVy6uTRZ9gFBg2kZQE3C+ElVgTnhu2IEDkoG519L+
IbnyQy87+pw61bmnC5v2HaTlajywPEm9Pd+ri9k9sQG7pWL0133LfCfsd13NpkUfUXUMnI8iBUnp
Pnt5RpfXdspxjkPtL91ReT2fgpeyS+BRjNGHZM4ifo9S2YJmy0GJ0AhmTjuRppH5N8N3iUiBIrUD
oVkLOK+Cg43Gys49rxiT1eIZ4eKyPGQN9iqeZTC29Tg1XKYkJdyzDB0ZiI6cbkcACeqLJYeHEJa+
eji2Fcj5M5JJFFZpDlFhq3BqvN6MYAn3s9Nik6im/j5zKHDJdlzY7TizNzAbjgeqxqHwEPsRchDj
FELPMFysw4WxwwTD0UneWhVfNPm3wOr7IH5kqg4DyOLTsXsTyHX+PWUDmSmUDQl4uphUyo8gF8V9
GMMxIJEZ5wyGbaTggy+3DEs5ziOnDb4lghKIeC0a3l3PvJwRQ5WMv9a4J+GEyUNwIXmD9MUmj+Kr
mztB+NaKcTwVZIDkGx1MSCNIAltQkzGWv2kDbLdKUR1hdnr2ju1rYp6BH0HwZUofPJSuIKiqxpv2
byXlctghoLRyK242hZMukxmmkQrpwh2kqxZdlS9PTbJAcR0VaQMUQFUQHKhfRvvYkIq0L2jQzT4G
xOHf9UHYtfuOIBO5mUZwBIc886i4JvLUsvMMFu1fG88o7LAjAtokF/C/biU/7pRoA9YbYguJKieW
T+l6bicLkDDNKNh5kyXB6mCyuvg4sLlhpWtaruiHBj2J8fk2+mY65Xnf/+mzeVAomsh7vqV8g3Pg
3u7GPm3u8M62wXTSpPH1l1x4hYuOh+v0w20b3AelhTmEJKst+WqsN7PZbPEsbhG6A3DsaGO+WtPk
E4qDpV0mhJngXT4jUdRHcGKleJOIwfNn+B1R9zADwlo596kt7AxzUd+CUtMIm53H6pnZ4gppAb0a
nuFNy6Ate9GlQX1gyNUOWNwnVMQZtTs+pTzu9QOeCXKA2ADcGC0r4ULLtvZ6tgx5PvU330qZk2mX
5gwU3VDpX0tK7sDJJAFn1kYXzM5JshuIukGly/HPZrxYWM1Ge1kEFW0UT6WMsoOXEHIJn2UEN/yc
l8INbwAWp5+fQyT6yCxa1ZTDJifCcokPNBiFbHfrUod/lFPkya51nbX/3ZDclu8KFMkPWM7ml9SJ
MrvB78qgZ6aLD7Y95OL7ioHkc9lRKLOb7O3FD3xUmgrj/nPsxCndjCWk/UBoZnY2iKaXYwOpVn46
dOsZGS2of7Lt5GQxeL81LeBS9lO/fq7SIsTd8nIXgHSFZxvUs3DIvod0LG/5V6HV7YPPeIv7kAEo
GvZA5UXEuhRJ6TJsyqhBzyJMCo9NJoyIH0aDvOQaQJFjI1hG6CN33HVKHsjodgLSLIgnrx84ACOJ
qDNW7B8x0gPW2nYcS5J8cRNDlgFMBQ10R/9Wj97GY+EIuR0dW1r8DXxUaJyWnMvo8MnaAqCWE92I
JJE6IHHunHb2lvuxilXzwzBwZnoTuUJjXq+91D1W4I9Q6RUY2jHIQ35eg2GP/D6Pv2o3CL29nJM5
vnqgVkaSLd05idaPmevqJ0ENN1NG9aL4RbgLfoRdg0JkptjtC/chS8Obd4rm960r8ek9s3f05Ufj
Dw4QD09ObnpXi7VT+3kG57JHLpyP/yQ9hIxYqiawMbqJy1c9sLdVJVrGOoJjS6XjJ48B8eguiqY0
6zDbFcvUPeDmnPI952BRPQKIkmgJQdzFd6lCuvHUuTTY39Hcw33au72cI5bHyDoTvPIsafRfRTnh
3aS/UfHhc7Ph8RiZYl1CAXP5Y8GahwS+7BuRsner2RVZy2qv2XmYtsM9RT7sG/6L4Ia/wnlcdfwq
sTewVGTFkppjzWp5+u5l4HY4c5PGOdi60+4xaAdq5hUsYAKJyJCxsetRhIWEXwWRFZimS0qsreeQ
ocKeOzH1HSrwMCZcLV0lCxdULVN87t1OCbhdrbbLd01ssDlOUrMihciLM/kzz6ibEV56SbybZN0s
iCttWN7NeevV5KYndNBTBAPk27UKjo1lFDUgfOASiB5hfnA74NlzWWWFiYC6WzUT9tM+BWVppgao
C2DmoPGOa7Z28wMMWiOZuEHIQfAj5vD3zMij2PdluJjjiMemPzRos7N5W6qhJPEe0o14ITuIZE2G
U153Fn7TkyucyrzgzMPS4wMwqaOJwTOoSceQHD7Tm2GmWL0UkCBiIDT5IfUNNFx4DAeogm2Vn0og
D7LGgMFhSHraZFzeWqKDMrFZ2I03n/kwDPpVtwhlyVvqNLFE1pB6ua0zm/g9VnI6WvbHTMLCZmcy
rCX8TbYV39W45NUWt11vN3McCfmZB0mXJVfeG+Nji87R5dd4CUDmb4gL4ZRmJCzI8ItFF0Et0yDi
NkHWaiiYnSSvgXXYDOAJXhHeAjrmhl+m4+L+mJl9+HfsK3LxT1co65Hizg74YsTSMiBMImcaCrWY
NHMtkM2DbTTy5Dfx6CMxXFgpXErNpPVkZZDe3I7C51QnKoTMK8wzaPAGZv5bhZTjT0EdN/2gb2Ds
R4SRF4ykobRQUiSElp4rz1rneSAEg65KWh566bZaa/zf7NXvDehx+RT4EHRGmLoAnXCC1sn4PFJ+
teGFaXYPKG6L6zMFv1Nh9y3SBwMxyGYPwAlrGxxqIGttu8f365UgFithRLAFm49PeiH7wKJeD7J1
OuRVZorPiDpgugY8ecPRVh3ZFGUcppY1etWHp2l2B3tshEsCn9NLcEWMLTC6WndZSFe6UUbPjPuH
CRlwgo6z60sPPJgNAhLVY2hf+3LU87mgt0INyodU7kr0aiySUSswMMuK9BmlbMucX005yUYtbcN2
wQfR7KqKmn/n2HCgNGJ+QbeWVKTToZz2Nr2/DMmJgY1aTobNn9ix0hKvHg9QeBKEKn9zyjNkLDMt
72p/IMTW69b3thDeuBdlXlls4T3uLYlZhJmSilAR4DZgLtrMyXQmIir619c+ccqNioL+H/IQpb5o
bdyGrwQF3FYjY1EnwpVb+wv1HLE34+xDV6izvjQH5nowkPO2d7Y10Wqs+/zJmVjmcSL1uwZPn8Vo
sgbyOw9sfUUbkgHUy1e6KJeqnYKoUDMmj9jDzBaAJMUw3ubpte+7OrwCXZhq3MwFOraYEHtvz2qK
Us3EMZElJkt5sIxTZ6g361mtHIqQG5HyBsmHM9TpeipBNvY8224VXTkFkEkNUzD8Tdg6vopCzKx8
cZyhlHdr6uFKIv9gNkWdwFCchm0T5EGtNjN2OaASi+YdcECeEq8U6vCPCyRAPS0+hcie6kYjQKFB
SS6ky5jpEal4lp77UA3iauZiUXuSIZLf/SSDAPUvPeA9/PL2LQsQV37pKmYqVylwWrtIsRc4NLnr
/IkDVfwbcJRXfBtu/3t01gVLFZl/5dai9PoGFoPFnxxeVghNdMvfnLRon7Ekl955JbntbxHrpgbl
BGEcPV+zpiQGxtZjzZfZaw99898woQGDRhqG6y9ys5LHGuLTcozKUrVbNry38JpamHpvSHMmZKYz
1QmVcSJ3blOHLTNQRI6/Bo9d02HoiKV6XAcm+y9sq0jh4PNJao5b4pE2LAzUkRYJWl7S528gFPz/
VJ1mJyTVYO4xbqWvsh3j9pJpH/QFOTtw0XXgiIclnnD+Ei1aPk9CTvWh1IsbkLAUSqL0QN22G6nT
/qWt5pzhNIfRIUPcXB2DtI4fA8lq+zT5TLuI3SlCbKkTUZF7p2818CiZRGLjGwbQj0lVWg1qfJSY
G/ohYCATZ85WuykWBDIApDkzY5nPxnFxeo/WSNqEKsbcQwZ0+wCXl7gdRxscpy7iIUJqscYQQxFq
51h1EakYOUqBnOmz7Ijq6VL20ASLOk91MAMlhGuT+RtEaTGqTJxOt9MaU9uh1bzGX1GMkW1nIkc9
ozsCWj9WNv7VliL7kU4m7irG5Azi/g/pckKFbD9f19uBiPceUWK5DDDYh4xRGjje6k6BqUAfNvTi
ppOeo5AMJHBm+Q1aOFxhDRjkZv3KbaPz0v51XWpgQ5IBlA1Tp+eJKILbnAn3H1LASZLN5azlsBO6
aZcr2va4uUOchiVizpJPqr5FE+LVxK8jXg91sSoh8QpnQ/5eOUPznREe/5NB2XQvtyTnV6dDcrll
y1hdWn6ldJdgJWdc45K38Vq7ffgWc44+qzlvCvRfHL4CDX4nXkuQus2ZNJ7pwN6PTzmIDEGEfqPs
1iA+7yluAMfOwJ+jb8ZWPnIOKGXFUajM906iDdK/qxDrT8ByicTFcc2OIQRbXHlOIYITpd7CmjLk
tyehWsRYVXl1QppcYc2uRPxBtFes+rsBkKBkO86TwtykVpA7Zc7MjASm9WLHycDfQmh/j9RqiM98
gz7QZhft864SKmfR0YR0dLOTR0C6h6J3rwMexnQz+jO+Km7e6mHpUjthT7AuVCLPrXb+Cl3nbl27
9m0M8vEDnyM4ndAJ8nxvYurI7Ti4tw4xjZs/LcMgmCcpQ7bPypn6n24VGO/DwRKGhFgk08G18Co9
feO8YzwLfFh/x3bhpRw92c4blnviH7Gnyz82rdV4164RcsyNrqL4r4uEJ4dTt/b+KUhJ+t7UAHc4
TVHDewdk5EF1P7aBqg49bZ2/9U2ruhdZRizCibULD8gDRzI+iHK9vbTd8GpjKCx71qg3lCAiCgKS
qNtJUIP/QrebVYmP4wih29YOEsNEnCTep2YdrO560sDm1wr3NFAbPymJ7UW0hNnZmcD6+JHjnoMx
LIhzyTvKYj1EqroiKyMjFOBE/TdzVqbRKYX9S1DL/AMnWfwdwcGz+2rh7kbNEdKZDpPB2Z7K7jFq
qBK3cTJBTa+HLv4ErY39CGyTZjVXRy3DoJglHqJHBdgHXeO4U8YnC4ugqqLc5hKXPwH35hZKKB35
jPiHhaNOCWKeiecOnkpX+z8AAyZA57Lzv4oEPckJuwUdsV8j9iHsazF7TZxR9ehjG8m5v1ORP7gC
o96DTTt1o6DCP8BEFeAu3xUqWM9Q12cQheUMMlGUYePv0tnF79LYvJdU8+0IGhN94XBqp3oGbAZN
wz26IQpBfqqS8KIBFMkuwVYsNrg7gvGX7Wh5NkGHVfVS9yo7VSNdwnVpkxZAeMcEYLPSAKl94oyZ
OXB2L2daCokYmChX7TxYiQ3DnERE07PHYOpP74xFE/FYNuwR/sNWg097P5oG2OhhQkydxvcs/wiR
PrJo8Pthnxk8pfQf3qQyPuc8fnFmoVJgTGE0dnfVqPzfHOLG7FWSZP12MUX82eOY6H/WBX+13DPL
Hdyttni3CeyWfvnVJoW+jgP2AewlSAlKQqDQGO/yRY7tPUK8pT+MdqkRFCKJceadohKLeNo9Bxdk
GzG6e2bHiyNCwcptN/lSeCGMBuN17xrOa33EhdvUDwvOUAfbZATveQuCq0qeSP5KPSbfK0MbVDcL
4mEWp1Ad8JeTiAN1TBfb3JGrvVoOxvS0ckCj8yI2MMaDjMjojH5koJmUZroFDeiQQwPLW7FdlZh/
J2vYSdy+fdkdkBW55d5FkfisYkxmO1OSH8Q4xSl+ZyQEePdRoyleGUggN2Wy38nfTOXGfyEvMLVy
oCYiAWfNtYz3Rwu2gQTXbnlqbse/qdvyqBs1mVPjMlpmqwXC5sRyx4t/iPdCDAmuUOpD3SQIvQ0G
3+REgs7isziXnaiuKhmH8YcL3kvvgULweWUY9m4QnVq+eLd6/RklRBy9QJm6bRSXVQInKBYe68PN
MZ4c7ArqizsuDryTVDGiS6rY8d0syZIe4xjT/6btZ0xldORI1unlBYOVxKV50ZSMkGl0EZTbLKDm
3VYolNxnRVPPbqEkSj17TAIMqtwAIKTyFbIzRRHUR+ANQaACwETN8kTV45ELEECFugfuqP71ADqW
O8YYQf86uYLQN2biLQIi45hzmQNJ+mVTSt+PBseEPvkxwyEkVJXFep6s02aJlTO+J4kK6kttEdRu
maw2gnirtgsf/XruxZ5BpeBuIJ6y/s9zWQkekK8pGKdJlTAC9eF4vqBvn4rzlFhGZsxjQqRPMdJO
+ctHgPo54gfz7ztSi4eDG1FgwFDwsPssOV/XYSK5/UaL6GbbbjH3JSRodx2ik79MSPB9kxIg7xAD
zi6weKIMkKU6UZO8NmWwfFFXLNOvNiTAmYgi66ojCjgPy5DTyKDcoDWvmvs4rvrsSlqDyR6amuXP
LgRgyMoar0fFcAdot49hExsgAH7Ph67KADyAw4Qeq2lDogJwq/V3NcqXofs1lyrKXsd8StH387Vw
aC0Zy3iumTBynlLtmq57pdOwRI/GblyygXLWgSCKVkaDfm8wqMxALEY86/yTwA/fhyBc+p8spI0+
YYQa1WkKlJu+c+W5zhMTcxs9yzhr+xNlDMmCdjY+nnHf5UopVS+rpxltdrK/7Xzck1B43vY6RblF
T806m12TIIMkktjNo1JRnFLm9MTMQrpwOkRH8sBs2lJhe4QZBZcmxnCz1yrty78ACeBazIlJP1pp
4/MssbEwUPLIxUI0Mv32NJMORHOtnc/ulOEJk7HVfyPy1vttx2Ca9KHc4RI14eQ9MAoniiTPeFZ3
txtM36au+j30QAsx8IYTxQKwBkuDTAj4ZtW73WmdxHijVbUYqkSI3JOVzZI3QAUCUKRd9T/SzmQ5
bmRL069y7a4L1nAADjjKunoRI4MUKQ4SI6gNjNSAeZ7x9P0hrcpajIQFLdV3kYurTHnA4XA//p9/
UNO15yBlAvMa8IwsO6WXGAT25PHU4EL+Om4gqFSJGr5pWZg8jIEbBAinAgljEyo2zs144h2HgvMR
SWTlf9UDPF9A53vtVkPkgFKp5oNaQ8ijmoe0ZnVzBG/4DN+6+RX2BWwkDQo+HeUilPwnOGQAqGsh
luUUgD8QXiNBlrCJPXrIaP020muRQkL/hpqc9ZM6xnYc5ZsSuv0JXj/NvdAeenJm0Rm+wKkxCAwi
S+VgS+Lrth3A+HMzzT2e2kjHu4pFeounIcBmEueqPWIrmrxOk1HPlmq9p60DpzUfsArqH3vDa17I
rMx+GbUVv3nkzV4bRt9i4lhAzF8NHObI3KAWvQKOwryqxrIqthU+DNrWTZPo5LYZFngC/vNLiE7t
SYMbH0Bvhn6y6ZEs3qUBgVkrt8rhX2HiVn2vY6oV+uxG/ICU1nx2ddP4FYfhX2lNbeusJ5VWsLNb
u9RxvhQx0YCwj+ne+ZnY2MJgXxygnsYbusjpjYKZifMRMcflCgYjnso9dqUZm16JfnG0StKLkEfS
yIg89jVSUWgcpcpGJGRYEfvtFI3IKMoA8tpK1To3Am57WoKiz8p/VVZR22vSNKuf1Fl5uDX6zAkp
YDJcO6PMcG4aSIc6SiqLTrjKC561JNwm5FrhuMm1bSYNwiL2q5awKIirSoejAl8x8ro9m0H6s+9K
603r2W9nQ/BUu24Lu/zu0OJz4fClGcmvLoD81tdwvtq2k1XeNaZQT5w5vn1FEh/xDSO8WcwwMuZp
1bKvcnvTQqc6VECg2Pt1fvJUlTWhlAbnNYm+OU3braDl8suqW+1LDyP4aioL4zOeyrO7DrZMNT2z
OIBwwtG+7t3ISPeh5yNCG4NE3VTJ5H7NcMFo1y0+DrAb8xzZSGhQpMACQd7r0hG81yDNlIc+VcZj
1zXBQ+kJzkLfIkAL0wF/uBN1l2HMAZXcXAWYk90g6pve9I7qfB2YZF2v7IFbOB1WgaLW6obhuddH
fDK5jNL3pGddwc42MzDhwE0PErJTt24r2TzQViu/RP6Y30YZ8VgrODMAZ7J26ocE10dgGt8Zfok4
gjtCJ8zem3GT5LtGJ598p2kk0K/hnRNgqcph+oZ8qnxSVedDItFnbXDTiSzdUTeRaM53n3drXaOc
2mYynPp1HyrsrSDT6Sswvvg+ivXgDdmTA0bU5zLcoGGMHl0utg5Vo5e+tqbmfHejpos2rAQysgqu
ZI8ubj/8DIGOZ0sTobxxZ5nCevJTDaRtKuKvlTvCU0m1Xn7yC5EZO5fKqVw5dcQG6lcAScQGsa+u
XMzJTtUwOIiPbd4/VYPH0uBAgyDE3oA3e1uE4p4sRPYpDLnEq0+fiEWVt9a+HpvkJFsjOWHckr00
jQmxUuij9YmGQ/TFy2y8oJsMuP7QpVG6Twbc/jYDfe0XaDjckDynhMrfT5CgqB0iyl7HyHHeNGCb
B1e4PNAcr5G3dgcr4/qsPAjf2DuN9LkqPkbsmYqCcoBgG0hWwtFxM+buSJ5kPDnfyXKvemzMZHVK
uW0+mbZG6DICEIUcqDQfRtRCw1ZDifUtCYLuc68Q6VFeG5KirUutaSZigYJhKZd81XSYXiukozqc
SN93+w1oTx1tdUhAEDlrcOBV3bqz/TrdFtCc3BHPiu+XhrqdxViP91x2V37lt80acKgr6IvDBNhC
nMDvmVzj+CgJ/tJXU9wTax5XtcJWrgtIhihrjyuYj22YtUvZKu+UM/k3EGOKYYP/feS/RHVg/gqh
OtkrOFw18HrSIMJIg/w1xKrhRg/72fy/F7gTc+vwFcEqY3bE91eMnwFrK9w/YGzdBsNgpAcRDTiZ
YNqRYlVklDh7Rlxc8qusimbiJR4U+D6Vle5vNayXuxusKmkmWhUMT8AKIe+6MtV+tpCx93L+6fi1
+j3SORJNv9tjKmC/tzOB3ezkTHmNKzwJ3agon+Ihdd7cqu45RdkD0aniBbIddcPCVQko9JPVWths
ckHDqkdhmpbsST3EN45zsuxXlWGkA9EHGMhBD0VGiI9OmexJLM5RCJW+F1zJIsdpRPVU79sA/zHJ
pi77XyYJRv5WcBVq6GLX2ixKKOoDUk5xkmUDZKx1HHlrDXcXuh02FkDIYLLRguQUkS9nxDiFrnS3
Rn+EcW7xtcFVEMMxOuef6AnTxtL1jrudLvrsmBCOG+Gun3vPEPWRdXp+b+6LhsYlLwc9uSCXcM7M
HNSsr864uxlF+lIlaRbcUEBYn3n/JazwIgrekCDnX1OVAj8XnuWn1z4OGwDzmg5CENJKqndVp/In
j4QcyufYl7cWKifsdwa7f/H9hlOaHodVbQJh+M62s8mxX+lGWsDrAbHe9HS61KqLUEhC1K+rzyYX
X7T5Uivf+NLJw7BtL/81oPohTxaKBURVq41elYuC2my5Se4yPcAHCmVe8+ASNwTUGOXZAQJ70YE/
OcSOzUUnYIczGMcEk3n6IfSKZy0zMTTYVarskPjBDP/XMXzBFpEweQX0XzmNygC2rWkOrFICZrK7
AcPt7z4+RYTdTGVYroMm9p9r6KQDH27W3Kk8HTSaGHysKyNuUa8kZtWQcOB6P1ngwDk4DWeA65H+
xM6YPvlTVmUb2dTjN4H04oGGQyPXwOslVt/4Yd15UzOvGDLrjo4z9geSai19PdWuPvtReZhnCL+L
fYxJhukkoDrfogZEWKG3GGkwfTqwmyO7Ap4+YdM9rqIBHo9MBrf9cRB4d+k0VilaYk3mm8TVzFvB
aiSrJUzVDenfSJV4nUa+MSuT1uE4mBRjDQGT+lrrK4MeNtUJUiAxuf22ijW72kLSZvbZhpznxArB
bAPIPeAeZWFesf55tCIV5dE2FNe3dOjAMRoIzw9jOkulKG7VJsNeP5qBHmSxJSUtuqHE4lrWIhq4
qlDdENgSdt1XQg2zJy7e3dsQRDGyopqYHA2ooVhnYJbpKiBSXF/7Uyr2RkPYIfXqLN6tzCx+hrJe
Pdc470UcjrOSIdRGOtYuZt74MUQEepld6PxiU1HOBu1JpLZ90vSvAa5Yx6mg/7qyTVDcLXFxoX1V
KoRle5+a9XOtWq5esMMjuF99Ej6bFuoFrDgJpr8Oai17hFcYwNVBII9Oy8uGl6Cg1loHGUjlBq9G
cWDn4kJfQ0JJNhp0gf4KKYF/h5iLrpYJ8oErY8ixQzJZKqM1WkPbRYMf+pwBtLoxSffz/i1N6Pjs
UEbVW0F0AF3CErINcGdVaRu6+F3wCL7sU24VubYZUELqd80QiWHjZgk8s1HRpj00JIx+Qc9bX2EY
qNMenKA70q6lxUoL24jabdROHtYLLAlzgxOP+dJqDb6RFQmUzSFQiNl383KRTC9f0ZZuNp4bXEBx
q4Q3WJHJpTl2udOQPXOBIg58xEuQ1PEhLymvEmXhDaEswg0gKZH7Sme11rFAdPN+r0RftmuKT44O
ZMrlo0NWmb8rhT18q8NhdnypDATDtFwtGAzQPYjtatr8FazVwrbAQIay0qAbf40wtMElRpChtyoz
yJcbK47x4tH1EHJIhaM2NnVhLl6bApPpNVu48XnCbwiajOzJjurgbBHE2lhs3sqdbWXrIO6ngxii
sN5lqZ0c1TgGclXgsgUBg3ohuWrqwiVFGiWftyeri2sI6CFWpRVXm19RG6GBNBrYXIdUc2rcCill
wB6t3vKufKASpO0D+df4DSW309hZGseL32VfbIf4kw2yCc+9i9ifv7VBH9ArykslNmXm9VxfyfN9
AxjAa6Qd6gJQiV6e+YA3TFFt0FtG92FcmT20Bv5wg2B54rtASkLmtqLI2ZhSC06TlcL69kPTv0+6
zGy2pDtZ+87RyVQaZNzeUu8N4d7gShmuLA4ina+/xU2n1mLxHYOn6FW0eL2sq0LLqi/4tKuHVG/p
LPaTUel72cIMhbdccbmjhxDi340DFRiPUUavyE6zn4jLRb5OdA/NBtGTYtpqlh1oKLpQd7CthxqY
CvcUnPYo7gJSL7sNB2ZFJYOz16mLFUZ9VdvYr5Y9qQptjCkgYvrBnE5tt92V10oLIiQRdtlOUfH+
NAEg/U0Ej5wCE1nLPXIhDlyZ07ZDhNX8VEA0FZCE4WCmhCrO23c6qntsKWT6DGOI1l1RN9YWQAVG
CIgeF7kEp4Uv4G3FpxJQDo1VUmX9lxRDQ2cFIYduC9wcUpWhMRvAkpETzXb9RI/6qQyval2mDqs4
HTG9B25tf0wwq6JtXUGx2Aj4GqeY3f1Hxnb0NGJBG64zaU9bxZUTf/zcl89mG2U3ek2SycbKTbro
psy/pY4JjQYPqeIeY7Pg82QqC6FBm4y/QGmHnzpylhfKyeJagbdGmwKLP1yrrCbdJriNPge84Eea
VDCF4hZoPwxyjOtLN7PglKcz0uYWbT3QxEmJnULME9/xheFpRK3b9QWW70Q7tz8ovsBQ+SiLKHmA
NBPYcFRV3hlAEWzPGxGMLZuIbsjOfXLRomW7JuhsZ2WIsY+R21S643WrVNGHbteTGMbmUxgbOf1l
iFb1N3IAmCYnpscMwF2Hunnw8elvad3kYwnzCFiZPns2GSBea6GldIBD1ucco9GY4b4hLnCg1z3q
fCml8N3Y4tSDC3uYbTpMUt9L7EOa2DWHewPaDFoKyQ5W3nuGY9C8wVvAJn8tspPWfzZsoadq3fLO
UYCWkcT4H48sbCyfIkKhMcnvC6e9IbrOtXZWO0ZybxNomH1H02o4+EUYRd3jwVjk9hZjB0wSr00X
Z1bqf1+0mM4HibBR8QJ6Ds1toFqnzq6US+aSfYNenwbENgxUyIQMZoHjzraOUUdYW6wIB2xUAnLr
Vjr4vj7fHrjho+kbKNVcbbpP8OlP91C+ad1h4ckmmVoNBz4nVO1cR+QHautBZDmpE5CdCFxFaDV7
gfUYtUekj08Y5pAMvA4CJOtYLhhsP6h/gmPk4jC2iip4qVQWYSbQ0NrS5H5OrbexiCy9k1Drybuv
oIokNfvTCv219q0CcPtlW1b1DJZb1esIqwEKqpSglnUTevJIU5sEnzY3BBw8Sej5JswR0Gx0XyXm
uuvs6tdMGSYDoLei2fakkujwobKTdR6bWI5iQG5xHRvGX8pGaE0QdjrQEYLWT+WDpCHeosPSr6AU
GhIIoqhui1aT4wq3b/fNSfpxh9M76DyRGg3Mo7YBRXMsE1Zc3zbhywBF/5tPUF64HTIzA3fiskbi
GH0xecXvoPeuNEufrhBMUeVjEExRVgwlFu7+JFuLf2rq1koLjL+51zmQgKYGxeFgU62ucQD1qi2O
RwTE55JUkbDL3BPIOvQVpLCpfW3TwodSWccQIN0m1R512wKfkWZU/goAYcd1OknZ3qioMp6o+WBu
+S6F8WrSSQ7d9hacl5WUGCtZum5GB7JP0JMUGQ2VNeJH2EehochwNy3NKa+beYlsImQz2l7vhynE
QUpA3vW8yPHXBJhFWH6ISX21udHSTIVHYZCd1xkIweB+kiVSxqSp9yP8sIE2FjWcAehTFAjA2R7I
P+MSDMEbN4KM4JA2qJR9VVdZcx15tW9vws7ou7WSHmAE9iv82/jqyFWU5d4bTKL66MIKpUhFZPFT
itL8gUFYxzKxR1Z2YTSYxQ/41q7CBvPSDdI26+jqoL+7DJT6AcIY+BLPFl+1cOwfsFga3mRmFreG
TaDtLqSH422JqrHcbU0IGyemOVsbmRV9641lIDxey5IXTD6DXSVrUjVA1fBydfUVTlt4FqjOG2mW
RtGPLMnIZs3qTLvD1CnB+83Rq+sszvBXdmxV7tOQAMeDi+T+Rm+q+OQEbMhkhGIkuMHvAA4i7Gb4
S6KxLWflTWF6hOMh0PlhxvUWhPH4vcfBmPs1bJN6JUc/DFcAw9x9uA5jOst0cPLXYKJf7cDoX4yp
ye89yYsCX8wAIjIN33oixEzscsdef41SmdGmb8PHWMwIa5iaY4fJumK9WWTOIb8bQG247SEioHhF
EOD4ffSq55i2ijjs0CxoGDmge5rCozsKx94EcAndXUGDulhRENApwFRZItITHNYYnPcBRhEEbKH8
RT5HcpvTf+fyNxKTXA7NDe+RW3kkvHC+dYHGrVq2Iu7shSHV7KngvEjXmmXJU4obDXevDDoceRSf
uWIN+QY9gWyvQCarct3aQt5j4zO8ol+sXiNuLN/p5fotF75pOCVoix/pfzYnbLurpwGPclyGAoG9
jjBtnhgTSCbiP1C+wb6k0t+W+JMWV6XuBBhrVG5HBldb0Ai6DuH1E09loyMwtv/+1//6P//7+/Cf
/s/8Pk9G2uz/ytr0Pg+zpv6vf1v//hddhfn/Pfz4r387ptR1S1ourEoHwBMOKn/+/fUxzHz+ZfEf
gR4GdVXTaC7MtLntsMIvvKC7vzyI/X4QyQVBdy1XCcOSrmnbzvtBwAwd+qROfCIytXqxcqXuHM6L
/RSaPX6zgnirDx5r/ht/e6y/jajejzipUCrsKeJTnevjPfsfGaFa6T9UnrLW5jihGMCJJthffs75
b/3bqLZJVoxJ00uYZ6MCFnSqxSj15DpO85DIyH4yzUzTtqSRhWjIRmiCKrH1PdUq2u3Lgy9OsmPi
BW04rAPr7E1CYwHygL96iupq/DQr2tQDhZz3Ca9YLzsUVdUjnro85uI0K4MLFN72junMv+m31SNS
koXtRk9OpHYhzp5AHH/QxA1fugkp3BiIfpf1gsCdy8MuzLPQGZKsa911CYR/P2wHta2QZRif7HJ4
TD2g7E7F8IKoMeEMDNyCj7GYiU8QeBN3fXnwsy9mXloMrmijKqSBwhTvBx+NkcZmVsenxCgpfXM0
NdeQvpP26vI4C3MrdMtGjeIYPKjtvh/HrrjgMgwPqZGqo2kBJwlHIFBO3zXPPZ6S+4yQh5fLo0r+
1rMlLCCZUh7ajmWh/Xg/qqK/PXiZE51Y5LPRKTLQkbCCIoLomDdFcHt5uMXJ5HNhyVqoQZz55/y2
gJBVEAmkFewMlU+/VUTyGJgBbluXh1n4NoTu6jbcdsX2I88XjJjqAQ+N5OTlAwpTEnwqItzp1jkc
cDC2ysDwdpeHXHp9Qmd5og+A4yvnP//tybSZz1vBezqFvWWEj72KqR81Rhq3fl9Y+TdV+nqHZyjX
8evLQy9NKrlOfCBs6g5cjfdD+zXe91hx87TFSGcgwui3xFzX7/5ghf4+ztkKVV08KRFKNClQ/JCU
l/4TJLtyS+Ia4oYgxNE398O3P3g44DXDxtTZ4Mx6/3CiUBP4tJmcHDdvus9xXBrdgw15avMn45iu
DUdWMY9nk4jmz0kHpMangQsfVuO1PvmPeQXj8oOFsvi2bEE/RZlYs50/EGwAaExtlp6gPMt9TJyK
v8VClcDHyw+0uCBdQ6f1qgtHGWdvK0mkB8AXZCcb3dZXSpZAbE3ddHH+i2qHO6U0awFvL6I+vjzy
0teHfOd/Rjb196+MPQwFCCy8E3bl+mfhJLg5svUIZC5YEb/VDcja5RGXntXQDeyC4MsbfAbvR8RC
KyK1ss5OUQuN2KPIuW2qIX3QsVLGKjKnfQpIFX8w6tLeabAkoRvYNvrjs1HD0pqKvs6yEyEuLhx/
fSrecD0sTg5JEd8vP+HSnP4+1tnypJmcD8jqeJuh2Ty7WjPbeJVkIQ9Ilh86FO6P/38Dni0fF/K+
bnZRdkpVUvFwmh1mW9RMxZOoDeulzNDQ/sG6YffC9hiIhKvs2XwGpFYaBeF6p7xPrD3NOtncqogo
vfWUKIlfmxPZ5c3lx1z6Gg0lLI5dQ0jr/CuBjI7gtmqTE+3nulxXHnG224F2+QfTubhC/98459+E
zKJSRCpJcEINXun9jggrAvMhVLFUXwid7cMDocHORwXb4hL9bdiz3bPBXSTonDo5dbhjCfCa1IMJ
VdJm3AfeYIUf7G1Lw3H8KeU6wuBVni2aoMHEYwrDFLqg7u1ilFkHKkMfS+s0/HL5xS1NqCn42qWt
bJ3IkfefPMdh4SOspfw1rOH7rHa4zkzIDqtE+Xvux1fc7NsPXuLSR8j2InXJ/wzYGO/HtFNaBjLg
AOzpPzlr7JaKA7oq54Z0MB/IMiurT5efUsx75Xl9ZpqoI2HNGK6hjPdDjhgkNrZmcSypJnh1YDpU
XXfQuhwaCNytGZBCKgsCNdCn1FTR7GQ/R3le/hmL79WGJoZLp+soOf/5b8XN5DaVTE0VnTQfI44V
hh3tDX4+iL+5cYDyXh5t8dUqimEpaCLybt+PJiONCMQxiE4eZOgDMuQCOj+y5kc7BXMsklIdB1e3
Pthhl3YCEw/TuX6zTCTd70e1MGmb8d+5Eg505AtjV29qsMthc/npluaSQoYKWKHBkuJs4SboymG2
dPHJIn7oph28ot0N8VQKuBCl98H2tjyY5GtUhjGXw+8fqst7AjbcMTrhn2q9YjytXeu5b2MOq7fb
y8+19HFYpq2DLNBzcK2zoRpzhNWlmbw1oStS62k1rYegHO9JGIHAjySx/OCNLa0TADRL4qugdFM/
+xzLNNdTB0HwqW0q7KGDfOjfxtoG2GlN5MtEBlZDtQcBwgX68rMuTSufA1p+i6u3rp9VOKr2Sg5E
QbFPj4Bk0bAQ2ymTZr9R+Et8MJhYHE0aoCLESrNCz56TE9HLRrhmJwi11boAlv9iCAdXEac09xry
rQ2bQIvG3B77JwvbZnwnA1vd18gSb+hUSjyWCHWjmQa6/BxrpX24PB1i/gXnuxR15gz7AClRQr9f
ZmS95gkRq8kJxT7UcPwirlKtmn7GSOJhzIkYmrA0HzqXhEz8RkVDKAr3PmMXkL9x+bcsfcZcn12H
j8sGkTt7NU3f6wLP9OiU5ARHYmGoY4WS93od/MFZ9/tA528lMoY6LnKusqlef5sKfGE2RieEOLQ5
XPcPvq559zmfYYel60CTMCRC/vczrNcSVqgqQSHoROVrqLkabKfKdmg04TAHHEiQKLTw8A7ro3p9
eU6XBsewaD7y5uutMX+Iv23/tglCQrKVOjq4VcHVjlDE35MnYWlPmPmO0b6kxxrd4vIaN18CBxrd
/vIPWPgCKO9Z/2BP6HHE2dO3RR9UNb/rKA08sfC5TVr7ympk9gxpKzD/+eOy/UMn4KQDFjm/Tycd
jhJAaC7qn7Z6wmYTszdR4mmyk2gMwo2T1XjqZH5ffdIq+IF/cP4ZDjUGhQY9YSD599NtDEgW49Jy
jwJev5oxcrZWWgal+zAKUnI8C970oyRXMPvgbFraavC/MSzbgTdEW+3sQ575aGVEr+Vodzadva41
BFuMP7n3RQqteQdK7WeP6JVgOSq3145Uz4g0dKL6tprnYhNuNl0/fPLxCCLbpBhb83YcUE+cLi+I
5R+q5t2X75zd7mxJmjQnUbUa3tHF4ynfg9CRhq3LbrzHQUTHUGWkDSc6Rc9ONcPUHjx9JpsEYTjQ
qy866e39kuOK2Gw3dvasBrUXiR59UL8tLVzQIJfT1+DrlWfzWSGF7L1CV8deQydqoQL7FBJ68R3L
lnb652WTQSnMG/lrDz7H1mI8OH2d7O6j2WG6TONtoktZlL240brML/EyrfvAWhetcMPPl1/H/Bhn
u9P8dUq+TNPiInz2mMRDDAYViHuEQY+PQ9uQcNEnghu/lcG6+VxXMv+Fv0DyrS5E8jjgdB5dXf4J
C8UA4JBkrpHzYKFwth0ntD+RpHvuET4dXWFcalAzF7n1tfUmhDhGF6lvOIXH8nB53IWyh6oYEy1p
mnw058UqWd0tokLhHVHj9LBbOHOz2bQOt21/isM99sRh9sGzztvd+XTjbSwER4Gi83BWak1WjL9M
4XnHGCPn8Lro6OpFcW64ZAwiwEVH2VZ0tFBt4/kWdC+Xn3hpTRPgRxPABaUW8mx03NgygSpNO0ap
ZowbNH0JFF5DlWZ01VlNNX5w9In5Lzx7XIyDmGXbtNkQ1dm33nesHuLdPaDiWtRwF5RzmLw4F89+
NOiPXZmPT1EzzgEBYQmPbzCiK6VlGC6mxBczNVmubzXl6R+A2UtlDxUPELMuTPPvhzLZKMRcFaZ2
lLh8PPvV1N3GzA3NXAwjo01XdymmgI2NBWKWIGul0e7eJwGOUZgpzdN1+cUsLEUOYt2ZLy8CdObs
3PAcYCqyL7Vj4tEy4FIoI+vnlISw80Clqg2F+2B8sPwXliK3cGHiakMLCkHq+7MqdWydzEffPbal
Y17nBNUTpkusttq4dhlDjCNcq94DfvgeVNMw8Z4vP/NCucfjgqOCfOvCsubF+ltpIhKy8qCAOEet
j1PyT90ClfPYwdC6PM7S3NK1kJhj0Yk3jbPtRcAVLBFjuMckTGFqZaPQPzlBRxJIjRkrYQN51z1c
HnJhRzPZU0BvGBfs++zRBtG5eUCGwhH2Vn0T9WYf7JvQiCHgEXG4hq5FUzv3e3adywMvPutfvRO8
BNhd5nf+25zKFtKM2/fuscbW+jotvBIiloFHsqM7ztdO+Jgd/MGIQO9sZ6YQtjpbRR0N8xEXDe+I
27J7rRHC+IJwF80OoC3ux8Ssit3lERc2MU4qruBz34tD4+x9Vm0OTdhr3GPMZrrzsbm+iY3wS1wN
7dfLIy2tUCpJdi4+SUP+Vcn8NpswAsqGCk4dx8rCr6tqMML2cbqy/uCtIYyFVazTqfzbLolxKDh7
qqmjVdbN3oJdjt1za0ePpoYz7C7LNfHt8pMtzSEfBDSMv5qy50euPYg2RK/AOpm9+JAX0UNcEzWK
10nZEWH1AZaxtCylcJlG8MUZiXq/LIcgCCPivAF/oNFB38wndMAEwK0ilBYb7Kx954NlufTqONZt
aCCUmlQV70eMcInGfjt0j4oVuZV0ambOEx6Yf/Dqfh/HeD+O2ZWDmXSTe8REqn9MXJL2drmJ7gVn
oNm2QRlN+uMfv7u55aJcyWQKCrf3Q4pRdaSdmOqoGcar5cXucTKnYxWX9sPlgZYQTEZSDldRjm+M
+d+PlGYD7iG4gx9dRYJl2lT6LaFTvCupVdkeTxZSZqWLvjfXQnWUPXR+oy6Sn5d/xsLisYAEKFkk
lahzjtg03OeImBpYPA0u+GZki689IZJrxkvvBLGrHzz2wrfBTRm0FLhGR0R4tqPlARZIredqR4z8
qcIn5T/EXiBw0TEQBV1+toVlOhefUnILJw5QPxvLjUsvzQzLO2pThoE7qWMjQb3hDJteHmhhEiUp
eAK0jaoTMOL9q8Q7kMyzSGhHS9WQfjGyh0papVKrr0jzy+qvIoL1/cHdYqHCYN+Yv3kTygD9vfeD
ojHy/KqZfLpC5GI9BZmvtsIYiEiRPUb5G9JSjOC2CPyQWOyh/GjhLBV5jO9A/aAzDAP5bP0S9GlX
5eD5J3Q2otsZLCQXSUI3JyBAMXwQ0jcOYBMhFNCMDKJ4SLIXtNe4WaNGJ1nin78DfgrdY5dqUbfO
PlwbioiROZp/Qu2CUFFgW0tnNcP0IoayH8lJfLk8oLH01jmaqR7BgFBPzH/+2wEG667AxMrhBSgN
A2LAEXlKuQmVV2MvAgevQ5Is/XuYoyYR5kURWacu6bqJtDaCnXY6lp/RlU+EC0YIahLhHcaqeN/2
tMSqnWtbeEaJ1PIJFJgoAfrjwDF6G6laE59VPau8OF70GMZo0sOG9QrL2RbwOvxP+JA11dvlp13a
rmxqaGlTckHpss/24lHLMaltI//UVxTLAZmGj7ZvW9HWIjLK2toxPlmoBLzTaKqdH8Bi3Mkcqsw/
r6uhyZg6MAZGH5QN7yfdx/2r7q1WO5LK7jkxhNTSHT6nYsy+DF3mPKTCSQ9DYjufOnKitpcnYWnz
4q6FzSO2hiz8syVf1pDtQ5c5wAW/fvZCvItItMvqVQzk+sFY8991drmDVuVQZzrAbdyk3j8oHhiY
GMjRO+KhwX0VowmvwokD4yb8p/tbwhpR+UvU0TXe6L3er3DDt6IPPqqFUpt2M7snu6hBb+AMNDaN
uq3GZr5h4tFGgC1JX/6TlwX6IwdK0m9aNPm3YyOH9Nc/n2lqi7kbxASAbb5/et9JESc5jXf0MLnb
2jX6YVJtkeLpgZz2l8f6i9v5t6l2IUbRRYB2fY7SlKWEXY1o6Jjo4Qn+cfjZw3bmEBap90nX4JDi
OxQN91pk5f6OAA8DJaVEGUZWI/RtxKLVUHyAjy3d7aUCtqEPRsf4b0ytjLxYQWAZYIKtwk8tKXX3
RuHaezUKAho9LXtyyKkgWcTG4CaV5rOdkMxaV9rEVoDF2Coc/Nz94JxbWg68FBsog6Yr1e37t9K6
oBhtp7xjYaT4hNvwvvWrnPR6fUW6RCFWOnaQWAuxE1x+RcsDu5IuAYW1dc4o8R23FAW508cwUagY
nXpoP+vBHFXn01NYTxoUsC0B3KRZXx54aY9X0PIkwboSQsv8w37f44Ne+tgkukczxuBS4c600lsW
SBaJAy7z/QevfXE4jFepC2cXo/M7kT7liL2bgGXvVulXewCVXRWRZqwHByOXa07isLu7/IRL+wwb
KZU8nWXYZGefOGYTfeFGLe+0I8F6FXo2YbEYZMR3Bf1BhIWllaKJi9vka2XV2c4KGvV0+Scsbas8
LfbB1E4YmM913G+TnKNLq6vBdo8hyRdXHUVbg6Or86ONgi7fXB5rqWqajw0KFkALeY4FhTHwvj3w
uBJ7mCvUjMiTOJSHH6kOt0YQ/6092FODNbcqoJ5+sNUsPCnoJAQQIEqbQ+TsA6oFbIUKU/RjMyvT
BqNwyr3sm9dOK8vwgyddHAvkwYUhCCCqn81qGk84c5FacJrSKjzEWPFgeEnS505Kqy8/2BkWFu7c
cqACoQUH9Dr/+W+vsO30gVSdMDx1pYoeZj7aavTS5LZDmEeuWP5RU31h1f7VVYV6gbjnb/QP5HgR
ctAyPLVmbKKzjsIBQ+yqqZJPtj/+ZeY32m96OlnXiBCC4GbQW/J0L6+lpRmekZkZwMCi/m/USGLL
YyJAIBFoc58dJlz+pYf9ebJq3fxgZ/iruXV2SNm/D3a2dJoOZVI7GOEJUz/3ewhBWd+nkWj31Yhr
PyU35hMrjnL8SyR38acm7zCuXw1oyxB6IAsCijal/aq0fDLWKITH6oM1sDgdvAyOBxgcrm2+XwNm
bMHxD/iFo24NuDxVgbL2qdlgWw4ijonT5dlfXHIQ33V2LnqS5tlwxPNJWHcuw1Uos3eJQfrVbsAR
G9NKWD/BJ8tu3y4PufwSXBtvcIduCqX/+0f0gsD3oaT4p8xwoVmtEKvZj2TyjNga4I6dX3U6LkKH
BpejT1nq2iTzuE7sBKsW79iDTs0wrcmHhJlEbFbxQ7VWLz4gPS+9BTCZ+cACwQM1fP8TM56f5FeI
6wG+DxGOYBZhEoQeXGkV3kAfvIPFweZmMDTPmZZ0Nh84TjtpbWvhSRAP6n+uJ61pdhNpq81+wlHu
1+Xpn3es809g7iaYcyUK3+zsMC47OTrkHESntMyCZCNryIuPmNVNH23TSxUhXUnqfO6SAhLN2UhQ
1CWuLilGo6WGBWgM7v2KZwTyNYPc5XIN/QnTCQMGLchzNBw8Myq2kFtz8iBleYWffbe7/OxLq13C
wObEAjXi2v3+tSZN0QZmr0cn9S0Kq+5aZlp5J7wg9MinsOqP9vPF6x5gqfzv8eQZ1l1btW9ikxGe
LCsS3YG4rzbdteaA6Fy3g5sStMW7J17DX9t2QzwRNxCE8GlQ5sEf7LI2RFQwf2hvvP/3Tz6fJVQu
+KMZWVqOK1J0o830fzk7s+W4cWBNPxEjuC+3rE1SybItLyrphmG7u7mTIAlwe/r56Jk5x0VVqEKO
6A5f6AIFEEgkMv+l6q1/HLqpm/evMnVb26WOqpODrfbzLIdghqeaweNxcB/oRq/EplKB8Qv1vsEv
gZRIv5ITXMhIKKRyi1gUj5bQcj6/EQ8w06jL9FTytqw+BNGYy4OB4uIHZFrjfJ82QzwdlEBzE7eW
sUL6/i8m7YLZAixK53KNDIIvoswpJ6jNLtAJzGI06Kl6wm/dpX282L3Si4muDHopcgBQNXwKoFQ/
reXvfyQMmuaqSOc4n6xa678PYsIUugi4mMq+PL09v0tDUXshsXPI+Yx1J7oljQZH2CWnBP2x7M5F
9m+HZ4W1L6ta6TdvD3apLAY0hgcD/DOe778P1h8TG0ahIF9RCyxNqh9UcGouh8rS57tEFsg30I+g
8YcOkaYf6Jxh+gD5VwALdKAtZx2zuJI5XIoc7GgLFjKQPMxLzlc6tVTl1dEUoy+oeXfxTF6kGttL
d2JCbWRLG6b89PYaLDt2HacpkHB+yHUZevWkELJFR71t41Np5q2D1POALPqEsl59LzQn3jSa3xdb
xB+G5kqsuDwyvcH/O/Lvkt0fi69HuY4zqc9W9n1l7WjsOv0jzOkABPuoeR/KoASnFZACVbu/mLPv
OSTaQKQAtpyvso3NjMZ1Ep8meEyfARxGd36H3OePnj+FPbAf/86b9ebf9w/7G+K5pCSm560+rgFw
kRKkTADnGnLfIz8WpgTumwTZje+9GEaJkkOWz38xW58OIQcKUp65fkUhruuoMabYWmM18CXCMudL
h6XfXaMjxLbPSwyXwrjQMOh7e7qXyiJEC+71JUiDclrO+h8fGPkkh/s21Z6UbgzT0Ufp/BZVCbR0
Yl0u9pCw7ws/bb0jCFs8kz1vqzVsho3RqhlFAl2Y3yTI6vgvsi56OHTC2fcmFdLz32Uhm7TAw+KT
HBOIdFysEMWrOMpOfYsvwpXgeelIU5KzPOA8S5xZjeaiGsM+tuNTXKBPt6l7b+y3TQt9yOsNtS3Q
ePqbD26zs3mhw/t2l9Tsj3WnwARxSS/S02K78zjOON76qRj/M8u8RzeYF/xW11Dce/tzX5ynTRUU
dOUSwVe7GymHFJnsJDllczqf6OUo/dMQNNb8GIFrarc2KrbXWu7LDloHLzJaai8UCbgOV2uLxhGa
xU6fnlA16Z7brFsELmdfbDyr9NWVD3kpXvFaZiibbJP74nxZa7Os0hbuIBzapENOBMeWz7wUsJao
R6st9oWXozjSpjXqWe9f2gULTNWF8gBlxvORrTmTPNK4fxMUhn70eeLfI4nVo99uJi/NRAPhyre8
tK4UWLkUF6Aqn/N8wEgrTPQbrOSEHwPAaxO7G/0u7xwhdyjVZOkVDNKFrIpmJpL9PAyp2K+7U4iW
iUUTiOcyT/PuvsMZSxAO4gmFtXLupgelcjxJvGKRV0pxYBX7txf4wnw9MIcLw5CWFO3w8/la6EPX
M25dJ0TPzK0wBe8F6fj/TMAcv7w91IVjwnuILbTAuqHDrO4eXJKQW7LL7DTaFaa082wb4k6j/oOb
oT+C/xyCavqLq5ZqghssLEpKweuz6Sq8S6rOTnki9cY2CNokQJXR8P5DYs45tnFRHCIDoOuVbbQE
mtXx5PnD24z+PLnjmo3iofTTa7i9PoGsxfwMPHDbf8acY8ivRPQLRxNagQuGw+UNBFP0/PtNbmS6
cTsCdrbxlN8UhYfVRU7pNtr6SGsXn7vacrsNvXrg/e//npzLhdtEmcHwV8HWTkw8ZaYCeEU81Pcu
xIZ9nwmJl4BtbqWhTVei0KU1BT+y0G54YHJozqcKUaspcOYCZNCjKnxrODkoWU8UwxWgyqXyCQoJ
gCto61g8ZVdPOeTGKi1Afu8JQOJwm6HIjmKfNtxO3qRt0PzJv5olCkyHuK3RTB60fyjvoG8Tu9JF
os9xERKbPdlgG2v1V/bVpXgB0dECA0GK/arQ35Qzkvaq85+ACwX6XYMnaXxjenJQXzPMILSw0Wz1
CIjCag62Uafx7fu/OXkDFTiYVvy7+uZe3zso/QGX9ZoSu5mkm7YTmL39NLrOBl+Xv2AGewshH44O
OEV/DWjHXD2xcDSLnjro5T91YZk13l8u7g/bVMxaijYnFePjOGPD/fntqV7abuAVuNaXmwfc4Pl2
i1CophtQak+RByRrY2mN6lHY97pffzEOdxzMtQUBssbjRrgklYiP0ruZ0/EmF61XbGyKctfQH5ci
Pb1VVBuoTXnGuihYoyGMyAZ4RCQP5QYFrvJo6QhAwghMv709pctDUXwk0eSJue4PVaXU0HpmKEvL
85u+1H/mUTt8Ex136V+MBKYBCBQJLaWX849kIpGFuW8aPZVpIrd5VWOJK3r9nj0cXbmqL02KKhvV
h+VTvVIyaHKnn0tavE9Gihz5VHYlbvIpLrlhLILhyl15KayThQBX5W0KP3b5MX8kskhidxbSx9qT
m8SYWqX6gM28J/oZ7wXs1m8DWnzzXWDN9ZVPt8S29cUVLPE80Emf7XWVxSqowToggk88TtofnA/x
pfD0n0KZwb2RJRGa8O4ix5+K5l7msr2SjlyYt6+Tj6D6QS3gVY9biyDEyrjngVIG1RetK8dpM/WB
OJpOX7y4TZB+aQMUJ6+E1QupCc81LpalY8xVuioF5CgiTrGfJ6fC86vnUmGh4w+dE4WultuPZA3Z
leBycUC27BLCeROv961EHr0XTkZeizvPd2S3o09jF38xSpUbXCRFfGWCr4MZGCgKkwvUnRHXOO9m
0fKt0eJ6mijjPCL0yH1FEmb9ePs4vvp8cEf4cmAweDrSulym/ce2tTK9rDRMck8d+IQvQWX4MuxH
TyShN1kSjTvLTxHmdN4tlrEad5UaINORjQb2FScI3lwKked8RjmxPpQUdXB1SnW05afovXfhMigV
HMMICAdA6M8nW4xszAQnlVPP19zy9LO3eYu6LyZa5iO6mvV7Yx3j8bwE1gRhdonh5+MZkCCpjqJP
4UJi7yFKCEsPcZwV2scUkE/x3qO4DLeUBimO+dy8q3Qdf47a9Ia8QavdR48mGeot5kLVDbWy9lAL
293gGexdORevNxDHn9c78Rm8J+ic8zlOYy1K2xnr01JAuR3N4JhHKWLH7kCFu2wyLcySob0CUXwV
2S0G5RXt8uwj2jqrXTtEdZsgFlufDHyjvG1CjeqxmDJ92jby6ivo4mAAdvmUUD1osJ/PEDn5CbmP
Qpwa8p3vqq7FZ0+AREFpXB/fmzEvE/tjrFW21qd+O5hTJU7FhHPMDrl0lH8BGiKP+va5fxXOloEW
yB2JGgu4fkWas8hoRQ1Ipwjhfx5yBGAxvM43kReb6I766kqKfmmbQEP3qerxGAAAfb6II7dBC1yx
OkkeR7eSzXGL2vw0hFiaOkev7rTPTSp3b0/yVe7NJP8cdLVNDCfFu9PK6lPZ1vM9O0PDYzYdcQr3
cZj5rpoi/pngzBn2OERdCayXdg2aQ+AJAfZZrrd+piPYNiLYUAMkqDqwU4Xfb8ce0e4t7ezx6e2J
vroslomSbiP/t0hlrEXFIr/wQK/L+oQTQPM5xx0aAfa6quLt2+NcXFAo+FDxPWhY68NuapanzZ2q
TvNESzIocbOKg/nfVo9+jrWnT8jCOgmtNFEVV0L3qyzn9wz//8j00M73TzP3ZoyjX3VC0N7/LnyK
Z+4M2NVUMe4dqg++zpYYcc3DBSxagNLa17enfunAGNCeeEexe1FyPP8BtkLxXWDAeAIIcTRNYT+Y
uF3jsoBvYj+a1cvbw104L2BrUI8kptI0XJeZREDQ5uwjdVTbMhT6WOLN6VOUJHjkX1Em9e8HfCD2
b496YZIQ63gBMDb82XXZMEfOpAqUX52A6nvHVK+jA+y66g7WIy6LOZogzXvTHCBLXMQgq0FaeNwh
58vaiKHtlszxVAmZ78akNZubFrld+e6r+HycVfypEWkZ0ZKtTuheRzgBQTQ/9Ko38Q6RFD/eXsYL
m5XHNt+NjwGad50rqjIlIUjr8tRZojEgdQfq1lBt92tBUZ+aPIObjFMBj7GwXcxlHjNcK4PD2z/i
4rd04EGRfXA7rwuxrWqMlOIv3xItd0pL+XyIZeTfkJAgDCrBzL893oWAB/bMN0C/MearZEcZGnTn
3qpOIsd9RJNEubCj83ozz0FVXdk2FycHjhdJQx0G2zqTMzGCiZworglEqcLvqp4f6aPrt22XGA8Y
bsZXjuPFyfHCWjBonJC1KpDhxdjbzkyuzvv2flS21oVCDUm11dIxsK4cw0uHH/FJyoO0fugrL7P/
Iyl3hem1RZfWJ04HZrwZpi9z5OmfDV+pT1zq8y6yOu+/938/ZP9AwCDmQfFmlT3Grl7lGMNzQmzD
/xAIA+tsxPpfKq+8Jhly6evBp4A8T49JJ9Ccz8+o0cIeJkyFpERS/b60slS7qzEQmz6QI4/Ri640
uotX9szFVYW2CqaLYiT/n4+K2wDlapg7p0zo+lfQY751kPqY/zQa0//aRPmHWk9QpX57WS9cmQYC
wMTx37WVdbnXkzYwSasrT3rUpd8CDFBDqUzhb/0hNTBBrZwgCZPJN+ubBM/s5Eqed3HSMMHQCViU
ndbsCno9dWRoqHYVBdLrUYQTUh80kR9qsjV2KpnR1y56BLXfnvWlL+xAmvnNiyT2rMI6ygUywdCX
YDC0JSgmf95wR4qbrFk03cHI/MU0FzIDEC7CHe/Y828Lm82qsENErc8wi2ecMpptC0H506zL/taR
oEg3uRmLKxDnS9+WPbzIP9CnoCtzPqqv6ZEFOhWtMDNCSntCGIg0KH4ydHwcx0FpO2XZ8lcuk/zL
2+t76bOSRvtU61z+0Vd7GTsarCk7VMqaXnofUEnHSg7fgzIUQkxbsy3FNnDENXG0C/ca0WXBAzAq
TVvjfL5tr6PgkcbMl2TvxrHc4XHAGHhbTbApt2kn8H7JMWbGSCyInMek7b2fb8972Tdnxa5FXhZY
APBMNjQdv/NfMOe9oUcNv6AyZz+7S/sy+Uj/xB/3b49zId4zzvJOoWthvALbmFlit42H1lCDJwr+
a8Wk1G07t3mNSRxWCDd/MRzsRcrJi77BGoRHDcakHO9mJ3Qv2Ek13C3z3o3saIZnVhco+r0/KrFv
/3fAVbCfh9nlvYx8tyLS4jHkaTirakH3JFoegbjH4TA3ptXPvBnmKyCeC6GBoYHS0EZdKDiro+q1
tZnnHsJKVoxDUegq/Oz3GIWo700wBP/kiNpf2TQXDgsjLkBqpPSAya9GRKZ8lDbeqae2aZOPupV4
4LRGDFexhmr/q7Q+wDvMxVLn7Y966bT8OexqjVWPpaBha/kpiNsftai9Y2XLHPuaum9+iKg9AiX6
iJWZusOetW52b49+cZkpRwOrQMmMROn8pHTVZEam5AvPvYhP4A2PTRlPP6RuT3DVveH9+TXPBYA7
PNH4b72D0ezOtWzIi5Or5M+urbGjsmLjpPWGc01r+kLUBdlHQR+1MbS51o8UQ6moCvQEEfhCv4sa
Ud5ZbTSqsNNidUhlKvEiTqLFFPn9GOgl/Pwx9OqTBo2fpwgwFyejzaCweE3g7QLNdp4kaeCVFb20
a7knQYMD4yDira5QMOj0/nM7O9Wl6vFhmU3Z35lN0eMiqHnBNtdMPNP6Bpupm7e3zqXgR6GLNh4c
CLCjq61TqTiQhQbSG0TrdBwdqF8+ZIBfturUlTzh4lDkgLwCf4O+VkNFyIIrI9GyE7Dj9tZv5u62
r2FbFsiJP/7FrGijMiUoUNxg5wdCqycnn7ADPeHDmx18/AjDMVf2Q+pxkfzFUNg3LyKJFPHXhAVv
ZuMaizlCOzf4M/b5ZO/dxMaMKim8erwSZy6dB1Rf/me01UaRUz6i/4g2ooknHiZxAmjXByMa7E1a
YBLQYLQUhWgIewfhdNWVFOg1npsjATwQJRGUDdgvq2WdcVDX457RS0VCiP/6UCDjaZoDWgpQsjxw
1aN5TxnO+VJiHI4rCMj+uwKD8Wu8jUt7CWUyQh5cYt4wq9zAbNSED2RWnsqhG/Z9kntHGvPtznUw
og7f/4XBsKMRA2OYk7IKBHhYw7AytIIrBc+HtFSZsRFpB5C6kbSe3x7s0hqDw7EXMUoEP2lgnG/d
wumENlV1dqJvKidAv0Y+7CZ9Vru+aPH+tVxDDZsOy9npzsDc7SHAz01sQX01n9/+KReCEu9DYi8O
GNgmrAGCcZAlY1egLpfWhXdfpYMVbDxtCJ3oV1TmyzcvzWv7+8JNRvMbx0LEYxYs22qt6YS52LgC
8GpAnf50gOYZew97Xu95yNoGUYDUr/L33550+UDIIFW9ZPirlEGaNbKr85iefFVld9E81lhbB8N4
A6VTf4h7XXu3FjcIn+Vp6jDcIpOzioTIOej4hoLr1CbNCyHo+rd4fxafoIn6GzeLh2sDXkilwczw
IUkRkM1YN6esQda61zNgZmTuRklzrHe5MRj6laW8tGWQpuYBzKObC221eTsjdsfY8FnKXss/m1mH
3XhZ20N8HGhxxodG+NQWI/QlxveOzImhNbXg1ygTgWo4PzZpClrCNKD1VEPAw7qnbp6g32SJAihv
HqNFgnt4u3GCyvvnncdk2TdcazzRUHfE0eR8ZNSHdLSGA3WKDdrjGw9HLkVn2k2gT6fuaG2Mapb7
qTeuhYpXMZCBl6oRoBQgilRXzgfOKt9P67EcUMSX7Ye67u9ihRAx7vPl8N6S2JJULpK8NDkMmo2r
DYuxFO7WQeKdcrubnrCoHB9TfKw2QT9dkwV6PSuGoiVMxAHgwCk5n1XTDs7YG5l3UrQ+h12tgQfY
WYkzHssK57m3v92rcLNMiyoYWTO4G3BT54OJzCKjyuzi2YcRvou7eP7PHtzpKen0+tuyz67ls68O
yDI5k6Ia1X7ojWsN91lYRdfKvHoeEqfc2W3XJph1BeWxCMT8ggrZeIvWZvAX0+QdDywNGyVoUKvP
F0XSrUbI4M9N0LrbqtI1PYR+UoSIAZQ3GO9K469GdPBL4SuhdLpq4QhOYkYzvHguxTyEI7zeD6Wn
4g8Jvop7UfvDlfFe5UWsK3mzv6hcLBq6qxlOlisGbfTL5xFK0G5SqbaTujN+o9ui9rjFJk1Y5mPG
wyGI3ulhxIXBKx5WLXhk4vqrJ2dZZQluzVP2RRgtzpvzRl5zL1rzgUhxyLkoUXAtQiYk6Tnfp0h4
aMrtLOOHMTbTvm6FfKbU92JOsw4p2Uqexdhp+9zP5TfqDt19prrPwKHk17ePy285oD9KMvwO4H6/
BQkXgCPx9vx3VLUEKaLPzYtjFq4mQksrxv6IrbNCbF0FiEyFNZyCdIfuhA5TIs9iqwu9qMuGj3Nh
z/ZNrPxa/ZJSmvO2lIH/3cOs76eXA+yC4YITOfr7aQ2QAWxr0D+0g9v9C1bXecIzWe9Cwy77B0u4
Kv11ZWpLXDmfGm5qIGMg0C2hbh13pCsHkUZG+jIOwJ0fQDrIF7x0caYm7QVbP3l6vMuRiXZuUqux
rV3jjnph7aq0KubjpAvD+OSlWlKEc+INyXaqsniC3ZnO4qBNdR49GECq69sspuiBRyb6OreiNEvj
c57zR8/tLecKcmIV3bjrAU5w4Bdy+SJZuRQt/mgtzAD6Is9rph9AjetHUwWpCgMDbwVpBmiQVP0V
khjpz3oRUS4FOAHUjwIpyeM6nqZDpRWQ8V6cIhXOQesmHmIhwPjGvTO0wbTvPQAxxodWQRoLUDaa
dk5UGxWe3Z5d7tss9l/0JNGMbRRMZRYC/Or9TZO6ItlnWtJWjyVem3k41HP80VGwPu4dX1p41ctg
qA6J3xjVU2dHUXy07diqm49N3U26/IAHbXmwLborj3OGnuRNXiucKHEk0AR2wnY79gf6MO2dnlVl
h7/waKSfZiMePlRua/qhp6nsp9slOCzWdjt/tSsUb7ad1nMaC69o9tk0jf0NFqB5dKiz3uw2YxHX
OMcVTZbtlQhGdTf6c0vtbbCmyH2o+7L4lVMQ60PPjNpm51nYFv6Y7Akt+S4vvGxTlLkThyMynHa2
d4shSr/AACmeg4klO1a0yL1N45RF9kE0SHUrygQ2TflQOo2jHa0m8l48EqNkZzVB8bFpZyURVMDz
/OAgnBbvumAq7NsRm1mxlSaIyd3ct4PYYW9byFAWY/CIsqopQn1wuuAARi+PwsmBmL4Z487CtVhY
k9zD5lHpbatRoUHHYNYeO66x6KZGZ6AMAV6NydegGYS/qww38bedAtd6X+m6KFDbdsug36Gfoacb
ULijd+zt2vBoG6Apt2maKIMYNI3+d4sCqXv0JjNovvJustWDUzuVTfd/zu9MhWrAF5FwWu/bqh0f
dKdVKiycJA2QqZ3b+LbpzTHg6msbZ2dbtVEeNBV42Qc9N3P3QaTSBdeLqv5806V+FoTST8Cvl3MF
Hd8etWOqaMVtej0bqpcYPTS1Gbngf/pu502bxq3FJwLnsmqZHaPsg3D6dLRQkigevHqY/4lnmSCT
LWtP4GSMWAlSD4XeRp4Zij4d/A23lTsdYnxjyod50DWjCK2csCq2WolgwAeblCT6isuNoW6bJg6M
D7beatVthAn2WG8s1VTl17gstXg/oniY/DB6t6k+drpXyHrbySIyd0NkCpSfvDLVs++RlqjEDAej
82pzUw5p6XzRAR26x7IGXHXrNXVc0y7i3bDh6Cn5Vfc1s4r35mxZIt4Mqeb14VC6dnQ3DO6IUUmb
xnkLl7sv/EyGOIkg7thGZp5sTXeKqKnjqXQSUxLr35K41R9n2oJx2PbgA29TgrKxR+3f/DfCLuxo
G+gCbOGGY3Jq9q1ufZ0TbRp+GJawAKL0usq+DSiNP9ialTT3juJWColNaCb7foyZaxMNwbiJHVO2
2z5wgeUMZl3qj5gkZ/8qQK7Og67zIpqo6bnhqGXlvMEa1jnMKDwbod567k93rqynBvELg+2dYNPt
TjM2x5GwhgICqNd1YY2WULwxmxgn1Mbr6g59Kx8hCbsUI1CjOTVQzJ3VLx8X7nLT5Vr5qQOy6IeJ
W/vjTUWbZQr7Lo7wAfaqurxrcKPq9noik9vZKixj20ps08NgkpNE/07LlL4jnarLLeK0/sdem7Um
7Gy3MrZ25NTJwbIz08ZX2cHyeN/CFs1vezhLHSgE/BudZ2RIyl9Rb3OuC1V0yRY92t7+CBNPqrui
RYr2HjH6rC/3mT7b7l3aRsmTU2RTty1my0nQ6TcxKPea2PkK6Twbtto8eTjSovbY13HY+LygNyaS
2R9jO4/kqQjALG1oEJkZ5oD6Mrta9NqWrr4p9tz/5rwTihD1ue7N/kYfKpPnWguLZFOOSTkfu6GI
1EfI18gjFLBzTy1to/+42Oz4W1xN03400JD6JT03NjdONwPyQuS/6A6OmKtPepAHzqZ228zZWaOt
xH6i2dRvhNvY416jrQl2O8cEM5xyMI83Bf2RZFtFtveEFWw6HQe5MI39wrHVrZLB4oAKCzkcZimr
+zYH7bUTbjq6t5UxsJ8ha5tuSAexbh/ttErFARRT7+4ivQKN3glPM+77Hm08Y9shDGX8nErEoB50
KKbI/TljVpj38VJCBQcQs54Bd4baRLxjxJPKBlGnB0jqGEJvC5HM5ebtPGjVyKDlt1ghAWSh2kUd
aq1zT9s8UsGUzz+y2On6mzqWxdcGgWn1MbIizrjPNYKFNlMc97WUlgjLSvnvFMVZfgW1PTIW6iQI
s6x5ftgcGDhhu8aPyCowTibonwwZ5BXkkmsSlK+SJIbi1U7tG54mb2n7PEmCtpAlsRTmD6Jideom
GR+9JG1fpJin/iAML7/mbbJ6qzA5l+ooYGDkF3nBrwsGOYJUOSlt8jMo7MQJNU8MD0ZfGvdSQ4ws
FpgJeLXAPGGUhrjyeVev66WjS12RMsXv16CzhtZVzkBPqNWyn1KKsdnkk5s+lxSjtu5YFNdeC8vS
naXUPhDh3904IEIwrVfFvK6NfYfOVPYjTqT2mMGGkh+4O+p6a8Bk8LdOTAn3UDm9E3wsS6jfu0aX
Tb9r45mkLLcyOAWwyZrbCDj+VxsccE+BVwb9f9GQ+Gg8Q9NX6fdBS3R9D8Ok1G/ToO3+aSrXLYib
flkfZ+CN/Q25XmVdQbm+2jgQ9REU4VHGYeSZu6o49dnodghIOT9my+Thx21uxJ9yM2mPg9a3bNpG
1e3u7dP56vMx5kJdXziTi7zb6v3VqsqfTEq9P5ZbS4UwI4b0TmkUTcI6iNU17Vtn/ShicSiKLBV/
+K9sndUc4wGR0TlJ9R9jhgnaXgijUp9GrcMW3eEJM+yc1pjh8/D1nG1lFv4LuIze3NCWgSc1aUU6
FmEGl7P4kjRI3bkHOKRz+2CKShk3OGu7weOMlbjAHH0xVq5CYVmJ+DedROSQnvfwEkaEtjGd/Ca4
yeJdhAhH+RD4RVluTECL+c5UpvGMouNghK7dNKAmBf0znjci6+7qMpmTr3YrnPZTXJm1wrjdGlW9
Bd+txxsN63DN3yCOGWW3pQ2cNKzTyMTrGLqmtvPM3Mn6jXR7w9ujAYzd+Wa0Ow+lHIIFpfFd2Tv9
4mRey4r2WZSJvnu0Z66wpyCKy+qnl7RO986qFbFqoQjysNMhxFC1WoUstIezdGiH6ZlOQbxL5wqz
oiT1H7zZ+om7o3alw7W+Elx4bzyNYXFRQjVpZp1HSNkmozEkUn/Wat4Ke3fK4/2k5eYnvXCK+KD7
c781/cLKwjyxmjjs3Dq3r2z89WHjN6DHS4im+EGjba0hOsS6FhdBZT7HbmxtPD/Pv1ZDnYTU7m1S
Dkhs4dsn7VXJ5feIHGxwEygHUBM4n3UuDOU0WWc+ezZZRSqh7RdJm+6HOopCbXDnA8ocxqZK5Xct
1bKjoex44zfFNS39CzNn5Tn0iFVQYvr95P7jEV86SckBL6znSKbprQ7namf37fQZyJV+VFINN1cm
/urMg6KnusMFtWiZclucT7ydPDU4g2s/T1nQ/ePJwn0IePe4R4g0nh6mKvODrZT5XBxw/tJ44rZa
u1NmL+ZtNIBM24OyiK6UMlZ1U9ok/CgUXGEwUKm115SCGPcdBcnNfgYAlGxMlJV2ft0oPZz7angp
a1QI9nNrRfrTldVYVzSWgeldQrTh1nwtGtrlE8g2IuNzkvjRd9AlbblFwlLcNIm0gl1SJ9O8zaMs
ec6Dun2ib5rtoNzqxjtvm9+/g/GBKVGTphp4/lXsIK0zZxidZ9X1/qesNb1NFCSuJAlsPJJOv87V
4e25X1hzzH6o+VPLWci0q+BPH1LXZrRhn0Wa/pcNdn3U7RrjqRLC1ZZCnfyOCZH5PsTQ8qGRBoFL
bKPbu8hnnM+zNyhJ6KVyn/tx0G9sPcGSY5jn8ZHSth36Th5fo+FcCG9IVi2LiswDgJbVygbk2EUv
Kue5aru53VVTOx+xevHmEDHu6AFklsw3Vub0wwYmUL3RW2u60lhfZ4TLpJkqpWtaAmy3VbVcWY3U
i45J6+gAHCSwjzty9Hoz8sja6jmkwzK1qu00OtfMjn5bEfyZoy1DgxgFmwVyFdujJfz8EV6URYEN
50L/OR2jfPiQVeyIx6SwHXAguWOqHWphefsAyRv1JVf51q7nBT9sMtTJH2oE7pLbMhu0m96N1Pwf
vvOmSkOdfkO67zrPGH+N9iBVhklOYjzOECv8jYDGdQ8pqBPvviSoPdKkQkWfvhHQ9PO5NG2NOFVd
sIyCKzxzlMzCZLQLcBJBnj8YYImupNOv9w4jAmujg+TTfVjL57uxHRmS6vRzP0A3mm1NnkZNTnuZ
lOUdGs/GTWfp00FwtR0KLtIrQWHZmucfj69HYPRI0pbzsrqjMCOUNm9j9znoE3Uw/Vpu4yQYUU4f
5/3bweDCfUjw5UiiOAtEklbH+eImwp6naBTuszsgbh0qtJtuZWCoJKwb15bb3lcFVSxlfMBLvgpu
JMdtZ9LRAnCXijp+d3Di53BNAV7X/aWPfv5zchnZfTEZ7nMzmf3nxI2aXSKmYu8lwghnOKUHr7Df
KU5KcGJQFhwCFoLqKM+dDzr6GrxLId1nUkTv4Nb68DPzPOAgHcyd97Vc/99YqHdQuscUaf14okRs
dW2Wu89GbWbfB7QTwwqt/9uurqsr3/Z1+FnmhaTGcuODHF/F3CYAkKXx5Z8Lt8fZihsYgTmz3Ux5
fZs6sbaJZ3QbTSdOr+zfywOjwAVkHkbbeo6JRU3I7h33WRu6YDumfXWDIwUGUFWAZLWqd/3Q/ogc
o7wSb9caIiwucjoMygOcnBKB0/MP6fQqdeykKV7sEY2SryCLAyO0/Nig6av0Iqwd+jz7qbQGe9+U
duNt2Vu5gS+OGMqjnRiSDT8Iqshdb2U7C5+Vaz6ZFw4c3UQy/AU9C5V53fNLa1nndTlaL4mQL1FU
5Hunz5KNVRTmNo9xHwSFaW/sbhZhE4/Fphvj4JBRutu+ffJfBxlcqsBfYs+B1IG7TkBlqncqSXr/
GZmuBMhRP37qml77MQ2Odq369DrlAPuITgQva5u+/hpMB7RclC4vsOecDsQxMqz2NkqcDLi9rn2f
DZmjptleO9XLqT2PovSJQLpT+6ErTxJwvhmyOfaK2e3Tl9a0aF7Qfn9WuEJ0PKpstRWtGv95e0Uv
DYj23GJKsJSd1tZOlCWGJLb17KXvnOkJ6G63C1pTP0BlmE5K6j/fHu53cryeIPkFpJTFyI1m9fkE
Yd16Qnle/NKkvnC/1GVuig31tE4/FomehpqgNIq01j/dmETH1sJVMZw8aRwEOe+ud7scDOWQqmLv
DJjQnwQk1ytLcuHDI2EWEMfJQaBdrjKgKRgnK406/zlqbbGtHRKvbJQF1bB8+GWXyg/bJOOCeXtl
Lmxt5FlhlvG2gOy1JkZrXdHMOGszKuouAJVy834ORueka1mXXXlQvo517K3fkpJkmyQny2/5I9HS
CicrEhTTXnQvzTZNV/eHsu2KsCJ9P7qJrh4nQ4lNnEMnee8sGQ0KBZAzjBRfEQ4EVgDdoJLiBTEx
zwrBJ1WbocN/I8xL+5rQ7oXNxmjg6ABlQk5G/Xg1T1y21DR0+QuOmbq5qWQzYlpoI7uL9wWejjtb
1s60jQt0vnZFPvjeD0ja40dBDzYKHTPS/9MRQfSOk+ibaYcGpZ99zWXHPn3nsvCWAlXtYX1EoflV
/S7FERNvEJn8TCcunU2N0+iWLHmKdshQX0NOvPr6S6aCpCdPWF6wwDjOV2XOy/9D2nntxo107fqK
CJAsxlN2UkuyJdmWLPuEsGS5mHO++v3Qgw242UIT+j8MZjDAhGpWXOENFeZObvCS6n5821lxcnDS
lA450+N1uSIeUXi8FXVXrTyxZ3fNXCaigEB8ijAVXIzTgYNsoFJGYe9XxPvwixLddNN1xfBQJOXw
C1LImsnG++MB3yIOpzp1VizKbJEbQ6z/8us0u9ITTLq6IUt2GVJ5pSfRYF6pTr03IBkMSvE0Z3gq
Fx9o+0kfhv5g/AKC4fyausG6zxK6YyqWh1vRGasuzmf1Ea4nzJo4w3+zNnu5lJoaVK2pK69OWrXW
Nu/LhoxHD2iB+26Y3YgqSLqXRBttUzkGUJ3zL2Chm+ZrJsZS7jFUzblas1iP/JXcmXic1Ty56Wf2
LywJHlFbO49ralVGVTOk3SuogECxtrpbB0RSoHhDe9MPmWP6tw61m4NUnGS6Myq6QbQFa5I7JTID
93Mh9XSL/ExmbwfNTPvPTdEiCpPZhlpfVZndZ8dBkUgMJVCskV4EDmVeTXVohFcVrp3dvle7VHlu
/BbgI4VKkeyctgleBbFC4BE7E533nRZmX+IE0fdgA/czG6OdVYiqLL2MzvEj/VtlfHaDxv4hTBLj
T5oRGj+IzaPkdTI62e4iN0uCDYCF5CVoGjv0iszGbK/ALPTgyhJN/b4bxuC+1CtKFU0h+E83pkoy
gu4eXdD+mEvLDL/YUdR+QaXSH66UzE+/AhlB0UCZEUzbMbJpAyrxUNyMeqN/m9y60X6O6YTRVh7H
aXTX0QK4sVCDDL2JjmIy21dZ6WNtDKp6dIYalJs31SCmt7UlolsXsqtzbUhHtJ4tlQp7kqSKMU8O
C7c50ikJyrc6pXK0qUutoiMz6fmXCCayQZM+jJNbXHuEyvK5/qNpt7io1Fo+Wp5pxQbCQX2gbMMc
UsABmWbl1k/Twd2EvZ1X36xyDNR+1xplEWc7y0ePN8BxRwbOfgDM/jwpkWq8xkEX9fswpcq7d0tF
/DFCf8pTKEyOS8Hc6gFD9SsP8Nm1OJezZqg38S2M1WVZT3OlGqaFOr5yRTSHIOnbfWg0cj9n1V4F
8g7hXdTE1bCPV1KAs5Ft6GHAZ+mjUnLhGTi9F3MLUYB07IzfVq+mFdISMIq2YOe0B/pL+WMFOgez
CaqfuXtocIyncXD5+TkrHRB4IMeCxhSIwZkid/oDxnQIzTTN5J8GdT75IJzGeVZ6bSIQS6s72OZR
dDOVfrWLgjZ95HUaV+L6s5ALhC21A1qRZF50mxcBCe02LSNxiV8I77VDiP+a3BbZmAkP5ZLPCjZy
Ds10t1iDSy4vbKqJqMIQcBNyz0H3IvdKnLIZikq1Xkb02/flNJbHQneKQ4LuKNqIJX4Xl2faWFyK
tLHRm0Cgge4nyNulg2ObSJSG7cF9QavNnsAQdYmnzG/0CvxtGU3OeHcwtrxCKHlYlBRPV1RVlGLi
lXVfqBSFnjHU3Tczl+kboBvzg5JoCD8hTTDHk0Qv+uy4dDqWPhr+GOq9/6LivXQV1VNzXYeliiIu
wixltyqi/DcA//dl+TsgsCRofxwWwpjTAZHDTpLQzV2a1mbwYHdud+c70I87tW+OIzZr0vMLagZp
VRhHURa/9KZQri4v5FlK/PdHwOYijmLngg04/RFVpxU0thP3JS1bvdr61uR4IRHeY9B043U/OsYu
sKL4tR+k/6YHU3+XmJmaemaqOvvLv2V5f/z3UyhV0x+iZrykRydZqw5T07kvheu01tHtuqzyuhYr
Us/t0a/ZCq2caD/m0YPWjvLh8ujnW5rlR0Hl/4++mAgkuAyzRejzpeyzcGvVzig3IkBEbuV+Pj+r
jOMQVkE+pwaxpFmNQh96t6mZ8ESPvxoubBxraswDT2N/Y4XutNLmeW88sCswnzEAAoy7uJPyzrFG
1x2dl6E3BTquA07n49hv8MMxfjZlFa5833tHFtoGkTGHFmD8PM//JGXdjOEdUum+JLIy7/Whkj+y
wBmOkxElazSy976NTjqlhplmRPR4OlZcERFW+B2/4FFvDwfco5ObXITO5CmJ4mLWm5ji8cPbBKyA
RnZD2QYZo8V0GlrWO0qU+y+Kr7VyU9O9kns15ilfuWLfOQ2zZQGLRqeSRu0i6StSChm4E/gvtVrk
mzzzXVARhbKzsOm90qsx2ZS5X32Loqo+XP7Ed1ZwzjIg7kMyoC69WEG9QXrTKCv3RcPB3T1gWR3h
UWUY004dgN+tRA3LN5NTjxAlCTzyiWh9LfnsVqg3SqJJ5SUxFKOeC7Jj4tW6Fbz6hZIQRTSpJ4Xr
P1/+yHe2Dpc80g9UxtilZ3VnbFSoMJtMr19JJCby7opUcTgqmBjszLj9oJnL/LrQ6J8pMaRwjDnH
Lv8cC5qBVaKpo/Iy4yOuFfg42y6HP7VTnDC6NZiFtXb7e8s4K2ARB83kGH2xjLSdItdHvORForYp
t/Bp/Y2iW1G2yYJozTbmnduTsciUOPp/+1+nn5eYfVAXQee/ZEbR6jSSDeBl2jCpK7fLe7uFuIN8
n+4922Vx4t2uKkU82f6Lncr2OOn9uIuTOLymb+3f2uWUHKtx8lceyfcGnW3HKWrDwAOzcfpxQ+7n
bly38lUhU9gYSdXvcI/GzCPQyqu2aI1PhR5GK6fwfFCU0ihm6jRQ0dFYMg16v1NDX7XkaxsGEGNT
5NzpEEFH2zuDLG8zvXILD/63sb18MM5XknHnCIi6FgSgpSsPFetqkIHNmYgbUXklC0FIQsnoz+Vx
zrcnFyjqTEwneBv6tKeTigealdZ5G7wOve3eijEdvai3rS+Grri7jw818yfAe5Ab8INPh0plGEfY
DIYM1ae3o6JH3/BBBtuMiMWHr5W/dovwXnhzZ1jN6VCyrIMaQgdf5YrsU6rUynEYNY5CF9w6QZ3v
L3/ZO5sEVQ4eB+7QWcZmcasYfmGnbQhzp1ZrcxvaQ/PsKiI5pm4UgpkTOtqz+Zok+zLNYhLpoKAQ
TuuCMt/yG8G3VJmR5eGrqvb9QVB02Qq8SL1wjMVnKswNDMNBfwLkMezcWLVWHsb3Ng6hxVwKm3lb
SxV+PyxHuxRK+Ep1rjvyTEYbw86SL/bUhcfL03v+SHBvU8lGFJ2zwG49XU0zdzpzssr0tR4SUe7U
NMzjewexfP2RClXzIAvo1muSU+8NSi2Mg0YySWizWNO0iGMg7Hn+qvXQe1Xcgh+oC4nbcciCK+Q1
hpXb7Z3xqBOQOGPXSSq3DDQy15oq4E/5q6hs0wPKHKIq2tfNth97409EmXjlxT9fwPkVpCGFuh5F
zWU9E2BQlMl2SF7VUZ/2Ti7txy4UmAJp3fRB1xiWD3odYsV0I0DpUi0+XUHCiDzo+yJ+VXw6Bd/G
uCL9910/VY45dIFvl/fL2ZfNeRy891nSivbvcirRl5RFL8LmdRZ4+tmgeuRpBKg8voro/g9jkZmB
kJhLHRTDTr8M9FhhqVPYvgo1N0EJIGi1402E4FEr4VoL4uyeIQmnNjvnRnwZeeLpYJ0BW7n09eHV
Her6VvihtUF60rwbuujYudEu1LN45eydvUOg5QADg0/TOQbuEpGZF46fJTLSX9VYJXxp7KxUdzq1
wpW873zNZjoflt506qnSifl4/BOYuXFXd+Rp+mtDjwJeLe4i18Hgd80mUd21KHCep5OUn/WasXYw
T1Fepgd8OphWm3BeWjf5nZitAPyYmY8wQqPNNCQ2ANAw20Bkc3cy1rPfl7fmWbUBgVDEFWZ9a5Rn
VRBKp0OLwRJpW3XVH0qm1q8QibMbMqvxSxnBNkoq2f8ukA38FhnacI23pPOkp2O/MtdLm7AZ72wL
VEoppBPX8OfpjwgzZfDzyWzehADbvZusyK88M2xlSV1sbBE2CVVUj5D5Nx4VIw0AxY1Cu0p7s4qp
Gaf6ryYG/X5MVC1X9ysztNxxM0WD5wyJWrJkpCsWP06ESIc0iam/IVMkvnSGL34pIK2eqXhXuJdp
0NkGqke7kkz0poyyzt64pqLNnMZ8DiaM7qma4uE7LIx2TYth6XzKzKEWxLM7W8gCJ1m6RmuVkzSd
NulvatW4n0I6T8+aqSSlp9eOuOvhCPae2yCo5PWU61OP7kQQbLuq6K8aI4A8GxhlYK6s5/LpmH8U
iTCRAFnNzNM+XU67I07sYkt7m8ZkeDNLLf9jJlRVDVbtCzJla25n7+wfDig1akSaEadAOeF0wAFi
URpog/0W5ZWKD0WfNegh2mnjlUEt7/K6yNRbOxhVz0ii1tnmPNVf/MzoPPiB6e9sJJ7ZB3qTRtvL
m+d8Jij9zsk6CRCY7mVe4iQ5ihKt5v+OW/OXEls+7f6s6299G9XGNKreLg+3vI+p9NJbh5XPViMh
WdYqfbetoULo8k3yCHiTijtMrZTKTVXUzbEXWXdt9E6wuzzo8vL6OyiuXVT4we1S+T2dfOhyARwz
Bs0nIKuNCIwDLS8XQmCu3bconh4G1GWOtYTRe3nkd2aXO5q6NoXuGay8WPZ+CkrTbBX5hkJR/6No
nHwbRKG4Mdoh3g5OcHV5uLPZhUGE2ii3NK8d6iOLDyVSUsMwiqI3Dk6degJJrddBtGONOEfae9S1
0OY1jW4tz1w+RYiAMKtzpQBQwXlBWMOvpsUvIn6rEo4OlJt8K93KN3H25d376I5lMFqbcMoJxWbV
6tPVLCpb75ysjd+AVoSjV8JpVXaJoPoB/l7ZIdlRFR+M3Pk+6vhQzwS4IGKJ+QL+56mFJBnRKO/S
N1PK7KryHecGNrB/nEIgrJeX8J2pZCgAuDw0yNcsOXcTpO4iVov0LUj0cJe6mrIfAl3PoCVSIFj5
rrPtOX8XXiNzhoktxlKBhCpkpCkYjr2BXgw2YTyIq5Zm1GEcO+U+xW3u/zIeEjUOQSbA3KVXjtqA
aoq0MH8LI1OiBVHkZXNU9cG8kVWWK15RGGIFOnl29udP5DTM1w340OXSxQE9eSW20zcrioYHPyqL
XZVHlle1MYAbtdab29IwZ1Pkol8Lmt5ZS54XFJDYO3PiN//zf7bNaJIwSKieb0E75NCZaPdf1WUf
hXS6U+v+8sZ5Zy0ZjLSEe5xYfknVyDIRpomo87cpi8Uux6t+B6RwOHToMW56qHcrd8274/Fy0jqd
sWTLiU11vQ2KdMjf2iqyrihIxPgEVuk9D1d2VfPMr7QDzicTXSWNui746Nl2aDGZ5ZDask+1+G2y
e/VLKdtyS4F5vKeQv4YdPw85CaLgNpE4/1U8Uxf3qFaA7yRYSt6kUxbY70x6guaCY313az16wB8e
zlikliCnOnFnwTnc191UrrQQzyeYH0GDgNcDBRIqW6e7h6rkqEZjzuG0p+hgxnmE3EQmfttDEV/V
bv5RtA4j4c4FHJaiAaWmZT0bReOuaJQpe6tH41fdls2VFDxcxWRvQ1Kl/eXter6cQMPoxFKWnI3K
l4JVUITaWPhK+yZiw/8cqhOSNZEbHg3RvX18JJCEhB0092lvL2K90MUgs1Gq7s3v9eJ20t1g13cy
3GMtXx0uD7V4f4F1IWYJOhYIg4YA2NKIZ5xqpDqUVP8js9yAL1zrO6pq8qmQtXVMHVNu/UCt10gr
7446Q8q45wQB9ryR/rlmeoCafRM02h8ID4axa5xSf2qMpj2A0BGvotCT7y0iK9rHLvP5YymG0OIh
mef5X+afdGZBRGuN/mfUR9zcrcwXXyRq3A9BWvuaF8VVt/Lyz8/sP0nofyMiz0freb4DluVQa8A5
RpeZ+BMMdJFkm09PemQrK1Wexbn7b5T5q4gxoPQu4XlpQ2EyyzTxpwHHc0RwBZhkr0D9zOMMf8lR
xzH0Y7g1hvxbneeJIsUk3l7cbc7QDq6SGuJPmeOwvZv/mh7KMYTCEbaApCYCjss7dXH8/huR2xvu
AlVCctvTPVOUGfqAemL8AYIY7mo3so5hgE6p0hnK7vJQ5/NJskUfgDYZf9CWOx2q7d1w9uQKpKfK
sRpBiE3h1qxzH/lwNYU6IdqXD4+IphoJsTCAbvDn6YiadPLeBDkjPSOq3evWcR8isl53G1UGRN8a
67aVnXl+BBEbYx555nnw4TCcjjj6WI/GBtIdXquhqPaphYiCEIgy/qmTwdnhdCZ/CdBw2a/LXzo/
RKcngvFmvUFyWKjZSyCxG5uB5SYVkqqgPtVPcmiDI/pgjifKQn6Xaazdo3WD14ldGzfWqNprftPn
+wjFSrhOvJQITTAFpx/e6G5nNWoeSS82DcAnmDneMctQuI18jSFydvxnBVRgLvNYlL2WNp9FlveK
UtudpN+CfgqIbVR8uiKVxUdXk4Eg2bB/oFFxHufV/udCtftyGKtOHdixfjrFOxfFfX2bNMh3PWRc
iZYHoq6R162OAsfK7fMXhHuypAxOHDdXDulTcM+dDu6XVtAXk2Ar+dCXxv1EFVG/CZJC3oepQIIs
cexGBRsO2HA7KqXqXms+omSwkKZ8U0bSyrwyy8fG0+M+JQscNGKVyEMYITTu8xRFtQ1SC43hgZS1
sMVF5SP8ZUZtrjxYVRFk12akdCpEe2zyPGGpI3GxNiCWVHg+3NBw2BhCOi8oFWXPQRqgw2hNdiXa
nT9Vjsi3FIEm+EIVah3Pl3f72SnjsZldkYimKRsjsHw6NVSUS5EMQpOe5ab1Mav99JMwynQTBEX2
k0RweK4dp1pjBixSCLpGqGRwh3HCSa9JI06H7UyEZow61aUXQCGqj32Zj9Wm79Dgu0mKzk6u4Ur1
N2i5FemupAmylkec3aBQYGat4bkzBzd1ibyxoHlB7+lFgBKV7o4ewNeGOjZYfnWTu1n7YhnSXLm1
zz6aMRG1RLODyGku+55+NEhxhHQ69JQ8w8x/55i43WUok9O47d1rfRiMgwm6f28Nk7VyAt75WqJu
bKp5emc6xuIuJT2KTTdGRdEbq/DKbmQZX0ldn+SXJhS1cZsTBacrsfbZzqJHTjFqlv6EaAXp5PRr
NWm0UUuhMAKBaxhegwZhs9EqU0u9tJfFRikU91MFgMVfuWr+1tdOjjsZDRjImdkHkgTK7+nIiCXl
bioEFJNG7ZrseiCdrKtN0Qot+d7A9QdhbLRac+XgBRg2G9sBvnM7WGHWfrKznid8T0aNxkWF4uNd
205K4GmVDgw9VdK22DpuYxwCglV4fEWNcjRBNoJvHlReaf8O4sRqtwbhsXq0BckqYkv07Pwbt+E0
656S2VqIU5ZSTzsjTdXwsxVTZNmiTF0V2wSQ4wfFvInuuPPwfyfrQeGSQv7pfMTEzyp5j/69d9ut
qT+6SeCl49ePXSTLQRaTHrd9IyYt0L+Lr8hlKN4weuGdu7Knlvt4OcgiiWwCfL9NRerfSd08oW2k
cl2FR2dN+Xe5dRfDiMXtZNlQsgvl77fIK/uL+nU8rn3JMspYDrHIoHJpmiQRrAlCA8Gt1njKuLVe
5bfmUf9yeWGWt85ypMWtU0Iht9WKkbS7+BoVLnNnfgquMWK5PMzanC0eEh2sfw7vTv/uf8q20Vb9
ikf9/f82xOIWC3uj8RU/1L9zUW+Mre8FO2V/eYi//iX/3h3L2VoEXyHmQ6Io+YzyV/m5POxDWAde
+9iB0/8dKl747B7lVjkiFWeuVUSXWgHLc7rM/tJQKeOm5/sieaiMq9rfjOm9WjdepZjXmu6hB/PZ
dHZSHDWheIpZAsg5KurNVO/5zdsezQ7rG+JsNQTjy9OyDEmXs7K4QVTA+1EysIcC+yXtH+rsR1ut
3B/vHgiei7n+TO9kSdrUAyI/NDjYP7H3Lb3Wfro/5Vbu86vLX/LuNv1nmMVpyMcodIOYYfI/8VX+
Oj4rx/Hwvw2xOAmKVTQipV35vd3J3bxNR++j0fTf9fjnKxYnoRHQyadkHuK6uJXX+rE8xmsnYb6B
zk7CP2MsTkIVGIVdGYyh3WWu192CycJvrXopKq8Vm/i3+vK/TdsiXqilqypNyu7P/0w3ypO4zg5r
i7/kpf93wv75psU+tmMtKBTkpL/7P4tb/ZD/tO573u3rrto3T8GjMXnNc7Biy7K24xYPYxPnQxWE
jDmOG+W7VW6VYuN+sx7/t9lbvIxZIRMUHpm9fjdc/bfpxPHyEO8+vhRNiZcR7+KYnoYReOtMgPRi
/btdXefKV8f4avaTJ/of/9swi72t5tJPoolhimDnmocovi6KTWisHNK/7eh/tzcpPnQjUh8LVwGw
QIsHuLHhnVeJOv1wayfIPC0c2gcfeGMHTRxi+j7PcpQJUcIKrxRsOrJtjFbjnzCuDMIOTBBWqg7L
yQWQAe5qBrECdaF1vLiXxn6oRNT42g8nTjB+U4fsriJCJlwrhUcaOqxEUvMsnn7+LIZDhxsxIIqq
S3YSSmv8nNgNfkozdQ3Pj8IEP2ffXgsLly8H0T9JD3kAuFWAM0uh+nbwEeQ2dP9HV+tOGWzAurXq
NYnx5GgbmlX1B726ANQAkyPGBSk/c93/PrL/FBoS4KqhrJLipyhTc8O5y9SNo+BjZZsT5r9RU6yJ
Bi4POHkzT9ZcJ0b0QuArc3ouGupUYK9E+KvWlfBmCuLwzsLN8BOCxs7dlE/5bQJgf6XYeLZ+szOY
5jCpCNPQWlkcxlQk6qAgvIyCpw4KharDAUsAfXP5LJ6tHnr4c6cdIDc1ONBep5+mFA5S66mW/aqU
0i02SHDnX93ZTPkAxCRdeXHOPwkmzOyuCf6QNHUpSuoU1AOxvEl/FVbW3lYYNj5kpbk2cctwmMmi
RDu3opDCIB1aTJzqT2Di6Dg80mFHOlaxzE+dHWpX9jiL7ITWCIJUwuBPKD18uzybyx4YoBCaiA45
KfwbDt7S99pUk7hUAuk8lgFPAjTXwal+2YMKaDzLgxZVW6cKQ3DWEwzeb6hRZrrrWVLGyluc8K+t
TPhfcOXJJUAjDCEn6p30WMCPLHYuT6GPKLshnxoF3WNkQOLazg5m23TyIUW2w76pmszQtnSfq3oj
EUF2PdVg532tUFoo3nDubUd/U6OcFzeeBRnbKj03qa36OtVrs9iS6jZduhklha2r0agjY83Q6Ozw
kdsiuTCjodg7zOnpDi0TFzODPjYex85SPoMQRlC4ozP73Rh8bdhTs9Z+q72ilh90GmEt6epRm+IM
0iUC+XQ6cMUODhwrdR4LjZmj6ul7aGHY14jMi6MPUPiTkdvlyhM8L8jpgnHowRXxyaTyAPJPB/X1
vkumovYfgzqg81VFRp1golkLSOJt49iHpBfaeAzTTs2gBuiZv9V7SMwr18L5GaIfB7kXNAhHEqDk
6c/o5jzMgGP9aE2ynj4jqSKrLebjljgGwM7K7VRR0Nv1vVnYO6kahfJw+SSd3UuzrMjcYqGcBgtj
WVtSo8IwQ1XPn6Z4DHu6AtEw7M3SHwMvay25djOdDcdcA7hjhwEBAvG6OCeOrGyMNuz4KZmShKJP
nUGBVyJ45V7MvK9cE2ezOzNaeDJBK/M4gw89nd0+hkVmBq3yiNPU+JC0ot0UicgORSx7z5koLo1J
NGyp2Dne5Wk9v6D+VgixzZn/AMu32NSUqUwEYpLqSQSV8rlKXffW6CL3cz625oaPNm5EnOoPmm8E
nw0t+KNrTboSmJ0daJ60mTA4Mwb5myVl0DXT2FBkSTjOa0OJvUi6nd/O6qdsp+zaKOWPEOWy3eUv
X8456t406kFBEQlh3L1E7ZhGP8cUrflUFXl2X9MHfejT3ugeEA+f/vS63Vjb1JzK6LMfTP5ax+ds
dIBl4K/m8Zl3qvCnK442ehl3Tj88Wbnt3PoJhciXutDdZBOKqKJvAJ4nPfBA9Yd8RBb3o8v+twDO
g0gbgL+e4Vz8TlL8tMLxqSc90jZBpDvXWey08bXoMKDxctDrn7NaL75GZW1dZ90YvojcH8yV620Z
BM+/A3A+9IoZy0ix+nQeFFPr3bEt1aeybvzRI0woqkOvN0mFFJ6UYIvatFjBwJyPCfQYoQCG/a/l
djpmO6T4PCDW/+RijrJtjM69m0oX8ZFY2YLzWZN8Xm5vkGG4/KBsQtqhIju3uEpis5n0ui6qp2hC
MiTomv4T8h7TXnFdqXtloRP80+z/fXl7L0MrAQ+BJwqBVXYXL/7iXMvYFAWYefNJtFhKz0KX0XfT
GEW6spPeG4fDg24gg9FRWmzktO2dsEL5h4uyU8LryVcSe5PqVWWsDLS8kfkgMJlcxkRqMzFm/uf/
RPl1M7oItbXak4yH2os1n9cG6W4vUP01+8Lzw8lQxPVQAgC7Ajg9HcptIU9isKQ9IXGe34qpsm/a
3vBpzrJF4SNE2ybIp5ekQ+To8qqdb004d7MHHRAY1myJI9Zq10a1VFefME6z91lS2ep1ScjheGVs
Wd9Ei4XSh0eE/E8zmC1KWLgETfRxpsZ1p8onO4jrvW/Zzd7VMnfnIHDi2VAqV0AaZ6cByCncLVQY
wb1g8bWYW5nRvx+zdnqKcj05VCOFpQyA70bljBxlqlq7Im+fL3/j2R4FNTwjGIz5PZ/VNk/XU+ti
KOhVNj3FuavcxYkw9qIe85UH5d1RHPBYUNGhyC0pxb7E16DFLvDJ1YZmO5aJgelQMKxcmPx0fu2/
ESGSUzOqDide/BHhrSzSGbPLphaxjPDRVyoFSb9qxKzUwpkpfhmsMqxVL4jhR5geULTSjTwRhUH2
PFWdmc6a8GCof4O0qMcrq08cjFaaJMDhNsrwm9kkwK7cF5oh9hh7LnIM/rNwI78rN0pg9ZXrAblu
lchLB8uaNmLq/fSuFnkLoTgb6sY60PpuKXVFcFC0TT9WgRlvfUxdxwHpXbtIb2Th4xzg0Zun9nuo
azZJsImaSVjU2x1Mg454u4Dm92BnJw7wjyrt6MiLxCg686rFABibjjHXS83yAjDSsU1tEu1Jr+uh
ady6ER41n2FxiKrfIik0lPHOLGsnvkGZLMifw0jP868oxAVhdMTczYAP3Vuqj6/SmA2jDLxC0zHy
8QLEbErF0/UiwZ5GE3lHtqM0Fh3B3izLI7UNLfo+RTp+9l7go1mhe1NfBFZLvkTF4ipVzXG6a2rE
kA7kdk78B6SXi/2EIdF6vPPNsaXwiV1htK+wxgpfYVVl2S7EL0YDAQJgkP8TsPPuuucF8fek31b0
Jx+aWN2X6Pr0G7OcOutJIJ9UesKM9XQ/hPmk3jvSCJpbXSZmiI+NKNpYeokIZqG4qMFK1LONuE0+
N5qfAHkZWnydryBR28qVlKLpvhggYVLUi7nvd+7gJuZ9XOHS8kNVKbUMGy1KEeLYwFsyRMUmyXJ5
1HQlf0M3u5i1a/Uh3PmJ6M29KfF4ObhupqjbUa+H+mvRK3V2GIl1g0NBZX48Bhbx3rYYhB9tuyyQ
9dZ2FGlser9P+ptWiso4YNTi9puqFBgvGX5XVNfYTFrO19hRWud59Ee3mjZRB+BlNyhJLjdh1Qbm
AfmWNICfYDndnngM1oLp1BjsJpNTdd7I/zvcdhoIlXjjhniWIDED0NkePd3qnbhis2OitUPSosSY
D5fDZrxXAkWZrulJyeau71o9/NHptWEeeh88yePUJQKneJkMvZeixDf9khH+ejvcUNo0I6irZ/M2
ym+1+g1CDgBq2xKB5ewMu0CJE31SQ+wtC7v5T0AtjZnaanVIt3iyNms1g9UyQhj3nBYhKU8kfl19
4yc4/XEgbU2uorJz1V1riCH9kgNCLd5Kkv0Yix3ETe5HRytNdROiiwUYTu8R+dLZftjulJMx5psi
ts0x26iJVtUo1RMVp1uWToR4wU3Yp3wujMDGPzkJ/c7/WfKTsOZRMFfzzW1SG8hw9GXmD7+Mbhh8
yDlCItucZlwEn6LYT+URgmfoWJu8aKJm9pFSM+2bkwYoZRpgBgiDwkxGk+nBQ215WbVMKtpV1wFq
/50BnwibKxTemI+tXpIS/YYt4YS7DA6S+3L5vTh7hRHd+M/ck3SMeukipuFjIkzeEuWbltQZKDAV
UOEmqarhk5WEXDhqVoQrz+IyuoGsDLCWa5skEALpsqgBzgeAUKWkPyJXK8NNTgE33rdKKIZXBFVM
+8/lL1xGOMYcFwLKIugGqQGc8PRFzCKsEdwqrn5EQe+6m9YvquAN4kLm3MRVx52jx5HdZSz81NSH
QDcH7cflX3D2wWCeZuNzF6gt3PUlPgVQf1Fw8STfC4zbvruBCH4PqlM/6EaJod+Hx/qr7TMrNgLw
Xb7MosbKcGzs6HuLbutVXpiDvqUy3XRekJZOuRLDnc0tvh4k0xS+DdSxEK46nVvdGBW829r4u9bn
+KUBe3O/4E3b3Pdhmh6wJNR/EObG+rawk/z75S8963GABaeSgHoD4H40AZb5VGiYCsbJafMdRXn/
W2FF1C/2tRyKAu9kJTPaXSKxtd/gn6m/5tUoBwhOMBBae6NPxqA9dLavDCuV67+thX9DFrQTSQ2Y
DigybLfllNRpCEdSVuoTqnOdCA8BGlIox2cOkck9d9YwJPsG+LNBRSeabCqKUVA5zzKzU8B4dZfU
OYLgKt43G7fMHHlFWTCz5BYTNu4YUfSrGphn25OcmLo+4lyzvitwtdNFdJV8lMLP9OcBSUDrkNpl
rF/1hUskRIQUrGUcZ2WYWWueyJGoGDD/zHI5HS8s2YnhaKrPaTQZ4jMFeH3Y+o6oi304lCkIql5y
PRx0XWkizbO5guS9LMxe7CvTxn/y8j4628OAfgmWgU8iHT3/pNOfM5SqLhvDDp/r2rd3WhIPgObQ
1zUjrd7qU9Dt/cksN4MSZytdquXdi6TyXzte+DeEvkz+6cgsvhIWvArPpGXEm02Evs1hro35eP8p
4kcHjTv9YEGAMYmlZxqFNdOMlhl62vT1lBL/PtuTHR+hlYVHq3aVL2HQREer1ZMPoloYD/0vjTuf
u4jax2J2M0WrGj8Z6metyX0cj6wufWrC1K+2TZnrlVdPJuQ7kfrGCijwfFeTB82S+/MhBCO/KEX0
dHPn+354NkP8Z67LyFWyT0GYTdHWzlDtXpnXd3b1/K6hgw/ZHfHxpZZFRp8s7bu+eu6jKEwf0e7r
sXgtnQzjk1Ea0TVlAtT1clw40i1g4GbYBohFhhsnD+O1SsX5zuIynmsIVGGoJS95ZGmcOkHc9cHz
jFLdjqblH2vxubLFRlLYurp8gM5nmhQDNiD1Y4IXRjzdxoOvI/Rdj+6zg3LCI0wE7T4qLOS2/x93
Z7IcN5Lm+VdJyzvU2Je2rjIbABHB4L5L4gVGUhTg2HcH8DpzmkM/Rb1Y/yApK8VQltiaU8/kTUky
gADc/dv+i4oI5vXPr/UDgok3iTYRrmJ00lYNzvVmvmuNRHbZe/bQKh+KvowprpDJdToRoELrMRCt
6ryYryoS/OIUZStVwQQWDYL7umGqd1obShz3zIFWrwuGwmgNa9uaWkQ9zeY6yY8LUGtoqOMPZt0l
kytvfn7zPzwo0P5kArRBUQVhQL2+te/uvY8xk3VKVXvPHMdJjlkPzUeXajBBniCzlfBXr4aKBZKj
qFR/mWIcPCmjaFUkcgv7valk1nu8bEGU2Yq1aerafWPxr3vpVcxbBTOQNINgs4plHo7BZ+TbcKO1
rRV+qq1lWByKZumOChTSQ4Yopp/yKvfE23QTL2b1qwnlqqW8arBjAwEE+HDoOVgAhjLRuO8jChHB
rMgrs20eY6NyEseqp7yR9PywuWDWrQrJEJjW6x6yCgZkT+n1qEg4W0MfmONiBOkQx8c8gg40d5m+
AbE5vB6rBmwzY2rm73RxD7FjmcDN2pOq/jTq9qXrjvFxm9nDrayK95RCb9lw/3A1hhJrqx6aNCo5
wIxfL9K6k33GMGF6hjPA2H1pVSxwncoTO92pRb2ZESZ+qxV42OYBqWKv6fnKheEUPaT25WPfyiFb
1GfPi8pLGBblyZA6zRsb4i++GW3pVflkDfXUOq+/GU6rojTdSn1Whmi8t0Zr2uBikIfVjF6jryvN
y69tQCyZVDDadN5p9oPcOLjegFU4uWiUPeNfrvqNl+SbcZwLf0yb5RczCS6F/wqcujX8kMQc7nUY
6B7lb/9cTna7U+tF7qhGzmoyxzPElMZfLDK+AN+B8qwUh5XwdnA5ste0me1lRmhTrqYabr+NzTgP
7Mp+y2Jq/ajvjxaL7J7G9LoHODpREn390qY0MzMe7vTcOUOFRXux7AXCDKcJDsn3P39fP6wPXhTO
A6iaETjJVA7yUgRo7dlYrOF57r38g4tEixs7osbysU+O2th+I5Stmc/rb7ZuL9qaNKIJnoeL3lIX
4AmQY55jp3Y+WKlq0TybVImn9eBM5QaJDdCuK+oo/sXzkvEjigTMw9hyhKPDOagpa3Ve3LJ49iqi
nE/mFvkL5W8wjRhCv7FWfnyqnCdMsZkxc3qxOF+/wNZuRjxjrZnzxPaO4iobPzuQDt67eWTdDXH1
1vn1A84Y5gsT1lVYAkAKsKWDcobeVpLDb1Ke0LZxpycbdNuyV5xURFrg5m1UdoGzzFmtbxYcNOS+
ngQeE2UjqmQ/RxZihP4oWIx+Pbh9EfajSMsePzBZpv0JKbqm+5oqVGXAaMiICs0f0BByQNSgcKxg
OtoOTE5QoKnfksE6fJIrFARZIyIAw2tIdAflgtppRTHbaH7PkTZfV7Quj3JvbjboOGUfLW2Wb7y5
w60HeYhexRfTHs4xCrbXb04daiXSm9Z4QMcoDUCETD4W99kuY+z1VtV8GAFWrSZC9wox40SBx/b6
WpVgD5jUwE+oPI72S616KYpi8RwPSh4OWOxU23hp6B/rqUU0DEYB/nHyRbPyRAOvX10iAphqqZGG
HXAuEysWsx18jl+sCt54MD90HmwUSwDFUOGvPFyQVq/vlsiZjHlU58+D6fXyRW/wmIWbOmYSi26a
uMrGSDo1exljxegxYkaU/irGnJiOY0baGu9Kwn3xVl5ycKDQhVmFeaAjsblxBzrME6zIVKKo1vrr
SlGmUDdGbzvnfb5HSWIIMlSSaG4lbwlOHtY9X64Kf9VzIAbjbnbYPSjiNo3s3OqvyzTBJqGcGgCB
XnNc6XQ9WkuOJyQQ47YpMcaiS2cd44D6Fib9YGes9wBMicQT1CA75FCMbnCXtopMr7muZVanAfJm
mhsUw+zunLZzz/tYcGs/DxZ/8bBp560CCKCyqLQOFiwQXllPldZcZ8NsXJZyqncKRjQfktjrQ9fl
yFkiU9/9X1wUQCQjN5AMPwiJKgJoUF/I9rrAhWefMKTYqbRQz1BTiwJ4jKOvVKnc/PyiB8fAl4eL
WpjFoqK1BSjq9WJvLLem7dJ317DZ28Bi9B3g2buE0Cjfkmj/q/dINoENI/hlwvB6K98VSHmqtEw3
9PY6qRS73ENiq0icajEq1xjXW85OwyW7+bVoiGYHpxvhfsUKAn46hC0ukNgm5h3VtRxSA06bmx/1
nsqYJJqyNxbNwSn39VJrtOeKdL4OBTqQzOl1qZZYuuQiPlM8bdwMVfJWNn1QjX25CtRuTlMCPBH+
IE70muB0aeryeqrm5GyouuelUKYbYGwJIktWuzGQ6sCdK22OgEg+/NpqWZ8mHWFzlXiAfHoIc02V
2EnH2BTXyuKlV4RhJfCqZTxG+a56Yzf8xdNcgYJrpKc0At/zerUwWppyxSqqa2VEYTDupv4Cdf/s
8edf6C+e5or3oOEAohUXtIOsMC+yCDMgpb7ONJh4OJ61QRpFdmh4ibMZcUU5GmeTAXSzepZjrv6W
ENzhnliVTmCWE3FA9a51y+tvmTeZNJxB9tfQ3JILNaqZP6uGUPMQff36obTi6K1gvO7o7zJTFtCK
/KSoRuJtVc1az77vtiF4jTpLGn24xpdUOUlkPMUbuSjdJwA9ZRyCHdbOy6gfnhHNk3tcSJTnwUuK
Zw2tvqecr/HNbOvfnqd/R0Lt8uu1u7//B/9+rmpIunHSH/zz7xf1S3nTty8v/dlj/R/rn/7zV1//
4d/PxHNbddXn/vC3Xv0Rn//t+uFj//jqH5sSRdv5anhp5+uXbsj7LxfgTtff/O/+8LeXL59yO9cv
f/v9GWv4fv20WFTl799+tP/0t9/XXsW/ff/x3352/ljwZ2FViFI8s2K/ftgff/Hy2PV/+12xtXd4
X6pg6hA34mWprB358sePTOZmDIBI8NGFXed6ZdX2yd9+16x3YGzXhj9nOuyQdUWjPv3tRwxSCOMs
91XNAMj0H/f26iX9+dJ+K4fishJl3/3td2PdGn+uo1VDa23MULZ5q3IXoo6v15GmyjTphdaEqBCq
2yV11WDKEb2GQJtPggBt9IvvoFrUrdNe0NdJnHch7n122GSFU/uyV90XGirH5ohuQZB79aVWTvpu
6Gx79L1CLz/r0BMG38vqqQY/15tG6LR9GjaajE+FrcwNeD9af60rh9PUHef3daVXiOyY9KHtQdPv
yqYYdkOVLcdeI6YTTGpRuGzrFreIVf1yMyXLOUlV8w2e/ktr+l+u1Fer+2J8afuhffmNhd/9th3K
T489y+j/gdXtoKWL8s7aFkbfiNHrijz918v9fz3NL+L7tf6Xf/918a9KhV/Xuu68WyFstI4wGAYt
vQof/7HU1Xc0BGHKEI8wWQH59c+l7r2jh4ecmUbqurZiAb79wlI/nPqBUFrd5bGDZZy1ij8cpINT
bEVSwWkVYE1tbzAXtps26NpYNRYfhJGjBSa9kXovS8W9NRrNzEWQFXXrXneZhZuhj5ltXrcPnGuk
sr6EieWEbe4wOggbNTGd5y8P9pdW309P1P+BZyVx/mer5+Yf/7v67bYq/vF/fnssP/122f7jP8tn
Ub98v6C+fMTXBeS8W+lTrMv1fELXaKU4fF1QNj/RKLLRqqL5BIuG+PjHgnrHy2XWwZJhRa3A2n8u
KEV9x/AHESH+oxO9ohswg/+VNXWQeZC4wX6C07FqlZMPH3bVx1qJW8YXPt11pw9kXHj4gafVTrRo
zQR4qeLd6+RDtHcQCkN4ZUmM4zFRxjwskC+8A+vTXFqRE2tBH8/LwwwUi/zPrW7Jhqc9CjAgfXrs
gL976N+iwPen/hetpD9P/TXWMHPTKFHWHQGL5CAty0xA3K3zcbTqTPejUdMuExHDO+qzLr2KjQxX
dXcsr0wj0hIMn6L4Ap285jMua8aZAV7x2AC3dC9bs4w2ceNqJxPgIoBcyig/jkVdcvvcw6ZQl3nT
q8I+hbimKT4WU8ozCqLyRRVjfS3LlTMxGONTao5USDGz3TEZTXQc2zI9BRKwzRGUw3txaZWSjlDW
4VkfL91nK4twmReVdQosxgqGulPeMkZaA9+fj4iQDIGPNUd+zOj3xyEWGkhu7qyPyOlDjs/zZAAH
k7UVlucOqCMNOQ7/1/f7fzPa1D/Js/4nngprR+Jfx5Sbl/IlfsxfHQLrX3xLoTSNOGCjWqOT2gMM
XkEk31IozXm34pTQZbexuFgpK38eAzbnAENltjl4HloO36VQ+jusU1ZZTU6XdQxk/MoZ8HqhfFEP
Wsth9hIhhTSPW/g+E6+iUkxzEV3ZQtE+2Agk3Q2ukbfIOvaxHZg9/c1qcqLdd0/or7bwq+X59apQ
dTnneABwCA/yNsfFlLIpvauR48l350LcNHDc3qgyXldv3y5Ce5bOH6EZVvDrr9boUePGvXuVxab5
YaZPc5vFqGh9XfevCofvT6PX1dPXq9APWpNjLgMK6/VVBjdq2sF0rwocjHXf1WPzynTFuIkZqB2p
pfNL1e+3y60+UlBK6dUeyilnqSYdEMtXGmqgJyBab2KpWafdgJfnr78ieBZ/XOgHDZfS0wdVOlcy
b7UwYVDuw/N4q13xV6sPlhbkAKpPUHIHr8iOO6ztE/uqiFzvml9CR22Sy3IMSU/Zzl6a54Fp01T4
+Vf7MhH483T89hBXfWF2JKnZGmO/X/TQ48Wc5O5VVxjw7kxw1X7Tm7D+E8vYLvgT3QytF21KJ3eY
pHf21jKK+EnEtkMahXWsb+WLeZLqg3ss11FAmJdF+Zb/818+m5UWjW4gSluHMK+hbQcA585VNTTo
k2TZYgZuakIHUV3xWQeofFnDfDj6+aP5iz2DnwFZrkEm7dGwev1k5gViZDXpVwC+65Nab5NQuKr8
pVnil8dPB5nNv2qnUUQezE9a0LjJPKhXXjFmgSMA8a5P/zltRXtnMMh5q/12wNNdLwiUg4utjJp1
hH/wreoE2+G2FqfTMjrWprUs+cFLkZk/bt0C+XPheuBjcg1n8HDUoaNutHIZK0YshjYczarafAb/
EMUhuKZR+p1jIsArS17Orl06p0DDMYlO7WZxvVBWk5IGYvHs60zOOehnz4guFwY8CrL6/dT7nifq
O8cu6rsWxWXpj1PTfk7GricPi1119C3F6DQ/XqZMY2ZcG++nsQU9Oul9etvXKsugMLU9ZbHRQw4d
tCxAYb3TQwbgy6ZjBqD57N3pNFakcVVPbqSHGAxlj5aWrkJ5KPdqQGJtbec2hnEXSRNU7oxNxHVr
NMa07crayPxWa4urVGEz7jL+h+7Psm2ZPUhLPtgaYHM/p+Gu+lZTFy2oQlBmQTULfqXBtByx97JR
ggyb3Od40KfPbZqae7cENhpa0rLGwG2V5Ibn6O31qSy8vbYgo7AiyjGbx4G62NNZ7G9VA5DyNi77
aF+qjlSCutPLyu+spIk3UYZe0q6stBFpd7vLPruxgcgKOGc93oimRzgASRyj86ECoFDXw/gVNPFa
5aWdxjkLW06HI88Gm3scDabEbBiswkMZ2WLy6fwhqAx61iCdA+mEXFFfejeGsJrLuIibc/oqTR+k
mZPflqntdX7lKvDSIT3s+HTsFNzalh9dhaaA6+auEWK11l4uY4fbherFj4mHgLufpkmp7TAJyz6U
oivTLTpzox105jScCrcbs40+1ogHJksto52qxlkdFo4nszDxZB2miWqOfm3birJ13LaBaW7H5aPQ
xlr6uDp1iq9Bo3hC/NYZ/W62qnOgzD1062wCqkpLzcACGtd7Xu+Sxc/WOAlg+2XtZGh0tPOzKgE3
+UXniI2Bafp7px7sIlySdErhPbjRElSNNJqwrbTovMoA9501UjqlX1iykiHjUXnTw20/bYzK+ExG
b8+XGSzFEz3O5HmVUqdCONZnM8zKYmn8fMYU1S8GLS9QuPayfnWdBP7uSbz3tqm14HrpmdJUKU7o
nwBinKspWPpBvW60omSLqeA8Am2UehSOXjUOPqBcLCxjNXE+S7ekk9OMrr1VOpV90wHhF0QY4bph
3qhpuoGwOD1D1jDv9CzvHmTfiBtHOkUWjKkND1xXBuNRNnN+ZzqFdZUZi3jypsIdQ2F6XRumXpXt
q4nVvPeKZDpvIHSIHaiQaj8UOHkFfNf6CWdcXtDiWsWTqkbxR+6ge48FCgqKdrk4x6NeNFnoapX3
4OVGZPnz2Np1AF+6aENzGeaPUdkvyQZJPdgofexlWegoqnqWZ2r7IMxFakE5FenLzGtI/Ugrx1tN
T6tnO1Oij26JgrhfST1+qDvNvJ8Ms0ZQz0vLC7ykGE6rXqZAiEHhUQS6SUwMOt74pavgKr/K74mP
cHqSM73TEzx2lMiCeQHrzN4yxm3lVhaNEeMWYtRlSLPeuqvMcbxV83UNIsJwP3X08IO5Y9aHbMwq
19dPzYx86GLKe22yo6tmRu18B/sKyUCICZnYwaQ2OrhtY3JGa9pGp19xrTmsutHMgywqYzcYm1hL
t5kltM+yHSxIRxzLUzi3KCOFeitFj1CkLi97pH6uIPXPuAvgOHOKhCxSZNbYG7A9LL2Z/UnxYg/b
+TKTPKYxv8pY964/uXVebtretC47CXo2iPt4uUOnsTSPsSbP9uMCZ+YM5tZQP2APVEHEM3URKVso
O1DR/aYqGbCCYYE7duq2LXYDcJsWZv+1tOBJ+4PTSuPGKlrU5aC36Od9SxrO4WwkRaggdakfK56V
dGfClJ26tZQhfQJQiAW205cUs+ummHy6tjXrwVuaNdYBdA5gxc6hS40LPkhx9BMNGsrnsho8c4Mq
2bKDPlbHgSmaqvNzs6kDOUZjfrTiWk+UMtUn5gGx/bG18vnUrFV3pKa1xzIYDFv5NGZKd5+PkWdt
u2leMKxLVfEwFEV2qZb5+KIklvZCIo441FQK3jzsiETuhyhO0lCpunzaKI1rXtU6Jncbo6Ihrd27
MO9um7lJ87CeMUE5ajBq7DeLJTI1qA2khRCPbefJB20/52E/5Va8dfLU+GRNqTaHitNm0xH4A1g/
k5NmegC7Tp2OjLzOsH11W+c8xw/AOerdPNU2s9Hg7IdFlQJDqYbTGIyF2bxP095hzt17xftIdZGv
HZ10gCSIZgaXwKEj80tzXVimjdBK0BS17fimkdBerqZR942ytB+nFlroBukJB7Ya7NAm8GI5CL+1
gS0H1twU43YyoXEyxu/QkTXsDGdaNUWdemMOg81KVCd78t0kj56NaZUClTn0pSRq2TpaSxzaknng
WIZsR5L6JDOtETgeLfXATK0k8p0CPgzOUEjvBtm42EXgDdWo+YL6oqcTGEtsAwSLfuNk0aCHVKqZ
CZsjx0kqRaNX9W2Ah82Zittyv+006Y67qKsIVBgQQHcT+Hcqp2pejckxE2s8tyorSyfsBCvjPfhg
d28nXTGGPXatH1QyBen3tB2jwMocF1+lWCDVVypR690WtEHL+mLRmhxuYNFaV0uhOQ96I8faNztT
XmQjFUJAYF55/I5R5CRMMmsKv4FaXwSLQe3gd9qsXOh2rs2BS0cLQynDJm8w5FjwOKPRVLeYf2pF
QDBCfaQZSsh9rWOWC+gK3Ll99Co0GbZ0kD5PgzEMR3rUrfQ+OkE7fYbUcSlmI5221O4JBsnVhJm4
hMt3YyvG4B61s3RABgsmdrGPL4I+HrcYciR30Rxl8D6txSt2rafFS4DlwFJu8x5SIK84kWZYqz1B
rWuFK55Hd64qEUI/0euN1KC67ZoxbszK9xqGir6+9PUEtwlFh+xiTrPTasrK4zGulHE/LeBTAs8r
Csw2Yt0oWQ5x/dLxoDNuIWktBJVLqwqEguE9Jz1aL4ExzNrpANUFhiaJyhCQAg/094o6LvxFaajI
+n6xL1KN8OoX0ZLfZcxhmaxMzO98ii4z2U0IBG2wElJuJ4CL7QmY/LHf1yn+cOGSi/TDIJAo3n8p
XX6p4fz/aQNqnXH/rAHVPolXEzxmbn/0n3TjHaYIlD2rLwL03xV88LX9pLnvYE2gl7FWemsT+J/N
J9N+hzoOU9lVahnW/qqg/m1+Z+rvQOIjuwC8AEddZMl+pfm0gsooKP8sxVkOa6eS6QhlICQ6+tuv
C04KF+E5dKEDu03HY5FwOo/4fx0rTlw9GpU2vCd05/6c2ihNz9OD4VVKkOh9e+F2UXQqpDCfoqZe
Akxa3X2ezMn7JF0WGrOLedqvRAkUsh3ng5ZW3a7GaTg5gbhfXnowtU9l1YnPMjbVKyUX1t5beuXc
irL2Wulkc66lKWISQg6Xqmb2Z5M91PfdQgArZZJupDVYITr2yibrRbdpPV25S/uG7QsMYt9rc8F0
EWkhDMWm5opkxbwx23qBspalT8iUDD6sabk32P1HU130VziELidTb1tHU5/op0uiLZsKKs3WshP2
dSfPdEu9jHVtE0/ONV0HESy6dhOphhu4FIP+3E9s99SIHj0XdSy10jZTNEQ+fpNJsNT6pwhYdSlj
AS16lcRxjluYWLi49Mg1L2Cn7ORYN/ILO76TM5gH3OeOktiSl2hUFdvCkyRFaizl+7Id59MS5hh3
P/QvrqzNncjz4khb4NPmRY3U6iznJ4365MYcimavzOZttZTyYxZ52C/HprKTWhzKxDhPOXd2i9aW
V1FR6WdL5dZ3slTnjWMP9hEE9fGW+FAQLut48HU1l8dJI+212T/c98ZkiYAezLSJzca78LBAHppi
w0nM4eRqjp9HhREoLvI3JZz15yEZkx35aX9lGLXnY4qp7OpogDJdmxeWggG0XvWXTtd/UEZMAJPG
gHevYxo2mfuyiMPJXHVik+G8GaZ7/OI8f55W4fvhyTHEtZUZYjNl2ZnKcX1MaFQ5OJdka5hpRUxc
TkARnqBgFigwSRjGPSV6W/rxEGebshjvRgTG4SvFQ3KqNN06O2lqbqLT2iHUVwMzJ3P3buMM9wMp
zYmWuPIkcnk6ePcRuOyiCcRcGFsVA4KQlkeYinIjm096467FHpWVocfT3mmOIwwqgrgzYBNMlbJr
bWq1fuHxJlF0jI/0BkR3dtZ61FLYiaWh3bk7NzVMv44V9xnrEfQdGzPCEZnOIKxvbbjE35Y0KN7Z
bukFszPvBAbtTJbyMUgt7Epachpz3OaES6MH4Fqi5D801XTU6KI51kfvpW01HONdZBSBwWpWOvmT
Abk6Jgc7S8YJkyxyvBFL0c0o05NRxzFjGSw2nJGMG2lmJ0YttOMxbxIyeLLjVusw1iuNvagN47yD
c92N5Jlw2pGdcprnTmnvnFFWF6jsX5U6lWDe1xm1VmHxzM1l4zjKI5ExO+1skV63ajr46WyooWNW
REvwBVNu5yvrfHYD1axan43QPi69aZ+0iWvuMswt/NGiD9Izg+p7vlGdJh/1vFB3Y67J+4Eh4Hao
muFm0K2z3lV4VokSlnV57HQyyLGVSQuxR0VWnNnxZN5n2D6FdY4QAiJh7ixSmhNmEhpSPpdzRHej
UY17ayqacGhdcUI+uzUEWXJvKh8AH6jbss2WEJjPLVLqoQ0IYFfOxZGjsZtCaGLOqRCivkfZpgxw
hXzOk/TKKq3hUsCwSTzzTDG0vZj7+8rRC1/EKWuyr2+iRGAH6Tw6Q3NuMWU+d0SS+Hae535RRUcJ
If/YqnuY94Pd7pU8G+8bpSjO0G5R/MRRSvKYxtlGU549AyptTwXaJb6c8oXGUZWFpZHLTZXb8Qm8
q243oN5ikBWruJyXaRTUmqkc97UGNxcdMx+UKPupqSXVV7ns2tlFxEOmFqZ1MJRML0rC2U6cXTHP
MsiW2N6ohfG0SEYROXlWUJvltIsBSZ7MRruceKOSXM8o6D0IiP8UVtganY920V50kThG6/AKDHNd
bvLcE5AUForwOYg8tzT8UrOTTzYOlkdkS+mH2BLzOXOI9oV+o/Uy8dqOSZ6utDGlqYd+1RM2F+7j
XNNuaq3ohC+C0VUe62HcxOhrCIl8gqXtWzfObwpHfOp7zQnNqjFCpdfK+6pfxutaL/L7bi4WdBeW
fdKqmR/HenmlkPGLYE49vfPTxf6gTNbol16xIYF8mJ3yLirMKly9T42AY+B8bLJnmWDS0Ym+IN92
8lBNkKxgbzf6Y52Irg4GRe/uhZvYMV8VGykqitjYTlm+qiGUTXNdLvSmgk7mirvrZoUWoDIpH42x
Lk9JPzI3zOrSuTVVinn0Curho6Mo+pG3WOVlrwzj3vMymnhVpYSoCCgxTgggcnwjHttTI+1iGWhR
q9/VJUEKvDbHgCiG8WlQXen6UYmnpJY19T0iAdatqVV9HWR1QtFEaQ9TALqo8tjg+H496np7oxhu
ea3XSXdDKuL6uiztACeCDtf3OKKHYjR+qnJoVZ41XaBRtZyNTTccY1dQ76xoyWhzaPdVg5YEIa86
8RDhOBZLOz3yPBICMG3Nl3mpK79BsOMz7g7FHOaiM+6ceYpHP411TsgxTgVnpXGZod6MFmYwdeV4
rQ+Q6lyrDRhCiTCOvJuU/LxL1fOmja6xEiQSV1Ew9DLdQka8s+c8+ixaaW9nQznqunmXW5+ADIeK
6uyQ6AozsTyp+naMHDqJiTBT2j/RfCHyKjp1Mzhn9DP2pjY+uqNCo7DgoAh0pvlPa7p4gkSNd1nE
tJr9aYm6wE1QV4mG6rEZIyUEUV+vy/fMaoadh/5HKgXxCwT9Tlli687UBhmSRhhnas5xrGZTvC0d
GqbMNDbUMd3VmGr2Xct2Kjj8p+YmZRC2YfbhXSZx2WG3jJieGAgzUa43m2HJbL9IU3efWHbFEiT7
i1Gp3aJTYL/YTvc0585ylzeD5OEU7a5WB/OTNVvJhtyrI4JiSDy0JGldo51Y1ZLfWFnmbAWDvbCd
7J2sFnzLEu3JSdV7z+iHsO2s8rzy0JiPU6QTfRivH/NIHKlzA4dNfLKU8hTDp50eOZySXjn5C12N
e8E7bv0St64TglD5MmKl5xeLbPlxjTt9JKThp3kaf2q67JEOV3uhF9omrSeQAkZWXiMHSeVm6snl
iiv52LTjeFIqY3UX2zm+xUPfHdnA3MLOnrSglpO5w4AmfR5LhlljR62/ZHT8ZZxXpAJl436mfDbY
qlZj7/SadLaq4tAyMa/Rcj+zx4sZzmE2VGFZ7CzpIBRp2kcFDfINbYH8Mq7a5HiBY31Ez8v1vS6N
L2gODcVGLEW9cfRBCbU4GjZQy6x9qYurYZmZqBmJdy6XZvEbiy6/L0atumPAiCxBVXQDM4Vk9mqO
cWEoG5P+ZarG/D89VNIHOWdHsCM3jhbdeDk98qUBmIv6Xhj3S7MbAOClPiO/aJ/mo/Y5M7vuqC6S
E0cY/XEbY3OLaRG6/62Yj7JkLvbMhYY9A1X9PUCQIsAVmsaDoldoB1rCzlS/QO8I1UghNnTn8jmg
Nur8ka70aTx0QE0W/DS9DW0+DbotHZyNieQAPZfRydilKLz6sT7T6fuyzkU11w/thC9sbfW7WJTV
B9nnJusDGc4iZOHHoarS9SSLArvCU9ZCvSujk4KNVvoD6tkqlUdibNqp7ORGl9Kj8+F4yq3XKvPK
QnJWmb+ZkU6KEPlR3TX4sNPqontSL8N72UIRaVx8OWl7t7PlO2JQb1Gm1HUuJJhuLWluaGEu1YgH
p7r3Wt9lmySpmk1UG87tbMfqFKAmmF1PqVFgWhw5DGgYlqiz2TT+TAOEN1/owVi7RlAz56cdU2Xz
bS6dLrCNtLjg/I+3mELFTKtadbPkhbiIlEZsjdhqH/V0YkMraVZ91vF4ecwqa+1x23I7Vc3tCHwt
9qXXymApSTTMnmxOTzU9YNxvnCvJkbXM9mnBIMRn4lKc0wNB4Kis81udMoCDiaKOAGIGhcENyDw2
H3g6w75JMjuEdIOkTqfIbV071mnUDR9rQ0WRx8Umlq6ZsI4sbVzo5UcceaVqlxfzIPSjKaF7AynZ
C/oWekRlKOOxRnA+bnp72aEDpoZuWyknUkEjDOmpZTt0rnoSEfk2KBUYe6gtzVFqwesBNF/SsXWG
4kM319Y+rd0lHNzOI4LQ2KydYj7ifxFQ1ZaiZdfJTHtvy3HJQgrWa7XxngrWr6/TUPRGydyrL+KN
Am86sHXqZIZXlEXJpHL09OZ8kTA1CxBqUnyGA8rJaId1dwPQ6xp81LHboSfU29olBcPD4H0ypniv
p91uHKS3FwWq8hlQbKHK64qKzx8NjJgYKjn+FJliz/rA2rqX/Qdu9GM0lhbaZNV7RQrPz7D7erQz
8wUE78lYCvu/2DuT5cqRbLv+ikxjIQ2do5miuS0vGQw2QcYExggG0beOzvH1WldZT8qIypf5UiMN
NCmzKqtM8KJxP37O3muHG9x2o95oqVmXtV+1oEg6otfd7MMSfBGa3qFHYZZ46P1ZxG5Rf6Eh796s
9vTsS82My6lLUewmF0SNU8jxvrod8PmyAlXeYVPMQSPOxeKiZzRpO/5bU4r1aVSIcROvSOFJabzE
aF2oDi1a1U0XaFS9ciusG3tqGOIYzbk3q9Aayt26NeJhwPWw0xh67HtDvM5J5r2wEJYHtJVfYT2T
cdtCAOdH54b2rDdqizuzFXsefRslphSHMSkfaUluGUsbDcjCHzkrcKAPmPo1n7ExAe8xtgQHLISl
ak/CAyOqXp/dMNXJKkTGXOz5B/t489eHvNi+K/rsEWA1G45vMUXF3CWfeldw3undZytvaNm5IimO
tl9M3wpoXaEwRlEFfDqx1a271C+6YDZX7dZ1Z/8zSXqcisiWvvQcjLxpvACSqO4EXZuz1efOrleT
s3NGOxZiYCSOJyRimgRgTqpLotwqAC8Sj/1464MEJUPeofjBK1xXErSYebby3oxKp/cj5fVPk9Ae
Bq2lE9lDQ8kM+TqOznLgUMn7Kngcve9XjO+c+dDbKRG4BRvSkt4mhsEA5sqHM9bq62brc+haM619
JN0Bhxc9nGpJ5ZzfmtqQHlfOy27Hv8P08j3tSbKpSOcOaa6YcZHW+xyeRSdAeIHi8ChAuPosjbd8
xOynK/NrIXovbpY8LDbUI908JSHN94YQq9GiIgZU6M31GHteD4Os2u6NqXnojf7YdyxJmlB+ZBWC
Rdg2uh3Doxv2W+TqyUNpftPgU+/B6yomKUP+bU3pEtHmOlWz+9WV85lBRNwbRrVfBjbjtjQe2Cvk
3VRN3al2W9oUTHLTabHPSWJuRzdpDqaTpKGwk908jJ+QXMVqHIDu+eowlYz6koX5tmGw4KQNfi/6
fWS4iXlv6JW4H+Ai7ivMdDuGzcQrFfLL4ovpToK5DJrce/FtVpWmLfaMDUDGlcmlpB4/dAkCMrXB
Y7Vq+bTUxc4aipu2Ht47dK2x3gpOqvyuvVrz7dTI/sUymuGeMfPjmIgadU1LHbv4TH9tb76t6BeE
m9AOWGHkkSM67Wu3VVFiD2kIfd3ZEZ49BnoxqniCruwPuctaqhnfOL59w3ZTUszX5hEINAM3uUVl
nyRBSgvGpoyO67Lje0qvo8xZvxo+hQiz1QfSyPYczKl+NK6zg5aswrNZp3dlZwSWj3E0GGqaf3me
RgUCwAtgkATSe/G0JtatLlP94CEM48ujxePPA0d6R63RhuDpe66XzRQMxSjeoOb5YZk1D525vo2W
0zP18IeAcTj3KN3KIO9Wsg7xjeXDOBx7Zx2CjjgEOhTaZ9PpT2nvc9x07DJsrfSQVnT09NLMo6Kj
elVrf3DaVgWp0F8NNp47u/YuOoW1P6sIfmEflnp5XprmyzQYxUFz9HzniCG/MdBzCABXCyvKrQl5
Q7++J83BWnnLQVz6e4W0jsJDj52J2eYM6ZdJzRrxpZ9WZbGMtBwwJz7QgBLwI6Mo+wEG9buVt04w
l+rKYPKGgCVqY+n11F3fW0z5+Dipp/I9IxkNkcP4WcxD6GyTDHFOj5/rcQ38vHqxzKI/bmZdh3Xm
ZfxpN7rW3TsNzExLcz48QpCg+u3Lbntl/OZQY3LA2K7kuY2GRcCZZ9hrjv0yCqbgvj+n6HOT0DKr
m27OvrtsioAwuW8uJdmLUXPjZ5ky7hLhZszzfbsWZ3OUO7urhmAoxRSOq0XPIA+7bK2i1G2aR7us
mYTY61mm0mPjUMtuU9Yb6NlTnYw3RvIVJhwzqTX/UdUt+evXN9CeaVaOXWzA0WZkJ5rxLCYHoT6z
RqIxnPt15nH5yxAnMqN0goGW4KuPMwxVtESLlCNnE5vJLnfqx9xBV1OiSmwrzn1VVXQdM0bFmZ7E
RuvJyawPPDXGTaYMG3ES2je4pMPNRLrIjSe/6v38ohHq4KeFFYmhf3f7Zt51cqzCibNgbG5FzWSq
88ljXJpv7LMFFX0ZLpY1HMpmfV03twNBtDbR0P8YbDM2nPWWJnTglhib5fqC1doJRscnPLPOrEMx
pMUlX7LtxuhN8bilLO4a8865tL8w6n5jjGYd/Pky1dt0IEz2e9nWW6x6fb1ZlFyjqYB8Rv+bskUG
vjvfGLl+XiY2k1WqUJVDH2ydc1vXziWbVAx4bOPudbi7F3PbmcLRX3NmDXD/RTx1iTxYRLqu2g/Z
xpL3v18/gfliCjfszfJDbc+T/jq3ZpSzN24lCTe1VaK4IDigqyggx6b45JC+HcG9lIEz1jMtrOyL
LCrtmGoOWvDtxmU1f9Q1RuONpVXvZHiBSW8s/eSaw3ZPO9OKimv2Cp7Aiha+1pwoR5ObhS8L/tyD
WyS3DFWX/Wzi0a3cFI2IXJ+WhApdZOcsTVn7J02LvFUbELglL6ZdH8CGyLjdtOxsl0V14favO20S
B0RQ/KFtRnKGv7JSQVh6mbQX4c87U60xZRUaUKueQ6eGLqpsY3iwa5ppi2eeUmM7lnyJe0qS7w5T
9KRMz/pghtM0vzdJC+2el5Lj0bvPHMZs+zmoKsQFbbqv/JQ7tkHuMjsaHE6sVWYZFAbyKz3bTs4m
vDDJK4SZrr4nD8c4Z6uY4tbo7C+KQinovWXmDawXZCqSaMpN3y5p0nqHNQH4xnGqotDu5L05F9oR
BiS5b3bV0L1lAB8iz/4hRRUquivGun5nqIqQoLPX15KPnQNIgXLgQaXi4OS8hC1+hv2Ul0e0dPHI
jiuA3Obua0d+B9vRzp2c6ZQumbpsTIp23WzEc10GI6xyXdFRoS1uUv/yvk+fJte6alwfhqnYoqFJ
66/oXc5FotH7Wj5Po+gjK1nYlQf51FA15Yq6eRj6OayF655WyJJR4w20+3P3O7Y3xvGUEkqX2h60
jTgPDjsVTbDhbKsmRnOgAvj4iC1dPgS/t8+Ab3OLXS9v20B3N0dnZyQkHk99s4jA2UwACdPstsa1
/ddd1m0YzqU+b/RNFhaVme5ckKTyQoP0o+2wbmtJz8JrUPnFmzTk3ThDoK6AvAbKZpu0OHEdlAft
h2Lt0Z006zBqNR5hzcjToDOoe2zDW6I1W0hDGVr/Ivt5yoKp8PmuG5GxshZoJnqUmk/uyj69TPA2
W8opyE/FdfpPUnGGQm5qLgnqKfi5Yk5jvR+9fQFBKjb6EuEGYpxPBb33b8SatFR3ntRCva27ndsv
9Pi3Vn+z2+lGqx2ggU1+9KWVfTHFaCIpY5lHsDntZoCzSBf9JExWLqGM+WFkX/7Bw+3jufGIRXMB
KQV1WehftErq7xm1DXHFSZX9aPss5zRJR8ybpi7cuJHfhbT1mww/1tuQb84eCtny0rrr+lzSew6r
1mp3Y9lVp4wEtKuZgxhPel2vJrrqCy0hgr7Iu3mYWAjvEj9/qqFN36yl39xn0nS+zbrswQtzToiE
D+EaUnj2TPIS2tuymLdbPIrlpRrHcmesEtWHIfKLWqbuhegs/7RodbKjOyWpaisMJTIxL806DFG9
NW9pP3yyc+YHGcqsQIpeO2aycG95Iaad4TNP4IHp7QNlX3ee8lq8mq2qoYWKdHle/aI4TehZ6TMl
9p3qppbYbqTzJzzd9lmUxvawIgy+QcuxUnc0o2KrNdM7yO7zGTixsx8rzwvQ+3hfFnsd3mchpwg9
ebtrE0fFy6Bvu3kr7MCwJrbFZYvqtDY+26XXHk2zky+NKdQNUuj23OZb8j6YtE7oATWp4dBHHGze
6rp5X1wa2XbuWlG3yadRw3oakuq4vU95WwdabiR7WqXWuV2fC1lqb+46JpyMnPFg1vp0L6EXRd62
MpNr8mq/lgW8E+kPZ5nIlS2M4qKUy/Xj6VUZEnQcypm6iBoPG8MnGMHLQUdacTZS2KLEDzRUCG71
veMGnLaG0SstBjDAJPeOzCfL8jPSNz3+HzYf8lB7dG+3YnaDevabc7JJQV9zS2MrJbGh0tKMJcYe
Pv1zOcZf+v9+cqD+p8KN/yf9QH/tEsyZVL79t5sfbfOzM/Aa+PcfpiD9NzA7ru8jpIA4ZZnIIv7D
FGT9Ru9WxzOKghucs4vh5F/eQP+3q/UPf+DVrGfAk/jfsgznt2vmC4gCUg6APvj/zBfIv+cPmgzh
IgrB0IIzAr/S9e/7xV83qLFB2OMdp8o33hRjIUXc8jR+Q9rT/i7a+U/dMz/LP/7XpfAAYXFAB4IT
8VcehzSMou/79TgIW4YL7J5AF7SS/yCH+S+4jfg9XASxCjlsmACuJvY/2j3MzkQMnq/HznC2SJiM
0TToYn9zkT+5aVfIrc5dY0jh/MqKQCVGL7pmauJ747sjKv3QmtZyj2Ag+Rvu6K/3jFAEsKo4NrEW
Y4X8NZ7baaB8JEt7LDAltIEGgRhNZdnK6J/dtd8vg9f46qoG9fnLXaP14ndUlMc8Ga3HKRuSUNeb
8W/8Jtd/yf+R//A7SJIAbXMVIGGDA/Dz86Mp/G1aUQ4cRL2oPQwKaw4s6YxVVPJXHTlG/h2L5d9v
HjIjyC9QWEDLYc3++YIma+5A4XVwnKQOxwbZsYZHOv7rW/dnv4pPGwqgK0whxC9ebXfEmCBr6wDl
q6Sx1MPTWOwlsDWmd97AVvl/cTlH1zELutC0zOur+QeaBumIQofYdShx3VzotxvENnbDrTVlxc5x
mBv99eWui9OvDw2sL70gSJFc81cM1OZIZ2rX5lCppfna9nr+rZu2tAgFw0pgb2z8WgAftvy0OjNc
aRNhJw39dRqe9BQDLEcHDvVB2lTUzbWhIJ2ka16Gq8rY6nqbwXKGFupV1n0tg46i/gA9QZ/fSkRa
2v2wmibXlrI3/uax/foJ44NkxYPqRqYpmZT/hrWheYwGejqAixB7XBbDpQYAd1BWkv9DB9T1Sg7W
R9YjFiUksD8/sQQBsl4peWjSUY81K3UZQKr5B1pPEc7j1v0zZvv1M+N66PnMqwJPwDL4+XpVrwzZ
pcOhQT4Rbcus9rDWlgNJhOXjX78c//5ucCWoLIgGTRe3K77VP76LayELJ53oOm3Q/mTD5J6j1hz+
44tcl3F2QLYNNgU21j9eZCobYiaTlmaUq+1tV2Pqu9TG7q8v8idvA7BLGEeOBS4OjeDPFzEtHLGT
Wx/msUU3sGL5KlIC5Aqa039jVP3TK3EBoQPUZ1G63tM/fL8Cy7ylre2hIL3ypsAztWvbposr5HF/
g9H9k6cDU4AIRHAuAkTLL+8dLgtzNbT6oEwNMU5dziGY4Olv9vQ/+zkY4l2BZ/GajPvLz8HP1+vS
ZQzSeE2wCIfIg9FgH2km+/ca879cPfBaXwmyrHioVW1Ejj/fuKVOFZmF1UHzc7VvFwJIsNS5f/Oy
/erDvF6EiuxKgAI2Yv/qw3T0jRyRsTiQIvEmukpdmM11FxrKzufGnNW7ARjmb0y+f3pJbA5UERbY
nV+dy5meChwbxaHcSPwtaE3v9MWoDwxsSQFVI208TYPl/9fvO9YSbtfPmzEFKbBVilK2LZBlP99O
153GFObjXjpG6sWzs+jfZZszIJF8bEuUlFgaaLKj3vOnbny19KH45mPvaAJltXLAVqHrtySdLHdq
KTcVJE47nJzVQfTveUQDeSxBSLH4+wkjtCUzicrYvJioLFrYJaRSjIQdBLV7mZn2LeaAYfpUzO2c
7wy8OPKzQ/BPhShS11FFbQN9MT8xa1QoopyzN2j6jf7ZzG1NEcvCVxY6nJ3uTPraH7nwe3lKGOxh
iUm09hEZUtchJpR6HeUlh6ttNCeMgolNo3DRUytqlpHhas8tCV2jXk6WeY1SMLyJaaqskzk2/HLN
j6QpeLetUSSvjkUQVFAbs3ls1jL56G2O9Jz0RvVSTfA1oqIqiWBy+iL9gammiZguI2yoRe6WuzQl
VyvKM13dQA5vMX66OHDCtlknJ0rrte8P/jXkMOh6AHYhIc2Sx4KCijBt4qCWQ1/MiowmPGUoS20X
GkbhOrkZtp5YsjhxN/sFVyKeBhwo9UcmVXmLQ6arwsQak4e+VwmC0DzpdkqlJbOPZjXe7RS8JOIB
Z37VU6NDnWOb60VW5DyhHGvUu6a6wQiSWhZFMDEUAE5aVP2Z8Anodmppca4lfTM6h1RNbRO1/lg0
QaNdGzlb1ajPk+1Mr7gZx28Jn5mMWjvVGRFuw/xYKLf9nHUJvEscGpTSB0VBmkfg7YxsDvpceDf0
fPLioGRd3oP8bq3Lli2YezLDaPeDt+Jm2Jj+7Ieuf3S0tkoOnmLn6/qxI/RJLHhvu1lO+yxZ3Tns
+eI+kwKYorIaG+s0emX5rIS3fSW/ybh465p+4QCwlrGNNkHGFPtCBfRc6sfUGTUrIN3SfamV107g
/9MxDyc1cqjpXJImgIrCl+S1HFEjkW020+MyqpxJoJO/UaaJd1p/yoAICEcltLuWbK+CwVTH6zHI
JDDQQn6knWRxk1Vluoxu6uxtW9PWOM6dSPKnTpPc7U04ijksfZw8Ioa0eBBLbY0h4Yg+M+DRctuQ
DlGBJkVHY41wK9WwpQEKvqSuiVWlrxXHpLTpaaYT/8s0xx60PVVRqkUT5Jdny61TI0om12HetPbM
FtJhVNvO05LuazYj2YpyfVL7jJVNMpVgjhh4Va4b91tikFuVec7wxTFw+B6ctR2YtavKe676GoFK
k6nN3vn4G7PYmUv/WU362kUMmukHtykxuKHAAcuA26rqJ/JeMP2MvoENCOO2vcZ9BiGuXFX+UOWb
kLFa+NxvO9etqwi/tf1RqbahVY/Bmf8EjaQw84u+jXyexXUE4SVZOFslC0oumuS7I3H8hyorcvxu
Y1tVu86RV4G7CZ8O1S+sOsSXgKMLzxrXXZe78xYOylTXkXk60JjOREWLa+5s4UddzUCM4KN5LJKb
REHcw5rKwDVgrGZkF8eU4+/78P83xPx3Nqc/7G1XZt5PULvn/MfYvNU/EVmu/8TvzRdD938DG0kc
JXiVayOFYvhfjhjd/M2A2UWI6pW4YlwPUv9qvWCjsa7k+Gs9cz3iX6vBf1livN+EA88Im4zFge9a
0/8TSwyHeIw3f9iGEboJijPig21DCFCGv9ZPKH8ymRRed+iqjKyhkKa1uZF6YRXdRc5Yeu8mGoDD
88Ksh3AbFBVoDsyxzPQFf62E18G0KXWNPVFEmX/OxHQdvNtbfT9vWZmdkqEb1Vc3yTvt1veW3o2w
EtJDhxqQjs0N0X9kBQQqqdpvel74U9yrfCVyrsfYEjVC53yZdMNa41HckvSErrT75CVzfee7Ulv2
+SQhhox4Mr71BSI4liQipjcQq8vHlLN3x65P+EwMwyitUcVDbWDS7ZAIak381Bej7dz5qQNAme/p
vtdSxswwQW0ggfHdAAiThrzFxGAjH3UcBN1xgNoLkwP/w3NvdxhoWosW+gFLRdLdONKV5RHISFvv
x3nJHvpWa5IjiS38+93F9LoT3igi+NYKqi/jF6aNFcofpDr7JFvgTU4GC3agE62hDjnCADfckLD7
MWJwW0OU5jIXnM3Fu9GQEM97F01bG+tZ4YgQWJvOFpuW7OiLQj2M1JipTIz6fXqdFkOHVGg4vbVL
M19HwlCOPgmP/M8K+zUyuagm6D4NJ1LBJ0ZOkEoOovF8utP4LzHzJIvPrWYHMLEQY6vF8VS7GV5K
PCU4iFElMzlQyG7DYpi19lQ7lCIYkN2FAZrnLn7Q5eu2BtfYORSBlXY1TNY+KmdPL3G3ghpuxy9a
S/hdCR+DXAgja7uAGgjBrpxMNBwFHg1O7Alk9vdWGnqxMwzExBGnQ4UpZW7tYtdX6bKCK7bMJBYr
HpUwkR76/LlBZh8wAOwXxANF9pbOM46P6zj2bc1qarGtK0X23KKGMQN3W7PnXPWuFwwJmcY73Um2
+pwxurvpZ7sUr7K4uo5GPymPtZUi3gJ9W2Rf7bEseWcLd6xvJ/aLnNErcuUd4t72AeDJVF1G5NrN
O7IiQ/4omrZuj12WpdvOoG5oTw19P8RwvaYjDXFF/zCjIkd2iBqzIBfRRpDqs0R8BwvTNmezN1ZX
hMMyF+WtNuj28gyyIPHOopaVBNzhb2+JNW9sGWafGftV9xJE1Q22rx0lQ91Dh0f+ebMxAFd38zDg
c+Cva+enIsMuViLQcBHTR2LO5/Z+rkazfMp8OJ8Rxa+UUVHqxnawzLKROj7PwSUF0AFd4ntB66YF
3tGszZzqFkPWoG4suZgaA8k5AYFWscf3SI4QJDy6FHA5T3lUc0VMoYddNiC4Y61PDHb8U4lZ3HtM
bKAaIzb+jfUAJbecjnIVphFBNsuuzHuVzhE2uKQ9W3ZOxmQxTSaj+J7pVY0YfoiZ2Rjmw2Qp+63Z
qkFGo9zmJbJGfRIPfTfqzbNCPHJBVy22Y71p3XKc8607+G6C3rTa5JTsyeGpmDQm6cpUhsgjz4or
YxLDe44dvAqcVemo/Cggh2iVHX5YVKGjEW3lWDMlG+p0iwHyl/WprzzsWSy8PYkylqDeqpjyDvwc
K9XhG5jYxLEcF8XecA1lxJj7WkIx9Wrw98XWas7j1DsKQfc0j/WuQBVSRV6tW4/bnIChQBtX25js
6goJvNcpyEJ0BuFY9LAKXgZP9dcngcnt4JpZi9Q5960fCMeQkqmtxXmu6x3CyHqjkZjTmJV739JT
Bpf1Qsqqw6HQDjZ7pGiuDTky+KqUn52ZnVn4qAS2hFgzNuuNGSKPyB58VcWNtnHTWtPvvlpKZixC
DUM9f8DPw6Q4XYt71W/NHBMvuEjGU+74RDRp0kSdrR4NF5m/r8ZAOibME30ZDxNCfVBzpv9UL2UV
UNL78YRZOhhkflsRiDpl3TGtlvRUknDtLL0XjMNGBvXQxuT0kt/aN/GW98+GPiFD0ZKj1UB1qWbn
3UB0dWeKhmIbL/zF0yvtpV+xMKCeRCkuNIzSZdkdhGA0iW36udBqP8Ls0mxx0iCxDZwpKT+Q7DOL
Th1QmtuL5Y0HV1xZLPk8VQ8FoYZBZi3qpNltFZfk4rrCuc+b5pWooTc0NNVFg1BeRkKz3kuEXx+p
7l5Upn9OMYsgFB19lG4E9PJyAksf6kuy8oC1NX8pe+SL8EUqpD4CQr8rHhg4o2OEm2/PFkdFUjJK
X37pnfk2dad4kpYTuZ2LajBZD6PfQJVtUzQVXgoFpC5PhZ7tr3GEh42jW3AVjqCbbsNmoPHipMsn
M0eCqevTjWUikSCAuPngHMb/wSYIhPNhnGF7+4q9Jv9R9zSoNV4LZNUJUgPze7oY57kYzE/z1Esj
ktrWoniDSWQl6qjVHacNXcTbuHIunNKruFa6xz5h1yBwOKxEfTYwrUZihGCRVhjKJtqBx803yEzy
UGtFCSRTJL+wNK5UlLPU26ZCxyFxlVwFoFbDw9bNKZwx1Q5mehpBMhwJnp3RJNYnS+DPpwKKWKD2
1iq1ywrZ6HAF+8iZqyFpP+PX8o71pG2fe06KwQzFIDSIql6LSe6mlJBkKW1cXtv63NXauLMtfQuE
Ym1q0mQ8ekm9oqPDO7oac6oCMZQfCeK42GPBh/y6vNqL296kySyeEl8mDJjc72Q0EGusl27zgyQ6
i5RcrIsvK7Ea705DbnzI1G+Otc188I1t3M+of5grz80XbnD+TXZbHYG52elWY34Wy2I/VvVixNLF
Ra9x4OFDZ0PWTO7ZpPrjqoYdYIzyxInzTEq2CDizk7pHcHS01rPxxqBoc/kbSn5sjzvwR1P66ERb
A0bP1FdnGAEmtcZQnA1lx04LgZyjdbZr4W7CdnHz3bAZYC42+aPUaxxyRg/nBdxhsDhKXoomua28
qbmKcNTOxRpFpEZ+0QfrNZ9c5lKrboZodtyj3bOiofQz1/sehzmvY76OnPm2o5q71WYht9HQwq3l
mSwJAZXb2wgt5WuljC/aepVueSYbkbt2uFxL5zjq/rM328c2Lb4xMPMiPXGbqB/WO4Rx7QmA23Gl
7xhMq4WtrbQ/5SK7I166w0yHtAQLiP+k81kellRHjaxD050sHM7g3j5wAaD6tbL+fsWlcByq/s7v
V545cfKxZasbPuXYKrcYBeNr4xlXYTBCgfratRXUBkFqr0R0a+sH8u8Ta+GJ3ZnTdU5vQKLToWF/
2vr0gWCvhMAaYyOfu9gnyXBK7fkW38nwFRq6/Z4p7W0hSWe/+vnFqxC/OfkWwY2M20kJ6D0+ZjhX
ByPtqLfSXG0DZVOqdppLL8CcjZ4/EPSJNxS4UurkuKkJW1TJM6ZARlBUlnrMJBpVkWVdmjKxwtKb
/KBq7Miv9bex1x5RaGlHa+rfqPk85GPVfLaL7VNZDdaNSMW9VA6FGNUppnrnsLgssmaBR1MnCins
fF/FRtp58mLXm0BZ6N4hygI2hJC2DnRnEvet41J/MiljD+qIq3b7mk86D3BBtI9pq1t92KCmjZiX
33V0PPaOXpcHdoEyGnsMfrTxyjQRIQnN6ktteZel05CilvPwiHbbeteTarraDLezxDgAY4Of+ZqM
4pCP8nWp5FmrtY57n68n3U6sOEnmFUtKqv+ozdnD9CGy5aChOyNH0TbTL7JMnthPP+eDjbdiqwp6
E5mzUuL1SFNwabFal0Pkd7JCBy9aEbFJHltZv7A+eSdFOmxobOtHK/QDaA2LDpkjEZhp1mMF1PHo
5DO/3stxb+4wMkYFepyntu/doHAK7w7oiH/xcFC95Xnl3zE4y+8128FmNIygHuJ51rRPK76S21lL
KiKn9U+egSruGqB3r9L2xS5qL+Cnxc5YpDvTo94zQYIcVGKSpjIQWWyv32wH704lNWXicLM+Tct2
12vJY+nbz/5QPaRE/X0Br7Ise6ZkALPm5rbWtX7nFJk6q8QuhhD8kXuhiqmCdc73UPGM5zJPqW8o
nR9p5ScfrAXL3QLL5ofq5oc5yXdY7d29SCU4EW+y/WY3Y8DqC+O9QfjpWONXt3atV6acZVjak4tx
bZpvuoz0BBaSvr+r6alTcXgKWfZK37rvpq/9RpMTaIQfcTezY7p66fdRaXpYNCpFC7l8T1KbmPHE
QXFtUTN+nYDHRLo9PmQ036Imw5FeNs1n5XQA8TJUqlDFxgUbqZDWkTNcFTT9ctu78rHpxxu8RXdA
6VvqsE4+5XTa70rD1aI2tR7qwWVBkjMOB7Zpfpy+L/38kUk1VUdneCfCH4pYIhHqUPczed2Xw5bv
9Uruiql4pfj1KLXNfu/gtLyagvnU1/Eb3b5Hh1ZtPI/uRZjUw0SPZT+G2UE+LvFJbkOePSinxKLj
5sn6fVXCpe2uwL4lic0LsOTVt1Ia3Uu5Sk5ltW6Edb18S6dCgLlkZEqXmSiYOUnQETuK3SeZU+6X
vhZ30ziyl8wJiePO2F5GGxXTKMfXlVJoj2DqZYFvk0/OHLW9q0cLxrZYwdSsTOOrT48z6kEV74l6
2XHAvwIeXhNyfWre0jkp7jF8f8K3kuOoLl5ENV9KC9OKaGAu1o8OxIvzsCg/aFcOt6SusmzM/Ulh
jIYld/XQYrs75Qb9+ICT9MPSz7RDUx3huTaluNAQv7biTEy9CMulpyHsb2fdpCm6lCvKwqq5Qzl/
rBzjKKpejFGzyqMyM8xwjvdtbmT9QEAUf3Zp1/csKGdDGyJib78MRRmTx/ecmfqH5HyLIao5Uibp
J0ekiNbLlHvGwOLq760ZMPgoxfnLiqVmrXbpJCZBy/eMLLvFStPq7nHVLflayzWJNMh/Ihk/6S1r
OwqDg6365bOGinVE/ErN3cgs32swsAOvb1wMHdn2kVjS2PH4Tv5QOGHZQ6bMTYB2EB85clR6dSPp
Fb/Y9bgnwZcl1bTu8PIdamfrGAGUe5ObiFwVGw4nJ2oJY8bU7OT6elHDmmFEptUgGuNAwDzw4PlV
4n0+WVWhi6Dq5lOfD23U+U7nRlfEW4vssP5ulelpyq5+CKq3GUtI6K5DVgfkeLlngqYCI2U/yTF7
IrtvKSTWfowgHV2nGErc0antvvtaOaDTy5c34nHl2facObR51lgwU0STIU22etc4czaFuiOmM6Ct
q7Y/vf2f7J3HjuTImqXfZfZ2QRrNKLauVXhouSEyIjOpSaMWTz+f374N9J1FD3o7mE2hgEJmRbiT
Jv5zznfmuK1hfPo5oeEmyPYMudJjMbXjsVRxC6miirZqBnRZGa79dTxm57qX1Y9U1SV10U8EsuHG
JPKMLtwxE7frK4IkE6rJtKwuzvwdzhz2F579j4SjKkKSN56mhEK62p7vmrTJv1yWndVcl9fIZoo+
Eqf46XluD6xBbwNdFX+kmsMt5j7ILqIG90C09yN3UDvzyTtCZW/fNJymlUK0WuGThHgRCD6eGE7U
bJm9G1veo0w4OLnz3G5sPysuTBCL6zzyDybZFIbBPQfJob940T9Ix/41aUVYD9wA5/BiegEZwTJl
qR32kifaCucTV1tWxOjbm3P5MJV2tu2s4hhjLU6LYstuQvNGQwAdN1Rjd2Zel1G+3I9FVV2awYsu
3ZTO9SrOomXVFSg7xHfUC/O8YDO04UVBPtu1Iu3XQtf1qVbNsspdaKl+VIF+6ION7YTRc9Ms0DWg
ak4YhPG/rgZJ+NwZxS0KFFettykTAv4IKMStx04uAFeq6p0WBPlQMeXY5gM5AwZEFz9e2hNM9mw7
MxHZ5gFVcOkUNtcJy+91Vk249Uq8xLNC/sfo+jE1s3eKPO9Pb+UElWpuaHLI9rnv8SSG82Puj+5z
GIT+ZmzcTd6Md83SRXzFqXsTUAOQhTSVcOyaU8oQE2/mCN4OLWqPiSJ1nLqSfip/zJ9k7IVqhbUM
VBf9wc6OYGm6M7PpBuKS7tQdWiCTfPnJQRnSROzrzCDZO2V1pA6+vZtIFrXriOjpjsTcRqCNpiRv
Q/8rC6v6EHkECSYjNCEMuHqen76jsv10iyATrMYMdOoyBb/7AsF462Jlvmq5fMFoeiqzWX0UWRVv
OSC+urIWW80l9CHq0EAnIGmh29NsuJCzzcxXhxqCwwVsoyTtR3oq2Q9ef1QgZYmSoJSIThNm5vCJ
yWyu+RWixUVkrv86HCDuRZb1V8606kGUcfPim+JPsqiE0Rgm8FVThsWxpnb7WoHCLteCAhhKxNyj
38r+qepGcIaR6zPyQWU2gf6LlHNI25hLzVR+u4N6Cqo0v6KZXcmzT4i3Otr6gOGK1VTpP5Eal0OL
yW41BtY5AcXIpNnZ5YuwOeSWR59vE7AjxNkSPi9gnvIW8Rex2gyY9DtCpj4G7yl58NyGjdKpLXEg
Hlnqla5V/9tzMVOvufy45apibOBKHsmj16fZ4+BP1h9mhqlY54kdTBjdBeHlZa6KB0hFlrlBEOTf
BC/3J5tF7myUrNV68ovhqMuWUBJvMamJKvdWs518FRIgpEaqWlWSgFivRQYJxY/o4O2dPKoODW1z
nLdC3oVVhmOZc4rmCuFQXA2TJsWAXegeH4zoR4OxsanOMVSi56zqGIxbhFiIBoEuJN/OxpSZgpNp
mMpo3dj0NMDHGa5DZwHmzLy50Hjxe/elkCkRhNidkeGq5JY/H0jljmB6u2za5X0aPQxd+2Z8ZGVw
AD9+MVFEMatMrIdG8EhzohIPzgAWcR2bCRx6EVlvtZP0f6RtI9zB7QOJqQh2D6uq1c2HNFZZEjHs
9Zr6PAJ2VWzzlLLopS9Ezd1zxgWC44e1POJ+SxaSEjFHpOjWVuWFMvxwrfkqpOogUiVmB7Sn36Cu
sCdVMKWfMnAPRM1YY7e0h5MXacc2HzagUq0jqidHSQgXV7grmzK0zMcg/TkhDIz6jbIRZeWG2X0O
j3lKnwhVMssa6mFXxulZyWb64roRHHDcFWDK4qvP7rENBiPPTcWTaGXWS1H7d12enEXa7HkSb8nS
+kl51EbzhoeHslTqdZnLmX8U3UF405nyI7XxdNUSVqkeI7cXv1Orek91G2zhWLzNnJ9/bkcl4Nko
C8Y61zj/Af21CaOZLLJX2dBti4S4yDqaJxVvY64+hwyMZU1C3hzkhHMedZMwnal8SMAyPWaAqAAK
aZdPKQiOYhScK/zID96TIPhspuhUm6Y+dK4z8ka4+Qa2frdpeiaCvT87e9GXTCBcrtkZJwN72EHg
rXaenV0Xor5plpxk6QwbHbjxuu064kEd5880mO9weKzd0DwDVgMh5Mpy5/qmOcxp/Yxj/kO1zEiB
QDCdRtHijVLJY1SML3WaNU/Klsln7CWMMdwlJzhKeCQwWcinXIbRg7DwS1MRVTYvZPK8lgE3DOB1
nfpxCfhpEU9q0ONlxNd1dJqxe1Q4MLgP5O7A82VmwYaXuTunjE9esWRHz2VnbTS6EMkLZH3sMB4J
SXMLzto50+S5GsffmeXeYG/FbADX3kY+EI7A+TCoKZHNbTM4hHGCqR1WM81CX3IO23eRdm2xd5PZ
v1PY2xCS4GdfRIPAuRotnewY+fE/8Zpgh94FxczFVp1xX2cb8AyFLhpMM1d6SZqAKBWzP1fyO2hG
vOWWx8NjHaPHbdjBlrs1/ybl3vhed62pdfnqxxLbwIRI9hY7Sn4YWs7u5MBWuoGwlR/A5zLW6Eo7
xWJjktc2cgp/nbaT9Uu3408vbmaToGGDY6wmuAoWbdF9kyZj53FHRy17tj6/I6YfZPd+6nvLFsQY
OUHjgzNm4efQDTwoWw1jYz/kWRvGR9nRP4vcX2DRqI58cu1jY43Te0qFABlj3Sa/sLDJXYqXBIBP
Zc9nVwYMSh2hy+8p7/sHfspkZBDLUg9qziJoKrPsJUc6LFfAxCDK4mUg3zeeZzCmcHZx961h1gUH
Y6cy3sQJ6FJKmtLl4PJ3ZaSelmQ71fE397hT71I73+cttM6Mm0K/LZh+axZVT55w+EL2kQAdbMCB
BxW11f2oVXrEYeI2ZJnHhcLheRAfoR1md3M36L9T6nl3GJjqHUdC+adnOz7zeKwzJ7Yvxu+J1HAE
gz8MlTizxv7FE8pa+bZvVpGdMR1M8Kkw2W5fGSgXOfuqtM4swOvFKrqV7tzwvSdnSJiq87pnIerw
d2TBhdp0TU7fbpyPDSiCzuLv65dgFmfR2xA2OEf631bPd3nCfByKYpty2DFbAUi4XU8orssJ/uvw
0EwtclXQcObEcjRt8XBVjyC7xHecNcfIL/iUmX2BjRn0UxSW+i52k6ONR+Oxxdm7zscp3QZIRTit
Wjvv2MI1PwvcOAWTWG9j4QZr+Cjz7zKwZ73rhny6pGjw+24p4nEdQ6x4pfUh++7w2QQb5VTdtnb1
a86oiM+JuFPsW6e+I2Hq4blF62IvKBpbIF4NTvvkawojLGTpKxNzIFuy/WVE+t7S+7yb1WAxHQP8
fgchaNzGM+onvHgwzxwOtlygP0ozUerjOQOpyxHZwyqSLdB0eeGFB+Uo6iYnyln6r5kZnzKQQ1+d
2yRXgvuXNLU2GnbB1m310bdxAgzTQyZaABRL5D+EU/vuQzq6y2R8c/Cq3xYSHQz42fszVvLTn8qO
Dan5FczjS2HVH5D6qm3cIyvYbcXEVxS22cILCdjQarUPJ/jBpuddsdiqtnCai63JoTaqMRUMQ7QG
t3MDXbHyP6c8pTirsoWbTtZlF6TwT1txp5q69K0qGPvTIi6vzlDGZIpbRaSNqz0HArurqZJg9A2Q
Z1aEk5ul8qe9IPvEoC+t76HKfaZtqY/YPLDpZNqEzIBN790IP+xBa2a/TP9u6PZz26VWy6HEdV7F
Up4rpz1X0WJdBQQzTo3M0564GCJ7jmXvvPbNOK0ZQf0Fpds6dzYz1hpaiSX4m500xSAvZwacZClT
UCubZlEct28Fn6euhoakeMUOtgC/sPZCG4RJhUGdq62OfjujvXgkPquMZBeXFHZd3jZOl5wwmmZ8
TgluIHuRlgjjOHyWTcENMSa+zX7EVAr1snuzfZEuACxKommRqY5C9Ncwz/I7OTYYHkeONmwmzkcH
nHVjZoYevvYACgAMxJgUvOEQY+2ymHkBxknw4zspbPh5ZoDZuHqbAfG+LWURKhJ+/fVSRbynnLWW
waQPDD0yzktyG7ViM7DGr+EK6x2Hd6oXe/ZeRHpoIibcKE7HG2JuctM4UEy9JPnyQUjvZB/pXVj4
rAMBhJEWksU7u4y+L6gLWCvgFp/OJJsPx2V27gl3pb0G4IpYrDspM/l06zS7ixDumUd65VMrdbfj
c7CPC4Syj36yphNcPA/NIHwuQvkXoOtjKNShB38C1ksWfxHzAECNfTtekqCKYAzAlCOoX/G85wQn
w/HSmDDcwMnMjx7vHk9B9NSBzZr5IPp+t4AAup/gUiWbeoAGsSqssHpV+MvXI2jA+6Hv33KpsmfL
zMylAIcX/BculDOYAhWqx7o3zSWceu5q/mijKpZp5Ds7rbvB27SVi1mBCszc285crrC6Gdik9NC7
MfeKrMF700RL99wzPAH5XU/ZFb8fkZRyTGFYtFU1IK8NLRtAqzvqLWDvR/ISlqpTL1z1TMRAavIk
QlbaQzJzPDpJCG84xQveaxtzCrFRFkB3mJv9lDtiX3Wul6yHm+eXH9iM0L6XiZlACDPaX9e8Yd8Q
fewb1sFCry4XTDxMDtpRr20Br+CM7rmEEHg690wEPiXWm8sR3WXR9S6YeP22SePmar1g/78arEj5
hiYV5oK8qVG2rqOseJ0nk+Qbp/Kd66Aj50eAPXjMSJh1u9CJm7fULxkQj6rINkBy+4uLNbmG9j87
n8Y1ZXEJotA6th4go01FnSzuKHwV78j6mHr9sJ//RM7o3Ndh5FBAUMDqhhvZL/XDkFvqaBZtQ6if
rdxsU9efzMWyuyY5OGkAGUP0ov4usaFN23hSvMxVInAY+QZXCOYXsJ+rrCqhDjTEA6li4TD/nXiY
l1YFOFm+gsIyR8PwweEI3A84DxDCMOsghQFW4v9c47uZ8ErBRwo+7FG3DBxGtO8Nwmn10TZZf8He
CjPWioEPkVEGHroDGtWP5MW9+jOrCcFiER5/81PUzCdZY25KWlDW6ygUVHH4wJZwm3UVPFxb4QAm
jzq3ROI9jEzQy7hD3mai9m8bw0Z9avylGvgB+apXRk9DuZPR6Bb7OQPrf+ap5rKNxZ/bVmzX/hVi
W50eGsIfLCS+L9yTBXgYh2dhc1KK0hFUvSnlrB/TvOFwTeIl/ruIYHqJeif4gMszDmsAGnV9N9PF
mh9MPSZPveOUkKB8q+U22sgG++cydT+scN0lkileAM/CAVrgnTPI40WIGk3+ibOTrqO/NRkB9csC
X5CwGE/gyOqRy9k6l1VtjjjhgnGT97GPHzqvIGSkQOnWwcQFduJu/gHkWsasisXowkkqcmu1jN1k
+JB6p8Z72mqswhjquSXZvYaPh93ugrOuglMJuME/LzXUpT36StWuJWSYGA2QvpVfzLpiKkei0u6e
SNJ1wZaL+oCAWtGs9YyJNyl3y9AU+qfMWHaf2jFhIoqTh4jYrzqQCSBXgPYxKoFaykdi1azQMuak
voMpCiZDN/3crKk9RHHTQiUclCWtiP+XZMq/Zw9oZbIcYhwSGLhLo7D9z87H/5KBUbEqqi6q5qM+
JycW/3DzTwfo/zfD/i8cq/+dGfaZ2oVf2b/z4f/5R/7DDSsl9lWND9siH3ZrIuUv+5cb1qX1lmym
pbT6Z3spOZ5/uWFV8A+XQj0aTanMhAav+UP/csMq7x8UbNmeL33HxcNq/c8A8XTA/bsblh+IkBw/
gnYQHeFa/B9popZlqMlRENZhU8j4M4wrjwFbYA0E57ioZ2sjAT3jVHQTfNeOzn/7aRhhwLI33tBX
Nxgbj+8chNCgIYv4e2yI6ReCc3kMR1l/ViPFW0lhBx9REU5vRdo6a5gBL9poDux6RrGfTPGyiEbv
R/gPa6zb2R9I0SCoVRZ/jLi+n9ImBcUxRJcCMt/BqrNp69HZhVbAdGcsp+GNpIFGjtHiMTSduJgU
zsjK99p6p72xOEgLRvtcc4pRXfndWG8Dv0MWfeUxINJU/YwpyPrsIVZvnDWKR/rua0Z5DPoWzltu
P6rfhkvjs2qT6X60YNpSySS7qwdU4zuaB/nUe9XyiDrvfpB5ZcxE7q3YywgOWMHWwDoaucdgcDs8
RQ1nGO13JwNY3tMBe8IkwJfA1jyEFftMbXJ3R/EwsyfY1Ydx5CQVDFJdkRLtNabVtphA0lD/vStA
oLOw+5yTlvS19wxOQ1FHOeqzFU8XB0jzuZDjsqsGfP29iuJLr5lvhC60wlb/2KCVNt1oTw+4paa7
wSnKS0g0+HY+vXnLkgffMThgHWvaWQa5cCQ2AIszXjNf8M990fIr5D3qR9S2pypspo2x25NbFAYK
tvoNjtEFrHU7Wbnli9BC3wWsi6u+6qY9xq/yMklD7MBJo3dkzBzTC5wYBHv3NU30Z01Q60F0YbgW
tedcqijGSZBQHzb6N4KpX3JWmMv6J0wNSbiZRHCmF3GSRGW2TuNUmCre3NbMUHrS5tEVvbwbnQ5f
bND95UYNvi43vX1fUBqyYdJKBwE/11bUfbvB02adl0nfKBEwMJ/8qOzX0zAA80Zb3A9L36yI8vB9
0Dn3Zo/eSBCBD45jpfXutMurtrByWMQ5oC+29cmUPZgfjXYEHXZNQov6lVoSERlxQhpNyGMtJzme
8BPJnevE6ss4Y71vY3h2cWMssjf1tHW6ZNkP3HhQztzwPq38+s4AkO9IbaUFU4p0+izlNB+0nff3
VelhtR7myd4M3fxu8Uc40yVRdCS0gjfLsdQhnDvvwPg7wgamvXvIRG4F6Cqo3kq13FJjEC5Lv5ih
Ud2OBpP0Tn0gXFLdC5dAPJKvNJfwRKftfJZgknaZCJqfTkHe6oy9YBiK7FcVOc2trhj3AEOQ8tTk
3BBsTEy7KM0+R+YUqxKcE87P2trmUfo0BWBAuaGPwW+enl9BKjJAkRM06LGqNk6L9JrOKC+YO6s1
nq6SQMzEv1nVbY7qfi1+nPZbi9Y9UiqCoaFM410x1PW58KLgCMEDCi5OGIi9iwvmXnmsQBk6DXCs
9r4cTfNcMC0/WR7DO4yiKQBaWMDaxskQSpXWq9EOXtx0rM8OBVBgm2B+lj5+jpUbSnHs8fyuZGXk
oRx79SsuqapihMyweyL/lGPo3hHSqs8+7IRnkUhucLm6yKW6o2w4+ZSu/9RW2ScNc/3WIEPDYRXm
gmM6Poosel5mmpON697HYOzWyGKMI3ml8RlMkDXHod+gKMP5q32GujNHXCHAxEEf5husRq790oKo
HynvW2Xz/Dq1U8JlWnnPZdtmy6qxIgCHod6mPZcLaLbupaE9kHeiw1UEInjaVmYAH+BaD4hu3wBa
FSDe7exJQFfqKxLE/4t441bEbxxQz5Opv2HoqGrHbOcCnjs7xABxSLmJBMpely33jj/T52GcI9Vo
W+0FhsE7F2irQ/rNEgYbcWMTaMSFj10MxHrQju8i0+nWshgqYvsrrZBRR774XMcAg9GlQLgZwVJm
wzmyZXnsXaSRvitv/PP2mQ7Z+9nmCAnBSG5bJ8O6nonhgeao6N2CWrbtpfhq66VbTZH2H/oidXaN
W26TIfwoNU5MiRmXNBL0HhUcXOWfLC27ZzySOzvO+r0YvaPX1bsuEtbZC/i3cI5ms7WiG0wZPWYX
jeI0OcFfhhgPmmHmtsEDhDIRcQqOmMnZo32FPmpO1NfVG+rwQBpy0P/pcDNvsNFV69Q1uOS5jkSu
zi4iszrcYbAEGYy0fPuz+dvI7DM2AJSUKOSLKEFoca2hMGEa/yQqAvbn2fFhUGF+WKTQn4mb+JfW
xN5WuN68UlCsgAn72yoc6pw+CdTSZNAnRkXTkdFvvQOhWF9809/hlJyZqzPVc+xHXrId5M8ROkNC
lZi3XBmDYmW51Qu6dWdvb6i547xw5oVwZbc7f/Ch9gyqt3auiblH51X8N6Al7RUiiznkCiuUtzgW
GmT+VZES20dW5B3ddnSObtz8HWLiY34coHVOQYUP3qBDcAW01m2dRGfhA+1qO4/IguVFREAo1Xuq
F62uUdCTriHcD4m0nPezHxdPukORH4uAsTCUp7uCsOuuZkqAvy9Hk4O/dRTJGK2nse2YOabi1RoY
BmjkAuKdKbsdOJQemZymwNcgStJq5SMr/ME4dRuqzkBZm3qc1x77xHcWao+2vU6dgrIK6KQQ3Vu6
MPBOB7oik27mkngrZKMcSkXn1MqjuyLN/K0rMNqMw4VcobPjen7QvWXtGNPXR6ubsazLfqPS+Fmb
Sv3ORhq5XLbsYw5h7oJJZ8D9TKYvtGgzbfjwaXLJXZoaHBHeYx/Qh5pDFqhb6R+G3I++cM9y1POP
4ALOk2Q8j6vwFs/BHIGX1ls7Bktxxlw5S2A9p+WhCdJz70u5rhcW7xFddxdj7tbEUiiTdxgLGbUS
7tTevP9khPv8UvmF2tVtuc/66bQEoXmcB9d77PFw7KZirHZuNP8ISxxDAA7EDLFHzQ9zd05wQNvU
QDom3VAs9jllrUMOpgLEWV79aGLMKuZzpymOrXiQ95jQ3u2MfgFkHAIDpDcseoTmscHI1a3DovsV
4N1ai2wQe0k1jl3Va4/MQEHBQo6HYcNta4Oy8BPbAeGulIeYd2SXcM/fiKYP9uAtt302ftfiC2gZ
8hH3venOZyvbOAuiIUr50zzrJz9sdu7EJzm1NpJ3qi5pn70OUbOAwqxe/JheU2bFj2NUnf2ZHoSk
vA/mmPLCRWNMxzuDVt2g3eBohDuJ5hkNv4l7EO8YKWOwbqqfkzOBdHyYmZzBodIXRyHDn2oIMLac
Ztnf4XrjwO8gBwmreGro1hPNAH4YP3fH5xzmHdAgj4Um9tgfcxr0KIQhDxXQTgp2bk+m5yUT3sFO
tdks3Cfuw7j7HY/TGX8wVQhz4W5HL37rlLPNrP7LKavnqst/D030N8zq7Wilh7hEzDRDs28STixz
NjsbRyePYTj2RJSK4iIs1+ycgcNvP/QXMvq4VKyCdhC5i3v3Rtfsk207cr5GcGJsgyvgOeD75kbA
pMJ1SIAP77FDuMPYdv22zDTdxMk1YnSFnYKJQ+Uzf6WdvWQes5pN/UZg95ROm4HU0GrWRYdVOSU6
Fh27XlUnm1qCe3Jf47u8LZ0UywTmW3TOy7CUgkosO7kI3mayeydDgHae+kPT1C9GJ1A6O+IDRaLX
RGfSa0nU8CTsUh/mOFLpmicv+DA1LocWzvjffEn1Vz4xrrv1cs3FiRM/X+pNDUGHWnHpX+eTuWY8
itwvpnijc+IQZRwxfdOQCP8MTkBfA1b0dVXzpMOz2zk1mh3zuoEDXCmuY5OYDRDyb367E+m/u2Lo
yEW47XBvDZn/2mH54oeZLLpVNGPcBKZATdXgOuOv3dCliXmm6Nt3O6VTh+zhfWH39i5e8mo/dDXS
k27wvqDV3tVB5L76+NxXHF4MmEqv2nbmaXag5uXoGZ2/0cwt21RinqOWFoT50BGOCnD68BUulkt8
f4R3P3ewGOW1oiDGJHUFRrpMTq2f7Och/ZwhF9zj1gGhmA2nrLytTqQGdtkYbbvRv+L1sM6tGupd
3NTA/STFNHocYTnSzsx7dzd7/Rc8HHenpuWuDdA/Jks5xyHNMQQtY3rsa/+BbUCuxBKe4a9X27yq
p3cV2twt6vFPyXSKG0+Eb6wLT8OIFFU0NE2N5O849jfTvoqduzhpn8DGpztuki6vs1G8J8kHMGr2
j6JFIqcW8n6wOvejRW3jgh6wvglF7lsgyCYw3X0n4vfKHW8XuNGunaoXlRdvJekIPjR89nbwLKsM
A46PWysBliy8o+/egibStV5znnOyhor3OJ/RJMaCjZf+HkZn/JwmaByi7stjMY4Aocv8F6XChqUM
926Wujcve5dsrWSRP0BE6DniJpmk+Xos9d4qw1OZVflG2EOBSd5E20ib4t12g63nKPvUar3REOXZ
iX0W19R7k3ZEQVSAnb9iiJ0Hl1gSs+oD58YVo9XFW1hYl1g8DbMbU1Sq7/CDUcnJ1LUFq7ua0by2
Xeh9hjx97DduftdUAArprfnpZP/G4ei+Rxp48JblUerkrEv1KVOyL3nJCQgb28b3w5CTSWrvY9t6
V5Rn0tZKKCjyyVXWzVhyHareKphaqymOrTvHBavJoTffc+w0f/ykmE+tg8s1UbBAjc5vk13d/+5T
G64GrynFl22Q+8e5FOlH5fvdnfYAJHjkN6MVEEWeeEPNE1XNct+4igbYAinpJJmVfohlcN6XuSUm
4ybinFCeB6aCkE4aIUjBpl72c1wEFG4s5lX2vGNMjR345u5Eh7HlccicBxsdPCU/PwWFfi9EPlKP
FSQfcdoxGFhYpVcwjnBMetY8X93amXeVlbsveOp/+qktjhRSkeGriB5kxgfXSR0tZ3gI0n6EDwk7
XXURiaLKre+8DZguvJGIMaR1KuvIqpe8lNpNd9zySEbjkKEeowP6oUPVXjtHYi/2LRIZYdY9Ym4u
153q9F9RcO8Dd2LfUYM5vYByLA9WhDgvtV4IxvCSMkFO6/dkmKxDZ+Hs4GUc7nmhpCL5hNGZSHBB
zxs03Wdbh9jfTMX0HxmifkInT7/61rW4fTW0T8Qy5SlrxVMV1AuT8x5PQ8u9vqEEaesUVIng8/F3
kRVaez9FduuqJMcZAyp4ZcwSPwYy5/DYwG8IJrs656KFNQlz7bsxjne2+zY48Sky5Y09j8bQduB/
urS8iIPj5Nu+RuDfTKVCbzb+HDor4RtCUpGccK86za7uRyIE2eRb62IYW042/5zqTx6IbGie935s
4KN6PkxYMswgPBPtfrpzYd01Udet50GjYNVZfcqiQGwaYoxHWU4e+1EW7ghgpK+uin7VzO8eJ2/+
pQUTwEqBgcJt3Rw1cswmDxwKT2OWK3C26vYV0k8AfSOzqg16yaZ2iruCEwqkCsZ04XKEtsSYZFnL
gis+sYsMxjH85BeFWkReJN6Yqbd/697DoK/GgHJhvRwSUfsHbYzZx2VvHUEDOp9l3WP8hVBrlSil
InI4WTJPEw84srtgTXY2Pgmk4kMjVPBTWRUp1r4R4NPmZNdVst+7DZn9LRZR+UrfsH4uveVPKgJW
K1T6VVlGztNiMUwamNCsx6nBdRQyYmC3p2qn8JtD7U3Dw2SPNW4I472zuuTvwaCTlygOvatlTfG+
kq3zFPYRa0Buk41LZaCOS2Lnb2XtXqWKBD/BVN5IqWM4Pmc5duq1bytB5iuXU0kxTlpc7ck4746O
7bvJrwtc2pHiBlaFqXVUZW3f0wMxelsVzdklq/rGW6dwU/aeN1cPEaHZJ8XUhrEARrzPsVJ4P5JE
Rx8j21a0wtYVPcduCkxc+8KyGTM5kdyCD+7OOcyU/0A3/o+0gf9XUaXAJf6b5li0gT/lv2sD0uaP
/IuU4f4DhKTmkhCAaQyUzez9X9oAOAxP8/xLBxCgcmzIW/+pDSAbkEzxuJO6dLr6HhCN/9QG9D/A
begbUMuisktJ+T8hZdhW8O+kMZZ6NDffUvz/b+Wxnnv77/9FNJpwVrro4gxJhMje+tyj4NPiBk7B
na55uIickwenmhuCFAU7T1bcLONeT3bdrQJUsmgVMwYBX08I4RD7iNI4FeLmvom9AsxMX7rfrObk
HIS3oDQDHpoP9NhTyNebtpZ735G853hrKaJQ6LvMNaL4BC2rxd3g7JUJWrkv4yx5jYjPV1ujKjL+
Y0FKdqVJqT9xiE2fJcXIMeFUJ6+YYFj4xwq0QzrNytS/W8pp4voJRTAlUsyol/I6p8Gfy4Wz3WRO
mN33uCtyrBEkPA6xG5aU1gaJfa2M8NyN7DkIh77VFYydNU545ZXojeg3v+yUdmlOpikhAEE1DAZV
WyUluIp6IXwTwYznAhUHFw6JzQXdrrjgV8TMkvFbwtiSLEcres3pE5iWFgPp1A9YVwAC6G6Ny0vA
ba892mWnpuw+CEnY9IFKgkqHGrLosKmXdPqQi6qfYB+0NLswICAKOGfDR9g7qti2ftB8FJFWn54d
6TfC6OMXycv6ngYy2DvkSIgO68aJxQ5rP76+ekqvjgnWRLmxmqM4h8FyMNzYOobQjI0r/y2IMPPg
WXGEU1BamOyIXKBoiHsv/Cimh0YBizdyzSyM9gl14KdgUaSsJTm2xCu2TBkxY+2SfPqFq/PRsi8V
xsfBX95Bq7gHWS3ddcHpcYv8ME1fd7Kg8MQpvhfBih4C5NLk/4xd32soGNTn3NkUgbkFDpG+f7HC
4BQTlCP3kZrxoY7ecjf5o2qCQZH1gdv7Ugxcnhb/FrriI57Id4VHe8DeMioHXEn7UWeYb8r0yvxm
36j60SYZ4Y4+vp3gf7N3Zrt1I9m2/ZVEvTNBRrAJAqfOw+4lbXWWLMt+IWRZZt8H268/g5arUlL6
2tcXuMB5KKBQmYZTYh/NWnOOWezBO60tUbKMPyUnnLIcWrXRFbu8oTcN/WgPYfw4q5yAA0mclPbr
bQJMfInhE7c+svcbF8LFI+qoE0mCHeoOEFGRlxmYZKR1GxDqvSlsa9sPpneTIuxhb6v55lgkOPa2
x1d379pkQ9p191WkzbmrqCxSejorHDj7LBeGW4Sua1R9uy6gmB72zYXHUt8OKX/19Yn2jw3K9XZA
iyvMLVF/lMb9D1CK0WRPNvJFtt1gogbzg2tBew+mD1lqb3OC+myKA5C0J5GtZprv8HxAPlAPpfO+
NjryUNi1ontmZ/OJhe11gGJGesPOwCxF/4A3hIxN3OBDcpG5zk4RD0Oh7rL1DZbQ9sb2xx1upF2s
3DMVmbtxoORjJGdhjAKyMHZ14pCokWz8NlpnZnFwZNptbc7FRnsM7+2mM95H2SObhTPpJeio74WL
bMuvH2nZrQmeiYNs1yMr8McDvZBHIqw4rWjrTZrw1LjtP9I/p8kVIE24gQlzW8MLoefgfzYMqIVT
ftbDUMBa0LPpFvnGSK8H3ybclz0/q/ueRsVImG8u8YBU1/lIFquLLqVGT7tyintX6+OiMFETqsh0
THa5rsSJdqtNT8Aq+JNxM8bBNmmdS5JB9m4wPDndhN3b7oS4pqw0bISc6nUZplexrbbBkB1BjZzP
pqTX56TZhtcx31mgI8/QTI3vRn41Xr2PoD2tlUr6c/K/L0CfYDp19uWSNYMKad+m3Ykzq5ucRlDf
DjvhC/oll2Ycn/oZPcXMYGnI29u32YWZxZ/9CFWLxe6oSmMiiGSd4QRgTPd3teee4hh2d3PA59re
y976hPfp4BV5clPQ57Jpc9m5vK68+NLMj05sHsNU7as+ux1L78IrGlR9kPp7Ejjq5sZL+nfkPJzY
Sm+t9sqY2pmq4rvB7Y9NjVmfukFfMAe1XXNDOOU5Nl6Wi+HdJJt3NNkw1e4wt7wn6whu2IgWfV0I
vR+HVJIHROUqJDqEYETIclQWk/hyTurjnJjHzJlodfA1Du1uqq8R5CJVN44OMSl+ht3rkMvmOETK
WxOdEqPuzFd2H7IVoqJBfpK3LT32J5QafZ8WRt+geK4rtZHVxKCS5RqMvNx1IvgK5IX6enqIBy84
Kwq/eSBxL92YvTqgP7v0FuvpvKzN075/TzaHv4ro0yyAOrKuS2AE63bYA/bfz7o6koC4Z01JUOJm
1pexdo5t8Nhk5tGi5KkKgg/YpKcpY31CDElHPyUS+5nMbSiAR7qGVxbZy6SH7uxh3DkVfSbn8yyI
cy8uvfFSgXOY2yszF5vBPCNQinxInHBVdPBpE6RQU+zoQc5Yt1cGu611l7aXaTCiy2/W3mQOD3HV
Hm3Pvl8EmMDp7vPYOsOkR+vIhmVMcW/S8a7WdEitsQHFclIPxRa6xO1gZ+ID4iZ2nt4RCTPcguoy
75bBtpQ5wlHno5obwWf2WNMKSkz9eSYzYWiN8nNjT5vWu+tNGgsOGThKWKs2UGrbThTIQCatgqa8
j4xm2LSxeUXalruZ5ivfgndBOBQ2Yjq1SJkjNNXENsCxlfnMKBg/oAl/EFhfVmZ7CVPhXGgi9RjM
LaucKbPZlDvC47L56sLBxyK26Cx8yHvxfWN4PK/0GA61dW1k/PrpzjQ16Rkj5IeLGUfjyqzpeYHS
cBp/zQQ6Hmhy8KUiB0OXDEr5vg1CddbM44k7OCA7mq8O0xoxD+jwakFQNckW03Aol7k0vSozdWk1
H+wcLxYySZ8dWEjcwkx7/VoHVyr0PoxJekKte7fItcbxs7JIkLLL8aw2kd7hgSLeYI8f6DTxw9uk
gzwqRhA+dME6e2E0RnSnpmLYNsR0+L58bMpqEycV1dD2otPUmwy+pFKfpBNq8lk6O+l3X0IMqmuH
iIxWdadDldLOA6kDyIXwhcm6xZHJtxkM04nUZCqr1jmGEo6Nx3yQo3psDiy3ogvc/ADeNzSz953V
06qkuJ9QEYnBCiVfyoAoSos8IPxZBJXljLnjQ+5C4Oi5wOmGmNhdnWJMTT/JhEBBVXysSFzrKd0r
F4Hq9Ilm/OLfg/3UX8dtsoX8tC7Sjw5RMuOMEXGML2rFzjc6ZpqpwMUKqg6uY33piGmh8XuS9taR
PtcpAcjck2QpFq3R/ay9FvUpsjKHcFqrcleJMV75RBRrgwgt2mkUZJmXyzsXsXISf5yrDxHtdzKt
4/wSqDJzlEBIYe9CinppWtLZmVpGi/JiyNljr3tbCx6Ze6roJ69sKo0HPO8niYBB13Oh01msvPum
dm4GqjcfEOrQWUsOrEoOjYP8jmpI5hKkSQ86ZENgtxOZSgRXhV8QqWxgYNBQwkac4TZmch0pIg2c
yDiX2yKgqe+S3k7ZSIFre4/QaTvL0N6p5npg3X0dJ+DKUfCvwArQbaiWaNJanlepuOvrJzpg+6mk
JHqWVyDBgCT5yPCHxN5l1WcIorBJj17/MJbbiZJxgCKI27Gn/yCLp8BBy59f0ts8dXQJDScL75G5
71FybrKp3qZA7/IpDxj0xVbb9g0+1Q0N7xMXCpSVDd0TsBvGHY2hPtPb0knoHMwLEAYfM+J2bHfs
Z9B3xh5biHuJGFgaxVWMo7Cohb6LUUueOPTdfZFsGk5hFU2YIQqL6p2n5U2Ru6ycCM1E8ePpdT5S
7q85P9J3HuB9OFQHKBoV40SalvelRc4NZOHWoc3ozxSy6IBoZvGMoEWP1g/YVB65136m2L0ehfyi
u364xk/BrMz8E9i7KQxObW/pSX6qMZLT7woQReT9WaKi88mC3zFBD4GPuzZnbJniKfdYwcAbHxsA
LAFLoSXcvDVpnnR8QUEwHwSVZM+sKZUm22W9Ixa08YLZiMRuqJPbeORBOTiZx89DNh6yRJ4nUbP3
Kn/fZs6+b55Cs9g6sdy4wSNswEsth12IRS1BjIx1aR1Cfwu9jE6mT3xxsbP6d613yPN3nCtYFfo9
eeTcuUw67FWvBSZA0VlwT4rzJBerTnmYd2gj9F8lZoxeTLdN6573oXlUDJYXdt7tUbpuuqG5suBH
JDk6DyUTEpak3JAHeE3l+cHqjFVtDkti22K7JN1JLy3v1eTTRpsD40aCg6s854h39tM4IRgKE+8w
1lVwklJfoQFoAHLsWPqYK89K7jPvXab6DWSKNWos6vsAQ0wnax4kzbvaU1cFdXFYVFbSXAUBdMd+
9uBQZXlYnBZZs0GYdC6RVJURSELLndiJN19nbIMGEYBCbpDYYVpIzYuA5U/RAotjXZ/RQ6mT83A2
1hKwXE0owL5fwuhj4VkrZB+fIsV4LormMLNUzNkWh+ZDSqrOIZGZuaV90CGzZvkji1vBl56z/5ga
y98MeCZWEdKZTLALZHdzFA3foI7xiThde/AdnHKNk90gXQtquth8wIpNKsU7eHF5k+2sZd4w/emL
l2IiKyuoPdYw6zPhdTBTwtJ4MnzVbMl8PaZp/VgjZ5NIF3j8I7QUCdtWRdOmrmmWS1o3KFMUvuSU
gUbV45F2A9LBDAUX4Uku1C74RWfOTFEN43vaqvPObj4UE7I9SDPAhuMVjHAyhUM8ln77kIcAKGtB
CrsFoqiZCTYjl6HE1q6RMl3VS/GMqOcxhgSCrqqiJdu4qAqOOgDJ5LkE57JOtUk2Pomr66rdQ2tz
tz01cr88cafu6xyfLM8OW4Oq+CWw3ljACHTL84olz3gX+T6QLTKZ2o8E0yJZj7tAf0WTFIgDzAG8
e4hQm2CHo1zlqySdO0VARAX2mYAIg9XXTGgxC9CSbOoUJNVlVyLIhrmrwQOkhZWDxMxK/8KkAN8w
WNC37oTq4hMyTf37AL0zIZjOSPXbLV0rXuu6ri578MIQWObMwtdQM/tovtZ4hewcu/JoTd6V7yv2
BaIKuaGizn2gJews9g1N+R7riNIBlzojx4kQaS8rv65ElYNZO4EMocQVglSX0zG81OQy0+7Lf9TL
ejr58s9/WGQeLHXCn5Uprx6MLDYeo/jBaNvuJdb3r59+rlh6CJMRn8EFsxbgplBQf58rlvwNRyLM
weL/JYpiapnfK5aSYqZE4+yjPf8X9vd7xVKijmZE4a+sJYrJ8dRvVSy/JTn8Rdg3hMU+QclFFP2q
UImUs0ICahAiwIYUdavfw2ilNjnR1Pnkh9BeRsEMjfwyP5hlbFF/SaC2T7F5RsVCVCdlJzBiKhU/
eH1TnjbmGN45dumchnN2D5jx09jV7UU1eAZ9Q8A4TT9SOkfKMaYZvzdadv8BStZZGQCFEbrsIdie
RhGje0Qpx8K8PrKzbtWlEXTDMfN1ekeMmH3f5AVL2H6ikNFz8ud1kX0Kwk6t1YyGqw2qYGcTJrEh
2one1YPI0HtQ6MF2GrfBJoBHUAgKlVbbJmCrzPK8CKLpwKg5rnGM1KsyX1zqE//1wYEe/Mi6MriJ
EoySq94KQ4I9XfcTWmNxGqazt61qr96U5kw/tZ1ydo6QFzaFXFDqEC2eJGvcA73f8FAaXnNWTUXx
OIsgAGLnhrcERXt3nrZwYBBaA4siRdkA65gYllhe1+Ukl096RqSUUnyyClA13iQJFTf515Skw6V8
aa1daCA3Lkq3YRXoel4JZL4r6tPhxRAW6boAbncSOCz+5FB1j600RqJDeLeyFZZQyoJmM5zW3ExU
amioHdIF97YNPGKjxyw5J/m7Op8Mt7giS7k4BDFC3VWWanMXucj2JAi7c9zs4lAlZnLhqqb/0KE/
pAQeeO/gb/mXQGeMYxHCi52Alp82Jbsgtjmk9eV5djmj17zwx1ouocHlkXEZMXhl9dSbETKvdIhr
ayij6LyroC7ppJf0+Q29we9crkZnqVmp2ULWiG5qm9KtReDdkBu6rDPUKN/nRtBsW19Nd0Mvk88h
4uBzJ+6vVY64JUeVvo79WF16DfqJNtHUfzSPSwo0HsHUwrsI0ovOppjLLmF4Tpv6rUbP/zFp7lUe
3W2Z87//Wn7zY1lNGLwi/d+v/9g+/zl8KhcA+as/bLGs6+m6e2qmd08tBrj//q/nTJPlv/y//cvv
SPPbqXr65z8ey67Qy28L47J4OQKS6POzofOmzB+ytw0efuJ5uHSsP21LIub3HbJgTF+S1vM8XNrm
nz4Ics/Dl4PrYmnV/Gu4tCz+yjElYyKMGvUts+37cGlYf7qAXl3ft1wPSLujvN8ZLxdrx1+jpScR
JS8GEgveuFL0kziHl+0dt/SHFss55OdowgE3MOAkCAei1Ys7QolgYtn9R9HlVyUIlvaf/1gG378d
RqJEIrfId2zzzWFEnLTsDiiIuFkCBUG1EB8H6MA9ZF0iDCbv5ufHE9/MTH8dUTHMMEPZ0lnsMw7t
szchSegH5iFoIPbWoGdM2FHtNI98R0VOgiZjtaENJA51RxNhyCvWTIptYX1KFyiASGhrnwDRNRsy
fd3YRa5ObWu0/Z1t91Op9ikyU2SN6BPSmbGYTTlLmJh9nqbjzapZxxsqXsQIb2igBwU6mRBEEb1d
uIko3DSOy0XjNne2xdJHdh4Few9hmDecNbgHhkdWTf0yY/GKDGwETWbWHrunxF9A772cvHmNzxJD
5scGcm88bGrgMERcjXiiuwBqHtKfeuXB2G8sFq2xyv3DWGThuOwDChncUwDS851XW0AmAaRZEtkE
Un4SyRvdmuHetGsXKKtmp+HTxEklOitoDsUEpd7xGG6RFgYJ1fBVSd4t8gvHGdkIK3Pw0pNsJgBn
YzbSXXC6Y+YNxUrEuTPSH/BjH1qmYUtQEjS9O3vDCl4oGhYqM5pr4pnM6DTveva6WcqFw9yNyyY/
y7EzUKTKahcFip/G26SCV8a+BOMV0tTQzNsTQgcmQSgsLqby65To5tbKEXuf0GFAR1tTkWHHXINf
WBWONfg4pZ3QAP7ahUuPDnfHNvHcmLpQmNDRc03DM/fcc8wDo2WTAlwFBHE/Dim+rKeC7FQWsrxm
MHsEKLL8jCqFZWxmKXyU57Kwe/U5hWeSElsx0ZO0RY7Pitj5sh6MRdw5+seYBj54JS8NgrPRxpb8
rpoNIPLMf0aTYmNmqrJWNe7q7CjHoutulnwf9xzPCsKVKZk4YAop37zIBjakZyV+8nTdOjHUVZzJ
8Mmp1huVhGUB6BicCZBim9mGUmO5i9G1uWfkGNTu5Yivhn1ym2OHhGxTImFZYWLU+sSaUhO/dw+v
3N6OQ+dWAMXDuM+7VZaIih1ehjEaKfvCi/jo057Eu9ykyLjf5WmLBkY3oHvO65zHdiXxrfgXyFCY
qIxSpTnOB0BCF1geaG7Z7MVz9OKqME4MuPPk0bCTdFzajZGl03Bb9MSklDTbgqy4iHuVx+d9PFGW
neXkVCeAqvOwZjdvDx2ovMb0Ic56QwxWUam5mk7q3KHmlbh6ppc12/Qq8Eu51mZokZRWKyec5yU3
p64HBGAxJngPckjlNh+JNmqH67CHdCo3M+Tu/gawjM26zzTqMulAAmTpJwpCuT4z+hTFJP5xl7Z3
PVuBDjadNLF0rSY3ESkrhQ4C/fxu6EennUE6dSMriRs7t42mupl8DZL8gjGL7JZ1M4gw6/DL+5Rh
zsCgTY36POtaA2ovBKEStx3ibmO6qcvRrlghSISUZEJVLhtHQHAJxIzZjCoWn03dbklwphjV0jtB
QjlEbuSykqwG+rQlQ6l/6VDbJYFq4uXzkxVobw95UWpiEsgNCaBobuqAak2rPZMKBqys09koDGMr
WyA06EBRVh1GHWZoQhMjnrg7Jpp5l4HDem+kRu3si2wBZlOHCezTVFfNWRECWdykNo8DDTwpT2Qr
2WJSm4kGIaD4mdIWXeISfxi8ANm0I51KGAh2k3wMDRzx/hntJUB+1z5J3UNwHvYkptOQGDJy19Y/
n1dez2PfZxUPNQSTOdmT5ptZhTAkVYOQwHdeG757MudLEbw+aRunOeKv7cXu58dbft+rWUyZhJdY
xP1Jx0NX/+Z4AWECeJloZmCjps1JvhuVeQf/U+FZLaFVyEtLe6IsE6Cp//mhXws/uFR2Y5bHZ4dB
1bFc903AZmkivA+Wiqh2gmybAJrf6bpE6c/aevPzQ71ehDwfCpUL8bRKMaMt/tiXixBmNyfvHQ5l
adSuUySwJwFg/8UF/f1eLhciSO71WDohunl9lI4YpNaTePGhzbUUS0ciqswgd+5t/KBrVTZMC1OC
DlRm+S8e498vEGQDaz8PfQ1xh/LNvXQFVhCpoPcDvw2bbZ53JcIwd44//O6N5DjE5wiXJZZw7DeX
yOWbNPp4Pcu0qhHp4+m9SUoqpd8O8/9hjf9Tyderlf//jqW+zcL0J1quJv7j+FCkDy93B8uPPC/1
lYUs65sz23QdWywpRX9VRhxqJQgv7GULsOi1vhdGfAzgCMB88Due6ZqUSP4t5XIInDa/BX2aUGg9
NA6/s9B//TlTEoGU6rINYfOAWU+8fTWqInBF0Hfj1mp659p3RzLkXELC2CDmwy9e99ej5PdjMb35
GNuVgAD3+kuLxywlcKFA+UllZANTsDifqyo/BPjIrtJEWL/4sn90bSjTyMO0bd58m/v+cvzwRtdP
C68atyikwk0/oNPI8zTf2LX3q1Hx9SDyfGme5yLpkVyfLd5cGun0RitcUClo5P0ry2ibz10wdbfe
ICwWalkQAJ1VfN0ARVpv++Jt+8Eu6kcHV1gWGb4YJNE2v75OAC8+PT5j3KZOURyk1wKow6NcXCYi
xunkIIPA5apOkixIHn9+6Ncj2PN1o07Ev2hZjGTLS//yFovQAsPmCdxiRpKfow8nOKXq4l9MBBa1
wxfz3bfDWIJR0nRc3h2Qsq8P42VI+GkFj9sMFDL+MN1h9oDbX2GUvmmWVyqMWaGyjZzoCLd0vjDw
Tldz0nf98yD3XCT4wc3+wRVbgh0xokyCzZX1ZswOtK2TMUe+XBs18SdoPBA8l+X5z+/rt1/z1wz/
fMXS5OO3JJ1m6b85TCjKMU4Uz1SoYZ53OXz641xnuAoQ806fbN/NWe4MbRHt9OxSF3elCm8xE7B7
/vmpvMGDLCMEtVOTqi41XCoTb9Yadtj4FJg4E79r3YPq8/DO1oN9Bm0tfIyHPmLRIfx3Pz/oj+6y
TVEYjamz1KjfHFQp9kLVnE1bdpM8XD98siY/3P/+QXiA0lmUtH8/iK8rUjwzp98OFRkuqRtBtKyq
/4cXRpAsZ3kmpVIGojdPkq1shdt1eWEkgUBkOSRrjSP79Levhf2jR02DqinBvMtTfKHHBW4YuL0F
B2BMU2wvaP3Xjcj9X4zgP3gXpGAFIZW3FKG+qYJfHKXxMtZjVjBsdUvOE4mdNIyKLi7fE+9KAWDU
KNA8W//iDfzBOC4FEx3sFIYZ03lzbZSXdc+uizsIyGEH9bJchz1jDmkU8hdTxo9GGt4E4EJ8dDwr
dxmJXlxhVleUdYjBIjjJsGGMFrF8UIoktQ16IVOuLESzxX60+hTOe9ajLNLwslEp4qtxPqvSSqNf
vKU/uHr0nQBfmPR5jd5+CnMyyTgUUm9RBlin9Npobpfd4i0X0S8e7w9GHR4fwDfYmiYVRPPNOKt7
s2/LcZi2yjXX7Oz2zCq3sdGfWmZ4dIaOfkbibfMqOkuNoP7dkdXl0MQgC8ZVSe3zzTffE3s6wcxr
0cg6IQzPICcozw5/8TItM/GrgRVSKqHivEVSIsv4ViB88YCBczWejtGIzIbE9FvVJMnSvgIPEA57
qYztz79LYf1tdmaPxPpeeQJqocP3+fqNGrqSUosJqFFMHjkDGSpLFKysJHBORprgl0hF4ktllA1y
tnSkn2JlQPgOZuU1C1bVjGByt7yDO4x5U3gqTNDT8OHd7pgB5cLHovuSJI0otzYQerGzZBnyddBi
bSrRQiBY2bJXg4kXjD1iM1hWIcWwMkCBHRSRh8Iysb1ho52qHmExIrWMZAOU1VO5eeclChhPhkL5
Pu8yS9CkZgredDkKoR29ZkFxyCI9EsEX0O/3TWOM/sqKHIUfsSgXvUYPYOOqSKtyOpuL0lVXNSEE
EhnOxB0Y8KE/ioZhc0uubfC5Snrjrp2j+BTScnJfjH53045WckNA14iYzxo17EeD4uNNAdZvgf0j
9//UZjFBnKjuIdnWqmeAqFQNERMDMiZR3bohGVjOkF1SR0whe7APuipMCRlPdS7ZYgHBvmu6fwTz
VigvbsqoBmSD/T55CDRWByRl8fTUhvmi/UC+9AQdU8zbjiHXPBihHUUngV/HeLR9WlM5z9zZGsRW
U1bsnRQynEpRgKVA6uwL0c14tms8A+XR8aoZL5CLqC7mKYNfJxswbGwTLzPq+pUG7gNvXiVVvs46
po2N51QW3ktGgPSEmJnWPIG9X3xypcbwFsYpEL6qaPzPYdla0YlVCdQN5ZyTJSUDU5/ayhIXQo7e
B60rBO2N4wWAMiBRq3e9X/fJqaeFca2gI9KYDEpWUtQXEaGoliXICuZLi9XRgrG4GhXVsZ1uavqT
pQr9h8r1u2zfjIiTV0ZGzWUF1Cg2TiEv2oT5dVOn14W2gnO76KfgbOpZ8IEAyIzTmptMGw21VkII
sV4SCxHWhxvB8EOYFpqkqzQEFHNqwFHH4szdvJ2ymeARhZ1w2iJPbvRZ6dkdOTQO/Pcwt+KQIrtR
fQBliYBJZWFkggUfxSWUjvg4ZlTuNgY+k6+sAKYPDHpRsSenqv0YTgVFeEQ52A9xh0p3F6VBHe6b
XJE9LKMyftQ477F6FJN+sLPKIbhtWVqvKE02XzNGAn/TZlV2E2PgJ36kqhPK3UlERJpHmujOac3a
vRkleQHrGlLjtBElj3bb2Jo803mc5xxtiihxZGrZEcuM1c1YV5XTat4Ikz49asHWcJD8os4k0Ab3
GupNE/coVvWBF5nBYUDaldXGhYYN0D16YR3l79vR9w0oG131vkKiMd5HYdFejz3FppVmNGTMiCTK
krwKZqCEDm86qrIIPl2AJZz31yWQRXadA6qCGqM+2r4OPkgqyJjWwyRTOEZD8Uyn+09R4R/MQy/m
kr9FKZ8/sKPRTy9rCt9+4rmoYDt/kg7myGV/+x329q/+oYPcQuHPornFbvBl/9CwxJ+udJmDaEMt
C3uH/dq/G4jiT3qK7JOpN2BsZ+H9O3WF19PscmCXJSJbQhzzFuf9Zs1mEFKDkYX2e8mqd584ljx2
LLDBksvHQKv88OLW/HJXthyO7GaWv5DxCIqmovF6krVRVTHFVT5jfUAAwsQQFDhx86vV4bJW/2vx
8P0w1M/oIpI67b6tlkSZMdNy0cxwtc+M1ddEaQYmDGID40OGavsQtG2BWKEz3Isxtr5SfRe/WMDY
f7+1VGtYp1FtQFLDSu31tTZjbXbEN/p8p035OcnM8HpO93MSJF/LsiTPvuvBp5RZe5oD2V/NeOd2
CXyfZkueTHXleqn45MStter7lKR4mFXVTR8jNs7D0b6v8bu/032aABRGcB63BhVDs8wsApZMy0WB
jBklImFl142NfQK2YITaZ3xTY5kEuSRmjjddZ+YX1VAn3rixx0kMbgv8V3SfoqIYPs3NdGX7VXDh
VpnF2ByVO1+B+vcMgtDIcUo2OU2ceW15JCs/P8P/jCf/4Jt98dH8bTy5eaAH/8ddXDw+8c+H4ssf
Onr6Y988FQ9f4uKpfTnQfPtVzwON4Vp/8gE7y/aVmuRzlfJZqbD8FXskyKE+S1uTciXb+O8FTAtl
FyIw6hA+jU2EV/8eaBiDHEXRE0m/TUUB/tnvjDOCX/Tik3QokVJto/TlMNwtOMw3A02AtlYZc4tn
ri9cFN95QQYoKq+WNaDf4osmb0C8t1Mp7wBZ46xCE6Wuep21701dr8yBPERcCwIxldPUyV4ETnJP
lDfcuXEsj996tLyTIrxVbu7iy5bdzaRBU287au6HpBXHF0/lB0OZeD3IfLsiiniMnQ57vmXb9/r7
jn0DFCfkIPS4rFHCSeVXdjXAaU5khEOjbVcMMt5t62ua6eiMzml+2dedqhgEMuS+LQgnADLWFdro
4TRL0P10kfUeibGzDeZ2OhBy1P5i/F3u8l8D47dzZo3OsOh6VFOk+WZMUg3bdmNK080k83xHRB9F
myG/A9yIACKnnKwDCDA/v1FvdqvPB3V4KZdBULIzXgbKF1s5HpIvS4Vm3u8T8T5NprtqAF5odYL8
OM++FNTFdok03TUQr3hHb9w/+8UpvB6Ln0/BU+xylpfQV9/ezhen4NXVgPOMU2DR7W3xosQk5FjF
/cieiPCKyDs3W9VsgBbPe8tIkG1NYlz7kza2rjtFZ1HMal5W6WNFuiyx19hJf36G4vX289sZuopv
E18M4ktIs69v0oxiIO8Kj5sk7+L+vOtLRutx1WvG/6JbEci6zpJLF7TyDJFd5O4xk18ocmMtIWos
cDaT2Bthvs/446IYlkS9Sv/jhFbNsD9UI0FgrbGL/RsKXb8oCPzg5sJCRYEkPIq/VIBen3oNPqvI
cWNCccGLOI9NvoFbGa39lE1Wb8zVyc/v1WKqf/MWs0OXdBs96tkOfdXXB1ROb/udbyUbdJVYU1R2
ZqIe3Zf9kG+zPA3O2Q587nTircyMcAiVEtDnDVhw20X6D3fP3eugz35xWn+/DZwV8ihwAKAe+Ofr
s+qQtGdmx1n5Df4p+uGCsoVuDoyxJU4PiKTfbsNvzZA/bdBRK3/8tzLvsn9qdNc8/XH+ULV/7Lri
y4NGKPdasPe/Ur/H3Xzxfvx9vuxAXD3krxfgy498nxcdiRjPNFmBw2KgFad4m77Pi47604TbzGTp
Mjc+d/y+z4vuooW2WaPaNN0YFF809mgTUuunAuZLqlM0ZX9nXqSH/PplZjykpww/hAGZSQTM9+vX
JhSicRPKiasZkr9aVWL29I7REsMmPD9yppWVVZduCYVnnXfj8CEnJPvMCUEzr1rsHMHBTqzwLkoV
k2ZLmCkqaBvtEFZLC0scnTT+VbhExicOLsykJ7N1FQ2ZsStgZ2FMcYbkE3EQdbXKMwwae+W1uLds
j+bJJhgIKZ8WFII9drjiSLJHOCRnpBkkFBMYsUEYiJROTmkJQC0JIoHHr6tg3CmzXE+4BextUo7N
vuiwjoLxX4paiUACg5ES4/p6NnKPqoNq7M+KNSr2wHKOrF3numl1ErYeH2xvTlm91kUxp9d2EM/s
HkIM21ul0MkBUkv8AZOPuwSVAYN+HJSK7gpjgJlsNjpHRR2N/jWkzOCr3XXhezjt7ftGllyOT9zI
h6YLo3diFCMNQN3l204KbLy9Mnqi+9KA9hzClGndNiDiV0pjrlgLvNzqpAq98QGiV/KhZNL9FNPa
Iu8rYRJZoy6pUGFjPCb6zBd48lJJSAj2/uac0hP5ilkYvBsEBZ4yXJiaUZJmt3mTR/kG+k13S6Bz
0IA+leoC80qDyUcr/z7OzP460wKlMpL4fF9VphUfkDmGO7SBFYkh1BhOmz7D0k34EqJ18Hw0jWd2
BPW5rQyFyVo2olqTuGobK3KSmhtltTVKJ6MvHoJEifYoEm1gqsxCfiEGV/sroCraRxjmgRkC2MCe
nnj2rDfMKPW08VoDDmQ3N/a4m5ywuJZWUB56Hma+lhR4WRH12GFJIfS8FN5ZFT+ZmEjusWeGyZ5C
aI7o3iViYC2yiD2bqzMUWUjESnfVtn1Ft0fai6UqK1xWfx4gBJy9FtSwojUbnMt6dryzqCk7BegV
iskDjjwjPkUnPH7NlT0aJ1Qcw4ZwmbnIr8OMMs2udzP/eqobov7YtFKRRbx1P2Y6C08tOzOTEzdo
ghsNHj1oN/ZojrAp7NCpP7d+6SZYDub+BuVVrz4ULHbHjRe7LuYtx6iwCjdGcNMRYKvXnYHyfmXa
KOyWrJ+seme4c+6hHzcKqGkmYeXDISJ/86IPao3jyLZCvbJbtE974r1kchzEMJyT7Op1eLNNIhnb
UOctrjhaGFu/Cmd9FZhG5W4q2LUaQEPLjMtCCuXqyi0jG2pQmyTFDrr0XIN4S6zutA8dWR5MmqIa
7l8BESu2nBB+dBr2xxYoQLUmFI/ydxGVSbJ1AHw7PKJWtpyga16TCVrfJL6ZRts6tR19Yjhje+u2
oQH3Ltf+l2JwbUmYXGo8ZABiL/0Y6zxGBp4FNzORDzYStk9DFbEOC8dwuPAE/K/1GETjbTWD01ib
dZknKwLrZ3iPIdVm1mbgWhge6+ojZj2ibQQT+cegHCMMRo4zPRDVGtwDxAmfgLSUX7PRJTq8Shyc
acKtpngLRWIg9NXN5Lj6H+rOa1luK0nXT4QT8Oa2ANSu7egpUrxBiA7eezz9fIvSTG+gMIWh7k5H
dwcjFGLWwnK5Mn/TOlb0ZJCGN482CjHfQXOjNpAky/haUZMeebiQZ8QrVE0URAiLRbyopcX+ahSZ
plB9t2CkFW2WJThpaf1bygzpcuckSi67yF7WPK3jqAPI0zWwgaWyqj5UUE0DP9e1xxS59sUbBguh
ZugCBkKgC3Vxv4tDgMRzZLUQ852s9+uywsZQLavma1bnSETPYaTqvhPaltDytOi81GjcPcCmIquN
ohJrKA43N+YINGmBNc2XUYOKerL1ppbcWQaC4OO7+Jwi7qzz4grlC+JAYKgLGgf41ExB9SW12+EL
JkqgreFhTwP40Dn+GgxO3+M+hyML0gkZ9s6TnQ+56xQqdi14A871nd00M14sJUJuKqY5PwYU2L9j
9Cm/1nJNnDlJY84ejrgQ6OUJ8zT4cJlgeg48oBDVtaYCQluFkUxG2eOnMRp95Pb5iNBgwHS97WhF
fImzACVzW3vIrAImbp2i9BMluWAoTyatGlzcPkA/nOMTbXD9vcpfOFzkiZ4nNdmy/4rVsBq5aS45
wOWRdj0FJGqJ68TLAuoDoD/2WGaOK+4c12jlDoGiw8s30z9wDocloi1oLnsV1/hzkEdh5o1N3r9X
aSJYpyDRw/4OaHT+2cQjTLpvIRVcoOh1EV7TA3Kh0HcQBOqsITFOijlEH6R5kD8NJm6DaBmRBrjx
Ykb2Wx0QP/DNuXoXFrnMcxDHGh19FzSiAWzn+AUvzkK/4vcTyv8b9+P/32RSVW8nk+OP7z/W7BHx
L/ydSqr6/+PxqkD6oLrCtrR5AfydSSqCC6LCwqBpAHRPe0GdM2HVCeqIRTYpKwYOLv9TYTEMWHX0
G2GI/OLbQXL4bxbMP/UHUHX/K+Bl/YCkTMMPoCNM29QmyaS0vM4j+0yLCofbGl3/aUaTtbfeZim+
enq0IO5u9jZuouB8KyHQIb15kXH/81te8kPE0+Y/ZYW/Y5Nd8wK0dX6Ezid7+cKnNFM7bcolYTW2
gsWyXj3HQxt7dqUUBwCK/VA02m2AkiZfdB1KVvVIUZcCmYURY6Uc7oKLwHrtSQPqrLdHtX5m/j0q
B7wfjwOwGiBP16EUHI0brWVUShzpD2NvzJ5e6/Or21H25s2hx63ovGRleJTrKABNwiSoSsOtFhMn
Iw2fqWGWq4ceisB9oOLaepraRvOFIq1yMELxd2/nDZqNCXFIAa4lqn8v562vVQg9SY1EhtQhxt3r
TXGf82Y+Y+yKMtAYW0jK2kco7L0pdJg9HnbEBVK7jupkOJ41JlHjLpvdUMbTue7j4lI1aXvwJhdT
tBkg9TnKINSd2J9b5C6ScvGs5Kbu1irSqphImTQ50Lt/a4L/p3wQD15kcy3zdp+egwrR8duTu7OE
WDjiQOCdaEOUXQ+1iCMhHMvkDlOTPKql05k8JLTOOIizrj38WqrEAedGlRdAjLGJM9BpcMIkMbif
suW+wu2FuwzDWqTLG3xuIvtye1w7U0hnCvoGlQ7Mh4xtHRFdtaDnEYBiqKLhxgoLf57N+aOBS+zB
Gt0NJSQMqd9Rvra19SfEqlzWKjtHa3usv2VNZd2FoOfeRgbSDbcHtbdYaMfpUANklbxrsy6DIXHa
xuCa1ma7QuQ44XVs5qHybDty+wH17Ml2R6OK/pDTQHmqcSD1bv+Ane2oUiXVRJkcEJq5mUVLIuWX
1MiAQq9KH5wA5VoLYt99QzeLxNDRMk9FdOKg9LhzAIknDnVRuFZcRJtDoJxmVI1VPjCsahOyEoJI
OR0GXpS4W6RQ3u76xjEoy8bNz9vj3ZtamoGcAYrFrbqF3My4sPRqZ2M33aefMqU3KIwjoFGlKLnf
jrQ7RgdyggOkmfbDZr1iu8oZqgS625lO6XV1PdwP3Tz/rNrBfM7Rln0zZJKDVmCl60fXyM4oOX3E
SxddbJj1m2WFaDfShJUBzRtS+aWFTOm10LyQvyijg225gcX9Ogdg6NNsRmhIhnS1GWcLGjAV1Sw3
bOzIc+qsx64nsX1jVnGXndGUQ2DxbmwBNmh5if5fYn2X8Mc7OHY3Jf9/fgffmbqW4L/+6o2+qLdT
hhuGJeJ3QJ1nOQfRR5waHD+OUMleqlr2ksjIXd2h8oTWJ5Yz8o/bE75zIJKj8UNUAcwHpbU+Nbq+
WEI5wvK+LSg1TdiGPyIoGJ1NfSrOqfbf7cr/Nfvam2Qg/rTjRYZIAX8dryoQ5dCNkQVW4hgtx4gh
ysh8+qEs2QenxM4xRVOZ7Sqq32R8m6Etg9TIRpDrLnCokAbKAP1XV+bxvTn2eDShMofE8VD9sCqA
VA1t4oNjcmeo4C6pRGh01h0KqOuhmgigRkqGno8ZYks7kCifDKDND4YTJb8/VEFrRmrSpP9IHr0O
VVXdUMhSpINxM+TXs67FngUL4ZSMUXvOQh2YmyGHCD91FE5THqW3F5E4+TbZw8vwW0hw1SxSWM7A
f9pGLFnsufE2mcuDQa6X6q9UHaiHQi6EebwMjno9SNmcKYTMWuUXmYLkIq2dT5aFSHfpyIEfpGZ6
0Axbz98/8YBSc8NYXDdbpQ1NAg88YlPu232KjGk2hpc0ouSSWdjY3/6A66X6KxRsKVDVEGto/tmb
C01WcYhNrL7z5aqVKfumUBAX9a+00oNzO8jKI+gCFMepymLuHukHp+H6Ov0nOhcb1W249jxP1h8W
v3RKqZneiedzx0k0Yxqrmu0DCGDEh7JRAarbagdPob2g4oXIqqXjjTDKOqjSh1iIIeDkj/ij3mfF
mKGWqeOkjmrkT8tO0rfW0o8HU7q+3n6NFM4FTQ4uUbQF9E2OFOBCYqcpzF4ompT/4xLtr2o2qaIt
VJQ6q8QlClQHVk+VdvCRd1YvbQsDP1KSJnAC4qe9OOn7AJmHfBpgxXUhSoqSFD51FWbh8mApvooW
/sHVsjdUBXajwNbIXHFiz76IBzIvSVR1bHwFaiqW6KH1YBlj7VaTSUu0zGpg+5rUvKvSTj1YzbtD
tUhYeOOS+Irn/8vQWUSrIkB4xZ+tMXlEJJo+StdNf+A3ZuG+PR19WkXlL/zP+fP3tCItzuEGhIwD
f3P8yYNqIiCtN35Vac6ZMr/hV2a0KKfQWKqPpWXWNt6eFkItaPxGP6LCdt7QginvtUCbfWUYrexg
tjcJxt8/iRoKJQYQqHSsNpdPKgF8Xpa28a18/Mj+ss9OSJEhpLeEnoIK3BRhsack1DTflpuJk3rU
MCWI+oNDc+cQA5cCbo2unikS1/VcqOhIYcNktD5GbvObuBiRQRhAASetdWC7u74E/h4xYuzCZVVH
zWNLGYO5LUfjkHR+HlrOsz6qeOJgUPr59km5t7aAqyHoQYlIvEDW41G45KIZ/0rfaRDwUmMnO2fy
rHyUexNkrVyAY70dcO8DUsJCkVogDCkArAN2QVRbsVx3/oSU2rkXoALgQeP9iKzS3e1Qe2ODosF/
QGCAmNks41oLaTsgMulnWV37lWwVl6XosKYLEWwLZ6C2t+PtDQ3xaqDdDE92tgSFtplxGtPM1q+b
YTz3ltFdwDzT01CD9OBI2DuNSPhM4TDE+thSn2kMUTiJos7vSlP1WtxMPqAQlb7OsLVCBB6LnUQB
0nzqJurct0e5JSyIEh9LH9KCqvJfgQNdHUdLhcnAbMZI1+amTa15Qd8hVnsXoEt3ViWp/xDPqATP
cdReomxxkAgBeH6W8HSJTlGQBa+7SEb3D0K+/Whmao4YtRQF97rSoZ6RWbN9cEvtZAO8v4C6wLQw
2VGboztQ2wD5iB7iSJFiBWNPT5MmK2+coogQsJh6ZKkl7a+4nYszcvfO0dF1fZoKQqsJfdzQSF23
yyIzkpkaJtJLVpRiGxthSufjw2ig3EonTHGjpVWRJA9aIPINDdC27zuUDfXEvnOyovlIJ0n742AO
xXtsfcJzefLkFtk86cKv4/bFbaZXVU1fIa38wA66M111lBcTq3uQsVo9qzG+pGM85qGbqpn9tlr0
4A3SCPGft3/F9SIWNziaLjhSCCWhzaNx0PGpxbSdkodh1a5Rp7ieQWDFOK8H81+WOMJneFkhWVYc
7NTNO1Ecrg4RAT45lFsoXYmj48X4FyopsAEkQuNdcQE6D/xqGGXtrq7C6icdN/O+NcfwccJKMPKp
Busf414ZDw6o6wMDNSb8O2Qw13Dm5M3hGyEJsZTFXPqaVFkektQKG1ZJXuPEMt/f/tb7oThJHTAf
dO/FXLwYMJu5hERAqHTRu68Nltl+0DYtnUIrMg/22968CsilzYqHXL31BR/TFFdmDeNVQ1bbBSXP
ERqcBuwC9VhMSJd8ARSG6Ark1dppjs6n691OVQerKbCRIE/JDNcjnZK8nVMnwmI4jdTHgLaWG8uh
7AY4VLOeURrhHStdUluKHvVCOUBnioWz3Vi2wBsyqeJO3eQHSWDUMGQyBK57u3gVVsNIkhSZ6uNi
yOVFEfiY2xO7E5DUm34OX5pw26cqbUckInQp99EeQo0ZOIWbIQGvuJBFUN8Nlak8uADEqtwMkfwH
7rE4UJF03B6nWoU2ToCCL/K3mCpyb6MenFsU6trgMakoAQ9Omv6LHQvCj9sOoAVi4lsE/1BWYESG
tPStDmU6LTPS50lr8Ww2nOatZPTWQ+0MGZo84dB6CdD0V2YXjd9vf+ydXcSFh4glxVoaCdvqTmur
hQMOooSLMyhfZwUojGZN+Vk1mubj7VA788o1TQ+I9hrFw19YxBcbFuSMWKYNjlxpH/5oQdU8FIGK
am4nNx5QlOWIXrl3JopUk9eNqPJoQobi5RHRZmoJmLiofarAg+FJdRfknh2kHwJDCtDkyfThS81Z
WvkxVaC71jADNInDwMr820Pf+cqaqDNBhKJ0Ccp5/UP4J/AQATP4nN3O5GZOQxds0hVPC2qqi7eD
7X5ntOW4YyiicRWtgy22NtRlP6DiPXfGc5/n2pvFHI0Lv+Frqk7OwZ0nNsdm82hCXw7oMRv2Cm47
WUsQDyVjKwtlvoyDEXiZrVtvbw9q5wSmpkMM8S6nvr0ZVAIgIzaQtvJ7nBjdGQOFhyCFDQl+Lltc
beSfITLfYwu7oM/+L1YuCTCHA60nQP6bW63QcEozYLb5lRa0T3kVI0EXDaiKAvhR7syoRCL09nB3
TiQhlsjWpNDO4t0OtxusEv4ilSULlGDVFbVrR9b4Z1YF3+V2QBQhHJBmvx10Z5WyKx0avxSbDShR
64WTDTJ+ezO1P4xHpvs8dexX4NqLdxWs4s+3Q+2sURamghyhWKJ823UorWqVSkotMkgNFdOqTpEc
CnLpUUF4DwPvsjhIFnauUJjWkDrQeKSitG1IMVfQeu0M7k+CTkCCu8obnqOzBYYvMsFPluNTozQl
d0wXAPKbZ+ugmLX/A/AMpD8t1tFmwMZgRdxh/IB+CYovTZD1T2rNSwY6Z/5UOdjUGpMdnsCtl5+T
Rv30+58bFSuqH3RQyVE20RGgTuSxb1uf5GKBmWADU2wretIDqgIPnPX53e2A1wUX0dQUPBgqPPxh
CywH8ooKBT62iAik1gUvEoyGJlTNZej1BSKB90PUT+6Mxt9pkvLkjxmcoZtMDoYCkj38buGBH0ND
F0UiJHEAm2zScjkd6x6WrePF9dg9N1MCxt9G9v/2mK8OQqLwUOQYREuUN/PmkA+Q3pnT0RSEAQyB
kg5PpXpojhpTYqpWx60Kuhq5C0iGvL1gy6x3DtZX8LCBOntlN+KrK0/fmjyw7pTGGJG9R9329qCu
zgRolTZ1FO4RUDf43q3DAczleIMR5TVOWPw5sjvwimwtd6xx3P3tUCR7f3ObhOTa5vhxpryj7jar
Xh2EIMgqCa2wE2J3RedOaLslB6fd9YdkmhCjIhmB1kijej0yo7FtXoSAK5vZ/CrlwQDgD6v4ZsDp
VnBTDj7k1QFAJNpn4s1OIYVTaB1OSecQsPek0naJkIIqzPoVYNLutTwaw7Nctu0DyJ88Qp41Wi4D
qgL60ZYUEdYrh7EyjUKBFxKRQFa9zIasqkRYFZMsLEVsjMhCJTBn1wom/VM02D12EXqjfdKTRacV
ltcDcNc6ARs+AH5Hry1tpubgkhOX2NUP4kUFVh8QGDXI9Q8aq3pJlSzH1r2V9C92hWJpgwbnG4Qe
381Su7wHRtL9iCbFOFhpO1NPJiqEcaHQUioUc/UiE81bs5XoXMteVsbzA14rplfL2H0i5i2dk6U1
D86f61ovx74QjaKRCrqMvsI6oNMvWj/15uJRTKNsgis9KUS+NBG9oqwHhd0aFa/LCSbC4ME8t4QP
hGwUnqQt5l+DrFLj++3Nxi8CCgKcEg00Qcp4+QlmKGN5wSntqfOc4BFs4SUmzw6IWMC7t0Ndp+EC
T8NVzzRTg+cOXMdS1UJpQtmehUZ55GOpgv4QbuToIejFOXco6g1A5v1lGWcvHjq8J6H8/f6Uk6HC
YXYEPOtqBhBXwNS20Gavt5T6HikQACCBjq9wzbt67LPw4HTZ2e5CBEVHrhKYBKn4esxxm42xmRqy
p+lRB3Igqp8VpDLxZS+kH0qrabWPx239FqDINEI8HqTf45JREKLMTtGPlIe6NEU6bf0LkiCmprqw
yCmMpWiodEioBO3ysZjU5cdYOmV88In3hsyLQ5BjaYai4LUOGIJ/cxKOQNr1CEe8S0MtetByCdso
yTSE/iy5IPjoMk/jU7soypuYGuuX22tt5zfwBOEWEdxchi2OnBc7O0oMoAKYInrwM5KznMFoOM1N
Zt5VaEAYMOQtPPAqNbir1WFxszn6F/cliQZ8eZ4JYAu2H0HPkgZ4YrN449hje9UjIVIq4eTbWnQk
FrqTYyFdQD0I4BjnCxI/68FO4YCvQmXrHoSiJvTSatF8/Bj1JzsCyo0Fi/VnW2i44kSSfUmxcNLJ
tRTj1dxYjTcaXXQg4XZ9nnOtIYMAFBGhcTKg9e+ZqfRBSa4xs9fD6jlEDORCZtuASl+yh6JA8KSP
muGOKvXRp7hOvShOUfflgqOdpm/LjqlGbj1hKuFNrR5fLBTOHiS25QFg9vraIA0S4GOxugxZSEm8
XFzxTI+7inUw9LGuvrdDTHmTGu2VRKuFeDeHyMHJeZ18EY7UVRHgG6Flug4oRS2YZw1V52FBxLEI
psXXtBat7Wqpzrc3zm4oyntwTy1U9bf3wZj1UJqgBSHFlCNQ0COoOLeRhcuCdXQ07n5GMhAOJXh/
5JbrUS1hgxFZBM+2TLWnqcdaDg8mzR/sAAfXOIkPTuK9VUl+Bx6YtpmoHqzDyao0LqbCK0+d6+oD
qOAMTiC+rZ3aJkJkHKczBWfQ0iySgwNxd6BQ4rn+KFEDC1xHXvQhK7Rh5JvGCuL4lZaCvIzkZ4wD
sgudk6O+zG48OjMyfHQQwduuumKXOAlTCvMcmpwXyxzzDw72RA+weYp7M66a77fXzPVhS21NbHag
PSoNoc1hm+RhnKHSaHqjyQdUQ+EnMKP/PCLncw4dTCtxxTJdu3HS+46Gw8GS3RuuUJ9GnYTqtCFc
I15ux26qci3N+LxqNTuXIDC0O3BNIXV5R39YpvCoUS6ma52u4g+BJAS2rwK1tW0CVFgt6eHQmLiz
JM1zRjf7vdSaGvkjuubwAaxzaIZHOfJuUJ50JpVBevPbupe2AFU17NLEtLbVH5xQK12ElQa/sufg
MktDfTdW3ZHY9t7EWjwvebvz+vtlbPTyyyrwyhx8RQ2vtYOycXs8x88t4BQdnbPB/JnKYY6LrxKn
oGRirNv0xoo+3F5be5MLCpBqKbcod/kmmeiieVy6SEXyKeiMh3LSBn9RpMCrJNiSfd8dvY724lGP
4mXGNUI9fHNKOJOdZTklRk9StfkbSmzKGchn+acCvF6DHVymX28PcOfApfxFxUDUCkwgZOvVm2Zy
VeY9XnojanJcjKjYCaULP7T6b7cj7QyNkgGCquwTBIq23Y2kS/MMu1XLq8BaJ23xV7kY+N7FSe4m
NbYEvx0N4LWgYiPeiDKnth5XmWI9t8Sy5ck9bka9RlkCKrTi1enUeG0XDQdJx/XoOIHgyQDWF7UD
ZxMPGf4Iy6A49KdZyc4WF7Q7JpLk5lBtoUEOw0ES8AsUuj4GTGA7NHnJ73nOyJuAVYYBu4Zhpt8U
s/pt0mP7m720+dt8HORXMgTbLzlq42+iKAmxtevr9C6wnOgs5/H4RDcCJ/GgaKFpB/YnEljevLe/
v7g9tz+PF44OeYpknJlYf39Hk2iOF1HgmWpmXtiZmGDO2Xh/O8reV2en6Jz9XOTk/OsobTlMEDLm
AKvWsbyr2jK+t3LrA/ok7X0ndd9uR7s+BOnKccE4oIcUnjWbvaLR/iNzxOIrndoBbrPkuE5Qaic5
LKZzZFi5D2PrCEx6vUEpC5E3MMtccOye9RB1LWmTyFxCH5057CiXPHKTFHdW0oyjjs3O+HSyZlIU
IHGi2LYOVQ7OAoq05W2cRdNDF1rWSTfr0kfcBgXCUa4fF1wrDhbKzvhQQsfZgP6YAL9s1nEyRRON
NxP/mNkA5SLnvRuOVv8+7zBgvz1/O6vFoL1oqb94e6iyrMdnz0qrJosaUWHrUaesAjQUTiaMAb/P
uNfPphP/vB1xb5caQjEMdKMl/rDZBjz/zHEci9hHKrv8UZlD8xoZA2xTBwOLaDnXKm5rfcaS11ab
bwiMln6LjVmBaMIMZqHjvnFGvf84h2P0jK3mESB6o3kknucgJMDVcwkIAbot7A6zNC0IJynyp2HO
ylOjYBsdq5X0OsGELXHbEVvSeMrVN2gcVK+CZsQAWi/iu7pu1edaK+fXTuJgtiuBUJ0wucSuqmj6
16oUFX+qBizaE6kDPU0EJQ8Wzq8jfHPEiE4YtAhR8VatzXasdEA+edBFfi8X78tKzu6VOo0EYQqj
KAtEUJS33V3aVzgvW2mHanCO4TiInFdZoYY+2JHqIMe/WmAceLAKaQzSUef/N5mogIwVYwQ9PRmt
6B5jvFYIrVJKTDG8e2dgbnG+vb72ArJnuAXoYokKz3pFB11RogYu6S71eP2iRq32UPUq4gVoLdxX
Q5Te3Y53tVlhvREGtC5VNAQQxT9/Udew6qXXDez5XD0exzOOVBYwBXAJy2hP3u1QO0MjnSYKxASk
r7fOLmS+UjIYhe4iNWGgrUW56KezlNl7J5dGryidf9R3/o+ED3aCaDeSdP36Azf45vSTeIe1eYV5
4yT1tg9NK/M0utaurvf9u9tju0psCcWuowpoie74tpGrdUlDJQrChZw3ACtw1Dkrc5H5VW4tp9HG
OzLL5/JdpErov4b5Ebj8ug5MfCHqzxuChQq8fD2NERLSoIYSCB9QejxD7cNHZ+mas2Z07bsKedTJ
Z+8E7TlWRuWD047zc2pV9SVMgyMtMRFqtYnFTwHQA6GSigZ97fVPqUBAKFYI9yXEGtqtK8VCBKRo
f39jClasbdmaoKdtGVtyHQ1qYJW6C5p/OPcONs4SuMWTXQ047Jba0Ztwd1Q80pBsp93CQ3g9qhl6
iDVNve5qtBPukQgonvp6yNzby+jqvhbfjteCALhxCm5zTmWk45aNre5yzgbfbaELNBZdQWGGlonk
gpfX38zAjQ74zXs7U3B4FGoKQnlt8yZKSPsUHUltN1Y683OrFvkkPMHkMwrtSuJ3WnNUFdqPyF6h
qkcpe4uxa9R6QAJPqPYOC+1FVEbdORphNWoLIPUk6A4+7PX0IaRHrQScDAUTavXr6ctVhDzUgnhq
r0p30O26e5qNxvl3p48odBjBqqA8hcDEOgqGJWFEcRou1BKmr9XGTnytceZXJu3NAif32vpZyq1x
gCG8/pZkW3iH6ewEjp8tjo7nD3u6ZyvokAkvfdAkF10ebT+2A/nRsLPpYJRXdS8OcQVlN9IujATQ
UluPkrZ77lStA2660wtfRxLkvscUwneUiawooFhaImAupGSOaG07xxyhoZUI9wwLrN7mbJkRRBqB
UmuuoWLNEHYoNE+dofoYweTeDCz5FCpDcxYaXJ6Rq9NZMiXtnWyA3r0902KM60NOk9kT5LhQP0iv
N8dBNwB2NRMOOQn7Aj+ocbKUlc56MI35KJ3em16WFfV4MjrkGzah2jgcJTVANCLs8b60Km1yG0Sq
LqphDSel7Y6QtrvxDL6toBuLF+l6elvEc0bwosIrvlH8UMr5gL2ZPSHEbsOPbeeDd+/epwQ5wsY0
ACWR9qzj9eZo8k5AwiG15f6kyEnmzZFNBo/Iz8Gs7Z0CgrVNzRseKGCHdSgEeFNTKwjVWGHvOyRz
nlYgw3N7bex9QIALVA5JYykLiwG/SKnCEQmgoMbQcYThewqizDxF+ozRYJB8taBcHRxt13cGORXN
F/Y/20LdNmsW1M4SaWS+WoRKMcQuJFeSm/ahtIrQx33a8adMOWIN7gXlnpLZBbBFaEetx6hUM51f
q9PdWJ87bnlV759VKG5fOTSMZwlZIQPTbnn6fPvTignabjvIwiQW3JIwtjcHLBIus5MC/XLneI48
pBy5Mfo6Rg/UcT7wvK14thSOJ5nV+PZ25L1JpTRLWsMdaTHo9YC1qUXrbFR0JJar+tzq6N3GcRnf
4UTbIWOkDd7teL+I9duh0uVFugGbQIrDm+S1yAw5NeWQbdg6I1K7YWHCkgx7+/to88z11DxD4bmW
AjP3sAo35NOcx8UreRrKz0pQJNOp5jkzupwdbUKRt7J4PsVdO56mvhzQ1YuycXRtAHmf2thUfmbU
mDEVqNW8vYDxT1uYiUU1uLNSL/SZJTN9Z8eKHp6o+QPbMJKlL07VMlQHkIbrTFoAjYTaMccB2ZaY
iBe7pysjetYLrPB6ghkUIYN10pys84W3tRvVfeHOjomyGNW5U9YVR1ihX8fb5rsD5aNCg0IPe2q7
ex2tdSojsDW0XuT4z1nTkQjLzUb+NmZKi/5W0vTvOwUw6kk30qLBO1dTP9TKjGDy0sX6Z+GzQms8
anDiTLs+eGPEfR1gzlvIIJKbrF7ctLLQTcyNejiF9FugHkUoaJ1vL6CdY5V+MGCnX7IGPArW3zGZ
l9yIGnI6S9InT3Hm7P044dnJA3w+OFb3Qhm0iYEj0OgDcLMOpWV9VSlsS1YPmEvmj/6M0i7cGFl3
UJTdOXcENeh/Qm0uw0KvLAWHOBIAo1ceB7XKPi/iUXSCFBhhT1LU02UyyuXgY+6GNSwh+E9dgtRu
PUJdDxFSiRlhRtctOzWV0czwJnvsieWqrz47Tiz5gd7YB3F3viwtU6pbVJvINLbt58huMY3g97hy
o+WXFDA0kF27fgpU+dtvLxduKt7/5HQC0rg5blKqUc4ypzoLfMpBA08W9iF1o54MPXU+3Y61cw2v
Ym0yjKkohyLsSZOjNpPfD6jgfKlEM/p2lN1vJ5wFcJij0bMlXOtyaY+ZWqHpoaCel0y18w7pzeIh
LoMjjtReKNy0aGjBQoB1sVmVyTRhvV1T2eiRhnwd5g3mhTEOb1VWfL89qJ2FSEpB84O2HS/ELeB0
yK1pxC+Ed8zcAHZCxOIs2SO13GoI79KkVt7NU278eTvo3nyBaRPrgkYWz9/16o/t3rHKgfnK5pyl
iCu0B/H4X6TUFIV4PAmGF3O2OUWolvbmXDO0tmnUP8Om+FEVqvXOrNN/sdQZCvkJqlMUtDazpVkD
wFRhtVAi+PdcGvi5cL2GlbcsgXR/+9PtrQwyaRh0HMU8XTaxKiEVkTkwnyN17DxDBm7X9dQwy3k+
ovDuzRJ5NHouCG/z3tqEimZlNOqRo1Fpk+mMfXN0Z3XBEcJxbwEKxi48a74Sa369FqrCsEcTKQzX
6pqv89TXPkWK5awjQuwCkUHS0hyqy+2PuDsyUQ8lbxfPzs3ITMmZ9cruKU9QHn0qerRw3SCzAtm7
HWd/bP+JIybzReohbh1I68TRRjhaiFJXJ3Qwe2A/zoIohpM9ZJV+ZM+4t0Kg/gFbATOMRsMmKLSW
0MwKhIe1FqrpKQja+FM6ROXnME/rI0b53pfkaUKdx3AMsvdNcpUoaYtsJUsfOU7Dy4yicTEHVw9e
dPtRWCWC2gL/WXznF99xxthyVJGidet86B6cOgGnr6aT+/uzJYhlMiUzSlZXvS0lKfK4UzW82Jb4
Cc0Z/AOzuPGKGcVaKbAfRyf4eTvk9cCosqjUdQA+mggJbetkSqdWysjiz3gleI5Rme+UQbM/3I5y
/cgRtRwFCL5oB8N2XX++Nh/UKIJgC4XEyu6iytQvqK82b4s6qNwQfOuJlqUJ3jHp/X8RWZhqUWsQ
pdvN+NCKqEbw5MJLq8jfaJIWfwLN3D+WXd3c10Npv2ZTTM/lOB85e17vAipJovIoELRQscSXf7Fk
qG62WcTug4A1ileNYZ8Qj1MueRb3B6eJWOPrBF+EAsQJP+hX0WwdCjczE8EeEao0G1dzYjy5uEK9
Kem+zVJwhBLbC8d56cDRwwuS7bAO1xkJvdCF/Z0OqDULMJ5nRilG7BD9P6Z9Lh3UcvfWqDhKBCGS
TGSLiY4VJIJGBI9dK8SXyNFyxyukQD24166PSuGyTg+bk0RQyTbzlTTo4ME9BF/itPEr3r/jnTQm
iSsvY+fGyPJ6EOcK7/by3BmayBB45cN0BB+xWZ6AJzFJawVLTwrHR7SkI98ZOGZuR9lZijw7hakA
jUhaf5tsR68tE88lovT5DLzWQrI/1s32NVpf6W+/Zsh0RP2Ef5dS6rb5NlKFGsycna4mcgAkf0rw
g7IXz1mq0lX0oncnIzziJO8sSLyuRKWYh9R1x6+okUeuCm65SO//VNLQfqCfVXySJFxT7CBPD1aK
mJT1dhNEWfAVtKdoam6xu5aR06Vd8A1U7Xl8oyfj5MM2xk5A5zWNRywVilzKHyZMN9/h3nmk13g9
m9AiSBxkGjSI0BibfCWLhkxGthpQfh6OX2wzkGuvgBrnL+Uc9geVv91gonTBhGIwuyUD5uMyyT0C
9p6N5vVdHc/6U7PM5h3PVOXu9iq95j6gQKNjBgV3XhhdbImchWSpWdnPuYdPxADtZ8DEly3hO0k/
P4bdlD4ZExJIU2TACJamJ32wmze3f8P1fiQurSpxTaEds0UagJ2RTG1BCwcZ3ulejpUK7/DlyEl3
N4q4bEk5yf22RnE8x1mjmZ17o9p3l5g8FygFJcDbY7neFSJTgUQjanyMSl0f01rXTFJaUEvTWmrd
WrwM92o3hA+xiVHySSm79mAC94bFGYY/CVSha8x3qLdoJIMf8JZaa951Smo+D5Xd/vZlx4gAgQBY
UYW0pVixL+7VPLGQtl2iApRcql+iCe5/tpQYkMtTfuqU8Cje9b2wjre57eaShjKclMKzZuk5AwX1
CU3W+RIbpXB9tr90TvSPJPr/2uW/mjkIxTS+BGyOoh1gvfUQ5aDoqzxE6HVSsf0dkt5xR91qLrrA
mytxeQTWv9rkxIMIQBkKwxLx5l/Hs6JiabtkYKVIUXyOmoqujwaegV955Nb9q7ezOjxFLJxsfi0S
mNObVHDieCzR8M09nE1mx9XHKfzMWppeW0s/oFwX5wUdtzlzsXxx/LpytL/kOFHzU5PKyVO3ROrH
RdWQFMVT4qlOM0wbsAsAVIwz91/IffD787z8xLO+vShmM7+lkI3hWazVE7aHzUGjcvfLcWbRfeGG
pVO6/nJFhcIzjti5F+eT+TTKVu8bw4yTTttKByfx1ToUH44wYDGEwOgWhNBPljaNPL69zJy/GKNd
/DUG+XxXJB3O9FPdJoOrZ/GR8N1eVAEJgwTJ/67of4UTkVNqE95akjL7zjJVsB4M6RQglXPOO0kG
nK8q/u2Ta++rUi6BfgxJGIjf5uRa0qQPalPKeM6hQ9Yk6uy1aG9SKCyO4Nu7oej2AC5DSpAH3noC
x6WdrRB0gNcBATsZkVG7aTwGXkT9+3fPYyYQQT203cEHiNLTOlRkh6M+2nrmdWNu31m01LzB6Abc
fqLorDl58Mftr3h9n4qAgBV1iAcIQmyhF9JEsU0Ft+IpU5g0J+xJnDPw5uyhx5HzaQyX9lGakhY5
3rT8HjuN6lsY+R7cqDsLiCjgPmCs0X7YKrc42MuVZWGnHkoMltfEWuktk16djDGeXzn4YiOPrhcH
QXdmlaOTnJC6OhffFtrS5h00RVtPPSQMYz9Ag+jDolgtDRhQEre/8m4oKlToDcPqIC9bz2pd8Lqc
R0KFjRzetW0Wngdb7V+1RpP9/mEDXEeIigqS01WHPs61QdcKiVBD7ZzKYLHPEkpKblk0R/WOqxSX
7Edo2QHmFRZmW/oWVuYCoxSkKMDw2pLD1LjDL7NxjcFxvplGPdGGRTm1EXAF1KSOnkV7HxU49n+R
dmY9chvJFv5FBLgvryxWVS9aLLVkyXohJNvDfWdy+/X3Sz3MiCyiiNYFPH4xpqOSmRkZy4lzJEcX
qQSVic1HJSKy1RCdkxbOX38QCsSttYqiWB2Kg8rOzlsLrhTUg2wR4AQ2Hnxx0rgpLJEHizGozI21
9UseQlFVhW35oBVGfr1/XvbuA6VToj8bXAu1l/XSDEGVxM6mPMgivX4qHAsymFovLxD+0EbTisJP
47Q5cD1yEZtHFy7w/xndPLrJXCwDuo55MIUG8jmiyOcXxrnta1VmziPqp/HFyxwNzQdTz/66v+Bd
29SzAF6AngYnuV6wq01zP+gL6crUG89LqfY+kaF1UjsES9tSfM+8UnsSE6Lk9w3vHSJqx5INVwpX
b0kLvLksXZSX80Dtl+hhJvf9zMhtdMJdHeFAd00Rrf18JiVf03qNlLbyslbLnEEC7cNSqM5LNTiM
Kgs1PICH71kyPICy5CaSsX/zXvHRJpMZPQRtxwJRzm5RzuMEKjOdnPZy//vtbRy5GAPvBHvAETc3
o6QwmNoq7gaK0PJxLtK28b28+Ng0rXJFlRSG9UZTaAO00+f7lvdeLoqRdFwwj8yfugmA7WSEn3C0
8HQLanK6lxqXplW7R3e20WZqpzn2ncT9MjQxeoW6bKgP1NeC+79i76bSMmeuCrfAq71Z/xwmmayb
ZEFvpt6j0GNI+swyPjV5+V1Dwg9VVzQI79u8SaHwuxJmQr+IuJ+Vrw9SnejFENUzNhOGPiezEx9g
/XEPCmp7O8soCsRFso5hbykW+iKap7jzMtyrmN6XJvvpzlN44bX85oRWvZya3qnfzTZEFgcfde9h
YTaPSS5aOrxhmwWO5QCJUVvkgTnobX1CM2s8T10WPVhW1n5J+9r97nrRFPutW6B+uLiqcvAL9hw+
2SMsppLYg6hk/Yl7kTUx5KNZYPPInUifgYjEIkXnjupNWppHo/57N1a+oETvYKkp7a/tJblNB1XB
npVa+cmdvSXQGju9xF6bH9zYvaUx9EPST3WIa7sxlbYTIpqVQdjjJbrvVa7NAH/YPeR2OZ/HbjEP
ztHt0vCvkr2TvhnVxW0v3zZbbQmjKAuGafwYtZ146lUCzRwwz6sDOjAYlGSkL6I5so1Hcknx5Zno
eBdpLa6jymUHJT9cinYwD87HLVWAxHvwD/1o+WJu/Z7XlSbF4IKIVUmmv/QuGxrfFAm0U203Li8z
Hb1/ximfTp0nkktiW+LDUJW2r9PHuBTjWB14w1s/xI+RBKm4RGYut2jCXFUcs19Qz46VJP9UldaY
IR7dmQ/2SLnKD4u6+xyJuowOfNGuXSosMA27gA22jV6h0/XvhzQLjMH+e1IQ8QN74LwRFqVwsu05
KIRlvNz3f3snivEN9Agk+98N0t6j+WUiCJ4F5qjlTAiO2cVJR/XtbCCl8RumeNVgysMLkCet7+Uy
iog/yja3QBsvlpss3JjGRsOkPZKeur2XOmANDjAvtkT2b1xO18W9JUxMjaZe+UPGhHvfxHPQREgh
gjo7amXsfUX5agGxARMKbnO9tDaxhV7mDbeltN7HLiLevOXlxe3j5fH+R9xbGYkCp0MiNW/eq7lM
DFcZWVluJ5KViJmFpSkif0qS7qVHhfMASid/+TqQlSARomamMcgqt5tm6jNqnxV65bbWNJfBUbr3
jdvqB8jIve8H7kWy/csJ9m13XtMravxFnQZwmg4+lQ/7bGW0ugQ+53z/A+4t6FdT8qf8Us0sE7Mv
4x5TbpVp77M+TK8QeA+/cZXJo2hCguVnTt1YW5l4CrUI3RvowrLp2St7923YwilqDVP4wykZbK77
qj4oWO2cDakwIjlX8Ftc57XRqENEkuc+Ceii/ROGlG6KxXCQwGDgbA7Vo07vzpf8ybENspSkH1KZ
tbkQPiq3Aq8BMLTpLl1sT38wHvU6yTMGsECT/SyEEe3TrNgewNbTCzNGnzUQRT20vpKij920dfpt
ipXpHSjTo47EzlmU+vYM0FD30xiFXC8L/j0Xi4Y8i1N7YvrLOtlxDJlyekg2smeKB4/CAvVMXr+N
m6qnNouyng3Lw6IN0HzoLnPJYwN25KiHtffIyjom41TEKkS7m4zJiDNmvHG6QT6Gqo9yifa3Fiom
wqiJ5FTJpVAM4gTo73rqNRoLxL5zcvFSlOVpLGzx/f413Fu6xCWoHFNSq23ryWTCfLSUNoGUXUne
a2jmvsXpwUykRkcAyJ1n1aFFSreSVqVkQVxvaIfulV2guh4glZL7htO0l6wWQK7jpB0gJtLCc5V5
y8NrF8jrAzgArBF8A3CZra3GOm08V80YuGoT76xPovWzCYdgpUl6kKLe3nuDRjoAMSbe6QRvNR7A
8zu1miVJUExj7iddM5yBrCHVUjHL76G0e76/tNuLD35PVlYp9rHIbZ7GaDA4sR5C/QWSuC/Ueosz
I4PK9b6V2xMCYZJDrsTloMW8hXOIbLJzptnjYOpHIyiatIEhq0NhB+2XA8e5tyCGV0nMYKq6ZWsf
S2jmSk2JAiJ2Bdgbo8kjZf7g/oLkbV4/pVigKoz+B6eQ07w+ETCO0hYc4ikoIaL6oKIof7Et2KZa
csNrxv/NdyKl/NA1s/v6A8IjTnWRaEi2nDZpCqPmzuShGhvwAqPk0nvi0hnd/G+5pKhFlNl8cPZ3
DiTRkBxykB0UZg/WK0VzKeysHnthW8xgqKr8VKgievT0Zr7aOUO8Bxt4e8VJHoj06L9qkhtm47Pz
uodVqCBC7tImvNbM60JxuuinMGmtJ5pV5pORiPQgaNkzyoAqPozMHmoxeYB/iSSGzCAyn6YpYFS+
POuZcM5Oh8SVZgvlja1H1YcEWbODwGLnVoAO/p9R+el/MarqLRgJABB0Qu3wVDWL+0wTajy1SNp/
vH9ed9dHmA67PzfjZh65z/J2HGrOK7q48w9NG5HNcBOlvCT6rARdwVEqK+fVo2PkgUwhcuWpRUPu
utlKEyohtN7zKcgshlXous3BBBk5o0ipR33Pcl/vZrBHiIaKgEzkN7tYi8VDM6ucgtSZ0Su3jf5s
wj15Gp3Uudz/oDsOgNTuJ/0ffS/eovXehaHSDZWop6Cjd/O8QLBwbkODWaM0TTXtAQYc5Rpqavm2
MsbwwPaOi6O9J7thlGEoimzODdTqqWi8ZeS9G186JNbfT42Zfrq/wJ3DiYQyY8ewMhFrbMshRE1a
iXzrGIjYkMSKIrnyvNdBlszNQV6yczjBjNGzlI4N3oFNOOMlWTZXHt7TLenOt9mwUJFUy6fCot+X
12n3p1IM+YHRnfXBckAJT/pRjQd3vYGzqiyUZpIxsL3J8+MyVwOY1ruH1Bk7//6nlPuxfiwY42ZG
nOl0yi9QK6xN2VYXat7IpD8nMvmmAIQ7mQxKfaSKVwQphf+DytKuPWCbIHEAH1H9WNubQVzUY0s8
ZM6W+1TkU/I2zqM69aspKn40nigODN4eSBZIb1ays5E0bztOnRs346QtQ6C1iKNEzdA/J93UH7xE
O1bgm5MAI0kEBCfGellxvGSG3igi4MAy1wwM4gl9ovLAKe98PIo2zDECxeFUbgtGy2B0QuNVDYbY
GA0i6nG4hmOUfVFakTwvWhseVAF2liXnpCRJBPUp3tn1siprrBKauiLwKlO91s6gnOPjAfvbO0bY
SiMCUnJpZwtVXlw9azx7EUFvdckfUduHT0o7J3jmUaOcLJw/4DJpD3Zs71tCPkGYAoWTTC3XS0sS
RRCvWAJMU+H+gPE3P0UMxzzEM4Tb6TAdcd3c3mkyMOqOkpqT2YAtVLPzGoa+6mJAB6pAISdOmqfW
5MBQvT2C8e7sGv0VkFTU25jI3KJ+ZpF6S9eXHPlyaJ6a1NCuWUxKct9z7CyIWwwcTLI6s6bNkV+s
VGldjQVNYZ7/oadtf07NCnHB+IhS9dYSeBGw1kzTA5Mxtz6DZlXs9GlFLOKq7XuzU61PXlEsup+M
jRcfLOt2qFJO9PzcJSiSccGb1xOSrSFBNG8KRBJXAyzgpcToL4nr+HBakF4tdFkeRFTMw9UipoHu
Z04seKPKVC1PRTGLzLc7gYRDvyhWd8q8vvqst4P7othO9GaOzeFvAlcPpF4DAdrDTI3Z8PNRN5bg
/g7d3iumAKkwwJMhCTO2MJGB0YbMiJI+SCIKNn48FdXnjL5R5BdQlfjwqzOH5Y0HF+uW+ICYnPIQ
YwXwsnLmN6+Xh8vtirjug4EZry9TuCgQHg/Wop1rIeb+mojRvphSX/fSjoye23No/Edx2tr2lyw2
vQMfdnvRYdwmeZQYDujVt1rdUxzl3UiLAdrxLnnuSJXPc5SjXDVk/XOWONHBg7Nnj6Y0sBF64xxa
eTt/iZxNZN4zLe2JvgpLPxVQ4p69hhHcGPCkL1DOOngUbm87dW60yElL8DA3L2o30FfJKwLLxEka
wA4tV7DMjsLlPSvSV9KypemOr16vCgFQcNqgMYOhTL1rhQTuhZ5Ue3Bib2+6pCSSXIa82AQkm+hg
WFqtipCXDSLdTc4U3toPZthkvsolfDU8RJoiSIWqmU7wFkSQzqDZc68h/kdYDMXpYvxWOIixEpNP
D3ZYRX/ev4x7S4OkAuolaC4lKfr6A9awrTHMRGBcm5N7auEjT329rGAsM+z879fbkpEIx4/qPTWb
ta1OqQUHBqKquTPjZ56/8Ez1KXs7KHN5pC+142Q4EASrUrWJSGGzrnaaSjxBRPamCvVBmTzHD/W4
8mtQSI/NbE0nnTz9fH+BcgHrqBUqE4JjWKh5GECWrxcYas3k9ar00VMjQCsm8UuRjULqCLgvMxxh
j3U4OJduHrSv9y3Lv7y1DGEzwCKQfnR9Nyd08iJvWXK2UTRCreFXg3iEB2B0f9y3s3dcCI/h6ZJD
adDjrVfo5o4jkhE78GymQUEj0c9rt35rjvV08DH3HBYsQ9jhcSU53ZiigzCPyhxCa8bl81N45C51
CotB6rbPdjYOf91f2c7eEUvCEiPDPQMA4Xply5QliMXK7LS0NIRCgWiKxKsbf1gW7WHu0SOOY+H5
g7EckaztnFUZeZF3cO1Z8SbmA56h6UWbEUhES8aUpJHDFpEAFjD0XvlKj7D0J6eervcXvLOVK6ub
72vk0bwsI5UGA+ofBArz+VmLoulUe+KIzmV/gbL+LJlCOTbrb8uilUadcWqTGiWXybRnsCwVRQ3B
G4xm+vjsZtqRtIX8o5srIbsKcBRLvm1rC5R0wmqCkEOD9y9T4YWO2uhdOC6vB2TzpNKKlCEVKcKW
iTSfRhXe2IRnzou+9nnqfMwXJ7y0htCP+ls/k97tiijwUe0mgEIKUX7mX55wqAvCpa+AyNidW7y3
4lw8DlFogh1OqnfaNCn/9HPbB3rndE/QQFcfjTHrlxPOIfuYDEv8QQ/tf6LYDE/EGN1/aLNSeM2t
OfDcSBw1GvfuE0N0ZGf0vFH32hRBw2iEl7DmzdTjRRJLwQWet+AqK/BFAcTN1TkS5XKmpa8cPKG3
p43qMs5QxRHT9NiettHurT5zHOir1DqZ/cbN6g9qqTIJTK0++UNbZld7FEz6RAeGb28UlRiVxI1q
KNIPWwDDMBigRWbqvv1s25elb7xnEvvcX4YwfLVzxJQc4YPFmQbSlqHa7tXQnia8VTorJfO7zlAH
Sjva7y2lajo/6wz71e4CizJFBBcCLsbdhM+q0rRwtgge1N4agyTx7EuBboaf6K32cN8z3R4dTNFS
hbsHNDmHZ3POQ6GnZsnRKXrHvPT6kv2bKaX7HpHe7lwPzPlZPTOgqpodofNv3xws46Poy1E3oWyy
tmxERtNAeDsFc71MJy+bwjdVwRsXhyMMB2VWty/3l7prEIUlutYUu0Crrg0StDazl8go2XWaZ4fp
PT+v0upUtJN+iRNwwfftyVds7UJceENpXtGfkMnr5tNGpibMsMYTFyigPyWtMT55GhQ8M3JPAQxN
+UsFjuNaDfXim0v7/dXWTUeW0g1+AM2RTQ4b6XkjaAeS+dkmLeUooV7rG4WL9/La/pQx2nFhuqx8
myaiP2t6cwRY27mhqx+wfWnHRtGK0emDvqF/R2cE+EhfDG86azqacbp9fggn6Frxe8Gy0nhe7+yk
ZY5XeKUIULruAlggITZ1+yMQwt6C8HZcSIqI8MJuD+w4WnY9NCJobLr14YyjmUOBCDxyP6f7m7dz
VGXTk64EgYpkV18vKOE/1popRKBmyKSGmpn55Qg/YT0X6ilWDmmk9pbGFCEhAysj2tsEZEPZTrVV
qyKwsqh8cBUcadxXy9sakObB0m4ZqamtkG/AqUsLECWqzbnoM6US4EooKFI+UYm7aF/72aw4P+hm
eYuP/q91QWl5Lq+zzoj/OYZ3570rYig7wkTALgRQQhNnisvVSzaH9ps6Ivw/cMF7R4qCAV1hHlUK
4/KL/fL+02yjBJT3AiZjkJYtyYBfVHp18IrtFEqIC1EFY8QfECC16bWZaXAjr9F0Nrqqu0vbVejR
KdRw6zZFjLcsUYLTa3FBHmfiyqruyYUn94khrfZgW3ZOHD+E2IEKGxnA9slpZgZvBQx1QSVyD1XV
ZLF8GNvsE7mswYRi5Lw6u+F5s/m6hP/Eqts+aozyW12k0RhMcSIeHXegQjkMlNmsUDlY244jZlQA
xDlegkRx2+BQiwoY3jwOQWkbKA4wFfa4pEUaICnSBwwTJkwRqMNDs8RLYBTJEdZy53JR2ab8hm2Z
xm0OvLAZnk0ql/5KEqlPbm78KBDZ+XNoD+/WzqElfwP2yOWi9rsFYDcwspRqEsLZXNbGWfRZ/WkJ
m+SABmB3PUDLKSujk0QPeH1mrSY3Y5LRIWinYnlKl3E8x3miUSZV6oOd24lOKM5AfsGEC7DubejV
OF5Z0HMZAsuOi89i6cqnPPSMj5qe6f5QI0FVJtrkF735+jIUsG5qJxSiNMB13ub+OwonCoz5EBR5
owUM2RDiNlV6nuPeOIgTdp0AUx+SGQYADw5//UGhMoZjyaLX1/Zec1G1IroWZVqdpyx+6Ssr+2Ow
9P6NnvRFMNhL5gvPra6CZOjga+/5AKJpRsqZTgYduXFGmnDdxq3yMahmCPH8fOnoMKlaPn2JSxOI
dDzDGXb/odvJH8A/MzHM3CTdXGNzN8xZt/MlpY3rNX1Cj38wEKCynWd3Rk5nQmnspIRwRN03undN
5MbS+oZdlUx5/b1nhgeFbgm+N2mTn9uT8tGYq/SP+1b2rgkBtTxARGDMjq+tOKmRWGaL2p3RR9Y5
DIfKh7GueTfp1dFM+e5X5NzwjlApAsqwNuVFcypQ8BoCFI3hTNRChmoTMVRnOCD/7adi+Jyr5lHO
v7c+HiywE5wYl8drbdQsNEvYVTUGUHFMHErRVYEqbP0dWhZHUgt7C6SyrXI6ZVth26nL2yXUx3jG
5WhD7D7aVp8kHxsIo63PxiRfqaiCHNfSx/yoF7R3J8CbUgfApfF6bELLcZlNs4daIahV6OgjYveg
HjpxEYk2nkERHnFyHNnbhO2hFk5GnWIvqfs0UJshPudNW13U2XMv0WAckYjt7SLzK2AH+ZfczvUu
SgahQczVECig1r4grYcitghNcUYFPDloixzZ2hxTY2LgP6MNRhtm1M/jbHlP5UwBrJrjI1T+rimq
wzST4aWiabheVtQbDaSQtPyNurA+96JPTvFQqOdJsV8/tUdPF4wGfTaZSm8rEdngKWOlczYrpfWu
MNq5V72l7+9xPS73Xcqe44ILCiFEiXajk7BeFQ+QW1r6MASMTpnaueR7DnLu4Mgr7x1CkgBOO4RM
wK03rivOEmrrpktUatrJB1PJbdoIVvpUO2bUQR+8HN3vve2SIq1MP5KyMuK0XpiLKDwUNREQWSK0
i2oL89KU6K6Fk9APCh67piSiAXHWndEQerlRqS8hga46l+cMcdBPHAxBKcBKD0ztbRd4XHoiVEVJ
GDefsQ1dHb3fZAi8cOgeS1K6F0U51CbYXRDocZtnlDbvFp4EJ9fixhAHBRVzE9fULhC6sgdR+UlV
Zwdv2p4fBlf2X1ubfeqNynBTB8gC/AL5leEl99lRJvd7nzPKqaixE6QMk/3GqadBB68CgHLKnDJI
/CUVy9O6b0SKi6KiUf1baC0zW1HvhgdRwe53/Dl4K0eZAdiszVh5nopy5NAz05ymj1oemU9uZHKJ
Rbg0wf2bvGuMySuJzpCo482z0gLqqqK5JicYOjP0jdqKn+a+VearqeHl/d+wBgIAOkpYiZDfXi9N
g7JKHbL0J/CkemeHI2Igk/EU5YdsXXvr4tshZAPKSQ4BrC2FWupoClN1gR2pVH7c2XlAAORzPFTK
AdB4LzUg9yCFJEVH4mETfthL09plwhesUbP6okxwCTiVnknG6+Q89L3ql5OSn5Yp/3L/Y2p73lGG
yKgyItbOrVuvMbI9JStGsiz4s5dne0TQu7Lm6pqKAWp3oVjXvDCnP5p6SL7CmBQ+t3qaLCdYurNz
FVfd1U4j45saisJ+k9tx+a8whvk/93/k7j7IlgA+HHKQ7WGGd7xONY/3z1NH6yWNR/C0uRL94w3p
kVbJ3uegKQOsAoikbEGsP4dVMoraODxKZehBSot/uNjdDKu/DtgB4a6jMeq9pUksC5EuUARApmt7
faklPCUTT3s2wx9W2ukXU3KfV737O0kgM4T0zGTuCcvl2hRXN6Y3ydLsJkWBAc2n9gss2oN9SmrU
Q06v3zP5VLgQADHQtU2/oorhjnbWOFdW5Aa910VBqSfQBxbwHNw3tbdn4N5k3gVMBYTpemHD4MSR
OVIcHmTHPtLRqp5KcyaTjjIEtL0h/3bf4N6mUdCkagBAi4Rh4+8Gs+ldI0kFfGWm8hjlOiTQ5RAv
XNI+PHik9p5dyObgNaBwIFOT9eJI5p1qNrFVDebwMcvsXglIBwfnYL927MgWK8NiDC3Sitq8S47e
zWUBQW1gjUb8aBVzc87Dpvjr/pfbtQIIANwNedZNa5UZnmJAYFjACNh11WWoYv0xSvTRu/7/7GzO
OhUcsIg8gQFYrMmf3akGqxUnBwXPW50IWv4Qn/0843Rwt/kG8ojJoCH4GtS6Ec9Pdl5Nml/VOW5p
aPLsq9on1fdxrlrxYFS5RjIiYubrTWAk35Gx0o2zOlvdo6ZGShwUNJmFXya5g3vTnf5bW2qa4qtG
nLz0SZnrQViXFBdaDQrTd0ObldINzsbgD2FpLCfB5GxGmSE1H92OVOLcVtnyqZ3zNjwIBXcunBzw
gxeGhISq2abEM1odg5IDkr1hCSuuWyTzS1tF7oM6eolvdFp3ef1uEg5ybn4CyLcNhCwsTa+GASLo
rND7MBut+QjqwjiK23fiQSpzjNISSVMP2xYe9K4p0qGWL33bMnmmA/MnWFMDpDj6i1ITyPRkRQcn
dceXyDEK2s7UH0nvNg/AQj9xMXq+pQqJx8OYTtnHri40n4EA82Db9i6fJK6k3QMFAkHo2pWInKIK
Ytc9pzWzqH8V2ReDbvBBKLNnRbYAJBGnHN+Th+eXALdW9EFXopJWXaMqX4GSjqk/UhwP7p+JvTqj
jFpo2Ev2bt7QtR3L6zOz090ezulEqIHtTtEfQ454+aksE/vvphsZfmnaLhrfjm3Zv6DRPv9IbVvR
zqaWIW9y//fsLZvojaoO2kYMHmzuhDa11RLGdO1CM539JdL0h07o6uuLDjbkbwC15CAFA3HrRTej
Oqnhggi6SzHsLwSGygf4ZLPJD5ERPYiz966D3EfSB6pijBKvbWVTlOWdoXSB1imO9laPHAfg4pAq
1cmExzb76KWKm/sw/U0/7n9L+Zc3vWab6ikOhmYK78QmJp27vO00hGyD2FIRFpn7HJkdNHnea15k
nxhDnw82b+8S0gJlotahHcps/HqpsaW4pqIMRBC5nvmKozjwKEPkX9t6fXBud9dGbCmn9SnEbRkW
cmStzWy0+qDqzf7RGXP7FFrxcB3sWjxakvD4/rfcXRqgXWjfwArQ5VgvraUgTFCLfzG7IXyOK8VA
NcfTnoxYO+pv7C2NlrLUP6d+BIBmbWqAmKgfoAkInMmMH2ZywlNcO8nF6cL+TwX7ByHLrgsAoQW5
N8EfQ7zyB/3iagj8RihNGXko6O+cikG4nt9P03M9lUvkj0U3fS4Xc/7bchDm8w0xpVcatNEH28jK
o9uy951//S2bm0l9rjMj6vDBwLeBDJ9RTRiCLfhP4ug3ngz8HQCXn0QJW+hHHBtDYw9MzUDRJhAB
KzVgm2l3adrJPN8/PXteDfJfeQml4tf2pdfUMYUVjQw4npXslOn6+IbSq/r1vpW9Ljr4aMm+QEFF
AqE2G+mabTcpE86zrRz7nI7afDEStwmA+TNcbLvjG8tIqzdxCSCva6wZDxuKqb+0mXCYXaDUcgXi
XX0qQ8t67MmaD6LwnyD3rUsCHwswGJZPzvjmmdZhSyyhFROMkLX9v9WSOm9NdZ6na8k9vtZ1hxhy
kTndcNX1rP0EDN/7GptGdkF0N/2e1IZWnKzZ7eqgrcfyYJf2zh6tS5JIjU0ilVx/vrKGH0ij8g0C
tXWSUzOG7gPQTOtbx1jtgT/Zu+SSEIA0gZcOeOTaVpsKeB6mWQTJME4vGYIkp9INQ+TAlMVvksT8
cP9s7KyNaSZAw/APMPd2c8d5VhfCNaq3QxtV576ZuNpWSggXaMbkZgc+RaY5m32GGJppbnwKPdrt
qKkJnes4uIwapaFr+raAO700R8cfm7p8C6hXvySZ+pc+jd1BLrG7TsngRtGd932Lx3G6ivHQnOkj
apJjYOppenUzgPXq4B4xLPyMRW4WCdiQ11UKTmzbwSWDSbOhNdzq0kgemlnofunUwvdSRIyV3nVO
WtiNHyIFf6KMCcoCxvxq2SYs069kqBduNwautr47BOUU9/S5hPA0KMbs70J05bmD4OLgxO4vl/QM
dIYUndgq7Dpu2gC5p+Q6LJry3ioj6yMTXu6TNyKOosZt5i/L7AQFRPG+Y8zO2U3Do+dhJ5gijPrv
b9iCWl2mM8g9IIuv9a79Oqk0oG0kRV5gMyifxinxPnRpkb0+4CcQpRHNtSGp2d7VLvRipSiAigzd
MPrwaejPIaNMB1Z2PIKcW6A9ReFASrSsPUIEBWuf21jR0Gz4FMVplZ4as3feLeOsnsOYqszBju68
Skz2yhYqdSzZ219bVNWkE2Gn8jHNeF78wmvVytdjz/z39b7nVzubgIaBwBipZOqOdDvqyzgV4bmp
QdmMxdgccHztLkkH0YNUCZngNgKt4yUfFkewVU01njW49y5mkxxVN/dOIeyqcMdwFJEQ2RSTbANu
yjplq4RJXB/poQx2zeks5rYJYlztQzHbR5NWe56NOJcCHVPSkD5sjLp2BRen+Fm9rcondYauureQ
GkMiIT7w3rtHURYJgDZLJfbNK60tQCT6nh6VXcF0XiKUrPmLi3sDHJcHUdl1L79xQiQBkcGwCWj+
zUkcXViio4n4yGgMxsvThU6p4kSf7S7Prr9jiliMDAWU8XbeSpsXV5ll/03rsoyp3rkKGjd1z05l
HI1l7+0YAlXwqPM/ytLykfwlrjZbeOI1RTqrpmr+FM0SfUOww3ozllr46f6q9s69DN3lBDj0I9v3
lqS9d8QoW0dq6n5iQDr/U4GZ4OBc7C6IkhdpLNRvJOnrBfWqwhxJz4NHxU65oN3R+GPW1g9jqR69
NntHkNERgMowOcDOuDkRERokk+byjte5iC4wqSsPeZtmnxZDtBdIuMIDx7F3pYEEsCjJUMNnXC+t
ZdA8QouAZMCcmqAWqvc+jqbJdylxnJPYiBHkXcIf93dt73uyX+bPiScCls09s1OlricUUAJ00txP
DPGPaH+L+jkc4Uu/b2ovIPvF1DYDIVnOmqymxKq6cTFdkjhR3uWVo9S+jWrmyemt4u3klEAhcXde
cN/43mbybkJUSuxAeXxzbpY6TcxaoagjlYHekl6+z61WDVR9Xt4menwksb53GQBwMUggSztA2Nd7
qaOGCOfrCPLbVJkEMq3ponTq60mb0FAjlZODY3jKbfTXhwNR+6j0gYhi7VFzayRrskPSpr1zyXmU
xHPUHYCNrdcShzA0oezFuVzEDB5nns9IVJd+31r6xcgMNDtiiKfv79fuBwSkRlcEiBMA2bXRTC/0
NOqoCQLTy651j8gEUx9HjbQ9K7hgjj31RxAem1MRQu9h2ElOE2MqaiADqMfMfVic769l744RrsJI
AsCctFiezV+c8LQwYGsNHPwUBs4vSVpOPnM7c+Q7mf07AZWcQWMMlJdFuwHBQq2fC5vihVO71iW1
qoLhGfdosGvvNhGL4hkNZpQJQNYrkoLtaSxUZoCUvodH3ZSBgFVc6yIrHh2nig5u7159iCgAdIwE
JmBz847RulMBWTAeiSoyeMxk8a65kthvTGWJz2MIUt9YauvSLKni95ldokVnhtdFn49k4vdWTldZ
indAAEe7aL3yfhxGPXdG8jrTEv8YZp6eCmAtaJshMqFFqfnX688ObGVSJwQBY4D/a3vqXIdhYQ/Y
yyvlLQF4dgobN/nopswA3De1dxnogkqYBPQIt1LpSTi73sjoWjy13iXyuuzziEjqbwQ/UEwRZUEL
SCC5WZCW57GhTUw71aGu+KWWRsGsuESvivcb42pM3zCuxsmR1CYbH1K1YwzKDvau1O5DP7XCCjH3
cPiUz+N80CrZ8ZH0C+iRA9GBpHNbYe+yjlKYJ4nCYsu+GGlX+nNejxc40FpGFxz3RAv2iIRwzyh0
h6RPcPJL0YH12RhCkeSu1o8wKyjpNz11jYeqHcTJzSLlh60t3dULhfF6lD3tOxCFdLHJ+rcd8xqY
wwgX9hgMSsKkFhRapyqt6xNp3PdXnkcKRXK4UU7jmHIUb708e0AQPUli6mxx3p3mDkRARXf1430r
NxdaWuFpY9fAINH2WVuJs6akVp9jZRDjkw2E5l2JCsiFyPBjPCivpi+X5qBaYLqcw0LutjYX5cbY
DnVSB1XsuldFFW2gDGaK8KpmXO+v7ObZYWCGuAB+KbwHD8I2BpnpVYZVXweNN4kn0yuWoJvT4hki
raOoXP6pVRkKUwT+tCTh3JUyMetVqX1UOEVUN+AZRikTUVu+09oZVK6K9xAC5fXhZWkea6rc/uhN
r6bpk+ZJCOE3ZViM4uLafAFzV5V0oHwKuIzOVMmaj3UhZ0eJw4K2bGhztfNRhLL3eTXaohKozzuw
XXOttiiGFVETSCmjU8es+aVSkO00kjC6vH4nqc+Si2CNjuHm0bEX3tvOMurAWZzl2qU6jsUmUq9b
Zz54BG58Cp+SyAEaSarjUm9n/SmlNJUNiqMOVC9SW4poYfeXTjN08qPaVD5URm99YP4i/nx/hTdv
jzT7ExggU0ggsGuzDT+lHSOtDiatgohg5sFLoqr/je8ol6Uzog0fzfauj9YUkfdyTsqhL6+GpeiB
m7ia34+Rd/6NBUk0AC6M8uhWrzaaHcUzQxakq0790Si4pJTSbIiE7tvZO4UUmwBr8tJBib5xX2NP
mTvOzRrurqQ4u036n0l4IFAG76iBtGdJTuHBx8eCqOOvtwgKYU+hRlIFvCzugws6xW9ST30zpFb9
2jeG00Cjij0C4SDRoWtTEW+eMjqURaw6Gf1qGNWru0w8pJ2ZP97/fjvunx4IA+0cCoZhtvOUHIFk
gJ+8DKLKFo3fzbmavtUJ8B4z+IaTU+249V+vN0ljAGiXZPe96caj/WYkLBB5025MzgkSSn7aTYuv
oYt9LV33qCW+d6V/tbcJE6Y8ZDMHlD8tofFY171ySid9fnRFaMDHEMfXusmOOIzkadi+CNQxOPwa
L96NAknJc211alMGulKWZwri6imnnPI8Ta4tCbYLf8xVhyjTjU7GZOsH1+92zUyNSnkQEsj/o+y6
dhtHtu0XEWAOryQl2XLOdr8UejpUYJGswGKor79L83KP3UYbAxwMDjA9TUmssPfaK0DqXnz4zgXP
TK4MjrEBTmLnkvqkXSYoPGYqp4ewW/R5EWO//P3F/rlDTlJVgAxokqGa+2huV8XgqegZLgz4Z4JJ
xBAcV3QSdQwbiP98kmHJ4n8ANOChhMe93yFuRH2GBY2xqlyzZzuvW71mpH/oTaG+2CH/mti/f5Uw
+oSSBIM78CqgOn7/LJHlMvD4ZuBf+okjSsKWoh6CsXuT6zBC/4cg4Ebbnk6NWyN7BXI5btwOQrMY
Fxblbznp4JxQpiDCfnH6/XltoK1GbYjTAkKX8uPuRZa67rs0x88QJOJBAJ5rQkSpPP39vf55RmDW
BDoEjKsBEsAy6v0PgDzISbIS1Y0IY0jCeZDVtJirR9ep13iZyi/mh599KTwQnTqwApCkT8vsf+AC
v+Um1cA42zKf0r2B2lvfhKzMv/Iu/OxrneSyUHbCqeQPfHOd08Fj4WhIjTV8xSYmuxqsUloPoPhe
Wxd8hen/W3F+XElo4+HBDToQlu6HVQvXphCgG1ZtKRg9X+k6XlfoBx+nADIbZDKq9LHYCJSCcMiy
V8RV7q3LK9uSrhpfxFDmF3ai5UU4D2jlkkov50qzFCG5gt5LFXHMrfSXtJvT8v7jQyMX94TKwsLh
o8yjIOiVk5QbiG2noaiDqgvvtI/lMUGm5nVVTOHlkG3J6xYF1Rdd5WdvCDyFEwcNhR/cW9+vhA2u
Wms5Jyirp/S3W2l1XXk97HiZPhuQfL+CEz97HMhF0Nhi1HhiKb9/XDLwioSG23ZDANHPIcjWM4dw
C/g8JGXt+vQrVOeT8/Jfq7IChyUKmI9YPh/ydJjmwMCEI56v2WSiGrBpeq7K5Ssv4U/uAzzq1OGh
+kff9WFPhSmbwg4ZOOCdmtnvS+3UbgjRHxypxgaWiS1bSzn/AtL/E7eCmxfyM3ATwcMMiNGHs9OM
SJQ1HQQAHoGpcLwSFoz2iCymFpKSJxao7X4M3diKhRCNWMvKrhdZspWqNimVX1mn/3kr4+PALfo0
3D1dEB/wzsESWdoxNm24OPcqXArX9LJfL020sL3AlO2NFeso92O88Ptt6Nz+7yfpJ3sJdxVO0BCI
K8ZspxX4P0dbZT2B3tra1tCte1UI1qgLxtm5LgLalFz4x0255UyNxVfDh0/WGli5oJie3gWu6A8N
BnSDWTStzraqDIpW5wu9jUPKLkBekHd//5KfPgoTN8yzT2DlRw7PBEE0RigjDF8GRBX3nqa1A3Wv
6Tmo3X9/1Cc7FrDPyV2mPKGjH6eko4sgzYfpRutC5M4cfGCWCVdzBnpnNG39zsbsq7b3k530P48E
g+r9KyxFgtglWHkiIrnAoNSAIHiM4iH6TbM8aBYF84gsFev937/oZ7/p/39RkBPeP1UX+SaCgJiW
lt63NDcYEk2bv8y65Kuj4tPf9LRhMQT+1+vq/aMyRKRwCufN1shqPOOVk5d+VgFyqDceNIQthH9R
xXy2KxAjAnAbfSkOqA9fTrFchZ7DsZTFjtdkHMbzaua/eMzNLeTP27GwWXUNB4SvlD2fVBpAL0Al
hf0HtMjJhyoZ/gbWJtyYlrguP4Rdbxr4af33xhGKNIAyJ3LQabT+4ezddO+SHJ13S0P1fRykv0qi
iECquU27/7xKkNWH0SlArxj8vg/fx1o1ejqjs8oJ8iRhxKfbZUEyBDxuv2IBfXKSohbC18JsD3Lk
jzP8dItiSCcibIAkcbZZI6EvjIP0D15AgT2WMM96ZvMyHId06C6FA83u79/1Ty7UaWSF5wPzQpOM
E+D9OvVlMRfDv1wFB4EUpHQ/5xnAng7G9GASYDcRy8sdRVlUD1NeHVC7fxVb+MlWgZQSXSxqE3yG
P5zERLitE0dQe9ovcp+LdLlZdAV+8rrjfSXP/v6NP1mt/wKZEJpjq4Ah+f4Lw/zcrqTDmQPjCnYh
x5w9zc7yL57yyWbEUyDSQguXoff+cFFIF7EClQi+EwKD3+awy+sq6fVVVSh10SHm4B6ljEIx6L86
eD5bUqj0oDXHYQC3q4/V3lpubDEhcAEaZWfMqLIdBEZLlIvlzHIbYMYWxe3qk3FflKt8/vvP+9nL
hMwYw63TfA2Y5vufNxadJCoFTCCixOPIKV416uQ9bGt/hwGLvzjzPjnQT2J3nHfgLqK6/fAywexJ
2cBxKHgsm7Ue7WCP8dDxa49BwBdb5c9Xiik8noIJTIxq7KMwdiwrI2YNB7ZqIdsdyzPS9AjOqMHi
yw4walct5QQxqQQf5O+/6Z90aNTSIC8BA4FREGioH96pJtQ6RpVti4wi1q9jGd/FLjA4aJH6Letw
i9Ozwi/ZTpamLHdbYeXeor/p9t3I0jqctBG1cF0R12vCbDuny/T9iw95+q3fdzhg/wKuQOw5QETU
SO/ffJlTMfIFrqFmpdtF7E83kevG2k3rAPOrcrr0+T1G/G0FcSarwzXPznhivhLQ/llZ4GNAAITV
B4gA05H3HwO2Ermi1MH6akzy8ymY36hFcNc2p3IfwfN0J4j/Cj79c9FDpn2Si5y8qaDEOf37/ylI
qY9HTomFxAn5M2IX+HWOagnrzPAA5jpMIKvJbOLw9x/8z7WPAjjF2A40H0zSPrZ1IJkViXRovB3y
RhoMI2mzzjm5sUJmX2AJf0YG5AV6VjQXJ3tvDEc+vFu3YUtUPWyoSDClyC3SpPe1JUkV15Fiy3Hi
sCA/IA1So6NewI1p5iFf//EmmJNdlQgYu4Q+K69KZ0zfBOA1vi2xQQ5FUG7lc14sedH6SpMd8obp
VNshtDfjLMuvesU/XxReUIZfDU4Sp3Hnh6sddN+RSIGV6QS6ohSPbUCVCn7TkUnoJef+8T+/I/Qp
qCOAe528Dj+chghLxl9fdKYtREpz+GCq6s7D6vDRZAt+uy8e9ucJBSYb2kTMdnD64v+8X4aqEyLb
TIFgcxmO+qqLE5K9Ld2CyHp4aPTlNagw2VIHiOCd2kAGCJvMeifIvsAwXezlcrKm3oxULzHmirYe
xzxmdRmO7Ir2HMi5mxkBlhL468T1MwIXKlU9aQUZdw1oDbELZCmLW5Ae2aN3XsV1WMByfk9Exm4K
UrrLpQxC2o4jiqJaS2Z828mkGBrQCu24A/UoQ2AxAeGvWQKXZQgsR9Lf2Qz919asatn43rNBqJpC
QUuPfSddUncj7MqbSq4hlGEwhKsuEOlCBfKxuZj3U6BLdzGjzGOvBiRQZBXEE4132lTwvE1oSG6T
tYvUGWzKEIMxRNIUwMny8ptXcEH6z50WmBGAYUDBBoCFucT7NwTWacziHHg2LXhVU0SxN9lMe9gm
V9VObqz4z6UsJEhwEP6XJXGSMbx/HjJS8siC8916YI+vNtVqN8F56XZY4CX/99X359ZCl4puFUZK
6ALQG79/FJz/qYbMU7fxovsDKSN2UWwRmFdFt11AgfJVK/7v7Ov9fYMBH1YVTr/TdfMR90mmLQEh
CrTejWQIMN1i419i4bg7dPgPLockIf9YOPDSFmUsobdyG9O+GQHa+KbISUWexnJdnnBf87HuMBUm
F6kx0c9RaaNr3DD6xU2puOXrCByFcerLa1g9o+XXM13O+0DAPw4tV7w2pst1WE8xrxhs7arsubAJ
fc0Qrf2oIzOQOsv7TO16Kldaewhmng3r3diAKaN+DAgpfQjFELxNM2hzMJVYymdmYXVTG07tOSa6
0rd8cOaOiiD8BQI6jLtVRYSvi21A1X56Gy+xS90znN/yo7Rd/GubEVLS5qnn/6DIM2oXrYh1qZVE
Wu+NZ2WPgYnQxR2bpX1GKpEHtB4Q2zfKQlt+0XdR+eQhs6PXg2VhVvdYp+rBO7aw24Ik6QSHAyu8
bGMaDtkt6eEc3lSovbDxYBhwlGW1PicTy6YmSPT8GpieW4i0DN+AC+UaJpzwDwKMhXTKrnVgmPXA
N0h3J7tT0nQaEXe9wKgprN0A+7o6moGf7kegFI8uEOhhBySFTE1O0k3UDlKgC++qcbl1qw92lGI6
9sX6/njdnqzSUc5ieo69C+XGh/W9YJuBIgwm2JobdYymSl5CLiKKxmz4F1887GOTcnpYgfsWFQzk
MOBLvt9M0wQRxeayCJmnoWxW6Yp9SdxXzJ8/cMXTsOMU1Yeb6QTlZcn7x2Asn2rI+cImEgMLdkNJ
1wtgTmSXUZy7tYmr9YHQzF3ks7YwzZVlutSyDAPRREOkv6K7wvHjVMn+76bGJzr9zidS9skb/CNh
ExaCMV+3AokTA2q7x8LJYMZ4L6sM/Mlznr0sFLG2qU1PWsBIw0eBLtngz2ClIuBxOuh1AsUgDhDx
riajnlekvScgUS0M5Ao6LKyNK9MVtVXOiDOCoAZgXGoK4wZEk4ncqUx0yW60cc9qsnIS7bo+R86G
nXq6ixhxt2a2FH9astORU0lbl0s50j3Yi35ukCC5DbXL5uL3EnI9HKpk5nIngiq6w0lRDDs5rdWN
ie36rSc0PSnkSMYPeqTTa8aVui2drr7PaYAtzojFj77Q3K4Ny8f0u1YzmJ5cW3dNJDT1NbVJ5B7N
3PlHEqvgrRtpfl3AVSyEUs3QpYkyCtdS3avuMqgq+NB1ckAkeKrj8UIwts6XaejK19HodEMGjenP
LfOWNp1nOtyHplzfMAuczjezChBFOhI9urScsjpwI7weOzreYK40inalHolwuiw7Ak+LckwaGhfi
CoJwrC7M17bHToniiMgAlHfwlcZ8pR+JK2vEJAHRnuCd7Q7or2DB2cnNX1DZD+CRIwKlKWC68w37
AZ8wBkng6EKXUQhqewQNKRmMy17TdINYrVzFA4yZsqidu0yjMWNIaqxNYTrVkrlnt3RA1XLvSm2+
MRHCBZoihPAJQ7+hrFcSL28DvCYD2NKsw88wtD4/G2Fe7Jsu6MvXlVMToOKxtGtAi8heAdtuD7Oc
ymtWIvq12YKp+uHx4R9WoxDZABOO/G0aI9E3YZBWT+EKP4CdzRlR7Tb4qACdiMTw6eWJQo7BQsnU
bAWhNy4aWNysE6RFNcKKqQBXJ1l53edbZZ/HvrQ/50CG2w40eXUN3hkGEgmPssve67hrK6f7pDYa
6l+wFYMwaCs7ir3pAxhGGbhBJHuMG4ufwyS3X+jkC/zVOnbJdC7LbBONl5H7jc5iMDtWrv4pg5Rl
eyoSitRS5K8HtuGDWYLLZTOZbgpWCtHOvMjvYODCHxwUktlF1uHXq9FEn7R0xnL4kA457w/YR/Te
JHOZyXowfhK4E6f5MktdXx0zmo5LM/M1X3cnAR6rl0nIYTdojD8aNmxzcj7YdXhFAq5da10UwYGJ
CckBMKph//B1INfjUmqJsCMVvmZDPBV1nyT0zi0IWIYCIk5bbAj0hgEsS27TIJNxk7Mt+TUbWUx1
6iDfqVfYtVzHrDRYot0sHyi0yPEBTlPyoptJmV0WEQFbkm6pCs+RjZFmjRAdz0RNh2KImwypspen
seK3Plhj7Ne1E/cDOWFsa+fXR4LMNAKmL81V3ZNumZtqBR9rTWKlUYdEKSJxRgjNrvMF7O4zMnN1
A21+/l0NS2GQuYYAl+aUT2X2MLNxc50YLKpjKpLulgYpRVmeOFW82I7Gh37haKIy2icN4zl1N47E
kt/FyPTVjRVmlPCmxVS3RmsUlW0wzet9kcSmbGFBU07wdFXrQ4ERxNBMCSMg69BSjhiy5nhwtAou
94EZWNqIkjB/YdPFyGPvU/EjIOhdz6Wg47ZDxA8L97qEgWkDdnNRtQQ/ma/LdYXjIoInlntEnp7U
vCnvruFMDoZJDFMbfYQMNVf8IIgaWT1SX/VXM83pb8wsimIHdv+W7IPU2exQyC38vi4Y+dbwNFmy
1kRd8hNtN2qhcRPJwcOXPW9OToa38CTpSaMVmcDVKZYCvO9YSMCNaTaFxyAYK4qt6JOlER7anasY
yw6G5eBk3isWFzdzEaXfKK8WfuaVWvJbSISd3OuxYv1+kDq827rMbyfzyuGmWBjeCfKAGOJRuPRY
1rFU5yLO+u/hyWCmQSipu0vnvmQHBNgO63Gb18HVwdhHz743E47meGXHGR6fGaYW8fgK4C6d4S41
LM/dBnfzevHFNCH2DdnQi0mwXUYIU/S+T7vybjYRorjWaCqyFuxiX+6kA2Gnljxb8XA7lL/N6jID
OoIenrEtw7lG0ksgz5eYhD9E6rU6etdHd0jTSNxO2DE/drDYUwclpS3xI43mnuQ5qsfQxLm/W4yg
FwFKVFQWBK+FWphpnxdUyceAB6HFhWj773ydx7hWWoX/QHTL45qQbboyBMu8XVYYfB3hamVHyAHS
jO8zVlVn+Tp7qJgQUGtqC+YP2bNlmqtGGZTIboCopAVfzqQXFTMTPOWFWjWYX7o7YWTV9k3PJ5J4
FU3TSzpu041k0Ya70hgYPHaOhOo4Rgo3JrLF+BuqzBRZ81E1jk0xg8V8XPjMeJMiAlyhOoiCI8rU
DNoqrHovDwjdG5GMqLlLESe6jbCYz4RKkfo8Jc/GaJyF3Dv+E3xeGteBTiU9145vcT0msxxuibaE
nY9+jvWVKGFy8uRRevPLEWMVVmPE4itkXQ7ixIdh0U3no76q86QnbrdhW88NnSOZoDOYSoh7pd9M
nc8bJkBuiccdKGreAu2wdjs7WdKwVhZj/xxKIUjd6VHd2KArvru0xx8TOc3gCLSa7UYJSCYaSnFS
7RWvRFWDYyBeeCDUncJUctrNXVSsexiqLvHeT90kGlxOBK73hYKCZMyXWDRoxc1eKroBhKAxC+u5
XLE6jM2WKxVpP4PYs0bLZRSt6BRPmpS0yZQm98jpBnYeUUXugyByQ0NBsvm+UlElkMaGBEbwKsRr
2kJjriM9hsVh4Yabo8qgqHjhnKOSK4TLXqwIg6lBnGXxWnqgH22cSdHXRQwDzJPLFr2C2TspayDJ
brnKWOqK2uNvBXVwBH5RTXEg63WMEwAflAfp1rqxxAi+VKFA847ATtyjBt+8oX283hRuEwj6ImF+
i8aqPLexW4JmwNN+IrCUwveYwqLDJjKR+1TE2Il4/dN2UL4qEMEssux7CAy9qoky5Ac4Bj1FTduF
7KHolE12Kk/Ui4gK2dcinaPLKp893k0fJc8MKANMzoIuOIMzUVC2Lp7T5IADXV8WJ/eEWm9R+Auo
QYZYytWhHlhK0upVonYKE8LI2VouPGyEzphpVLZkooWXRfQT2oXg9EpohPUbJV3bkaR0e9jnDvfJ
mFFkh27xpsCq4drXMbTs36CVxeXR2RTU6UgiAwFXxTCyZqSiXC4SnFLiopzFOmJDW5BRYKRXHH0P
mna9LdqQPfal0U2fT/4qHWxM2tJRudUckxdcrkVqgG6AeLY0cnaKHRwEzA4KDY3ROXgSyA+mrpzP
eBxExT4ah/glGwAIH+D9g52g1zC8Q4/Eu10RDWV1yTpEMdYhkcuVTLKuO5cRbqxaJRwetATzk4fQ
mmjaMefD74haM+Ge0NiYg5CLfinCFUMlNBL0NlvQTTWawQ6uzqpFIVDVbhgeTCFSlmg+lEeU1wlk
6gBN+wPQqyBvNWanISzbE2zggeHS2WNyE7A6P1m2Id0HWdno6MYckYo6tnWKxgOQFVIRQATJIE9p
kLBhH0mV4fexcBt6tRRmP1ihbINxhGMlqsoh+9bZeNKNREQQTiSsbdznwFAuzaoVzpnQgrwVY2wV
AKoo9FZ38WSvhlV2c637woO7BzUzbN4MFm+Te5kl+5QCRqhJVoFOjncPSReeTOdaLcr9YwXPB5w/
ffUscldGKCNNivE3QnNycSD5AiIgZjyqRC2GGM66A+f5CdVzimotzeey1gtNfqgBNmJ1jPAouy8D
rcRjOawVZhswRivqLJvXGdo+BZC/rwq5c0XS2d0IzmFWg6UOaUmfoeVEAV8hhcT4oLcHCXeSo09W
ga8B66no0GddnzYJlCi+9snQ+QaaxTVqksHNt5lnC/imoF/80pTmEm0BLy7NqFMkkw3lUOAehDvV
LcFZ/uayCdeIwLr0dedzf4njAbV1MhrUJ0j2jX8NHSN3ph/0q/V90F8m3bwFMJnL1t3CEljZnOQs
pBFV0T2F87bpZiZLnGO+VFYXgm7ZHd5IlDQGvcAegoy4QKLKvD5TsYH20oHSFjXpTBLRrBktLuKV
gzUOQY66ypYNN7zh5cChcsOMtCVLnkpUXCpohQnc1lTW5L/zzGfVRaYm9swQP4K37+b11cGeAyF4
U2B+jmkFbCua0+I8GtM5bkqbJLdrEm0DYD8tL9cutCB5dkw9piNFrTlTgde8TEhOanKN7PnaJHE/
NcOqyEWs4UfXLJCeJi1fWS+bmWr2MMNNWIMHa8CA4RV37EIxt5A25vky1gA3J5gNrpnfzZal4xEO
89kvVvC0a/mk0JPn0ULh0wuJ2Nhank9LbboqePJDbMYmA2o4HuIeKTR57PqyzoYcAlv8CUBjfYh2
wM796GpfzCsmaEmleIvlmf6D+498Z4GAN6NZlUNsOA71HiHvZPqZ6cnFV0Xvpd0l1ZT/WjEvQWCo
VxLtNKrT2naCi3apBGC3DrFACnd3jz/iE2SS/YwCH/9wmmIZh0KcLAsgELCYlfDt10Y4O1Ix5QrG
JfCHaWYAYy8mSEG7RAp8j40WDgEORuvSJ1hFlr+LaMuQbhFNJWvFvNricunT6W5wOXuDb1suWz6H
tquB3lp/9Aja+4VEgOm8RNlVIXA0lD+isAsXXMIcwIIzpXuI1cLp2RSCdnlWkmTBBgzX4Xe/xIvY
dajOOqChQ/K6DnL+7goxBg2CTkIFJKavgMTIxaxnJxWcqjOFRKs6m9NZN650xV1gMoxK4BudgiBL
4GuH65uMlxLFFQ6X0cQHSFxA9Bw0TYoankT8t0SwADvdmXDnHkBN/zkh2+gfJyzr0Et1g2zBoXId
ehqBuwjLH+Fz63Jqe9jKZt2iNJMC4KLT10tBUrwNpOABGCrmGDMF/OTLPtRz9hqqGZOCvBLzVCd8
LEbMVBFCuDNrmP3WeY6mYuan4SfcGNB8Cw66M9YXPnc/2OUZqhTKG4oq6iFYVTChOliDM40pTVlD
EWdwOc9O1EEHO4s6IQuibC3q/Gfd6wSR7evsfgYD1ddSc/qj70bysm6cf3MomQFYwwv6SUcwbW7I
QP3ThuxyfL80gMZVpuVWJ9RT2sQSqd4FGjReR5zGV2ZDowMZKgSdu22N6GFG1PK92cbpfis5MBer
rOjQUWtciwYotGsDhhuigb+3eiwLJKvWKR3XO5zXABLEGizfVZCOv7VaRgUtEy9MM/u0G2oPF787
2HolD8SR7hwtgfud+Sm5Z9hBv1Y1gscngZ+M6PtD4LcVS3Joh3SYLzWBk25Zh2hEkWefbuWTRns4
1wyYw/cosiNrwW8pxE6rHDU4XI8txiuZN7cAczaJAnsSc4PJzGDuMvSh/JhUHpoBEffJm2H5cOvi
eP5edaqbL/UmywVDyqXI6lDnVF1yw8phhx4c7sVrtYwtt7oazzvMD35y4P0XFYIghyO8JYs7OJad
vOYwe1RNuvko3EEaqC7LKZgeuyXwP+A1OTxCj1t0+2EYAB07THKvCutHiuCmHK7B4G91trZuyF76
fnUExyaC1etly+ebrZLA/aM0GMwZzl+1n9KeBXUeE5zgKy4xDMfCMQibHgf1nY9wV0PoPAGVBB8v
g8NTGI2ASAUd7qPcuO0IXCN98KiTMe+b0TLvQCzVvKYA3z2wRrmezz3Q0kby0GLNmAAAft8j9K4W
ZhuihpVBJXfblKx9Y5yE+VkMkt2NNInezmhVdeV1iuHhb9jZ+KcRVm0OG/BUQ7OtK88p6ReBOi3U
yx22AGAhJOW4a0vFYGBDnS99IytY5DZdZ5KnLB0xt5gQE3GavARDdKlZMh0ZIAxSLwbq3cNmqNc7
wodCopmOVow7F69+LNvKn0DVHXULKz4qWsIyhAhY41JUAxij/ybLsl5uevY/ZYeD9CocowXbElLw
6YD6dz5mfozt2aZlcJZvIXUYCeWO7PulqoaDRdHyvVpXdLGJ8vFekUT3bZ9qcYfM2OAmLVT6YDFF
5bXTeXEHAXP/pvkS8N3QFZmqbRDjr1w3ZJA3eTYPaAqXlAAEWDfcFwYdY9YkOL27lk3kxEC20ylH
ctimb6hkxQtzJW7DggSKYtOXmGBxI9wZUBHvoHpNsCu6TqDPKrZQwYYxHOCX0WlUB1XGf5Bkzmw9
zeBn7fS8UolZTGz7GhL2ca0h24ifUJPk96lcC9s4Wa5HOqqoqlWRBedy3qb0YsnBpJ9d7/iZ3GL2
1HtASJcMPo96T4tJcRT4M/qSNFHZm0e3wnYZIG7cCQJQ1dlUlKRqNgz9n+AOlIk99Ghj1jq5abbH
+JbegTAlEakSAZZSY1QdwKh3b5leiyuzBh3Ga10cnoPzL0bMlgw2QtdX3WWESdZUx3PHb4M4woVu
3GzFbpgG8p2C/qdqPRuchkhthkqslD7t6xA11APZ5gi1oxy6aZfPxL54OYAHaxSOihpui+YJUsbg
h8AC+DGB2MAaTCvIa9rF4sZOKBsav+gEk3F4vBycN0D3GFeD2805tcg5nHt5lIML6D4KbXAscdrl
OximpENr54IMZ52Vvm9y5Cb0teI5bhtrs+gyTSdX7GBWgIIL/S9EzXHB2b4yMR0bZnR07gHRY7Iw
ancQmIlltWMr6tW8n5cS8LqeBiBneYrbGUcsSgwKcl+F42fDmLgSV4UZK9REmY9/9mBj/DOmMH5t
ukhGKAQmGFxUlOOkdjCNbzB4s0VdjcTcLL3nUYud0Rcw9dgQ85dWbksPeSRDis6B+ZcpyZaw6bZ8
TNopANqDEiJyoinGNX0ZJXjdFwzJS3FtwDO52oKtihpd9dHN7E+9JQ6fjF2Aajo+EqSCnDglcXSf
oXq2NYZpGOj2sjvOp0qngQdZ8FBo+Io0ZSTiG4kWZ7gjce9/9qA7lOdjOrinknN6m+tyz6kK7dka
RMwAZzcxEIF061IQDarqaqq25RXDilKdQTDVX6AL0j8DSXEyIFwV/0XXB/GtX7ytUFDOE6ii6AFu
FO4fhFSVHqgtQeUAOKdIJfrMLmG7U5c9t1R1ZYuDlVaAbRanz0ZwvYAbKQkvjA357/LSyIThsEwX
cb2lZH3TuKvvE7wcXstgin+PJUOpe/LOu5ySalwP+I7jTSqEQu0qVgKMPMG/Czlys042xLB79rKS
6EELLPMaKRcplLL9DEogXuxdshCg+gD1s2/5WqBsiA3hP8CKgPvTBNNPURdw7KiuMNoF3FcOKaAp
RNtkYbthhWY4vmUAdRMYJuaGDbQP6zGHhRhS3vOJ7sZBT49phbiwC4eRht1tElo69MA59Loq9wph
IUjB/g4eSaf2W4DGehcuApdNbBj1hwpw+xME08kJMM7Qrmwzhk1nG/AqV0+2g7CMmYiCYkSLPq07
UZZAfwLcHbgecjrsUj/AYhCVXiT33HdgQu7C0lWhrhO9bNl+TqY+uO6BOiPKVnVyUr8UM4Zdr7Rc
yNlieYcqBxmWyYZTlMddvJNyDUA9mSkYnebacQymtya3iXZP2mntD6haFA1qQRKwmqr1/5g7k+bG
kSxb/5Wy3CMb89DWVQuAIClR1KyYNjBFhALz7AAc+PXvQ2RVdYqhJ3b2qhdVZpES5QTgcL9+7znf
RbsJp05PlAddSNMFRK/nKKT8uLRZB0On1ars3ojtdox8FcZoAUd0bo1Hk3a71XVbKVIl+8KmY+57
1cZjRUtNndC6UhXlo5qUU3mRyal11s+VaX1IwFcMD7Y2LsRXiru49YtTpzrxDAU/xhCNh5vBH2rF
mjjbL5Oq7S2Z69OxNUmfUytoxuqHoYzjUgcUkjl9bbvGjqMfkbc4dIwGNVsc+oqGuB9zmq6I767G
3nmtunVkBxLmvPxAoaVTH8vRzscsiDy71D7XSmOp9rYoqA7uI20cKSf3xuIu3xVZr1IeYrjkuUI5
m+8YpqOOGK8NuGe2RPoSfDJMReXl1hyo+R5tqiMBG9/tzB7yU400gbQLtRS4Dzl3BwNFPzjWfrSW
QXkoLb0m0himxqJMEo3djMJZqC2vlIXiwv1qt4btfB1sN3fELqVCGie+Ke2s6Uk7pWb5qXHZZb57
nFejULrSSA8yTQtxY80tcOwAExy4b0wwkXOQHbaNXWqMY3mlciw3dy7NNaawIGm+3NkN37/2VZci
AfR+mvd9j9NYFo92oirySzRLtg2qJLO375jfXJqt5d6OhPgwXmhiZMtMVJ0iCjm1qbuclQGos907
+bjvy4k2IqIq0omtcuiza6RQSbutJ2eoL7tFXbJwtEoj/9J3edRyuO3dLiTfaar7DpHJ4mcV8evG
UObSoYpBhiWYLbNyP+W8MfcgAjN51c8WR5hFZX8NhRSAEuA9z5+HWCYvnVy07sJmEcg30syjz0rc
1aofK+P0BHQz1rdS9egnX5fG4OOnL+ivxPZnhkDN8vpL3OeRwwHL8OQ+bvilgH1jji5iXpfvg9Vm
1kZF6jzv0GVqT5iQSCxZZOs9f/BIvvkYa5RbaqhxscndbPkyt059j0Nae5zdWHU4JfVp2LdJWlE+
IEb0kxbvrU/xJDlWHLhvXXge6JjNvrT8yI6SL6KPey0YrU6Mftk086dSX+aJQHZU1Y026O23GSj5
p2nI5aUC6LpAEFPbF0MP7J6TmR0qBu8F/S3zCyPLWtQCYrmiADQWYR2P5qHm7Zn8RR8o3DRz1O0H
M53yq8KhP+ZkCkoPsdE0pT8mekN/AEri1OTJ/HwtF00+NnXjkDN1irHatAXq9s2SUPO9z1gRH1Wl
68lGgzSlL4TlJDMVDQP5QaHZyD0S7u5j2lpopvN67D6hOHLvo7zU8m1cRY5zX9Pr+2NLL0ukOqa0
vnv1mM9kYKx+3kSzVVaBNck87GJPrrSH3AHSDEOsCCZJA9yrXmgTAI+iLS9GdUr2E1rm+mhhZ6I9
RGqxfXtdRQIDrB2VGtiTJHwmXU2usLFbRdAMURaTcO5p3cvGX1HybCPH9FvL6b60MXtTKOcSJUfG
eZ3dOPdoejss0bwnlxWbm97ty+SAjkopaWqYlkWYRsvwtCAQ6EPOjvPX0taSb4DsXdefEkseSjhQ
43Zu2/RLJybUym6SZLeiMVOKlrpbo1icF0F9RejdgfMSZ1Yw/N5xdTfEgVbaiQjQ+FCBoaxKnVeM
FV0PmpKWqz69Rns2q7EwFb+NFvGQJByHfTWvgec7RDrdxpSzvBWZMTbcEmmpfsIKtPhx5xSseJqH
1Coee5Zzz2vmfqeRx/xISR/Nw5hDpg6YlmSrsyVtDrEkxApHnDsji9vaj9Ba0vZz3hrmo+rJqKAl
8cS80ftZ6FdK03Wpr1ID+hTHvV1wxutRdNd9l7lbFiM32dJHNdkOaqMMgUPZStsWmtffWX28rKo/
Sz/WcWffAtuB+lrWLOK+suTuHCbpPN+miHIfjLRty0Pn2XUSRuaYxUGL3ECEkRXFLlUegoyt21EP
X/MG5PJHa4gbEpia1W41vczK7dCYHkkfDoBkXoUcg2HWhi8Ve68ZFBpknI84LKpl06qo3ki2JU4c
qomXAkh3jP5A+WSuP2nZ4qbhYirus1P3rhG0bSXHkJcbnkJWViUd3WXvmRetWovjKGlwFQBGIrXu
lmV1qdcKeetE4yS3JUDQP7TW2L2whlLWylN1zRCRzlY5fkrNDbqMPtBPWdYt+wwRRUHiVaEoizAo
f+qSznrUJJzig8Z+d7eUmk088L488xdFGWJxSEsuHCSVmO4Ug1QVYh4Iqki+Nlm3LWViXYzZ2VFO
xfcwfwEggQEHVOdBQToRwnNIae1yqdygaUg8OwVP36o1VE85ag45G3GQgiQ/c2m/KPPWQX8KQXFl
kkZcf/4n9f0Qa+xEEZBqkwbDB7DJ9UNNi4FdSfH+rw9Fw2RkuvCk2FVO/VowebRizhsnaDQUBYab
il1s58Mu0drqDL3kVE+74pPX7uw/m0IApjvR5iVTU/HajW4QZU3l5xHdEnKnTHdzltl+MyznPAxv
TJBVKkw7amhnaAJPHl0+N0uEeMRDOTDrF8UyyguXhfTMDXzrqtAy42vVoaH+MkGwuJdOLjMvQLxH
r9kJ7bcRafmmGC0KvllnnRFSvjE3NFq46wTymCWo0b+eGzra8L7H+B94dvs1NdV8E0+oy9OhPscK
eev+QUqEX8XCzmw80YfikGubVkm9gAxI94AUwDkWhL1n7t8vGI11WnjY9JgRNrCFU69uY3UWp0Me
kyLI3EfVYB3RD2uYLArlcmzdMdA6ywnaSOUU1yJ4KfPE2CGmMdfq4hDqiGUe/vLSguMH8bfJFoq/
Zr0zf3r/OOk5+DW4x32Hhj5IPTQryLUM41zrkl/1qni91inqksmjEbRxMpKeJbi76X0aIMdRN0JL
yQ4qCe4Gtpst6F6dB6tbCVWCku4KSq1turynNcTUnEN+/jqvaNUCampV6LKoeidvp5JoPcUVzvtK
ksuvVFgof8Lobj9hykvP9aI+9XVoXPbq67WNFVnP5b++wVnWaxGFELJjjuYeG6d6bqljbwmBvpEq
KwNsGOYmj8fpjO3nzXFXtgcv66p8PhnXQSRODm7hdtP7auOq5UyJEx5g6TXNRontGTXV9MVtZbZ9
f0a9OTDdjZlV6JLx6ry+YHQn0mxzqk+C7AcGeFTxyAHnraQ5oS/MvA11rUV0Wg3negO/+VzXpiOr
H9fBLPR65Mps6ShUSo9Z3A9Pspfyw2wU5F4nOZU371/lrysGll+IyeuGyQZ2ip1JjT5rxtbz1nqN
u1Onud1pC9WG90d564osjsC4kFgwtFNkAef4iLyrw4orrQ6HcU11a6jKw4yU/syW9evuzyTVcYph
PnXWitHrm7fkXt86QJwCD2HXtRRzdG0iE/qsAXFQw6Uyo8knasis8P1LfOtGgtCjZRrdF7Hdrrfg
TwuQkqkkTAeOwsukl18KPbbKTeEJY9q8P86ptXZ9DzFiOhhALfBlxslm0isavRNm28N1gLUQhCxv
XSa0DSWMHGlrRtg4Ddb3Dr3k9WS4yZnL/HXvRF6DLcChvglX9bRN/DDqFHEpQQcRkO3ABPbuZ7QF
3IgpA4+oinMQv7dmDtjHleVqkOg/ZXQmkDuyGdtr4A7quKVzzF1Eg6ENzdTcM7vauZFObiwE0iWd
W25sbNd4WEuNhhFZHm3KtjEv3n+Gbw619nPVYV1ALDt5wcl/RXEXmV5gKqn5FboFXdONtPnQpMm5
fuZvPS+8Ff8e6mS3IiKxBypTXjAmHrBrnd6jMQm3kH7gFtpN+lC+f2mnq6ZuEemsBAj1JyHaOhmP
0xA8uCEfwkmZtB1GJYmAa/a2uY6s0DDkuHVicj7GXPRnVrLTm/pzZPhC2A/XbfnU5pjpA/ZHXR9C
t8/dH2Vdexc5NeKtXmj1mXfwraGALqqszQALLfNkjbEB9xezUAdMtqP7A/W9GeCgeBRjp5w7V5w+
v/WqcJatfGE4w+y+r5eVohg6PY0RvCqGPFKi0T505dT5VDPs+8ItzhnoTldPhlvNvOBlkDfCzDy5
Mk0MNE5xvTGUSoqc0nZ31k9/BXYLqqx1zfeg3HfmyZ0uaeugLCdEbuZ6MvROotbUGlvh1Ig4Xaqi
V7pi5ftxUvqnDm/xlqjDCskK1ZfJ0LrPySynh788ZQlreIqcpwyu+eTFH2Oqbt1cirCcO7ET+bau
740yHm7LxLVCarM1wpL63EW/MYdw8nuA0TzQiRisXj/YcSD6ZxAR5l1GYcfWlSUghrV/xF2K4uD9
S3zrsa7ufdNdGbpMpteDtQPyEeIzgafKSAOvtKfrukv620ibk61okaQpTa2eeazaG3NX4746TCiV
5iCnpPMidWI1zhuBaL3Tr3XyvJRpXFt8LUTt7dtxmh6dZMkvM9HrdxwJi49kkY2wxdzb0j+H2lrk
lSmpLJwdYVRHhq/RiPxcFP3mt0THtuIHUaKeTnnJqZ4O1Bn6ZRUvXyvcxWeWWPuuUPp9Z1vFt/ef
xS+np3W6O9hicLCjdlB/Ce96dI3dLIcwwVGGj1E6T8IbxoepHozrVCdVrMdR+uj15ICLVlYHerGm
G7xP0SFPi34/OvXkbc98qXWS/9nz9vNLcTY1QU1CnDnlzXQkSvW1KVKYN3Z5IHVXbh3ap++dOM03
TT8vQd0L69irSxNaRY0InIcetgMQd9q11mfixbfmK91rXEJveBPmKc0H+X8c1Tpl6mVKygOqc7Ft
hDvecM76mjexQ51Ktmem61tjQo0gHAY9ywZ2snPB8FQXZYpFiK8oQzWjj2s5Szh32eyOuU8BkIxE
GZnOmc3kzXHpP7CiL5E2nPZY06ikLwmpOnqfGzY1CFGtONqBXqZUZBJMt4oK0CxvzTOP/M1xoSWu
Cx828NMnXotEpoNViVDVC2PvZLlto0cW2SHCM74Z61mjsIIV7cxStN7G04nG28auBmYbIuQJxWFC
FzzoBj4RCJzjU5rKfqMPtvX0/nx+Y0uhVxCmc95pAJSnFAJEqIUlvKUP7a7OQg9w0QWmAoQYffwD
0/PIaVLqAdGCAcF1MM7Ed2/cWryeKk1ATQ2532koQugwd7mWMJWKzD5kNpp7lzZPO4LWPhSVDn2g
7c8xd95YxxiUjAyBwuqBP5m/bG7waz22sWGgDu3MORv2TGI+d6I0cKxp/OvvKLQkfd236dqsnm6b
br9inG1XhGYxK4fe7ru7BElwvVVxVqaBWoh4O3vOfPv+k33r3pLmIcrjxuq0cn69lQn8FhYyfBEq
wyJ2c62Ve2E1aohH173VEbpjL+zmu//FoCZZDx26yhpOvx60KftULSw2aztP6oM0yZ13rqV8i5tG
7tRKv6Y575yfeVPeiBCIDJjCOvdRh+v/etA5yhy7MCMR1lHZkyg3hgdBs84CcXuHgfX9K3wjbqdX
Bs5nZu3aV+g0HBFID4dxIgabcSYbmM8urWkxHhRqob7A+x0YkL+3Il+6T++P/EsXU7Yeiqk0oF3Z
W2vb3NfXqVYLu/7soUkieUCNY26vWwqZP3BuzNukMeiuajSd9c1togbnO+JmBCGKrl4WNA5/oqIz
HRp9qpINyiiMBu9/u7feKnZqXiwSnZwrTh6CNU6qwsrNvugieHPptY71KLaPVNdVP4pH+Rd7af+8
GeS/yeISptF+4/XNmBNXc9qWU0wykPe2BOwDnYzmLtWF/tc3gBU4jOCU5m0q3WheD0W9yegT3GRh
hDh9RxT8oeIt37HAcJzxOuvG08s8/Ou3k366oPMA89PS5+RFwhBX26i/h9Aqa9IHWjXcTGk1h16E
OMWkfdz9++O9tVqA6XM9g/jOpbHU62t0K3Wpx7kaw9GM1L1MBg0Hfi+e8E5qePS1iGeoTWcivLfm
DIBUOsNAzlzBi68HHdPEm2K8CCGJcSOwvRZxWpEqG7SFysozMM48yDcWCgNlsWnwOOkwcjpe47IA
U7meQmuO82Njpd3HTjfnHRm2/PP79/ONSyO7DkyO6yMRbK8//1OWy1rIfi5LNlHJRMHpuK2DB9nG
vagMiMbhzy9norI3BjSxaLOHUy5c6YCvB6xqE+cKJoswb+NoW9nTS2mm+p7mayibEXefmZ9v3EqI
nACDKRIDpDg9KFGLHygdq1PYs2aFiAPzHdIIE1W6fQ5G/gvPild9DYPoqQYojPzyybpnJ6jP7FTK
UGTJvLcMkAdtqgx3NDPWNvYkeg6kanWbDr162Tf4cqzeW27UaYi/pJC1v2IJN8EjGN1+XLu8OIYV
PcRRN1y7HAMvmQ/ZvsL8so/jXJwDnP0EzZ2EcfgbOLaShrR+bZu1aAZNOZHQhVbX16iMIgxcli6t
A03vqo81YhCC2FnGnzy244u6TYGWoDZSXoRRp5hJoAn0m/fn5htbGDUCKm0aoY5DDez1VFGVGrZq
x1TRbKGgVyrdFd00gnRBFNZoZr5fFK/HmVkbZ174t0YmW09qmwoFmKPTVcYaaCmfxDLMVOc7XSxM
4vVFXGNHt0JN6MVHux9Tf+q94Uyg+cZ0pTCyNi2mCofsU399yTGusUo0mgyBrCco1Ozcp+ugEVrt
eK6d9xsrKfjudRyy48BRTq7REEVssBtKgA/Rqu83p3KH2EdSBpboI+el2zutPp65wDde/3Wloa8F
cYGqn2bVZ80aurzGFd/M4FFURLXIvWF97JdJVqwAcEGa4P1p9Ms9ZTYTX1prtYIE3+kBBfVArUl3
mHn70v6615Jqp9fmtEONea6W+NZQTFjwFgQx7i8d7pqsGO3MAaKx6jYv8eylfj66SJXIcZ+JY94a
CkyVwRN0bYvA4vVMqbRmzlxbmUN8xOTsy84cgBuPWYLSaSrC92/huou/WhzAEJKqBL/OEod29+RN
dLHXIKaFuZCiuL5GxI1aYFlq6C3vj/PLe8c4HLPW9iMqqPfT1pSYGiaMLzpsh5lOvrYbxZep1dAi
CdcYDhp6CCfDYF96Eq3z+yP/8jasoEWbQJkFnIPIT1jmn/ZBO/fAGawZddyv7V4MfRP2mDQ3YlDm
Lbnx+aOqFdP2/UHfeIYW+Ttj5dNyLjhtuJXA28PzqiFjQhAHg0NP76uZpJ4jkNv+b4Yy6HCwXhyR
0+vpYmOf09BBroopQRtcq0cHBcsOkb3n/FGw+49v8j/jl/r2j3nR/+O/+Pe3upnBhSXi5J//uGle
qgfRvbyI43PzX+tH//2rrz/4j2P6rav7+oc4/a1XH+Lv/3P8zbN4fvUPTBU4je6Gl26+f+nxAv0c
gG+6/ub/9Id/e/n5V0C4v/z9t2/1UIn1r8VpXf32zx9dfP/7bxyo/nTX17//zx9eP5d87oF78fzL
77889+Lvv5n671QvKQATHKiuSkXjt79NL+tPDOt31Dig71nzaWCE/ue3v1V1JxJ+5PwObhoENp/E
eE7m47e/9fXw80f8PQx7nCvY+w26XHq//eu6Xz2h/35if4NDdFunlej//htq8HVn+dMrzkYHsXlN
NhDFqAx3sp7QEgcak1AQOyBojIPFgKQikJoZLxU9CcGCGHBRgibt9fJZw3gI6LLPhq3hAmjdYvGP
V9OlwHgW2WgOfUPA7g9pdDaIIC/VCkZezBc4TExEHb5P435zZV5FW9nlq0x2GISrXHqDkkJ6SKwx
tS7Yl6InyjW5t5EjIRzytsVFSuindoLwqx5UG7yzJ3Dlp+Gsibb6ZpcVq6XfdGwr5Racmqiqa610
zOEhdYQ0AQHMCIpDrAF2QdJR1HH5wyi7acQY2Ho5+U9DyH1ZOEN/LyNsB36ZJZaxabtOl6XviVxa
PwxtGLH56WKQ+XFAnKoCY9Cir6z8lobrdCbHIv1BVpn40KKlqJAry1bfzWL1uWtZpOn4z8bOpanC
QOnQ9UtlXmlUcn4kv9TftIPpm0OkAb2T8d6pkJH2iv2BhPm1wP9OgcO60guSJarqZ9J4GdLkri0m
Jw36qqBHygAwtWo11Z+Fh50iq4/45KenJek7v3X77orTKjFFjbi19JQrvtbHKDe5p2nTHvvcvEQ+
eYiFgHxzPTcxjkLwAyX+7NYZAtWN5ou0YaPpzMS5t4V15cVVwNJ6ReIoXATQ4Drftr1tBEvefJiX
9ogUetSPCka5y6nrb8hGm+NmnhHkw7G5m+Iq28bogA2/FsOllP31EunWtnfMCvv/MIRIV/NPi1nL
azuxzOsBMoUqBq9iYkTOvE9y62HiS/raEH+wk8TYd4mS35U6rY7GedT92ItAusFTKOUch5KALyAT
9YTdvAlGeHt+qScRBwMFw7KILqGXdHyw14+5LGxvn2KyuHLi6kHV0YZ25YcmRwjteUhj826w0sAe
UNQH7tKA/e70+tK2O8/XZpTxoI2Sg+q9IGuMNxXitdJH7ovxaequJqUN4oVEjKroNIq9rN35Oq5s
lAw12ezHOvaUOGyouHQbbULX6TERkIk2ezpI3WPJRRSNo2s7dvI6pV2v7/H0fbA51yOG/IBnv0nQ
xFEXqvc0+Lgf23rvNKnYTAsd5qgtPa07WonhCGJUOd12HURK6EBmAJ2duZBaNTJeo7uw8mac8VrN
w7Egq8V/nC+TYlgOsMgMSvj8H0huK8KUY98OSpQpF2qrXRsVZHtvjjMZaGnzVasEuto2/drJHDO0
l2TfnYY2RYEwl+e+t4wrMa3wVELHy9TL04NjN+bRTifVN3O5X72PhQ+GjO4K+aInwYyl2l+aqdv2
FQKxpTSOGVlUSCtKdMSn7gV6OQNs6lzvloorp3cvQ5cO5k8+Yzv7PhlaRRGi1K5pblNUe7NW5qt6
bDSgG5VMgznh023VgA0iZUT5W4n1S3wVIt4tNqp5hZjEnyoBc0lMZAZ0jdI03VXp5lW1O7xPsI9a
nM2sBK7eupCIMaiCwIhHiLUo9cubslV+UFu/6ZPmh03BsA+MVLGNW2zSj70c3Q0svcfcgTKhDYuf
CPFE8ypY4Ky1V6oVXcad+WmmP6jytYTcsZbiSGLWFxn6KT9FWKX6WlQZ33pPICSfKvda0sPlqLva
dVqzFOapV4y0dFBusVtddmlznVa9eWA99wesYjcFUl4/d7H9W/iDfSoapq+oPM3Yxl3XGNqPKqu9
jV0APzLG9qWbyuhHlzhfCk8JjdEbfc/IS39RG3c7y+hjNM5HLVeVCynK5Umv4ISokddeZKNxXVNP
zqlHmzD+ejo1P9fosG9AK8YbzSrTTWfiXKyyWwxD13MedxhZc1dsR0fRtsoAEFYHmxOIvMNcm67G
Lg9yGrLGTZNPBzTZx95cmdEKdhjdlupHDRF+YHpQbO+0uLUOGh46lpqYK8/qB0fAg1mgEjT9Pres
PPAwiKNQn4KpV3eG2VjXyE3FBagvaKh24tIWpmXJoC7wQ2J0Y82xNkvPhhHX+NnS1fdpJJ+taPpE
N1DnavY+iApbnttu5dhi0y36qyWKgjlbLgbPHj6VGRpvh9Nl1V1Zy4X0an8s2pu8ndlNp74NDMy9
S91+ILUhDnEkXYwBrhdi4Tjg5pXBkH5jpRtovRBbR4m68t6QZvzdGF/QeYbIPbiDSt/ntymLw5wX
dx4EC0uTOxHlV46jJxu1aW/Sxez9orTVL1bf3s9edUWD5HvbfW6ENV7FKmK5vtt3S3TTtj3e5qHf
Y+uJArtuwQ9pSf3VAw6Hm/dySrRjKbTLOSvucv0CF9JWcjhqo0usg4E0KuKAGhv5dFTS4SpGeB9U
mvI0z9a13Sg3HIbLIK66i1KPX1h8p/jCiehngSzzBpsCWnkvu3KVH412N9RsKoDqCQ4+jnip/AyH
FdwDL/Sa3POdNN/hHC/SzdTm3xrWybp51I2vLk6KEah9l30fGqy+sr4hNtiqcgrU7hilRiBNAosq
fkxNdj4ac3qAxjNaA/W4d5Qk3dviusMFpnQf2+Ei1TPQPLwB/dpM5IWDGhZfzLKOshlkuy3omlBW
w7W9sPh8Wfo0ABMdODRUGIGHO+41ergjr+wt8WRQlIQ8nbtvF/wrA2K3isUY0EfeN7s4HS+pfO2F
1u5s51tBkhfa4G1S1uTX3KCE5+N4EAGVz5ZyVeLNCTTsC4QEAA9G71gO66r4McckhXsOeVuom987
fFe+rqe3gLm5X/GlrJsMuI0dYlBEANuHkHKuvKKR5FqncWTT9moar3JMS8xL5K3bBPMZGJ2bxo2C
Pi/3g33b9kkGeaPWcj/J9GNVD7g6J4+5ourNXeblxCLEyDgJrG4KbNqxbVB8G3s1Ki8WY0dfYMg+
xo5uyxutYbYU87cGe9PlNBT4VCO5Q1p/M8lEgEqDpMjDbtiG46W/W1pFv7BM2p3gRUz38UxcCl1q
omB3rDPBu1+JT/1sGhcZvZ1SGM1LBXAtSru7tdNU2d04SVbvR7Tlm6FdbnS3P+AGOehUAw0Xv5JT
A77JS4clss7vLaNsPkjDG/c2zkLU9WPjoZgqN7X5g5LSrefJi5iP+JPpbaayfIiJRLDAWcN+rOaU
Ep+2LfMOJ4tq+7Aar1zgXFhZVLBFjc/7d1EUuxrFniBd2oT8L7Dy6pMJhfZymnpmtxnBb+pswp5M
lWbg6slzotsXjpN9rOOE8HCClTEnnAS9nQGUYXb6C9MqHnVGrrq08xVb3WW6+8FMh403iwTz2LUp
7ihiMOONYtMMxhYUQsBeTHPDNJjq+UpL1Znny40BnZ5dJA6eXnUMysbdp2k9bxfq8BHB8ZxagTcx
WVO5L2x1Q9VF+JIQbyor2LTltlHUT0ZKrMnhO5qbh9KsrzOJIU5xjKde7T6un7K74oMq84c0U754
Vn50RnGvaOoPGjM8TV4LaoeQwPeiMRAtfmtBJHWzTNUD/rdtC5QFscFRLbRLxSgvHXjsc4KZXJX6
g2b2T1KtNkb9lZP5LgYE5iv0pVYLmxlgf9F6+Rkc1We3c47xoIb2UhmwOL0toIVdlTZPskaeOlh7
ss72NhvoJdp0lbUaQY0n0B9gGGwFEjJMVD7bsuaq0ldGNQ2sJC8u9NQMUdAEqjIkLeUMILZlbPEg
FxhCS7zlUJAGrZQ7ul1/EWPaHRJdYnTttE1DRI/ZGN57Gg6iDYVR3MXRpVcZn91IHnLmipBxWEYJ
IVKi8mX1EAKYt81q9zKuSl8pG/jZ2CKtgeNUlnxeXHuGXDT3+6pRn0nqbSReVoxtG5fVMaNliBnR
L7X/kQjzEmzNRgEy7PTKoxc5j3Ex7uxaA6JaWMFI1wYrP0SK7oHmBRKpa2txz7sBr0wnbK/cRMZy
oGGvHy+WdalAazrYkujatJo9SRJWIZzlyz4RuY6nGmTOpO4wqYW6jqplapzLBGCv48z3qZNeaL15
DdD/Kuo4PRCpsMqEbV9/KXI7bNjZJzULdTquOOMYgIy9aiLrMlluatzOjvkJv0doCHo3KOGwVHfp
PEIMGaD1dQR/YiO5R2Z1o5YD9B1BF2Ai4wjnOsDyu0W39yDD9ia7Wx67IHfwU5bZl7rojoqtfOjF
jVPJB/B3xz7msBI/T8STG4maMrbtI+iZTSamD/Vo4LIo2D2WXMkfG0rEaWB0y1rpuoY+FK9tnH7Y
hgx1l74XY7dsox4+kK1Jq9gUaAQAIUIU+ZbHnjlcRcihxtUIyAknojUjpyHDzT469G1hITQlsfiw
1NG3IklBEcYurPN7+ikXElp245k7eN6cehZKFy8O7b2/adNK200gGfgR9tPnpOnKL57ar4yzQpQ/
4AaxrLcgpo5laUAzNufCMXw1hjZ2TKBTXRiCrBJSf6TAwehZbc/Kr2T4rOHD34yc4RR/trTeBhhp
QNMiyuqeVc6IRHmJC2MAnDEuxzyKesWvwYSsR60YjyuzIfkCir7kUGJ26qVhzaMdqGQM2a0LPZe+
m/UrxKYdkDI42PZCtY7kliKDCkwQ8lUSooa+tm1ZfzSW2TgOQCW/GKj34enQJjsOCn3R4DUq89yF
KLnCpCNI3hiJCSPALS0geumw8jqlosgKa2YXhZViV82h4uYSXY0oQzcKidYnsFiwfFj242srHd1q
MxgoI9n+5u6TWQ42aLmuiCCLG0Nvb3MIUFeLO0mxidosveaLTY9Ah5urSVcMPKrt4jyUjsOkSccq
f8xkkz/mrWc9LV40/VAs+t5vFrXzCg53tDIKVHz6UNf79WQxSZXt1YIrWm3hhxLAkR+HIbaYcYTd
sXXaBGeoVQ4bnKIEJCbyvfWg3Nn3UdFYj/igR1aWecwKX2ssKM5Z7wFaE9Kx7G1vV1PHS7dQezaW
SrobC+T65DvUB29M6Cu8/cPg3IBYlqSZmno4EFm6egDMGkZoLtksA1BTxbqOTxaYoVTLHjRBppqQ
wLMWIv4aX3nvjvFzCjTjg9YVc7wrHAyTD9OE+Z5Vz1Q/T7i0LXRCWQdDF2RSnVoFExCcgeWbQJyU
td2N1v1RffhL2dD/b47zVV703Zzp/8lsKDnM//hX1vGXbOjjc5bmaS+eT1KofOiPlKhj/c6pzrNJ
cCJu+iO7+UdK1CbvSUrUQT4HK93lSf47JWpqv1OjVF2cLXgmkKDy5/6VErV/J3uKkZKTDjot/uJf
SYn+LLX9d0KUZgGU39fKOElbw6Dz7Jow/VNFgEZBujO3i7ebbXpeDNJ0STk4xSdQZ+aTY/dTuY9c
Rb/r2qi9jMiegk7PVJZQo6/LvaKubTsyMIcV8EtdhdFKhkdLKLOSCU2+k0eQ+1GAKQFH5T1CLFk2
qsja9EyJAUPi68wuF+L8bANok72mpxldO15fSKS3qrNkchXvO/leS/vmiRvoDAfpRJG2jSCJ4JJ2
rJnWhLYYAepGh9mmM7pc5uJb37E2kWs17khVTjsXee0HcM/xA6BXHOcl0WTnJ1ZC/4T/x96ZLLmN
Ldn2X94c19A3UxLsyWB0ZIRiApMUEvr+4OAAX18LVffZSynLlFXzN7iDa5mWCJLAgfv27Wujsjzx
5jD3o2nJJ/Y8gbsNjkNxQoWQANEjwerR8JX7LYoWPleRNuCFVXRufE6bATVpZdCwRGXSfXNtJfaq
jC2Wsxc0bwHHcaWJ0TC2sgVd1GFJEfwqbMkcCS1ZiFaKVf+cU1f2TgnDzU5fpIgszF1++lPUfSEO
Ii6NbjeNECNCyLnlk010Fyx/UjeaMYovhtbRuAjpVkDazeZqZcoVMIma9nuASP2S1yzThYPRJt/h
/wXvLcCzDTAsEfo9SH1WhWP68tixCdUgDlBSlZE+edNG2b/bBcTiLQDlpmdLJAODFUco4bPCqLke
s7K8M13oyP0gHmNVEv6x8aaSbKtaVQf2jqFqsO61jwcqJ8un+G+6SdvndZ49Tn5e78jxSLelrmc/
/WYkdGNIogc/ykDU2LE5nJ3BMy+msLQQe5q6GEHUvBZeqm1HXgr7PMrzx5EMT3pKyTuACiRbQS77
IpwUV9TEzP2TSJXinTUX4wTo0L5IGYMygBh7t2F4b5kkxzeB8hc2xCSZgJN9D3Jkpm+hn6MP5V3T
fgbu6Fwjm9V/7h+5bjSghas5qeOw0AYb7KHeUZF75kMzAOieikhB5TXFNmXq8FX40IyG7iHQuw2O
XyCq5VjvK0v1Bzxw7ZNoTOtaGS31JEBC1lnjTw4f7QiPOl+3M+Jcgvn3VCHbLR407ZBVhXH3fX9Z
JrfEDhODXJPfVX7kNh7h3pumn6Tigtuw8yl9aago53UP64A9fFtQbk+SF7LjD8eq1qcvXg4cS4f+
561SEeQGVaqYN6QFlduyiptDP08QtMzvwpLRuYM8EvJgfEPOm8DeLwxXi/1veyGZGdr06Lia/8Py
xSXJurWAFb6Bk7IlKnTxjMTtNQaMAuGyXkXtkD2OPrvOrqqcU6uMjRG73S5JoqOIjeemp7xLwVOR
9HEYVLRp6mY4Z0EPUR6+xkypFeSmWLRq+TaaxjEKzO+YXM2QoOAfmvHSNtrD7PmbsmBffJIJfNj0
XovptXO7I7LIqxYnL3laPptJuweIjeZHSGQ27twhvVjYF6JI9bT81Lul4GHKK29jxd1rVXVfyTq6
dx4sddbsKNVZWshjY1dEtylwQieX3xJU8CQ3P5BixcXV3PqKgBmtU0dYj7zHP6cErM1KKPXQCO0M
AewotWZl9MZ+yQKcux8oHtkKJMYRtZIdTxmH7dx3a7foX/Wg2nBAsSgOsHYeWlg8jX8WaRHR8HWv
FK3nmgrD0pk5j/3SmOzBCQKrNFZ8qag1XSIwFM3W98J1s7XWuOIyWElyKOoy30PufQVO4xw7RQsj
kqz9biVaFWZlnG9hToR5Pl0JDnzX2D7+oQUW+L/OOWZsUFCw2BvdEfWL4ciNyUDnjR4vAxkbrLE0
LglnR0lQHni+sRYCEtqwqV3C8XLOzyLX13PzAeqPfBrACGwB/KjM9jkrLYT2gNNeuA/TWHSbOQUs
65Q3mDSvCWkjafKaWTZ5IHn1CaRlXjGxaleNGV2EN6xsOEjrbBifPbA1lVsu/CKkJN6JvpPi2zTD
gUp5ZuVEKf3iNaDTfXkewXZdpDvKzZQ2T/y4oULHSqTVIKx5yaZJ+mcxqxCXDYjout+YbrKpNdGv
xmg+aHZ6aTuHOZWxdlKGZV6gEkCH8wNhE+GY1U/m7C+BBlAszYiTzU3f49R9N5vmYpOUgWhmvWXC
36RB9TQk5TXvjCdjCLJQ97Nj5zLc07XgTGoAYLdI1qsWDFQeQ+LSs/SaWdqVh/pF6xt44PzXaNEI
KQkORl4Ab6+8lqCJat3PZrkR0rnKxcibNs0VRewMx+RLM1YPoEvWYLu/CpZ0gEUqIpoDj7Fdepp9
mpcW9xIWmYsxkRMyU07Hw3Ai6fShIql6yLS7Y1VnY0TDTKDqJKV8ynlZuAbMY92bNn0i6Jhr6zAi
wzEcDVZ6Y4bA21cFClilkAWdmymA0xYavNRUDcHG6VoYsss8TICGVSXqcAMv225+8HwloYrptIFX
e6dIgMV34izHclEaZyMu2nU26QsbRb0mzciWqg7dZVWbevVY1UK9ohdox8q1nwukihXBjoSXEZ20
Yq5HgEJZxNz0YAM5gQPub53XoMfNGgt/D+Ja8vu70VpRaBxTvZp2UiXGqse1I6yvzehm4QR3euUE
mrsOggkWQRrlp9TXLh4rDdw4+aruUxoYia/wRUs5Y/p1o+av0hueo7q8G8K9zmS73ZVXKP88Rf7N
h9md+8VWjpCGXe/o23xThYNVEIWI1SJmv+riM5dq736TQzGz+Zl6LX0s9eWZNqGbTQ826z1jZdwx
jN9seNqzZI02sLMvNKMQZomC2jplA+BOVeVVFASOjFb/Qcv5OCvwwhXEt6lzj/HMG2k29p4h7n4b
wR6Ls68DoivIY38r+uazpXFj4AcvPV0Yvh1LdiuvsT9l5d3qpTtqnEaGfVN88+i9AsiwYVrCg+qF
OhC+HnNDtZRbcfEyxOah0dw9w7jHPm9ekiy5FX2KPoMQidi5SqpHWrfioepeBr3fFwqhn1QI5gwI
kNXrBIFuZYBz5E4JdmS3HXMHucot22PGfvOKGJkbfzFCGd9ZVB9McPb5KJjRSf1dJSrM0/o45eIn
ASwX5vfHzi532Aq/kPzy3GgaH8vfGGQVQNkXz1YNFj4ZWxu+aPqBAABS1pY2DlWSn7zpZAwMUMqR
s0pw509aGe1q0GxtAiduEU0aPQlnpUIwqQRolM5aedWZtGbiM7WIsCduVKI2DrDB202bteeMyImV
5ARzW6ZebjYCvdS6R9OuvjFs4deyq3QXNx3I4qxlJDApC2XtJe5I6aHGb7igu/UHApmRGtLBNe+x
4yHhDelzJvHepD7Yfj3CL9HXmHB6oGLmKPdSN1FMU6yGdllTN8+6WEvbjXdkPd0YKlUM2rrtMBib
0Rk2gCKKHSi8EtiwsUC8YxSWHjxcWhrN2qT2ph9P3oXRIJkXR62onuyEkmzkRFkNwvsIuhKVVCWh
C4kApTFgoEl5EUo3bbcOvqQV4bPf8qhxyAngpDRgGgZtqzOc0O+4cJ6ieb4AIhjD2mvZzY/AOk1t
BHDZCbVyelpCe5E+CVMqAC9VwF8wxnImZqHD2cQW+DsrGOlxtCjAubdOhjP195LSDXerf4hSciJk
122ZHdor1lSRqJKfRpAhRFTdPdeGx8Yz72yy7OOIWPMYBsFg5mvWEOu1mwPTXKj6UO6vqvDXNUaH
A0Fa7cp09IvGFv4Wkf7DVNS2tGYBEx52Peqigj5cuODWS7x0ce3H3MndE9nkd/Kg9joHNYahteO2
61SUHLre2wJE4WhbBhOmgjdT6/te5TdvRtC1GkXMGzeqMYm7W0wXGw5c6877wpNvTCbWZek8mgPu
glbdRuXzQtcQ9p3PyT2Bycq2kqHESo7zaZbqlFr6jxaJI4wTgFN6fDIj8cXqKXMAo5xmi6SK3gly
1Bq5t3qn/wrebON1/A2yhe8/dNNH1TYjW28z0wD11R/jd7vXH9qU2BQ4+1B5LS0iUEt+88viyZqS
c9c7Cq2qtMLMdQCXQ/yHP9ZZfDeemR41KH6RHx+EbZxTjChV1u76Up2xBlVwBOLXyp2SHeZ1tcpH
pj5k1TDzmC5ZzB5eExib2OLFnqfD2i05XBeimvXsx92x89zQcNN5O2RDYrOhw7Gjdy4HffZq5WJY
Z3kWzo71E//lyijlOVPJxjWnV013p00LXBFH8h0b9XORt9T1HLmDADHXtyjWmtiOuZK7IauT14Kk
Vri4ZE0IxrhBvR8DnmuSsAcaRtLZAo89HYO86V3hi3Fb45g7VI50n1rK7k2nvK5YR5hLDzoY2IOe
eOXWhP26E/1s/WBGar75yOUw7kdv3lc1Vh6wrpwhpDVlShlEXenRNetBj1DFtF2zUr2uHRNQpt8d
8jredXxQYikz8HU0TZQ+0lFBgsNMRBfbJxI9siKXYV2y/vjqypJ2jsQMbErKsH7kdBqcGSl6JVVD
93N0h6WfSEZradcNULVauxkbzMZbp+20q4JC9lmPUX2SdartCe6yN4A1xwMBvgPDR6E9eIOLI0dV
cMQBDRTPCCcWwBhF2Vi3lfuempCCHLZ941VpADRnzuBvq6D3thObBZ8OZ/25JpSU7eTAjG5u18rv
JkS9oy/y5t1lOyEciznAF1BM6miYusQT4HkEJY1GtTfTKnrJRA1XN9Cs/aAjo5hqFtM6JY1PW1na
WDJt0pnuYvhh9tZiP/sp8kS7liQbrkwvwls0jRvy1csdDjPmqV4AUt+XE0V5L3Tqs8FWj1QWQ7Du
yDiHgrqsbdLCOEeWyjm4XOpkkWNtag0X0DCbZfcRRunX2uJ3UGn5Y64C72Wu2Gcz+7wTq1bFD8Ji
apfkdz9lxgCKXN+pvm+0desDjLLqBH9WMKpd1w4+zVYtd1nfLzqDFuxHB3IkhYarvYgl42wdtTmR
N/SZE8lwgXOMGrTgXQTL9JYGfvJjnKX8yFxlHTqnlNuuxKfv2K12IWtLu7DKx1sxGhe8uVGTgYkh
LaDf3ymZJF8LDveWRmyidJtl4e2l7+WPee9lRHE4/SmAwLmdYBkeukWIlUaj9mT8RBgYnPqtjcvx
q9uLt17xCNTjKaat2lUdMvxqiN30m25lHLFNHyQ5jdOQYoXCALKe8o5Bk5IFook9ZN/tpM5ONg5t
OJQW9SPZx3YIkwRsp5VFj65OeCIaRHOUvWzByZL06tP782er18yt3F2HFxAqhd+te9d5aC3aurpn
4EqA0oMgoYInXBu9fR9LcaqJ+9jOfT9/02ytCNkiSt4h1jNPDrAqtDKOvmSmYx3cmGKf/5nPfWSU
l3YgV2UVZF5yCzhJ9t1EiNVKuG2mAxRNJlafeo82zHPIsxxLchIiuyQMBC0tcbp0XZsac3MvNX+g
Pmdf6Cb8T3iE03aKxuhcN3a7GMemt3wy49do9FRY5453tcXok5+op5vGYp3Ehpe5nk0W2zkkGE/H
dJfHqCrTq+7lHODK6bcdts43GyPkIyDz8urFxFymdqZf7dobn/KeNdKE+KaP3OClxwqL85QY/rQz
c2M62QDJr4SOzR+8KmyKZL9iMFvbTGuTXAD/d4r00kjHNwmKqKtPXNNUk5Sv5wZv3KMDoWBd9ZZ5
aw2qugTm78mYuulV9/qFh+4lfb8OqlgDyUiuDeQBor7SCByt3i/zdS09BF7jXgMX4K5J6E5YOnaC
zU43X5sqKfZJRAQl66NsBS+J3sPkD6H8z2QxoRvNV43nOuStqm961jLD2OM/LWoRkenEpIUdjPJt
8qP5VBq1tTEcLTp5prg2BCe7rZfuGB8ryh3qCzNF0OmGkkgDD2IerhO00sBh9KDqmEvEs3hP5pm0
UBmkp66uxK1Run0kbtjfaE6Gry71qcVQLSeDqEYdEilRr8beGP3hUQMoc49V55wj0wP4nrGpvZ+B
R4aSVTR3jcvKu6S5g4TCeqH6QkAf8HsZx1+sMi2p/Y1SO89GPhVM7Gq2G1Ke3xdykMuNPpJ6g5m8
MvcA8Tx5zId4VNQ7lXgtuzq/pVHR2zDGguLa4rHA0ZEubaHFAzmqFmXAaNon2zR8lIXFgzHlUI1d
cvBO3ug4z3JWzUeBAngHnXUwM59mT3Ogr0b9nvekvgKdfnEC2LF+QFQOizsjlgIAuLxKNPOM3m08
BfXQkPOmeBGn7XSdh0Gnbag1mlKnH7bBSCi0TyDrWphwmPcluZ2bwjO2xCTQNQa13x2KvKwudqtG
lATqGsdMYaTKpJDaXrraoUyspUUglN1IGqK/YFbvvMnPeCKE/iqt7kfu9jM2lib9npjasKvLcVcT
/IF2mn8jxs9iVi8r1DUC/dTMnbgZMKSKY+On2pFlNgFFOpgTglW1ABCli/bb4DNI1d2Dd0HCV8wR
j57CQNocga0N9kC/mrYjYADIT9qHX8T11z5Lim9gC4nVzqKCJbAgricMEwLAFSPmFJtrEbwWpTZv
maz16WOlqwDZyotdM+y8lvNTTgNdYTFWCya/5MzTYxYZlhHYsKG/trgr1Lgbtcl5xIVDEjLSJq8o
axjOcE7N7ehRlK6SPCjgdQDA3HcyDu5um3sbUVjGdkaLx2c6tIoTqGnkcXYqIrZrO2lJlSHj2dxI
xKDTOPvdXg3MkIupGndmb9kfEcP7L7Ymhx0opupoz/AX1o2MsBtydJefsTH0B1UZ0RWYqH3XKH6u
Tm8QCodbEYWmTom7qzPeGkbTYAVp0aa3QTunrw284d2YpG29LtlMWRfLPVhkUP7dWNuRKW0fqpYE
7tWEI/ClBQ6+YSJFIFPFrPzazY12SStXfY+txEQTm+uXlNwYPyRX3XwYCEh9xDRkhiRI9jkxfDkj
6aLoCNMNtCpYWWaevLYQhA66Xgw3cxLaYVIccSsfqfYdq9VnzIwaUyU72CSAZptmDN2zhtXeyGTo
SzIa47jZa7E+b4J6plUxmn7XEkKtbGYaRq3lyPuR/pC7jXeylV5UKDhpd247wzxFbBPyixombuCe
9kRvlR3qzLlXHImf8dAgd9eGdbEc1b32Tdvc6lhHlkpIMDnO2P3IQiY+c2PkKGX+UHrGSgz2fCWy
iEwnkUhzW431vOswQ63gLiDgdA7P6pwnoUR4vtEwRifpyvpE89ptTfbXXsZAM46qaE0D0cRynpDm
6qPVgLBnw1uduoDEEUJdll6RBN610ZPTXFjonknTei9xHcX0EzgBwU9b7lsW+/1Oy6v61gVakuws
1OSv0Zxo2oUcCq8kVpEEufVYZe8F6TEbkls6jEUMuVZgkYOlUPHblez63Nl0sBx3FiK6ug9kplzp
WozqMpnA7sJonuZ8Q1yAIn+lq9urTSjE1debgQX6vFr8A1rdfelrJ/vetn6BOlAlySltenE3CaV+
GooYublvqu8zeNWfuO+aLSXNcBtL0nWLIrC/yH5IiUthBe6lJ357r6zSO7SxgbhrZLl2gSVRXPti
IIwbQ/Khd7IlJMdOrrXTWud26DEfktFBEqfeXBGuuKFEYH5N/cysduB4KRZN2wFCFEt5Q2kjgktA
n9/EVW6t/amGg44paYt1IMGkOBqnnNrpxm3x2VcuBQaC1S7KAuxULE+8zr1Ez1G21jyR2N0moUGA
Hc9WmVRPQKUi2PPFGGKg44etO7yEfVl9LtFbu7HCZ8cYhuUmbdB4ZPp2wN9jYxI+k9osVpE3PHUD
gprhjMWrIDtmY1eBeWTwCFxT+BaZFj0/eZITU88Z1+3sgHh2wqPyPnSIsv/mjPi2N2ZK+o4h283g
IkTVuBK+87tadHmN+OERihsKoekYKdX8IFiH3xqJSdbp5A6XaiQhlvOzFygvhUPNx94EVVH3GEW5
9pjp82uQBq9dFqnn0mvAfGuuUCv+VIzCimdpG9fOfCtglrj0KeNIQJpTdtToo+13pMP42mGemblq
oDZDo/ab587v0CM6rwsLP64+ytTvPzhbxrPtTqQDkeZwSmiVzjCn51ts8t4S2OA/8qQzea3p7npk
rPityGrjtYr6zzLA8CFw9mwbVJqzaTOWW+m4BeGhlMyrBlnKk2FH5ZUsTOvrNMT72SJmx+z4W4u8
HojnlX17QORWj6RH2mJd9IiKa6RBmOlJl5XniKZtdlXxmDnE+2R22ZxK3WtG5g2wZnh7Nd+1ypU3
Dh/0E7reHd0aVZo5nybDr4n+XMKjK+uTCPbCX0lWLRi4EKEC2IOksb3FK2jrzil5YFVd1Hetsw3W
JdAmzZrhHzDxaUvHPF66eZabDIL9SpR9dVSdeSq8rOM2cd8sFkf3miWtLZiU6DEd24YKOrWjXWtp
BLSCbSofhp6JBoTthyJt3e+xq3/NIbDfgxoprYscpiG62DklyiCtm3vGLuxdeODe6nzoybuMJ3td
a2yn4J9Dbkmhw2PMo5TzQVqEaevfAdVnYZyz0qHYYvLkwA5T3eHYri5jYYSMFLRn2XfWSeZIfHTU
YP6jRRIYjGvDRvhbRS7fVvlkonswALYec1iWbvAmVUO387rRfVFmfGjYDlkx859pbsE4JRke1PLG
pvgNmL5/yOxJP1BbHCdLfWhSLH97IbQnolGvRdY8jFm1QQY+W7X+EVXVyW/1lTKLgzKC50xVT9nY
XWYyBPkqrGLvB9FTPHTe3bBYW0kqSRKtr2Fa7NxDRj1LIDv+obegRDEdNBsFSTyPLqZ26Wj6ttPU
K00LSkFR79wRP0/hueV3vJjtcc4mnEum28kRxr5H+iHpeSM1FxYjTaX1rredkpS1TFbNFnltOirN
6sJ07Ju3kaNvNydOs55T33oj81GsgdlHa8Z6i3rVjM/kCDrlOh8cBqtA4tDH+9wiJHHKXvvJD0jP
y6LsrNyRJRUwrAdRO0yWfb/8YG5Ob1703ba1HOZKmLEwhNsPOj3qjnx7PIn0fwMrceZPsqD5ENjI
vFU9UzqOlsYp2SfY3HnVPdDaoh/DPal2hhvND5KzcKe88sgLS75lQ41viel+OOeC6QAd/oFM7uiu
ty4F7hgwjBS2TfPBZix2eRNX6Yp19XFr9BUvKU32zVNcy3rc6yZTsI7IQb6kmnkd9OZdhjELDmUQ
DKG7jHzXRjwKFGtddDeAi/NayDk/TVY/nek6bVayEVorWm7w/ck4vAeMJD/xDSK5TW0sPnD41s9F
ZCnGUBj0LTyBJ9TlCmuyUzsHkikx96KjVxedVOV2LZz+zKt6vAFe686E6g1fwUr0yIYUF4QaGaL/
bBuhjoqAujd2MfuTmjzifgJcwoeA+fWu0tnbWJEbStdKZL1F5aXjbsY+DheI4Cnet3MKUxE6Ucs+
STSNxgtynrwNlSTRLshK19r0JIqeJ5K1a3y4yoyOZDyyeqXNpPxusQaQD5wx330pSAw+EqxkXzx/
zPER5NpBm/KBQZUynhlHtsgS1byjFCVSCsAfBm07Lo+RnuLtl4HmX4qIti0tJzPd5Lnt353Eo2ti
zkngmVYl9b2Y3Xwraw5iSTLAk6EMgy0iYi1X5hwYF+pE+4AWTjwvyfUmX0WtU5cl+oRTtyxGd4Mg
XOP6JpfPLgKzC10BG0JvvNei8NG8nCTOHuCBRqfUwUwUaQajLbrklDA1XrC6vnOj3PtJ/nX6SMju
yNi4a6yrNfAArqXFsk8PpOjEziGr67For1nDCcgcT25xMGqhm6cmsRwFn49ZJY4CPl462vKJaF2G
00ncaqBIx+m1IgnvBlAi3k8YNVZwgsR2dp3oQTeiZh8lTywJfFhV+ua0LuqGn/greL7ypTTmeq9T
sr7bROM9YtsUIbWX/GBXxwTmmGnnhrQlNuj02iURICgeZ0JMXqZ+aJ6kP38zWWAFZ8JjioiVO/oS
5ku200pLMwZo5ejklEhkjpyqKmcvwc690EvL1iMGxQu+j5gCDwBqJTN1Gz/8xCGmtTqLWvyIa93J
knvpqmnLeWAdWMAiliEuYZIXFslzlTLcS0D2B7aGQB4bol8PfdMZ3xot8kKmxM5ZZw5xrKWsHqay
9Q+MH2Ny7KpvSdS8FJFOvlBDn4hiyzWAVWeogDVfwGA5nF8kkNmdX246I/jZ5/P8CuLPXA9++sNq
2v6keUWxoZWfLn6ZZizGxP4r43j9OfGH4WliUnRJixxJlXwQ5iVM21aJngcvlua19mrwsuAr2XC0
TW3K7kEgSvdJmRXiFTG53do0MxpKz5+qfTLmPmwa3/nB/Y+LpBH2vY+reD/MVoJmpQVb+tB9kKXz
fnDYKFz5tettpTYnWyuoGNix9R6tSMmhihNdErGWC1egCnBnI767TzqrEPhWWvoO0gm8dUqWFW7V
FrfsGpIUKmJhxM4BNcx4LCu/fhyyZHgYp6K+ZGNijTyMGAdYJzEOaUESsDHmqF5F2/8kfTd5G9hg
JDgwn1liDUbNJ9G5vM1IaG/IemhwbW2fY1rJVTU37aYesRwVMXwaBqjeOcXlfM1GTW6bju1FQKrD
96i1m7BLfSzbZl6dybSKDsShMeUkCRjfhSeeBwd+szVladgKgf+2rAxWJXren5ZeMvwwqeTGuTVW
fhs8YSiewpQ8tee6yaeL1rBtMTZ+e/fGTYvfYR014tGNxmW3cGDq3+jrBr/Uph48m91iV5LZ7gR8
ZdQn0amaYRwOk64IiLG89FTYsji5ErTzYKUZ9oilVY4F/1X2lo9dC+8FkRLbDYmW+Pp5UhB8rga7
ozs62vw2z5a4Ts5IzCNpcl8MurtdXIOpj/rEf3PZYfy0MS9TUNT2CtebWvuKDPgqMYpb19S3sS+R
Uazq6k99e9RL6T0M+oyqE7f2xbSF2g7p0J6mvtZ2jPlNVCRZPzJH4LMaljLwIWMdOCBQR3cv09Uu
z/UmCSnDNF7PbXMdZo7HzrCQaJ0RIhUA8eBrEife3rBaEZOhMsAe9fLshT24JUPW8twLM5JxHwgD
Z7/nd+PZjE0Vr2vODtavgtT6BJA8hAwQLoEsbRQXmwBo4aDWNOYyldfyyTkOkjpT9COznNFhbcBl
iPZKlOy6IVt1I4l4+5aXajlb9VR91liCHgcaeD8kzrDI2KDP2k2Ffx/T5Q9RUoYk8/Qq9QnjjCGP
XMc65Uh2mygRJmYVFu0+eqwxu0hj1QnbgZk8571YB7TNG4Nh9EVVaIhhV9bOp5MSfom8kc0PnWVk
DxJP2cb1rXZjtd2hLbx5sf/7JfN328ZHmcc2XgDNN8Y1D4z2T3hDYyGt/WKw9RDudYtFY0sHUPd7
NogodZVyMKX7IWKnYdS6qj6kGeF81CVmsMX30m1s3AubmraN0KaB3aWhw+x3+ost+d8whL/CD36D
mwBrcSiYYX9YDtgm/s+v/tg0Ndj200dgmYmy1nkC5nGh6O/+8yr/3wf+f0wLR/EffOB1Ff9KxVj+
/f+ygGtwc6FfeDouMx26zOLZ/jcWg38U/MsCqAWRBSAMGRQ4vf/NxdAM51/Lv72QlgMXp+/COv23
C1wz7X8ZoGoWbJNrE0oEGef/etT/J2SMX+8OsJS2B3xzCSEBz8/t+hs4hSWCzElS5dyUXwdnDMP9
gapSC6vMjZ8dVhb2Zq5j9uOWwS+QM0S2SYc+TJDD160uu3AQmE+JdOrmf0DW/IpSWmJuLEM38ckH
AaTrv+H+SgUaIE41cYuQMcJI0JG0LD8+tq7MabzYiv3Lz/aPz8m/r8fPYRIbYi28zl+fk0Tao5yn
WLK6Asi3GBvy6ggRWf35Kr8dC/91GQN8Gi5/GGqwT367TNTQwVeJvDVenrM9w1m26siD3uGdG5/9
AWtckvniTNgss41lHqO13fD4579ioZ38v7OJPwIqo+ubYHTJfwAbt5B7/mL+T/PM7qPAr+9kaU/7
Xkzxl4kE79Av/eFNsxveZnUUPZltrT91dmSFf778378EVLeFkeW5bDgsULlfr68x+pjJu1T3SgQj
HgOSZwZT+Y+WLoyH2vFkSJixebLaXrEdab8PQMf/4Yf4240PMxTymmNTJpGFZS3//C9fQUWW2NwT
vHnvTDMCMW72ocCa8Q9XWT7Ir180V+H59UyeM1TW3z6ogoKNsU2JO5pdx/5jPq50hpC7LqMF+ocv
dTnIf73WwjVh2Z0PY1pwDn79RHMjRyqSabpPRu+EsRoyVr8c40XP/eAomeoBlWkS4x3v3Ls7du6u
qDSxTzWalCgmABc0TuH+QxrOcjf//jcBeQQYD/AK9s5vLx/bK9uMaKfx7lraBxGTJkvW1T5TDkZr
RqZLy/vnb+HvXzhBWUTgOEtIjG0bvz1epj/b0m2K6V5DMNhAGwjCmMUQ3KXpP4Gw/3apANAjNhEA
lhjh/wbZFS2eLtDi8l4MJTvoKVXoHMiEKT/0qT9/Kt4Fv36NXAoiqA8TyUcHDZaz8q83K/iFJonG
4T5oVbklc1g74nTo1lHHlLIGaLkxvM7DZVNamz9f+b/7kCxcsL7kgyj0Fq7TX6+cCVCBdt6pe2ka
9p68BXrkvgZ/4LBi/edL/e3A50M6gGthhgEHJKbi10upOKmIwTLVPbKjM7Ood2OJOVYsx7LuYn37
88X+dmNyMd6fLs8Jr1q+1F8v5lHUFlJGwz1XmANXjkeoWp55/b6ZyuY8p1p5Gui8/uHg+2+uChrU
4q3P6Y0t8rffEYk3nyov0e9zXlIqj9V3grnTnZWaOJIG2CrepFk///xJ/3bQUWAA0HPpBvmw8HN/
/aT8FcjmQavfGalLltOjnI62Lvb/66uwgEVBwlIbGMLgt7dnJcfAd0Q0393/YO9MluNGsiz6L71H
mrtjcGDRmxg5k5o4aAMTKQnz7Bi/vg+U1dViSCZa9ro2VWVplUQEAnD3996953YxoA63Q9hlT+Hh
z1c5iWhg4wIn59LNZvH2XG7hyRoXzpU91Ize79PaB+8ABCUSWyRndzlcjYEGp/1kNG2l9CzO7ycR
QbiczyYAzGvWdTPd//nj/OblWE8KLi8lRznOcK9vbWPHtYUfwrv3MSKRcg2zZNqppfz/fGtQzmyV
ytaSvLzX14FwjexpNt59jGE2OR8x4V0m1/6H0dnb77gJ6rx5WRBMfQ3wmQRvrD2/+5I/X/zkTakQ
3AdF23n3ZXCN31rrG5BP//Q+Uh5JtgnbXR2JP7yKPy1vg12WAh2tebCZ/h7zhb5lAVkCuSrRKn++
1K9vAw8pLz7nSqA3/K/XtxINneMwcwvum3GF9CqAoF5DvNefr7Ie+U8WbKWRjQAnd21O8I79+jKS
wU2CAifAgTXglybY1XyLxrwMSaYkBXtHWgSwMo+uwsWY58WxNib+3pQrLSKSU6q3VeM4T6Iv0GjL
0IuzXWU55dfCLfGUlUZiKAxRJUTbyUe3d4xdmgWbpWFcucU9h7Spboa7tvdgqfgeSvm5dard2Fso
eKOk4VnpHAODxyZl6btfJcVbC91vbrOmcNIeiGeSwn8w1H/6RV2JTWGxR31fdnm1rwvIKm3djW/s
GL8cYwkkYe2mTggoZAhoeH2XSwrvFl5JcD+HrJ1ZKEk5Dk2l1QXsx/E8bpzZXPV4s+9SLIANsvK8
eIN/7v3yQ1Nau1RPnG0klf4JV3CxfN1NiRXduyPq2WnqiYcQGTPRsSr3UF/+cZUCzRY0iq+QBSpa
Muvn+enGYlxvUK6Y7F4QgbLTCx1a9MXZ7s/P7683lqvw5z3qS70yWF9fhdjgcEqZEt7H7NQRRIXa
PaTo38+ycXDvymhoL6MSFQ7DFMyQyDveWBB+e/21LPVZ77BQn3zLdnadfNFldh84boL7bXiymlJd
JoyW8WFYkGUmDFYbu7IemxjJ8J+//Q/K+qtT63qTQSN7glxMEn5Ovv6Ujz5CDC+9z0EmQUc7sr0i
CYtEw7xprj+CnQKkQ+DBVW9zbvCaJT9rZum88Wz9+hLR7VE2PFraRw7drZNfIcReW1v8CmSILccp
wTjGiKw7/vnb/vYqNuhGzjisV6fhqOOCmBhVeXaPuKDYd/k0XdQiVW+kb/z2Kqy3ayQYKSo/KsKf
ntt8LHSJUza7h3UtMd8ieUwL3b3xy6nfXcZl4fWEUOsJ72RH7kM80cMg0vvZytAoZFWHIaLFaRV1
7hZJ7t2Ct0sxgXOCh2ps4uscPMsnrxjFiwjgkFD1Qowuw+9aT8N3LXqSnaZxZUxZSzl/lxlDGmey
l2xDYx8aDbrFz0Tlym04SIbCf/5lfvMWcDClabd+m7VcP/n9pyjwbRAv98XS5Ed632I7hTRbSFWT
m35WztYKq2fUj+9qlHG7P1/8hJi+HrVYWh2CCDg48qudlm5V0WFgp+6+L8Fu7bl3CICtWp63QppD
RpbzkQG8PhubXmDdHd2baghnqKIiOURZGP8/3gXXg+XNdqpQyp7cC4/OT4DQM70PcqHPO5FUhzF2
yjfehfWvnLz4vsvZ4Md1aLGdnJWHQE8tU+PkHhYJqNdsihHjR8V5UhTL+VKhofnHN5mGrOQWCyC3
vOMnx2YPXTuPa9vdB+PwVGu3BUCkmJhKDz/1ZHuP0gyPg9NFBByNyNR7nCiTGLpLyDFvZV380pVZ
2dCcwDhmwtxlknLy7eMEyFc6l+Y+QhLbQC803QWFUrGPIAkeeeq7B25cefAip0DoHkf3iBLFGw/9
SbzKCoxmaMk5kAYGtRKv8uunHqnhWGS2NmvLAJto3pgHjqfR+QiAbz8KvHk4zq0jw+3yMLtZ/mx6
e0Z1rL6VAYTg2byf3TZ4o2Gm1wPbT08GewFNM9q1PIMKWkpweqCrSMAu/HB41Oz2V+gO00ev66AK
hq4Nwaol9xePZ9tJRMTjjJXKz5tHrwF3DREXoOaGGW1+AzAz/BxLI3Dl69y99nRsd5igBlTKhZcj
xIAcID8WzoT11Jrj6tZ4S15tOIKLRxUF0DYXM5Yfm6CSgEptN7/rxk6+o91WpPRvEucjojx7wp7P
UBePR9R8jpIcngM7KtraKrU3WMRRBEyUaTOjtSU1zNLC5v0wWuXnsmjlPeqRCbVQXyFkcuwwToEv
pvEXJcySbn3Us5fV5JXXbdVGL0Nhl+xKrqqe7WWuPlYytr8abdn2Js0K9WyDh2e26k3OMwQJtNb4
/jDOlS4KSMZ6KyCBZ+kqMXb8UuNHKsC3cTi33X4Z8A8H7Uerq/CwFGkdLEz/FytGEVSnTyCXw79L
g/+MMBhhsE/+YYRBvlV3gvZe/42/hxhS/gWGO2DXhhRD72LtWP/NsdF/sdUGem1jk2Fqr+/M/5G9
ycaEx0KNBfGeTMV/DzBs8ReZDIIcDoIEOGDRefkH84vXWyQlFuwabQuA40KBszldP+kNL9CdALEs
tRN+zZVpDwuaWFB7PQGFVp7v5naZ7shaHy/Bn7x1dnpdG6+XZ/4i2CsVwZE0ek+PG149Q9UCXOhU
sbhDPNM/J104fQhau35jP/7lUmtWs0d3TDho3+zTHkBhhc7Ujbrc2GWaf0SA522rvA93jcyDN3al
X26qA2JIsC9RwJIO7a4f5aezmt2WE7aalYnrdskGNEICjoypMNL5xcVOxCWx4/lwUeYoDr6xAs1v
JdLJX7+uR6tnTTfU9KxoU7/+DF2Ck0O0GZSucABPOQYj+hS3zHsXdG3ioEvvLfGh03P+5LJdgYSz
gXEHiJ53A+LclJql7O/pEoMA8camU3swXXXxxmbFS/HTrsDvzyB+TQPTbAzao55//SmT2c/l4mEe
LfXSXddWOlxYRVO80UT/MSX4v83nx2VcLiSFwzkQ483JY4YbE8ORBCGa0awPN54/AaO0kWFwS1ol
njRcg9uip1TYejBhl6OKEppEXiSdF6jFLfh0JeK7RPcccbHQAv9ry9FCpB7m4qNJJNiXCNoTIjSI
Tkf8EeVNgaqDyRSqoeFogsFFNxLbULrpRDsvP602d39/kZ8n1K9PXVoh7PUZTpMMQzXp0ON6fRd9
5aAogxxFdZNlBy/DVYnrCTc30qp9Z+Lxjc38pIv444L0mTRJAFyQ/sTJBaMA1Idf0UORkCJhgyLT
tL0d3eCdCjP0ke2HynePKeQ+9GpPo/AuoMLvSt8cSzY+6DTbprOG8z/fhfV09fOPzF3gdAEqTK0d
Pv+0067Rk7pYumA7tS5AHgB2cN3mb0uX+UCeBnQvTZdv/3zN0+dXEY3jKi65vufrJPr1nV+GuJwi
B2tfkEHWjulcHMq8G96IuP/dVTSjRp5diljnR7Psp/WkT1wfsiIUq6nwi+3Yt7BSvc574/797irs
BQ4/LAMLxHSvv8sMwDgcSq7SYLVEZGi8HeEf+T+qQ3h0PM1O9yP5eZ20/Tgn/vRdGry1FixnXsWk
+VI49vhZNq3z9Y2f5Uc58+phIKqCy0hPMpz9tX+G0K6r5OC+tEHPki9iZH1neMYDOCZyJY4yG3/A
5JHTznMcS+1yVNlgWJmYWLtmrPPxpie4SsFexAy56UWmqxu7cE131nnpTNtwMVWDt91E/jal5km2
akJps0k6jqXvimFq8ksF+ty+ihQ4X5ivzVxfxKELJsmehVy2A9Cu/qzD85rtSmBB0EWBZt4uTYRG
f8lrsXIP4/QMvH8QHJsy6YF884PAyC3cIdu1gPOfDY3CdNdypGUHL9qURLGuHqPbeojss2lup/wB
RD84FJp6Vgeeu+iX973dLOJTWMWROg48TMt+DGT7EgCljPCDFkzQhfFSsoCT3M6gcbSQR1Edjc6m
0apodqZStbVrARCgj61dPzrOztI+iNoail0Pu8IcCsgQtyV6Y7GfW7Q5FyHj1QWlJrSencm7EN5B
3eEYGdVUzTuYRhBXnVDGH31v6SHDuBiQD9ZMjb2RDq5XiKEKIROhGqWm+9s66NrsBtpLxbAW6IXM
0f51gwQJDfyiPUQc++1znxSwlYQNJN3PNOpV0UXiczUXFH91Ai53U2eu1RzkZOJiB7WDO+jmRW72
M5Lid2aa2PISdu4bJLvttIm4pT9cDD5VR0WPBEPjMjxNc519a0d76PZQCIBrVHz6T+3Q8hDkjvNe
mlnioJ9g227psnpINLOhmI6qnqDUJlm4PGSYEsX1VKXIi+RUiuCA9ZwCzSloE2KQU+JC+TP1EqOS
LL9D2t20B5mpLNkhOoUQYGRvPcoWO+7eqpsC3kneFk++PRTPYRIPjDwcnSTXM4ZzUGrwMd0tK7ea
NoNu537DMbD8RnsCgZmZkvwyAYI3bGnCw/rqRNF8VVbU55uxTZ2zBMbRvIuAVVTbETj9eQX9LOWX
cMtpy8M1y33oWJg88IcXejtgqcNfZReQ3eYWsdW2TCb72a0qH14ZO4TYcDZ0zCFGR51f1jJD8a9T
yH0kE1PRTEMfzwdUkDSIJt0YTHaVRRBASMRutk3QO36ZgYw4Z16TOy1gE0s9e2mNJmJM54I9uJgs
ZxeJwtwUQFn1Oaqg6mBkGRd7mWX2VRo283Dn5gEq8gasOqCWTIVqGzWtjxs2zSWDRXob4WGYcfjv
rarmz7LNNN/rYA5uFBZBc+OStD0dy7lf9F0/dOqJVPO6vgsJVQ4/oWUHhNX0VXKxiGZwN309JM22
gKcXw0CfYHAkY7waCTprekrHzoI9NEwDk45Jy+HQEd7xeaYpj/YzjzGAqFATxeuPjQtzCJJYekAL
50EwJqHC2zbVnC3HOKsduE7ZYvKjIgSl2iWR7GADiUHbZ37ZL7C1gzz+YDUzYBpGuM64XVw9cURi
TQ22vg8nkSSdyPY20xIQ42mXrX/Z1B0WM0Xrr9wWJmneAyxEj8uIBI8rXglnuVN+D9bPV43zVaR4
i2n6zUl8EES/Pkx+M8gtZ8zma2Ibfa0qO6n2di3Yp3tciXuJltPC1+zXQIsb7yMfKbwO086HvliV
Kty0Wc68AgNhc5bkLcImkbYwMAa39D4kduucW34b4KIUuXOd1boErBJqeLaQdrNol+TpAEM7qYML
xWCpvYbtwWkpje3WPleiDj84euEbU5szEQSpeGM5i27OC7+aR1CzeSd2tKL65Yjhdql3hC2Mzd0Q
msU7dwklgcDhjoG39Tw0t7QluuZL6/rzpShkQapElWm5HbAf30vINgx3WM2OS4INFXNMbDd0zCBn
bl2Yj2jOQwhPepG3y4Ree19bbjci+mTf20TKLXZx78gLP+kK+wqrlXVZNqNauBFB/S4vsDwc6rL1
QIUX45hvF61gkykYIckO8wdej3ZS1nfej+5xdqT3paorq11lxsjJdRF7vMGTMQBgYmD6yF5DEClE
Ds1oxDOLorH2ooDxcVD0ED/ovn0OMKOobRxDOztUUNeRrEIhK7dWVFh382DBWhQkpcD14povTjl2
ANcd2Iq0h1GhA1AsWrEfU3rMgL3s6BE2mMYMHMFdJlqgatxNC+viNgqLINgV/Vx9CL2EbJNUJjEP
Tt4nHzMz+Z+CqQ4J/g7SDvkXh/crai4YOjaG5hJjUB19B5YTO2TX2JA1OeGhiKbF3ZMOvhY/HpE+
Gq5T5Pswutr2uu/D7ooEarbfhMiVO6/2Rk6U4aA+QWE2/pblxX9aTFO/g8hRfqqyzoFeg/7e3YJk
rZutW5VigG7kzfPeEYws3mnyAKcz2U9OBnQUReBxvSHk4uhqvIi7Jhh2sd/2GRToZnwBFVTyS3ii
ydhdrbrgN8AzualTd7Fp6TG58wxkUoAzyPdnkFugS8NSoBZyIlQvSMGr2d6ElsaxYtT6WgWrJU8P
ZVPcONhckp0XAEiFW5a0BFThlSU9BRWhju7syIFMbkknzVu6Wdroi4p/BsBrltHsb9ISHws8DtbH
2GD4LFmiDpUCb2lu5s7+DqhHIupuIpqA+y5LPK/Y/Tjy/af5RPOJcvVPzSeq+G80oE5Jyuu/9ncH
yoN8zDQCGITgOEx9RJn9dwfKVX+ho9RoadEyMoFdJ8D/akGRSEc/iIaJzSAPueX65/6XpAyZmRaU
zxyKASr66H/SgTopXlHirg2KtVHh8F+IGF6XHUTZ2iUyBaJF6rY7jA6YkVgGZC6Mo3tkwtT/o0Ea
34br+WhHPfR0Dm3pk+sprwvoc7sgS7OGo72F5mZH5Y6N4Kdf4TdF+ck04F8X8hkIIgpGjnWq0VQp
+B6ixP19LrCCnqWYs/Nj4ySakLZEy+u0sqCqeTrC+y8zL5RE+AZgOEGcQG7984c56QbZNBOZf3Hb
7FWpLJ2TPgs2d5oErhfiFFuyM7+R0UcyVMrLYga7/sa11hv4U+m1XgtNH48UlR45gqd1+NTqvunp
ge/7abI2rC7izrgJdOUhKB4kdp7LMl6SO0sN3Rt9ELn2HU4vzRPL1BlqAEmWJ423VHDIkd4Q7Gst
x6tcO/E7Iz02+HFltcpBQDChZpwuhnDobmPuM+SuEMPnxG67E7UXXhLyUnz6880/mQTyJHBHmETr
1UiAJPtUzEEgTTog2YWuWTX1wc9iDZh4ho06IxoNwomxpE1GiN2yL1t1Tw7AYpWXeLY8qJb45t74
gX554/g4PhmO3CewKrx6r9+4snAj8Ez8QNUyMyZJs8bDrpy2S7AdOSecVxHF0xvXPGku/LgF9KhQ
eaGlW3sZr69pCtKj1WJxzakxVznZwjsPdO3fm8CrZNGfG2G/PHr0wZAjs9Rh+dA8g6+vwmmq8y3E
+ISk1K1908vBxO9qkfUlEnGreJmsIgvOB1Xq+qzKiq55Q3aBKvfkCWRRWXv9PH7YVjR58K8/AYFP
2PNC2R0A/DDI52guoR8BrYbl3WZd/2VQvvgMJMb93Mgh+eRkAqAORQSAlLCrqy8lvMVveRRCj6Ba
d8t9LZJ+OcSg8INdyBiCHDI6HxK9rBWr25Imw+2YNmO8jzKHfMioEM2n2TfeOzXOMJkKzk7fISdM
5tYCo0Fyu4cz6VPaUo3SUJoaNBlUArP7SQwUZ8lGm7xdzqw469rzAXUQIplm6CrQDFKRhoWA+iqp
dWHgNmQ9vWEXW+9GwW6+S7OEWDFrjpx9g6QrhmkvbEg5qmOasBLsdHEGlsXzbkmRqO9t+FZXeuaA
ATuwK5rguag8yA0bUZV2kKF3snR5ByA/aHeVyEZECB2TP9DaaqCPWnNg/h4KvvSHoR1cc7YIStG7
uJHL92KuFXkzbhG/NCKarINNLCSYJz/3MdCNWMTXctRw6nR4d0HvGvV5dPTcbcowXj4nysBHcZee
oBYWknA5tGNtnjJSdQyrRhH33DiRPo2LBUyF+jUhx1FpO9rNcgiojHxl+ZdeAulwM5KaY+gZsxhu
isZOgktBhWIuGUYSkpxbwdwe0kXB310sAdWtowIoMOEOjnVWu8o6FIXqZyDLI963olOQ/gBM4HQi
t6UH1VbnACMZvm7CBbYEJlADNda2G7ysIcy28HyuOpBOYeUN39sqiMX7jmWRhixpJJOGKZevbtSs
tZ84rcHadhc4GXexKypybugguO+BU6TxDtJLLJ4XMKxWvoV+Un6Y6ySUl64GbX+NZCxI9JGfZ0q3
KU/G+NBz96Zj5BqSfoQYMaduxoq1gUyWhC7g5TJGNu6QRbMIdfuZvmS9zzszOKyShaHfM4U8dXTY
BvgEqTYUFPiKm02fOeGLHqwku8hyTpQElVmxuyO5lj6CsYLU3U3d4JPy5tNe2QJtgejMDCJN91W3
ducX2Ilm03a5DC87+CrEb0m36Chf0+QjmSLOdTHP1bjr0U4BzHTtCDVhEniHvPBBIYfN5MudD08j
22MxFhTYwZSBhsNaiPViwPCalHF/zlJq8V0gTZc70nZgwtv+kn/BB+TNx6BBGHJYpjwXty1BeBSU
Er9G5y0+b6gw87eU//iShbakatWRVI88rp65muOylJemtJYK1y9wtM0CPDI/smB0w+fELkHq+IMe
o+epjEbGG+kUumd4RbzyOKDJeAo0zZs9p6DJOsI8oWiC2AGJa6YdB8Q6qiaxR3iIa7IysMDWdWy8
GrN0CI9RZNukUBTjHNKHiSZ1Rh3uHVw3h0KfaWrXXdqbmowb/OAOCbOYnDfkug2gxXvXkvs85M5u
yyxT2HZpz20ZgiWUWTnITWZlFY2pPBH+4xIlyU2OVKvZ1nUicPbG/gwZ11vCatfMjfyah446H5MF
rHCaARilAdV+jtPMtlG/+s1ydG1jfbeqAYi5187zeNNEUGtQ/rTReBNFcnYPY2oPV3nG+eDRjXQj
zpYGug3u/MgF2L6Q1ZD54LUKfxUG4ChnSt9kH0qYUV+6wvNvkzIBAAfmdNDopCrVb0essmbXVk5y
78sF7Fyo/HUhA/dVfcBVm7bcjjDML+fFJzbNSJnOVzolFekiGMfqI4Z7KG9qsWuH7GELPmdJXzMh
VbnO14zCus4P3bTw2/gl6L2rAQ/HdLQ8nYCWg+cZ7El4zR9KokkIBpvbgTzrCBBGPtvWN5blAOtm
GFn1oY6V/TUAQADzB0dBd5AJkthNJOzhkcN3025pBdnlnmVYmsukRNB11k5La50tDsC+84XmQHVR
x7oF1anwoEHKXGLK2BGxGHbspCQ4V/XKAkTk1YBmAoI74yubNtm3SMiyfo9FeATjEWX6XesF9YIm
10aBTq/Eu6790acX4mD7pIKNow9+nffqWCDJMJtAlSl5RXVutiFu41sIgK5/mYRB618LusiLdVBe
00oio4ccoODULkl3gDI7XIL8aUg0NrXbbbphtl8KXMV04vLenzcJqx/xA3nowT/3a9iWYw3rfA46
Qs3ARvIVM8BH5+UioNGaslJXFeeNgK2rSsQOyGM332qNJuNyDmGPPRgrb6urxims/AZqV5wdI4JP
SToiVXWNa6uwyanb3JrGZefUrJOABBJJNoBj7JHmRtwa2lRoVFYekSkA2HTbcBrJOdkGkD6JSWpM
Lx/ZKYBGO7jFvMuqbWuGcliFgWa0YxL3j8gHyCd1soEIi6SelI8ZWhbnhee06R4qtplfZt3p8lZ6
EVkTBjJ9s3F0g1gKomEpiotJ1gkhnURfEI3GY/vQ1ux722a0S3RdjAgUNJZ0/NC2SzR/MjE94Gsg
66F1V6qku9OkUcPrb6SdXFSF5V7jcaZ5zFEB/1KDqyj6QN8qolezFM0VzZ2AGC8GKtFhGeo8hUgI
o+4lVGMDrzif4u4RHTRt5gnW2HjnNU53R+pOET/1MgkfEiCd6VnewE/dkRDbwzHDOJaRwMUrT7wh
aa2f6wxEyMFf5MLRMPHeGzlxn6e+DfVBZDKC95KV/i1EDUKmuqWOWL7qIAIP1xiV3sp2zh/hBOKy
dyXZufSHwoSkribC7Q8LuFcbxrUhUP5FQHSusI7AR9F18OIk6fBpyobS23dW4N/x5qtnLdL4slnW
kIF88uavijHJu6BOyWu2Qrv9kDZxulATLs1NGnq6voymdMq/OUMVvTeBB0nf9DmBv2OfeCQTAFVs
wVfE1vOsYs58pLjlnEL45vKJMGIv23tJYdoPnRuL63QdhG+N5XQVkZUKGm3SGryrsSLVesfsB5ZS
LeLiXSIGsMGpS7x3HEf6QRDQaoH88+nxajtDv9Uw4Ics6Iu2OXdn9vb9MJNlu0mLgATDlapm0Yhr
Y3frBiG9PLTAdbqjF2WBsWSpG3ecWGCPK5qG4KX8MMnPMFmCX47oRJBPpwo3YK234/s8o+8PfC8Z
P1q93U6g4OPsO8hbWW0bJjtfRzAfj2nvBTTd2PKAi5hYerwvER8oEqmASafbLxXtMAUVXsnHhbFL
Ser8Ej9TqtXmOlo4nQ0EtI26fRe4oB+PjEYZJXkNkT8PPA+d/zVzWrd+EoLgy3POjgEsszYcIg6q
KWTAdFd0TuqeQ3tEm8gmHrgz3Wo3rr5wNKpuYDlBb4INHncc0nM7+DDEmRdf2n3mS7N1Z4bvO8n0
Jzwu/hCikelz5bYW+EKSmdkjy0h8c1VNQEFU6JBbbXKhkMUt2VXcD+NnawGefUhG+HIWLMniBmXD
9Gwlqu0PTWGjFIjnqRC7FobNJ6KeJnsXdDZRwfbsQEV3Ob9We48WRrzXMqeJXMymv02F9MC5hrR8
D64HyYn/e1HrTW2tMELKrvAbFBRCD7KpC64QIGhiJ5pJ9CQSaFw+ogyLM2SHaXZMnCJj+SUF8HEA
DYT7r3XszwQzWE9sNs4aURHix1AxZcg2q5Phs3ZSoNYoSgCGk3oYgAZcLYSbIkJjvLWdEtaVyXVr
MG4CwMaEmxJO0mCk+gp4pgDDWaWpewjWXK7SODkS3DxdJxz2PLRbN8zZlYmtkHI/K/hCu1o0+kXw
nNBFhq9dH5PGdDbp0fnEBhUt2F0VuxnohNX7HWrCZ6Af2iPC+gVEdFonqt51daff6YSs+7M5MH6y
GbXEqTNHWh+qEabSxs0S7W0ZL9dP1ZgMyz7qK/nNVKUDdr4UULEwY2LJQp2F88T1zCIujGU5T3T7
bOcs5D2+iU2sv7sKEv0GITVBsQQsyrverYXaY3Hh+Vic2rvqSaqYDgsUoPh8LgcU2Z1gqensZOKy
URNgpnMm9QCTBFyqb6x+hKmWzAEd+0RfLZX0s0Oqs0Je4IzuqeJHOXrXiYlzfV4YH8CZyfBvrlSG
zvag6NrZsB+cpqZmMlBSt0TvzCx4ollnT4wwADRh3WRkoZEmTlz8KDWKqYNqRoKqEgpjQkxkFj/Q
ConB5U4uRWwOpJIftk0Gh2FwF32xU2C6pCKoTB9hOA9PQ5oJBo1Y0p/LKR1wPIApDTbznBLggpxp
8XdiWWL7OBtBBxDNVt+dETre5JiEvKh8Ebk/5eee2wr3DCNMbJ3FqadCKCScrg+lC4PllvXJg2jO
P/DACGZD9be85D9N7f9C+vFTE+2XcMBP0Zfy6xf616VJzHz+9b///hf+bmfb7l8IFhVdJNosgizc
f7ezVfAX6nPHXp3LDtAD+kP/283+S9moTdD761XliLfq391sS/7loO+lb4NAzNV0oeU/6WfTa3zV
A/IljfHAwTPK5yDOBBXn6x7QmM9ph5TnPa6QpTxvE+NbGzH3xL3E9CKu5wjILFi5emtV+brDUuZf
kzHG6RxAUfxksefQK/BGCLQtQQfJ0agezQrJz5w5LJD0FESpHPExFBEBMJZbdWSjp8v4KPLKnc9H
P501PEKyRDcmSMKPgzGgXFTjA2CW7OdfZo8Vk2IPMxQnVEEWytGOhRnHTSaXIXwXLAvEjXyrx7Ij
vE3FZV1vMw/A8hEQVa0k0knTzB9G9Iv5ZeR28O4HD9U1PJ2Zj8rRufC2uk+TDzSbyBsTrWJoiE6b
xs3YqQqTd7aAgY8SQ3ioGAqBzILx6CMWO20DnWTV20ZKImCPET59F71yHhtQsjfZVJSE/SoSqjeE
nkKHNV2vWIeXHBa2IIe3OeAUmHjVW4xnG7rUQOCUWKmGRVeLswC163AMvTR7SXEroGOpqTdJlDI5
2YGjsD/bqWo+kTEXbWM/qlqOimGj91WkqK1Hp06PuXC4H43f1cFlmkitji2NpeSpR/324oZpHu/y
BZn4QzKOY/BEem39xKENl1kaYYTbzcgxzgHvO+N+MoX7UCZm+YIunudk5d0yVyyQFG6Fg0uLjSev
s90I6isclUl3GnBnSJ64nV21WgJAzKoWAiAprEu0ZeBeBXtSKbvbkRNZu0M75Ma7zKJK4ZQxL1eo
BpSDxKmYsjPbhiC8GxppQljHqE42SPLZvWDjc35lMsRSGcjSJ1uK7KH+kME2drcWibXhrg4GG5mA
6xArZTezIN5lchmMFyWJk5tsqsaAOT4DwE3KTvyNgwyI9zZaSgpZKRt6SOFAme2TtAqzkFp73HTj
6N9Ak6DFCSCYrh9xFia+Lu00e6aHLu+muMfqmU9W8tXHOqA2Q1DGyX7ovOEj3gv1fjQ6HO2dnRWt
qveg6ITfbX1gTuhjYtI+wqeZ0OP8e1Q0uWtt1IjW6JyMOJ6OTexPYGiXnrnCtuINz66tPPNfCDyG
ftCTlN4dYx43s/XlMN/CcwOhFC20TK9B4eIsiqt+eGwZOF0vHiG/75N86fz3gR5AP6rQ7fzNmGXl
i+WXsj3ABJmKq0gnqTxSwcKqp5sp3fNl7uajXafmOWQ//8icZDTbpVsTV/hLhJzTdqKH7qNUvcQl
sCZx02Y7UzX50tRrAcDwxZ1u/CkBI1hkdXrm5HCrjoUfLR/HsaMhTGs0+C7qKLsJQqQ619ryyWlv
beV9MCoZn8QQt6xXTUC2Vqvgn46I30JqAk2Cs3YA6XYN0FIZc97cUh3UVxWQ5OZ9RVbPis4iDGbP
aKl+ct1IVZuuGeynuPTSB86c7MhFPhF2lmWe5lweCu9uZFOl2dq0mjN97Ua7jsT2TySQOeFNCu+K
1n3Q5hctfO/6SOiyPR1yX7cOoWUJ8QZw94rsKI2ZvwODLqduzbLsB+/AwaPi0ByWY/Ge6JWEzmGd
jV9C8pdv0eh5VBYc+FHGLfGccNLpi+u0d4DoU2OyztklsPnIZAajcC9GQo+ISnc4I7YdHmTXTwV/
OoHjVULB6t45IoY734IfRkrlo/lBkeDLbmcBM0vPECbzd+jEp5/KRQXFEz3YoUf1Hibjc+CnaJ88
E08vDWs7JXugn7FnyPfgo4ki6qjn9wF9jO6ucmunJLaCSdEZEiiiB8B+Bi8umiUXFNuSjRcE0VQ9
ltIOCnicpwzl7XDg8AUcbzmTMJmZQoU1dwO0ShsRvDkgGkqzfvlsUMiQQxbECjBwlFflTnkLPcEA
E3G/n+ghRQdFtGG0C/OeccVIJUfMprTM5dJnkvhxKFn3/8PeeS05jqRZ+lXmBdAGLW5JEJShGDLz
BhapoB2AOxzq6edjza51ZfVYl+3s7dy0tVl3FYME4PjFOefrIuQXDPNUeHJuvwDSLkmKqR9ZDHv/
KAn+tzqi2LH/bXXEC+Hnj/9g8Jb9aJvfqyT+wf9jO/kHZlFqo8i6pazYJED936W/Ef4DPQspKMyE
sOcyg/zn1t83/xGSM4NAFxPfbb3/T+OJG/E/3XZ3Ln7KW77I/0uV9Icm/Z+r2ptsgByBW3IQynDS
KP5YpP1JB7w2aQt4F4lTUj43d93mfns4P53jX1F8mP5m92j/IcP+/cNc0jjREN5o0rcv93tFRnpu
zvsLQSK38gLK08cHHSaUKupGFCebf78g5TpLI6OSqmRuvVkN6aih0blH5l5Bcc9EI/yVVq31ayZ1
/GQUfnZc6iVI5iYoXsJs6na8Ymv5vK7rvA9gaT2aRuiffVymH2ICyNRCO7m5XjvYIlRp5tdiHoqv
vlUGsB87w393BuINYiCDmDHsee7HuOfsXoipDgGI+WwTnpnD6+ihiuhrY8xkIFbWYJ7TOHPGbjxi
tCQWuKnK8MPWITTRdrCJ9ND1suqEjj362bWpPx2YbGftLgXn5+witMjzHpkukQmLwka9lZaaxE6M
/S2/vG9m72hwWIVXO8oxs8D/mOcjieEBY16GQtXJDIyan09nfTw1DgLIZgqj1xTfuQIv1WcHplQL
HxHNzZe8XdlW9qjDMfmFxggHtVYQasKFgoKmHLxot4x3qDPScouxGv46YlzWVIBaU6bpMmepCFjt
UrJMbBEika2BpXf07cTD5Flto9pdftAee6DKOn/x9t3YBvIxn1JrOC7sVKbYFUFEYqOx1M/UKP6D
zZao2M2ire7sxYAl5uX1bNF+RiB4/MIVX0bHK7qTjLrJ2y7raiUKv843i/zT8KmOEG4lAFz5gz38
jDsMeradMC2dxAa2VPdAxIDQLwSbtHrbRJ3od9j0InUcusH8Zlp62ZspwT0bb6E4ZHxQBtNZljL8
khMgWW3LNJv25oqIlHLNdF5XS6IbLZt2eGJCTd417KfiJRoCTNqBbYjvU+dNP8bc7z9QK5p3blAX
h54Fx5loabIbdTbCupki7Eeku/rrEdyK8VIR/3yN5rHX8bQQ9OQ0OWHGOoPJUtSB/dzVjUzS3l7W
3bDAN6BWyzC8W7J/lC2pV6SmTOoQliPrK5Uh3SUadUw/vaaYv7e9oUBehmrd67Y1U7bhshnjco58
iokyoAEgkgHgjrGIT1JVEeqXhvPWW8RdEYOftj8JX1futisDRnJ526zmVk7BZ5Z7vKkcK22fCgZx
e4mBgoiKPAge2C8Sf2lWJhmtYwHJigIuC7KdICIZ0KWTlp8hSAy9z0tDsNydpzvMNc5j5WsxJRNB
j7fWqxB3oWLWtKkJDwbAamYd47zWq+8M0sZNuBed8c1frIrXaDPCVfzTmf7fCIh+byNvQUCcsoT3
ETxJ+NC/+McbiBuUDQg969v+2wQAnB3+B5+AAorEGA/1VXT7C/50BqOe7pEX8gk9UsE1OJhZ+f/5
CX85eKNOT6AU+YQGKCLfgTXu/+QTsHXd/IuhTfbV79/BWjMMGYaHnz9g4e8e+lL+zSfYv2s6kE2h
DcC7TEoRL0SsuH8xxmQUuT1kMe6DoXXnu1x35jM1efheZKjcz4y8O8E3Y81vV6G4E26R7uwuqO8s
L/P6OCQs1E/6WTfvc2+5wRYLwrJ+SORIzQE9urT2qVeY88U0TFRIVl11fxd/9rvi5w9zJfMN9EeM
REjFDP4ykejbaib6MbCAQVoXc/jBVvLksuBvJ/dvbtrbBf3nm/a/PunmTsWNT6IM/+X3y2G4ZNsT
RWRt7KV7SUNZnsdgfUJpv/6N1Oe//yAHGZ8Le4UL//sHrUBCGvbs9sbVftzgkXam9q2Ipo9//4j8
6y8X2J4XkU0VcO3/5SGc/boNF2u57XTq2BlNAAUi/DILn4Ca6m8+63cD2+23w3hF0t/tP7DXOYyo
/vw4FuCkkZJA5tbhfBSQy0Afzd26tRXQj+Tff6+/RLT88WF8KRyiFhMx/HK3L/6nZ7/yhXLDOXfx
lDkkQr+ZDv3QOTLAXIefwXiV2SlsLg5wiL/54Mj9/WD746NDviDZUUzBmLj95W5khALgHu4fmhlP
v+BuQAjDtq1GZhHq7EFMETm7IIuDH6C06lM2iPXqTGO7G9Tcu7Er86I98KIHwt26PqsBVsw5/XdK
QKPv4YLppqbej4y+m63NK/FcWrp7XSLE2BtPl8NLuhTWl3RV0dcURQdJ32GDtYT1flrElk9zszEa
nQlifv1pAd/WsXUpkXleym4djm1Idbdhgjd+q4F402kSkPjqd+EcbGVv+bua5ufq6WZS12wIgEZn
PS7rE4Ax0zln3WR+G5A1PNZVClXMcFL2g5NvrLeUfnYRSISKq6Ozn7wfMriHpkDknc1RF+I+gg2K
9MS2nieF7P3MNN/2T9Gc9c/9iijnSAMtk6Uz1I9iyYZHD6TAEaCKODRBVu9oQi0GISW5CGwlRlti
//JBP7kTKak9xQlTjCBsTRQkpGXFw03gmcyt1X0rCfcnakCvLO2GhYjqh25latCldt/cNXIZP9NQ
t+c+650Y1pf5FDkqfGSn2NKWuv6FEVq+NYAHuwCydFnGDHbbBztqxyYZx8HUz3jxAhbtPaP5jV/B
Q7jDApMBifTViK/WStXsb0s1VHqvbBJAAdEHwRI7ZTs9E3+e4aIpQuQta3QqOe8OqJtSVHPSeaIw
jJ4nwRm+t7IUFU8ebMml2XDbOcGb4VvpxZBRPwB519mlKyoxnbiYdkIs+BzPZFac4GrgKyUxCvMX
A0DxMvHU7Iy+8udEkKTuXnTE9H9j23ngXdDN1OzsfOOts1liw0PTasewS8OHWXyZP1I8BBj1EAgn
jEuQ4Q0EM91pglNYDBuAbgZHFke7S/P2qofFhBKVLpE+N/yUD1Ee9scpjXh5CIFt4AWe6ursJ/51
/i1HuKmoVej2w+hlcIt6p+1sPcsBMuOsOsJqPSBpkJYKG1BqtrRkN1IhTokazKA+9dOYl3uvHyeA
qC3zM/uBaHxVfh8J6sbVNaeDwfYuqqdnUgvKTyLYo/ZMTmFwrMWKk3GGluNvlybyXvxKyOIykG/R
bqIC02Lc+7L8Cim27IbY1SpK45G3+h7hXT9vB+ZJWJgtGRhHIU1fxy315buoIukmha2m2EmdIRHu
Ej3nbA4Tb3FHWDumPXxisssTl13VwVgm+Tij/qZ8drtftjW5h9Js7KQoDUDyUurPsDennZcVzGhm
8M8jUM+aYWNR9HraFCQgHeC/GK/YMwFWMD0ysQZlOv/R6ii8pulYsMmexPouHQePeNDV62eUlzbk
59QUSUDA10nZzJR5dC0/weY5fPhOHn4uCJcgtM/aQbIzDI+jLvk7DK9YN7bE81740jI+AwSAcE0U
yDWdGRCbBaPCOu4Imzd2BFDn2H845MZ9tdbq4q6oGkSXfzakuVwglazfy8JPw/3U3KxFtML9snWb
3Jz2s2GDx5asMV+XAlv6pkEMBcMnRZNicogXMDHM5tc09GFcdUhQriO7FX9vRl3tnU0tZvuBMZqy
yIjsChQcHs7Ri+cWLJ0xyizmtvHmqD8YhVzRsKVifqLDnPo7aZW1fmu0N6Ui7rFk9UU8FB0UOuZn
sGs5ohMUhtB1i9meX/i7Reza4fRplvPYEUeJQk83LkeHQJroJ8NYLsbZKZEoHXKDYmwjm3Lci96C
JJhOVr8PSAj84bcugpagtOWpgV9MSP1irEhIooJlo6mMa24GTZYABCpe17TxXoVGOLyUojtFncWU
C9tbFvfhsLxBDvDXi6UK885Y1lm/9NKs7JvMCX2qUeZ7DUDo26Qtlrs6QlyFB3/tHOSBeei8woYu
ttjEu3MtMzBU7eDCnehTa5K7CnhqhGBuhUj0TO9XrqfaLMhmCgZYio/B4KrmY0h75o9uYeviyTcx
j5roeE+aHtD6Wuvcgp5ZeL37OFE/3nxOIyinaSVsFi9YerCnLI+z0c7uLVf4V9GxStmuBG/YTLJT
+IrI9Qxedv0y+9mnL7mu94Gr4bYwOJjDpNSrlR3mqV/st6FqOxotf5rPAejHA4LKKLtbcN3iiE5H
eVxso31uupG8LzEN2EgzT3tADM02eqyzyY52s41c4ITwoM62LruscmMNmSa+msEqeQEpAs5imy1+
nZQMPol4NMO1OhuojKsN2vz0isBW9oeRbZR/4N0gDx6Dl+Ye46vaF2bmvTeYxdg6MHSYkhQF+GGd
rOY9g2f4sXIABEnmFiJRRrggQCFxArSBz7aFDA3geTi2rH1mSv04rAU0j6aDw7p1xyWzkkrNMMrb
JXKu7rACnKZv3MPlyj+zoZDMg5e0eHYqZdISpDBBsezvVh0CSFmoKpA8skgnzGimHEEMgVrHyz1O
MNx97R48LCB0Mvsc8sFGy7pUkT+RV2cx5L0COw5YZ+jRfG5yzxB7FXHdN8qUUYDtdMmuBk2KSCbQ
eq9rnhMiNlhlnJuj7g99SpD1R8XeY7pHiwZ3TIn+vkevEV4g/6GwaWUt9RnksMfYA9+3gbzNuWFd
TLnwMjVBejYdrImU3flpBOm3bVdKq7ka6uargYaV5w5tKTMdNaEtFQ5yRRwtM+GqvRbDN8PoLbRm
q+kzqGIDh+1YV5cmnUrvAJ2LGA1QovDAQRpDi4P93S+MbCyP2XOaftLJIyxiV1a+TYNV8BqTdRTe
+9ZaNmc5h3hQwxCpL8hxkR3LlGXbRo6r97FGt7VOmA3tfsSVUXHWsig7ILuDHgV7uhInVSHpCXsw
ljunUVV2teBOjzETvqqHI9zIuDFElhA7sVJBdctLqGALPZP4srWKAhgUDuEYHmEWI2Y+kLmR3+fu
Co5zivIkQxC8xewNwIenv9n0GtZQvc7zYcb+t6tDT65xm/nhpYLuoX71BkJSTDHM0frC26vaMMQf
SpkB1aZqxqcRvR5k7NGuooP2guE+j4T5BUtzV3GQ6G5nrONyZsmJOCVkJ1VvmebCCZp85dYfUFNJ
fOxbgto3CijwBZE76wu7cEeoQ1j67xCEIlibdVR/K3m5UhgYUXaEglSVkAsm/zyPk08S6No83jhc
4edUEYn8Fpmii22FYopXmh98IQtdJiB1113dThPFhGF+QScfhlsm0eppdmyBCrNR/tlurJChQ1i2
YImmBlFhmYd2wvLRYdudr/ORHINGJ23bzZhAVyP91tiQeqzGFsYX2ihI327RLcYz4uMwYOZEECu7
w3z5HAgsRUwXiLT/ZsnWKhIdNIaOzbqQzTOMJ44QzJrtVssop9ZijAtCO8SkyKwPL5rTsshR44wk
BfP9i14a+oSmM5fTwpDwaFhF22xCNzXCC2+McVvniDIBo/T9L1Q7VNBMNjdzCay1qs5aE8u1sD7a
CVjVKl5Q0h6rBSNnQAjDAWlP+jAXZv3SqWSglFdMhmDKjDwA5uxAflsJnhh5pKKFTQoHMnqVNUtp
N0iteIKg0zuYdlV4H/ZsuekyPIA5Cz2U2+hfKKvqVx65cB90JKGoqLMTI1QQqzKerC1HM4oBM0qn
k5fmvXkG2Qxbk/M/++67nd73K+72V+1UpKKVbYgtvi1h5t5qVDOx1mKZcT2U3sjmBytF3kaIDKp5
qHcSJkyJLUGxhR6q6qJq1rE7dgLC2g59a+9TOafrsViBRhxrI3eLLaBXc98A/xu3Uz2S12f4U2Af
Zdln4hLWPqgHj5v2o5CBqIm2m7tpN6y6FRcWWNOZ6D9nIdtQ5keaqrTe4hKHhW6VEyrXGQXAtlob
p2DDZ9qnDE8Giu0b9k6JIU/8egwOZYbzoDU7nxzzG5ruGs5uwHDMt8vHpaz7bz1AiTscht4+DSoM
Oe0tUs7uq7S9aKNAgYEaF9KumCcNEVj7A8dmBo55N6112V9apujBaUi7snkZWKzfmPClDna901Uf
Dk0x2eJpM14hCTpPBg6Ir6GyzHmXz/56zpBonEevdj/nxs7klhRBU9ytEwtaHmOMdVc/NZFCEDBU
tLd8p+VsjNkCEso15/sqGMRBuSPbYHoTBPfkN3ibohvl945wkQcDwI46MnWsvrmZizoL+fngiahL
yHNIwXT3+frFs6jPY3RoTkmjatASLqp8LwcsOVtkIg2YO2b0NREyK2lLA+8f9LHKjmLDl7DoWh8I
vaOC7gKvawIQGVHHk4xAzRBposaQSCRDFMGSq8YhWeayvnbWnO1MdHg7TWoNfhphhnsoAdnXkuna
S7d0Iw9XSk5DP9TFUyuV+SYtWtabUPvBYxa1Q1erTFgJbfrFll3AgM7qz6FdyPt8bfnYucv6bufm
0/ge+V3xq25roIxISOZ95ObLvT8u9OWDL+c9yYZyiYVfALhqXXtfEUikXlvC/DFs50W84vZaEx45
kiQI/vC3zeR/95Vt3FXM1kuEiiYATVu2X/RouYrSS9HJrooCiKRAItbFknXLZhw8Ok2WQvYRZ523
90f22hXI1Qt3tBVPrYt5pNX9k2NDep3c+hlQ59X1mG5sSqcwI+6Nmu3zbPbrLw4a61RGU+QmBGFP
4KO50TbVKsS7krrLQZmXkChzp+piKL5qQyfrfA/NoNpNsm+P04oHais6dRO2kigTp4EbfQn7xji0
eMjaDeISnW8dBQERzl26zjscRl1HYdequOc8eDOMKkpsOskPPx/c9mgro2do3vvihEIyBPmeymgz
Zn71ZBTh/AWXRnP1cani+c/mc82y5jLJtOWmQxx434Z+c0DAX11lOgQ7k4XSVgTs9Qc0oQefqLUC
TBrJ5Ip+r4mxxU9ftSYtYQhs5UPP4HrF3ASeTnIId8GuM41oT1KeZWwmZDh0Ir1IX3t/DverZUNs
wNLH9m+h/u7t8pwXaj1kLAmOco7IkGkjZ8CqMapTs7jzC0Lf8iknHK5hRz6n/q4obvTTxjPWeGQO
/6wBNe7XUc1iO/tjI7Z9sVSH1k6ZWLRuv+1TrfxNqy1AnpPBiydY2hTVIpl8YCdzcJauNAn1mbA2
0aarku8ramt+Muwwp03u5cXV4wDxjPVhirxh702ca561dM6GlQP/kIqa5g2hml3tK86PZWN5kAad
bkEoyQ8RbkkmHy/CiqTajoP0fmaqane86cVX7antQC7MNVWWM951SGbiW/H8Gi5V8NxA3gTD1ga6
+r6GUfdOroE7JgbGpvqRn4PHZyYmINhYM6nxgw5r/nNtjAdy4NADTbfZIHXAHBIsZrcBkulyMJeL
yCzvsy1ci8OYuWgsHRqLpCgMicRe1vbOXCoziiOrD8ptjuMm6XNCRvKhH7+Pqa93kes/ulaZ9VuF
Kpe/0JjGix55dAIDb+bIM/WoSFj+6S9MphaYy852sPP1IxKpC7luma4MweglMZjBxOXpQgRHTkeI
z6mihc61zTIO1bK/w5dUPKfRWibSKYIdCqq0SDr20vgtkR2tO8k+ydmEQd6jpkI/dvFGlqjbEFnH
k4+9ABYtm3iqX+68DY3YPD6nK0LBN+PCIq9s9qbVmUfVsuRP0BRttLqYdVfsosb4MSw6hShLP/4T
wgmmKyMF2SisKU/QrqznSQawhQeSC/PDJKT6DNzG3ZtBiyiMdJrlsAwWHz0pZ+HJNkf5ZJMK9DCT
BhFHlal3VdRMmMCKiXoI4dg96R0RLOWejLStKdTq3XWFemk7/Qkmb7xbQ3u5umNUXFZCojhlLVZr
J2+fP5EhVB4WZHcD1jvq8T1uIv1BEEoAsHRoMA+6bd/eMZNfKA9bmqbZzvIjohIXTZDX+2/0htNp
CsW0s6sJ0hYBRcOPjqJy2JDS28Rjx62xsSZTxyHTqXhNLQjWuV+NbwN18Le69bkO0qd13FUkqNbk
bbQ4OgKTnuwOeomIDlKWuKvybtbgrGzR3+WYk8qEks11tuW6iNeosXIrLliTPMz5iJlfalT0OP0H
9FBl1IMvdMAbJ+E4YOFBq4kYTbCk/WbrCXEnQG19JIdGRXsMBsNnpUt/n3dj9Wlg5u/iYLIt0rPK
2UxoHpYJDXr0wGP5VOVMDnIyFTa4m7z0GEntom3HISw2gjo5SgLqobuuGogLytIuissukx/o6N2t
VIolOFyK9F3S8kRbW4fTDNw8lG8+Q9iATVGpnCseXdK2xtI9+g1/f2JORpPGsgwpm5zRVlAoweqo
zYC/0Tg4ky/vUvJAfjDQ/NnazVOaV4W3USCrAUIWrYXyfErrXRak9bMzuHpfSLv45dTVglJLpRSe
odFgHQxaNs6ItaPmspRV6fEo5NmKbtsT7Cn8dvnMuhA9P23P/IbwXuCeDqvybDliZKSkSWw6kspk
6r2GujwiM1Syweno62qjXY11E6M0DkwoUku1k1bDfnIwcdy9zHCdB4iv2TomLJhT9Pa2md6FUKcr
ECVdpfaVqJ2LUQy2s4mabIkOOYlH8z0eExKBM+nholXhUny3GI6PW4Jyikvpit6LUzdbgoODBt3Y
o1PxP5E44O/sqJz8OMpqve+IQK2eMqsPXzq/Mcet5s6+IGjj7whAtVRHrA8GwcQeQ5Zs0+SdXz4C
LTSCmJm9ZvTPT7ahSe2nzyZXRNT0Tt9/jozp1h8DjVb9CFdYH6Fg2PNBIBjAE9nZ9pOVtX4Vp5Ww
XiB328TOEUOoDsDV0u0wCLFzDaN5kMQOPmur8pib96b1cy2cPJmFRc5D5ImGGfzsdMCW/by81Pzu
yexInwm0ZeIS1cWdS7r8uq+NTD6pzNYHDMElbZSM1gdoGsUjZd10Lxw15tvAmjsGCmbA/wsLzQ9y
tbDaGiWBPVt2tZnaSFGSJw4Sd3LPjiewLfkqfRNOiAg1JabqgmymBd8xMIW/apsHe4uZcyQMXlAy
ZnikKA2srHmTeqmWHWE6db7DTDxxA2XMTzfayMq3QjIO4Gz2DbGpa0jcvqsu2UAs0xJUPYFUyI5p
4+ZPPqxKd4h++mdjNeRr3XQemzXeWD/dpiwf66YMY1R9+bAf/ZBUEN8f6INDlTfnlnHh87CsxG/V
beXYl8LT0a96oHMlRVxbK3m8Sk1gFNalSKIgI7gkXzt4stkQ1YdZVGhfsHPnR9FULjpbMbb7Kqv6
L423eHepNrqjGQ3Ts+mYJW/XGjdr+jPqOuOpgb2dlNGPAmUogmELI3XN5GCmAK23vjBbhMCVZf5U
1oSfapxLfNyQK0pAo3mTv5cplp8deldaM1NyP7NTjl6ZCj4QcPWSWl7Vxo6fp8gFM9VxFVsUJMOs
aTS68tzky3BQrR8gU1GLPi8AXHiXpW6UJW609PLUDdPQHXUpBCsDLvW9O/Ri3OHwuOG704ocMkmu
RHYm94YNIdroASNOyoCPK14wP6OlqB9MgS6FFI6+jdG05IBwpzxjQL+wtUJRIruDyc7wilUQCzQm
lg69ItH925Cn+yuLPqvcYtaUBVLU1d0V0kIYzRvFfkHcKR7GQFAJVswd+ano3pKZ2Wi1L4Oa94Lo
Q9qzqZBLebKwCn+Q2VecwehgF5UtDs6NNzu9vUV/fSISYCpicNg9vln2Ed8qi9xHIhnXenrHJoBM
vSfHt9iD5OZlK4ug3Y1GOrGqY2rz1GF2OedROVdPgvUc3ywcsvqRqL/wqSDTQJxIp28NJNqB8bqq
znwAELn2Gwi7y9mr+sbcCXM1aeps36bQifz5runW4N0xb6PwzBh8mwC42r9wL6UJdZRJSCGBjKd5
sNxvVJz8Qp5ndfLAruu1VVg6uQDOEOBUUAGpuk0YDmjgs9J+6SnFrC22DFx7KQI1Pg8l85bFEV6a
HgclyKmQIIENtGLjrSWa4FAGvFLJvaiXb1w4YNWBKquvFV97YzcQwJ5ZitYsV8YqXxncBc7zhPXi
NnRMVVxZioGAV8qpvO2exuPQRFl1WLOuk3uSv4Ble8VYx/U0z6/D4hRxt2TOZWFc/cQWvfwqhl4e
gNA38hjgIa4OuRSowGaQfGgHmVESNhtApK1V+SyspUfv3VXtGjOYiJ4J5XCHu3owpvo6tDfvaBPW
K73xGFpLgoQBZ3ctVcQgUWS1STUS+L8MRC/1cSB6gmVNw/m4dSLCFnNNDfENi5dcXg1fWPlVpQ3y
eT/KnHq7YJMidQ1C8Stmi6YgP7AQr2rCa7UzCcCoNmzXkeITwaiIooZKnz8N6dCx+ioq9cXJoDV0
5pof3Lx1SP0o6/WtUI6L7nGunnOvY67kplNqcO18IkmZc5iY8PtillvGMZ15GabMKu4rz8jNa54v
3OEkzDTB2eOVfSQHxipO2JdbetKcX3+zhLb+RC463FvVhLnZUZH/VNicw1vsyc1jmAXq2aHtdze+
MXbFKR387gkL/6wvk22LpK7a7ItPIUSoB/SML0ZJwgYNjlo++wonN2JmVYzbTPJy2dq8t+cznoNC
by0Xa3Lczrog3wxB/7Emx79979dyuq8LH4OZyCrs9CYKhI1pqeFl8Hz5svgkfWxcvzMY9hftKVx7
mcdrZNjNBksclsZlpYfYNn1lM0zqdHNhoFc/8bcbVgxycXC/V4uW51F48tHyKUxst1/fun7J71qw
DrHDyj221no8EdYisQF5bA78DebPhahV30MTT0pMKAXRCXhYrmU5sPkMTGk/lULbP1yzi/I4L5wx
ISgxtL8U1IDMPhd0ERtWj8FB8bwcpVfqCzu34KvV6fBMfKXHWF2afRyJPsXML82ioREsnMR2S/Np
bO1xbxekbPIQLu5rCuCE31xzIAVDr/ODpidma9ko62BrlyarANne79DOIjpnOfGLVxbpr2snw5jE
yvpTaSkhyLASb2dg9phwDNGS0kjCdiwMlJAbgWBWX3u7tx+JNC+SgmjdeyLl7Q9LDtbFny1v12NO
/+zZ3uO+LJTX7ADDi7i2py6BEb5wl7jE32Ht8cedMxpleGL1M78zKRIJlbO54mzthrPEJH4XeF3w
Zmq/ZM1g6/sOmMKhyCr2nTU7aPoVYNDzgcWYoCZl8f+DZyndjZ2KHkupmVTVKX9Q5jtJ1ljmA5kG
SCgJKwjJY8icd21S3Jvcmjs0jeG8IazFbn6lGbXfpZjQOp6ykLgcFPacxweKdBSw+VSax3pKm+fS
UtNXR+B6wggywRPOMoLyH/Mi7dQBHZ84lYPrH+aIOncDe7jljjaN5rqgb2CdWfblT9NO1y+2As6+
Mdm0yQPjyuUVO+Zg3mEH9vktyANJj5OjUdxOcM1/OjyG+9R0Uxk7Q4lJXBhVfc2ykKkDQhbrOjHD
pJJi6kbckT2KJDdYe0bNQDRAVjjha0Nuh7fzRx30O1UWiNzGptFxUzr449IoM3KiHIPOSKgoOokP
3l4OhEOt9ctSrATUGg24deo6PF0Vp1zS8ko7o/vTFmkfjXgkXNO7W1Ky5Zi8Wvi2uLQ3A9PtwiW3
VCXxwJwzzL6Oa2/zoEjvttxiixBnzZjd6UIhlnYAt4xvPmk5+yhb1LxJe8Obj9peXabOZIr84hEn
y4V4eCsOOCaNrVJYoXNWums9jDt/6facF9Ujia1Vcaowj1xzLVjLcynOHsbsV7btmbovTBJ1mB86
GWa0MnvpjILnatLlfQYohGlQYGUoSqjTAdAKgxaWpp7nYuUH01vCEnBGrUY/47jK5Xc5VlOz9dth
/OqVHodWSqrCo2qHaI4r9ls4rUrR7kK2EuJKYCbLy0U055Rj7J4Wxn/QwyyfrGLBO2Sbgo3F2Kgk
Sg36lRBPK5aoLrrV9LWblK1ygx2Zls1Bh5zD2HtN88rijMFvz78Le73nEjnEy2Y8kUarH6Z+RN9Y
99IhWtoLCZubmSxg9kv9Cnu7q9tHp3RtOPRG7pzR1rXz0fELRlyhNNtHYxAVy52RR4VNf0Gv0cuH
TLoez8Yk9iX1zdkisukzldX0LAeElJiAvelC7veqdl2TgXPEMtrbSRch8txYXT0emVzbbz6V9zuS
84UJveewdnB761O3KdFnPHZp+zh3c7UjAmgkrGNe3NNEEHb0Xs+mvAhvvZnduSwOVi6ABVsJ2okQ
FF2y9TLr6qEc+YESygQrZLYkFDnVTN3FE1uIfHlGSVDLD8oeqZCa9fnBk0QYKNMEY91EQAUfaeXD
ca+pZ2IMQH6DR9KNgg0RuyGx9qxxvU1PegNTemQ41/8k7UyX40aSLf1CAzPsy18gVy4iKUokVX9g
Eilh33c8/XxQz21lIjEJU91qlarKpJYjIjw8PDyOn0MYiEAuiRnnx5An+3Ks5a+G1PS8FnbZlhkX
vwHtg8u6hYmvh+48dkn4Obk7LrEjoojwqrYxYTlpQ5f3oYo3XSvjuUbpazi2i5oEIKLQdxcGsnpH
t0AROjCL5V+V3FNfVEjZNpEh+x8mtFblAfbQvOIBIjNDbovwh0xf3Pu3g1n1rxa0BDoctzpEr0Rc
ul7R3iq9V8sszQ9voIP7mHYZZSTQiWUKpWvUw4CaZ9L9YJWkNpLZDW91qoY/gj5VvhdmC1dXAmPH
Pz7IptpRijwpec33zA+4SCyLEM/7CyXUzigcAUw1oUsoeSbyw+QhrAdaISRwGfQ5GUM+QjphWk+U
MIGByJ4ZPLcQ0uafIlekObYeQo2ERe3y9iFR/fHGl9r+XeRc/alkhT84LbTR8FtZ8uTnodm/ybmk
Pg+FIMW8sgeBe5jSM4PXQkpLO+rZ+mB3ciqFd2DR4PlzE1MSNwHcA29Q5ENG2PtRecwqegg3DYGa
rjL4pXoaLWjN4jGhpXqQ1HDwbnIV/hFHpmE62o6jS+078oTqRYFc9oefkuA7SuyjXOtztNY3ASKP
+pG38/6pjoQm2/+fuh/TJi1bQngQKXCntWr7y2wqpbZ9KtCfodAz95LehHdD73Xf4RkoqMGK4rfr
6NBLVC/knAa4D2kiHhXpxD5DpWad1FZ+A02tXH0eAvkeCmOuu+PxupUFoC1vkaLJQyjC06o6A3TD
POIKQx3yGi/TfCx8DiwfoYpPvOXm6uN1UwtYVwshMPrOeX0RkeQ6HxD4rDymfVO1R58bm+h+iTL3
6bqJhTmzUDugyqMwngtqRQ1Wpb6JMKHkT7nxJR23FPGvm7hEQZtIp4gK+DKN/q/fzVynYGE/Awvj
w+kFwHpTCAocyHsRmCz8CSvwYJP5OMePmyKUe5zmKJJKaCqezxecYYrlBhlYktyFVZiyQQA3mXnQ
+/fEvAnQ570+shlL6wRGZspkGdE2ExQ5bYjnBrN8jEpwtqpdxWgyUDwUpZu03AfWfRjce9DY8Nyr
r4CvL1dsgj2DYZM12EbFOXZd9njUtMDGQQ70Wc6aQ5vWO6XZXh/Zb7j4+VSicwo4h+WC24A3ufOR
9YaQASQhh843nVNt9X276Td0mNuSHWwzhyRzYznUHR0Uf5x62zvdBhlGm8TQhppgw/PD1thom2al
Q+ByR/BZEmUA0N+GDh3t+WfBVwO9tM5nSdZD37zU5gq/ryLzB1yMm5mVkbGk63G+okJMO7dg0rZT
bKdxt5t2A6G/Qy3IHu0/46Z/zeGF1AEfs/nPqMFaOjS3OtRSnTX1qYli+fyrJrA9PT2GLirmf/oq
T/H2UpfHLopP8M8ORxrcJY/WfBt2cv0Z9rVP7gG9dN1uWIGvvv38sTbp8sUOnpmf9t3JDkbRs83c
EPOCb9PjJj+ZhpMe/3nIHASTqaimdnB0d/nhHSiLDbG7/Wmwf3U2ZI4ryz/j6GXDTTrqNNIoEgB2
nUh//iUVZXdoF3TdViG5LyTRabPXUNOdcvDhEYU1VMgFW2m/y9VLRT2FkvQxCI0VRZ2LMENzCp08
nDGybkoon51/hAR1m+xbIzVPRXtAD2/TiPXnIdQrpxOkR7kIN7xArSjfzFSTfo+cPS/SlShqJht/
tiF1xALiypd4WwmtT2XxmnckkZXaPVVCdjek8rbp9E+841La1krgsWr92MPQV8H0kBbjofK8+9zr
P18PE0vrwVdNTeUik0HbyflUlNXAYyfdXwg//8hy9VYkdddCFcGO7N7UYeGgnRsmta+WHD8I2vS0
pPyQVWml92VxQSyROg9qeIpszhbEkHnk9Xqg1kUCUlcTNhbyaR3snhTIDhGVO0Bj79dHfpEFTD5w
YnK2JeQScsQixWSJ42sUykQYSnmjbcrukPkrIf8i6s2Mzda+12D5jjuMtYCqyPN4/za4hV4f0cW5
ghF2lqHJKocZi3m+lOBoh7BJES4QB23LW9M+j8Bmc4W4buYyltD9bdAATvy2IFue7WDPEOpaqGH/
8DTzcUjFX+jgUlJLqq/jaGQv141dTBzExpMaFS1YBvjACyVtrWwrDUkdlD++KeptqK8MZunPJ3PC
/Zk2IsLM/XMLaCmsYDB9jtmPmpIGfKorQ7iYr4mb+cTE9AknsVcIhRY8CyZEIFVcRe0QsjKjgdSx
+WsHsCAeEk2yJx2xyTn/Oao0hVAjlmILgbiXuJB4SvvCll9Jai83K2YmDUWYPeEBMqYBnwwIYli5
rUfLtQ3ppQ53CXiUFBQOHQDNm5FrKyfG5T4lWZdoVJva4uiQm3l1J7R+bRXIEKZYtdWgOcLevoUH
6Cmyxm0Lu+h1j7tYLgN7MDDIxGn+OQ9FQWBSTpdQmVGzH60ufYr7+nM6xLaaeit04ReWOBPYQAwK
qnIdKavzeRSml+A01A3bhyGO35kdvLbklTtUzI0P0/X1cV1kIGREMpzkJPFwO9AGem5NLPuyAe1K
vENnRX2WtF8dvVapyAu7sU3at7TtttctXsSjyaKKriP618DU5vGoKZIk8kQsZiHMKQFUBNpPd1jT
G1iwwhUORgm4TCF4mB+rlHIH2Up1gBz9px7amdKl7rWSLyysFDbMidiLm4KozqIEj8W5STs+Fx/h
zqRQppY3Rvw6NC/XJ2ymFIA7cCVQyRB5rbSQ69BmN9O2RhZAimXucmiU39HvX28Ko+iPkOaEt0Oj
/XKVrgYnTz03b9NDNNDSWPJCupVDt1/xzot9hzaFpPMeMUVdkvVZ2OqqIrbQntLsUFY7wDlgWsxE
Vb4oKuxVFJgo9qlNupK9s79ww7P0HbNwksjGpBOAn86mugAN2SoFLaGbzeZ2s7nf3N7zb7vpx25n
745H2+Yf97vdjn+zj/a+to/7vf15z0//85dO+8kP+7O955eP/PMzv4/fu51+nZ+c6YfDX5vpJ8ex
N87T0+bAj9sDtjbTT/zt8GP6LdNvnf5j83H78vRy+3Gbb3L+6/aWHx+30/+F77xd2a2XHjfx1XGb
R5plEiyZTYPaUDrmWRWET23B0vMui+POje5c/ct1l7tcZUVVdPYO3cfAlucN296gFWNZgxrO8Lo2
b+lF1G4TwF05vNPWr+vGlgbFJlVFXTVU7M4GlShtF0gQxcOznD/SKH6kvxqQcXfXysLhuqlLN1LQ
+dVlVF91nQxiGvfJGRV5CuzJXooAQhxtMvelKooNBUKH9odtWr+DQLhu7zIKKTCD0dSsIfLMUTUN
/cSeL0VKroS+YY+tWt6KbhJvgChkN0hOtCth9TKQYwreNtEiX9FIYc9NBRX68VoV0ZbYmtFR4rEB
icIBeaVBz1DCgtP4xjOG9hYYzgscYe1KkvF76s53KFi+Kc0gqMNvaM2OrVbzU7GHDN/W7Mz+5z+3
auUB0JSNlqEd7NsdfaibxPnZ7egvULbuM11t++62sxv7Jd+I9q8P9LJ2xma4EVZ2zRST5p+GxIpC
yWPaM/K0SierMILQDI0qM+1GqXingBVAWcuxLk0o6FX/poQwZPViw/TtEAEIawzuqBYv0rQFFyty
xZc1Ka5jpyZmvpRLZmNIZYvvBlJ6yFoBgcwha44lAFsHqULE8qT0IxLawunS+EFpxMK57s0LG3UK
PNxWoWbifjz7giSGCV9t+QKJJzkHcpO7TM/I8oa32ChW1mzJFogtaKCox3IVn10n6MgYeDbhagT7
7kYSbkTrPoEsLa3+l3bkc98ohZaecBhzOVsBOUsICo7ItZpOEa8kC0seYkmypkA0yvEpzvZH4caR
10igXopMeipyD57JNT9fiDY0NpPuSJRQJlc/H0vnR2CKY0oJJcBfu1IgoZWhWfe1YmWzS9Psn+8o
FubE0swTeigETPQpoEBU6XAMHkccz/9ZC8gpaYkjlNSEm+/wcRe6sGZ6IYRjGmkOg4cA/mU2yLCB
7wAII2FF+hJ4D0AtVPFQVI+dvBcBMqjBXdbeiP0+pye4/OyXdwCrGmunIcqafb++H37XnS+n4c+3
zKZBDesA6iumgW8Zsr1Xf8rEf1w4YRTtjoZvXdsH/XPs3rphCyBlC/viMKykRgtuRWaow2PLsaah
pXS+5lKrK5leMh15KUq8ruWc1+DVrg90YTMilMKBCQkcJbp5YawBkA/3BO9l9Br+kjNtR6/ET5qU
t4Xu/72piUpOIczI3H0myrvTWF14XaHmETqbPMi/tsHwlFfaLdjad+Qy1oL25X7hhgDlHI89nArG
/F1JQDahgEMJL1aEfVGY70okw+pgffvb2cMMF2IZhllDkn6n9yfHz9ACyhzQ20NEqb3z+wS0D90f
KPJSe1ipJi6dwtNNn+cLIEFcWSd3ObFlqUJV5K1PcY5ygvmU88J69GRF6F6RvSjCHayp3Lh4iTRf
VaXuQ8AVI6cVpJkd1LLeEBxpitdfYkgwjHu3zLufMN1Z4x1tXvQeGQAhkk2WaFx26pHH2x3IhfgX
QswwgOhjoL3Az108imVs3eAyfc19pGu/5H5Jy2Cv6Cn13TyN96oS9pNMfFB+NRAr+FIFdfiNh+P6
GKZ989M1wvpIfxi04X+9EuQAfxKB2X6FabxDgCc16f8V4k0S9Z4TQk95GKGP2EJU2X+5bm8hQPDK
LUskZtSpDF7JzpcjSwFuN2ZqQZep27qS3+QR5O3Q1wvwgtCHcQuu6gskG5/VsHdMn96kLL3NaM03
6HqR5PDp+vdcpvU6D44QCRg0almGNjtUrXIM48AQXFtK1c+q6tGlXMJHUB3C0X9D+2Il+72MTYyb
Jh8etbi34ZLno0f6QhfkRkTRA+XUu7AyfnVjPa64/MUm5uFouqigOwlvpD4fU9FD7B4qcOJxJdpI
zc2IVphhDn/rOTMrs7A0QJE1tjDcO8ihgbfwnQZukoFXM0NcCYDz8RCNyBAsbvmo1vEmMrPk5m6I
bFNRObB0GI5HixQEsnRh+K22kpFcnOK/TUlcFmSDW544r3ImtJEFhkIvV1JD1o+qcdzcyHRHIJi4
DaNfhhY6Ao0khtwcM7H9S+f4bZzNoU9v+hLX+nPnMKVQAUOG8XwI4WHRPkfglK+7++JUnpiY7T4Z
UgUxG6vKaTh5DVc6iDGICz/fXjdzkZnPhzJdzU6CrpKySnGDnTC+U/yvHYxTvf5UyZuouKHpwYnF
N8GrV/xkfib/xyjVEGow3Pt+s5ueGE0LC77IquatsEEvNHF3aUizVCbbSHM8XB/gmqmZS0J+PaAT
hSnf1Ld9D95k6EAG0XBkGH9ZRP7PqAxAeVzSOZmnJT0ZFdptVutpTCWdb0n4Uqe7tIX/w/haJj80
0/tXc/jH2uw8KD30mOOQgbnSvW7SSxce6fu3I23l7jaPu/NRzXydXAcapYFRDV6y76H8D/Jflljd
9P5rK0h/eUubG5t5febTKBBnDEqot0Fs3UfGj9rtHqo1t5+8+jT5nduZeb0MHTFNCw2doENgbQrP
jXjBqp9qo3vz5O5TM3QBlC3qeBvraE2vrNyi8SmtUnkDgrF/Zrylpg1UE+Na0KCOuun7d6E6WklA
4+tznP/ywt31PXBxlP8e7h+L82A5ahI9uQ3iedF3davfyFvV3Gqf8+2wSz8Xuc3Z7e/FW23l3Ll4
Hp6bnc7Ykw3hQZurmflk9iXbIiEgHNytet+9qD+TPUQgQPvRe/wVwqi9shMXgyehhfAiSRpp07lh
UnRa4+niQz3g3pJoSig2dDKsDW8KHRdOdGJlFloEuQ7oKMNKCOtU9aB5g5PQwjxWG7Hc5KDweK8s
Qgt6Osdqv1xf0sWwdmJ7dnVKE6MNcqjYHa9Wb4cYI2JxB+x2Xwb64bqpxQBwYmq2ikmcirRZYioV
ur2Q0PQCxVGRoCmgQxamal+vm1tbu1kUReU+b2JU4x3J+pZLTxmvKwiDXLexNnuz2KnR3VL6wzR7
9PcE+VNSHzyDtocVM4tDQQucqj/tPVSjz92wqpXaN1FfcoaUjn9kOd59dSWDXD6/4QHmdY8HKXXO
FlvUbZ6YMqmIVr9SZbvpuhxFvvEb+mv3XP637Zi/0QIZpdnz9TmcQvGF958YnoXqoEr5M6fTjmaK
ika6bCSQILvRuR6MLvkW1YSVcsGiI55YnMVNOLSDAYwzh4MIupcuj10IcanbPkmFAHZXXJnaya+v
DFCfFaUpCft+Ox2wIZQneeN9b2nqWvGQNRuzQJWW3DaTkCHBILohnXUBOohrIIpFb/8zb/osTg1x
ralNhZGmyTcB8GoHFc8tHBjkDNnaCX6Bvvkd9E28nadSXH+eBRVVAbksZS6aMg/ZuA8y+JW+uRD7
eV/AXEMp9iprtD8+5j6A5W/XfXL5VnBifLaxuw6JsaDBuBpvI+0WGL6nv2o0ucBEFj/7BZ0LUIGu
nDaL57klS+D/qCvyPnO+zccip0AP7wkBEkJk2NbMMNjQyLXNNUCY8F7kMDiIibD7N4M9sTsbbF8h
8EKXBHTzExVBENm67tE0Pmz77MWYWICGF2R74XR40aK1p/flmT4xPottTRUrxjil8DRUIDp9n6Wf
DO19gAg1MG4aY1/A4V8eXGOlCrDoyydmZ1FH8EbP8lvMCjKNN+ZT0dBF5hY7aQ3ishi7TwzNgg2o
4a6sfQz59CDDPGsjP7BTQe1cX8SV8fwO7ycpUlgjZ5zDheX4PeiToutffQUKXbqLpWYNMrm2Zr9/
/cSYH1GmitD7c0L5l4S8gwKT09H1OM0Fyxm6ndjsKLm37JHrg1xOBEFMaCKoEIANszCXJQm0wR4Z
b13Sjty6DtWrjQpngAk/qlJmBxliS5AiR1VEvZmJFkbjOQZLGFsvg/IzT9beNv8/U/Hni2YxMS8T
AaWjlgtA/uTDZdU+tLGTFv4N3SYIgO6FiubMemutEdQr06lxcaqcTMUscaviXNVS2hCcsfgGZ+me
DmRIW/UHfYBLN4G4R/BgVHyqk+GGHiEHbc+j5idHRXym3eHG0twvhf6jM7+llQznr4yb+DetAZ9d
J/v7GpHFKi6RPYympxrRbqt0ap0lKy2Mz9cXdfE0PhnILC2UdSuiE5+BxO1jWx+98L2QJVsVN14/
HK+bWg6wfxZrFmCRhG8td7owFfJtLT9XLiQJ+ZNUP6jcKQS6fowv1w0ub/4/BmeR1eMNSldhP3Jy
FdAU5ISVKDl632+vm1n1wnkQTdVMadtpXyQPJpxpPCJDwueJyNEfowjwWbNByBc9yv2K4cnLzr1Q
Q3Bw6hUBrKTx+HJ+ZOVWFdeySAKcB3eVG+xd9UbH47m+NOEPCKkNRO/b9I56f8lru9u9rNi/nGDs
AxvWdVFCu3DS5Dm9GQp6q1TKdDP0CgSwK4oyu0i8hRB240LWC8WDY2SPJaoYceqM1WdNUDax/yAO
6e76h1w68fl3zI4TyELKxi/4Dp8e3h0VAQDicOkhqVI+0MwECZVsDCs2F8dOhx4FJqAc0hwO1NEP
hmqzQjpmfYrVg1fQQXO4Pqzpsy+WF10EHvW5YYtzwF87VhI6yGC/XT13htbbI0W/bUxwupIvbyz3
rvLpWLxuc2lYvA8Bx/sN85ojNWntx6FUhtXDL0cjdzLsvP7ndRuX6TInyImN2b7saZWV0XjkQuUj
roLbhPH/chQzxwyGInb7aXEACbQUlodPRfx2fRDTR84X53QQM59rqAygD44JNMoFxHxjd6t7d3X1
14XP87maJTC8MtMpxDZz+uIeteCse3WTJ1NZqcMvr4gFbIRX3Anyeb6Rk0HvPOi9cGaZbkJvF9Ur
S748W/81YMxuYW4wmIMYYSAfnstynxgvvvsst+7Kul8eMcwW+FjI9kwJ0NjsWEa3UFetabaQu4Yk
AuYAAu+Yu9oHbJbpq6cJ0Qdyw/WXEWJv+J+QOli5RciLU2lJdKXxdMx728z1RrR4zWFEc6XcZZ+K
vXv0/tFQRNWc5LiNX+ADdPRPt+OH8ozY0RvoblpZyjt4iq57p7T8GcDtqUxyPsz7+5RCGXUvD2qu
UBv5pt+g6PWtoY/GtZM7lMfTrfUFPuLrRtdsyudehG6W6heWX0/Hkd5+QbPr+p+/GJsACP/PmGar
SytzKMHrA1Oacgc1jm59tdaeZ9dMTEM8ya0T+gjhn8YEytUCbMxmRDvQypvQ4l6wAJIC6p8KPrPN
1poBjNMhNqB/d7z0O9fLHgbJytxdn64lO4CkwGpCvj5tivOxiFHT4+VR7TQtLN+wlbcAQUx4+huz
kX/0kY/C93WLS+fwBImnUMYTNzeEc4vc6COlLoXKseKMlPaXp4tQ8+L1Rmtrav963dqSu9EsRW8O
XYu8us7m0bKUYmKDoErQZwiJ6tx61rowFwdEKYRnIJAMwKzPB2SMYqgkOiewJPewq27Rh7dLRKOU
d7V+vj6a38s+P1CAaFJ4mNplL5ergi0krmq8+2gd6jf5Xtn06Oy8dZ8ix/Vt+d08drvxk25/Te/1
h+FxePhWOsPBOgAcs2sn217/nqXZPf2c2WYuoEUHXM7nTIvYI9MuDi/XLfzWm7424tl+hqlakd0a
E8pO++TeZ3vxEbDmwfiU3DTfhE17k9/rNoI5jDK5S7e1u5JfLW2Q0yHO3LWWK7ghROyrGXfUGAD9
JxcaqoyL1vWRLhmS6G+QNbYFsLWZG6Wh2omZiqfCE+k0xTFBjA7WvkQ9XrezGL0mwCKUC9SR54jF
3iiSoRoNqsj+P2bbomOL+rG+UrtZ2hM8lv/XyMwxdN8QinoyohJUwN11z3H7wk0EdsNqJZ4s+eCp
qZmDZJ4rxSMMbI7p3ukWDP7QEV+fsWnm5y54amHmAq7cQ5fUYqFT35Lg0AcP5IpS/hU2XjV8y7qV
0L+U0ROQaYej9cqQrdmA6r4qs1CzuG1nX1IlsgVYLkr/w8/fVeOfIF1xh8XpO7E2H5yLHA41Id7n
h0MR/xDylUr+4uSZ5IwmTXd0i0+ecnJYRkrkdV5LuNfa19qjK+RTBPZPt74Z6ls4OEX3fn2xFt37
JLWafv3EXtqKQ2JOqVXYqlvIaGCIDLeJsnabXDMz7eYTMyW6LkmXYybWjhD+2YRreOL+hWufHs6z
XTQWiifQe1cjG/ra5mCLv16fq6WQc/rnzzxtjKQ8aWHDcCDLzNtfHezy1rBvVzv7lqKBzPUfW+Az
Yf89n6xBkkKa/fEBsd/A5Wtr8qEVj9CaciFaCddL63JqaubOKNDHqluwLrlCeXOMNor/WpjB5vrE
rVmZfv1k9dECqz3oe5BTF28SqXWs6FVHfO7fGKElVpfAywJ+OjcyNgBPa2saivzhFqiXyw5SrStG
Fl0AXNr/GJndUEsPZJXnYySoY3uEOFBHxzaKJNtvvlwfzqIlA14UkPJA4azZcOScaneILCgDoRHS
fQj7gyvSAelcN7PwSsqVjnudwv0OePnvR6uTtUHcNJAD3iuc1lCdQjNeQtWwVQUKakuvbKQXEfjS
9jxd7vRKeLtufPKu+UlxanvmfeZQK1nn8gos09jZQJA3WtLKLXwpntJpADnExMlizLNNzx/9FH+Z
MDoeIadJ240KHe0GbWVgcJlmHGsIxDeyifqY2jUrD6VLjs/NCodB4462utlObg3ZNcaA08IIyRy8
DMpz8w6mrZUL8pKvKFQY6NCh/VIxpkk4WcMmFuCl6UmpdcRI45j3gmxTe7R0FbvrC7Y4nj+GzFnJ
oRjgUs2n3F0R4YhFv82tn9Mk70SKHFDArWy2Zd88MTe7bVGiz4YkI5PQ0UuKIIeJQ/Fg9hzydKbY
YZA6NdyHRv/Q5ONanrSUVlCIRA+UQiQClrOlU1LJhfnVpOxBHVa1Pue5D29LcedDZaZKHzXEGtfn
dinqn170ZgYNxEXUOp2ivtaVtlj7nuNpAcpT0CGGLa+nxcruu2hABYcHOhTMMM32eKgyC8thDP6w
6traIQK9Cez0aEg3eq+iTufu44R0ranhiQvEbRH/BBOyETPkBq+PenGNkabnG6iSUVeZxbnYlcZC
BSnuhFFzA6XbEaVtpCcaOH3R7Is9GMMeQx+pXP/juuUlXz41PAvlPMYXlHgw3EOx2ASHVCjsul9J
F5d2JmQD9CVS/uVZYTbFcHOWEVIHtSMY+9Hdi+He1H9o49pKTr4xD6SgCtBqQPMXnpWZmajpVBW6
STIT7xE5OidDoQ8FkUMrVcc2qg+BNjzr+bdIKh36JB0JkRA59VfgkItjhSFCAeIpgl+dRSFBQNwP
xGztdPXEob0NocRPyi2Sl9cXbmlnGn/szOuefSpWJggbPCYNPytBuC2k/J/RFTfo3tl58TEEa3C9
pUMEphIRXqyJNsqajUwdk7iForx23ECBUVgZk0OZcQ8Me/dRUbL7HiVNR84E15ElOVuZ1qW4AIqb
RlrehQBUz+IC6nlVWA4ZN3rtR9g9tsnPsXP6atevtQMtzasJWwCwcaCryvxGHcDs7kUyV3fdfM2r
Yxh+q4L3KP/WiO/u5+tLuPC8BxBeha2KDhqFVGw2qLBLm4Ewx4xSUoY7fuBNCwEU/0HSdqa0M+Fq
y+VXee1quljCPbU7yzj6KFLQuagIeeruo3eehAOM6OY/n4UXE2bzalu+rESZxdWjvRKHhamWB73z
o1kfY15j5IbUF8oxU7ujsU6RvovhV79f8ZOl7UdP8n8tzeJZrHWZidgJCSON5JZs5yKabdA3ryRU
Cygmlu7Ezmwz0C+mIPGAnbQGKSsdWhsSqRvliQYNOgMfC9fRvlz3lpWR/T5CTtIbtAP/3xwGVERq
Fyr11wzZNStZ88rFxeLKBWOZKcPJMMs3xsrIWjXrKV7tdUc6SF929MEi3vIg/eM9j064Lx5zLpf2
+O36AJeOIqqT/7UrnztJHbtCnZkdXln98NojNLWetbtuQp7+jPkRcWpjtuNaMUazQMAGPYuyLb8U
N+6mP5rHauM+Z1+kDj40xRFtbeN9j51bQPPOGqJvbXZnew/2akGhca12Rll+jEZxlyejowPoGE2E
Ksrj9QHPoxkH4cQsKFOyhn6OROd8TrU8HpQigJk9KX4E5Pqh+VEEE7bkUxgeDXllV8zH9tsaV3WR
fjDumXMXhdRBgbS8pkHPHA+K4j5Bnku1vr1XaW9WRte5Prj5jpjM0SIy+akEgY05m0pRR49XqiwT
Mpnp6rnVlG5njAhnr10P554pmROXHHkiNCgTm9ksfEFW6GYevPG22n4PMhEdGmMnKNnKBr+cPayA
9ke6k7rXxR00ypER7QMS3ryS3us83bvIb/aCgUxY2ZGuVOb++vwtDUuhdxOOFw5VtsW5c4xNOtCh
gbqkQc0wR1wzMBxJX5u8C3DXxElokDNMTHAqZDyztCyW+zLJhNh3bt8SO7I9G5aS91dn6zyt1EAv
zjUsQXDHm4qBnIiCrfMB+VzvXQhwyUL25Qa+lP3+rtrENlQm1yfu98ychpG5oZnndYo8VQwQeKfU
/ptsEkg1vIH6VuG/FAY5/Z3wv9u3t829tb1/2NnHfhr4/vFdte9Uu9ho23yrbd/tR4T2bIhZ7df9
9tk5PH183K7xBV1ulPN5ma0AEmmRV4KLJP9uQydo0mCfSjli2V702dA6aaV6e+nIkzmTi76uw++j
zM5gCOplqYOj2gmb/gbO/p1YAJ5HF7vv6x09qivLfunGcKXByqHAVgQViTwzlzdyCqbXDxwkQW6q
QkTpb+huc1lYqS9MR/rlov8Z1iwKcDwZtVkwLN90bcV9Q+tjG1U02Db9QQH4qWuxZOv+Wtp9MTze
ICdyswkcSaZ4UdEDzqKYfREB/eKgAG2lRbptKitokCUrFsumUzKEh1aZ5TOy61tlV8M73VV32iSS
O0YIta3sm2lbnM3gxIOqcs+WIDdQoQA7359FVOSikpKPGU1z0JDkIBQerm/NhXEwBB1fIFrTUzEL
Ac3oNUpcMo7RbV+QOtxV8JmJsfH3Psfxxi2BmgjotHkDkepq3JynVtmQd3wNGbxGvIvWgECXh/d0
hv4xMkuIUFAchhgWAqcPmDPJQxWoih214/ympz92f/l9+Xx9+i6uJEQ22KhpaSaMqlMJ+XyJaBrq
UOroA9g1gie/k3cq2PS+FN8lyXvqoxYpHfEVBRsYuYpNoEYrHnIROuj1BCRPnZIGbuoxMzdsUGKO
20kXtxNbChGd8W6lhva9UBrJkeDi3MRFOny9PuYFl2FjTbdagMeT758Pue+mAo+eBU4ZysVW17Lo
QNt4sPW6VTS3PJUGZztgSsOwRgPEZbHJD01a7SopoBC7Q2Tepolkm44vbtwequiliXu0gu6QRrz1
42mqnQRBiH6vJ+Euj8Sj0Hwq3Z+GcdS6lTzxAlwEypJHFroN4WLT+PfZJIzl0EWFqgfOmMLYBpFT
SBZlpRUXU0/Sk/toyALdQZwFjahA0Jv6kGWy9ujHsrAVg7JxD0lgev5Nyckw8LDlKhv0POSnDvGQ
dlO2Q450stALt6YYpKojRSgDOYhl9x6tYoXy1hgBMheQsIbN5vryXro0AXSijZFEESYCNtT5+paa
i9pnClw2RKUJLVnJd0b9KKZOO+4MOd0UTW5b5dZPVwwv+BV2VQgvRAMe5Pmb+Vj4qSvkyJkgYOko
kbbJKmHjGdL2+vguwA4s3XQ28IRALiyRDp+PT696S0vKlPZ9sDFe7kN48WSZX9VyGyG8Ca6kDraF
e6N4+zZ7ofW4N59Bzvrt9zy/VSeZjG3fPIDkvf5ZC7GevBwC6GlTwZk5m3UUJwstQA8KwULQw5Yt
EbauW7gomv4e+ImJ6RNObsRNX8BJVGEifw9VqJocNKDbm+Gt+9F/W2M4WghMGnRN+A9KYFQYZ7HY
Gou+iDNsmSibD+gwVQ+1rNKQu6nWmBeX/AbChwn4zJ0DOu/zYXkGbToIjHKEefkB9cANaOCjmYkr
03eRFPLHkzPBR4N7ciZfpDNy2wtiGTo5fFR3RWGOm7xzc0ccW/EgBd5am+iiPRglOdBgcbs4/KNy
pA6ro6Jh+fGNXH/zAnnnkRuqK5fQhemDaBsKTpqnOUjm+VIQo5DnBRXjGopPnFjvtVvsPcH8ct37
loYzsUVye5o6K+evTcTB0Sd1hgAh/EfSPtp2pysfuf/2b6xMKHBSwEmO6twXgkCU/CaQQ8cTj/X4
MeJ8Xv8YtB/XzSzNGaHKgOKWOy5JzbmZMK5Jbl0roJgcNHsh0JKbpFADXvaDMFt5DVyKV7/Jh8nW
ubpfPrjAv5gZQRQ6st+JL31iWK2d+qH01A8imj8DkkOyLQqy+KNKO2OXojnzNUad9C5BFsp4RI87
T4jd3JT3UNmKaNCIlftRuWX/ZfS9+N0wKu1gmCmqSENrGt9Umhi///18QeMkkqpQjaZl6Xy+ioZz
qhPdwGnUYeP6aKNZ2cFyrc11M0s+dmpmli+nshtROsYM6ilowx+8WnS0KELV9+VfGFIBafMERbyW
ZrHAUgs5H1Xy/SYx4ARPe1WlWTgqPlO0Ud5H3ScxuG5xweN4zqeWQvyB9XWe6OViIg1mHsSIrUVH
AeEmFfFotw72181cpNATtQ3HD5Gb4RHxzhdKKWVXrWs/dly1RCEP2V8IY24Gq0FCGEqdvKg3TfPr
39ikpxtpDa6j83O/dkt38AxsWgHskC1ue8ylJ55KbCV5pGJ73drCwaSbE+8TtMraRJN2PkK4HzU9
U6LYgXXkViRJTFpjoze/gho+e6PdXbe2tGxUVsjOTcAY1sUNzjUR4tHQvvJG80bUIFsyta1crYSI
Bb8H4i5RwYHNidvVbEyNhuKvJaBBK2b6fioihElud6j72mm3closTB/+zrUXoC8xdu4glRUqBBS6
mSCzQmRVbIV7gsiPPq1qRBzFdNtB2rZSH1kY3n+o3eHO4sX3d8J6krcIrikUsASjJ9Upd2HROYko
oPiSHNwuWalZrJmapS3mqISUDij8RtlLjo4tEmIIp7356kqkWvCLsyHN9lkgirWmpNhBjWvjVdXW
qINDM6p/HzW4pEyoaWoV3A9ncUoMxFItkZJj5sxNI5WganmKCMoVL1fZM7NbGjxVEGsjlUTgmPMy
KC1YyrCZBIbD104vueA///U2mrhsQTdOhHYXPfBQWES+njWRo/sdOzXZZUpoI0P29849cWsD0+eU
hRRtdn6IWmX6gu5Rb4mzOxjsIP8Ub5r0AypdtE+Hv1+cs107+eKJWwcqMqSWzq5VSutLXOZKbOfa
OGxKfSj/uT5/CwuEKcIDKB8uPvOO+qDNAuIHprRCOJqD8TBIa7JMayZmoxk0v/VyFxNl3lufR+//
knZlu20ry/aLCJDNsV+bgyRb8hhPeSEcO+HUnGd+/V30PjeRWjwidk6QANkItos9VVdXrVqripFW
DIKHywNZOJ8nAxE2dAi+CmWisGL1EpvgezRUMB5U4F8u21lwc7Azk++DrllBX8Pp2vSVKU8ZhLns
qNQeZ5ZbNMxuJxK65ZgcVMlay+Ms3btH9kR0wmipIQ/8HHdgAV3JugpzO+8CkwWkfPN9ywuiYBPm
ycq5XbRqKIiU0TcKpLoqjJIHeh1EJbennF+hLlTwnwQCQJA4S1UFzSkr5pYeoAhe/tib99DRjid9
ZtZSCXtBR+yxGplU6wwNXKCGeuz12xR5Yn10aexeXswzyBJehid2hftRU4pAlkPYVaAtDz16rbwf
1W+9tmkwWnC15vUIzgcIgtc7Yy3dsLiTjsYsnAvDl1Lo3cI2qkrYOYbO5EG6G3lwUHTUhPX03yem
T8YqnBBtoLj483msZB8oKSvr0DOg5Xp5ShfP4dGo5p11tJJTEQdtNe+ckVJ30Jvvfd1CqwzUB0U0
OZdtnRfE5uVDhhXAdqRIwHl/aow3POhqDancRkenXNiizFyaH9mc64v8b2BFaZk27jNQD6nyTtY3
YfzuG4bdBa9dvuJ/FrYSgkcwf6EPCQgU4PxOv0W2IJLL/V5nfUXVh2xS5Ll6ol8P+lQBOkkb1uYT
txOf4BbJ0tBtW79lcRv30NiMrL9ZbItqc60alPIiN0xHlMZsCwCnhqj+mVqQzW6h+cutYOViXFzu
IzvCJlbBPolUM1ZAIgrIkAjo5KBHP32P/qrkgZOAZARyLABNCS4pKBHpFUOL4yKNlKk5hWo6zVe8
+0L0hbcUNO90KAAs8CSr8pDKYc9B3ImaSlDsde7v28Z6vrxxl2YNTxqKigSq7QDane4Vs+ikENV8
7IbYyL4Z8sh3lR+0+xDtKM96mrxcNreUuDUokm0KtsJMJCHszbCLUAKJQAPHpcQBhQTSIHn3ZuAx
N161EmeleeC9U/veZbvzjxWiP4wRRxTpMRNNlMLxzPsMus2BjLtSivZWU2ibpB5lJoPM6s5qrkL+
PLR5xcxVxu35B58aRiu+giQ1QUoBLzrBcEmnEYxxrc6CmiIlPTXmXgqHV6lWiZsg087S1nqRIPLw
0vTF6DQxKEHqJHoIVPV7rwTPqlUlN5IxTpsE6neQykYd4fLUnAdF+D7MDIh/cbsDBni6A7gk19Is
MMZK9VtTvPTZ6+Wff36Bn/58wQ1naR1qaaggr6psEunZJN8Gfs/TjW6BL2+N7ub81JwaE7aXFmfa
VCAdxnzuyEHIOASbQRm4Akhb8rDgGMRvvNBnPkdhzkjddCh4IVdMNI1pJriWvqvqk5QNrNT3CXkq
++u682T/QJJV6MXCes05XgJtHeSRkdg7Xa/M7HJeqo3OiPKmJA4HWrPsXFMD/a0NwExV97au9y7t
n/yk9nx6WK0rf2luCpsanwCYyawlBFCAMHzJyCHa3GFTQ2vYVQonAXVRGV01GsQqoLci3bZhwroY
x9gAE4FiZ7k3EHdqXWlyeu2OFHYdbktE4KPPEtLbTbzpIPk6PPYQZ5dnMdsEDRuh11uaPfo+hJce
tWo7ZhEbQHqa1e8QsXIS6dAU31PtZ109UutWo5t4lDcBkC9IMPL0sTWvsmztkbcQHs4u5M/Qhd0c
RaY/ZRxDh1CxE4IMccATLBhZqEEG1FFBtjbGD3q7BotaOEQnZoVFj4dBkngPs93otQDJApuiPSIH
h80W7JFiWwmdzt3lySi/CI2OQ6e+T6w6gLl8zKAXPTKZXyXDwJoOOOCQGeOnbK1piy4c3eMhiuX3
qGg6Q8o6HTLlhh0UEyPgeY+mNRrIM7gglF5gx8SDCU/oWVPn9Pz44wjR9hZ2xmmwwcQH4cTHjP+k
+pXS3pumxBLqoF2sGF/6KnEMxSPqJ9IWrNcNRtIevGeUFeqhHza1jJ5MaY2m9uvKPT9dfz5QeIH4
KXRxcgWTrwO+31hXMTqWMi2FOZx5E9CUn3xUWMWJawZ3U/Q9L6A3kLJGzpxsAKdXlDGZ3kM6Bpou
t1YXsMq8IbWxki4/45f9msejKFNwAshDyuNYYx6DiTiSida3pyjclQBqAY8UU3B9mQ+AHofIpNPy
BfXYdviE7rt7+XZZ3DVHXyGcR1L6g5n4+AoZSiWa/1kCNrje+LsQ3mPToMueWlAqgOqTOFiZTkWm
DDrj5X1KvLDaqRpnYZQykzotfTXzNxkTjpcx/rzrQ+7K9K2vgB/5dnm8X771bHccfYkwYAjYqKpa
40tqkJXE5bYFHDNLymuLXFEfQW/lKOocA9/K9YMse8F0M4xPmgRmvnjbogAZxyMj7VWF+nVtuamO
ZoNIZWjQgcTUq2lEeGsWm8vfvBD0zbOnQcrRgNYS6tmnR05KeG/SftQB6nz1ycY03yQ1ZFWtbQbg
BvxushvgCSBroaw14SxuDyzZrCwOIW7xpgqszsi7aNJZy3vA8Zs6d1Kp+9Qa1MwvD/I8kJ7H+MeS
sC6B5fuaWsESKn54GEBUJvQafdgZICv83ywJdwFJsWh+AkuBKjs+rsopQxmC32ntStD8hbI732u/
xyReA1pWWuYYwu1EYHa0oP5O8Fd+VbSTk0b3rRS7BL4pUOxJulHkDVGvguhaowhDnjl9VYtn05rw
H9/78YC0OxQbbzOa2nHp5uQZoeZI7y/PzLJPmjOIMwkWBNPmRTq6twyV+6gU4oMNyb8ZQvBDVOZ9
oJh4lg+qlxDNG+QJmRzTSSn9nvgfVSUBmwsytIl2Tt6saZwt7/yjDxL8xhRq5QAIrc4yY/LysbAV
uWEhBRcXsalUIKNzXct3fWMwM3IuT8bC1geEZBaKwXygBVbYJilJpT5K4SiyJkS+Sjr4HXcbvtbW
vzTEuf8UJb8ZAngGcZbqBIIaJjzwoEtoPA3AFh+P0KJOxwaYWb+WPPy//saHlhyol3GlpcmI4nBn
8b8Z8Ax4Qg4GblqsMPklFLGyGF4G4iw7bvZeNGVu3qyBYM4RyYj5kcz4bUcIILjqj2jbg524qt+H
QHVyqjyrjeGQIbdprj/6Qb+z5GRP5Q4UxeG90Su3kaZ5epesFNWWJ//oW4RYoU0oh7YbFrmdkx36
BnSasnHIoYNNg1u1tys5vTL1fZuunLT55wqeQYfQMCzD5c2NuacHjaPUoUSz3SS+MpTAps1KNWB5
ZEcWBH+qdNoYyRlmOaU3gfkyqLs63Sb9izrcp/kV0Gsa2ff5yhZaCu9PxiUcGtTmg1CzMC7dfFKm
F19Cu6h8JWV3VfSLN0BRANvy78vm2E9oLSS4o8y5BHs6l3qDVysEK3SmGTgXvrZNpYblGV15tM4T
drZkR2aECa1ksJ+bs5khSO2i30Azxc9cdXjIVQPop5WswlkzFUKlk1EJM4komzRSgVsqye+U1JPi
A0DjUfCThxSZBjfNcDPaefaJ3iGodK1EHIu+7/dY0Z56OqU8TrnScLhdtQ7dnsq3HXoZO26tnII1
M8qpmYknyHFxjLHQH+rmNjZep7V+wsWDdjQSIXTKIzmU2wGrlkwSk/vS7qSHv7gnjiwI7izJGxli
w7DQhuFGHfC4HIIrmtfuZTPzLha3H1BpwNpB6WvGIp/OVVBCQhTNtYhbK9WNyhik1QelbABsvJaM
NRzcUpSMGGBGGiBJgl6peeWOAoFAswq9jrEy6Afuxl96SLZZsy3zAW1ZMS7gW3lq7XJATGJyKLdt
ZLPeWMMjbbet/km1G1n9zM1PMJBq5I42mVPnuaP115L5bhmVnTRkJaZbcncnHyxELnmMymcxb6U4
IfUtiUdkQPLmQ6UQkcM/gISvTKPnIIiz63CcIlvq5VsrbFeJCebVFpYJPmimScPrGBhUYZnMNld8
LVR01gxF6oYWLR2iVvJe8SHK2ukBZdBp6G2Nxo8hT1Pb6Cd0zEQ6wVUPIJtirh2AJZeMJjN0mAJd
DXDK18wdLaWERavMBqw6E3+jHH182WuQQISifDKsXTmAgcJ8lDTp32/Xk/UQ5gEpNrxvc6xHWCIF
QowG3HRl2+2SFEVjQEoKFjTxmrbn7BPPJv9o1wouOkiJFTUSjKaTmyGF1mcjq6LMBT4MHL0ak9Un
y1xjrVveeoiVv7J5BOr0p2cFbaFqZgw4mTM7Q30VcwtOBohOx7rh5m02Vr80I32oDGl32SMsZVGx
134bFjk3gk7lHLM8P6q/tf2bQn4FVHYK61te7ZoYvSrTfWFel+3A2jWBowXPfbLNhZkOSVsjgQnT
BuQ/0+6tR2tMl6141gVUpHViRZxZwyg7f4SVGFdsl9SbaHyGCiVuW0e13isLzLwZQ47UzBvsKXtK
QmcCd3c+PhZx4ySRlzevhCJTCkaeVWaF+XI622xfAIJZfpGK+bY6y4q0GHHS8/ZpGK+5ulO516Ht
ZZi2wQjs5XWq2ckay9hS+g1zMuMI/jErXGjJhD4XmuEh2VMkExM3gV+JeOQ2aB2qagc0EHbuv3fx
RgkrKA+iGmTaQI+yMdhw6SElDjFtn9sx0pCNdV2vfd9ClDTrlAM8hpQBrivx3EOZrwwlzAq4wJ14
BAVS0zHa3vnmrk7exmlliyhr9oSNKOUBz6Ma0xFHwxY5HCXqWah4RbHj0lVUPHXWo64fmn4bDu0s
uTCCCTAOfsbgaFXujWJVKHee/rNdcTR+YcsakwEaq3heHv01a6ddxSdPgctroyci2Un7PGoEyZRv
5YgvWvG5/8XV/558EWEyy90MIOHQkVVtEFPtuV94hn/wUfhK8XwqPmkIFeKVLIfoCkDYid5mYBpx
vcwyBfO/H90vObGsLlRDEM2DwNo3SltXX5pkrXFEXGfRinC/8yrT5GSAFTn+qBW3bp0y/NATd0xA
97PGS3vm0kVrwi7WJbTnQlAdihkQoxtNW2/uZBMyMK3T1k6YO61eeGbzHAVryeu1yRS2M2lLWdIB
6rSbdkPi64H/HMI1FNfaVApbtFHHXElL2KCE9dNrn+6gT2XhLVOZxJuMFWDn/NOOD4QwlV/dX0fb
Qx+rqO3mhUstV2pdqLfJ2afkx7uJgGqUXg/S5vK1eHZriBaFV0VhQdIrqrB4fAcqJnIFkehi31xT
l7PoUHvg/lXth9F7AtfpVc9QhFt5BItPDtG+4KF1OvkhsIzYPEnjBqZpQ9Tw8hDn7Xc+pzoqpKah
AdclPDm6VgLogcRg6syf23Bn0uumfA65a6orQ1kzNA/1ePEGRI+pD0PF6JXh5yRfZaj59E5rrFFA
zOf30pAEL2J0QDQNGizJ+UfeM8O0EUGyfI0yZ3ltoBsLmCk07UUU6xijxYgbCdRcUOdIAfGz1lhh
l0/XHwvCCR7lkEyWMfNJKDEbo5L1UW77prbvcokBjOfUvbmS6/lqQD2fvD82hRNt6WFISxk2o6x8
SYiZoxaRlS7woKHH5QECYxSxMRJ7cTK+Ra2W2kmdltcGN6WeZZGk/iDtVH+0Qy7tK6Rv9nI/FN81
9Ag8dFKsHVC1RZbBol20TaFf5MSFUaFFsLF+cXR8PLeQ3/oBJh8w85SD5oxg0kEZrZHQ8G8EATo0
TN9LgYXOmVXQ5GB2QXdAJiXYRbIxPMdNc6ib+QU05trglFSNPjprLHZWQvUtqG+1n9DpQ2dMn6Sl
bUi6G6vDo1yY6SYp9Ud1kOhWQ9+lW0nRXU6jtTB78QygrwXnTKcm4OmnZ0CCmkWFdnrIbihvWolW
nAhaNxA42Q+me/lYn93fX57jyNT8KUfHzah6aklSCs8ck50h4aFtbQv6JmnQhjavk7BgsuZyw75s
dslDA4Uxt23PVFIiV0DZ9rGUaTgTIJRCCMk9NIbafd7uKj3bhCh7jSk6+hr55bLZpXmF6Cvg3jPd
hiZ2GWRA3LajxUGjV+Owm/edHifYIPWPGJgLWVnje1i6WY/NCa7MD01dkgeYS+T7ntdubT3Fzb+F
GcwLeGxE8GJmZdEp72AkyH+ibSsCRIvfl5XCeH5NfGPFO589AL/M4QqAGs3c6ipyyEV86gHELsCC
mACq47/3gPdW1FGBCum/tTh/aNigeAPTEXKeyo/L67c4oWAFm62DWUBE8XFJK2JrVlIzySdQ/XYE
CFa54tmWnClYS37bEBatTEEjkAwQakxCAizDpgc/pxkjgngj7eeqVMDyiNC9iBZ/wMHFh7ylJnmg
9zjpmaoyGQpX2o9Bz1fioaUb6Ets7x8j4qM96TVZk5Ic4XJeP4eZ7mUVdf9mZX6PQySrMopJyloJ
46iLCCkoyLGPoG5b64/8L0Hy71tHHMnoT2Zl1Lh1ssCVio02TCyNW4T/ryUouKT9lD+ZQHpDuezf
D2++wP9zh4vDy8ZQIW2OUCHzJ6YA3enDJSYm+9+sCFGcZPJsyhN4xXJ0db1Fld0L/Z+XbSxPoYrz
A/wgzoiI7Q1KqiXZCCNt/BhMG7l/mvRNgqe5H2zSyJPqH1X4hBftZbNLpwoNZL+tCjeaJpG8Bh3I
7Hnfo/I5UsBc2F1L3U5NHhN9jXt76VQdWxMuNW5GwDSosCZJbxGkHEAgMa3enGIy5p+b88+QxKgL
kh6BT2EkLu799pbQm0EGXiG/GkOnDpAdAsEuIG+FtLIXly4xqFL9Dg7mwR/d2EUIbo6pwY1tVv5m
GgY7jcKbtg9uKnN8h57kXwT+SOWiZWVm2lNFh0/VhkYRyqZ2pzw3iU0MMBdNsYNkPTO7tXrw0jY5
NiZsE7VRJ5InMEa7R9+4U4BY6/UfFs8dcCOHzb+Euc8riHlEnwpCAfh84dXmt1lh+gpk3VRSbAKz
AoWm7mbJyqU1f7MYKR9bEU51LMc6IMu4tHJ64ycN3hmbhNzFfMXMUkh1bEZ4oLX9MEEIHWaCKdvy
RtvUXcsq1QJjCbI/SEFnw62sNCvxwNJJO7Yq3JY08QPaA6NjB+SNtr9Ic0Xot8uuY23+hP0emVSt
0ZAAh9UMULugY8gKi7wBhnRdKw+XbS0OB4y1+pzrBIJacByZydOm0zqoRWAngKvtqtf0twoN+JfN
LA6JgoxjvvLRWCuYKZo8HoHgh64Cnm4gAqF3baH9UgOo3AzD5rKtBXeBKgGomHDJg09VhFhUcaSV
WVJVtm5tb0lV2H13o0ZrRaiFEOPEinBws1HLUYGqK5tX22JqWLUWli1sbxhAehcUeWBnFkP30Rij
MfFhQE9qJ41NNimal7ffpgo4Ql/6CCHgUFtr/KIL/giNAASshmD+QruQsFDUDw01qJrKLk1ETbLP
BkO7N8HtEmf7Zl/o8f3lxVrYGCf2xDsl0BUL9JsVkoDg92ZxnW95uptWuU3OADFwfSeGhOd7FhoG
r0MYUspdoe10yBMY6K9wE/oMFA5B8p4n2yHe6FPLmtbCI3BaOQMLR+34C8TEMR5Gel8QfME4Hjjg
ysTaJtn28nQuvW5PjAgePg1avI7m9Uuk0fWH1NZiyqKh3tcAtSVm7LbwJqHSP+Z48qwM8L8Yp5YC
khUCDh7hTCSTOY09aStbRdAIOivQcXo8ArP/Yw29CVQnUAtn8Zow3OJBoX+sClsWTEekl82uss3W
UwInI+Ajqj0Z3Cs5K9LEA+HH5UleXsg/BoU92/tqBpFeDLOqD6V1SwcU6VceMItTCR4CZaatRCe4
iOUdNdMvgqLHdpWj5mag4eDI5ei7vqKmzkCzgqkGaRkNCWR0tQmVOyi2/sU4gWwBPA/coOhRFO6h
1GhGKenRjhfgeesHxCbTTbjWfLTkrY+NCHtG4uhMmrqxgsZxYA/JKycb2XcohIGrzeVl+yITEeIS
8Nn8GY+wURqZVpXPMR5jcAM0fRT3kf4SFo9Ds6EDCtmFy5NDyH+o8mZqt+hqm1R0q6OW93b5Q5Z8
3vF3CPunidCNxSt8h5QC16k+Z/IIXTT04dM1UYOlnYoWILyCdfDFnIkzJSgb6WFJMGJVt0dQuaA8
VuTe5eEoi+M5siKERCEtQq5xWIl1CAXUzjD+gNJMJ1+HEIvUrzsz9Xyyj5KDYtpD+6Ynv/zpB7pp
L3/GPGtnq3v0FcJuBc+b3DegZrDVyDVHLGdutyUgIqHJjAp5y+ZvTscsFKxoUE5QRWkTNNr6XDJn
Sv+JFg6vddR3TPKuN/raK1ldijUA2wZlEcxAT0+4u3hchkkRYoKBL3FKd3AAUGIjOGCTGxRadxMr
3d6NrtqY8V9oQfKiffzys3DTW3ITOcoGl9kLt8O9vP237TDzpXr0YSL2GrlUAB96fFhpPSZQ9FOn
XbJGELrkIAjEoOEHQVyIbszT19+k9iPnmVrZafVcyvAR8bYZr/TJVchaYXlpno9NzRv96KEZjVQZ
JhXDaWpXRt0iIWtlwTULggtKy4b3yQQLeTqyWilZslZNWrw5jgcheBd0YaWR1sFEFO/06jrU3D59
D+VtrLmtdOXXe2WN+n7JyxAio0AN6hILmdLTaWurLB1jZd4Fmidbbhnt6ZqJrwqmeLqhioAXOUX7
OhgzT20A7oWXAyhzbGDMrmqv3lDq1B/R5mV0oAHLUse3fYZKZGqyepu70sp9vOTijs0LO0PKUx39
TPOkFpUtw08jMjah1DL9jR3E+lA/R9MX9vvpMC2jl+M6wjDH4TYyHC3+YeS3Onm87CoXF+zIiuCw
ZSL1M1MeHHYsowthC1ldu15rzDgD187OQUVnOAAqYIfC30/H0hPezm2gSG1Y6Y0kbyr05lnPfvDc
TkzV8+uE3qWwr1kedBDp2klbMk/QyjzTceMJRcRcBx+NIFTyEepWw20NnMxg3pvhiz58kOwbtGbC
yamNK3BQtuotWRNDWzjmc/oIiEDgREA2J5yI2sT7E8zxNaDt0qdVlGAm0ruVaHvJBkFTmY5WcXC1
aUKk3ybQ0RghEmaXBYB+yqh7upmsvM4W7lTAYJGqR+iA6oOI+pZ7xUiqLmygvmmxKXKnSWOV9auN
3HqoWLTGa7Jwyk7MCa7LgPa7HE0wJ/XgZJMs0HwMrOoQ0+vD9vIR+LqaBIdCQM8GIkXQ+BhIfZzu
zhA62hXUJCGXc5UzdPHavpMzPWSJ017lG3QHTix3f1hOyfSHzg6ZaaOx3flInWQ/CzWYb2vcT0tz
ffRB4l0qUa71k4YPAuiXRD9HM3TgssOKMwhSFNW4wkSx9CDGBEDAFaT/IL0QS0tdoOeamcGeojDK
JDSBgHzX/qhfwy1N2FufstwEJcdK1KTOp/583v+YFXwPqTqkJ2uYfU7dQWZBydoNOlKYv9Puov20
pV53jYZlRl36HSn6lL3T3Xu99SFayQKv/nGTT07jjbbvXt4QS1Es5sNEhxCerpArFs5T0ERQcPLx
Yf6T5BX7wGk+2pJZjr8PXAVMKdA1RwyyWyOAWTrGx2bJ6T70Ay4pkwqzQa0yRYVO3cvlgZ216mJ5
TwYm+GFV7vWuNGFh+Ogcdau50U1+E7/WT5HtP+rIAbPgUXstEE4CjuBchW7Cfv2PnyAselokesCD
tLFHu2at2/xQ9pqTP92lh4+34gB9wxffxkpLjgUFlPHaWtl0S2ilkykQogdKoD5I50mWtofhNv0F
+OZWN7bW7uMVEs2A+WdM+o5e9Ue6Me9H9nl5+EsPzxPzQvQwVMARaRGGr9/eWrax6X4ozsDAmXz/
odiF3biqXQ1srbll4ZaH6hkaWbH8uI1ED0eTIoLEyyyW7rt14YFXHdlxMNwY4IO25eYgBVcoHcqx
bUH55nsUusNaIWDxDp7ZfYy5bwhkE8K8j4VZGGaPeZ8aPK7VhiVgvYBTtrVyo6q7nN5aNQtaoISy
m8m6Kdbev0sXCmhcIMyIBgtTFu9IaSBTrrWwD2IhK0Z38S6jAfLBz5cXeM2McIZ7NCmQWsb6+iBu
mcp8TxTjQ6rCB6XxVxqkzppGvk4zkMngZ0ODiiYLbirMwkbR571Eb327ccKNf2+5fDd8s74pG3Xb
XQ8P0iH79ah/IurwcJV4tQMlP7t+WTtVyx7z6FOEYVdxbfaBhNlNRhzbDm9gPE1jL7XRODOA/sEm
rNvI3nRl7i7P99IbZ455wDCigLEfyYtTpzmMigyyFgju0QaEY+awATmM3VRY2iGd0PE+3iLB+t40
KihC+xVnsuSwkRqHIA+OFqjehNiOS5VagryugfI5QL8/u7VekqVja0BOZOa7kfGYEn6+POq0D+YL
koTjOIBXPTcDb1ACjl74NCjdy1M5/zThOobuAuI7ZI0VpHyFmQRXWJiZMmq66SzuJdHHsrLsSOfM
ir53xRrD+BxUXbImOMLKVypQjM/YqyywM35IK9v3TSc3HhLIKyf1QVNXtsqyRSRegJSfK9fC+IDZ
0bKkhsMzI+7WFd6J2ksMUag2VR/79hf3A7tL1opqS7HVrKaE2BLFVuC9hCs31uKuMXSAQ5TGrnUQ
WwSMkIyBGV/ud4SDYgZyGhKK5u96m7Mq2ZXqSny7sK7keBcJoXQclPVYDthFvGl2WWV4Ta26o9Wh
DUpjY/h2eRctnglsWaA9QSsKyOfpeaxNJejbHiKJVhMBmljvB5mvvIyX5pSgYXoWiUGWD5nxUxtB
DFVNWYUKZJ6PDEScDAzRkE+w3MTPr7ssu/L7AM0H0dasQAJQo29T4UgiqzbR1xpzyJLDB7YV+tCz
5u9ZbY50aaB2LfQTM8lyiwGKdRSdKCPfDP6wVTjxsox7Zv+o5AY4dtUNb8ddRhRWWgWr9HiPbkA7
lPJdC5qc1v8eZ+8JipV6C07ZhB/GyAKDC/R8QeK74rwWPSf6DfHuUXUQU4t5lEQjoRTI+HKlfDX7
vUIZad4Ka9OGd3rBhuzaQO//5c2xhKCbiaB+2xROveHrlSzXsBnM9K9AHWSqZAc9dO4lT85vB3pQ
oJpMW6ATvfYv0sInxoVtE3KfDPEI420vPTU1OsGtb7XSuDFP2QBKKG38sTLcpaN3PFzx6GWWXg/N
PNwCWEvk+MLsLUFC2tAcIzBYXzpqtZXB8KhqSLs0jMubSII3/NmP1yb9ufI1s6sRXO7J+GcHeZTT
RF2MB/KArzHRCUiH/RdiWAcNgDv5iWv6d2X2KoPEKEteIDMsWY8r9kXhmTleMZG8BSe5pqEYL7hC
HaK3JTrZMP/kW4UoVwufkX0hZKcb6Gv1aAKs4VptfukpfWxTeG5okaIUgwZl5Zo/hp0HOsdRgiin
6nVDwfJgxTMtOL8TZy9YC8delQKKS00189esRlcUbUi1EvctbKoTI8I9pkW9FIAgEOjzLtgFQWQb
+n0FcnxUkrxG+wvwGqyh7DcL8szbR9g0cWOmw4Rbk0J92iSQTo1elCj6BplMb4wRICjF7vI+mb9f
2KbHFnWhGR5hmxJ37YzYBJ63IHzrQ0Uh4X+R4YcZ4Hc0RD1o0xW8gQQq9j6PAeaV8CRjhTR9l+X3
yyNZ2HwnJoTj7xO16MmMPZXjbIvEKDMGb4YdgA1ugFYckV4v21vcGaDxg4YGNG5xxE7XSh0iAMjy
EkPKWCepXg2F1mhjgQ07G53LppbuYLD9/7ElbPUuoyOo+2DLnHL5bmyKA42M+3aim6IDOlol0iPR
opopyCizoebjnY98jwuavKuWp/FtY6Xp08o3LTi4k28STgbtir6jEb7JT+NnNa+/p3Jxw3ny4ffP
KQqAie87PSgy9CRmk4bOVT/4IEaw5nMWQgJKkY7Faxdci6CBPl2GIlABEy8BrQODZF++t41Dk5cU
5Gsrw52PnnhQju0I7z/kMUpfrqFp1DighwrcaOs7LYrZTGP65l06jE59O7mpEzxKe8O9bHzpkB7b
Fh58He3i0cxn2yTZ6DyGihXdpaBbv2xmaSqPd5kQL+S53sbWjLivs5tupryrQZU5PJvt9m/sQHQM
rKugdBc7vKY6y1Hyg50osC15YwbJLkcL2yqg9MuriGuGUsBvQ8Kx0fRuiNQWW7SzPuSw3Rhjg+yy
bz4FYbZV+ZtBra1iDUwdGyetX2rS3bU6fSmwWZUsuYlH2YlouuJxF/3U0UcJ5yYHFmIAlzf81MzY
t9cQmkHoNTUBVUbTzzCuLOrS3jmeA2FRJUlqpYpgstsRZYTGgThbDmjS36woVhNIRrSIiJXIXh6y
aoiBnCwLOzQLz88zpgPHligr1/Hy5P0xNP/7UVSVx4bfjXGNnonsU9OnOxNMY5YHmcB2/FD9NZG8
5QPxx5pwHVd9WEdA7eJAqCqSAEym9UaCCAWICC7P35JzAWn0/8+feAvnEOHRIelW22H0VqMAwWUn
bVK70V/K0DGt5HpYI8E5Y0NDfIgoAyGihQezBhmg05lMfIBAv/oopnTYDuXAFCBDsqhgXMtvEnWw
JaPwLP0Tajl69pOgExmPLyZn1DHadHN5+Et79PhbhFWddFKCpBJXd93HYF0BFMPpSzV0tChMtpdN
LS3psSlhSQs951aswVTSBzveKSyI2l08pfY0EPuyqZVRic3BY1sMZEA3gq0r0iEvUTxRydYw7y9b
WYwNjkb0lYM/OhLYNTw3fZjxJb5pI+1FygGe1xtXClTGwfyVKAAF9sZmMFHe7mLXBMF9rWks6tf4
NpdOJ5wtAfOXbiDrLNyRlty3UqljG9dBb3NQZhuNaddU3/fNj0gBg282rd1ZS1EY6F8AUrGQlFTF
anOPgK8KLXhTdVSfaNVGrM5jDqNZ6ZQqgTZNoKwc1rNRKsAGEmhngT4I8AvxZdXJPaSNJQvaFvJO
j0e7h06BvleV56p7WO3pPV9eVBBmHUvAgmXkYcQumlnBq5ukPLRfvR/e7ufdh3vzGDhr1NhnVBNz
oQKdWyB7nyVqoMV66g4CqVDbcEoj+1lnENJmbA/pama725XqCD07gHNFZJ5BJD+R+KTCnUx8wnMS
FJHtHKDY/Xr455fnHbwDg1n8xi/3P3/wlw3bMfyGnPZ//o25LnMztt/bzvb+fvvrfutc3z/fP38+
r7iKLxLEk/ABxdlZ/B1lQpCgIM4/nROAhnTNz1to09q17XleZH/92oYrt+c5yGY2BMg8QG3IPWNf
nRqS+zxN0hGT71w7jud4GLTLVrzR0gqD4x7SD9BhNvC0FBx+pdI0LaMyQr3x+vr52jl89zYvHxp7
cVeW+Lzxax7OkaX5AB15JDkLFJ+GsHR9OGDZIPy+4vLOrksYmGsQBKlAFb5GGEqUU3TIRSC6uj44
zuvB+8k22A72duWg/x9pV7bctq5sv4hVnIdXTpIsyfFsxy+sOIk5zwRB8uvvgs89OxLEK1T2TVLJ
rp2qNBtoNBo9rPWVhOcN4FQOp4gylnWS15BzfH//eHp6it3FfQKrO4JItCmwn08QHRwCb/v42XiP
n4/UZT8/ZxStE/aHwNl/1Q4vvwjdeI6NaQ5AnpwvLZpbjCphdMI+Oy67bzssL6O797ZbzxOo//WP
XRPGhY7UqtA63zJhPqzfDR82OJmQ5G99gSiTuZcLUSjtILMKH4cs87le8tTH8+D0TNSRnYBwx449
cwRQD/r57Nd1K1pfyxOZ6rnM2Mkn0rcDZJboccBvKMTj9xdom3up93vzurk73B0OgWATL0MvZr4n
gtnL+uR8kHZUEzmHYHjA2g3Dp81371bkVFbP+6kU/VyKFSsqyDSYev4RiJ/wnncbWOqzyEwu08yc
OpxNmmnRsWZ5CHrzw93GvRVJuOxdYRJMXQcoFJhBwL16roqW1ZWUgyqD7dTect/GkAR+uLn72QQ/
v1ylt2VnQPDWWD/+J2K5459rUYn0GMQy+8jdN+K9vfQBxXUwIwvQB6PvWzgVLm5K3R3ws8B/vqKJ
Bp0FQBJxTRezcDidvuBici5yu9x6cPeFXSWgsNH/s7XsGvWPX7/h4LDDw25UXKPssLLf8Dt+HPDn
12HCccIPnx3j6+fJZOfl4gz/WS7+ESO1UUvks6/6+rbQ/8/tzb6CfQt+4UZgP0RfcNmvjXVBCy46
70HCiTiGW5e6BuCt3oFlgglGRPH1Ay7ywX2F9rfeDXOT/n0oCmouYhrgswJjAuN8rBB3QXCrdX2i
jTbkjmTuXGJixsjBjEhuBFohIpD7YhM9W2ZOGOeVh6ySssTWcPnV7rfYjV1g1Hmj+xv/taB/i/0f
RG4B9HWh9uZw5z3sHja7IID6n5/3v7Asu5AdpJf7/fbev3952d9vifsZ+9T9JUqbXYTniI/ZoiAg
wFwS2HnPT66R07ICRAYeJJhpQxPxjIxpsCgaEurtFBFrg9GldBd3VSFwsitbAtgIA69cNNmhXsg5
Jcy2tfOi09ybFGCTo1sU6Fb18mbMRnaTVwCtEBg/b/vos0HsDOsHv5ei84+wjtRWNy4TcALRz9SC
kd0JVIeRpQbX5Vz2fjBBqHwCFtywMArF6RXTVMaQFwQpGEdUTFR3JgDjJO4Cpg8tTKS3OHruq3Cq
XlVrA66MWX0spMA2N4LvYLcHZ4Vn38FbYT45MonwHWYWubYahYUTWuUd+n31BsNZ6Ow6WHCcStBW
aK1DZ7okQLdmzvfaB3CW1S+YP5tVfICuJOg/sWPXkMHuYIASvpLzoIyjoANuznW1V8z5TGvuRoi0
hhgZhdBhSoKsuekAKlMkoTRupen7vxCFbiOQBGH+ROXHL/rIISro7nMgwdcATt80alB0GIoa/UjU
28Rs5mIpkUIwwQRuKXi+4+9P4hE7ry097sD3NjnflgF8wq+LCLF7XQQIkvGKRYMN3z2VyfpYtSpw
NJO5RY+9PyufRfx2fcUuAxF2NsD9/F8hXECXdEm0gHs09+QeDOEg/JD7QNJi8laO6HQ3kffZxvki
P1YTUuhF09DD0ADJNZiIlO7yIjVED6HVQ3LyQVygh/rr0qSA9vMSILvIXpcgn277RrS3ADqQ3Dvp
rnXClCClZh1Tw+sU0QcwAZc7a6GWiG5AGw/M851Vh1xfLBRDWBHaGxSvlAJN35ny0UC9xEjdWvId
zG9SEDH91I2dYD8uwpSv/fgjndsPadZnY25hwrW8SYbbxYpcNf2wZ5/SVxkTql3YdwKN1+3sj0hu
xR2at2PVQWEtei/yh7k5lvrndbVWfQCwsv67plxcXbfyojRMBNh15O4nityl/W1cQFIlYvoWKcP+
/uRc6mWNKnON9dOy+bYm75Ijh2ry1+CT3C5xntzJgV/SjUwK2voSdMXqG2p7FqBvrS6wHIHbZiHY
NYvk3HbtVLmBthT4muWOUld3bk3zMFWbFERhww3YQq5v1mUJiNOO89gt+EozIkFeBWSWt+izd7Xt
8lF8xLt6lz2gK2iTP8EgPwxBNLy2dxrGX0ADh8Q+0D/O987U2qKLaif3Gky70h9xBpYNES64QMZX
z9GJfRA1V0rUYAEGnkegOMpdFdOzoLW4voRrkdSJJl/ZnhMpKnhqqNlCSlloTyrVApRY5ZHmaJoX
HN61Kx3xOyjj0N0FZnvu8IJRS++cBJw1IK2Ku7AEMcb8RlLiEmNPo811tVYX70QYd4yVwjCnUYEw
GtHAjO8zHcTV48d1IatrdyKEfcTJ2kXwgIgKIcTCtaeOx9IMC2Te5Ujkale1AXkSmzjG0Dr/8rGH
Kl7mHld4g/ae+uc0Unc2St9Qgq5VAzt5LEAHpNR4IlQe6fxZ+5ZMPzoi+IxVdf98xVee80RdtBuM
qdTgK6rsUNIfk3GjFY+RJDhaa1LYeD7oKE1g835lC06kOA7ucDMH1fSw3Oq579i30uTbIpaAtRVF
eM1gnsFLhY6c860zmzHpKZpzUcuYQJ79vQf/KM0EuECXKTa4Jxu1BLDcAOTu4uU4UwUU6kyKIoMf
hxRtoYOtqQZChdqCkwr+Hzg+4OPtgji3ydG2lwaTA3Suj5Np9Zi5tgu7/U0l5ErBqVjHjuotWUJ8
Oy7U33JfGBkY7GLwK9ZGJbdhP4PAK9DtchgO46hN8qYojQmRSac3uq9rVSyqbK5tFgao0YqrIbV3
0edcoPtSIikIfltF9asoKBXQidkumf+2GYwtpIE+VbS6KYj0uXulaRStlSwsZNvFGEzNrM+iMURA
G8wn8JeXDZAAEA0wCiG+5ScieiKBKBePnrrfp2AQjatE4ANX18sBqxajg2V8aJzZjQlplyUFFy16
Pfxpeu8wA2VOBpAKWlFb0Zo6qNdjVpO1I2BQ41xWhLpDOwNqAnMEpWvX92Nxd939rQpAxk5Bd5SK
7i9OGWCqGlJRQBkM5+Ny2mXDz38jAFxDQNeCL/jKlZy6gjibYkdPgBhBrV9OIXs2eGwET/uvC47f
dUwFY8Iae2+Abvl8mepOLdsuQ1Fx6qONkgaOihdt6UumrxkvcUb9VjpUNkMFFEheX74/gtnfn2g3
NjHwOYq88Ky2+gFEUU+PVcGxWTO3U924C0rpCxtE0tANqFqYTPa1KZBsI5wNwW3LvOXFGrIuA920
FDw0OUvAGLllo8peeJ2lRF7S/pzY0Ah97cbszpkACqJXxUHORVHYqnoge8OkqQ4b4auaJcqPQzRC
7DyaCVqvNT/PrI+iBvaH9Ou6Ka6bCe4JBhaPOh5flJKRLK5Mxls/NppnRger/jabt0m6U7Xfdbs1
jHtJfbLG7XWx7IxeLKyJiwPlaFnH+/3cRvS0nhEUQEOzS+5UDHRWv1qQj9r5RqfhdVGrNyLQbb7Q
AHRABp2LahNdxVg3XLnUOrc0VT2FaochzoPrYtb2DIn+f8RwEXvR66QeMKkKcl9tdDUK2EFgPqeg
LMtIIVg9kSzuktdz4GgDBR97Vn23i32VH4vmlohIri+b/9nlhKorOhRBon5BohKX6dxruI09PEZ+
kz7zWpm4VpEgVay7ZdLd5VXh1+1H2okIoVddiPlFXoCsJNjYzves1sfEalWYRzvgedcrHQZ6hW3f
IiHcOz+TrQqWASEpzV9oJD9ZQKW/bhSrZo67CiOVLL7kh4Sl2XKmRcJNMkvkdxunu4bO6CV2tjZ9
b7tRYOlrDxE0R/0jjVNIk/HIR7ty4RFlQSAtkwApVzemP+xEeo1G51YxXq/rd9nmARPBnD+IfTH3
D5py7nAZliaVqQSRddLcU/QjKU36bAECHyBFLgVhuVEp/lA1jRtpb5oz+yrRfWI3gdWJQBTW1/rP
p3AHMEKzaVG0uHYcg3qthKN3O7QBQUdRIZoTXVloC6yQSJrjZsBLmTPPvlOXtvzifpxA+N5vMstP
DPRIoY3WfpdEE4Qiady2psQexqWscAzxXjaX5zZ+m2IVdRo8mZwbU4QJt+JcAJmCVgu0kKB/z+Sc
S990xqJSguvbsDbI+xHplzE82EvrX7edlbvVQhSHBwTrvLwYitInYMN35Vh4OVhZuieTbg3pptIx
D9W7HbDKSCMojK6tI9C8VKAVQjPcq+dOxS4JGI8j3HTFcje1XlJNezXYkSwYh16AlrBiixgXQAYc
U1+OChXPRcmS2cVygzunJ/Z+QlzhTgTU6gZaEaPcujP1v+VbREMXBGLYTdMwRIgG93OBS1xPUS7B
VWdU3RDJdgeUNCjO2fU9W7ONEzFfFd6T0K7r1cYYmJgIz6KsP6I/N2rUcFIFnmwtKgGsP1rIwNqG
SaCvvz8R1DoGGZqFYao1HVhlMTacu0Oltvu50O+lqU/v7XTWfkatif7Eqs7DJDNJgmkhs2q96zqv
XYMoyzooB2IvWV/V+dpKia2Wg43pwCU7NBhANygG1CMWu7uaFkoyHBrqKU7747rcVXM9Ecuur5Ml
AA9eOY2Jivh9ku7bGgcxMV/qxN5IznLXWhmY1IRUoUwVLiw7U5WLq41oirS+0gqvUX9PTTCNG1Xf
xc7BcnaW/s0ZnkkZtpj2NbIdjQRPyDV/cLrMnFPFUJliAQ4S1/H0nsrvVA2LhfEr3xiyFzu9m4qS
rKIF5vzq0kdtWpsQWM8S6J9e2+W5BG6IWmceLd+VZHt9P1d9gm2aaFjUHAYzdL6fhA5LHbMh00HG
4Gm/HSwMmNmePMYu7QXp6kskBeYPkFPAQDjGtTFKeS4sj6dolFLoppmNjNx4igYQOoORrNQxzKxE
P/U4a4I8oeoNkAAfJeBE+tQaTA8JYAeXeCIaH1jTHk0GYMZBURtPa85BObRpM6PSYVmRHVhGs9ez
TdaHtpRvWlAdXV9qlW0db8cn0viMXp1p8dBgLB1jVN+IArSOtgNwzHAP5+Ulte7TMvOrTj22Sdgo
vupZOzN9arIDnLRUPshAHb2bfMlXMsGHrYScFnYGdXCkzxiX7Pm2SFovIaWGVZhQF83b5huuht11
3ddcNFCRMHWF/IKNScpzEQCcTgBeyLxVnlq5P2PQqgNdFubIu6VNw3Ryhse/l4jmWzQ1AmwNKRnO
1sYWFTO7An/dknbZNxL3yJPJS35sRyX1o3jo3evymAb85uI1gtYV9EgAtplbRDw+DAmdzHiU95If
kd0Ci01+X5exegGdCuG8L4gTepkmEDJKjuNOTeZNsRQUhuYPGXXrcdosyKRUmXM/WU4KsKtfgg9Y
qUICqevPPrJ9PnH/OhlyFfE8gnkn8+r2x0iezSWgCpolXif1WCZ4SHy/LnPVOuGYYIE4pDoPv1LK
UpxnHUynoABYKvsDjUSj8KvWidZXJFaRlkJD77lWSqTkCxprMGnfH+RibwF9RN049P66IqvOBhPE
6OZXgPhhcWfArrWuNWvmbOLqLtekmzZpH2c7DWJCbpO486+LW103C1ElQOswC8P3ustDTIcSpMke
G9ra92btHMzFfrkuZM3qYQ7/COHsAbwuIHMaIcQwJswKtq6U5X6r/rguZTXY+UJ2R7+DpV6AMxYI
ZqssN2H3ennfUcXLnGaX0mQrRQ1cir4ljbOnxm/L+VdxFtKtFjwkjE+zuXMNAIzEiVIHDw+CU5Z+
VzCEnXRqOCYRcGDLTWm803raoEtb4JUve04BaPYlk83cIe5kZ/HkrCkTAbqisbDQw9nWFcAFJsuP
0xdtVreSZN70zVMXJ3uUVnxHB3KkqoNLC1OGGQKUwXrWs2SrEx0tPT+v74Z2EaJ8fRhS3QrL4aJC
cP5hXZyNNdqZC5DKSb0vkTi/SYxaVr3CSbMXNZKX77ZTODuMC1Igds6535EB9WnghudePCyR24KA
9bXqGvmuitQs8gF6a7Bp6Zzobk2nAeRxGAkGPaup+ZaaNL9INsbUV6Vy+lVUGXi+oi4Ne30CtgxN
TfUDCAHGrqJzvp9jm0xeFHfLA3E65akZ5Px71LesMS7pQ3A79+UBrDfOMZfHWpCjX1sZBdlDC6+D
tYYytGyOZQ87tUD+tZHMRQ1Q7d01TdftNK0u/dm2I8ZeNgpekReHncFbM5Aq3cLkCRrazrdkshMr
WxbQzQ/NU1QhzaCJmg8vTjongbtPKWB35qxMSiQsG0S9B5PcRCK+ngsPyWToqFcjyYYhdh7nppzR
z+7QDFooB3nyyfh9tEIt381U4La+TPTstv6ShCIa8GVkAGtxHp9omRXPEaIDAkC5wWet6lYI9+Wq
j+lu8Zp7YE0JXhKXWSlOJjOek/NsV+owmngzelOof+Z7Gtj+sqkPxW27A8xGaOxEW3bxduEEctFt
YQydaY0QKG/ih/I5PeS7KWg8+eG6P1gxeuzaP2vJh7VGkyYm7VhQEloh4Jv70IA6oyAMEEnh7C+r
EuTmWXw1/Vz8+D46AO9U8v8aael8yb5C+NM9itUI4MaQkh0iIDomr70/BmloCSpFlxcaJ4e7VYii
Dyi3QY5+r4Tjdth3AfzCW7ERBR2rx/Zkc5jjOFFoUa0S8QEEmfJ2ify420Xq8/X9v4xKEfCiaqjg
CQmvhyN8LgMVhlEelhRp1uJ7A3RmhDL1GMzmQ2SFtgPanE9LDmtLkM26CNq+pLLHJDu/Dj+9YyQk
MkFrXnoRo7dOBzeNti0ugVp0bpllcb4C6gF+l2H/IY/FWZ5SkKJXMVPm9SYJaq1F2+FrLb/h1nfB
QxTYIzDDe4ls0OHgx4sQfnBlBxH02ID6AIEKcHI58Y0eZY5eI8QCYxoNmrDa1gct85p9tGX51g0Q
j6qN8hi/Xt/VleU9E8vlIYpsUPSkYY/V/mYZPUn7hT4J0EQLnk2XPWUIJjBhgEEDphzwTM6NB0nf
cUA1DAnysQMze5Ik4xHhAf1MCdIRsk7QjGzmzfRhVzq5rSbagHFvzJEmAC/ZDbWm7qHA3GoM3Lel
fO5SPb9rC4l8NI60CG73y/wFvhV5TAUPSiCxXRRO0rIxWPdJ4an35MVxy0BT3cSXd8tNHdajKz/1
2+ubsHKtnwnkNgEMVCxtDIFOf68BkNASgWGs7fKpRpwfGvR4sCUEa56iBYCxriWURFLZy3T/uiJr
RowkMLpKLOSdL4ZJpHZsSaogPrFNVD9IfltpyKWPnaAFaGW98DxGmM5QAAGryF3rVTm2GcWYhEds
6qcSAs/Ju67IWoiCyV7gbGhs9pN/xFEgNtKxgyLqjBbjQK2Ckahuj778ThFRl6xsDnIlrGtKQTUL
efvzozHKelOMGERHcsgdq/du+jbUQZaLrHpVpRMx3BUxUtoCXAyx0LxxHgEpo3r1g7UvvkV3qTd8
VrGbp64KMmzJbwWu9TIjhmvQBhk8WnPwtgck3rmGupYPUZ5DQ+XReNRv9EAKsg/9/sO4Rf4RMH87
u3IJWGVdL91p3rzNwOspcEArJnP2CdwRyw0nVe2ZLXL13bSPmYgwae12PBPA7WImp6OROhBg/NRS
FwzLqTu6up+qIA4NyIcpSrKuBUqna8ptZ5IWyZglsNBkR441xuYA/rxsdOIuN5Wr3Eub+RUUVd6L
9jQIQrTVCPdUNPMCJ8GGJBVaoatQtXsDSO0utf3xVXfb2lWYIXnDQx7+vYM8W1x2hE4kJugIHYuU
+ZWpcmUpiKe/LvpzJsq5FPAAmkPJdKrUfGeO2bZuBDqsH/M/h4Bt6IkOLYhn2mWGDm0Vh44GOL3p
1cQEpBJed12rcgCAzyb6GLMVZ4jGiAQ6YEcw4abcLwZK8PaPQbt1skTgIld8PUgD/sjhDNAEuSY4
SPBSjKW7eTz29FUiIktjjoGLyc5kcJaWm5Haow4FpJH4IYtQhSuDCsWnmG6H5ah292m1k50f87+4
Ls/EcuaG9LkjpTZzFrpHMPZBWhlURHtNtFWiJeSNLqkxwE2gXmQ/Gs23Dl2zWu5fNweRDM7s5nqJ
SnWAjC5+WOxtDRBPXTg3vepdMcwJwAc83S+SkARznLGObl+vBWQ1MXwHSF+AoC8qz5KfQR+npy9d
8dgDujxSwMJaPEmiyGP1qYWpAfQLAX4C+N2c2dd9W/ZjDbMnbaiBPLwMKwVYxC2g1hyAEFFXng6F
kE5qbXVRKEb3PU4Cez6cH+rBSMxuZmnDzp/8aNd8LBiJb10Hk8zxN8NrjvID+IhFVEZrESqrT/8j
ltvUTNIyrAJw88yNhXflFMau2+0nj7y1j+1e9Ixd8yin0riHn2Xmy9wpFjKU5bbRj5hJtXv0/QfX
DZV9M3/WT6TwoHSdU9qAC4cUo3urGl9fjja4QoD23E9hVL5dF7YakpxK40ISRWqnpVUhDZjum8mP
sWXZN+sWIVDmlhu8f9S3GPmi5OFRuwFvZuaD3m4U8Sms5X5P9/FrPPzkTqgn0gwRKIO95dt76ubH
ZQs4q0cn+K3u+jDCoE2DyuF+L5qTXLda9E2ZaJoGLjhntUuj5LUtIxQsOr/rOqSRPUt6uL7C/4eN
/hHC2Shd0PTdzdBtCEff2JJb5BR/lAfqR0Bap1siivBWIzD4oH+04syUAOhD7RUIVDdKEUab6Sm+
r9+mxVNMV3ZFSczVNUSPvoLQHcAwfLoA4wS607J4L60QPB+GbEtFz5x1Ef9ke3n6+Zp2GU0nuDS9
zFw0bE957Paj4Bpfcd1naQ8uMB7zXJbsFGmPOp3cyr5VRNH/ivdA+pUV31W0DoMK4NxFFha4f6iN
BE4PJ5xLnxPKbskxEV0AK4t1JobTY0i0Ie0ciNHiQ5wdxmRrROF1k15dqhNNuCtmUSW7jfOy9EDV
4NNedpv46boEkRLsC078gdTFHfIRUAJ1F/TXfSbj4BrN+3UhayfTZDjHCt7oNqN8OpeyoNMZE0eQ
ksW6C+INN0oK4Fy7VXWL1AzkTYa/9EFTP0/kORJNaLJjyPn5M+lccJVL2phhuBDx6Zhtesd6lEd0
VoECO9bMAMBsfoaGpsruN9e1Zj7tmljO56VFFuP1DaUX7aGPDoVxnJTvWveuLYIDdbmHSBxYAB4D
hDRqmHwLYwnMWbOXLRCx1zIomkh7W5oSgLMTQWL0ch3Rx4GeMB2EHUgaXMT5A2mHajYxY1hhbpsc
G2DFtUBW03bygMHau4oKik9rimHinQ0F6DgFfJvf1JQmBsCt3CvQzq4858mD1H+/vkkCEXyLn0HM
yolqiGgMsun0N42Yfi8a4Vl5v9om8O8ABQWGSvQ5cPYfKc6AJxJGkhaQuXzajVd+Om6zB6fR0LnW
u3Q0H3O/3l5X7dJ5nAvlzH6WGovSCUJbC7OTwDenIk++EtNABCAqYRJockK6/Pxct8MQJ2kbQURQ
PY1h4ZVhtql2zqHY9WjX9YDfWr1Ym8a7p65zyDbOQTS+funrz7+Ac8KlLpmVnOILrBGA1TtDDUZt
xJ31cn0tV8QAqYYlGEHgwJzJuaI4XkAnICkUJM+Gs9em0JKfiKhF76st7NxlACoNFuKAkBbzoV/R
24k3lnvVacuiRETqlg/5izK6cZApHtI6bnqTbiK/cLXYy45jEIfloyOMDldOw5l8LqBpi0XtwQSF
6uXNEip+Eerflds5VN3i2T7+sjY/fl1f1pWL4UxhvsSHxqmuzGwIjN4NxaWyl7+MezCuBcaRTKHy
ibZPVyDy0i2j4OGgYQwt7Sz3yd2pmTxLnYH2YTygpMfsrr0dH9HQbh7MBumzZeO8Kx46TSIPnMCi
guaaFdkM4gGlfJbp5dyAIc2mkoPTDEPaUeEubfRQyOSWLlK/U0BaLzj/a4qeSmNfc2JMuWVki6Rh
cLBK29zVmx9TVTyp8Xd7Ubfz8Hl9WVcsB4wumMXABWFgIpJf1axJorbFRjo1SGjlH9NMXLN5vC5k
xaPZ7AgqAGAEZxWfI5+UaagthyAuZd1QLoqD1j1CQFtglWtiTA3RChCJ0F9+sU2pXWaWRPHERqIf
hDCN/fehvI3EBWCYAY6IUUW+SyB1UqlUczS6LFXvq9YLhovdRDRWt7YlgAhFFyqThVGw8/3XrSJt
qI1Cm2Tfj31YEB/tfNc3ZCUisHVAAADVFdNLFwXaOXFKpR0HtKVEYb68JR11M0z9oEyrhJgdQ3Gh
FB3fL3YgzkfixkGVBMNa0Iqv6yWLVDpJjPkQDd3piyvr0eyVkRzdTZoFO7cSZNKwmI3uWfZIfIcm
1G0VG70rSH2BXAMrL/WeTiVk/NOlpztKJf2ljHq8RlJ5bLZZo+WLP2oIqGSwvCcbQgtgHY8Irg59
R8kB5cbutlXmmOwbK9XvzMXEzbPMS6gOc7I31VJ+V+caoxCp3e8IDmLqKQomOF190ZUWgy251Llt
7JifpVxP4aLb80cqzcZ93UflYyL1+WuDQfK9DvDD0ICM+8aOzX1TVWril5Mz3uiFab6N6PPbqPmc
sHkLOsy+EkvVbZ3ao7/IBRgi5k4efyDuRuexGisg1DFhb25HAQFFq25Y9uhNo9GdI8nat2xywH9E
Hc0ZQHST1DvLSOaXhnRJaKWjE7u1MmAIgubmJkm1JUWxum4A3EtmNIgu4M35VgA97C1vl+i+HvoU
fWOW0QKmSMp8q5lpdzPqwBNDOjqp9lWT1zfYRi0ONCeff6utWpfuQvPyKSVqg/SZIcth1ffpZz+0
YAySrK5CEsiySI50G8CCVJ0O3+slHhN3TOzsQ4k7LcBQuQ7mwKrQDnrSI6s+mJFo3JclEXjzg3AF
mUcM6mGC9PxUpYhVE6mt8eYvF08HY4oqDZslA0vN0HiYYv2dSaI8g7rmkDBcg1IdAnw4DE7mWLZt
Eg/we9IjElTV4a0GxYRbHnWAnd6Oe9CdPBq3edD65K78SAIbYZjKGEGvH/bVr8AQOsBpAXSMAdpz
zY0otvSqxGHX8tAEajWZhPHHygVpA4nlHxHclaXRaKrtASKcKDSIqx5n7wN5ZMtV75zK1+7bXXro
XGcnuphFqnHhXVMVVj1QyI01NP8UmOWrdv+/xeNyU8OsEKCMME+J89Wnt5N6f13AWiiFkAJxBRqA
vxrTz7dnwPujroYZsWOtSu/WaFnfqyRGErG1K1R9nKUvwjJygIegl+a4uEMSpaqPtuvyVxdrGew3
7fdNSkfR5Nva4p5ep1xoUMTRRGMd1yklzxJCWjMRFOfXrOZUAPuAk0DH7oa8VkHn5rVUfcnVatM6
gHOfm5tK/ReSTq9U7rXhlBU8SoY2zH56zw3Tz0jjdxVFE4sIqlB0eXOLJtekbqiEy7uft0p30+Op
LUK+X4kPMTChIx7F2IRxMXafjrM6wpshGs2rsDTqsNyYj0AXD/RI2Vw3TpEobt2mWi7zWULuO2rS
LSD9qwJtiYM/yMfkr+eOdIRWJ1pxCzcpVjzmEQoVGBH0BxOEe7pf1C+63PqVZHrX9Vq7DEC4B6Jo
0LKaYFE9t7w2rkfSO1hC2nhpn7pN4mn61uk015h2NBMZxZqhn4rjDL1Xcn2uQIXtzSWq/aM/y5/R
6I7Fy3WtVooEjG4ChS3QA+imwY8tgFWmS2gz4hkYkMDaOo+/UUP+iSunQ60pdbWNvKV7Z9u8UccX
9ZauGT6CfKRtGTPvRUOPSSZiFAZkJ9LgorfbRp+IstTBdRUFUvh35wwIHTOdcaNmSeXaCUZUH0wS
XpextlsnmvDJkXLBBFI+QxOjMcwNBX4bCoTKEbiqCsrKUfb4/xPHnbF01tuiLyBO034W1k9wLGL4
bHKT7PW6nK9kLR8BnerFGX3WlrYisVdY+sN5kpFrdJcDkma4PA9WgIIWcFdu7TD9EIhlneYXYhF2
IAxCdxRwVc/PWgcX0kUEszQjbtDSwNz7A1EflRlp3NRP6nCYxZ0Na+ebNUgaLFOASWpOVSdREhqz
yRqtrhqvWbR9TcgjoU0J0vPbEUVmyRF0Ta25SnAvmFBRdiy0aJ2riUiYahabC5WoTgCMeWfkBNit
aSXvGrt9AwOCqJa+KpH19qOUDuI3nujJJIPetzmumnouLPQDKOmyzWmqvKt5JCVeq7dRsSkxkiKo
CqzEBZg/wYQk0H/xrOC7e7HFVW4CNMGrEmNXk6MVtZvrNrNyysHci+Zh0BygTsePzklouLZ1gv5h
Oc/LwFjkxDe7fkInovX7uqSLNQR6Ejpokf9gUAL4db5rGJCbFeqQytOHwVXBckp+dfq9kf40ReC2
F16FSWKM3Xj/YnqI3y2SkcFS6rHyRkCoZvLga+nWRMYsElwCF6bPyeE0ynqHICMKjTQLZK0k/2lj
shZAaGFeON+NSL9pclHDoEgk286TOM6qKDJWC0TikQFAND9JHvoZDMQ1MBN+JuC0vb5n6yuJPkEA
AamXYB4zJjcL1aIVilKoloy3Dc3cMb038r8OtNhSGrAMlupByYdLxCwgw1LlEoL64tUoj1IRdsgt
VE7Q0lSg0+oSnojiLoGqmRxr0iBqlgDUpLpqSYKiuImBOZTnB+Ove9g4zTj/qKVaIjsdW0LA1uVJ
tI8p3V7fpctghJPBGWIJbrdUJ2z15vfKfJgVgK9Mrj3fDNlNt4Q5BYyTWzRb1MMlY/bM9Jk6D+Zw
h0IVuuefBF/DFvDsFuK+hrPRTCV1Lev4mm4EROMe5HUuMpLuiD7xxtw7UeeqcoixyKQKhGS9l/0G
TDhykph9xJQ7iqnnB0Qy2zy2+7lC95b6PUcYAfjBWwlAELaSb2YHpM8VuoK698opEItGpWgr2L9/
oTwAHZHfVcFyxF+HeC3MNJUYOKViYuwMrcmAW6zIs2yiQlFqWwl9XmMZ/dDN7k2XBRfjZREN2oNV
HpkXXFUqRl3Pta81MpqFDe1H+kor049UQGTapWfE7UvkqDurtoJmAqnwPAWxkb9RWgWRORy6Ejx3
181gzXWcfgp3zIzI0MAejoUAXm0TJ4Hs/NaSo9zG/2bFTwVxBwyMoDKe5BDUWo1X5C+avVHlBuxZ
TyZymxKeumPvZs2dlgh5qS/ira/lZlcn8LplpBTOl9sBVO3YOlhulhPRmsAwf2nyPbDis8kI8uxb
Mt+WavBv1vWPTObeTm6ARcfJIi1kAqpiaQMVoCeFb2Yl3XRFOn0fnYY+XJe4dnFD0f/V8gLyblw6
UugIIgF3Dk70qMXNbR2r9LF0Kg8pXf+6tEvw869FxQAiCCgQ9fAcUgUAV2oiy/i3E9tNFk+W7w29
cBvryTY/MkbHBvZ2/a2OvpG/Bjo6F81P/faTZOT2DNFDO4WAGykJ8UsNOfBc5CNXLYfRy5ngu0eQ
wFmO1U3S0qmQVNYvSRR2s6fGR2SagUV8g742a/EWEcDeqmtEAeofmZzlWMtSVEoNmSaYdnMrLGTd
k6KDnYWSsTfbzRIFpuSnyg/BhrIDyLvEU7lcxTQdbYkUCuRiRMTrnF033BomHKE30ENJ0Dk++FER
4nmCYY7IFM0ArPohvMVQowJwKwBQzs+L0mdz7pR6xWj8ngnNAGIN4pvkpZBERPHsX7rQ80QS+5KT
kzlMYyFPFJJqoJw1/0Paly23rQPbfhGrOIDTK0iKkizLs2P7hZU4McF5Hr/+LLruPZEgllDZJ7Wz
H9MC2Gg0ulevxZir9dGmlP6ZxhpOuqTsIAxeREEuAGhKP4LHRcGCJJTYzTgOqRUi5uSEfCRKJxhp
WNs+1Dg0KEPjL+Ed1arqTJFkKXckNXfABUTtloF9v3oIiEi6b23/Tk1x/qmhCxNqaM+grJHVbqKB
ahUSl4ZbGiISz8v3+bKHJ6viXNIEsUDfZzBV5DeN+qHa9wboEqsDKz/R19Ig6q28KsFW7X8UyaMy
AqjvXz8UazH15AfwxZV8BBwJ019IE4rfWbaXrYNCYsdS77NI1M1fto13y1NTXE7QVwFp7DAsnGY2
vxL2muQY7jd6t0QTxirZpiepYHFrFrHB/3stcrvL5qjM+uXC0MnvWLpJSioFBWWjo8m3cSo64Gtu
89ca4un5sQuUaorVEve/mRf7qGi2ZRMg4fxz/YOtWYGuLU4chlF14E7OrUixISVNH8A5c31nN91L
VzK36gPvupnV43ZihsuaNIulkUJgBlnkTVuQzQwT0ahv60wVQNVWvhLG7zFVCfCiYWAshVtRlP4/
FzTtofHSgNjuIGc1RhLM+7iVZFevR0YBFK0F+cTyGuEcUoeIEjiuVdg3eFKZvOwMlmWsQBcmkh61
LjNBjGr1AidcnIy3AhVnvCcR9i2MC54vb660oMg0PIyz6hWaSXJ0mGbaBB+WPVFMLlNFBAy+bEGC
ZR11bkD8wZu7kGydW6yKHiR/lVw4kVVSDUN0adfTbjadqUMpbtC3tjp7kUpooks7rVOoaYae3kZ+
O4PcPByOUQ4ctjF4s2E+y4VCLSv1UzvZxHbilrntJCDSvu5uKz5g4Bto8GokIcgNzn/ynKCekEoK
dHlMpMkprSzPCLyqew+1CnoCAmuX4yALLAXQVvQCULgGj9+5udpCQUFdzJkZ5mp+DZjnRjvK0B/M
easM3tD5ku5cX+FKoEUcMkECiuYe5hy514FeWBZJZ1I4YGRwoxBNPtMrwmNtHSoSCda3cnjhADau
SbAZLeib8+VN45BWY4nloSvvlgHy1Zim8e+sfbi+ppWvpmMYHl0HjG1j5nlZ80miYfa5FCU91jS2
vq6iVsd24fCsJnhhtlsTkf7/Zm75OSfmCqWeZXPZwjF8KWxGFfsY93cseMmHnmb/5VGF1WEofWlt
QC2R28WsrKKxkY3CAelMakFEu6VxoriN+hpZtNF3c3FbBPT6Ete+nInPhjOAowDa2vMlhmqnjywd
Cqev3RZkh3n6J5+eB7kWbOWKN4LM4K8dLryHmQ0FEgVBSbe2PZhaDapLBL0bJy2FKKDFs/kAiHsK
vFoqQEDovJ2vaQrHuiYRbJnK/UjupdFRUY6Atl/X9lS3N6biFuWmBnAr1nyr/3N9R9fOOpwTpsEG
jP94wbzMMGMjm8ZvJ23lz6T6MPWN2m9L25F1AFk6Px0F52KJVhcrPjHJOSprgzFvDHxFA4IS82w/
ZZpogGb1A56Y4CIYM7Rp0HuYkCp2qPR6I4XVpq+jWz1Jf/RsEqC7195sp7vIY69VI21Kq8UumtXw
u2Z3ZipDpy28Q0VxD6HrJym0NjbKvi15ayxRZrX2FD+zzh0Lu7DbqbSxWtbsksqrYjA+lY9S9zsI
Xy12KMon6ALW2nNJBK+OS6QG7tIT77G5gxJJqppPFizXVexKNfpnLTvoRnxXG8VLU6abaXicNOZL
YQ8m/KdJAxA4FYRz4eZzd0eiGVMxlNj8pPqdBg9dNbit7WTxXV85ab/LZ7zWfzQi4ONqLFq6yghF
AFHxics0hfKYE1hlipu3T2ZzHwybOBckYWt3CBiY/r8VwmXNSRx0haTDik6QIXXIVTazslX1D3VB
vz1fDwYruRjKRlBOWUhcMH7BnZrInHKigPHLsa0XKU98o3ydbOmplsHDWRiHWAd6WhcJkAiM8sUc
MNgo0tDCaF+AEucFYnUxSg4M+h3ywQwjaoj0x5aAyoUfjLiiEQq2PPCQ8U8EDFnZoVoj/8OMd9mq
VK13E7B317dyxTvOjHAHQ8+MLGjB6+7M432LOg6YLiF9gu0T3FSixXC+H0mWUpjlYsf6BcwqOgvo
sIp4O1eiKdJPTK6gioEBZd7V8wqTiAladQ46qyR9tQvPmj0Im6JcK/o4q/t2kuly67FVDEAUMkyV
wd3c/6mGJzN80lvBm2rN50Ckg48PiM2CYD+/c62GFWpgIVUqMkaLZGcrL6x4s8aR6u3nDPQlYsa/
+wNSdwB6cMUDcsgdrakyUii3wCIQt1RqA2gJhAcFbFNq+s/QGmTvJ6b4mgV6DoleJYspENqDAWgr
qT/AkUjnwrq/vqhLcdhvU3hCLYJz6AlyGW4DKrByDPXCmdo6/Z0HYfHLKhXpbVCb8qkx1UD3piIN
QTvJ0kM6z+bBmEDJ7SuKzXYVBFUzqpK5UO6BrlY6L5pZ1buylvWCjGMliqKRrUKsHvhutJu43S/1
cWy6ySyQU0FUS90Yzb0OMqIUM6FawehQv1/fmLUDA9QDoAAqslQ07M/9KzS6si8b2GNtRZMCyOD3
EQmkId9bERNcf6trQ9sXTXtU4i+aGxKpi05b1jZXtQKCWTZ5qlne1mGJOcu5PCZpEW2xeAHkYe0Z
DU1KtPAWqc/LFxtLtSpCUbPEyLkRvFqQjXg0Q6I8zdGoKo7Wp+37YGjJViWZ/lXpnf3THlnvNT2I
BemIns8OIGr9DQ+WcKLgD7EerTjRE18qyDC4RtUz5tW9kfzQGeTWMkNr3Fiqla9w1lDvUJRQEabi
K9V+MDxjpg16W1CP4gHRQQkelSEB+Lks3lVyq9pQwTAeSvVBVUeXjfuGeGhJXneVlc93ZnMJiCev
NmLOdU+spnSkFE3PdHaz6edSV9XTlLaA77Zo51+3uNZ9PDPJndpxGsLRJIvJ2pPBykV88HgvPVjF
3JYKSOLKnR3eos7UVpu8fCjt1+s/YH3JIDODShJiBp9m4LIFZ1PagWVRvi0Lt2kfrRZ9OXAko/cA
Z7hubS1HxXL/1xyfYCQYGSoDBV81loFpVLeFfZz6XVc5EqbTFgGAwHgtwfyHJo/xe6xFGm5rL6wz
+9xlA01VsDOEWG4472LIR0c/wEkdys4UvTBtO+pvZRgL1rySFZyZ5OIPNLvRlFh2WFUfWP9Hhm5h
93V9W1eu0DMT3EVd9n06jzJ2lUFkuAA+Q1Y2OtqrdrbNZrdevqx33eJKUAX7FahCNDCkgQ6P20dp
UOxh1maQGdv7yYIkqEXt+lcU+Kbwm62ZwvsfAicEVKvoQZwfSrvOMIoTAgk7Sh9F7uoQ47ESMNll
dJxFkJqVjAeTP5htQl6l2Bc1DdKCTQdEPdDBzdDFzA/ITb04/uyr7fXtW/NDTJXgLYHYtiCLuWOv
9LIR9KlSOqTTgV/OTdKllKSEuUPTFjOdGlllFDLr+cGQrHZwsxjjQm4VjpkAe77mngrIayFQAKnL
ixHUPmSBlU8xfKfCkE8IflcM0AeWKciNV74iNDEU6DZg3FWBy59/RZnIVqvMSYlGKk3BqCyrT2ic
2skvTcQgunYYQJChyZgcQ4me58/pc0wZEVAfOhaYL/PXcoqp3OxBrJdJo58VbIeLT/A1F2/nXjEL
5R1YPW0IN6J0c744S6rrslIKXL/yl5z4SGmp0kUUM/r9mGwS+70oXkPtNc5FtKyru/rXsMm9SMey
S+RWg2Ei9U7VgexAcmP7Xg9+qmlPq2ETBXu78vV5G9lOQ+5r8y0K3+fi2AiZfFYKSad7wEeEsZ2y
vjPwUySpdnQ476AASAQVWvlnbDaOVm/V7BDObj7RUAJ22Qny8T9EWryUCcZVcJldTB6YWqCFRKvw
T1u2F+t3jIEvpXgXfOy1xAS4voXG1UQOwrMHqGarZoEBKz26EcMmVX8GmW8tjlxv4mlfx71jmJ1g
aZd1lUXwQvkr17Ac45PUpIB0spRmYGkJpWxDct+c38PgSCa/bUKvqx9U+dnSvqARfn21F1+VM7sE
zBOzTd1qVqYBTKvHxUZCzdMY/zVlXiwAdwWpBLCqAgx9bqEOlVBrGswXLfBCTfGU/iWWfCJtuyR2
0kg0bXYR4WEOrQZM7+KwAn/EXVz6DNp5iwHurSgH3GFO3BKniT8KKRIEhbWdOzXEXftNqedhY2IW
l5T5Uzfnz5rwHXsRupe1gNTeRC8STG7fI60nHyciQapZPTDdrH2zILBagSpDELYv0kPOxLLKExO6
3KZV9i0nNLxANcOMQMlIdKcLAfe5r0Swl9WPc7IgzsntxJarKMDHmZK9AiSkZJZ0sPBCEUEJRIY4
tx4lAC77BDsXB3vFeunT27p5NNnu+uFZ+z7QTcXs3BIpCI+5H+PZmo1lZihMLTCiSu9lWWFMKX+4
bmbN0xaoCThkVfzla2gBk/WZmAgNVhKTGzlQOhq2Svxy3crlSwWuACC6jdY3AeE9DwqS29jMgZfF
fEYnfXSV5quSRiWQ7056QoeRHYYGMdByq6ne2F3ohThSVhk6aWf9l2CIAXENLRIkLRcUeVppDJgy
wouhnltC86gfaYKp0ZoUkGAonEGyQQIF8royok08O8VsCH7BEpTOLvzvvfj7A7hjYdhVmpnLKIwB
+ZC82yTmTQ6eEsivh5nsAcsLMSrBSVxz2dM1c2dDDwa870Ogl+x63ETtrybyi0Fz5/aX4Dsvgena
2rizoef2FJkK1jbpkLTIwVNaDiCyMOt9CA54iieka7a/tDnxFyRsrCLP0URA2NXr7nS1XH5Mkl61
hmWDG4ykpapPhowS68+sf1bGr4ndtoBVJsRvOkHzaC3eoUaEwhRYfoGC4HbZ0iaWQAkdIVWJt6Fp
U7sAc3/81FpuDCRl717f7Iv87duP/prj9roqoM4iQf3YCdn8I58qryfGvuzQTlhEDhX767q5VR/S
kbcsdNOY5+WScIzixjbKGxCL7Cx3qtDLPM6yH0+iZHB1WRiXBCHJgurmk30WzUVHItipsqflUPSV
Pyqha1W3lkijbdWUDSonoHJkwAe4+7ysM2bUcYVQICuOHG41yc2KzRT8jDRBgXXNNZbxdF1X0WlH
znJ+FUaTNbYdJLkdpfVa3TWUhz65k40BveJD0wpO+9rVcWps+TEn964SJcB/mzCW903u97EiU8wc
tTu101qBD4pMcQlYkswVyRSY0oajOX2m0j1kxwQ21hwPBC7I8ICXwWQw95WUBoDzIoZDlB1qsB26
zWDxKFUJyEiBpdXVnFhaotvJxsXQHprtApZCTExJGjBLwbHv36+fo7Xwf7oc7hzFVU9kTO4hKyYR
rUDDVkVU0VFJf86mijbjXVV51y2ubqBNABAEBQ0e65zz4bIJu3zCnP/IjqTYlPIuAulOLPA6kRXO
6/CCs7uxghVQgtgUtB8fKILuI0W9S5kIPnLZKIcSKE4sHmtYDwLS8iVPvhQDblCJLczvZ0gW6hyU
THZJjSqlHfkyU2kHsnUV14++D7seIiAK8B+14BpfOdLL2Im8wEvQbOWP9FiiDVguP8EkX6rpAchS
6ru+qKlsfoLIXuCaK6FqGQcDuA6qhWjRcAcNdaUCcFIZC9Z7FBylDQpQz8QYt7ZU3GQhpu2u+wzB
BnIX+bKxBPcZ5KwvxhRnpR47TcPXnGXDGwzLgyzndQsrh81SVQJNk6UOCPLQ808IyFY61eguAH38
UYZHQFdonAo490U2OJ8kaSSbGXB2UIqtwab4kZjSQbHGzfWVrHj+2Uq4bzNEia6FJTyhjlH9bpwU
lCDak9Kagh27bgfjGuc7BmIZ1MdAAe/IpKeFfMciSCejGi2ifPvmbuE/PmoCgA3if7bJkyqqkHCu
tBrP6rkG7Svt6qlMKCOK7QbKiL6XbRWs8LKusr0AVE87NozDbmzACRFGWr4lUQfs5GSgNpkOLHFn
qxr8mbF4A2vdn1xO5IjWKBneW60dZF5SxxAijMY5NGk2JcHgtTh15raDDK4M3bVG85K0VAHdmscf
wTDL73HYhAc7KqePMUzN4CHpVO2doDfmFkyC2OYgm6FvpYrxO4iS+d5M1Ux1JavP/bIs84EaYzjE
6OjXXeDXQWv2B7tOJFBmN4nCfCUM2Y8aqKMfUl1pmpMXBXsvJ0uJqBQGWe5YLXBVUF3ON0Ncx7bg
qK8FFqBoFwoHQBgwesB95hLXYKZgwDvIQUeh+zXS15Jsx+pQEg/dtevOu3ZETq2p59bCuIsA54Y1
AJ4oMNboaWN2D8WN62bWfPfUDHfrNQlYpuwJZhTtt5I9JMFj331WQvXkZW94z0UnCoxvyFFt5Fvn
q6kDndkaM5D6V5+l5qqZr5G7hMUg5rqRYt8s7uzq3jAeri9u7cUBCtm/ZpfVn1xHQ8vCFO8B8ABo
v/tep0X2mDYJNXpPxzCmTO4ayWsjR+p2AsMrX89e6uIIn6AWBhD63LBVza1kkxZ872b0SYqPuQc5
l/4Q9i8dBIOMcPIsPAjCRN+N7XFOAPw1AOhkxX7STP/6b1m5oc5+CrcHbW2lEL3FTyGDYqAbr7uS
DgJzrQUXPpAZINMSnJOVRAoLxw2lAAEuY9TofO2BEeQRyYYMg0bGU5ECy2KViaNnwbGTii/ojG6b
qXkqiYiK75sZlXOyU8O8/qCeKckA0iAU6It5F8gpkh0LmPpWIu0txk7HASlQEt/EM4AD+4RJwY0M
3rvIAZKAfQWTJktOmxgKRDaz/l5Wp3gbg76ioERKUpVOXdC+s0QfX/sQYtw0Jqzas6HX95Msp/dy
jAs5D0VijmsujKwUXRZQioLFkEevxuHctKwfoWsm9T2K4N2tbDU6ogJ5B9Y/8eo6eUZF5l5PfVCI
aBSKnV/XHehyqhoTVng2g7VGxucEDcP5BzVD3WxGu8scY3rRS3nDlOzVHnLax+mTjbZIaMmYweod
pampwsb7CJD/Vo+eWvWJdPFtoDyPmEiVNBGf68reQK8LrIsmzhlYC/m9gbKyRmq5gshHDtK5SmtV
JzLnO9SWaFAwr5xlGk+/RqgtpM1nUOlP1zdm7ZCD+QZKm6AHlfHgP98XwkxwZkYyRG6k7IcGEKbd
mK+Gkv57egGSj6UqhjIM3gr8vTPEo6FXcOtpmKkB0ddF84P5GWa5r69n5UMvFUcQTYKVAkMCfLun
UdABVqwJBD7q+4iXN3kDZLBW3Gze9/IL6TZBR0HCpFUjTaEGAibANNqxcCtrDji1BL/mcneXSj7K
GhB3xaVrcDminIKRFAcL5Tgd9O8MCBtM+omUtFZiBr4cgivaXBZKusaSb5/cEFJqI8Fl0Ld1N7d3
z8ufR59SZ+88TXTL6HYryHwv71toqemYwQArIM41z+7csd7Uxgo3UgiBXIiAjwCaqq9jKwC9XD4T
zs1wQR/po1Y1i14fuFjoQI6TLeJeurxWFgt49yxUVjK63ecbp6dTpGQ6LGDW3pvkl3x2kxxjOrMX
/DMf3nf8wbMSHUAgsPhukmHMAVwB8Sex4/a+zSPIb7fZv4OTYOY0mnB7BmYPvTfaGsKvlb3pK7Ra
J2kCxQ07zsFX3USbCZBCOuM9MYpqeGubif4Vrktcmgjy3JVZFIGigW4TERZP5qi/RYt1SY6C8WZO
/hkouSzzry0evRgNQJsx6A872tyCnMEC+dmNFt1YotfK6pp0DZU1YOaIytclE2agtg3YGRhaWqrI
BQU3TDcd0/Yjl3xB4LpML7GmE1vcKR570oA6FbbweEVO/kdWkJNvjaBwiPlrRoE7IptC2/Tj83XD
K2vEU8wGxwb0I7BELs1TbStqTFLkzpB9hWCNVXPczITK8d60Y+8/2EKZYSGYAnzu+zI8jVRDneXg
EMwdG8h0hfiq6suljomEjrb/3lBVMNuB3jRyDkDj+fS1bKdKDacKthrfAA1ZYqMApmBWRbB/K/2n
c0PcmSu1qTbSEYa67CZht3Ppj9pv1fJA0Jij397nN+i5yOprUeysxusSwQPhMlWFeYJeHm49DKrx
taJct9MQyShIUvTBlbLGaSPDGZZ+qPmUA7+nar8T0cz1yg1wZpO71zREMzUjsDmTdGPHGyULtqa2
11tRR020OC6olFWrx+VYowEPPCiY8bGoiYKcSdFBdkh6J5I3kfV+3Ukv38hnG8pPU+Auh7i4isXl
Jmpu+7ZxZ/IxNwSPfGeM692/W0NaKoMQDE8sMFyd30HTKPc1yuh4+BeRp02Vk9QHCZW+BKwVVTdQ
QGkEScnagT+1yH08Xe8wm2qCwkFSSr8ZASRNnMEyNhHLwAUryk5Wral4waLdooBYhcv8AFSJWVJj
fRh8cqfcpDq0OqKpcNXwNZdEj/SLbwd4HPQvMai2JJlIus53MxjUoe86RUK71QHrtQK2Q2aoAHXe
WvEDXmzXv91FhrJYg7wLJCGQ3l1cDyzS8yYNYE2yfzZZ6AxEkAJ9X2Rnz0HOAncpBIy0VRGjH2H4
82e0TXebeftH86V9+Ro5v3qaOEASudjczT+Ln8CyYSKkAHOI5OhbCuMkVPdFY0ZVako0l/ESQvWh
PTbFawzQWoIJiAyT+cM/69ZwJrmPl2agLu9VuEc4faTocmKiqIhpnm5K5WdvYew6EJy9i/ScM8jt
rtrNbZ+jbkvH8WipGw1K6ErkX/eRi1DJ2eCu12AO58xksMEQkgPoUg4dBVS9IoK1rPkiHleo1KDQ
CW/k4ghg/w1TI9ipy+dUA4m0SNRofbP+GuDChpG005wVi4HxCRUJRXlgoyA9EK3BPj+9rT5pcdLC
hMXAlwsayJmIfExggp/BLBSQK2XLNjXA4JHwVbYF32F9m8AYAD4ECL8RLhsIRtXoMUSLNcTNAsOr
60fVeLzuU99hjA8LBoabUR2xQGLJ5zaDwQzJ6LEK40X13zA1+ZqC1t9X/GSX+81WiApedeITe9yi
qlzvZLWEvX6jPClv/ZvqPCZOAC2H+8NwUA+mK/umK1ikiq99bZGcR5N2ThgAZtjJMHHDSnfq2p3t
m76DqrZJDfOOLaoCgLMmjSuLqDRX/QQ4a4DxdNQBeUpgJUyMxKyxYjO4rbI7q/nXN/QSFk7+fe40
hX3fxyDLwNUxGQ7Rem+yqDzfpiJRDNE6uCNVGVqoT0uIK+qUZso2kEWIgMv5rvOl8FjfmnRSPIQw
gTqHGbof0cN86LefIMhlX/lNSo1NtilfRKJ3QrNcYhEFdjSPA8zaqjM9PmRfshPRDBnhzfD+Y3Kz
3YvtZrogd/p+xV44JT6dAlVJpBn8C6aTO0lGL0mis02rvf6p+pNv3VZfrft8H6d0umM4C6Fb0/hF
vhGp5l6i85etPrG+HJmTSxk878BEBDgSk05n5hWvUDeu6Rh4kq/+YIKb65sO6nKtoHdBqQcIFh5z
VGSRUsxLChAfqq/qVXVQDr8xdoo/PkL1cV9T4GhuEpmKfHZ1mQuiGFrq+AMJ5PNlWvE8zsOIZY5J
QQ3dLdFmiI+15mjTrtTdODhWov7n6mLBM4sgB4oR1GM5m00S9F0pYbFZBhJw2cs7Wvn5jf6IWcDD
tMFk/sOwHf3Y+2dsA77pqWEuthpN1Va9DMOJfWxlOinPBLjFSt9eD6drgeDUDBdN8S3RJ1BhRlbf
Mb+G/tGf6wZWc9VTC1xIk8wgUAPgPTGg5lRU3Zcbct9SGh6a0DWoRV+abe4/aDv9XnQuVq4nDe1M
mYAbBoUMfmhFHUumz/Uk0ap5UdCrqUCCvxtFE2krNzus4DJYoBKYSeMCjhZntp7WM+Ic8XI0T1id
oH0tEv1e+U4oWmAsXEZVEigULmDLQW1qXQ5J49h+sc0HmQkG+77Hls9ONSqQ4ADG7D60khZlofPD
1SuVjsnmjDk3o2s54da+06jlx26wqWi7iW4Sr73JHogTeqPTOvPr/eDrRwMvjZxm980dYs1N4JHj
cfbBuLZTaei+pM51V7rYae4nLnt0EuaYFbUSAL0M0yPHZLhJDE8L/vU4wAS+IR7coBLC0Dq3zX2I
6WIQ+TKnjA9y+kg0wb+/HCd+lw30dAwA8wwTMJTzJUi9HEbZUDCn1b6U+mlo9wPbgBKKRQJDF76/
LOTEELdXoR3gXIQQYlAxnTUE+8j8IKknJLtRl9PLL+g7F9I0ZLUXZyydUZbUig4Lco3XkYJ69oBh
t+NH6QJY4YR+e4j2vZPtGI2P+kP6aO8yFxmALz0XnqhpdnFGAFmX0QFD1R7T+ehCnG+uluXgNssH
5ijqVxu5HQZerjvgyqaeGVg248QBszZWjCmCAd28m4MNy3YlEKki3MKKj6DrBt/T0RaApDvng0mQ
KYHeLlaq2zRoaK5uF4oLK0VHxb2+oJUTdWqKl/5WRrvQlBGmxvmeFH7X7HtLkNGurQbVkG/FSIx6
85d2WjAydK2Gj0I+SQkdi5uggfoYWqqJwOXXPv+pJe7GzFVjBr4Ilgpo4sU5utjCcdyLtwc87NQE
52F2bslyURLs18ZUadRQ1Qvc0mtCfwIzA+Lm/Pv6B7p80nEWOZcLbWCc0hEWa2mzyCxQ4lROfhMe
KqRa5FO3HBEY+rJwzZnk/K+VZlwRBCa7fS7dlmiZOn9sZ3TkN0gI6BNVMldyJ//6Qlc8EZVq+DtQ
jQCX8M3Ddhj6hDQ6eEdRoUteiOHFtQAQ/d1M42IVbGDyCLwDREfUOj++mmTMfT4azOnd6hhSk1p7
8y57hN6dA/adL8OFupvT0uSQH780b6BHwN4g4pHRnwMNf11f7+WLAROkpz+G81arzhodMo7MmZwY
Oqc2cwkG9t35QBz2q/WCTU7HyincwFGpUdBAcN+vhLIz85wnYz4rsNoAe5FqfyxCw1KnVfxYgL/9
+jovu9DcOjkHjhdNqmaGocnTaEabY71RvfQZDDqP7VbZzv5L75ANBF094rZH27f33RbNGcHk6epy
NfAy4JWETN7k7l3LGmxQ3dgM055urEHqwDWsu1nEdbMSgdAtBt4ZxEBgReNHebtIUyNj7iJHb4Fp
eY6yl+ubefkawWaeGlh+wMkFVIeo50UtDLSfDYKcTdNddBN61o79mo/yne6HTsY8z94pO4HltfN5
avni7ESVWvWw3HhFSvs38tX58x3kOoFzvpU+qkMT4V4XZfCiDeUOSa92OQO5S+SUyabJ7tvy6/qy
Lt1iGe5Ga/q7mH2R7kUMQo9NHQJ1Gqvt1g7ao0XmZtcWANJWIxPBxy7fQmgILD0B9IwRgYA3Ov9+
aTqXSdejIMI0Z/CA9scUXOsOP2dquW3m1XTaxPQ1eUbJIHR+y+jyCI7jErvPQyB+AIZ4EL8xw0oI
9xmJNUrQ4cQP6CMEmyXakbvwfqDCIsHllzs3xK20InGaqhEM6U/pAajcmQIpX95Eu8z5oX6qG8um
IlK1b0zUtcVxMS3J8llvDNgEePVZ3ssOee+wn3+su8gBQJdmv0TCH2vb+S0tCzEmHD2e9KU3VUjk
LrNneqVTEns5c0f7HhBIOXahpEgDEVB31YNwTdogIANi7YJYV556I5ZmhknQg+bGu8wbPNvDzYHu
CATJ4q/w2bztLWeipjt+duAsEjjQyiW6wPX+/gDuw0a2gflqEz8go9pG2kIBVTlYX+3h7be1mfaj
G96MN5hO8IDhLmh+kzwT4AkdeX9sZ6cKKHAZgl+0eoZPfhD31fEGGmc7jlBcmDyjAYtivYmQKmNo
/3qsWP4d3rsAx0Ov0kIWq/KdlCadu6DrIJgdjXcKawD33Qzlfac2m3L4ed3UmluBYxbETHiKgrmZ
u62SSgcCk8CUVXT2Q5LL48OQNjfzlNTbom8iR52GX1ozjTdJNH5et716cGXDNsGADW0TfsxlCLVR
qi1sp47YFJi514imppcbn99IUAEuj3mMsgB+eR4Ewxh8ZrkRA16lQ1ZPQu5jtiAQj3605uT0QO6Y
YC//D4s6ibtc2Iu1LmJli8gQVfcxmJvbf0YiA2F3yo/CZTlN2hK512TIH7LxoZk/i+ithbrDlIDf
fhZl6BcevxizNYzSYyxSxoja+QaiLxvWcQcyFry+kRmaEsF0X/5W2OablAKOen3vVqwtartgzVny
J+BJzq3JkQmesiKunNHKflhl22/VyKo9hqvsoQ8mEfDhItEAhSL4yJZCF0CSF8eMhX1kVXZSOTLG
0WlXJVCvUdSEji1eJP++MpCTL7PhC/CIZ6CL0rC3mVxXGBAofVbnXt73uzEyt23XCPLPi1OFVS1j
R7h44fHw/PNN7IYBJOsNTFlxu83M0Wdm415fzdrGYaYJ4QKt+aVHf24iYJKMtk5egSICtIB92Pw2
mdS56mz+uW7osg6PxSCLxp7hEOMiWsLXSRZaIfsty3qooF8CpTe5u4Eohmf3wa6UTV9u62OiVnsl
KTdKIALCX0RGTIhhxgLXDwFDAd5wnGlbm8K5AOGR3GlHKbU8pXi3x0dTfVXnLqN6B06n6t+nu7Fg
TP8QpIky/IW/5kHm3MVARFeOGkxeG8xe0aY7Jes3RlXfousKyrOGZpLmZpnu5xOLBZ/24upZ7KP9
AMgwIIcaX5Wsu7zVKk2unHIwgE8eJxPDr/0R7M/MI7GUYf6vU7zrX3nNnU5s8sxnndTjJKAqDI4u
Fxp4HzKIkPIUetrXzaxFFxMrWupcABkSLnBmZp+iQ6BWThTZvjyMn5Wib1G136KitLlu6hJTj20E
ogqNcQRNvAS5TCGq7ZTMQA87BUSEl4lR0hM3hISWErVuAl16q6vcrH9NQLDW96H/fzTPLdUaITMU
VjDfdKPpZRkYzkk0IIkgECWB7r2DG+QOecuEl3j4y9TjQ2DVvwQ/YoUNCGhwoMpwdtBO4BuVEToV
0ILQUUNi8b2hQ7R+AD+DHVQ/lUndx4Hmd1DI6xiGDhCzBLiltY8NtUYdCAUFqvEyd3pzq56s2jYr
B5xIt0MzPpbh/CiF8ls12+/XF7rmviemvmPYSYxa5mQhgmLBVFt2bjHl2V3cowph1EQkebAW29Ev
wOQXauA6HlfnMUmdWkuDiCJuLOgOaFX5PhD98/pqvisHZzkTXNcGEHCZRUeHhg/uGWZOkP2pJdiV
dxUBrgHJ4O8u2aapRvPmjbXGjRG+TOUuGJ8q5Xdsl06V3krlJpu3Zu6TCSpeXhn6erkZtN31H3f5
VTG1C8AeBnmQF2Oc43z9zaiHpOij0lEqV1Vm2gHyNqmfsf34H+x892ZAQAi2C+6CG+1e60EVXjpF
GlAdXMUxMFOptie5SM96dUVY0v+Q9l3LketKtl/ECHrzCrryJe9eGGqpm957fv0s6t45zUJxCrH3
0asiKplAIpFIs9YcBKOFli76BlxReX2YFOaISYZmetDkt9E7DykjzL82HFClIpUKlFcgvaKX/HLh
jEGRe90DxlzTJ6pZco1qeh6i/n++bDgJKGFjwgXY1ZR51i2n1FUAsMWuGJI9EPq4Y16JqiWCIAvT
XjUDHvn64M1QuZhPn6tbgLCldklAJ8kweYAbqzQPQVvrKq1mqjkr4F5bOzQCIBxF0fW6jRvRvBQn
cx/zoG1S71tM3m6v2uyMLw8c1ABQFXTBDDxC6su90eKgG9W0KzD8bkkF8TCTIQd7QVRQVtjK7e/b
0ta1+Stt/v/CWwmCF0pJDGlhr9gT7x/UhNU3NZ/CK4X+EzldUShJiV6qqCoVQBva1K0TKO7Im9yQ
uqEKugi0S6H9/rZSK5YgSsi4zlNsArIjlF/QhyAyukECIi4KPsbkcBNvAQPntpDrpA8OjgEQqRkh
ZobHpuzNG/p8BNYE0PqV1FLzwdR0DhNIEd7I0esYqU9d/oKnrBV794BW+Br5Yg9yzMqQrFJkjbNd
Y0RQHyNe7mPdA5zSm2Nww7jnJnjcxvZByx3jNiKN/pq1+b4DyYIxcXbSH4dhZHiUlSXHgxDNabiH
wIxMl5fFAXmDKEfdIPX1J7zbfBO4YbUZ1wkrmJq9BmVOMth9QCk0t1YgpLjUNC+EMMTMUAW2bBlj
plwDA5r4u1LzvxS1PcclIKZu7/RPazEtEjG4AlQvDAsiY3spEoX5TO+1pjKzg/gxZ0xD++s9soA5
bMdm4FQ24DfsdvPcE4Xc//MBQh2TmAImRtCujvCFDh5lnQsUsW8rsx5JXRH/lN1NEGsptn/sTOlF
Sghedaf0aRMTjhW5znZDqQ60IAzzzRV25IOo1fYR9nNSDsYT8Vgc0Jex07ex+Zq/5dvYYdGTrRkx
4IkAxoDzgCceXcUYJA9gSA3WmXuszWkDNgwXYKTbyUZjxyZiXBdMaZTrCxLNn1QDqpW2uvN3aIg+
J1YI6obzu7zPWC+plbcrDsZCOcqINCMpBaGDcuM90FMwCEfQtJBYmhux89HzHXG1awtZc5ix8Oqq
EOGotpDV71r7F5J1bvsG6noCbCRnOLPCsDVPeKEaddELcotZ0Fm15g1ji5/aviPdDgNcMimI/9i4
1fN9yjqT18+Jy+Wk3jQZaMd6IYdM/T7dBBaAwKzRDA4GcVDcKK3Glp3BfQczsJO5L7f9wXVpHKMV
SEDMCTC8ZdD0fLm8fWJw9VhBtvBlfMefjncUUc9oHWQHpl2+ZZYXVlzehTzKUpWw5eNi3k75iCf3
GSy1qNw2byW6XCafiGcwx5jJUTczxhW3cnNfyKVMtulHA2SckNuahQN0yV8PisvzbHNd1w8UB2hv
nltYKftJBLEIBKODh9uJbvs7PUpWYKHx0TTMyu4+w+1nsGv3I3M4dSX4gX5/5VI2ZGQY4pKjHqyE
b/Ensgw+8Q7Vr8oWzMHOEvJ8zyIhXRWIvDqI6gyUwX4Ma3EulUZSMnE2nJ6bDhgX3zcZC/9KWvXY
CxmUsXQTBrKzENfFaMqoZtf2WdiO5vnhzUNHHaokRDuJ22P4/Fsl4zv6v4jvuME+tOST8fSs//NI
TMEop6wDEARJMzph14dKqEeiiJOSPxXjQ5K5I+t0rDyZkPZDtGegP3dmKbk8jJOix6UXK5WZyIMF
DEZBBCqHd/Q71lW4KuhnIBWvYDwzqNPA5ZGQx5lcodBtjrtwMxHxXSbKvQoylp7UVnngUfua7lqe
sYirVwdCTLx0JR29E3TtNJDLtqxHtNANTqdvijsfYYetnjkX04a3XduqjgtJ8/8XBgrcBQygD5A0
AyyaaP0iYIb8FyJAzIOcoo6uVfoMhG3S+X2C/Sq75wB4Ip60KcOtzopcVjWZcTVQHkUwQccSVYaE
dTfC8nzuoGYPYomCoTmyOL2vq6K4CpBRwmkWAPWKo3W5YLGOqVNPU3H1fQ0WEA5J7Gq2T9StfggS
MtnNLiCnnuQb76htWSSrs8XR1zzeHSKqWcjOAM/iUrgxBsVQarBITW/vRlXftI3hhL3M2LF1Jf/K
kSgsrnQSQOI1QM64wxB9J5nAp+JMwYWPfOhdw54UEnBoW8rtYC65GuBysToWO8RPcelaWwBSI5cg
IiaVLrVtszAQ4hyGox7rT/3Bx6PrAOBca/zSnGoTfEoTkT4q23/iN8Dl+wpBXcdYiFWbwotjZh1E
xzLdyxP7cgqiGnxBOm374V7zSgwD2DoIFv7FEVnIoVz4mJb6mAeQ46WSEwDTCBb23EYpxg9HRnlo
7YqfUTr+VyXKqc1obpHeQtTIVUdV8JxeMay8zE1R6F4q9SupCkw7MoK31QBqKZU6NVyTSVNXQeo0
Y6HEmJj5PQqkxKwxyoqavAXODMoKDaBndHEr1vbt5V25hTEGZwBpY25Bxdj/pSFViPmzKPNgSFpk
gvAMxL3/fAM1VJjRCYzUAEpWlKmijRbw7zO8fyYEZAS/oPYOWJ9wsm4rsraOyEQBd2S+GGZg10tN
CtFHy0Qb1mYKXCanOMtbz1GO/HdjdzZ4KsAFxJK4EnZfSKR2ThPH1qgBFoJurARdPOJdf2fUBM0e
9aZiASas7dNSOyos7MS4LfJZVliiN1Ize+T1bi/gigO90IYKAMWunprUh4TC2CpAueBqkCKylmw2
J8pvXQihvHRaDGpbGejb4F31PrBaG5yTid1bj6Orfd/WZy1SwCwIACbAbzXbBWV4U1onfJVHGDT/
wq5g8iUluIgGUrnqcXpnCFuJNBHV6eijwFS2KNPFySEEt4OvJLUpusaZt6e95xhmgUmzT3DsucyO
/1VzWIijTK+UCqlX0gyQk51k1SCPEHTWVq3kXi80oiwu9uRsAl9ODSQwq7+X3SAnkVNpRHB1qzVI
Y0v385OkIPkh/KM8MdaTpSBljYBpLNUpg/TWzOfU0ulX5/CmdwfWoMf8uzKD37cFrjy7LrSlDJMb
Wn4oCyxob9yFic1lRJTAhuyRTGL0/K5JAhII2ivQfQiGzlnzRVgpDQO8PZ/X5pjuK4BCe0iBfueh
1bCmaK6bmzFttZREeUSRE8uJEyFJPUYc6Xeqq9jnuzNfkGIzEN9NyA6kTy3x7JZVUF6p8l7Kpgx0
qipNbAzIzu87IhDD9M6x29l/WrR0bm5v3ZqhLtWkDLWMfRFoo0Vtyh/ZITg3G+7I3dcMIaxdo+yx
adMgrHLoY+AW64V5EFEqQXwGgj4WLtlacId9m+fMgCmPNmZKoQZcMaEQl7NCkwPIGB+5KnDZ28O2
2rwHTv5mHMWn4GHcR0gSxL/ikRHareWwLj6AUhYArXVl9PgA3UPPffVW5qd5rDX/UkYrA3xV/yXL
X1N9QhFXUioCwnAmW8P1SNOP8f5dBOpAVunUgshqXoRjtB3vVVfY6+6ACVf+O912BK1PTkcGdOgL
mHUNHQ0Db4E7nA3yom3/cQP05bfQAzplWrX8OOJbJlCkd+q9nDPotH6yOvS9qM7kUypSIQBIobY8
rsJyCvmqNjukJRDCuClpTwFiGD9AVlTeYI5qM93xLuvsrCV+gbj/VzC11RmH0eJ6gGDMhU5bHm9d
Hl3CoLqdfXxYMFuS53N/S1FqWzkgoMdVCnmNIJIelYvKI6IAjGbDvu0V5h+6IYgefNe5EYhdOvaM
H01NMGtvL4e7uVaNOrUiO1LwdVve9cDObCR/V5IuuaLVK4qAAl6bH/6uLslv3CA4tZOJoNfiSUt0
lp9gaTiHJIuLJM8BReqr0LCNNllhVTLqPk6qYOaBFOkfjSVuLT5c6keFU7oCUlqlmS0FeGC8NVS/
/OaOsYZrEfVSBnU3KkOZtooAGZj7NNvf3lOy5z4iop6kf1EWvdgt6m6sG6mWGwGL17QmEFdT4ZR0
DAu8BkGgLIK6AxNVbvz/t2IO+ONMcZdZqYuWngYWEW9rB93wG/FVfri9iD/ZnGvLB7waJgsAhUC3
iiplEjeqBtWMR3Wn7aVXA9njmtx1yMUAOs4pzFd4TjNBapff8Jbw/i/STVjbvx9A7WJfRnGYhdhF
AVxu5QFA/YHkDiy4urUIEdVmtDBLaLeUflZ/Yf4gPNS4CblAwH7xIK1PicEcNJxN+molZQ2pVMyL
AGqBMvnAGBK+1aGI6qIuZkbfASj6TuEdZyV24vZb37q9detR00IgtXJtpEdeYECgggCDjD15fRdJ
/Thu8k3PeO6tm8lCFn0CSqTyKg+ycpv3bBW4CjHhzYHI2wYVe6ISEGvfeXdfxYNvNyhexQcJVCmM
r1jZRDC+AB0AdQCQL/5k2xabGMeVl5QigNVUFK8Jyq5WpwwsEqT5DqO2EfNaOrqI0KuCq47aRlmL
pyYyZJSIysriVLeK39CSO3UYUGnPAYv/fE0lfWZ1hEx+rhRfuuUykdWpCtCIpib89Kg25fOILWUV
bFce0ugeRCkBxUugYtBIBAAeLyc8aHB/+pY3WEmdWr5Kav5FbN6axNaHA3h/JxaM6ModsJRKX6rp
BIalupVQaMy/i0R5FSvR1uvs7fYxWJGCVqm/K0jFJC1wv/I8QYNiHwLvWRZ3jSrjLaZubotZMQug
5CJjPaNOo4RJhSJl5AlR1gVYQmQynbLTQIYZg00ky/JzWRn6gyeX5VOYMNE+Vi5uNM4hyEPXBlo3
aKz6pgu8VgdDNOBwtr5ut8ZdhfA2OpbxByiB4vj+tp4rT5cLcdQ1JPtQX5Mhrhpxynk75go7Kivk
Fy0BZnpb2Ir1Y7gToAcqLBMdR5RX8WWjaNO5fDmV2w7YhQlIsG9LWIkgLyRQ6mhJohRBM0CdAnzX
WQwixgc5Peb1YN0WtLZuS1Wogxz0uBPiCIJU/r7uMUblF/ZU7oU8BeTev0hzX2hF2XyhVuOQ8yi/
thNXntMgHuyWK/37YjLu+awRGbqtHDEcsLnTG1A+8w166aTGtJWLUYG4zrjP0m0VfjMLBGvLh8wy
XKAMr4uu20sRXRkP6ShOKGTnd6FC+nbTx6BGf+wyRsCzFmcBtvyvJGrtBg/MnFMBSaPruemfyWn2
vyYUZTRbeZAf/bvClX1k/W5bx5r3WAqlVhBoOmDZjCFUjzYp3BN/p3WW3Fpj8BB0jOfh2qH6KwsJ
xsul1FsAKQQ5ZDXDY9jvdFadfO3BD78+hzhoguXBtnwpwM+0yRNi+PXpnOsmb6fH3h1mjH28lnDx
93jAGBYeMCycsDUzXMoVL+WOfjAgIQy5oT/TJ71GXmLxHKPCsi7kP1cl/TDr88Qo0h5XJZ6bblwg
CE/ynaSziJrWDAIosXN7OJrDr5ipPAOka74MXTT+T55s+vRhymPSVQD0xr3867b1rdr8UhrlBUWQ
8jRxCGkY6lA/xjZW9jH4rxp0ynoTkFEkyR5gnXeN4CsmkFDzgway5S1mhWobnMChOSRdvQ2iVLX6
qtHtJi6+b3/iWqUUzfJgKsekByA/aFqBMJeyMVVHGFUs2l3z2uLx3QaiFUWG05dfogaQNuAFgk/L
FPju2EijTPoSGa/2fdLvkqDacoK8Q9XorPDA9zBYPF6ra7j8QMr6hioHaL+BD1SPgxMBSsnfJHih
yY3pbeTHdJvtAhxsFxNNt1dm7Tgv5VLxaB9oYulFqAnk8WsjH1NWUmfNEpe/P8tfBNW5HMmxLMNd
iDhVEnoGm87Sgl0U3XkdMVJG1XTteC2lzf9fSMuKDry4mBXC5O/HWM158xeFhe61ducvZVDWrrb6
1JcFVoxLnCh+kpC/iS1xfLi9L2sVIwwbANkL42XAUaJfzqDySoc0gSqT+ALQRLMqt5XQkBwZRcVV
652MdoKSlfRY020plNqt2pBK3VNghX33nMRPSoLX8lFlvUpWXTxcOxjrwEE+T+1dbpOMXpZwBLub
WVk4eJN1rt1Qs7FbdnH0bB05v57ID6yy5ZpxYFpbQ0EMY3NXQ7Kh1napqGNF+yK2wxIVuLp7mTKV
UVNZs/ilGOok66nu8XEJ+wgad8otnGnSTZh0Bx45z8dElhgX8rqlLPSijjBXqXXP/xjk2JgD0Otl
DIrhMXFIpcjqc14DoktwBjcRMcqOEXmw1pQyGDEAYb3EY009/j5s3+PWrQYGoe1a7LZcT8pYOFHL
Jz6GsYRD8tDp4CbSAV2rVU9V0NnoJGJs31ru1FjKo843GgQa3UsgT3q05F3iaG8SKOcea2cyxy3q
i049WrfP+rxIVE7A0CSgk2EOEbOkdAMbCmNKWHuQqCbc7zHqf2WJzBCxtk9ok58n/PBMv0KplcJE
bnoD7VByetfHp0R74nmWx1rbqKWM+WAsnK+EILvuMsjQRHPYY973gTNDW932EZnu2223AzORO7wL
3yzkolXldPSNAHEfzVZ0waLTE1+PU8QfylQ7XheHJK8LknoeI9FxjVyExDJGcvDWUjDhgAHVSw1H
RWtGdeiBR/CourktfHFnDyfa9E9BiAyZJVhoVHf5rd6SaSTyG9qAd/oX/xW86E7I2NGV4Yf5Y0DE
icYCIHnTmaQm1HwVJGoN2hcUJ8drA0AqYODUHOGEgdKI+IBPqg/Sb2HrJyRzI1d9Zrm664W//ITZ
sBc7jqmusQK0PRA8op0h2iK661hPm+sbCSIwSIhZOKB2AnTgUkRay0LJ57OWxXdb/THkjoTIZHV/
bh/Ba9u9FEPZbox6e8CXEJOA/KP7xfdbLz/m4kBGnoWXslJfm2XhhYNkGbLy9JBfPMXDFHiQ5Q+R
m7Tfk6zuG/ET+XlT7QsigJAZze1AmI9/N2poaWN3NBRwS1ToMo90h0vuBj9+uq3/yiVy+VGU15PB
Uu51fNmYeLuAeqS2OXR5j9sxtCT1bSo3On+SWIQos3lc+j3I1GdYB6AfXU/s8ZUx5pKINFOq8/dx
qj4mkcYIb68v40sRlFpSEHPDWFaNKWaSXUVmL7h8bHGFvx25XQDo3tvLuHogFhpR1lq3RsMFNcSB
KY30mN4LkhrY9CVDzKq1LsRQ1tqrBYjvPCycGgsbv3byCKUTaR7ewwDL9l+oBCQMeBkRw05055Lf
d0HUgV7FFFBIVEpg4Tc2htVvC1k1PwOEV0DKBsAlT3PTqFmVNEMKjSrhT4AuImTqEFiHngmaKpJG
ZqASUdzcFrpmfga6HTGRiow/WEcuXYs2DWqpK9isIsXAbSWdkr5iBBNr3mspQrwUwZUASilDqMWF
kclhjgksFUiNS8XzbVXWDGIphwoBwzLGqhaQk2kxwtozHtYTWu7Bj9twDHtgiaJ8finmQlzLEBWL
mRXopKhEtHKbVXNIwq/bWomsHZqP2+J+qbJYHVO+wfJtWkAhikQ/NlvZNkzxjJlNE7ixQBsW7Mnd
6efg4Tkyn31LsW5/xJoHWS4t5UHQbtG3fDNbZpvZaWb3U+706EdQhD3nWxz3fVvcmgdZiqM8SAmM
jTHXIQ5DTk+cOCGlh2nKskC+4ragVdOc2zvQlYhDQINXCchuSFzbNqZcOpMEBrGj7n9OLGtZXb2F
FMpTGUaYpBg4bcwwdXu923AAdwq9/VCndqHf+a1zW6mVNjOMtSzkUZnQrCwLDfjsDYZQif5H80n6
Jln8vfSqpMTvSOGb3AtaIDbiqXQazIf5j7c/YHX7JAlpNwxSoGOKsthOUrghGKEvF4Fzxw/NUDZV
FiXE6rFYCKFM0h/VgPtZVA+terz4GrasC2alFWceD5rnWmfMaIFulJ5ioIIMHtYx485lfpf575Xv
asNXKH9X3VmNdmpx9Dk35p/+xfot5M6qL068B7SIOJhPfD35lgC6VUVDRJQ+3JYyWwEdeCy1o3aJ
q7q0mzxIKbOTnP+Wx4OIxBoKe36RgSQksXP1H+OcXK4ntWVDXpQGslOwi3pnRO9gPfTrd4V1V6+c
6bnjF1AYaM9GxExdAx2yAFMjQkrhcWakSU6CUlGsnzshZNwCKykciFiIojbKB0lwr2V4CoEpz3gU
OjJtwuPkckf5rqpIugXgx954FxhNOSvuBFUwJEKREEORhZ5RKmqulUCa3phNcdS9gaggegEzrCzk
SKjbbc5IPayc5gtxlJKN1CdgQIC4Qjyk3IMQbQSOYYrXNLTA+1iqRNnioBa9XvKQUSkPoP/jKuAN
HdvE6jIQ9YW20P1pZKfS97x+X3V7JburwzN4Elo4toCxumtPSnyLjqWVMbOg0cVgoebBbt/H0Nfy
T9K5xc7mn7L5EB66Q7MJHlon5Yi3meGQVbILnmsWxcVKcHHxAdQxyTwOlfwYHzB4jjc4RWAFxntn
nIpAM2+7AKau1EVblXyYhApESb5VRhtewZSp/B04v+PDV+REr7lghVsfQKjZoSXhU+EC8vn2J7CU
pe5GXc8HrQTJK+ggrV62ZCCGVakd+h9S9PLfSaJuxUTLxyYDL5cJ1J/O25fJbkwe6vHRC1kXx3wi
KM+63EC6O1UGIpIcVZBUiYdK/mhiRkC90pWEoUEZzWRAe9BnnInLC6KWC1CHyEljjsNZ8c6YcRkS
p5ScKduPgwXlJD8A2SSLzucHdYxSDEPlOBQSQNfQDE09FgK/rgugrjem0UhWBf82AP48cqPGIGJv
Jzqwh2LTN9RNWuz97sgFe3BEj8pelU698qb29+hCI+II6j/fjT0ryjsbYNM9v48np88tbcLLRyJg
I4l0b996Iwn1we7Afd5knFmDhj0oMHf1KbZukqqmlo6kiPdjddYa3hkC08CDyQf+PMsDrtioCEYf
AWhBCAWuiAuRkEFr56QgDoAHRIdsbhzj2DR4u1Qq67aRrvj2C1GUs817eWoScRYVHkLVqgMg2oHL
Fhj6gOYuGJ59VRimFVFfwd8V8Ls/9W2SShCWADJ7SCeH51TSCG9cf8jbU1Q0zm3lVm7mWdB/5FGO
ra1HQI8JkBdzLzyGWCTxya9VZ2rt23JYelFeTQDWTFGrs16KB+7F1NHFr1xxpSlwC03f6hOrA2ZF
oDTDIs29XzNDBRVycGKge6Kqt6ZQ2bxfbMPpY2yOXFaeQ8H+5yPlSEKImKhDAha5cvr6TzMNsHC+
0Zqi4plj8TyivByoTp8xrGPl3r+QQ5liIUiBXANB0cyM8xAfE+Ep7BguecVRXoigrn1pkowQxbbW
bDwZzLu9qbJ4HleVAMIoEoxwV+gCuPSU4iSpfhZgseSgfW3AWN4VwUMWMWKGVT0WUmb7WATsnaBz
ashDCrD1iITO1zzf3DZplh6Ux4+4wBDRedSaZfq7KMF8i1wX0qT/lRB6klpWcsnHAUEHACi1GmXb
6zI8L6M6zVgrGrNHT9HXJ+fQhG+Vc9CJFub3rNt6rCWXMWL4n13/QaFY7EdVxWWjAGMGI/XTMVQP
4PQz+xyYdaNkFWF2SBsUA4Iej3EeOHaaXYJwdwgEK+gyovS86/WPTcyqE8xbRF2eFx9FOYkMLUON
wWF10/ZZzx/L8eT7e8BXd/5RiO2uZTQZrjjbC3HzPizWIPL4LovE2SbD3u1Cg3DhayK6XsyovLL2
kzrDbWfodWHMZziO7tqq3KfZ0+3tZEmgro289A194CGhl9+8zBUbgWH3a4nXi7WivIQaJhOGYLBW
icI/6VEE8uypB8qyMd4NHWcbse4MYU6a+sHw4/9WOOU8An/CyEDv4UDwT6lXkQCHvD2n012t7obI
ABrLPuNEhtRVY0TWC1c/ag4Yabu0jrrSVV/mAlBQwWN5mR3KEVp9TG0AdOSn+sA3v2/v4Zo1/jDZ
I8+M/ieZWmF9kOtiMCCvNbo/aZU/DciFtUJm8RJzQcWVg7aURS1o3wDzoIxDjOAe0IRd+eiXKz61
o/f4LD5UXzmjmW2laQmTzGAQVv6/apRr1j05ASE5xHVf/Cl80R7j0/i7NMDqANx2ybaU7YtyzxxM
mDsMaW+ykErjEBeaCB77BFLxOrX7P2idV47yFqgeASlY6GCMzaOp/HShyPlsgCwUOq0MkOdTZsbR
g84CLVy75JY6zRu7cFmBEmFQJoKcVDK2aiLvgx4URCMrQcQSQzniVggqKW1mMQpv6v0uQnaNlbVf
AT+4sAqFcr+jPmpjOwvhAHynu9Vb9JQdBCvb52/yY6SSkOGGV++85eJRJxpoNnwXz5tUZy/+Jxh/
PxrgjnF26HYm2ka538VefELzo3GfvNw+26z1pPwz/GZShRUkS9JXr7+IUk1K/vm2DKZ6lAPpxljg
+Nk21KOEdsAPgTT7cKdkVttDpfxt2g13saUURHR11nOb4VAUyqHg1laDoYRs1MXRMSWcZRTiiYpB
e99+59FWoDFipJX2GxWo6qIyQ+D+gFNdngRvTEOjaATM2hYh3vbnNNnFkZ1IFsb/rTB6HMtj5m3a
1i1HiytPUewylnt+yV+6l/kD0MSNbnEUpukXDRhlfSPJZIys9RWJO3RhFoo58gR7C4ysCAPAgWpP
np0WNkOyNq/mLdHUycl1Xw/RMAB4TnWPlr+mSoEgtIn7bRgfOeOc5oeqfMslt9JeDJA9iSHhclvi
fwvCp4o3ikL4Ib43ZtwWn7elxg77o156m6mLTa14QpZE5N7SvLKMIiI1oA6b6mMIeLNpzj5gjeVi
I4kBCpTbTsZAINIX9aGeYhRqPnTAk3KNbA6jI4ibCDCm6VYpdzmX2WW/zTjXi7ZqNpEGDZ66q45u
1T3Gw9GTzoqfgZLXt9Ls2wcxVQoYR0QVKfriprskOmeipYoOGg4LwABk5yjdRqPDN4hXs5cU3d/e
JtI2uvGSF/dSg4wAaKLH+wRcNkJs6dVGKx/1xkljiRTdQVF3kX+v5gcOAFbaq4GC/3SIq30ugQkm
3mr5Qxq7Wf3p9U+om2TGo9ZtcpVooxtL5wznh+8AEBV+1eBba8795IDMxw4ByZ6+8fV7roUmSiIE
QVGsHgPdlIXnLHrk8k9prC0Dw+kIWBrVx3IB4K2UdzVnGeGXmCum7L/z4ymNzlwBYF0UUsQOffq6
A/Mzo/zZK4FX7EzNnwZMDcaB985IY3X1sx7/6isQMZWHDgQGDSiGAbhpDGbcOb5s13y95dry0Pij
q4jnROoJn+uuHr+hW8hJQzs1WHWnleoasM7QtYnpNR5lIRpYJFV8r1KCdm7GMYWttq2cBrApIUkO
NcZwCX8nHbXnyoaFPWI6b2QEbmviMUMKYh9DQAs3Gr4uXUOZKHlbiRAfHRJLNHsTVLPnCriH5PVR
PfhWtvtC4ei1tlmjASvziUjRLyRTB1PNR1WrcKn9tAd5trgryfTqlyRF6Go+aLZ2BOXjYdwEW80q
rMjlBsJb4LtlOIgV/3DxGfN1tIwSujpvfHBnmuIMRQLRnqW6cMY9cBieM4IbztIOMXkzvm8Lvo6C
LtWnrrmuiPWR11AvG3wrSD8K0a6LgrQSS7/5+yn/d6EfddPxcdqXmoL6VUrSk2xK+8CJoWdpdS74
D/f1pjVZKaWVQtalbtQNlwZAlm90rGn6UpJgmzmlDEAH5B+tz+Z4SlzF7BlhM0tLKmpOpAow5bMZ
a8ZOUlxvOEnc5vaGrd2ii5XEaCFlKYCXVuMKMiLV/8Urm4nPtkVUk7r/RMXJMpLhs+lFAlDzmIBT
whwF0D6E3X0cs16YP0h7//emomh3+SmGkYiFMZfkEQzeGwE4wrJtZMUnz/oVu4M1PeBWAxVbRmpH
Jx14Nxuzt3ZKRB5vr8mVEYMfCUR3wEqegYxVuum854Ix4UUPYdQIwkkMG5ZwrrV2ZLbuX+0vBP3A
7qJxHy6cJhU1kikpVPB4IPEGOD41IwVnS6JzW5vrHaakUGdS7KQpGWpIqUKiY7AH8RnJIzfbeI/5
VjKzgeQoXrHgfVm6USc0w1SC5pdRb3L5fRM9FYrTC+ZtzeafuLAXSjHqQCJjydV8C8W4iOe3SVym
ryInqZE95GN+1Noo+cO10cDIY65ZB/DRATUDsm/0bVBWGkdok+mmpEc50OUBdsdj6qLai9LbbeWu
n8w/2v2VQz30JlkELwZ6vE0DcZ0lDI7q+jvxnTNM/6A/Zg/FXjnGW8WsWZ2Q18+yWTKwntBrKc0o
3tTW+dpk9EYYA6R4i1O31XjyiskEW3LrbWQjSmNh6jIFUhvZ+mUbVi0EqkdwfiMz7Bqmcq999ACA
Dnb6iZmOuEoMUBpSjpVTxqzXAggsFSDX5GYHNBdSIVJzMpNJY3tduL+U9pNZW1zGbZbk3chD2mAJ
Z93tvsCCWgNh05zfZ5OrnmsERmBB/4Q1jRvWvbV6EPEWABEFaOl5ulQ/CnmeiVPao7EKLa3dpp+z
WIrKCrlWj4UE/GcMzoEvhC4iqI2uFQaWFcFWC35XHnyu3KHcFb+8O80Gedl0Su98p2ERnq/bDmA7
ULqYQz360sCMVeurOuSisPQl36Ox3vGs5Jf4hHlCszy3vxjHcj52V05nIY86lgonJk0Q5ACKFdHJ
0jQE/adm6NYWb/UAzMHrj7Gy1/0Hs/ksJFLBrNZ6iZpy0FD/8MHvhDy1kzlcB1w7sE+BUOA8AmyJ
20aAWfoDCouPYscdWFD7c9h6pTXGRIGHaWCl6R7AKilqPZdmZ5QcZOGPziIxWVdyIYByAegs61O/
gS9vBhVd3jkBC6wZ8fpD1qI9tS0M9LuglF8lJBplpKAD4g0ocvfBxi8ikPApRFQ9MIWU577ot7Eu
EaGvHnWlQ6qPC1kPjOswf96TxedSDqSLAVnNi/Ptpm7Vj5mEN1ed4LHYPBTA0dS/UmfqrWgn7QZT
UK3BHK3Hf9wBc/kJBhW4SZw8VImCFQOUbcl/cO29HoLi6RVEawwLXN38GWdwznLgMUfdB1GnlGFU
w39NqHVlU3EaBt5lHKtV94GxI0EHR8YMEXIZ+w2Zhufp7JGB06QAqO7UnhxlLwFO5r0h/pOyAwcB
eiSdyrktmCWXeq9FXhVLYQO5Rihu5WI6oEpt+vloByyorfVV/Kvh7KcXt0AXjcrU+JCkG69h+CKH
9m1N5hNCH1F0uaDlBc0DCFqpuESri8Dv/RIm6StujaSHdwd2wz5zwTF8SlntHmvaLKVRbjBViymo
E0gbjdfWd2bC4tvqsARQBqFqoTIIswBVf5SFb1CH3v79teDxB70crx806mjUCRbEUZLUrurNTvtV
K2BcduvQwTSL4TOi1NX4eyFJpw5qPgD7V4shKZT4Dtx5ATLOcXRM/W/fix1flNBcmjRW1hmvfZgB
rihrXvgO0wyKnp+8pGZY/HXHLhwHEFzASDNzfaKt+9IQR/9/SPuuHsl1pNlfJEASKUp6lSvT1d5N
z4swViLlvfn1N3TwnZ0qtlDCmfuwwGIH21GkkslkmghakT7H70l+g4rE9lo0FTXgQ71DkxISIq26
8YpdO2JghMQ8ISi/0UEjuQ/KCbXiqhncKATRhHkqSYbpGr9ovOtf9FOgs6itactLyoSqE3R2LtfV
ZwL0N1UJ5WHI68xeUj3iNr4O8TmxtGBAg5UZEH5V0e90iWG2lVL2agO1+q/jvcAtteuDoHL6PXqe
bRejVz5ogScwqGfeVhv+OjazwI4G+V4ddN+X2BarR41bbeome9E543MOrt4YUvANkpCugtyH/Wtm
7nwbBePsNDebUfrq/v7Bl2mUUFgoCR2Bj9zKI4bLa8wzWt7sFrvBP8zuEHua+7yx359O6bLfZ5jS
N+VjLzp02ED0Hjy+B+4kR+gUF873xK1+oJkN4hc+2DTfy9ut2/XzKVlePxD6tPAOMiFnLVltqRcd
8rMRskr83QxdlR+qfj9CBdGKnEJ56LvEA6d1zlS0ge+ur/rTgZGgpViobEet5QTQujkeRs0fNOaP
/dO8yWu9nPSLK0MCkiyq5boW5jOAIAz1sw7mL9mRHsgtpt8MiO9wxF0bTvczu8YlomxDom2oSFUg
gt+Sfi32oyfup9voqd+nTnaLYAlBe/6oBvwVka15LDd29nOFTMKX7CkX0BjkDPjxQbm3n6O39FC9
Icd0sl6myIfeJYRq3epFv5uVDdfx+fRc2JMpXZha2g5jq8UJgqjUYcl7nJdBq2ysb/lgVz6oKbn2
OuSDaAYsbwZPad4hi6eXT42NDE+rvkUghciWTNawJQjyOVchbetymZ/FNiPWlWC+H591159UsUeK
yeW/JttB4XERNxqP+o0V2B55uX5SVjd1aSYEHZqtQkDvErccmkSdKTY1TKGiJHZ18RYaG3u6ehoR
V+HiwrSELbtdvYp6pV8wKpvh9WzYv5JZu2+VqdxDP2Djcl5d0B8w+Xz0NklASgOwmPwyQMiOxpNo
q4PgcyfP8rXOQKRDYMbomWQYeHWpcgqp17OTMHs/h1JFrR8bTMmVP1D+u/6lNnZRNv9YzPakhcBE
nJ17dSpujR7MOYldKD5Ge/v/HAtcLlEyjEwN89Es0Gitksc4fKjQU7MVAW99KsnmY1vEsxlxfCrr
u0UdgrqoGW34y/WDBaF0cN1pOkhDlx9xdrAM9KfTwcA6DPtW0UBPd1tQp8XtT/ZhejD4i6lEboSk
QxRUxj1NPXRN6O1WbX8xiE9u5exXLB/37FdAZauczAG/YqwPKnF0yBHotW8m3+LxHtS3zoDqUgwV
961wa9VoznDNS9wYDVha2QB3Es86c/VkP5fcY3zDi6weCMCATExfJBrlFFkzd8LIQ+AoFGKmFOvQ
WL0Pw8KDaPvoxFPmVqrmKQ05xvVGOnkxE3lvwWQHsjlomBPImVyusSKCI3AuYEbRhPJO5SfpVgZw
2aZPEMv8PESWoT4l62tVHEQ9mo7lJZV1pCZ4YFVUTkbyFdK6h2jrjv88eAH3AonN/4ODyN7likYM
MheTjub/FIoZ5q9y1LwItfHmqYQAXZ3XXlwEWT4cEDD+dx9zDixtJbqLm0mPAJwLaHkRdoh4HZh6
+NRHm5Key3X9aU8xErC0B4JRRw4P064ZIWcELKvJIgclFgjAz05upN7E8HIrR3/53+uG3CVauofx
ebO1QTKyvtFnv0GKE6tuaPN0wG9QTBG+1KYy3GQsVzwxF3hnqqXmDUo076LRmo4l1+v7bKx3rWUN
W50465thQFNJIwyUSZKX0uI0g54JfojKhBu2Xt+hGeOH0gaJgQYEpMYgrIVNQrvJuOUh11wEamig
ALQw6Qe23Etj0yfbzgZWYQ/4VytBf8ZPG/q4hnvdstZ8PfJ9II6xIB+HfMElilBGohRlvcQZxrFj
xT7ukESfvl9H+ZwpwMlhKoi8FhYTU5V9gZmWXLMEwii9h4sdQ+stNyEXabQlCvhdqr+GhASizUI3
tIbvY1l8aRrzsaKh7WoZeQ1bSja806prxJAfBijBOoQWJ8kF96mCi6kGJWqCQeyQhE/cRNZ7rlxl
aKGLzB9pl/nGmPnRlor2aqy+EJpRkBFpwJc/LWr8PVFSQJcPNRt3vKbf0ylxsvZp1lpPi+JfVoJn
of3aY+a9Lz9agVtoqPVDYyQI1HSH2R/Xv9ByouRTj++CjjNIHiAUlDzMZDZV1U5w1nwUx6R/zMi0
Sw3ihCjNF3kfhMkWM+2afZ8jSs+GsrfTaQIlo1uKuXIIwrVGTT+40bqGUmz4zzUrP8eSrFxT2nnU
B2AliKbtgTtm+VYOGyHN2mV0DrLch2exRG2A9kSzATLBPwpROTzaKfYxxEN+i8p+7TV0DiUZUJG2
XVzEJbh2Wx0dn76dOib/GiaRp+OdB+VvMGlv+OR1SIq+AbC7g51k+fez1Ymh5EnPsDo1rIAk3DrR
D5ONwhCz70LWOEZ2nyjzRl/rP0Mnn+wSYoyQ5V5idzktlYYdQ10K/onu+Dt1JwfP2FNxS5zUvVH8
yQ0P9mn0MKjiZbelNzvhC6Rn6WE88pfwS/WTbnzjtZjGxASnoTMdjfOGZEggiTamWINTRr4IBKnW
HY82Y7ZVYwXvoa2DxAHxk+SYijybDShXwSU/0ictKI6R39uotOiBsYuCxCsHByK714//mu0uHxUE
/iAHBRnM5dctSuQOiqZFgMHMqXzIpn7IvARe0/B4Wg6uiFrjqWkKc4v0c22x0BA3gAq+eXAgXwLX
ZYa7Hq3LbjbdJyRoc6j5bEWJa57GQirWAjU7WlrleVm1HYecG0Pidt03Zb6L4lduvzIruL6FqyuB
8AE+mYacsOxBZ3OcUlynOCAWf+66/k3UsWMNs38dZjV9Z+EeXRRrdXA4Sp66tcMwUkeMNKX2rRH7
LLkZcnSP7uruQTX8QvMJHkrspPUv14FX13eGK/nreNS6eIjnxYciP5uIA6meimxLq2LtHjpfnWSI
IuJzlA3YxdikpVsT89cCurc5zV29zM2Al53mVXm+QU6xjmvgpQT6QdzJknszhrwiTYvVzTxDP4F1
05vMm2aQ20F6LNeUgLHf1/dzzZXAg/yLSKXHRNhmvCe5CldSRGC4ubO7rfr6aohzDiGZCl54tGIR
ICyU/soOJ8uPo4doeC8Zhpn3OuTVoDB5fVlr9wSaMTTIEC884/JGhkZpNLMwYCZ94VvGx5AXIOQc
PNK3dxzEmC3NTuowHf6/UOXNpLjfk74HqjXez+W96B70+K1WHhq6R4dGRTesZe0snC1SLsjYxO4S
hQBuEM9FehMTCiblDX+yZpHnGNJ5K0CHzCIdGDRBWQ1izjR2dCWFaoA3tf78N/m5czjp4E2ZlUyV
Cjgz/pbm4Oga/brb+EqfW1qoDuYS3OMw+4VWRwIhSdRWDQIJt5vSlKOPvo8+IKfLfvA5sQO70PLn
sbCSO3Bj16AarSPlPstVhnJIEg2nuErTmxbTclsCayufE9c56v9gxjZUFEYuLyErt3nZ4n29iCSE
UIuCVpPVb+l5rp1GsAdQFU9qhA+YFL9EqUFkXJAeicJhqIyTYlX6Q5QZN+kIKn4U+HZTrw8eYrhb
lIYmJxbF7F4/JGvLBBUgxoRQHWVof5N+gIlKepbiMRtazxZ9KKy9ttm0tGK17BxDcjmkL+fcRs7c
bcH2liSzT9vCGWbVM8Pab7ly0lvTiXtMQGlQ1CW2m2S9o+aaA2WH/ZSn3kh09NF/NZETvL76lSjg
4pdJ58kyIcXeLInTOvJt8jZ0OEPHaKvCteLVYdwWo5g5h4SOnHBjfdogjYBXpV7/TuqXuH69voq1
v09Am7lQBCIGkD0PK/CGZyb+PrRAQbeau7jwryOs2in4DDAxhp9vfArJorkKWyPC46JgN3a7Hxvf
KtzU/KAYkwHv9jgg5bJRSF/LDyDf9AdzMauz10UdG0zrbYiHkGdbczDN4WgO/UC35B1IZMVbc7I9
upH7XTsNoB+AxB/IL7Cby7+fQaYMU4C0WJ5ryillOwWPtk193ZXLkJ1jLDZ5hlFraggir2VZlaep
yBF5c3Yb8lcVWuy6022FoJ/7MeFfUf9At6CGwPATNxTEqkytGfE86dzeU19H7vQOyiCuBZkxfrLu
VVTwlZsWHMRbTS2ru7mI7YIYeHkhSnF800zRIhyB/IF2pPGxHL9amzOOixuW3oJoXP+DIRkJlApp
l0d4GKk70+H7yNc/wlMX2LvYYU+gStvIEK0vicFjI2+1dJVcfrysojyOZyzJ0nAr/Biy26ndgEA3
ztqa8J6G8hBeDjjTlyAt9GymhCvCTRVevaq4n75D2K9/o1ZW7rsy1L+mTW4fQi6UOzMX7VFkWuYL
KMnsw0KND5Go2w86huq3ShThXtWiORCKgbkcPOjIruijMBgjvTuqbO4hf2jm80cyYYyNRWMK8xip
WjpKZYFyaxLdbctT2EjDSpc3nX7bTKZyX1doSHRUa5p3lVZF33Shpbcs68rHsGzGExW8fUiVukNW
Ki5tdDJk9hjwDgRdkap/t+akEz5mCUPd0XHNvnQd57gVen5nmDU4fbnBxeyWBF0gYGUwG8uZi6l5
a1lCd9i44QlXSnTQjErzMWEWz07XWXQfl+CTQ2mqqk+ckOWXYfyut2zD06suz8EiFAvMtxVDUDGj
DtR8sDFxjnbsPUoFw4GFGY9cdY7Ja5TO1nFgEN3E6GBOuI+J7qnExJtKT3qJ6btosEfhlI3aQLYa
mxgMGUYxjXpWPkYN/av7voN+R4ehHTsQrOe7bLbZl6yN0XOgqsqLwBX3dQ6t8L4pB+orWkw6SE1R
kjq8NSfqkTSivY8+au2dzJBFH6OR3aRZp33DaK3+ixZcfRjMVGCoTON4U4Z6lnpKXqTvWcIwth/Z
RfozD43xKIiSvQmt7w9FroFOaZiyW/zfO8zqWbnbpia5DZVJQwGWxAdr1MWtzo3Kq4sZ0qIVykLv
dqWzxyGPbOHYXU0gTUytdAjCLIrSXVfG+qEAW/EjZgWqAHMmNqZrCJmOypAPX80+Vn1TqVFUspQi
2g0aVdFKw430AfTkzV0aVgJTs/YS5thj9BwlWf5U5DMrPFHG5aErquojoixGkV2rh2+0F0rtpNo0
G0c9TtsvIjGVQGC05Bh2KnnJu5KEBzokfN8l+vyoDSTHIORkuEqomI+GWYUHTNEaKN1T1PD9qqtC
zWE5iicuFcnU79KmGR/Tsp8gwJja4WkwlGzPQqXbh7xUQCQ+VsX3HI06LwT7EjtVXCvPkWY0uZeb
ffpSCDo+61GrfbVLW7hRaoMqW5Qif8lJX30zUmQeHT1HC7kTJ3H1Xgyp/RjaoD1y8pKQXafQ7MYa
RjRodP0YpEUzvOjVpNdOpNTF77EfRl9Dx8OLzji0t1MLRWUn04ux9DEiHD+TJBSnjBsxZIHxfn3R
J10JirAjsaMWagr223Ac3kgdgcs7zWrbyQfGbgbwh91FpMUBLlRjxCkC51aclf3NMCTqBwipoROZ
VBQ/3bDCzJv6wrzLaiS+HA1WdqhCrsB1sDqZdhw6T0daK8nDJOYO8go0rg4VBq+C3GiRVzdmCLo1
rTGeFMReP9GHO7yW4GY5ZFZqo6ENxQLMncZ+Hk1V7JV1UX+LrDC+gzfsPKXOpu9mpoOdlRIFT8h8
jDGuVKI9bZ6m6Ib3HK87e2LhDk3V2fMIdx2ootGXqQcaHQq7rAKLWMktLQvxpIRTvGcxMXAckhIH
icWtH5F8xEDt3AfFzJIPTIwqDp3izs+mxNwPqtmDYjEyeq+uJ0jgKZreVIEJCsaATiZoJWk1+Fzk
1C/6xBh2JWO17VoZNaDgQbTGdoaCV62no6c0Rt6iRvuKUUKZw+kpyf3O5C1xzchMfKYlKdhHCFKp
eTMqM1yYUU/u3NC5BNtYk/yOWQ610rGo2reqsEN/InX5YdKw3fdxmgQTTZsPEintvgKVtVsrXevX
Zl2CYgebHufK/E61Tv090MRyTDMpHtEmZp6iFkOypmXNBw2G+NplCjrSroeUq6H3khhTcX/jnSUH
B4bahFODmzSz/arCyHXqTJVngdXtOs7ajW1AyR3PLDRbw4ldXqaDLvC2TBC5kvCoK7+g9GGlG2nw
LYglPj+L6FRjwuTXCIjOerZ77nS1p04bVcctjOXfzzCKpO7B2YLI1Cp+V4mfFPdj+XR9p9a/yJ+d
+hSYWh0uIyyjhKuojHer+Bqid7XeSu+uPVfOv4j05bmmxxEzgJN3R4O8iv6/J2LY+d+XQkIo8g12
SLFVVeZXceo2xptmvV3fq63PIcWBItFJn5ZYQ9scRfde289J+HgdYmOb/nmSnX1xO8xNptWA0OmX
OK1gVf+VzQ0PA8itGibyG/hvck1hUrtkUkGL42bakY8QNuCOGm494tbi83MQ6WP0JB1MtQUIe8y+
VXfR3bxXXOZ1wdBjsq78pu6v79rqq/EcUPoySYqW1YXsB5NZGu62h3n/0N+g9eqB7F5tTz1tPXLW
gnWwdy6Ts9CpAUHs5cFULUWv7BZ+bMrQ7zE8WMpjZ9xG1j26k68v7fPE8PKSO3sXSNkKQtOxHhK8
CwwHLaxB/aU93A9+ZLlsJx6YZ0JVwRm+tEfm2Lvyd+7iinilmrMfkFjxr/+WtW6Mi98iLTvmypQQ
KxRuT55mHqhoB9HMD91+X2busHQFYsRTQPvgOu7aoUCLso3Od1SHPj1mwTUfF9rSMag0u2rMnLSu
N3Z59Xl+hiA586gr9che2gXtbvpaaj/BA+bYaugwgooX/wFC0Qfabum2r+ZXoL8FuQ90RBiaXPJq
REMaTfzzaXVwbzoGEg97yOVADOWef7++h5tg0pmsGlN0owKwxEJujR+MPuhw+C0j4PF+5O8h/Smq
3xugi3HKD/XzFUrnsqgFkv8ZQCEJRPb1z+yItLJLf6geJph3+esG3LKGz3B4bBjga0adT7pkqFpV
UagszSWP9Yl46eE7d6Pb1jEzh7v6Qxg0BxQhrLvofqtatWZA6Mv6H7K0u3Y9x1G4mGidBuUh/R2d
1B/1m9hkBPpH8PPaEqUdze2Eh3UMILD6gvLrLZh33AGdv0Md9jO7NZ7i73ju3WGEmd3Vr9bGOVnN
UqCDByxnoB1GM5+UpWjwqNNpiQ96Wzy199YDLUFqVSHMcjGz7YqvxcN0g0e17WXvf/Ntz5AlP2jY
cWHHiym1XyzDuUdYrO2YR0yn+GHFzhTUDveaG/5d7PocfCwb6KuGfIYueT6uECVH4CzcCpPwTrS/
10wnfRs8DKLueLA1h7J2vaDBAjq1iGGXPovL64U3cYpRT3zkIrzj3BlY0Ja7obkNt0pLaxHNOZDk
9/qpnux+afBV6peu/kKiQ6dumMya8z6HWH7CWUQjKpgrX1zrbB7GDI0LGvmLkAZldtSTCLEhJy8d
icJG1k5f+hTt4WaYMKTk28ZGiniJguVTd1bMkBvktSZrVK1HyUCZrdNgpceWJ55WcJeILQHotW9/
HlpIn6TCMzTO4yW0UHcUo7+15VD2OCe7wvY2jHop83xalQGCL7RdQKFD1lkXaWawPgNU+CjuTc3H
/dMfoU6i++Rn+HQdbM3SFp7i/8OSA1tdK8MqBxm622ueRe9mGvTD38TOJkEWHwWEhZ/o0tLqkemp
FqKZDnoIhg2azi2ljFUr+AMgcy2meVswK15KOv1rPgQsvinCHSMbwezqTqGFGaOEVMN/pANjqjyv
mm4pFZi7IQqUKnEwhH39a6ytBIQsmG5FlwOI3CUHU5SzhUlatI7Ece5k6CVik5NCw0/413HWelTY
OZBkzaoiapq1C1DTlickhJNjjoSkb7ZN82DWmDqrewi29AzDhqrWeGw2gpRx4naUb8VbaycLxTi8
etCBCrE56e5KWzIXs45HgpkEqo5BrPgpUm9aTN6N2ka32prTO4eSLqu81CsEC4BahnY4eRzirVam
dQSGZnoEOkyTQx2SppkpljJL2+zK4o70G4dp1UJQoP7378sBTQ7JmHrE36/yn6ITXpQj02mbPuHl
hhtaG5j7h9UCBIcqmlTkiS4YIlo2wNXsWj3zMLiDaFQJjChzSuSbQcuMXmvT0SPuR0lxwlDS3YS8
/dx0yGqDIQLz82RWHT7Y+06760IbSeuNvVgch+wnF9qNf3+gZMRtX3Rzt+xFp7xb7CFmxyz2Y1Bx
tccKNIFbDZarW38GJzkA1AsQ7HBUtxL0ezS8BcPk5OrFPkJy9/rxXHM15wtbfsnZ3ZzbwlDSCQsT
mFggr61yp6obHmDVTi1oQCEcR3lVttNByRd5KPQTCv0UJxpq7pvNTev79QdCMtWJFRQFDOwXOK4r
N87c7i4PIh903h677w6Kl//mL93zJh3o1tKk+6afzRgchsDFBBu/ax90xUHhxfmpnnRPwaBwCZKv
699r1YP92UyZD4PnqV2gOxMdf1x10+alMYM8/ZI2JyXbmi5brSCzMyzJW4ZD2CYx6DPBkDSfyA3x
kF+/s93S54cGKq6gSwPFn4Hw/2neqIVu7KstOc/QZvVQ6TCZmJf7QvATo+lf3LHni5Puv4bo0yhC
bKTNul1BBlQecic10w3j3/pekuOo+qSmGug3oM+ioLfFMfPeqRKP9s+DSL3rtrF+lv93CmSitalU
9aln2DW9pR4rXjOWOMza2Ld/uqw/u8I/KJLHwOQtbVTUe9zkzT7Rx9GzgxDj1MNHexMG6bF/mpwt
c1j3vn8gl00+c1KhqnHTbvCtIggTYb6mbm6n4bZiSLwxL9d2Ngmu7+Q6ILrqERiBF112WVrH+Gik
HV4sXwaoByen5GE+ggDp/TrMemxkQ8jXALGu/WkkrxRTMlAKHBMaL9kxHO9TTI/p2jsb9h3aNKhD
NRedcg76izYcyaqxLO37KLwS69PMZT7OCYqTgI6bY97Frooqbyx2GwtcNf8zFMlYemEmRrygND56
rJ4NZw74sXzPSz9ibn0zHapn8aos6vZb7/Wt9Uk209N8Uthy69jWTpi7OmswMvo3bupsddK1U+V8
NmYDGGMWoVsezr/bONKrjvAMQbpgoqEsuaIAAZ/RCRVwuG0NfX0meUJ2GQNIaEeBEjp6/peNPDtc
WWjrc96O6KRxhx1/Sj0jAI/Znr0FBTI6/S37woMYl5oVNKdXEHHtNx4ia9O/Fz9AspHR4Ba6W/ED
Ru829Owf/KY+QHWMHcQdcRQPhJHHwr9ul6vn+2zNknEUBvhHigxTALklXgRiICfLhuYE+XBoSZEJ
Zcl0ekKbwjdMIxyuQ28uVzIaovOxZRWwwZrcY5jas+/Bcbbjj/m7cWvGrrKjtqP5PDA3bGnV20A6
HDmSRXkJEumXX7pKhkZYy5fmRvSYWWDksV+GpkLJujz1jQmOTPWxHr/P7RtmWH2qbGkjLR9SvjlM
HRMeGhi20HIqXbmDkg16rWHlmdASEajmpO5prxg/7bQEN4VVaK/X93rNB8CwGfrfoFGG0ePLBY98
0Nq4x4JBs6ol4GnP72eQy10HWXNx5yCS+QJ75CUFSEx+cBN9G/sUMVFXvzTd23Wk1f07W45kteNY
TVHf4SVdjhDJG9DRgWYp0MC7pP24jrS1cZKNIhxiKfot8LS0v0UR+EKezU2J6yV6/GQNoDLCzCOE
65C9u/w4FI0UjbIc+8r05hMFxXB2Un4Zx+Glu4l319ez/K3PWBbqg+g6QNQnYel6VYEaFhMdefjN
BAGWiZ62El1OECW3vxElqKLv1wHXN/B/gPIMgpV2mGQEWTwebcRnI9o9GXjZ0Vh1HWb9SJM/OFKI
DpUHXZuqBedY9+5LIzz9Jxg+e/R0Rq2jCe8/M8nhtkA38787SfXLr1YWhlbr+WKDScByn1IvT58J
3XBVa9feOYrkKYxcL7KuAgqpv2RI55cbydytv7/8+9mdZ3I2j1GmIjkzuqKNnEFshVerFreEdei8
BbmTnCjsRZNCsFFD4GM+1+3kivGtVilaotDNdeATyqV8wxZW/RAG2zDADbpe8INdrilqCxPdD0C0
tRMHrXMugjwCi3WnIYMQXLe71f07w5KsQLdSxTBq7F8Mph0FJX6y4epWy/nLqPu/q5EsILemnNYj
ECqMXoljWT8X0VMNYsZq16HNDVkEcdSiYEBjnoYBpnwrKFlW8MljoIaog1Zftz5F5uGQMQ2yk0j3
xxpkFzOzn14pV9A2VwurAJFemKMEPlZPqcmye3AtJYW7dFLeamAzqR10nG2dvFWXguF0zGWrkBqQ
4zRTj4aqCQl+Uf8swDg/HFvbv/5ZtyCWC+jsWJDMniqeUoSCwrxLuhxyUOIur7MNS109G2crke4x
XC69xWfANH3a3hgmRJlDRTuKcZG5NMTRslNoGIvohlbFVr5rNfxCS93/tlG62oa61CbwCCfuEyRc
jHvdDz8g1pDv1RvyCIkoX3+C89xvvWBXD+cZqnQBDW3Hjb5clkwWLu2gTp6LeFdAmnVrlH71aP5B
+ifVevYNhWh6K6qBFEPqp6ZQtduiWt+wEtnRmKQwzboAQkrxpioDHd3SNNvordtahuRh7FEr0fuL
z9RrbyakQcbn66a++kEsAil3kFBgsmVZ5Nk25ULko1GhnMeRnlcNNwNHW3qrhA8YPbqOtDrohucZ
3tnwZxhrlpaSpJpIoRuLK9OanJDc9P3vNAQ3/Z1Sp24LyS6yN7OPKbwtjQcMQm2gry0UhY5lbgEJ
FCaHPjlN4pkXqEMMj3ZAd8XTvC8Shx5a/wRGZXQUOafa7SC0vdG4uI6LFgEL4kEIvpd/P9vgkCm5
UEK0seEq/FbHGJodv2Ik4H40XggISK+vcs2jgIkHjBUYuqZI0l+CFQXyG9YynqFT1R3nm0x8H4nl
GIUb5zd94jVbInargNDKWyTfGf62BKiUCFFKpEfRSlPcTM1HYyENOt7FFqh9w+hlziYvAi/C9VUu
f1S+kxA0WAv9OEaV5Cq3iXyNmWuYj08ohniSg97fTP1W4LIKAuJPtFlhOJPKZHPQV+xQVEKurYbo
UROCdTlWd03E/OtrWW0kQw+JjeVgPtiQ20jqQU9YAjV5N+PpLYSb5wmJ+7q5I4z5GMYK4ip+oKb2
NAkoT6XfrqOveRdQN1l4A0M3F+XAS3th9pyzyl7eHqDdVsZTX/y8DrC6i9aSYcB5xxipBJDotBpV
gvDBDOfd0vNaKmoQoWXvOszai9A6g5EubJWkFmgYECXpJsg3dIyRZUEnnulfcE6xcxzpMGuFNvTg
oEe8jBiWo/8uQVOnBnaWrV7H1XN1tiDpduZWyLpyxr4VugrOm29oLqLpc0vvO9PLC75vrL/oHEGI
h2vAWpRQ5LaOcuhsta7gHqPkOM1fVLbX6r/oSwYLMZrdQVtiQNP70tgUIpCpVpADtYWArCYoCHE3
b5XA1iz6HES6ZFgyCxrnAMmY9aCy7tHOn67b2hYCuVwGIXlWTBm8TwXSZg1q8+nGp1h9zKJrA3K8
FGlINNVeIiTqxKOhxqlsrHe1AAnCzaQ/K92riB+hyhvfKrfIgs9bb+i1M3SGKr/UYsTaqbHkb4Zk
xjT0W1ubTml5EHG7vn+L6cre+xxHMoOoVocxhyCdq1Us33F9euzH93q2H9j8IwNRCcSHvl9HXHNC
54iyTeQJKZIChymBuiVrMpd0T0nlXwfZ2j7JLDK90aM6xLJ6ezcnsTMzpzIdEm+82LdgFus8CycK
sxnIaAKmxIszHScnY9/bYV9u0XivNsmeb5rkuemkpaaOdgTXQE4/mr7NIT7YbVg+1RDEjZISWus6
Irm/aOZAuQmiOqgGgQdMbie3RYRRpeU6THv12ObmXd+9XP9Qa8drqWjZNv6zuDvJiYdGMYyYmgSE
Wd1VS1qgnB0ed04mCMbHK6TDjibJvcH4MkZf9PIvSOzQSwI5CYxYg3tH5s9jfadlXMcloqJaPhQ7
gfkG9avBN87ZitVfwEh3IiocEU1MwLQtRvfa8b6l1e8231IWXznOFzDSbrbdXPV8IYlJG3FLQZRn
Ytr1cTTt27qARAfSA9c/38rNaOLdj/4JUAp97qIQ0DytRIOrXrDqjeqFH3e/4xCsYsMzTAqTYN9t
qHtfx1xd4xmmdBsrVBmMqtUXl+XV83OdPDoOgQypaDeapVa/Gd4JiGvB+w4+kMvTXTZ1FvEFaJiK
XWfFQT9nx2qONt4kWzDSeshYR+agAmZsdxV7EE2QxvvrW7b8UsnLm6oFaQ80nOIwy51MbViVeYKR
R7cfMIXCfbtG1gqj1ZnTbhVXV1cD8gcQNSI4Q4njctNsFcoO3QI1xoPXsT0ZoVq+lS9ZBzEs/DWo
ooCg9xKkyQiGWw0LWSfwS4CbcQLVhBFt3Pxrdqap6N5FKI5tkzlXomjUlahT0NEutF0Yo7IhKIjn
6eTZPURE0xGJU15sfKm1lWngRrDwkoJPkp9wYmB4GJcRSPdbS3XtOqs80+6HgJN5Y3krdxc4af8g
SR5pnk2GcVIsL7YpqJfoCSIYhyiPPdw0h+vmt7YoHZ1WGHlEXeXTQxhElmFqJ0gClyPzBxVc4YL5
U21v3MZrVq4zvENh6wyvOOnSr8zOTguOFJCd5A6fdhS7aN0w05lEcH1Ba3t3jiTd+7GSzaCuwoJy
JQBvo8PM773t9+T5OsxKcGuewyz7ehZeaIquRlguYIz53hzsXVGUGw58fSUmnu04SpAZkk5SmqUm
SqLIaGX57wncV/a72fmD8TcGAKbef1EkF8cTjVTxkiXuyoeigzazP46763u1No9mgqgUmR3wNuHj
S5tVjn2WqAutV4ZRvvRneeJP0/FFcdObcW8E9Q0/mEfUc+9Bzn+H7uWbx4VqZGsaZM3Sz3+EdKh4
ltndsPyIdrobjTel467abHyyLQzpk9XjUOPGBYZFAxp9GTSwZG819K35PhTkbRNU7mCBlVNXY6on
4JLGnQTmi+9lFp96kt0kRARpmrpGZTmWBimd/0fad+1IjmtbfpEAeUqvlBQmvXcvQmZWlbyjKMp8
/V2qO9MVwdCEUDU4QB+gsxFbJDc3t13r/Aku+RLzoMScnQMCkeyJWRjK6nmEdSWiBhbNTYpnoykq
2rLIs+sA6B39Wu5qyWIcipSOS9R6HtUqLEZTkBt0xHl6X3yLWgMts7MRpFgx7msrlE7OZOiMDm3s
6ljVlcfN4TOslXafi/atEuq76kZVECbuTYF+5JXNXSpdYUJABbrkjOGC/zu2JamI06YesbtoIdsY
SbIHtraniTIQhO/w2CAbmfoAVnoQwtigfzRwok9Vie7yeMUWnFocQL9YoHMAkw88Kzlf2OfAcUhA
n+blnQuIgX1Sf6TOm00257VpWYP/aJNkchTMEw95jfVORBu2ao18ISA+hV8Q5XOowne10q5ja62i
cro4VGkwVTS3rgHKRQbLiaZCH2tlfoL6S0RrxpDRKfFY+Ov84pbylJBjE82eR5jQD3h8miZQPwYg
bcHY6fa1mtnemNs+CKC2jZJeFtk7d0D9DtAOKxp3kdV9nxe/eG3m/CES14DIM4xj6bYQggHiCTFT
9c2zAjcl2eiRgCfxiUG4Fc1d3NIDYdJba1hqEgJqG7kwoMnX9ks2ZXu3jTaW8i/BDH7uv2VJm2oB
tiK1GZY1xkAfUp1LUhK442TXDdVtylWfxZw60+osytoK578fPPMlPgnA8JAbp/UOUMJeaoGIDzAU
AKC+HsbRQ3/6XYTpQT1Vd2HHH4vaviVJz6nC822TdVQDbcI/HPEfcyGjxAF6Jmd9N18fFAzyeONG
vm36gF2j49d5SYsX9UCStPqeMKAqxli9OXyYBi3yXY7iF5pEwnlWVKyo7uLjeSBNMsHVCHgwY14X
mNGoOr6FSE9r0ZrOrkmRjE/cZ5Zi5bMmWRgACQCTQuEErxzR4mtysJT57wdqY3Cri7XZok8dfzNc
fhV3ti/CF8w1BqadBEn8WWI45vxprazMlsI7cLDZIaYl55y77oM6GxwMybZW+IqPs+T5grQOURCw
70H+I4kheVtbLog+vYiAvDq1d8BU2v7LSv6I0I+3D4M9yRApsCutiC5SEqObP34Jp2lFzOLlPliJ
ZCsrg1cOH7ESc4z2rK2vNfGglQ56fFZpgOefkqN8eGsACcWkIZrKpE0zXd4qRuzC+QS8+jDQyXrI
gXpuvBDzbZg2XXhrgcHdBNRFF7RrE7tLBWX06v6RLu1nDLe8NRkWqiORVpn3dnwRO15fX4KuJu++
ABqEWwCGQKGjRbAPzh/mohE5EC7tckv6pmNzQqBKgDOdehMIu5POj4rn0qXmGorPUjr2aK3SmxRF
cR0XCGm9eLqxRFCj598S2ylhcN8eDOUh1/1hjQZ4UZHmXuj5QhgnuJ2Km/eqW0FmHcb7kgkQmbVB
6SjbDks8v5uL7/sMywwMKhOpWUmRxGgVY6gjNWDFAi2JWqB05jZHIDOZb/At/9ohBHI+vBlXJSoQ
PeWa61hFpqWYFeIKg7SUZfkP3rjC0yM7oZNuPZ9f22LCGe4nJgiBxQBCXUlVosp1WtWCODQ+miBr
ra9421S+xaNhD1hbe9vZxjdPmpYOTlf5xgDSwTqcHkG7ukZvdrrPcIVnmH44Uag1y8a0r5jRoaMw
90ynD/QhBz5B5setSXPjPRpM7/zKT033sTTpgk5CF2nKII1PwCfX9SAnd83w18nMWQhQ99ESMGeF
5484eJT0OBsi4iYYXS36736whzuHiOcq5dVKsmdhNVAWVOptA4Mqlly/tEwlHuAG556rfLQAHeuS
wF6DCDh9YY25jQJAyCpaGxw5zah1Q59j1gzX3P7Kw/2Ug0pnzwhgSrLLqnodXv76gOa+H3CuIOOC
jKP0oKtcRRouGkEyOgaKs7Ocx+nvu6SMQxFyH1at95ZKaohgzXUevTcgii83f7sKncArQWeRiSt2
wtejF9wY4LDnXpq7F2YHrouGXOerGYoFG4za9bxVc//QTG97rGk8jQRYOQTKAMmDU37W4r4C1dEo
PHRexmXQKspc8ju/tlMbDJlIbmNewQB8vNxAoTh6nFQhZKaFp7WPicNAsLSv+jUk7jU5898PbhHR
uzQCICj8R+Lx7nEsN2S6Zebr/99qZvN0IKVOe9AdOliNBYyf2MHAvfZoquhteTovZ+GqYtdgc2fE
X7CFSBa3SWJQYPJ5NfljL+5L9bZZ41VcsKRHIqQHObbqyXVnEQP5isheY35UoSHp17RWxzt1THE/
VZBaYC4ODbhyAxkHUKQyzsMbQ30fMfdBdbqVqtOiBAehNTLleJ3k1jhDS+MwCVFS65jH01fTWOlh
XNItUNHZYNREkgLFk+NT7+J6bIff5TPy3BobI6xoFt6WGOc+f+prcqQYSB9KtLv2SF7bhR/lOY0I
gGxRzjVX1rO0Xygeo3yLzC/AwCVnpeOIRmobuWXm3urVz7zXV97N35njY78aWQEkJoFmAGQh9OUc
75itkFodBKK5+gozUfsPPaLEb4Lwo92OQUFV+nKtXxgbK8DE6URfC0w7iIvIR66AIhuCPu3PMIjQ
KQK+qu35PV6APcKn4RBn1rK5wiI9twzzkeVYIhzrrJq2w5PahTQGqhTGWCirrl33l2mn99zoNll6
r4p2h+rpU6cbvqoxACxXMF/NWvC7cBeR2wO9DJ4awITI1511edgCYRMhop1fhlN3yRJtazTWZsS1
HKc1TL8lcaChxa1EgQEaLW1BVYEvoCfQM9ZO9ftIQmCHFpNDdK/K8zan6aiZAEvrGmtXKgWmVk1T
EDoNpL+IwC8buN2UOxRAI1UJdk9nBllORfscIjd8Z1XCtPzzZ7ZgDfEEgyodbZpIr8tlRWDXTtxQ
+txLpt1ovqrpFVtriloUAfNhqwDDQMOkdMVjoWtsInjlxfCIYt6YXcGfPr+KpecXIzd/ZEjXe7QA
tA1Mdfhf7G36MHG66Na1furJRyfu84hRqytWZC4vy4DpdTHpY8jK3tS8MyskpjyL7aPoVwKibOPz
/LJO40goLahA/68I6eENNdUpcOiA6QyDXtllv1rLT8ubyQ309h8c2ENR0iG5Y5THZgdRLkipI23X
Jx+o8p1fzsLdOFqOdEhZN/atpkJGk4w0yalJXkanoK52aaxZyQVzfyRKcsc00rBQqyGqr7415SJv
f9WD10fb8ws6VTsHhnh2+jRUiGBdJDGJGrdKBzpIRN75gCVxsHGBHsFJkp9ZjJZdEtc+Hr4ygPsU
+Q3p2a/zX3CihPgA/AAGVYF/judg/vuB01SNg17nHB+gNSKi+I9Rshn7r1Bp1yj0TnTxtyRUMtEZ
hUhcRmGcc/wpuoSY55rha5kL4blAJw84EpeDhWZ5dIhSZpFxxT6d6IwkVtKZFKWp0NAgtkHLIVDf
E+KbWU7jMqTRXwNoSrKk0ywZw2SNgs1MWsDWlTjQevcvx/XfJp4EPAwFthRyvMS5AZg27ftLttbR
eKL6x6uQQ1GnU90p5NixCIAuTEH3mk4rNbrljVixGfN+HHkisyS0bMAJ0fT5xZeUTx+zvDOxmgwd
4qQbULzDc+W+TMbotUl2V7Cajm2z0imyJlUyiqqdxFZottCI9KIH+0JtX2FGhY6aN8wgR/Um5sXm
/LEtKuHBQue/H9wyNe6JirIoUPCF7teVBszY7jErG1+1FEynrPlRiyd4IE7S+aQDnrXjQlxujSD6
3NvivmlHz1h7mBfl6Dg6zNxges+UloU+slIbRzj2tltdxiHxLFEESg1AlHJtxGZxBw9ESUsCyoor
LMFhp1rgCXzawy7JBtRYSo/Za7nfZVmIitF3A0dZDsU73enrosQFsIzOoWP1SeL8Ahmm2EeObcfM
1eGl2ac/uQdzGP6/An9zch6oh0WUrhQq7AZGjPZqbV7YSXvZRuq+7N543NxikoSipnTVFCquSb4/
r5yLT8BcKASmI1JDsmFuhrwKc+SbwYhS+2kDCtrpK7TCFTu8qCsHUqQDrECi0PEUUtQ48ZVO7NU4
3XQg3c2tauWCL76qwPNAAxCGAchJXsMB0jqLCshSeKCLHLyaaKfMfT0C34FJnQiEHwY11/AuFvcR
mHcoZOMhP3nL9c5uirzvYVdGUMDYfU01I/Vtha/kJBft1x85ci/9GCt9WCiCeVXmernxATravgRr
MSBYMJFssW/LNYPzKjIfzomCHoiUgtLB0UtLMSAyx4G5sY/3WhRe23ykWklVe+X81qTJmV2nxuS1
g400e6qHj5HyYLvXsfmINFi0Fm6vbaYUDPd2aZulClm2aIJJ8ZGb4hOckZdSYG5J8zPEu+f3ck3i
nAA4uOwZaE7Q8geJGvr4OHguUjcKeuSwI9xsFCOf82S4xYDOj/Ni5589d4TSW6uVWiKcCmIj9KoU
Te7HQDY+L+IUy2x+z+FKArnYRCeH3Eihl2jmJskI70S5isULa954e2mAKErfgUGElbvC3ExTTsP0
3lHBIYUxQuuSdHsDxKNR8rfhlfQx0j4z8LeIMceChf1QdGNQZ5fI6K0IWdzVgxVLu5ob6I7rG6w4
yy4MNgTNyP3zm7poNzEhP5eugFMqT9ERHFXOxQRbhi3UxI/WDGeIM6dZq7cumq8DQfOHHOqlaYR1
2kBQX3NaCZDrGC+avWK7ToWAgQkjGJjoBKOGKvuWLNf0HA3AMCRIYiigbqo6cwNk4b8+lmMxkgVR
SBIZmYGzB1aiQFVRBXdLwteg4E6P5liKZDsUABtwwbEYZ9L9In1h4Pdqwq/e+vhbFZjlIEmPQVF4
CfLYijPUVprb8H1Mbm9BhbxjLgEVV8+3va2vZUJOzROEzWPMUDYNmi2Zet3JphqVKIwrQw3i8dFI
PYf48cyHmgaIPXBrV8zG6R06ligdVhEbdhblKt4ze7ohLaPcje7P7+Ci2s3dF/+bUnMl3RZkwATn
iEUpRv5Vlr35mpkk3IYZOKTOSzr1HVHQxuANBiww+IppxONblNfKNGijiaanrAKH1k5w48Zsddq8
I816XtQpygKmvsFnMLeXYqjyZOaxays9cwobbuPoaW8b9XGg+n3l1Zfoncto4/dvkdd9aWuzfL9T
9sdPybFc6cA0hGbOaFvMI/TJucivprs2mG7F5l4DTTqhHS23Hf41iahLn6xg8MRru1UCx7cCUJLu
0hfNs6nqu151Vfk86F+NH+d3Rp+/4NwXSjfTqSoGqrL5C2/jbfxUv5Ig9hzfDfAFl3XQI5k9XThU
fwDsWbw16Crg26kLc7xFs84fGNNJBbR0N+ADwM7I2KtmP2np3izuRgMvxYpyL7i7x8KkRyhR9ahS
JgjTc18zrw0riEAXpqLll23C+pGFwVSvmKRFNT9QPelCjb1IyySB6s21NqNDZwMBMXpFRbgjay/g
0l4atqai5ob7C7LX473EyEAoKoXgSlV0UAyK+To6CsDnRcLv2OVaz/tpMyqu1aE8Sb3LBEToKdA3
vDJ75mheUG+K+gPRn+dW18qITqSN03ntGkr8kt1FLhBzHogcABYuGY6hHpQ4y0NozHALZkUlcWke
BRqo+TJ0UarPzlqfypJNNOf+FGQeUf2Vy/NuAuSsEawBHs82Pfsg1csQrtzD0yYqbOWBDDld1Vh6
rXOm4OVi7HEqJ7/rPkWWfJjgfmWjdqfV5mVt5b7q9JgVi4JsesX4xopJPm2Rkb5CUqA0T2J8Blba
97VXW19NWN4XQ7XRMD+Y6C9THyGUuVKUZMtEh1JK/rdpa0m+pFBZpVmFW2IXbEzVNIBEm8zXSbuy
0jsyrIBlLmnR4YZLhq8qRd2QFktVke1kNSg0iG90P4x2A2c7a3dE/IvxOZQoWbrKMlLSTpCYjU9p
sx0KL6oKihqjz8VzS6IAJMZM/ftM67FiSSZvANaJOc1SB/JcAcrRXPO51jZSMnBOoVltW0NAW04x
jQDCowAFvS0TjI5UgWGEL6VS0qm0Hs4/XUvG7nA7JTOgtGFdO8SFGTBAVDQ8mhlodTjx6vhnmu6T
v8/KzPuIHAlBFx64ZiR9mTjGXXMVqhkVv3oukIyhJUhl/hoj8vcN+CNGUhK9CYVG5hvAp3QXtuO1
yc1A1ZuV6GLJIT9cjaQVVsIjtTUgRm0fyn5+lIxNWXsEDbfnT+n/YVL+LEhSD6MJxzRSIInFtTfk
PLCSV3vydbIFkxW4FeYQ3vKm2DestW7GxfdpHuN1gCarAVVYMmfO0GrVZEat1+dW/7PIzGE7I1Ps
y5qA1KorQvGg1Gb7Cubcxhesqy5Mq+4DlhZrbExLXoCp6Zgp1UxgbqizMh94OUZudwlhcesVwvTj
9KkGuAOiBNMMSLJSKvhdC5BdukNZ84U9kBUOlkiyFqsmrPMBMwmZEDalzw3GRZj7Xhijj2Vecivb
Nrr9TsA3qqLHUwz9lSp+KU6xgfrvc/Xb1WIP49FbY1C2aRI+NCwFOwUY1921QdG1/ZFulxLXGZq+
8c2K+nMo9z3b1MplhSSuuhYLrEmSLpgL6rw0LiDJcSOvIkFZP1XqW9TEQQVcnPPKv2gaD05dumUR
ElgmiImRh883nAE7xMMQMZCZa1pYiad0r1rycl7iood7ePjSdYP3opDJxnWzyDa19koXYBpfSW0v
ZGCtuHdH5Jc6uiJ0Pp1zGieZYhesux0n2FOjvicdtMm6zNvXfNKCFqCIJeO0m1OG96NDmXsBQr4V
+YsOGiB1LRSHMV8mz043xhiSlietZ2lXePC83u4omIqm9AbXvGYfTtRi5v1BGzy7f+rdC1vFsOsa
k6y+rFl/vkLaejMbu7rX8RXk9tZ+x/DOlvnpHo3NKjU9Du+N9r66r7zvmsb0F8qF6ibzlU0euP70
fn5HFt/Ggw2RDkRrJsFgcVpvUAC6r/cfSGKA764c/U5t9pbZ+kNnrfVILsaS5oFUycjlUeTGrQap
zCe03MQx/fnh3iQ0/BEjjETzPzYA3CEUY52Y4toru2Et4F5TBMn0JXqRVTmYSryMUQwee33sV/Ua
a48xe6Gn6v7fQbvSRGWFBHiaW5ACJLIi6HY6CO/s/Rd46r8savwYvSioX0OFOn6yLy9EwCkaIt6N
h2/NSzbVHp0SfuavX8KVQ5fzUV3LDUfMn1V3Gfrp4xjTiHDV212YxZrHYwUs4cmkG7caIA16j/Qx
v2i7BOO8aZF0P00tNUFQGo7uFzBh0kvRau61yguH06h0zfF+GkL+XomsudJEG2JIjVjtAxq1u80Y
pxgr0fvM9SsX8S1PBgWkkXXtdviMJowCUGo3F1Fq8R2gS43LCvznVG0U7X5QO/sROYgEKVtCzF0Y
185r0fbhRcaiMaJose18XCzkvY1+uimJm29TZXC3bdlWQRuiAw41pvC6wLiejxQzGs0Kxp/zauwv
QtuNvUFvqpzqYuqv3bot7yoM436C4865Lrqp7sDZ7eiYf40LFId4TZrXFiMYQd641qZE5ykF9Y+J
RG9rvCc86+4qKHjhgyK+RjV6Kv2JF/GTkgqbYrzVueO5GAE3ZLKupfY0aTteOxbm9/hof6vYwMu4
iUqOPGGnRl7v1qpBGzcedug9DPegviHAr03B4tO5LntxJjE+AYCvuXOGIb5tVYCCoWtX2zdIgQZ5
L9RfSaOj/bli6rvgursXZYxfDB1WbOqRNKDoHjW+ZyhJXUSZqd6rYR8ZPmpUzrNQBb+Om9Gu/aZR
yx/hBAL7MLa7cB69MnaaU9RocYxyZl50aKWzqR5zt9wgoWV2lIWhVaDklHUDRVFIH6mT6kDHG9ro
3gx1EKtXdR7etK6t3yFcjw1qN07xQVgUtsCajIDa0hKmoP2uIe5ONUvzTg0zfhEXhnLt2jznXq0C
9Z3Z4fjLbm3Tq6a05NvzZvJ3Ev3cTZbiTXNCvjBTcWX06+QBHuFH6t9lF6H/DRiJrX5b7RP/tb8k
+3ETU1DJrkif7cQ56ZLTU8Rt5YrZXjrbrw6ptV38CFST6b6k+vsUOEF6j9FPckVuwxsyW8+1Wf9F
98TFJDH4l1GKlYtQY45rbUYZVs8rk/KxubbNyQnCrv8sUuc7Y90VKXFoVjXuzy992TOfgaGdGV4K
AN7HPmrSGKSoB2DF51q7CQ3gO1aO+5nFjblhhsD7YCtwPRUkZ9W8SaiiIZ1UVeVKumF+kU8O4OAr
pBebcFY5KqpfHipTN6EybE1lPxVb0Kj759e76BocCJLeY4EGVgUlttbrmg5J3y4TtE7DK0tV3rvE
oWIVRW7RD0SDMHjtgUGKXlAp9FHyzLUGE2CVvL808O6Mjs/IowbbzCMEOL4YrtM1DP2lVQKgYEbN
gdOLQPn4UE0+6l0+A2Sq7KskeO2tV5tZ1OlerbV+muX1IR9n64YDzEw5HI9i0Hm3DDtqq0/RgHn7
Swsj00rnO2hZI+YmafxEW6ObXnIvgGWuYdDfQK+EXLIQbhLVgpctjFGJNtf0MuZJUCNIP68ti2Iw
BAtait/zQJJdiLqxaEQId7qadixzqa1c6/zXeRlzmCOrvnUgQwqDEAGD71GHjIjUzUZjXOybLAqD
81KWLtihFOmah+NodI0GKaLHCGjW0B5DJ73usyFaCbWWFcJAagaFcxQA5fmzxC7rVFEgyupZMPVw
tvGGOM3kNW21B2yYTUtk22Lm+GZtrJnypRPDJB8armcoOU0eD0KMHKEbmwMaFu0QGAZNVJsakdid
380le40b/d8SJXM1aW7WNT3CyUy5wmXzAej6hvmF51TJP7QQlzw3ac3X6nTLO2vac9kME4vQ/+Nr
bWWIGTDoCr+S7UKDZtpWALpZ9ybds6eBNhrYrNcw2Zc2FF00oBwFcAkqdpLBNLtRwRQJluoaDxb0
pRjBfL7yCC3KQNuajXFC/E/mfxmKZnKrGuvK7eiy0be6qHd1/fP8mS2+dGD3/E+KdNFS7rCc95CS
YPJUG2M8Y9lDA2qt1nQ8ULEJr2AMBGy93zPryWWl8g9vz+EHzNtwmA6qMX5aFfAyeDa+2QOScFPy
rRj1TgXNKeNrYfDilT9Yr6SkVqGJXoRYbxlvuXhJhleevIhu5SosNNAgfYnpesxEuyhCEUkpwyIu
tKqD7zJ12Y9JdX4AfyWwSEaNNroS5rdoQL8NRCbaGcmFqRfUKbKEgse2p64dp7QeftSOdp2AzNrk
a37FUiR28HGOFCCWxOZJFGLL+4k2yeXkbDuQV1mtl6qgQFlDL1nWY8yPYniBOJiJPD5gHdP/YTRv
BVgqaF1qPlOqvVmWKynjReszz5D+HzGSIg+m1oOnCmJS8crr225K/dHcOLkDUCOgNCB3vAajvrYw
SXNHroVNLCBRLSaPO1FOHbQeV3xoVjzxNUGSzkaxXZtaO+8gec6smwE8JTVASM9bgsX9Q4vl3NSP
DmAZ2tkkWZ3MtN1g4EXwk7326U00pn4bfmJWEQ8UbRGKnRe5eBeB8e9oGJZG1llyyPK66+xQr2B7
rI3TOCBsB5nX9dhpm/NyFvcPPbEWgP7AniSDhmVw/CZA++LtRe/0ZO5jZP6Anxicl7LoXh5IkU6p
cGYYrQkb2Fj1VYkJpE3ElXfCnYnqendfRcAWPC/xFDsL1ZjDd10SOXA36+1KIEJTvnlHG3IVo4Tm
hI2naCg6GRQ+tc18NQ30+CNqBkD8k5UWz6UzPPwE6SUcjDjP0xifQJrCV2Nrk5kPozncse7+/GJP
thedTBg2wWsIlC4Q486HfPhOTCIEhiKm90aAg9EwU3006Fw4SXU1KPxHmXR/7bH9FgilmXuAMdkj
aScmdsgQOTNuiMJghVvV743uClyrPplGnzUusLQKsI33W/CHrA0Pzj9+5P/OwjGqaDqY5EELsiQc
dJMYJ5qAdDEI12e9ulNUd0NUsOZY1kbpjOcp6YGAAeoc/UnU0UrxebaVJ9LRpDh/AUD55XGOEkMC
E5gOMYAdffUx2mvatR7FE7XB+tCwgDk9gvgIFuD4NHMRDY0hQmAFhoEZ7xvtciiDrnw7rzOnvqEk
RkqggKxWQU0U26i+1HoQPRtf6vvoA5rMjOi4PS/sxMpIsqR3bihjjVsRZAmyRwBBk+bWddZu/Pwj
8skg8EL0gwY49OVKt6BlUzKxFjCspTVsMHNTU2S1NY9wbdzCGmS0tPrMz6sMrfEpH25A6YBMKJ7G
i7bo7gWfxrUvmrdQ+iKkB8D6in5Gyz4hh5jSHhFwh3nLsckCgK+hVqvRsBOXpEFVR2c74tY3mBza
jlZ4HZPoPm7+toVp3ngLgJCYEsA/5cFVIwl7E2QfwI7QfwE1lBbOTagqd53bA5d0WHmzTh3m39Lg
1M2oPgg5pGM2RAsI6xnRp9YQbYBP8MoNDXSlNVXzLhI73QBT4JZHE7nRDfU6dRTip1O2ckF/n7O0
63OohQBcg30CH8Px/QktJx5EGAPOpLZ7BJKiMFRkpQrzSXFT3UcqmKFpb8jK+BJ8DbhkSZoheYfm
8WlPSMqeBiPrJsoVYn46AknXTDEmvCBmkV2ozVjG6ODBL9GW2+1T5SaaX4c10qZtyccgmuziWbc5
5lx5pT2p3FR+NWXbbN1U0V+sMGx2OR8LP43N6SpOzAJ4o2GI5guk2e+6iP19XQUFXxSu550A6ApS
Sse7oSZEFaOW4Orpk4+hCrR2fYTTGmXc6QU/liJ5mKFbFladQ0piXMbpY4e+hGz0zhuRU7sIGXjn
wAHkAANIHsSqWVGFkwsZDfo3JtDIAuQH2PMxAM3OCzp9To8FzTHCwXOauSUP0eKPB0YHe5jyHTXX
rhFMjDZrHT4njuWccgAQjkF0DYlceexeCbscRReYLADOWeWtSHxOHkV1g6uSVT4pVuKAk+AG93P2
YgHyAjQMNApLCxvQJKeLMkfHOGhbdXJXWt8cwK2ZxmjnGJthjbxm0SIA6seY5/zndmFJIoorZt8R
hM+YTXCde4xJlN1rSZ5i8dm59wng6PDetGuNAqfaiHVCUxBSzb0jMrxAn+ujRXLglqFOthu0EB5K
dmszc2U7l1fnuC5SR4B8PsnUpuAFYP2MglWFPYhsvtoRcP2Xk0uR1nTMQCcXAmTR9ZrPfqo1WJ6L
NCbm9gCWKocjjslJaGNkwrP589Q9DjXKc1dcoZnyrLKdtgafctoHBLVBG6yKjK0JBkMZb7qruroA
NQcgr/hzIfzB8NTMD5OAZ5Skb0aOaZudZt849fb8PVxytQ7lSvcw1eNS6R2s02n5NiHDrh/XOKpO
rzqWhkEAbCZmeU4wCxnvuZ6XOEHwwdftvul3Y1PMZERo018JIpeU8lCU5G9lVYQUAJAvPCfiGLK3
d46VU7XIN+c3bW1Fkr2PUpC4shhiQg0pxeFuyN7covLC8Ue82jexZE9AUIBcnwuDglrUsT2ZsSzb
sud4aUE85z64qUtd656Fjx0GHew1GEt9SR9sWBJEqcD4smVjojUKUkPG7OCBHIZr1K0f9QknFyjN
fRu+gJ5dMa+76HOsvMLZGQCCqG9iDJFo6dYRl6r5gykNLerHfNqVtp+UxcPfb/3h90n6ajetkVkR
HA/0w6cqFeOGkXuj/eLJiotzWvzEjYQ5Bdk56icwcVKIYDCn1WILO8HwQpXJNh+B+UybGGMl2X1j
j36sIdvLyyCvYNnzjxp1+9DLm2/LuMiGl9IZqD14qn2/nsyf9Uv2vg4/TVLzTsdIwjBvQlNcjmqB
zQ9QOEDZynCf0mJjo36V7SrFz6PCL/8BKg2ZZ4gHCQOS3nJw1jTAYUKZPUdTouoBo5CGaABQVy7y
kvk9FDL7KYfuQVu7JVha8bpo75xTi29JsTHip97aFeGtvpbEP3V7cNYHa5Ke0KYZrSgBhoBnW5hS
sqlp3Ayg/nTXws4lwwGIH6RmbXhXqMUcLwtpe6hcBWtrZAK0rXs2PcQIW0ztM1+bKVuwG3guf5MT
gTLjpOADdmG0rZgQlaSPdsTAiYse7uo20mhmYOB3xZ1bOK8jadJ59ake5cqMOpil+6mpQNSNZprY
pLZOC/PDAPUveJvPW4IFW38kUjqzFGzOpSUgUmdGoPLO76trdU0xFg7sSIhkbqY+TUM2Y0NGfUGb
/AJ+MLaVOugWXOs51hdPDPcJNSmgj6GN+lg5ijI1c3Oc9zB/TIZ9n9zw0kAbjW9FgVk+JanpxRjb
LH8k9lU47YjB/N5EIU2dx0gAXM+jDQsxuNMFoGtELzGai8QGHkVm0iq+7d2/fwRRGfrzudLWwD52
pZ7g9xnaMFw0rWlsS5qvXnEC8uP8UZ+WM0CacyhrVr8Dc8AcEP9Ns5cSNl+V5bfKawKENpfTLN6r
Y8CSTW1cuVqgV3fcvijG0mv0B9d6y4t4W689QafDKEdfg9LY8de0ah72qoqvcbHNADCOri2My2cq
bcXeLiMa9m8dG7aWdVcWfj/8AwgiNuM/hE+54KggJ9CiOjdvxt3gPukTGqiqiyFeeQAX79cfMfLI
jTKFitsmEFO2bwnr/ajelU25comX7MZh9kayGzWoCMCAjOyN4ezF+NMWT7oBcMeLJvqqnE2iblcU
aTaw0ssJVjUEg0D6c+DaS56bcKd46DULsRJLPLTi5skzqYI8vBjMCfNgrwZSKhwuzsoyf5/JiVxQ
wSLhiCoxysTHKkMKZWRhZWNgnrYv3WcRGF+GH/+o0DpHkz3LaPQDpc9Xfu1cjiuyF84RvD9gq0E3
CHiFf/s5B3cnY7wJCcBZZ1w1x/ELvhVDcH5bF04RndMa5j5UAj57VbqedUHqoUkUPJ9NgkoURoS2
aGkDMB21Eh+2KF0DuV14rw8F/s67HqzJ1kum1UMItTFTmqcYhEr2U3eVGit58KW9O1jY7+D0QI5Q
QQJrFi7iCSVCVyKSSQNGd/7hgA6F6JJu1J1VlrDcXgwSMjf0DPe1ZytlkoV3DLS9AB6eQWGhCdLb
ktnKVBgZ9A+IgVdt1XlGg1mFPgmqmTdRpCv7tvCUHYmT3oZEQQihqNC5XP+RoUEt0TWaK0HjXDjY
yzU2xjVpkvoxq0NZtoQ03fZZ+glKF2qy3ZD5ln6fdb/O6/rCM43M1YyJBHwWPNRy6pNYudugSyzz
LgF7uRWb/Knajhds3wbO3vWU58Qzb6MrkKLdKB+AwQ3qbXrlw+DQNoj8899yqp7HnyJts6qG9v9w
9l09cutKt79IgLKoV4XOk6P9Isz2eJQDJVHp198l435n1GyiBftgnycDU02KrCpWrVqrYJYEndqG
4rFxaPUOMJ6VOH9512AEbAEoCALadTElZEw5OkED1quCNFJnHsVIcG49WtL++mIunQjszFw7kJRD
H51Pf5IpLOUqhh1F+UotH2Wsib6pReJ05kNu9W5krAS4S6D6XLZdWOS2D+/qRAkCWNTufsau9t74
T5iM2zL/+ZftTO/x46+88WMX8KwYwCFH9+JT5WSH8incTL7mo7S3XWuwXN7T85/EHeVM7ktlzOfN
DnzQnHT2oWl/2IZXrM1CC1pTS0sAEnFex5arvpiP8QSEEYq8QRBvrDYIb8A1lGxiOzeQOdXlpx6Z
4WOkkGhrMjt9vv7NL5kHzj4BNC3Of4U8KmHfm/gVvVvj1YDhettv/8tk5370KjAPxLg2R2lnrVwc
4TbrUI8h8zwGGMfOzQa1XWu5jOpzS28aaIFk6gOxfgyGR+sVTyg81QtL8+1aRJDcSOS6mOvcaQ8C
RgxwgW5FhgZFqe+i/q3TH/R2ZcBNeF8XFjlXT/QAqrgaLGrWtuz9SbXQjrgLqn/oROEEfXc9eEJm
fYiKYZz7EbLlxiaGizBFBOpH1AJq9hXoj3L8PNi3EKy5fmbE3+672cId3CCUk9As5vUpHqjUnVq6
N22/sH25X6k9C93r9wL5JrgS1pBhLmFJ0n3AZ/vpXhnfry9GfA0XNrjgr0hShZGwCGors0536eco
ZrdT49tBDOmMly5xpHHfrekmC1ZmgpMFBXwUuFDf4s5IEgF9SdIYuX1yspT7zHjP/z7jQPVwYYJz
rjFgi0k/okaVFvetel93L7TEvMWdylbcuKBkeW6J85kDBeoGLUI8RN/TD92tCydzulfMj2zCk3br
0N7VnejjgJznrjloifP1Jf/MVuoffyCs5wn+XCxFAxBxErRtfGN8BIcLGRiawIoCGgtH35KD/EEz
J30tt9mxiNzpMHwNzUZdSR4Ft+HMLudfKEOR0upglwT3mfyUUJcQV4dDT8bd3x/VM1PcoQE7NLEq
E/tMsq9Wejd/Rz3GWEanYTcKfVWSmzBYm9oS+LIzk9whyiRdL0iC1aGc1Cvvk7yt7VOx1uuZ/8q1
b8cdoG5Mm2kkWJitfI7dhyZ5gf1Io8cs3gXqik8RroiAoxQs13MNlXuAyqxvor5HpVFHoaBDVw4w
yDA7aWsIUOENX9jRz+NO2neqlrawE053quEF1XO3lqvMf4LfNhx4eJC5Tm7wCVvRkqhUAwhaAEMH
Xtcvba3SLDZAZCg0ywBA8c9KjaA6YE0Q1gwVDaQw6tO0yvAoNAGu8bkzBWAXD7LC5J/RY9Gzl/os
q0cTAlHXb43oe89k5v9ngPPvUauow1Tk4ObOH2Q009X0zsoeo7V0TvS5l2a4Y1UntEOkwjqiZj8V
rxZ1kmDl/os8zdIEd6KisAmjIcVKSPkqxT/A70wkFODG1MnWOFqFXwX8PIQAnqUqPGSXpHqvNDL6
a0YMJH/lNvkapHXNAreYFMlKWc5d5RYhAXWgyljJwoQfZLGE+d8XeV/dVqjh2YABSNFLrD9r4+Am
/coXEdqAntCsa4aiH98aDIOpoOmAFnw53EmSR8qTln9dP76C9HUW2/6fifl4L5aR1WGT6hVMVONt
SxxmezrwXNUNlXasoh7mTVfui8gXqwSIQ/QuoCLCx1GgGxS05VF1jMYNNRtPLfHkGj3JPME/01UO
TeGhXpjj1tcadgSNeZgj9alXdrH1amneWO/A8Xh9I8Xf6ntdXPDsO0K7eIIhNvw0ky0Fqb2+cuSE
a0ETa1YnmzvFXBgj1M4hNYOCvFY999VLHO31EFC8pyRZybhWDFlcBk5Zz/KcwvHL467Ln5G1ZpXb
AZdl/u2kF6A76veK+Im5UCUAFgLw5prRm5SB+LOOfXsNeC700DaUE6DCDu0a/sTJ0LNIoKyMIw4q
XwhmYQRKZhCLXMkQhR5nYYY7aUqbJEoUwowqP0jSO12bYxG9JGbJWXxiAuQKEvvzq1omZlIEM1CA
TrlPpehIktTTYnWHefaj3N8ORQEsiVpQEPM0K5OigpYIqgQG0O3WnANDeurceFJosUXaCa7oVjnm
W5R8PVly0LgFOYoD2rjEGVZM/uk/8OnH0uTsSRauCZ6CgXMIJtVtsY8fn4s9aCyUN9ulXvWF6sE2
ulUelJ+aK2Hiw5E+r99n0akBt5tmG1BCw3/cbrdabmtTgcs2kLsSM5VGsuslYL72182I3AZwGHP+
gMospoHPFxm1nTY1BDegVLZq8Lsb70bMOl+3IYBYzUNk/zNicPcZ02MMOt8wwioXEBoPw/+B9UO3
trbhgm1wKh4TEApkK5dbdCGWVrnSTzhqaNrOVpviGGPOqtLfrq9L+IksXATcbUyV8PWJGqQG1VTh
QrSg+WCujgmcLahQVOpSKzVb14A+Qe5dtymKlxqQkwqQ81Av5DOXQZtAP4j5fDdo9WJ0oF+YgOyr
kqhrxS3ZGr0K2v6mim+kNkBtb8yV7fUfIDww34vWuW+JBnKTknnRtPzIrT0lPxjbXDch9jQLG9yX
oxhgo9UEG4q5B6OJg8k8gE/us/Z+Qom4CbxSAieXf92qKOhgEB7ieYgJc4v8/CZkmUQ0lsGojlQq
03yKSxfYmSNlr2qxklgJT87cIUSFH1V+ed7khWuRc411ts3QMqtjD8QKoMFsqRNlKvLEVV4Y4Rdb
GJt/zMLYVBZZMFAIxMjV/ah7bf+SkpUvJtw7GwyNM/EzWhecF5EwDp4VWY8PRgvoYkuORT7wsAYG
DxpnkbHiT4R34Nsaz/9CTdoCA4MFjTGo1smPqX4P7ekhL+SjXBDkCpgS0NdAhpcRCOF7JsyFghSw
a4bBrbFMMFyPrKR0i3Ez6HeYcO5ArwKmH7cDSwK7gS9j5IvUtQPRVU8x1l4UF59xtg/xCjK3dxXV
5uwHUgHxqrYDLE499PEvnT5E4UrMuQSJntm4qNmPlhEYZg0bja0/YKjLyZnuDvKvxICSVaLutLj4
2Ybjj4RJjsqUfZWu6U9fpOfcL+CuPuilWjMj+AUzyNIGtKFpbquoPZrt4BnIzsd4VQV+jqRncR4m
FRNEDdhawcADzeZJAUUvXakC8H8rYYD9nU0zUYo89u1jZHTVA5UlI9+oRgVemcCwwvCkhHq6s6qy
0zYs0+VDYpN+7dF9EcHwy+aMC8WcGdjKD36YQ1cOpaYXoKozttJENlX811njbMLEEBaGNQToz87M
09FCyMeobLinKnHVrlkJWRfObjYBSgAT1aI5/+UyGZmN1J7QgnarPN+pNHSk4VTHKtQZ/p7uAGFR
gV4sYGl4/F7sV5lkKdSLwZWaQHgOMlSlfTDKh3AtVIhWhHIOWA6QNwGNwIUKzNzqDbAY+C65fFTk
XzKlu2aQIXlnSCtRSXglkW0jgQK+ecZZnHtvFZPiemSlMxr2NuhfBmNy5GinZKmbl3dS+WKyIzMO
efcSmSvPPdFVXFrm8t+uUOs4qrMSr7Abi94oxV5VJNfQbq3oRZlWIuJljohTMtM34HmhYfiRl2RO
9CjMR7kEKTgABHqpPo7ds91VfhiWmyppnVbrb2Q5PRGJHBol+HE9+IvWCj4RW4VyIrDJf77CIkaC
Ps9gdChKF33j19GIHLXUNnZC3KiW33FYj22or1wL8YoJbp9qAqkCydzzLysNoxYFIVY8pMbzoMoH
aVS8QWnRyjPDk6n0zpjaB7nSXCP4zPV/GK6F28NeA62BNqXFBxQtiBSra3FbyuZEKqdt9qTHcC+G
2FFIIrZP7K0dbDINggFQv8Asy9onn1NF3vECAj6jwPEqVvnXd23HQcNkOIY+2Ss5CMsMjKFKXxF8
gyntsnEPXrGhd//+S0OTRcMAEiDXyPbOdx1S8eCanAMMBv6SU9rWOUTd2uoGtY2nicW3VhKA+Nlu
V/AxIpdhY3IAysnAX17ISShaXWQxeJ5cnaIKwCAiZo538dA7shKudAAukjFkBzMJC6AHBrRmeTKU
oNJr2SoxStsZv+yGbTG+6LVl49htvbfQBL++n5fJ+mwODSmI88Eo+t3nGwrRUcbSeToBqc/TAAo7
ouZuKae+Qigm3u87W3Y7FmxCZU2fRrCnZ5a5TymVZkJ7CZab4L4PErctamTr4QYjImt3Vb08qjCF
4KWDPWCWoz1fpDSCqczO4R/aSTvoceIg8p8iKfS0qvbTXMdEQrQpyeNkRsepN7eNvEYWJlzsDO2e
BzXmce3zX1BMoJqLCix2kn62xk0jYSapfYTMxd/fDyDHTVT4AMaBYBq3UkbyoMGdRJqrsENNOh+u
GrA75ZdUtDspH/Z4TGxXjpDwxAK6iDctxgJlvrKkV5ZVEAk203hvlLvYOCjhts52ugxFlF00ebn1
Zkinwt6oyYuEZ2/b7wzrjq2VuARRANTAoLaHQ57HfbkUm2n2EEkjfkcCAbV0q2vPlnFD6sBNo6Od
GZvryxZ+0W9rfFWkG0YaJxT+vyg7t5XfaBN5w4B5nzWXJ9pelSDB+0OchZLW+dEJMEnXMzaBAkUG
rZ8Uu4nNHgulOkZa+jjY9cP1dYlSFjwFQXiBeh2m33m/3siDHEOmvgQWcITAauVUzQYkRo5e3RS5
CyXNIH4MiteYxC4gHNeN64KLurQ9X+RFIE+7XpFrKLhhEjh0pyA5KdEaa6HgIYbuAQbLTfQQdEBe
z010TVVFJCCgYQYSnSTMNeQRWWC8v74SAfkFiAkQnGfuIogg8t1Jg+lGB5opuLfaLrdxGOmg488x
80lC2+uMIdtiGAwsciaMA8zWjICqRuGIxDA0XiQEm31X5uOKJxScpZnJBP8HLB3ennNDQFPr+Wjh
sVSmDTNdPIKCE4lSMHHaaobc3qq19GhIQbLGpTLfPS5ZQMcBKRqIvGRT5nsCZpyarER5Afpbvlrf
9ib11MkEMLFyM/KRNyDxX/sAAqd/ZpL70DEr7L4bYNIig0erF7uWXXnIfV1K7zEcgaEHiOAisxmc
TJW3mW27faCutHUup8QQXo35P2UWvgW0/Py05SOStIThMtVa7HQZimFQ0qbGZ6e1R13O3SBFwNM/
7NhE7aje6gxybUqxi/P7mpi71GidANyuiRkfA2JuI1Vyhmq1wCu6dQY0T3QNTzyUSLhT0TUsCUcb
t67oCLK5A0vfk8BBpytowpdEr/Z6/K40gL6D/1nFtGSS1KBlXhv5Fl1MXMd5mBaVGoMPXbgAGJGf
kPjEmtS6sa4Mu9rIC1dr6pWnkdgS3pkEeGe8AbmToQAOm7G5ZJDo6o4o0a7pMt/MrJXAKIoQFkaf
Z+A7uKV4DzDImgRG3bxySYTKYAMh0c+4LDf6Gtub0GMDQITiJ8bKQYnCHbJijI2kTWjlljQIVD+K
5XxjyHWLxE0CRoyM1pvCFGWXYxLz1FiNciJmrRz1ooL2IMj3ViKIYN146iqYJ0A/E/+bndDCieMt
1tXJBKKuLB7f4ww9Oam+aSV5T5q1gTlh+oohNsR71PRmio9zW6VUAWsVoDHR1E4Xn4Lyk0lfautb
+ruhblHORHP4umO/bCzN5buFyXn5i+XFCSs7K4VJiGF59RsKIo//gZsRb1uHHTEK6twfot/g93At
L19xJ4KdPTPN7ewYVXVjJ13lJsUPKgM9n0Hd5q7X2pVXgSBMnNmZM63FEoM8kMuGwY6kZqAQktzU
HlxpaPaQEHc0KVrZUlHittxRLnHrNcxNxD12NGvfp3pwpuqpjx9lySsDIIfWBtMw14CfzwUj1CiQ
5GCYHrpmfBSckjyxCg2pGyprFgOD4DDU24aikebDM5iHulWp5oe2ZW/GvK1f5apW7yXDHrVDa+VA
e/eVMmzMVMNgDkP9Ldzo0zg+qGMJqKs2aVp2DydLt0BQ69YuDtLhI1WGEhjYMdT8aArh7UMSpseG
2m3vqXWkg9jC7MrIHwypPmQyOiTxfDu1Qg0kN2ey8mm3crNTmz4dPTm3pdjroqSw3GYIyK0h0cRw
FIVU91qoy89UVbJ3Q86JDKYtMuHxCPZr2dVjJVCdqGyTPct7Dc+h0U49xYpq/AbCbjsr0AzoUEnh
h1LHlYdiev2kUQ3QZLQAe58lrfwTvU64NF2OTWiq5SB/2xgRVQ9hXw6501ZzhxkE5EYEcncp31dw
L5A5VTLdA4pO3tlUBQC4zZg6YXZ8QIMmGQoKDyyP3aFPIxsiD2FCPksFwygjs+yvNKyUfa7ZMcjX
5NGzM7BsH6BaAm6OduywbyU22QmbBGxw1GIMxAitGbhM1vPftBrZjQmeysZV0iRgmzhgEei368T4
yu2g/VDidiQulDPqX0BKFk9lXE6BY1Dw/bZEsr8yA9v7aJVWeFsrA8ZHwzErNacHcYzeTtTvagy0
IqYhdPaYfe+KQB3cqGr3ecuSw9T3xR71U3UvtwP5oEMFTha1iPJyUzc4YVI9aMXBMEYtvymMkvgq
lCpDr85YcdTKLriR1Uqqd2OhWCG0hWUJpOs4u1CKVst3tR4DEI3ZwO+69ThRyPBZhl0+VEMSHc16
1HQXXTg6OcVAKTr7XdlAIi+Nwk0S9c2tZEzKk14PMTgWaTeBjVwrVeW+Mrqi8lmvsBA9yFo7Db3a
+BreVv919ggKHdMsDPRiVTNfebkKoxhq5eDNnb35BU9JXbc4PXmFqCzPzEzbiN6o/Y80vtXQEEp2
WvlVT96onUww1l136SLTeCyjdEhshFHwV537u7JrbdqkSIDa2Dg1XXdrhJ8pWC+NtNqqMAcZuk2p
9keK2d4GQJNWX5uiEbhAEOtg2gDQTzAE8e2pQpKnPEKK7DJJcVR3a5xYr+NWym4UF5vryxV4dw1o
SRMplgqOa75yqUiZ0SithMolc0zztspNFzIHY/AcaGvauKJloWY2M8TOzVm+mFWNPdwmBdt/0Oio
klK9PCjywDIoKVAw4MOLMG8KlRQKV8zs+5XvKgiXZ4kIF8YyCSBXyUQiQge6I9SAHDg+MUZyQ+3+
+pYK1gnCbt1GhR+D2RBROT9A2jDaNRnBYJV0hR+Ah8lTpfJJGno/sXKfYLZtGNaGHAVZ+5lNLg+x
QNgYdQlsZqx3ilpDwv50fVWCPBmUZcjI8SxAW51HjAWVHevN2KD1Y4C/pwBafaghj7DCjybcu28r
/NOwiBIGeQkG6n5mI6hKr3EK2ZPCdCUr21ihvu1CafvXC8PAOHCLuGzg7uc/V6uNTQw1PoQx8Dk0
MkOiEeyzWPn7dA18UuArhU41qjd82bFFB4JUEcQ3EqX1a2MHwjFkVM8YVru+HNErE3NqeDbhiiFx
473HCF5irQrjCuJIff9Oh9RCDX6EaJzbdhmUFzBChV8RJek4OWavB6YzIgn5GXSso1B/DNNTESrW
MWo6exeFZuQHQRUeo7iXfEXPOtQqGzMNvLTty/shMwl11LrDUMr1ZYhqBIvjxheeyhZcy1MKtgDA
+czsngRf6rCPIfma3Uf5k9n9vm5O6B0W527OEhdJbtLGKka8YC4KbsiwA2B5ql/1teFT4S1dWNHO
rcQGStzafLprC+W0PkGVJ43W5pBFzyCcM9RWVEA44IDmX7FYi93FhSGzGqqTJsqr0QQwCohnpp+R
VjhK9LPPZ8nWXFdWEneBgzgzy7m9tClytU5glhm9X+WAMY/bjK0YEe2gDIENyHjLIPjin3htpjVj
J+N126GxF2rRXRquzQitmeBcqVLWiJUhTOR5irsRRA9quyYsJ9grOBoFXXSQNc0tu/NPVEN1pssa
oNWJXD0WjfQRBtkmD6qVx7foEi3NcKeaxVlttgRmZsRqdle2OTKIG7BCZbavdW+5ueJKBckEloUl
gSR1psjhjkBO0W7JDZTx2hFqUWV7l8wKRoN+gBAq2PPWxMqE5gj+JvhFZzgCZy6ZTGoyBS/TAO0p
Zcp8g5qeWoF0SYtuqrWZY1FoAmjnf9a4c0G7YZCSEdZq6W7qG0dVP5v0pjU2EVraEIG67pBEn04x
gRECJMG2Lhil9DRWp6ifYM38rVu+bW2H/itLnu0+8Cj7HACtv25QtJkGWlIohmOmGjX98yOpawMa
jWFKwQ4z+EYZgCch0weHpYk7RtboMpP9d92i6BIAq2MDCASEB6Sgzi3m0VDapVWhaV2GjjKYd2Fo
bKF8Ff3DyvDwmTn6kLqYPBszGUcrxl0rQE7id9MRQrVgG/WjGs+eNWSZaBMXlW0+SdIClH6nDEmm
Vb+XsuyU8csIqbAq2I1rDa7L0hMA72gf/h9Qj9coqwtC9WwCUG+6kyM3fCxQv0NWdmv7023sxvvw
2d5CjRtiCB5i+G25XxtXunCU3A/gvEsWUkkNFfyAHPxv8+xFtza+K6BCOV8jFzAtSc6lIQE8cNgo
G+Mpeo4ir/P0A8opR5o4U+RaBzf8AVyHA+rpzfXzefEx/6wPzh7Pork9xN2IPAdxPbJqoEiTL22S
nKl3UBGxixdjTfNkzRK3k+C/GKJmhnUyGdzHkDuzXS1+6DoQpPz4lzXhys2AgnlU7vzOtSCp01pz
AB4PFERWe1tTtyPPYKnscCuum7q43ti+PxyVlobiGiTGz02ZUDeLtXw+n0bnp9CCpQwjberrdSuX
z3XODOeW40hKSrWGGWkX3JQf6KUPjzoa+afeMyD25gDxct3i/AfPCoZ/DIJXEO/mP1Sx5+sq0VGH
aNOIgTPrI9G+BnT1aHDXmCsoE9GZmBP4P2zRAMJxp481rA/rCF8qlE4s3MvqbdYf1fKBmStPrj8d
josFLSxxp0/OjZJF7XwmlGo71fYxacGWpRUa+oAV85QOcvQl3aooDw5N81kZ7/+woVihDIpogOJ4
vhlWk2lq7XlDayiKSLoXUr8F4Dj8um5HeCAXduYAv8iLiSRloACSsaPkmBhHPdlIa/jIP5SXl3v5
vRbufuXKiNQAqYgrP5gPyj7qHPWh+Y2RxHZnPrWWJ70EoTO5sYcRPP/68i4yhvlcfi9P49D86WBW
qJ1jG4fuDRUIhw67ZEDTXvsaQdehjreytrtuUXgTwOsObADEBxX+iFpkVHslwIbmoP6AGq+pfEWj
F6prhSPhVQD3AAHVHbqmPOghH2OmJmiSuylEvJKPKn6Wer+p7oy14W7hguZJwrkghsobd+cyFjaQ
vlBxEzJpb9ZfxO5+2RmgDTVdud1rlrg7V2dBPAY1LPXqg03QBnzTGssFjeXKoRBGUH2xJC6CYlwR
GLZAwZIouZm60tHM2u2K5AXd/8c6ZadYhoxR9KxWUNuK7lFTcKR48nvyQ0dtcwQkajJj16LJXu+i
/T+cn8VvmxOMxYVkGfJ1neK3KdRrbL/Sb+QI81eP161c5O3zvTCBm8DcBLrJ/Nh2SO1eVTrQuJHh
Z8a+us6FbLlMD2Pl9p/XTQmZHZa2uM8a5YiDGADDnJJfvGPW7A6silA88cLWQzoGcRMX2LbyvzX9
D1Emps9YV5DGAfpucR9ZHxOlJ+l8QYa7Urlr2rUxDeFxXRjgvlSqSdWYUhigZuYl2mlsvYxqm24N
JS900Qs7878vToSlll1uMtgx4p9xPjkGpvLS/65/JKE3WdiY17qwIekS+jazjZHlTpK+D1XoplBn
T9gjWWP0Ee4bOM/1Pyg0EGOd2+rDDsNyI2zVEKqGKcwhyBjCWCktCk/4wgoX2KK66cGIAM8f4cqa
id8Cr1H6TEbVbKOT5+vbJwwzC2NchIOKba8ps4ZGLN8EoO9swCC6sZXnKETbfUfjH9fNrewgj6wr
8ARQjfFPcvDOyu2AUU3tOZS961bEcRtp8SwKAiQx/3DTq1GbIm2O2/nR2nTvsh86cgJ5XWe8L5zm
3tiaT8z7gDbvSjYpPPHfhvmCt1KVKStKGG4ksp2U1KNmexO01oqrFXqIhRkushkx6DGCBGYiKNXF
EWRx31Z28AIBPrvZhQXO9VFNy1OdwcKkfulACNJ619uvuv6o0rcIlH6SciDlWnQT3uWFUc7xDVEn
m3oKo0aFaIZxZWTjXhpHDh4/nmZ9Mqh1RcUjM/ECsX8MceRK7K2Ui+cOuh40AZhK71+ub4TwwC5+
EucqJahRGxg+yly0YzA791RV4NV9rNe6FqIPCtZ1EDQCsjTLPp17lrxq867EfJXbql48QvlwmlZO
pvBltTBxcfWMOCQlpgHd8Db1B4hwOsEmfpm2bJN+olKOwtD1nVs1yB1SswwBTJi5GZMT+yr2waHD
rIaDNtP0JTsqsDWb6wZFn2q5QO7I2mFq1nlMsIfd2yB7g/WgWO/GXzcecTGWVrgzGiQ4DhrFqsbs
9wB9qjB12uFna39dX4zIkYCUZkaZGpDA4D2Y2ZdNAnorJOOYH8aDw9A3098L781r+TbCeyuiVnIE
dAjyADS/8/DJpp6dPJDaaZJjUyZeBXG168sSxbalRe5MyGpoQz4EFk260UOXqbjjqjMWp/4zLda4
ZFb20OIOBLFZB3w1jEnlc8q8oXvRVsKZiMQQJVb09vGRMCbDw43aVtLrkQEXY9TNswWJgt0wqhuL
Tu92qaRO2pN+OzT16MVhpx6Imb33JcUUeuLb8S8D81RG3m+0YWpXcgiRJwV/Bupcpgw3zvfbbJXp
kVyiBEU6CSO3MQSaAkxgfCSm066JW4u2eWmL2+Y6LGUpB8zSrWjvgCjNnepf+hohn+hyL41w1w4p
UUhGBiMFhGL7UPHKrLvNpdSZ/ol76o+y7qxdAmjvvN5FRom0j0RNOCD0KZ4xpE5UfFy/BMKPM0v3
/n8D81oXBuQEMHErh4FQAfElWK81FjtB91rqvlKsIUhFkQV6YRYhFjAaAKKcG2NEH+V40GemoJ9V
/4v2m+uLEX395d/nFkMjplthoOFFivJtqDVeZD23wxqCSLRlSyvzvy+2rMAIZpCDJN8tk31nbAPZ
15UO8HK8cJ/+YT1QVALaCdEY7BHnlrI+LwmZ6boB2ndps9EwIKVaK35D+FG+jfzp+S6XYwSd2sgw
EoBWnVhbgD1WHK3ovligN9VUHGVQs3DLKGrQyQ4JwpRGdxPEogtgxR6Tf6FpW1i5lPM10DFQsQ41
3OTK1wCltetf43LUAiEK2DboWODND2Jpbh2MGfAvIyyY4Jco9D1qCybDeN4WKpwk2Ff1G25o2m4B
kQBNoGfglXn9F4g38n8/wOTqcFBOT2pg2uZyauTWxAnMl7J5H9ZGGoTX6Hud/JBtKMdKqTRYp6Jg
cgGxIXuy11IX4SVC5wwzlsBTYtrx/GgHo9aoXYICTaG+GvWTEe/lYl82frJWuxRFeQAV/meI9wlq
OYZJhHIYqohqf9P3L6O009v3Ot/pa4Qd6hxe+Brt0hjnGvTSZjWgp0j7mDNtrCfbiZ0xcdCnuz85
b2+T6/gn3zednbbW5xHe4sUyuYd6XyZFNlqwnADrOmEAsIpXwriQ4HS5OO74J3mf2OEAE9ody73m
UXKlW8ml2/DG8qlH95XrO4MfPvVe8aKfQm/tPSt8SS9+AH/8C1Kb0SThzJCfylN4W75CjrF1kqff
0s/mXnk4MA/zIjdrE9ArB4i/DaU6AJxGYFXNIyhCg7jkRNiJtp6e/szMvwX4wcWQWXgNo4WYMuDn
N6fQ1jM2O+MhLTexqrrMMvZsqneNYkNranDaulphsBK6NaKBug8qygoQI1w6o7VBHAcZUtMydgNN
dkCMomGKqJXuAro3iBMHv5ErOwm9TdWTlXrt6mSn6IG//AXz4V6EIInUnRJ3+AVheasOQGqCxGNT
ZTdReFPjfCWPAR68113pJZRp3mkdenDoa6gzDuLcJhj32jZmNh41oDjvdXSa7+PqXqqPkQnxbxMy
O2XqQE5mxez8Z3kPAfICRA+obwDIwnmIjJAiL0yYtUHU8lmlU4NWit0f2QAUe9HMxLngGt1SSFlA
qz3R8CBRezxSySTjl4G7qWP9v5ACzs1AzOtBlgHA5POtYAlkwWs1xJRY/dhobxkwnjEmIq6vXBS7
lkZm17n4xmoxjW0eRLmrSz6JDia5Q7oEAo7rVkRucGmF+6rZOFmdJGMpeGc4FgVYdY1/dG0d3FkN
ZCWXCwUWjPShz1E1hA2ojUdrAAVRgLShrQvw9Hwx+WQjJXJJqzrJXSmsXxPLvq8V6VYzhyMx2bZR
2931jRPFfOhso8IPhUToSXDOnaLsWtjTrJ0il07RvlPyVQEGcd2I8Ot8G+FTzQEtRL23ITFCGubW
OiZF1lJNgUTTPNcHJDjgtmj68o/NMuyDsAiwjih2aO7kX9JdfByO1aY44nETnyy/R6iYfPM2Ohj7
68sTtrsxiwZ0PxBBgN5xm6igUEJog7NRRm5nOwhQp/SG9k/pPvWSLTAK1+0Jj8j3veULdUYKqcuw
jXOUf6DaE/5i0DxM7c+iul/VDxAej29TfMFO0UfSxzFWNoSZFyfTKR4iTx36ld6l8IB8H3o+wqd5
nBhTgBV1BtsOyvAwIfxd3zThSjDFBzanGUHP6xCZSmB0YQ4TTfVLg8JSGvl9+OO6DRGACvBLQKTR
u4bOrsV5+dzMakBJIS/au9PGPulueAh/17voLXyo/kPhUXsElYr6CQHBuWcPmFqxT9+u/wbBOs9+
ApcQMrMJDSpVuSs3Y6ADbCrL9xBaTixPL0Ay4l+3JiqwEsUAmAmvE3VGB5+7d1nLAq3TsWIdg0OJ
hOBlnAKAt5gFgI5bTalD2ExIdK/V7QbzXStXQZCknZnnoovcqUlqpjW+qr6R0JqCKG+HGS7qavKd
LK1kwqLc4cwaF2UayDGkaQxrmvbYotwwAXYPDnUremUaAjsKcKeg/YfQdmaUCzzGaOs6BgaBs63u
qrBHkr/2vBQ9X85MzGdqEaNDjZS5lGFdkvQQGJuG+FoUerp8YwTv6TwqKDn1p5ZLGO3C9O8bJipm
vl1UdVwL1KPxsTd/yeGPkT6Tbo20S7znpqHCq85njKd2hZJITuMBv41Vrzn0XrsPY9r0Fdnm9bM+
eTh8YJ5eFRcR3CKCyWJ0Qubm+gUrmRYbZRYRbPp4kH/rPyhYp3fUM9z0GTx+R2VP/V4GsezKZRI4
djzjZVQbAM+FO+S+Q5RIbSGpuLvDZvTVj+Cn6k/QAsI8X/i7uDU3+Z2Nk71PHtbCp3C5Bsh7wcSG
Yj8fPeVRD6gCtRE3GJxEezVBHNFuri9OuDY8bcCrjZKmxUvfZZKsDZiGxU1Vta01/MLk7xg27lBs
h2R73ZQgVZv5Wf5nirsxFEyZxCxhKlK8TAKd8s4utqO1siBBzDqzwn0sSM7NU32wQtLtoN41ZI03
QfhRFsuYl7m4lX3y/0j7sh63dazbXyRAouZXDZaHsl2uOXkRUsmJZmoef/23VLh9ItO6JtLd6HO6
gQBZ3hS5ubmHtdScFBEAYmJrwWvUbULe0MBa5DKzx6EcMvf93ogohGElVFEH4n49El0oUViG5GbJ
J4ZxIulBhsBGsgExFUR1eLTXa+f6Cpm5pwQ5hYqwPEsGlJcWZfEMrSyfSA5OqFMUToUiHS+9tQqJ
CQICNrW5SZx9g0lm7Kdyh0IJsjRp/ZJDbApMlQnY48bWikExJox4Pzj3N+PKV5zHFv4FZe0UjXhM
ZkZcOj3m2qMo/daGn/chVi7BKwgm/Kz8YJLLARCBYYujVemWtgtAFzAanNv2q2+SecUukdhiXd01
Khh0gCQX/YvalvvYn/ngYnAMj1hI2Wnk31X6oUnPeE2U2kM2hCD6Qt+NYYlJbBlquIs6DVPvlRNo
r8QXQVf6M4JEFJoorU6lj0OvnmMovN1foBWHcPWz2SAl6kJJrfGzO+QzSL7ppTcT/ZLUvQ+z+h2g
SIueQhMkNGxuM1BCv8A8I9L22qS8RaaZfQ+wDSF+rMghniEqPHtDNZCsiZhE//tHlgotMZxhaR5l
gvNj3EVaZhBUi9CxlT7n4oGmHOtuNzL+fh2XEyBUcI7Of75wR1kHelE/xt9fo1CLoVvMUScbU/y4
v4Yr3YWAQeMuMiWo0wHrGmZu+FBzFcoxafQEipE+2YiyNwSOFgTgdj6rk1N2lm4+NHb5oipWY9vE
UovNxHONa+ZqmDNH2DGrALCdqE1YSPFIYG6Z/5Mn2kMzCt7YEl6n9O21CL4i/AeTvRoKY2yWsUmp
VKZNiSTcaKkvotc54lu29x/0o1rZjaUfs1/Uzg7pnqdB98W6c32WgQweFREsFBivYnukJ1FshUKE
A+41bQotAc/r3xLaDQ8Y/585i9MGvfzNzGAc5XJ9yYcUkkFTJlWyI0VR/gjiB8TYQVpHkGEya82R
wW/k9nXVoUNeazNqgd0jwDB7mYQvvt7WL/2U49vJYmJsiR/z7uN5Y9zYg15vUIohn4mxnOuNU7ZZ
qilxhUq7EiA3U+itm5qpZOuCYVglyR7GKkWInkKZBnEWr53xdkYWgRtGgvAWQsHrdgxC8lP0mVc4
/PGOfPd/yFbxICBHbdrKDozkHx1S1FtMoFNrn52VExhcOOHIrY+7wv+6/BbHU5BA1SaawM/T34F2
8COv89/VjBNarZ6KP1Z+xRMLFBAWdLE6S2IY9VMCbo8KmpzS630XsHYkMKeLDluQ+8yM69cfsq3B
lF/I3TwEVDySVj2Gpuxp/oQrOrcMwedc0LdxHPqFMUAN5mwQjd5wloEoQwikFiZh/AlC4sQiIafW
voqAfDOiLG2+FljP6eeEkHAOAXRtYyqYtqs4YgarS7ZAYELFsUSHCdi2UT7IL50PjslnMT6YCYhZ
eDP7t3ccVsucdViR7QLjC+OeW7+rIIXVY5tPJ4wDiOXWD13aWyrIcLmd5vN7mj3SC7AbKndENhWd
x8Gq0snIsR+9rHQNcIcGW03ZDLKT1+cswnT91gCJx/1duCK0e2UpOwznC9k80wjw8lRfxMESXk17
dHvvV3pUnSO43UJH996lrRXsCkvCQAsYmyxqg+HMzdCZy/k5awdvuRTk+lBgbBkdX/O6i+VDhYqm
uQ1CjgdZc6BLCCa7UYSm70vz9F+bOu2wI2h5nJy+QWVxIxh2zSX4XT0WYGSRka/CZmJTRwNNEoWi
i9QOik3dPIrTB4m3Rn0eMYLX/GPIu1T5XgjgOaaJnYs/avWvk4449Eiwqzo63PEgYI6lX2pB3Mqw
N4MwKpRArI5wvOWahejORwMwmKMxicQgiFNRJESbW2RlaMNkRxBfcrbFSv4NRqCMBT40iCvI7Hms
SkEs/QQDM1Ac8LVDNj5J5lZIjkHj5poTmIlV1mh0w3855cM1R7AAZs9mondB03UAxrCaKXiS/Bk3
J2l8rYu99Pc9/FdGskcxHuGKitnIAnTf9fijmMheCCPn/onnWcQesZKm2jgPc4WybGnTOaUHvER8
7VNstmh05qCtHejl+jGnrUXbXp2Is03ovdK/180+7r/dN2jtVoDwjDjr2GGYnX0RFIVaVWUDHRHD
V9CyUkX/RB0YHvt8Gt1wCCYXArM8lsW1RZzTdCiwousdBIjXfmoQQjky50a8LHluGtDS24L4mkvW
aIJ+6+W+fStLCCJ/sMKDHB7MjixFudJ2Ui5owGpMJH6Jor0UjTZtUj0aOcdsxTXO5CeoMOJhNxPx
XFsViD4evtCDtCMaWdIYnYL8EcNMJ0Eq9oV8CkV5Y6gIj+/bd/P9kFZHYc5APIkxHLCbXqPmsk/Q
VE5xftH/lbffyi82mWhH22CPvPfuPtrNl2PQ5j9fhHYIj2KtLYHWlTtBeo2rvdqHl6nqQbsQW7IR
cZwjzzpmTWk2dXFUAS+th02my4+FVkOxKHWjJj4NObgH79t3EyBf28f2iRkNSXU9AlVbJzXIc75U
9e9S/zXwZsNuU2oMDpNsaAw/igsKnMYk3+skDq0qpsIBSuMPJMugsjwMGoirBygnQPLCbUj3W2iK
hONeeNYyzqyOjFGSZmsrYUMMp0BLbItRnoFLfr76GSGJgP2JdCjIla+3DTQTMmKO+IxhcczKzZBc
4KotrXoPeRX41Q26QFKukXpBN+k0AMkkbygkgSKRotsKrO5tYlhBzzvzqysIwlOkw8EDgnTENZwi
9GkTgdXObkogRZKT4YA3EzlqmJr+L7bmAmr+KYujF1dJIRYyoApdejbASheryET22q5SeQKXNz5z
3p0LKMan1LFAKWmwiEpgXkAri9739lMxao5F66dggcN4k1hBNb4PixoDqK48ORQ8YiQsHIq9UaYv
mMXOINeFiWxeqMD7aoxXSfRwaPMKS1nKSA4RM7fSqkUPfO70VOW5lNvhzK/VBDONBFmSeWGvP1yZ
5cVMFVlDgmf4Jy0kGw1TZ2MIdk0Wffg0Q7axbn/HIAVJTPoQGiL6RWonLn0HpeJ3BXOz9zfSjHf1
YLr+PWwdvRN0WvTt16qDmEmsbEPprDTUwL6yETQHHD1F3f8Xnga3L2oHyLvg2md2lJCnqjzQCl9a
zCFYQXVXyUdnKioHVwrnnXubwoeBSzBmW6WdkBsg3a4xknKQuwOYHJXooc+cXH8F6WlqvocoHtxf
09uMJIPJfOSsnBqMDAJTkfY0OmcNFrJwmvg5QZjYOkp+DMRtErs1yOua42hspX4fNk96hPjqEAW8
js+1E7xYAlZiTxAgDCOn+Dm1Gnzvk/qXRhKvGPy/fR19WY1ORLRuzxLYjPuTEGrLUQ6YWEdLhka/
Id93ub+ya1cH8iH/QjBuzwxkzcf0DRY2rq1aOdS4/CfhUUrefJGTguFBMZtUM5tZyxUHo4JgYJhd
aqHcFDqo6CketpyVW/9Af8xi9mhTh36Woh/IhiMCI7wTCGjmUzgyLusgM5k50o1I+TMGJYNpRLWA
U5fU6GWJQ9D6+4dCppxPtHbngsnwXxjGlipKc7+c6tqe6HGoXjSh/qjpKU+bjYaUSAjCcE6Utnpx
LBGZ0zZB0EyMGyC2FFS3+db8B8bJp7Gw9pFgT2CN6v6esBROZRZR+yJtBmXptRdvEIc27YC1FIPm
IUa7lqD3btqcMILcyBxu+Nuu2/lcLcCYKKZIAxqoEeyLCtkdQNgbZmimLirbLzZdIFlSh7GSt9y8
YNoVQsCtZKU8Tor1NV78BuZsB3RKkS2GwZpmmf73QXkC2WLWQLoANxgEOPrKMpRzrX+7f965uMyB
h5BLqKNAgFOIviBUHsTukoNVhGwKMAgLaWYVGiifFEdCZHAfevW4LCxmjgvNOiGmI5ALVAXEbj9p
g9fxXjTzp2NvX5SK4CwROCFHykT+Qg91ASFoa5tMogPGBLyamvbjviFf8fQ9ECaw782q0c2hAeO0
eQajWkPeTdOrhIdMOYGl0S7fTeLVzcnIfzYmZxFXncHCPuacCGWiCJ0JaDltQMkoWhNoU0KMNIBG
WDO3haDzqipr8QxEyFRIiqOoCq7T65OpFjQWgwmIQvEydsfGtPRo4xe9lcql1TZb/vj3TUv6fDz/
ILK3a2eQtB4pEDvda4ir5Y9jMmEwLndoODMYYS61QG2MN62yuj9laDehdRONR+yoLcZ7EqoOKPnl
wkM9XBL/SIPd/Z2zujv/QLC1+6ClZT6PMtklJJKg1OD0KY/wj2MF20aUSX4vpLMVKsr5VZI7wXgI
w3/u27EeAyqQLJqlrqDDxmxDMZDSSDCAkibhN/x/T6qMbaUXbuxP4DmXvV67UNSXEPjyOJFXT8AC
mnHeU5VlExoYAC29FUNomWln9VG7a/1vcv+9Lnm6h6v7f4E3L/jiYViibSHuu3lBzcmTp8EDu71b
5MTKzO4clJonztwLKY93lWcm46ezoRtkcYYlpvAm+J9dWoZgwBw3ufxd6jK3JwXvvbi6dVBo/5pr
R4su81HbUMnMZsLKRmTcEDJAQ7I4RmAPM4zpFEuvkTRuB2jzWfoYFYiz0UxrCu9iYlpG7Xu5xhsp
XT0tM+G2hM4osLYznkdBz3obq0ZlT+XgpaR9GkKZcyBXY9J/ITSRmerrCjxIpxAQcmv16gmPlzjx
DAWj2JyAdO1NjODm/9mCt8P1LhJaVc/MQUeIAeGCCC1+LapXGEHZUm7Jbv0z/oFibidM1eeROH/G
rtl22sXo3xuJdyn8fxzAHxBmr1CtmcSxgT16FiCbB70ENOEm6T7yUayiLobLSYDnb80bZeECM8cf
8wVtAVlMWCc24LBGO4QMiqlth+kdyIqM2lYuT6XOCcF5S8r4AIhRJkYsAJQSR0fjuh94et1xwu5V
EExmg08c/6BF83qLyDTNBmP+bhTNGUNUeMqouaDsse/77tUtv4BhHEtJtNGINcAgzW61xWeFWasg
R9davPH9gQO2uu0XYEzMJ5mNnlcjwMqRWmN6KjrFHoMfdc4r5fCAZne68NJaIFV4IwEooo9x70kw
SjcgP86puPG+EeOS1AIXQBJjI4g68h9B9hyK4yYr6+f732gdBo3WGJ3FWBhLblYWeZjVE9yShGHA
Xh6Rx34ewLbzv6EwjoImRRWg9FHZQ6NuJTN8gdyhF1OT80xevckwgv4fYxhX0UZ6GrSGCR+Ld/8U
eopPXTXaNnhOloEz8V6vvLVjHATEIHulzQGHgcaQ2AXprDjitQLwbGLOKpI1oakNWLoMXWtORcww
ht5F9iNKjclt0GdZYwKql105ndqX+19t9fxqMtpy0JkHfgLGvqqs00YzfUCrB0THg1Q5cuPIoS1K
/00qE+wH/0IxVtYphk5oAShJbh/kYISY2tOQofwmtsFnV6U7GQXMvoDg0H0TVz/hApdxUYqYDF2c
CIh9sDtasBSh9ToYek4ic/UbLlAY3yQnIN2WZ+sMxWnSpwLsKBIK6aD+LirT5bZ2rHqoBRzjoaa2
a00pg1Fp4HZIBHeFJ9ffFa3lLB4Ph3FRUtp3RinCLFI21jBHjWWE5HPy3OYxL2Kco5abh/C/Nkls
+ARJ2MyPDGCZ4WvU70LwUCYQW2jtqfetNHmezN+D+JIrvInJ23H0+Ym4AGbCqUHQUm3KABzVBprW
f9e+GWyMAbJTcGVlInhZ8dx1o2V2htMjWC06sHdA1YvI4LTu9CcQrT+Omcir7NzfUiiMX99CtNEV
1N3xjZv4tekOqnFp8nAfp2+a9j2peMp485e8XX3Mq0PXCPOj7MC6LI1FUaVwQlUqWlAG6fLBiuTa
otJuoD/GFC3C4X9zn3+N5EDlADN8jEcYEp+QqIJzxQMdM1du3Xyr5X9KHkvyeoZlgcN4AKEd47j2
YZoObgO6yyIQ6f1Mq23WXUbJk8huKH5V7WuZXjA249z3PuspMrwFRBROkfRgezaUVgibvsfmqhpX
rQ5T64Jg25LzU5HvzcaJdastKysA4ch94Nlz337Pf3G/JhsXMQwNpnLsEhg9ScRK0dHvD7wDu5pa
+WMaO4E5dkKTphIgDIrme1hR6FsNkSymIROIJo3tRhs3afDXffFfx/WPZcy50ClFl3OHbaMKOj5d
+zZVqXd/8dbvjD8QTJShalFbixABsM38WEFSNMpfdFz/90HWT9wfEObuBcOwIYxgYbZR47MUYVfP
PAVEtmp8MG14apL9JGzvQ/I2BXPi0l7MaEsASX30MOvp3s/p9/sQ6zfGH6uYw6bJPpoyDAS1JVqJ
aXWkfu612jECG9V/A/QnnmC+EcSsel+R4R4VHZPgWRzYhBpuN1ArN5T3+1irrnjhQZjbXTFK0mjz
lgPxUaqhhyx5q1GBbo1NG2AcjTchurqGCzjmdteKWoICFOACSBJGJ6WwS+NMVY5rWt0MCxTmbocw
qIaRLaB0ybRT1faX1BJOtH7fEJQdr6+wVIzNgkaAiMrKCRGdCLJVCY9pubn/fVbPqzGXYSRRUUxW
JgQc3KSJM0wfkiE/Cop81DLxTav0p/sw6858gcNsbsyQJK0vwy/I/TtKWZLsxtFGlqxGDVyxglzc
Fox4IZhNObjzXr5x5gtcZv+RUajrdpovEbRUVV259yfZwuPR8elg0aRyQ/NHTcOfBWRmilK3aFs/
6DpI7e7/jtXPufgZzL6U/YnKfTNHJGm7L5TiUKOpKxsGiwi8EebZonsWM5szM9Wix+urstvsl4qN
U8V43KGtuH8HbSvHK3LMumHFrxOfohEXx63aBGFkA8scbVHheMZVJzLfXeAcA0mOwXxERRm0WO+x
ScvRU+p/0KlTYEgyEh21ea3EmnO6V2+XBRrzrcxWTxp9wLcS+++ketW6AzHfej/EzMKBFpuxaTln
kAfIfLGk9gUFKj0wj8ZWoNlUOEoYvqjyUya7qubKvHTQqv/6YyHbsKyGIWSKSIhDb4AWAZmGKW5e
7m/49VaRBQbzNPBrtPvQAUaJqXgxo96c5Tw7DLeSzpHS4VT28Vls6p+V3E+2rkyvtT/tBMNH/jA6
R9XM7lalsZunsg+xdNDL9GMORnETIr2cX0pWDsysJjk37qmzUDnjan2hETOIGNmpjLJ+HXiY98Jw
VF5sSYypzDLZh13jKUUCRk14qrjfDY3JSwLdEg9grWZJPhXk6eiv/QrFF1FnUEBpuJ2/yWiDYhZj
oLb+gf9Bo5h+Umurcb+Jn40tPgkP1GtewRqTXoSH0bu/Fmu3wfJHzBtn8SMaGUwehYClKEGFOfTS
JldsTdY5znANBcRT/znO5vxBFig+xgwhZIytEYvTXkDdKC2UU1BC2fvvrVniMHEOxFLjItZxkJHF
3cp+7pY6Zg8UXhJ+3TuB4UgXUZ3VWN4gjNrlaGuDObr22mmTVWdO22Awc3TB3iJqvFn49asUQ9tQ
yAEfKrrar5cv6PXBTxTslDSxU3208vYhQw0YMhNDeOwp5BVjS2hAYaRyTsqq21gAM7sjiEwhzdGw
YY966UFx1et5slur98kCgT2KYaYilMJSDgZC4GlTaJDC1Lc5ZKfvb43VSxJcgZi2gZweEnjXawha
MXPIe2wNGj6ppRuh4UJEVKq4mI/mQK3u9gUUs2r+QDqR0hmqvChSb2m1CHLnmHOH8FCYlYM6ONRr
5lydED2YaAyI0O3JJa9dvajQ3AwOY11G8z8DAjFroZRrfB4JZMpB9DBCbkMElU99NlM3TlKrlDk3
/y2j8+wW54keZFh1FTpK1x+qSLskS3RANtRKjurT+Ki91Cfy6G9EZxYmw4x/twt+I6i7v0HWDvUC
l41sSJXQWPp6I007Q3dVNM7GjyQ4tJIzxpyy1u3A7LWRbJ0BCrxJh0AYd6VnWoGrB1YA/w8B2cds
n0GMzZysd9FKX8sNxMkbC8qpAue5sXYeluaS62VGEVmONAXbZxo2bXwYR+SWX4zK0aQf99d1tXC4
RGJOnpqZlPQBkEh8gEtux9aRxYOqorNE3lbapoRGdsmb57vlRGNWmDmEhtEFpBOwwrWVHyeE+ZgK
tYYAEjxW+N68+k+HRrYw0+L88N2AV92WeZuJOTdkSiKxi+GxQZK38V+0x/i9dnQ3clGF8wJ80Evs
GA7E5XfqU+kI3xuwVnj1R4HdXdj1FmGTCSrReLeVv1Ub8SIcIt47ac21z4QGEHAkEFRhB40x7TUl
0LvHHTac/GgAbQPv2lpzUMsoi/nuFc2aVBxxeVDfUsGuImSezx1UWE1YLlGY71ylaqRM8xWVwaFD
n05Pj2CaUMJfcoteilSAlopbiq+T6PXmRh1F9/7u5hk532+LyEZBVReNi4CX8ksvYNQQ7YMZ5RVZ
VyOApZXse6jJBOiBYD8h/VAZm7p+mPo3TYC4fPpRx69ivlXLXTk93Tdu7XJeojLvIqEY0O+dwTil
FPbJpB/69DeoaN/rUfh1H4m3jIzTrzoxpxSs77Y+PqrS69g9N/7v/wmCfQLFbdpSPYAxJJlsEhHQ
vk6bKaXOfRjep2LnNSfDDNW2nxcNrGzIPiDQaI1dRc6d6vbSr1g65JIjatnuPi5nBdkQOwiHThJD
wAbqR4UUdiddVPJ+H2Pdq/37bmLjUNUAN0FW4CtFPZpJO9Bx9cKHYfSHSiWfsfFcG9H2PuK6l/qD
yJzu0UyqVPGBWJVHX0SIm0FihHPxr2JASBYDmxiEvum+orVRS/3sQUgbnnKzRyrIVPL2531LVtdO
UkxDAbmZobJrJ6LbCcIbMwpElUfBGiH3lI4OEWRIFJ0DJM7/Nzxm5bJgGhOQE8FjlE+VcvaTTTI+
xMa3zL8MYOW5D7a6+RbGzX++8IK6GMWJqAFs7CCPruyqpAYLAKd7fNUbLUAYV5sEXY/yPkD8vnRB
cGWLkYlcg3FGUwtn2/E+FuNutYDGJBEBBU5T2UR7jttMn+PwLJOD0HCq4atr9ycNwBYT9aYei9RH
oKKDAXrs95LhRCWPb2A94FygMNuBKnjlo2UU4nnH8Fxtpy3q7bvsWEC5KrZQQ8mtyJF31BaO2UbM
rPRouITz/W5Jd+aQbPEbmF3StApIYhIcge7nGepHwRv6F399vBAVin6l09mqp9uTPb4bbmvL+0m1
m43C+Q1fDxY2V7r8DcwmQh54yOoA69CCr8LJelt9Gg61123jz/JneJFB3OmicC+59w/Ieji6sJ3Z
USklo1aXwIVIliFYyLUcmi355f9qZQvVcHFDrPITfR3nAo3zupvx6o+rh2eBP+/4xQn1FSVJzAj4
6vPRBEXHu//Qxy6+vbiBCNtTe/CfyAk0M8HnfcN5uMzFHmt1oWoU3xxk5hHyI8pxElyuuC8H5esJ
srBOTzCPMMiwLqo+Y/8AsYgk7qyp5LxN5x97Z/N8Xf0LGKLWvhyb8yKCFDgN9X9kvCEgS2GJ8u8p
FPGsEZGj5rUHrzqjP5/uiwVjgarQqQq7Eaht8UvwFSdNQDuTguDuRUOONKo397/YjT8ClfOcGAX5
FzrMTXbcfypMLREFkLXHee1ATrXVvYKUnPPwVWW6WsqZMJrMrSSo9uMJwjwOIEoZhNksEAjK2tFV
jiBW3skOPaAIjofRBI8QOoNt5dRG7ZB6zo+9bbj7+5beZqyZH8E4xUgHSYQyCz2OHlhdoYn+aR58
pz5Gu3xnHkGc9Sv554FYyblwDE5ofRN0MNCML8SQT1gl1ay0p43WAIZJuefcYbfuloGYD81i38hl
ZXTGLKwNaiRkapTv3+ON9u2nujfO0xai6JfmIfqeXfKX5jR9olAbKLbk+pzX/+zX7n1nxu/pEwJT
UcaPAIltGT/G4kaSt1n2kEMhhPM1eUvKuLggFSk0nwClW+k3zFRpg1V8Zq8P3Zvw29gqaBJw9cf7
mKuQUBWHuBNoXRFDXi9xQgc6GuPMmiKBCbk17SLkhI0rrJNf9ED/QrBfMYpEKkyAyFNHOmPgIfMa
R7D08wvaYX5ipvq39vJeWYJpV27mlU5fWAYYqDfRp3ZqD7HAWeUbT4tNpYG1SAFrlwJdEqbIk/Sx
XsiFDGUZaU/6PVXc0fidq7yYfMVshOIgBcS/IZ520wqkplk7RqKJzRtH+cZsg25L0VQwWTpVtcDR
zdA4RmIWngIzbHOnyrPy1Pdp+hxNcrRPM5Llng/1gNgqSyR5ieanz0QwygcSD1DxJspQgkZLhS5u
3fe1b8U5mDddLYpGAn7PSH0Go12MlsGaaLu4rtGwI6SSwHss3lwokAHC9DxeBWAvggYK4wX9MQn8
qoKVcqKK7thT31bqWtj1zQxYNiBCJr3iqWPbeyhl//Vg4Axv6CBPwuiViLay6+2b6X0fJQXusoiQ
ctPoSfBhjHKBhE3FGzO9vVUANfPHoNYFyiuNsXQwYymmMZQw0hbdgbpEo11YaAZyuUPP2aJrUPhy
s0ycKRNk+6+tigtZyPsUfM7hWNSH3NCKC4kb49Mo5GjgYN0W8TDtqGHcGTxUBCw5LJHkgOHZvi5K
XFM2fTHP+XZwVMlpU2gg1bGVPGBUYpM8BJ7hqG7qwhG9U4+XuV4x+Oo3MI5PStqmD3r8hi5+UNW3
UP+WgJTuvqfjYTCLOiZi0OYGMCZ69ttzFW7i6Pk+xK0zvVpKNgFfDVPdCBMglGncSFK6Rczj/D0E
eIwwmY1/wHA3W7m4EvVeoSXYvvHMAQNnpOmPPU04VtwmJL/mX/9gMA67a8C02QjAKN00dOPH7NV4
EHckcKW96YWWVFgT7+OsrdzSLOYc15EegukNkOlUWSYYajtO4Hvb9ssYxWyxAInkXJgRqgf9ObRJ
hWqF+qQ4mpVteqfG480463tqi7z32vwXX8cP8zTxn9Vk9p0APitzCCtQC17Sx7mPwDa+qQfyGNnG
TnfRUbMx36S37ujbvJavVWSFgLUStS8JRFTXe0VTO2gllUDW8shS6Ev8keuJpQ4OCr7i8Hl/Y65c
BCAzANPuLOGCwJsBg3sx07ZqIIohncdu5klCr1xgDxo09rzRx6wjb8Rg7UBjaTGuje4aSNwzDrmN
w9wscugOU4R+4rDP4h8Y3r5v1W2wAIQFxrxvF8etkisB1LvAEKgV/e7qdzFw4pB34G5aa+c6PJJ3
YKKBRiGKGdcotdoYRFUGavuv4r541uZtQTalgerOyHlGr3ymKyjGoLAn/lAJoPPBCIigxVYWPmsg
pAxNS9KQBLXLiVOlW1lBHC2wpqoGCOUkdnoxVTsTXcKgwS+Kcyn3VqIgs4uWqILXE7MKBK4n9HbI
GAFnWxoCopU6TTpUTjBXP0aSZYJUGoQFbq2UT/d3xYq3ElHZ/Q8U+1j3CyUXpwZQ40zAVNPz2Bbf
7kOsbG7siFnfFfzO5s0btlQyxHQFIPoucDJffkyQbwoTXvPMmq9HZRwqpfJMbQurrrdei/6IPkjH
DGMXm3Z6itKDEL8FZKdClyNCT0Z5mAa7j09F+gjip/s23qb0Zg1JGd9KBQGRjGD8GlxrVD0JfSWz
yQVlNWSUHoydm3iJh9zraI0b8yLgHQvNlNZ6FTyfc7bXviLyeSLqh3jDE/bpIwqC3kWJmtkS5lCz
Fkci2tw3cO0jYsB9bgFA1wZoyK7tU1s19zU8LUAW8qbm+4lcuKHiLSHJvIYKqKuR8wCDNasCp0Td
qGWShrepekh6x7ToprOGS3ScLg2aG4TND7Itt/ftImtnDSTZUDkxoHhyM2Q4FWreqCUMy6zaavcf
tdvEFoZGQOjWWpl17hzimSc0MJ38bQWpmV1mJ5AWsgI72PB+zG1icl6BxY8h16ucTFlVpDV+DBoe
JNNC2sy30XNgNY/xBs9J8UN/gng1HkiRffrFWYj572Yu9ytsxnO3mIWQQP0A5auP5Pe4d6TALS3l
sf320/g1ecMWPSDb/kHTrfiie3luSTaX32p1ky3Mn7f54opqSyUuqvlb5K75LH90FopaR9XDprMH
VzheyKXg5Ptv+yGgBw6XhHc0trYMQmkGEpd9H1Q5lGYbD3S/o1sfkfc617WbPA4csBXz5le6AXnN
WYWclbkcgySvpgoF8T7ZiplgTdM2gpjp/e+44gqg14d2HXhBhNbsBWyoeRkVhoQtNEo2pgbBOMxB
uE3bI1yfh7NxCSJkgWz39Zr5UNWqaa5DQOdUe+G70lv+A2kt8fkx+QjdIN4iIVFb981aOxpXoPM5
XuwNIoQZNTKA9nbtBVvJMhD/butvxbt+JFtyBsdNtQmP2UGaVQo44CuhBrSjQYGKfkaNIP67BtfN
aSj8zIBohuN75THeGftAsYZP8oiw8ELfIkfdRd+S9+g59ppv98FXHBRIbCH/pKNbDtDMKEJWQucg
9EPEhvToh6eoPOrm755w/ODKtpkZ4TVQN2tI8nzdb4vlNZKINgnF2GJfvknKh5b+/d5HnkFGLttA
k+9NyoHWbTOCZJuC9qi0+sQh9Ixp2vsrtfKV8D6QsfNB0CPjLrz+SiT1Fa3v5scehuOyl97wch3U
hjtRffLBuChwK61r3gNUg/Af0MjE7CE7vhFl3Qja35HaTeP1Lui6fpidQ60Y7Ou8F9DaqbvCYg6A
gA4hElbAwuRxdsqOxq9woznthmzI2QYH/FH8FHkvzZVdcYXJhFRSXkL7VQJm7oaQBMlxRYZOAncs
H8NTY+2NgHfMV3zkFeL8EFzsQ0GUMPTcQpBQxwX8U3xLAruxxt1o1Y7p+s+Sne7bHU+BZDaDufqu
QJmN09ckB1PkbKb5PAkHjC31mi03mUXRYnl/j65FqUssNrGSZ52qNQOw8AyrXYgkodZsK8/0EDuP
+qV+Dpz7gKsLCvYE7FI4EInNEYN2k8KriXCW7WhPuG5i5aVE691fosyKPDPTGMZDQALIEkSLoi9O
eKSgha9JQEvtFBIGY3msZjemMCDM3igLEGn4A0BUH0pZ0AeWqVfzHNXNlp9FfyCeIuMZjoks9pEn
Sv2gDQNUf2KCzS47fVBwtsCNQ/9CAAb0bmZxESZr37RFAfZzkM4NpenQ0jHMJylF88TnX38SRAAQ
E0FXvC4Shb2l86rAO7KAShIm4NNywATHe/DXzwJIvSggSZJEfHU8QBhbhDoP1UoH8TkN5Yvcdo5K
JY8EHD+08uGvUMi1UxjT3m9jf0aRkx3mej0pas+yXnt/v2LKzLiGmoqCNDzjBroBSXltArd6l6oP
zSAfdR0zwVn7X8CoyBET9HqCqZet6Y6TQLRKRVm8hsw1AppZJFrgsW7PZ+HKpeHDQF0OtyDklKGO
wtwWJC8pMvoa1JRVddObkQuqfa8PNKdO46dB6J0w5GW+b65fBpK5LGIDA3xDo4NwP1LQmO5GxY/A
b5xkQMYu3SiVB33O+x/sxm8ja4wCBsJQCFZBqJLZ4vqUa4XaoKJqGDWCajxN+gIcD4WnTcZT52ec
GOm2m3DGQ8SLxBZYF5Ddut6HoS+3fptBp6P3S69N3ULbZ6aXow1ff02SN0m6hOGHGXAq42tWYi5K
UZDSQPDECnMhquqj7P9Iu7LluHEl+0WM4AaSeOVSm0q7Jdl6YViym/u+8+vnwHNvuwqFKYQ9d4l+
6AhlAUwkEpknz2lRbDXaQxR71dy7XXLTzZB3HiUVXkFoQncPebbO9MbwKDpfoF5m+dpUMIUkeF8Y
4XHIM8y+Nv8MtH+8/u1EpnQkhJj8wq2By+nclAle+omM8BZijSpGx+vh1omX/lh3jeL20fIXkQoC
L5g2ASuNxVpf5/YmHcDCUMeBaHUrwMSD69hoR8oKMaJvBQUnZLkoxmCg0zi3Qmm2wHvQQ6y0zMbs
TGS7QLU+JlpuAj5RbZay/Hp9H8UWDbY2drvzvbzGbse8bRyG3SA/8wXEfGbjrlHbuamTbTopkFxm
j92fJwlaN3d9ZcewVxfJP2rce105H2YoqmM45dFqZfmSIPSD9/738rgjvuCd2eQZNtQpp02tfNEs
sqlk2tFCI3j9gF2PkYrycNCyWiiUe7GGOdP3jfHYAx1sadmf3/u2fmKF27moGNosZVieOdY3aht+
Hfrm1lg/o6SVICFE60GzFUER9wu4zTlfN1bwhqzpgkg8PuUT9SJFcWNZ8BXcML+mkDT8Bx1z/uo3
U3NpQwjrYYxQ82P1TU3eQnRZy7B7bJLvhS2JF0Jz4F11DBUkWpAHPve7ZY5V1azZrbnWBzs75saP
FtBT62c9RfvReL5+qgRZoA2pGiQBSGywi1ykb9VpULsRGUdG6acCklWjTCQvYlEARHpmoOWDNO1i
mguHSDX1DrEWZZy9OpT+MC3v6GkAgUgk96TIH5Cl2WgtsZY/39BKtAZvOBuwldTeYa7RzdUdG4C/
vmWX5VvcjqdWuMvDMpOipA0W1Odm8UNZiXUIZ6N9gIjj8qIpq71Dd6XeArWSozhvdzdpjV45qDZS
eq/TaXy2ikCfxv31nyX6kthiitoNmHsvGBaGvF7LPDZR4KPhg5HUD3Pzct2C8EMakOZGAMEbix9m
1CNS0qVlFpImSw6jWmjpdjY0cE6lNQm/9/Eoq5SKTKLwBpUTKGaqcKHzwxD2hhF2BEEYk5NfJ/Vt
zYzHGv10zAEUm+uru6xxcJ+VO3g0WUgYW3AeBQp7+bS1hsBaMdgQu1bqV42B8Z5tJ7tHRacdqCZc
1RAENXUe3KkpUWuvBMimuu33iWXs12Q4hvm8WxDKwnY4ZGbrX1+ozCS3p2NlLWEZwSSkqtzetNzZ
+exDP4/CAKjLMvmLeIb3JYFoFB6ZF5OV47KMZqQgnvVlsh1s9Wup1oeqRk/W1m/7BbxEhR1cX6HI
ayCaazBxSUht80EtbtaZpBQpl40GnLkCbFyUN2aFPotDJKU4YaqM88biJwzi/+ceqttpRqoBHhqi
dWNkE6YmYTfapNnnbINN5a4Jn219I50sFoY6eAx8xgTaiGetigGXXTOTQeI629XK4qHts00o5fAR
ZUGorv/XDE9S1TlLBD1QmFHbKIj6VwVNi6baxMvqjjJ+OdFnIxCTBToM+mkXBMARUbRUh4AsMv9w
hPKw84M2k+0p/RxDzCzbXncS4Xk/jS3c1ReBLA6ALXwtazDukvapcuzKzappm5Noo6/5t3nFUFNx
Dx4jyY0o+nZAQKAjgcQZRTLOZ+xmLMMohc9kDcncmpj/0L44oLPcSDIx0Z0ATBpC9f9yBnAhLemN
slpnBfnRsHyrGhq7xiITARZ+NQL9CAy/gFHCYIs9yZPTYS4mQI+Y1OriYtjIrdIUVz0Is6U0cReY
C0RovPVR4kEYYcTV56acSlnWaQWcz+p7Rzv01IjyWySb9exCNpRa23hMO8e1Jj27M3sSP+mxPtw4
QxtL6jSXa8ZzDpEFvwQlFIdvQxNjIlONLMBDJyOYLHcJQbzeE7csn6476eXxgyEH3ScTiHXMpXMr
NsaJDAZFpT/sjqX1PkPeKC93eKoCUSZJay6d8twUW/PJd4SWYW2AJ7EEKyYY92lAK6RRshRCZoRz
yJGQrtEYFK7A/HP3QZXRzYgkERLZAJYJURH1EszWcacrccZWnSPAZUB461v5uCvsfGMosiKJwAyg
17jRHFQRDHTzz/dr0ZAu1BrqzWVnfwfVyNYOET+iOvrjnBbvjt92eBEBQ0E5bDLQKLAKiAjUyqZT
5iAkmiQcCpdDMZP9i6gCsKbz5SgUHZ6usbBrSzh6qlM5LrWq0u0HmcyRIPBCPBKJKup2qPQA1n1u
KmpanOGcgrQP2iOFEzg2BmdunSrxnfbdquONozXeKsOQX6Y9rN2HlxyKuBj94MmdrKSL0zCBVSfP
v9Rt+6rXuKVVYFTUsnOJAjmWiAbXj68gTmgAiFlMctdCFZLzkdGI0nxYk8oLbXUzGh/5Mm1X5FoL
kZHns790XgaFI/62xHsJeDiibp5hqXdeiENxhQZKSIJ1fieYOe6DRtY+uPQXxGLAZFByt+1LvDNJ
apA8o1ftZW3/gpICFAL01C+NWiZ2JnAXWGBS7wj8CII8fBacNzG0nZDNoRJwMJwUxPNRE4Rd/B6O
048V0oSY6fH0qnzQUBG6/gFl28qdiryvQmDlsa1x17j2hDTuLp02lv6W2E7QKV9tS3JjCz0GTM8W
hSjJZQ402OZA5i6rPM0Cmip+nPXFV0N3tCV5q+g0APb5HztoJZyfwRYqenVoYWFgH0Hl+s2kqxem
nkK+FvTNUWQ8/peJiAZThOLgs7uMZx6xMYYcRy2CZWPd6CDDMKI/b8xpTLgVuSO6ACytOl/Q3OQo
NAyIX7Wjq5hzxpxh1hfUbey6lJxq0WJQOwYD069owjfD0VHLlVy3AXyOapeQB2lK9Sur5k4zoWhq
MXApRjT4RGdo1SxrQ8SqmXSlW4fkxi5Iv1GW9D5WlfuiM8kh1KejpigHx2n3il69NM16W+tR5Csl
Yk0XP6CHZCKXHQ+VDjVlBRlZpBrj5voB+TUHePFToarM2q7IhngI59SOANFlcQXVU2tTa8VOjYGA
tVS/HqmXzDHmr0JPnT+jlfipFnl0/GNMMWsVGJClQa0MBTO+bdDVITqQC2TlKu0QjbYbtU+6JtMV
vwx3zAjVAFBBMd/mW2ZFXjRFvUQIBAhCYaduLR1Py3J3fTd/NcW53QQHsU4AncKdcaEx1+XmmuoU
x3LekI1y9zH7xXfwSYKVpenc7fLZvj0x0Ht5c8zuWzd/fVa+xIf63falINPLXBsLxtsZLz8bIyZ8
Wj+kTakZGRZczVlQDi/2wsag+nm3gpyubQd/CdsnrW4dl0j1LYWbjVcns44cjhdxR9rdGAmBbTOl
35e59+Zau8ljGcxZcI6xxN9m+Iy3bCGrPcBMUqHTlFt3fZx8u/5BBfcHa06iGIHBNQJd2/Oo5DT1
mhUKvqfVPpnh3Vh+NQBynJ+c7qtp7oZQkisKqhHamT0W9k+S+H6BFvKSpBU0dPyqvcsWSBV5s+ZP
68FU3qnh9tOLMkq8VlAQhVVWACEMUEX5ia5srGkDanKo0u+Ufus8qkHl6d/wHrJ80y/24zb7/HF9
X0UecmqRW6eBnKqoATNEc0a9X4zqMEfkPlG+/rkVNO4A0AXWGUU67va3Gsqo6IoKLI1L0PbLvmk7
H0NkkrtYFEPhIBqOPTDHYJVmqz39anTKZqhT46vdx8d5M+7Bn+Fp79XR/MSovKT1KbXGub2qqSGq
5LDWbzDTubO2kPO6Ae/5Xe7iIS3TJxAdMoMCSa0i8wYMgNvDKXXiBvk8Dhko5I3uJ96u1z/SJV4M
8f/Ugn6+e7Zdk0EtYAE0v/m+/6qD0UxFa9W1ND87QnjQ+4768Z/364BowY2jA0yL19JF3S/FMPVo
dYhR6heNHAw9mHKZXzAv5m8DgBow4qfiQYvU93xlIWn1sJ2nyiv36b1z+8X6oe/p3XpQnzPfc4AU
w1wciPj86xsqOlsAF1oIv0AXInRxVrMlrgAAQMwqWr9sLTcyUOGQlY0uGffw2U7NMMc5cfqljOy4
rUcEjftqcUcfGWHlOV+Ar8229m11bF+tXXND96skdPyi8rvc1d/r404bqTFKUxdYn759n2F4vS+P
E6LWxnhG/e9nfWyA/RshPA6wLTrnb8ohGAYv/774i0v2Uii86Io43QfuOFpKakWqhZ/TdwHZ2c8g
Krmx/DrQn+vK7zZzQH1z1xyT++zNAynf9W8tNA4QGBqb8DK8IM8/QmQ5FUXJE6fTuhnybdFh3Ht6
zGK/DH+2k1/IhHoFHg20GQam8HCEMCKfVeRj25o062vPSFQgH8FLPUEz4yFxEjdPE4w+SC5EgS/b
GMkBxAM8phjLYes/cTJlGUmDalDlZSU4gnrnc4yQqhr6H89C4uZDMRcYNPYsQDn+3E5paHUYJyp7
frfKYZ30Hi1pIuNTvqSOgBlgOtBnwAYi4+aOZhrbkVWAoNizXpx3+9j7NlCV4QNNXCBkZ2/w1wNk
o5RbZwM1tuueIgqzZ7a589qk7dIMDWzrXvdP8doe8wfjpmhcB05Ka1DoGKDLflHfrptlf5U7rGdW
ucPqZA0cJofVrriZx9fqjyUe2I6ibgLvh2CVymMUdZBwV4DjVJ7SBrWKBlEGOMkXrTtCp0+Ptots
OFGUK50Z5G6rGoQ4fV0zgzfWtj9qR/tmvaGB8rPzFx8TcOpNt7u+hYIzjkoNq0Ch8MX4E859E5hC
MvUqfNOu5sNA5y26f65F/zHsD7wz3VCztyBQkiinCb8bqJdtdKRVvMm47zaNZTNleJYihe93djTd
FYrpX1+X0COxLA38Gvh+Jv/wMwcjrgj+CxEGINLN1zzZJ+ptjyrG4LXjiw6KofVBx4Mw+Z4P2xHJ
lSzzFa3y9BdwHzMjkO1sShNnIlyVg2EP+r3ZkM/r67yMmTqwfwjQkE1Ax8hgP+IkhhUKCaO562oM
uTyrJZrRhx40Tua9oh5M8+d1W8wXzo/buS3uswGyoFQFi8/L8N02t+DQTOejltzSVPLx2B86NwSU
xsm34yJZa2QavAPfDhRugYJ/dmO/txPZ/cYuT94Mw4JgTBLoSaRR53u3UFCBzpTFZbwi+9rxNEgy
aMl9U1Wb6zsnWtCJpV9VzJOvRNo1SeJCq8Duvu4KE/wLNA3WyXq6bka0IBAkATKAfjoabty+5ZnW
pAPaTVBCKO5tGn3MbXKrovSCkT/J3SnK0BgFM0H30Ma8Cb95ANkXuRHBlp7WN8MQPayLtbXBhIjy
xSbL+p1qPGiYTs8b3aXzna49Q2fyGHUE/MwfbZZJli563J7+Hn6L+wZV7m7A71lJ+FaNWmC22gGC
1Yc0ix86NBJyAPJtlCuARYjdufzjc4gsAoNDeMXryMr5ODqN+pJNPVDyZUfdAqJbmgf+JrAreoWC
R/236x9a4E/Q8UBJG8BmDWN7XEaxWlG7FDVkvsp1hnrJdsm/r6MkSMtscOGLhFWW0zCuIYVQumu4
LZfIb6QUSQKXPVsJ57JRU8+q1mElJrR2+28KJrxzP06D6/sls8JFybimQ28OWIu1eGUE1Nwe9Ufd
+XLdinjH8EY3QNODfgQXTxxtTW24YQ01apBqmDuKAdqFSkKJeCn/GiFcbT6eh0ldW/bpldvSvC/s
Xbp48yABIVxeK3BnFLAxQg4eHmBqz0NjU9phOtvYMKUD7eHU72ujOQ5mnbtjrnuTFm71SdZ1EG0f
6wBgOg5pMibJzm3mqZ21tChr4NihQLbQI9SutrTXXq5/JfatuajvIK3DDKPDMNA8fB0KDynE8hr4
gqXfLiumeMOP6xYu70lW5kJGBdI6cP7wzUQw1A96a+BdYTtJ4U9jDNb4eCoCrSvfpyUdEBejQhL/
Lj/Y+d3M3ObkhmFN08GscDf3YBdw7tLwhYYY83+qyuOsS6D4gqYbMGlgFkKDlqKsbrIfc2KMqhjx
zzBa4cWJs6/iN9UgXlosnmWDM69EOJo/1Sh/Dqksq7vcWR1yE6i1AfAAxB/fvV+R7vTURH7cJ/5I
v5lGEA6HyXwfVO9PPyEMoczOhigR1vnbLQk1Y+gqZKj18HW2voXtPhpeW/2wykioLr3xzBB/bUE0
zib5hMxAa7+CO8Gd5+31lVwm+DqKa4BMocBm4bXLTt3Jt+rMca363kIuNd+s/YNVbpX4rY12zXRT
6zdRJykgir7QqTnODyvQ1A7tAHN5vXiLul+Xdhsm78q861MZ1lZoC1QPAP0DOQwAzPnSxhU6Nogn
uPLV195JdyZZHyujDZR2cAFXkWQ8l+GJcUMyXLwDLUiQa51bI0qfRhW7D6epcG17MzkvYR1c/1iX
wZ3ZwPQVRV8PUrvcDVKlo7NUU4ZsvvpJlqcmPcYLoJCS0qHI5zAQhWcfoNBAWnD7pmlNURo2s6I9
WmGCsv/j9WUIgxGuDrzsfsU/bqsGtanLuklrryp9q37Rw8/IvDfSfQHK/UxWaxV5Ac7ov8a4YITa
bjwMOS5EBwLBSbYn9iMhtWur+072Phe5AIYX8DgBHB4lV+7z9JMzlSTGxjUN2DHaLQWnNIHa8/Xd
E1qBrg5YXJBJ4q46d7S4rQi6tHntUeVxobWr0yfFlmktiDwNicq/Rrhdc5pJQaSFkRWHs9p3yeeq
HVQoqlxfi/DjoKWPrBgl4wtO1bKuOztLYMbJyE0BhpYdqgqda0bzuw1ZST0KC8kRElok6Eoi3KkY
W+C+UUzikqgh7qaw+MESic72GmWvTLXfV9vrixPu4b+mAD85/1CjWfZdWlVwh2XXZfsGPJeUIHmV
mBH6w4kZ7rhaIWmGYYKZMA+s8dsQP9XJ6/WVCDcNfRIbDS3bvoBh0zQ2W4Doa0/XH8d005ODSkNg
NT1LBvgWLgbBR8WEEaIDP48bg8tpMgosZuqSTb0YXgrs/mwukvtb+GlOzLB/f3Lr5cXkWCkzkw1g
Dk8hvhUsmuX21V+EUjZc+t/lsI09sQO+vlzXMthpSbw3Bue1XKO/+fwnJriTiuJxVKLhAknn6IlA
lY7er7MkoRN//t+r4M5MZ9KhIcyROy3bxNAXyrZNBLJKs3JHaeGAuet5/o1M9fd6+AcMqEWnrjFh
bChjkNdNbERv3Srk3Rocv7eLYFxN6A8MKdiex1220v/ffvJZg2VjhrqJYB/hddC/jOY27GQVf4mX
E/3cLfQcPFRODRt5S307hsYgdW0ZJlfi4/zETWNVE1THYUSLfNoHo7Mh+sGWla6EvoF5X2DsUOtx
LPbvTzzcUJc41mZYmerPsHSbJRjzR4gDeDYInK9HIUHNFq5xYotz9VibktkeYUvfapvhkNxVd9UL
ulw7e3VBNIPk4WHY2X/8amdGMRyFzcIFxRPexqbd4ZFTI7yqXwwQZBY/bVkEZ7/7wuVPTLCE7GQP
0yjvDSfEuqzy1Sk/Zu17Rr3ReXYm3QU2WLKLwgN2Yo0554m1MO5zLW+woBr0VJC5/1betK59q2wT
n26NH9etid3j9+5xgdYeocY3mXhNt9AGNpLBj+cZJBvuRD4q8nrd1iW9HJ5+p5+K88WsnzvSxTCm
LrsiUL3k1fSgVHY3HtpdtqcvikuDMegPytbYtk+JD+GC679A9iE5B+2iaFSbClsbt2QHUME4v0Ef
Y6sZ3/T6dtT/4sVxulwuLAP+l7WRCWt6aX5AZDFxAX7aLK22v74qQe30bF9/Ac9OPAaDUDUAhdjX
Pgra8AspfRtIpDXdzYNfWbsqwR0a70LVlmwnW8CVc8EDP1dtjkkNdg4vbLPXkaZ7On8hIbOJcXua
go0s9Zr2bx4nv4+HwcXmKly7OMpgdJjaTQEytWbywF+gd9+mAmI+k6QwLLwKTsxxBU7MYTWZysJL
OWBQCUQXbV8/5YotWZVsK7kQoys9WccCZtTqk6Re3R/sIUT1cRdP3gLZW9n7QbYsLshEeR0rswF7
4XJr93dV9UVvnq+7JfvJ17yDCy1jk9cNZSbW6XlePoxFkvUIy1gn5+sCFeyEkZWOMODM/eu6KE8a
Td1aix/BnxksFrlJyvs6xyxiYclO3CWA8vzEcYGkdfRGTROYhm7rq1EMxzSPbiD5fcjN5NBS1Vsh
g1NpVkBmVXI/iGMYsnwbzyNGc3Z+PZTg7hiMHpdRqphern6qabyNi3WjraFftOkt6EQkNSGhryCB
wKgSHs2gDDm3aGAUcc5TduLIFFjNFJSaCfYzGRxfeBWdmOEOtjk4LU0X7GmfjJvCcbx2Su7HRPcL
42dMZTQ5ggYYPuFJ55VblYWXX2IWqLiG70rsMtkKa9/ctrsIbDl73ECHdHa1b+le1rEXfr8Tu9wy
rbY3RjBOIO3roVxfZB4dtj3kBtTV1au3bJTEaPGu/m4wc/HLJOna6QoazGH1qgDP67x1lb92G0N2
t4rSWVaRBwuAZYOCgrvcidWRYQX4yoO8xH5W6A0O/2PaWrdjHMtcRRQtT21xxw+qCWWlljgDs55t
48ifqsdh3aGqE1DFhYotOICdv9jHU5PsJ53csWYR1U2eYHld/k/h3CjDP3P/ArJcL4bc2vXAKfIQ
9riGCAiQqegQnptqh7Gfc/BreWu2sUNwXrzrzjFcqo2u+04kpeQTxbJTc5xDFpVt1EMHcw0yItvc
57HuKs6jA5TRSo9OFdTFz8GyJIsUusvJInm/jPPerg32CYFomrdjhdcBACuWjBJSFLxOV8ddrEaF
Ge4edSyvmt4z1VPjh0xG4S266Fh9Hhp8aBteaL+jSTREVoP4WDnV3ViHT8gXJBeOzAR3l5aVUjtV
3yI9qMMjOjtB08keisKNYpOoIH9mHDKcg6Oo1CSlg0BhYGxZi7916uymMtZV4cH918jFZBIKYYnT
zQh+9rK8r/2XhMb7BAXf+aNTntNEe3RA3nn9NAm3DoBQNHVtilEWLtMpAalwwg5fJ1veW/pg/jmL
BZppJ3+f+zSzWi6jwhLExLJ2Dk3u4wyIgahSgnD5m9oHWHcdYBSARTQM7htZ8ZhM4EHBNwKVhRvZ
SuEmQ39oYln/TOwM/xoyudLoYM+5nhEYUms8Keq3/50XloRUYQj4vRo+r1CRN9kJXrpA4IMRIHcd
8O4ML0kseYYJgJX4QiDFxmcCsAZ0DufxFB1v3RkBR/aWR/B9hI/+/FkdQLUfbop9+RZt50O5Xfxs
H7r5QYYAFsbyE9tccC2Vrl8cA2tc2DRNlMdeXCQYLJsTb6VQk8ry3YTX0nWXF9z5YDPEdDQo/gHL
v8ARlSSNMd8GxHUOLXrfHEHd5baVr9DX64ZEL08g2EEABPgt48jgDlcGJjCrsCiQgGQIzKXYKvm6
CTMMsrfrrjd/AhRwR1BASxfrmBIZykG0TsClgDVmtBL45/mHtVZ1KqcUmCFzaKAAnutloE0ZdYes
6j0cotJXY1BGXl+zIJ5gIA3TAUAgYBqRBz/q5VAuoYbmWB5Ck4euH9MC6oXrNgRAUohOGKwq/Uvc
iC+zjyvprGJAp8pazIdiBCwL1vobR3PKg7IseF7PygPqUvaNhvzD09f0O9g1AOCyxsxNIohnpX9O
4Md+EsDsYAcCOQLfiK4XXS1mA+seySdpnrMo8yH0hF1f3NCikqAtiD9nxrigOqANrNYWjM3RDOiS
QhZPt1riKvHycX2rBTcSLKGTipcNHh/8WSkbFCtoh7yuXcYMCoxI//MkUXxtUfbNkpBNm1PNBWHc
z36uvly3LVoluJwguIDuGnIHLjCVcej0gKwjANrxvozADVSiADfI5nNlZnTumGjlslY2lgi0bqsX
rjlE7iQb1BQE87N9ZMfmJD/uy2UApyM6hcpqeZgFtnW/7o3ArILreyY686ffiy32xM6SolDZQTLa
i5buzkbW2ED9qm49Bbzmk0zjVuQcBJTAjK4N0018eIv7tdXzGYsaum70GkMHCahqza9Vifk31Sx/
JDkUQKp2TF/Udigk727RlgLN6GD8DkPVYOc+X2o/g858mBXAQde6ddO17R9I3zV+QsrOW9d5kNgT
bS0IFAijAIOIAE9oAO6CMTIzrLYBGcU4vNLuMIQ7LbpNesnxFpVuMIH6ryme0WCtCpMkJuKbOZPQ
1cjoLVX8lfSWl+nhWza0e8BeP5da3y+q7KH6qwHPFaa002PHPT3WjK5RxJ4e5L64y+/7DXWT4KHc
gJJ0heYia1N0H+MtCLSIjF1WkA6cmeZOSTlajZWw5hlZHjTd08fHvnvSs2OBgrhMIFhmi3OffGy0
de5gK5qnYzlYbgv1aXPsgjGNH9KRQoN1lHxXkcnTz8oHtI6gwI7aItBk6cOogTGFaPdK1XrZiPnD
1bbdkSgP1wOC6JQwmSuwgWmoUfGvZSdtnHpicIsB/7NUTwlftCTzF5nssHBtJ3a4KIoufjemBuw4
4eTfln5VYt69eVCyjaNLYpzQFG4FoMDBmAsg/fnBt5UhGwyCgF2B+DqCPCcIWJve71ttR8wbRzaK
KDTH8mLsIW5CHiwXkrogv1qEgxolu2a1NLDkAe21FNVyRwuq+XkS3tb59Oe0DpiCx9ADeIjxZr1A
yhgNJiCTBclxXdwzRkcI9KnN9rp7CBd3YoP9+5P7Is1KI1Qn2JhT+6Mfs5swSTy8CJ+RQO8xpOga
ioyIX2TShu4a+HfBw33BUTQWU+OsDK08aV8UxaPRN3vdd9OXAu1CabFIdEWdGuMiSjXoYWyjFI1+
burF4w8zhYbYL/3o7znqmuF0k5A/RpZDOhpVAqBNUFfEwNr5ltZxMqopM6lo62bW+sPaJ5thsjbX
v5xglhl2dDbYp2IjQTV/bmfFQFrXsCRQnwbXMp6jBE1XsNNhHMLXo0+0uFCZUiCDWchm8USbChEA
BhzFcSD8bG6qphg6qXHWVXRDFScJiuRFtV8H6xDZT6WRAFojSQVFUewXLR4G/5i8DvtFJ24KpoIo
7RTsqRbrzwPILoZCD2IMGbaljCtJePme2OIRHM4cA/qUYV/N7EcMDYcCWjgeAHovbZQESVnt9X5u
XLWm944avV7/qKIcgxFlAyIJOveLbj2aaGM3qLj4aQ6ui/CJIqUCWM6lSuSVtQTdIzPGnY11xZRm
qsHYaHzSaKv3uZ+nb00TzBhnvL4u9qf4nOJ0Xdxl264dSF0YJnPUXvX8OziM/uLvo00PJDAGxTAb
dO4fkdpHTk3x9ztaPGvx+KEXiv83JihgRBBhAwk3Z6JWW4NWaNqBg97Pwbit1rEkPRBQ3+BEQ2fm
PyZ4wsmyVgs1z5C82/dV4tXHeZ9tl4fmq7mxni33e/0P1MKDKugCZ6tMrrG/vkD2DS6+ESDFTFzb
BvsOH0/CfpxS1II9W+09UrpLB+UK2dSgKPgz3PJ/jXBpAnjMDadlbRCDvjT2vsh9fXUwlGx4xXxf
fF5fkdDrToxxmSyoNJeGlDCmz4qrgdPPlCWRwj0DiTQg0+B4uph9RqMlsfUW1c0lAv4OdD9Qbstf
tLST+LfYDggXEBRAJ81/G4gr4rAylJzjxNNWxQsnyDB44WtaJ6uOCb8QheACAi2SRv6Zo6hpBnU6
hD+qtkFvHVLoXvU/SZ25avnFCJ/+/BMxui+MOwDwccEtRFdIVJQ2XL5e3noUORVZEUy0c78NYAzy
PDIszeoUuQMD1vTdxiIa+xDLrgyZDe7kxOhyd2UKG4u1oemjQe6QaF/fJ9EFeLoM7tzU6qCiCwUT
03iMUxDf7uvBlwqwyRbCHRgCFSF9MGClNbpN0WSbBci+om+D64sRXTwnL0z+5W4rOu0nFgSYBrrj
xvQlA7g4sz5L+s91S8IF/S4h2WxbT/KGlA4LUmtYqqEmZEEJorC2eSdJ+ITlyNP1sPWeWGkwHLnU
E7ZtTNZH4iju1ODajjXfMrOXUev9mPb4cAt6v2AFWvvRLatkk+fpXdvMsh8j21wuo8/VvCtN9nwf
Dso9fV4eoeEMFVtXs126VffhbvHLIH1x3mTa9sLE6XQbuBtyMUmnLyk2e3bo64QZ3WStNjkIT+0q
Psym6SJ4bcEP4cfFX0AQzwoH3CmP8cYdTAYWjZLbef5oQJg4BSBgW0Bxoj1f96n/Y50O6l7gv4WE
FLfOtumrpWF4R0xwhft8MYoNaoZf7SLap82MZC0fiJeR9Lmi9KA2S725/gMEERqPJ7yecEdjRo1/
kI5OGBsVcFZeVMU4nZ9T5cC7PDJtzfGQyoKbaLkwZ1qALaCkj17GuXfnzZRSK0X5wImVO1NDXkx6
1LwSr4e6WQYayiW2gkXtXHXJd9dXKji+Z6a545ubbd+1OVZaaLdpHeTNaxlKTAiOC0wAHWuwCjOG
ks5XV1p1mMwMAJI2j+ngK2aQ0k043vSGBI8lXAtUezFbg2olZITPDY1LppHExjaO1k5fDnH1mk5f
rm+XcC0nJlg+dBKHcsWKsjCBiTIJ0uG2ASUo+HLXeUdlggts47lcEYN9vxfD7draTnTOanwYEK8X
yWGp3+cIoxUf19fDDtKFFYxYsVFwSLfyL+m8UMZOz1ZcermrjS71yu9GMBx1COZeNyR6S4ODDK92
cPJiOPcXb9LJzmVoTudVzHz7djlET8tdAsJBZR/tC1gbZB1XQV56au0CkAodeDVWVPTIjvE2PdbH
eJPcOkd1E23XLdm2UnlRoUGM7VOmYwn0ERex7Kxs49XG8igUVEf0H/tJcoxE3o0P9B8LF8iFTE/o
rA2woCoPI3Sxu30R+n/zkU5scGmWA3WRKRxhY3lc/eUuBx/IjzZYNuFb/K5s/uK9p4P3DgRKCH6M
cej8MIHtTx9X1pqOCnUGSBLc/EjDC/f6okQH6cQKX+m368FQ6wkPiMH82pteod+U6Vu/bq9bEd0Y
p1a4nTPDYlDiBGtJKTjUoVI13+TpRknfqHFXro/XjYlcgbF0oNLNpAz4s+QMoMkAdRFQ5Euro+Zm
de601nFgY6BVsnsiUw7cWWMyxWDC4wJebWgrhMcQhqpsh/bukr4PMuSx6AM5lE2NYZrewMDtuRvU
8zSaXTkCvxL/aA3fKTdJhxljGVmLCCoAuqB/7fCOEGF+WJ8AawNXYKBtogAqSyiqPZAwyAPlWMtg
P8KdOzHHeUSdJQVpQV7pqR2g8DVIVxlMXHJiZUa4Rwvt6agnLbuPpudm2uXdUxrt/9zZTreNu1WV
Ko+cBChnTyNYALTX9Bhz+hI3E4VPpHqAfsGhgSvmNksZ8LBH1sfa7ZPfrf3NosqgS6ITiiY7ylc2
WOgRR8/djDjxWOhgEvdiiO3U4exVS7XVUblNK/poxh+OUUh2TpQsgDKazT2BjQJCDucWezz0poiV
FJoZTPdj4+rKE8kjlyyKmxAJ4YbMGOcJjQFoW66xF18ZVGAUXOZDt6abRYPszua6R7Cd4pOG03Vx
HsGggE7GJmTH+U4F3TZ0f90wDYrC78Ieky0PCp6c100K/fxkK7kw1E7ZuIw93n/A3R6ykn7twb1h
mLEM9yJyEvgImlBQKwO0nXOSccVTPFJwWczARuvZa2O/UkDN7b2W7MJY8pAU7+O/xvhiZNUXS2Xr
MFZH8W7KS8zqDzto8+4Ts3QVe/2pW/PgOooqmy4URtzfq+QZTGI1nayUTbBUxHGH5mWOdHdNbiEb
I/lsl3LzILY92U+d88ohRNAd2RInvf4ea2brqh3BXbIc7XoOCvV/SPuuHclxJcovEiBLia+UlK6y
vO8XYdpR3vuv36Pa3elMppDE9MWd+9RARQYVjAiGOcfwYjW8H51PlQRe4bwiZdvGjc5aMtzr5Qsf
TbRUI6aCEvcvDGohNQCqMOpwF0OZhpIapY27ORK+axrkBVH7u5prSVqweivRZ/iic1kIfs9dgNZg
0N5QEKmJ+tIEz61xX+fb+Sef3v9CHR0pr7bA+l8gMgy06pVqhv9MYtOdUP6gNjbXZaNKq9qcJAOC
NlXaZGFlQopKkkf8FjcBC24AzLMsLQ6tJss91iP2iTzBeuZinuHKEN1QxNFZrf6cw2/FmLlqZ27Q
9bydteklUF/tpnZJKmM3Wr0kJ8IFL5eMSp8mHHFPV9Mbx3rO1OA5CeeNjZP97x8PFC54++OqqEAH
OTcSniVdYBSQVFRHsJXV1TGUcZatlhgwkAlLXCCnAWh8LiMq0fawRxXRz/nRTS88tBlYzLChfdfB
YMaY6fGzA7zN65qthfVTqYtBnTz68MCdKAga4eFAu9WqLsF2xHUJK18JCqFEhPFwcKeLA1IVxhfw
kXDBzFF/TQw8viKDf+9GC+NKrWyObcX+MXBpamhGaHi3iAF9mMhM2gb2r2g/gYPgkSnZK/nkOVbD
jPjHdc1WQt6ZMMH47ZFrejhAWJYeurFGEGLDIOlPrp7eiUKCjYPUcTa0HqWZGUNes/6qp08JdtlD
5ed1XVYi3ZkuQvgeGkVtSvznRvr4CqiAjd1i3ohWXu3Q26kzXkGo5JNYZn6yI1z+/cT8yKzTflg2
rBQ0eQkGSrICcO7767qt2PiZbsLNcpyOa2UN3ThgUDKnYkMrm4uT6SFcow4DW2PKoUc8GjfYzcF2
EYUiqcQPrSQ/Z5os/35yXCH4NwtQj8Ma7C1pj067GWt9uU/MajO3kNjE+rkBrRbw0MiPxWdfm2mZ
RRs4d8DVekZzU0WymtPX5r2QqEKhf0WIL760VMCqrECEtTF2WGP1TXdk+Y3yeqfeD5/8iLnlF8zf
3JbbwE9qlnzPfieyH7EWxM5+hBA0raZ2lhUQVIZC1g2MasfRcoE5ZYN6BYgEneaiNUtkYtdd1R/V
Be8R0l5ptQJS08pijfGYZZ/leOzDkfFR4kQkH9IWnIgxRklTLWVXAsKtYdo6iuzpvu4+/iiz/IIT
wywUQDo0dJGAl4YzsJH7Q7zNkoUQDbQv20HGlCI7PcFxRGhjjnMGgSC6wFbrPD9EQ+J2kTcY3657
j/Wr/Uc1wXsMOc3qTIUkkL5MHap6Gss1WTV06c1cuweC/6jMvGm7CAmGOmE62iPRe51/a7FD26vf
8tibdNbLUONkRiH4EqxpYoPBhF6G9tYF36SlStm5CTmTVvXgNRrx91sa/qNMww5Yj+9taW2uf561
vOn09jpC26sFYVw/L8ZdchNLiRugxDUcKLwA8w5vSe7l+sGSQfqtdTvPhAouI6rJmHUEjhiG7uwj
Xy2Ztstvoj38h6m71b3yAh+St951ZVezAUCVAz3fwrD3ZQ0bmU+gQ6wzcC/K1L2BQoWt/LCxNHRd
0qp1/CvpopZda5GadR0kTTU2LuuClc3f3KsTCcIRFrbddeoSy2pgrtv9D5Cuchma22q8PJEh+lin
auLagG1Y6SehzzO/w2jCmAI338AEueTIVl3SQlhkY8vBomKPUFMGu8LqO+6w/mho6NY43tgcu+i+
VLbXP87q1TqRJLgklcZdl5iLt2ieVMuzVJ+WMo+0bgB/tBE8ksH1qJgHaDMoSJh6XzFaP9d9rWxZ
pblFPYC5EcwgGLd8S7LPoneHTnKzZb9AcFAAcEVu3ULLpvhJjB/Ye7l+iqsx6+QUBQc1p3QOsnHR
MH/jwxPVQOj3EHS4uF7WgD2ulK00SAyECp7KmvPAzMGR7nIAWdqqG8zuwIGbGLq9rBUlEyVcLjLU
+txpiy2icKQs3+sjmj765GDJcKplkoQrZmCPbrCbRdKgYFD6JlJCV2sYGX+MsuGKVe8HuH/MSwNB
GAXA8ySjmidAgC/tAdV5V1rQ2ZHvrfXQyMbBV2/XiRjxdulR2vClUjPb/2BrrR+OJJDUFVdN+0SE
cLlap9c6e3k5Ds5z2P6ezP1105apIFwdK64IgNtxUnoOAqmEe2q3NYLf/5sQ4f5MZuUM/XJOek9A
/JkBlGNr8I//SYgY3bO6jlvUCfAuRRyKdX9WLGZHMgxLyXmJZYO6N2KzWcpYmv0amt8ivk1lAHxf
hdSLFO/PN3eEiwLOyipNFk1sjdEdAGat+2/6A3idHrS7yovfAWbqpS0zveb4ylsQPLPqRpG41NXL
evIbhIdA5WAC2VlyPoBvuFb/FvWVWxfHJDpq2DS+/uVW3euJrOUOnDwJlEgPE7uCLF7+E4DFdK7S
NzU2vG5Q/ZZSr6qyjUWyz+tSpccsOIkwKHIN4RFp50Y7alg0ZvMG3Fy/MzcePLKft8UxuKn9/E3d
PPLvzeHtuvzVjONEa8F5tK1G0nl5M/Phm1m+KiCD6GuySTUNDSbisDxJIslBL3/ymmEJzqQI+2Bw
liSnLUGgFDIa+MAmZIpsc0t2SQSnYpO81sZFNX3aOyCmHN6llC4yEYJLaevZVBHzYZ90Y49Pefpd
utrwBTJz5bjEKDwBCLCgM9SIj41bbLWniGFM7gFJaD17/Nba5ppbvuub4Cl+J+8qG3b6XedS79XY
Zl4mqwJINBbbD1XuKFPHvz7eS9o90ObJjCTBZl0ENkaWNifeDoJ9tKkxVOpyI6a5Y2G8S4JXbPhe
N/t1x/JHhmAbHdGDUXMgI0qn1yhrWTSam2QMWFkWn7kpm0tZvWUYSAGcI2D+UZ869y1VDWa8zEDS
YWONCSiZjHabvo68qjyE8V6V9fDXK0RofJsYz8bSl7hmlJG8ycZsQqX3qXnDhDZMJDpisc9i2YN5
18iacqs3+kScECrqAPunkw31IvXTnA5OtQ8LN3P217/ZGrwVeMT+aCVEA+Bh5M5QQCtl5zxOvnob
HYzCS9/LbzXT9vE2PiQPlhv418WumuOJVCEuWEmKKZMcUlvjiHlGdXwPFYlmi5u4uOLYGtTQAAB4
vPgSG+pUJxlHUyPFerK60xK/AUawPnoN35r2yObk/S90OhEoeP2605XEUKBT6kz6kSAldoPOwjCO
OsnAulaP70SUcJtnp0ziccY8YEeTxzkP3YjbN+ko2fNetcATKcJ91nF1G95BCkm3jgH+hYdMvbNk
izBraLAY4P3zoUR/T8BAM9JluHHmHjbWU7VmJLyrSn8s3kAN6UQ3WKuLgpu+eZpiwA5t6F+9pe1l
BxOYZAs29rkrGUwAYw9kaYChM2WMR2v6RmTecdUeT2QIp2lgVMG00INY3uuh4WXZd7v9p519LfhZ
mX4lgyRY/Xgn4oRTbRTeqnUAlUzzw5p+aPoLoTfSwtvqGwbcfEAfM9FyE1GDnSm1inz5ds00un31
PQwkNrhq6ScChFMbzNCMShsC6nabZAdA/ElJDdfiCMpDwDxeQhc68+cfH+gDSuhwOFpjKvKnMmwP
1MI8ztzF1qHFGt0dV0FapJtNtrvuMNY+EbBSHMwIAtvDukCIGfPRovkIh0GebPsRU4ijfpPIKihr
J2iAG8QAHAvmecVZGbBQKmUVGsv10r0AmHvcmkEPb2yvK7NiCZhzxHI2Gjkoe4nthQbMAErkWKmr
Yvsd8GmByoDr+RfEMGdShLjR08oeOwIpQHp5KEtgl1fpBvQ7zw1aNQS9mutKrZwdSAUNwEEtqG2g
gzg3DSAsp6Yz2qlrd6Ff1M0Pox1doqiS1syqGAOFdmNBd7lgYbJBcgDMHCd1+7j8yHuszWj1A5Xi
W619IjA/YqkRxgabW37GyWPMjkhmmaGSuoGTW75TJfGTSsKPOeGxHxndMQvKuyQm7wWGfVk/k9uA
ZwZT27liY1DRfdJYMpy3xbEKQXpZ7jXwm2yLYHf4/CdlVqlFcxVm2LwN2QCKjWS+s1pXSw4Zfbn+
LVduG5DQMICwICWqIL04F5VjET1skjhzsSGDJYqOB26QI0ZrUxIgUjdKK+uHrZ03pnH/Ly0GqOIE
F6wFmVIbWpO5XT/2TI1Js23LopGsU6zBlBALi9K4ekASwIc9V0ydm6AuJrR+y3Crq4e+9kN6mytu
Vm156qHgsK3VAylr1pg/AscPzc+w3gfdQyTDCl4DUDv7JcIRJzGPeDx2mZu8NctDqv5eeRVIYX91
2wQVyH14tB5C3/G7HbmTgSuuWZJuYUIMM5wgyhPxmfpeB+7GYknLZP9Ai5nlLdGYjfeqC+7TkC3H
f92iVkUuWI5A/cHN/XownNyncLR5lWtZ5o7jhnYHMHXj/98mS3dL2VrXWoOLfOFG/j9ZwmvAjEgf
ExOyJkDyZ+Eu72PWRK4637WzZxiPExCOasW/rqC+dmdOpQr+jwQ8LpoxBWJSlizYe6Md3+pa0XwL
Ame6ddrIuNcCYv0KhtEpN7ztmpylRA32XNX6x2FKczRldQ1c2sqo7qnW173b1A2mL0qj03I3Vaj2
I2w48YeII0S12LAaWaob5S5IIv4a5uaUepXSYi8k6C1J82lNO1jMgpBsW9gfEx6QVoWpGsuBuSrx
Mja9A9V2xN/oLBGzWL3o48A9DRw5C0gRwGc6v590SKtJA7Y6qNS1bT1qG6cJ/SkwJB9r1URAXIVN
OB2cOHgQn8vhFumboUZMHCaAJvjZEFq/lb7uEjYFehxsaNQFPhAu26cULtB2+xx7LIwnWSjrUH6N
c4kqGyqiJuapAfwhDo3MU9xbRgdqEWMD8Olgr3nA3mOj/0PzOIb6u0fuGwd7YkrKdIfFh3gPjnU/
2wFTbT/eTH6+7VjnP+vH6jl3/2KvG7vj//44cdzE0IpBURbek9kC2bjx3NE9fmRobgf7Nu8l895r
H/9UmGBjA4fDUpaTAICIrrNBqdVfGnBfnjolSj+vX9eLeIO5RCTh8IGgrMKimGBoGggLoowXMADV
eLen5rFB5vLfReiWhjFIFbBDKISc25g6Dt1Ikwl5V9kRF8A8ravwRpJ1rTXWz76Q4OzKbLZJtnwh
8liHvnaj+47XY66DYa1hk98Fvur9vq6X7DMJjm6KlKSoksVg+VNr7kttGySSo1sDtTjTSojTplWQ
shkgw37+iPx533vJN6wF3R8192HePQQsC5l5jDaGzzfXtZMeqOAarJnWTaVDdPfbfpk/+vvvwCzf
AuX78JBtRzcpJV9w/TiXvScs2sGxClavlwbWozsE49T6PeYPencjJXVeFYGygYrlY+AafWVFJ8G3
o0UcDTWSWdWatsmgMkxLoF0rGy9eW4gEchGlwFRZtmMdwTL0tEv07ssyooJNk/md5z+yLj3qDVzU
lP6sNdvVzNi1smQ3gzeVJ9GD5OstIi686UmSLHy9JFVbrTYW4wQznQ/21HeVKsPGoth1rtJY2QaW
+azWTspUNboZrUj5tOP0KdM64gOeUpEY8lrYBL4njgRRjeBlJPgAJx8SY0mkY+NXq/kDBg+reUdk
kxQyMYITCLq4GrQSYpLiLoi9MrjtYnwBGUjV+gcGMzgGkQjSODE8d0OaRE2VZC5P7HjTg0wnpvEx
nqYX2r2HeXpbp51bqdF7R5RNns57S/+QfOCVCgQxTn7C8u8ntqxpccgzEz/B5l744pQsDln6e/Ir
/15X2Pvg8WdtYs2e7vuBxZIItZbFLqShC4ic7WC171x4z5usNy1klq0JIr03GBsbi20d/cxkY8yr
ap5IEhygoYMLrlxy2Lq1PJp8hGHHklFlIYpfUTfsy2CQdD0uIiJg8fHkAx0qmNuwsCbopvCpr40l
f0VlZGRZMk5e3Zl/0b5BaQW+DvP6QIa9uBBTZLaqmuME0cJNXkf0BtTZk9jIynAgmELVZUXfAdqB
uAmDrRHbrBRkdyoHfulhnN46Z1PPRwfw6yDw02zPlkHSrK0FnclcruiJXfIoAEUlhUwdjLVF4mlw
NeU/vXFnBJtK92ZyH1buBE+kfFS6mwJ9rVC9NtuTYk8LWS1mNX4CimfB38U7Hhjt57+G5s1SvV3y
2+KGU2aZv4LxEdRPSsAG/ZkEAOX0NRCR1vdWcoMeRgBAlerQdX45fKaRX8SSqLrmoEwsgxAKekMK
TGDh94wF6igpng+W+mtuPkpiA7zbAbSSdOtyVRJ2e02sQxrkAv/XpgEPawJJjZ96xc7cIn3YAG3x
2GMkdGdtPgambez7iNE7hTXbDrAqrHA/Qx9gUq7DxhvNT/b5nQP+C7ZrPyYkGf3bvA3YY+kFt6H/
dt1W10KzBUs1qYmu3EWS2CVNM1rmgPQNbz5Yzhw9ODIYoHUZwDjTDLyL8eI5P/wmcooOe9yZm0/W
zraqW7vQdorWSJzjStGewIcshRXUUOFMzsUMSVrwlKK2MjQ5jdg8aOp9DyzxQ61WmWfUrfrYd3p3
yKZWJe6Uhfn79bNcf9XZNnTE0hGMTLAyBFqlRpkMj9QdCGg6Nn4fiWfVG+z558yQpBprpwrCYBAG
Ac0YHBVCzNXitrODpMfTaNhQ41ueMVWRbeesRYFTGcKRJpiirsJ5uTbcm22W6Ds9BQx5sQE+DpFt
faxNgqA18UcjIeagcZyHMYdGUY0XJsRVDOCynx/FNmMcsAnF1gZxbOqionyc3YP1c9rJaNfWgpAN
2FJAQQJiCVXOcxvqADyPGiF+Qj3jMnR6zOIulpjJ6oc7kbF4kFNPnSkjgjhkBA6WI0F5ru31Jvxu
Z42s6HUhyVlgQWCQKro+uHfCgYaqYpI+6nN3DuxtpHFXtzMvaebNdbu/EINbB4QYGDyG/Az871wh
EFdHM+lw8ZRqz/tPNdhmMre6ZoinIoSsqyqNCUVyiKjw8FKC40z8CMMfvYr9HQc0CP5faHRSphU8
llElRuPUi7hed82M3oaj5U/R/HRdzKpWJ2KEK9xVGD9uK1wvQP2Dwcmua5Yr76R5ocq+lO4rLn9N
fJqc1p6Fy6zzSJ/NAdJQaWjTj5nbLMxekTuH5Xvr+EWhMueXWu3B78Cu67kYgCj59FYJBoKesa3w
HEEmfWmKO9Lej/OtGt9Hz9fFrB3nqRjBSDJnqLASBwWD5Jk3JksLtzE98FvP5hZZs0SptXAD8ANj
wfmxAO4qXGOzH3Od91idrT8yNL5DkHrGh+Bp4uwvBjAADqqi+KkjrwB+7fn9qq2WgD4UklTrxom3
qf5I/gLp/1TEV2Q78Un6ZNTVUC1faHifh59642m1m8lWt1e96x9FLkoNkZ4Y3QBFWrVw9a5hQDq7
bgJrrgh7MMC/IQt5yQVhWVKit2BpSDWMowWIiAyrObLu6dqH/2qeqihGo2Yq3CM6wtE2mFdBHx0N
hO0MCIUMryO95Gwst22eePEg8UermcWpTMGTkzzRCIrGcLEctLv5seU14C9u1GwzTG7D70D9gAH/
62e5cmuX+IEdYEMFb7tYcldaHtdYYMSLAiti/YLnm/2KJwzj1N8NGaDZV0dPcBEQhjc9QogFQDPB
xsG5wLuoDtAzcU23fx5MlmVswiLDW3TT7o1Ndpjd/ImmDFB11QPd022XM+oRFvtm48re2WtFuNOf
Q4TJf1IEQJ9SoHt+dLbEzV+4n9wGO6bchjfGIXpWn66ftVSgEHH4AMj0Iob+EWHYT2KOxx/bnQ1R
41vgpvty+1MicTHTKydO9HOvMg9ZYPQJJA6YA2cKS9zxEG8eZlT7c5A9J5KbufYkPDtS4dqE3TBg
Gx7yAHp/NI5z71KWsILl96ar/lPccfZOau8OnxiL9A3cqSRLkR6xcIfysC5IU3z9gOa20TewMbL5
wQ/vaGsENnrnDBQ8kq2cFbsGOhtqVUDip3BJ4pPA4mmX2z1wQToL04FA5CBOz6bE722yaa2fDpDd
B+ujRMmI8hDv0Q0K9iyhv414vs1QxeyanTkeqf3cqnviPPEu95U69Wwgncp2ry7v+/JTqQOQFhvJ
r+g71YhO5Zzhp6aNHw1PWvaJ8kWv4pU+/rpue8tJn5keiHkI2NuQYatAaBSLMA0Fn0wTktTtigJv
idlsWZLOpcRpXsSCRQq1luYRIueF/wLGV0nyCJMagPaaD03RvI5UB6t9Tl7/uzq2TnTQ7BkYphHL
zr3RBqAfQdNQDfk/GSq6s87d6yIuUhvosiAoo3GNgR1NHAnOW8VIUfdDa6r8nIzndgYVFtoCnLM8
erPIX5wciv4ol2CRXLdFMDQjL6dktmp0jqL6zdL40QnrN8plUO5LhnRuBninL61WjFRBlIgomDSj
Mid21rpjuokVLw8eksYbqOQKyqQIntWxRjMc07xFzXhnTb9b+hDnHqezJFrKxAju1CntfNK0tHXB
wNLu1Sb6ofR59Q5M/l8aBmYkX0gmTXCmWdo6FL67Rar7m0w+jV5Ic0hlvajLe4oPhHwNKQBGVfAo
Pg8Rlt04NJzi1k15CNqnknDPnCKZta3qciJl+feT3DMaKVbs0qQFiJzjZZ2z1Rf6AmXp0mz+6y1a
9EGKQWDaoIIQ3iFFmkXA5oAklCZRZnaVzg2yf1qYBr0H1KAk4l3e2XNpwnNkNrsQgOWwiLFub4yg
b1hVNhEre63dYExlYmQADlNGqaxqs36gf9QUcilsmtoG5VCznp7LTAOdJGX5jHeDIfFKF5kw+DQw
nkXx9AdvJYD5zr+cafddm0e4WrkTMNLaeENGbNIVP0E8w6yTlznUHQwZwO7awWJyYqGt+/KKgvFX
kckTrYbxtyOobICO9sy1Pc++h+UEPiRbouRl7v2l5R9xQt4AXjC9V3uIA+yOn1h3Nlb0CnUXGA/W
8BpFm6xzkfP/d0s9VVG4eX2J7kWaQiZvv/h78xqZLxDaua/aj47sXXa5LvGlIgb7MFmrEXjk8w85
jkCzdSwQLNLo1VLRu9w2yj7JOYuNo6Yj6mAgxPFshJvral5OoQmCxbs/VAFRSgjug/yo1t9i55+i
fK2UxgXpJObhcD8MZT+1APUg5ZYiQSysbttnxrYJsUSCLZKgjD01NzYEcyHXf9yitBieMF7+76EI
1t1WDc8NBdYN4GCmB085+YhHiYyLnGvRX9OWQTELJUexT1LXNQnqCTIAzlmziWJ7qgmHnvUk7fyp
y+/w/JS19i5bRYJQwTH1mT2rI8e29GQXr/E4bO2w88p8YFEEPmrMjfZou8XVZ4kOdWz9NpL51tRe
UxXrwnbv5dbkmcZ8rIN8e/3A183w5DQEx6US3o1IOFvXADhTo7zr3a7vt+n0A8RyLB98Xt7a2aHv
9tflrn5ozHyClQszUGhbnVt/DvzzMMaePEC78p1ltzvdAYBdXsrUu2gLfp07xh/g3UGzZAl+Czts
GdqfuNR9PblBn2Koqfdb1LQtEBZopv5ihoXX28njNIcS2WuRfIHm+/+iBR9mDpimp4sP60h/iKpq
b1iyYLB+in9ECD4kH/SkKxN8PNqOQDky4UJA5mRqf+UyTlQRXMZAclWPJ6hSoQTiJTv00H5HO4zQ
Hutdvssd90F/dhgdGJ4Xu+npb0zlj5KCqZR5y4cUo8hulGA5icZ+Shp/mDJJzroaWE90FG6oHTSd
3SyB1Yn21rxxiieK0JMcgfVeq7suefzftBLvXUsNTCXjSFPNa4ZbQo5k/HldhMQAxYJKHAcDLZf0
WCleRuNemkSu/n08J9HLxHAGfOn5HTYaE8kqoEbdNL9v6+eK7q7//tWcw8TUCcqvgMYTUx2S9YWd
NvARrZoch4QwQ4ufrfKFmOWuJulNPzbfr0tcTOki/JxIFGygyohaUR0SyYQmvTspD5Wys4qfQSsx
ttWLeyJI+PoDVXmCpULAzDr3HaBEzQ7LoLI5wVVt8N4HIDEazReTO8kwK7FpVHBAA8Jblo57EC8U
LFQ/1Kly21mVfK+1HBgDYMvYE5pfwMg/twezK4KgyOpFqV1jvjugNaGbVsYosGoVAIBE6gsWIE2E
mVRQTeIOwdFxknp1i4GftELsblyN71BvYkqx+Quj+CNQ3IUO2wJjowMEVsXW0e9qkB0Vv1TnRSOS
mLj6vU4ECa9mrjgVH6tFM6DJkNabgOWWfNc1l86SuZ8vDgnR0FH3xfQBupSonwj2l9kT51PYIuXL
Wehi/eFA3HFDJhbtItazZG/dDpu7+PD5EHjU7T6em5vOS2+sbbXJGY7cRf1dciUuW9EI1Se/yRTq
v6U61LVBGlDy3n8oPj8Yu/ameEzfAWx3M9/F79F+9h8TlVkP1Q0HLymSc0lmeFmuXH7CsmYDkkRw
64k8EkldAqKDdo07oS54MLajF3ogHOrd1sfqzYPB9G0omaC4rNEKMvXzWzOlAbAPHMj8zmcXqHrv
6sP0oH5U3if4cLzJBeO8Fx7MG5z6zpJY3OV2syBcSI8GasSU5j0UPixzM4UfTG6yVdxhMzxYWzxj
j+kd0MJk57yY14X5nZyzkBpxPG+DMoFY9Am9yrcY0LAT0HY0P47Vi3nvMMUjt7anevq2kjipr3Wf
a7IFL9VO1aBOBs4buxmbmb3Z9+Pm+xNh3YZ42kF9UO+pa2xNb2LJ+3O3QYYuA8pdfQycmpmQTvV5
Ww8kwE8A+LcGE2v9p5mNG8X9unr5Jvsot/bB8KUr+qvnbgPOCS1ULHmJ2TBmIKaG9zh3mwEvD+NS
mLdg/YexAdjXBkSCN/GE0ai4crNNgBaXJI1cyxeME+niV29SrCc6kB7oJjN7X6fTX0gwAXhgoHUG
6m1xyalU0gjmPGJHOo1dTBu7sbSjsXaEJoaqMOABep4LxG0tT4c4UiGiwf6/V+3gpNvvsJybH/lb
yX7xPX+ZWLjv3PTNkR3gWoA9lS3YjdloxqwFkE2THtgpLs+9EKUDUDxej3irJQLM4WkI4kA0vaAg
In1dJxVIr12jY/MPypqF4vsfjn6V9Zgyq3bBIOsWnyiQDGzaSr3SWnZ0Kl4wFJCiRRkZlzOemPVj
/EhuY+CbAi4GW4LMcZN/DDw0svufEq3X3oo29nBBfWNgal7cD4nbPg6qwcDxam92ypzkF7GPffKS
6G+x5YXJoTclB70a805FCgmnHRlDiH3gxq0jljz2Oyzk3QON8abcJ7vBYgRczndWggAEQGh0JWMf
293hK3o311VfMWoLb2Osx6BGi/eqkHkEdZOFY4Wm+khei8Kl2X1pblFTBA8bgPXvHVlmuvKBUdle
9skx9AVeNEGerk9OTrSqdjEl2G9HigE3M4h7PITANnNdtRWnAwK2ZX0chTbLEgel0qiMelMFtDqa
7hunnP4Beo4km1rV5kSE8BHzqEeqDYBcQLpVrC1mrx3u+2l7XY+Vuw9OkaWltpBFY4PzPE0gVRcb
UQkhs4FSKE/8DuqAUyv4vC5nrfS6sPFgRwpvBg2lp3NBXMuMRunaGqzbhxHpIfB+exPAaIwrgHTZ
O+ltGT5fl7n2jRwAxpsGJhEwkCDoxo24jJO+q93GyTZ5UO5Tu5aYwVqdC2r9kaGfqzVbIcnTBDKS
ElM2AIM0arfIS9Yam7r15onx2QvbTcgl68drxrFwz8PIMbtCL0ISzcuIOpgVMaa7IPgVjc9F9/v6
8a2aBnD3QdGCS4XhqHPV1LGY8qnva2BbvVQUK4sGsE5jRNi363LWVfkjR3DLYR6hHdpCDvgmEuPO
7O40Gfrj5bYJvpGD2UZUgLHRA87wc10UO0rHQF2sLyse5zhYFl2Lt3o2OoyRm3w38XnGvnaZHwst
3NfU+KRYo/XymWdP17U1V48VC6kAhaDYkRCPVTPBeK8lY+326chT1lC7eRuKkD/Y6Vj+mMx81AGX
VtoZAydd4vVN7tyFSYi1v05JKhcOLd/hjxfbHJQFmKBBXnIcnWawWU0JL1gEPGZOsR0YKeW4jYq2
OpYhb18topKapUOJpS2VW9FDNfDmMVRI8uzQufXbSUezc5zst4hiA8gDAkj3GAWJBiuu2aiP4ENo
9fi+6Ja6VVBODtOrPtqArqT4PYQKXk6Oo6s+xzD9g5ZXeD5XWqcf9K5zZLBrX3PmQrZNsSRsYikD
hHJASD//noPSzpNTT7WbEwVw4a84Zx/cF5uZzrvG0ZgxATgnjr5z67datc9ABmKhHr8janiZhbEU
jJ7m9bdE58xsBmwga2ip9f8VXgKE40tPTUeNeFkjE2wuxRSJWln40Hob3QwYUSmK8TDa79ftaSXG
nklZzO205To7eWepkEKbcrgDbksdstDB0CtTSTTv1bxJnhLQRXEb4zJgE3u4Ln718oJTBfgZmKC7
SOmwjVBw1cHlxXTIMdUwBK3kx4Dzv4iF+NTYFlv41bFTdK6lNfKMlPFcu2Fn35dq72HXOsQuihSs
YyVZo1jKQvFCxTwD3urnguZKG3o7W5wenYhPuxQtqokATwGTP881R+Y480J39VQbGHGa3Ne7nL9c
P9MVD7FQyi1hBYELvDXnv6HqpxhkX4uzQtLUd79rgAyYlj/KQERlcoTYVRd5VhqYVHY1Pd1QUh1V
K3iLU+cwgBZb8jZfKUJBGQR+B/w7SxJ+rlMYjGUaL2ZaF6gZGs8xqLBBdNoPoFeaNv/9/E5lCXqZ
QYgH6QRZCj3QemuF7a3Kj6ktgzpbOz8NTSZk9agZYjLpXKe4B3v5DHoVUPPpAHHTkT9bSqP9pqTD
9g2x8tfreq3kM2BmQ4cRfhTeWkQayMckmrFMh6ueYRnNGJ6yQVYtW7nOZyIWlU+8Sd+aFZ0o/OpQ
FVg01TZUm7y2b/7CNWJjHruPSF2w0yqcHI8crZiW62zW3+ssd8fgOVZ+XT8tbbmqFzHiRIhgBhkP
rQZDrrVb2V/NFzVhY/KRq3tNezXSreWMGOBwh/auo1tM6V+XvlJOxkHi4aMCvkjHCtn5Qc7A+8kx
CIe8mjTMNndg7gTg9F2CimjoNb2MmW0tCmhIrjEit4zFiJg3WQ+wjqleTL4c9kFsbrVx/IbBipuC
90fTzIFYYu4tY3i7ruWaRS5ATdjDxOgf3OW5lmXAlYQ00DIeAbKjF3dYt/3vnn/ZNvtXhJAdpn2c
GWQxFUuNHns1e4rDZcpVtui5Zvj4WkAdQwXLtESKRRSwEhAZ5PCFNfVArbXRy3lPs8m7fmD2ml3g
GYRsYKHQwz73+YlVNsqyulnUbhdqVcFSig/G/g9pX7Ykpw5s+0VEMAteGWrs6nlyvxBuDyAGMQkk
+Pqz2DfucRVNFGGfh+2H3XYnklJSKnOtlQ2UcgK1yBpr0yeWvXH6Wj5B0bO/rfI8C3K9jvCXFHyk
R1XKB4+oSat7qeQ18bhsykC1GmXwmySFaiR6t50UZEHDfNSr7aR9UHmRqsqbqCfjwQQy+U2Oegr6
uBvVbzxyi9BJNOiGgptAb0TbjA+uKarnNnXHQw/AWwC1OeCrwD0v38qR418aVZVCEtA2CsuLkeD4
YaBzYx+WelnuFKa5QSyT6N4Reo2rUidik5uS+VZl9lujli76aYGTg7JKcg/5Z7pRtTpCq6hon5WK
vieKBan70diwigybUVQuoGrucOfq6gjyh2LeWDVeXF6Sd2URGixTHwxpM6h0StPYDWM7vg6NrRWe
IGl1b4yokXu5THjkoTl8HjpW0j/LXGrbri6yb0pMNX/oqA3ckRIB/HR9wZfevcBUIabAOQe66vwR
qrvospMTPA5VYpIbGtXVbScavkcjaPMV8LYo9RrWyaBSpHMLGdeUeTId+pVdtHRVQWURuRhEFhCr
mp2FEBFMVabgK3iqeuXQ+6Z4MpxwaFfCwaVr/tzOzL0xgcYgC2RgnCZGw91N6WaQIgpq8dT3zsrU
ro1pdjKgJ27e8wzhi1pQr4OAUQK8cxHW7UoFadEO2sKh966Nx+D8KO9ilxt6izEZPAlKFjTWqTId
j2i7666ydJiee8psjXLU1SphYY0Qft3IjDxmrNteN7F0TUycGmSVoJMNianL00fgFdeayMIC5af5
YwfhtxJUlwQiUkpefpag8kSps6/stRLukltAkwTZMrge+IvTz8/CCtcVSm9MU8i0G536pRJ7OlKO
ab5Dee4f3OLc1ixtVnSpLEiPaayggO6h7WuxUWz1med18wi4uvEvO+ssWJ95fFzUQ5sTJNAsN/q0
8fj1YsC/2iZ3PFGSx+vrt+yKf14GM5cfoJhSQ2xqimzRVjL2GjsLK/05StYm8euCgfQ8YS9Qxp1q
OrPwpaFo/om+vYWv5UiNi2cDAJbYelRMA4nCFa3Rr4MCygNj0pEYRJZ87hw0Knp3yE3ERw7kBH4r
WlCM9518/dupg9aINslgQG/WBJng0gUHS0AGo7QmIQf5kBqfaBp3qpgT1PYafHwh8JwaOE3KFFNe
9csbsjZju2AEpqD+E8ju0BvINu1cXI3mUbN8OYY2ZBNS8S0lR1y7fz9OJAbxdLSgAYYL53Kcboca
dNUjplZxIyZkS5w9WPZIBq31bfh6XOEdAkQGUP+mib09cxHHoHnlDjAEaXN/SLtbGZsP18eybAKh
EoQF8SKf64DqpdokpsWYXw/xHoEMqhV99eO6jSXvm3qaQIoO2ekvwOc46ahjRuhvPlqfDoQtyLem
Rt8OsWLma3ypTkuiwvPg6dC+u1yWuEszAcwrZss8lrV7KkwSoP/tyuKvWZmdfVAmEoZGYQWIg+1I
m5vUMn8WrFi55RfnDMx6zBuka6DSdDkYTq3ULXuYie13yj5lHnl1G6w21F1IrmPS/tcOSDmXdiqb
l1YqYCdnbaDU21F+GOVhTJDMszPPcm9LsKxrP/97LNCl3Zlr67WLaDaa7Jo8RMM+n/UuLisn7CUq
zMYjQin/r73QVXEA2qAFT42KZ7uWyYhyyTPEyK7pxxJZXCCQIuM1kisv74WluzA0u0FstAjSjAGG
WiMvnlAo1PdQEyyPQ1N9ZCRZIyN/fe6oKFCgb72LhBqooLNxdQq692oGDom2yl7VGrmEuOs8dKPz
EI+eDIgLRKb+D3OJtzAUHwBEcr7oS2ZEUxyadgzQY9sXPRDYSeCywYvqv67BgFOL/O5/GrC4uWaD
o71oaofg6IBaz8EpWOLZGlSBDLL2ul9atHPxh5khd1CrXmQY0QAlC6o/9+6DkYe0WcP9Lt1cFyoT
s0tSRglAeAUMRSMLsmz0DbFpSWgPfmUfNORPqsSvlaBFb8luPFJjxTkXji9XR28/LB2YftY8i8Hc
ctIGhciFi25DmpKF+mCGml6uRFELwc25mXlfo8jstFzJYSZOgMeKPoRRP5lqGXBd25XVmpcsWptu
yEnqFDpfs8OSyloqwhkxKKyXWpVH1fyk9Ffct0ECeub1c2ThxkR+HGl4CEiBe/3fAp8F2prSqtDj
xdAMyu6Vwrgh9ffrFhbX6MzC7ACp1aGJCxcWSNr7DNCJUeOPZpZvrptZHIhlgVRouPAIczZrnLKh
6FWBg8OJH1Qinwy68qxbdnYQniBzDwKpO0/1lxT/uygtOLuMHqNJubh8JlAZMCvPeWLI7PcPxDyR
Xyrelazg2+sDXNrTqEQi/znFHsiMX95tzGzryBoG5qfOXWrjZSR+0C6M1HHlNFw6gQ1oCk3DdHRQ
FS7tNFYhNJ1C9Dc1yAkdLAJZ2l40ABbn5tsepTJarN0xC/A/YKTAkEZZCE1ikHO4tJmPgjExZR3B
Fn0zY7m3adF9kNw4Vtw6sa61/dFMnu2GPFIhhWdlibZvTKEeoqLeW2ZjbCpeQylIM16uz/pk+TIn
jCIVjpeJHAVRp3n6raksTdABlbBGoEjY+kjOxvWmKn5FoKUM7nOXrPjx0jJPz22gcfAkwCpcTgU4
4xa1m5j5UBjxou6TEKS1RnAOVpZ5cWBndmaRn1OTRHFKBYIp/QuX9z3bq5ZErXNXuSet2lTiH+4+
AB+QTZp2DxLPl+OicF4lEglCcydFMglqFoCLtY22Mqyl0+bczDS9Z+eZyXnaag6mz3bvBSk9jl4l
jvt83SmWtggyBlimyV+Bqbg04tC2ADqXMl+Tt1FyKhrTc8gOuB7OwmT4l4k7MzZbqERtyrbIU5w6
purV9VGn2zavVqbtqzg99BmAuMKzbFJyMufpbOinQUHHwNlW161nJYYnbEgkIPPjCZnu9TLaWMIE
qB0ZEivNfA3iqhY7ZWj91aOTTl8Lr7Z+W/Vae8clL0U4CRo6MEBg7c68Bsd8JNIEDzrGSQBRfuzw
31nVbkvthY3gk5yqIri+tksOhLSnCUkpVJqw7y/XtiIKh4ZjjrWti3RXq7kJjEkiT6WR2/9iCvOO
6N1VUd2anXom/ChiLgZXNuPJHSCPKNVnm4in6yNaQJODXAgraC4CwfGv/BhIhBUAtePFyqwtyZKX
ntNT2/8aop+GEHsn4aiMd6oPLcAnjcrQ0psqUHTV661ujcK1FNycb53ZmLM2btHBAVtngDQeAXsW
rfaS8obTF73/l5P0z8aZ4/h7AOxEHsNUrH2rnJ3MHhr9ua7212d38bw+szK7lm1XZLK1YMV19m71
NlR36AvSi5XLf2kfTEyTCQ+nQrp05pVmjLIWLfAKi404cLtfKpKisEZa9HpW6AYlYN8Z1gLRpa3g
Iv3gAv6ENNh8K9C01IuG4ORBFB+6gOekyNE75OH6BP7HW5lfsedmpsju7MjmWp12igszCoqVL11m
9QBbtZSnYW+R4clEs7poAxY6szygH7oiqDS3/46zSgDUocXoK+f0ueIjJNDKR0dX+KvsNDrpjQIq
haYEQP1shgRipG5Tks9iGN3H3m7yCpkAzXlKo9R9kDb48X0Rtd9q/BYI/wFD957XjtzyBBjHTayY
PYfKE9psewmH0NRDI5DpCrBpW+mnaV06vm6o2UYk0mChAHin3ZA2tz0xjkbQNqS6r6J6LADiz4FW
7ipOfCKtalNDaK6IOTpBtmbJQPROusqF+JGob92Ga6Nn25L9VDpC3wc1g1gPJdA49tA+Ha8qaUJJ
h7V13PlmWun2IeuJEegkVp9E3cv01JmDfa8lhStD9GYWqLBIPb/LdNoF0P6ObS8x0TPMzCEOim6U
avSaVK4kp6SAWCAwZQa5Q0m42SdxQzYy7REdDGaVqluTudz23SElLyKt0QC16/p8qzW83BSmU7FN
6vIWMl/UFEcIF8vvkZqknS+kUoWJpVf5ykm6tAnPXWh2TTSjGJs+xfYoIFfVRrdd9EiQ9HGy5+u+
ulCcQz0MAuPu1CYCKmMzQ22qmok2JRgHecfKXULCVN0M9YuDjpRVeozI3lB2120u7sIzk7OIRoKo
QJiCjEgDnfZKrwGDTaqHuBq/XbezOIdQ+4DWHGQysOcvt6Hb1mPPcthBfXgn0GahrNOX1LAfq06s
LNfyNP6x9d/Pz7a8HJig2pQKHu2d5nyqwwM3qT84380qHMewzR7SZq2dxMIjY8LWQf0DcjOIJJzZ
SQ1B07iBgjiSdO4pru9LcWrkjzj5PgC4Ym0GbFj6jH3uoQMhqJdeqQc0e+f55/Vp/nqSX36FfjnN
6BjlRDzBV/QZWATRUzNkAVOlH00Mr7eE+nStHPnVgWBxwp1PL3yk32fjZhZ6ENKEMz8Dvb+qlY1J
nb2I1swsJF9hB5Ea5K5syC7NlYMi0dtVPpa4CYX9ZLr9A+2TZscT92AbtPQKPRN+YuCRx2mzp2Vd
hw4gdSuu9TW+0CD9B1oRUJTo4zIXshqdzK3olImlbXtCLJtso8LpAj4o3HPHAdlYK9H//lSYRm5j
cjVEzviAyzWNNEiXaxmMFjWwsL+yZPCMBiupfFOK7/1wizaTw7hWt1lc1jOj5qVRtYjyuDHhSNIa
d6lmv/Ok25Tg3l/314W9isFNJQjIGqMn2TzroaJ5SFSaLfIBkGcritvGfS4QbRRgYwCNFRbtqYjW
NMS/nkWTzQlYgynF3Ttz2QJwDbdr4LJt8atpMz9Fa4EIlLA1yNfiHJ7ZmW3GCPo7A2qxOFvbQ5l/
8iLUxEp4My3DZXRzOZSZbzSp20GTEkPhzcOolp4c1pp4rE3WzBEcvSVWwjCIDCLruCn2GXUeSH50
0A/Du+4Mi4fX2XxN83l2bheVk6LEgsEw504hP5XW9ka5N/B0ibQboUVey/UVk0ujw46aRPuBY4Qe
1aVJ16g7KRxkmHVuBklxN9BbBhC5sdbyfckVzuzMuw2JpDUGNYGdRGNHW2MhB617zOPg+gyumZl7
tsx7s1NhpkPLbxdtQpKiCapitdncoh0o2ECFHkJTCB8up03UoqKAWTO/omIMUtnXz1U/gDnTKqoI
6j7Ojb3VORqULJqUhuidghSaUyu3wIv1oQFdmg9HFP1Rb6Hw7IkG2p9/PxGQGgRv3sAxjavp8gOr
3q1cqkKmN7ZBSmiKvPXjWkRhV2m//t4SDuX/nYrZJidGY+LVgKlwov6pjLSfLTEDUq68spe2xrmV
2T7XWDtWQ4SFJeLN5ZWnlehnVz8A/JCoIyLRd1Tx/2FcDvJPSIxMsdTMYlzRrEp0ZLwpdaJNWqvW
oYSqJ0qdubWyWEuH2ETJA0Mf9ypi38vF4m3OAWKHqa4zIP5T3lNm+9dHs3jPoDiGlxWiaxDwZ8NJ
oiyFFATKHrXsvHjiKe10dcf7jcFDzb3X7cTj3V9jcUDS1QyolyP7hYhwZlNRXHWoJHLd4AsAnwUF
kXHYF6YZ2oyvrNbXnCFMIWsPRB2q+gB/X04hydy6GanOUGAsvFEJxj72NPtbo5+YOLDm5fpsLp2a
59ZmSUNSCD4WBawlyCI7bGuoHGmW1ivpygwuEKUmnjP+gwo2ML1zYo0yNnnLpnENlho4Ft8YbhFQ
6DvzVvFTogVieENrPX+o5SnKySZKhxXPWRorPgBZZYhkTt5zObNFAUiaRN8HtIZrN1Hxo3OSoICW
uerSlTVc2uOTnCi4WO5EuLAuLSkAwdmuAsVvNzV6iJeMovEioRFQZ1oT6mX20N5ZNBZQukG1Eq9D
hIz/8Akg2CEwQrF68t3LT4DYvsMgMzohXO56R2wmaWZ+bzk3RroXknqENCt7f8lxUQ1C53kw2qci
zaVFx46l1ua09KXzfdQQ1N4X0FdvtcQjMojbv+d94BRV8UyZfArVvNlq6nVZoUkHyAR659THejCd
AzprAK8mTdxTBpIiW86ddhV2O12I8zgN/Fx0oAAcFd1rZhemRXsMNCNIxrLIMwyBnglPtetJ9mEN
dzQDEfnOtrdjzTfXd+o0fV/tIrlmOzh/vvQL0hzSmTGErXyufFdM/ciQLGHxWuly6QBH/I6UBeDq
BvhQl4toQ11bt6Ap7BM98ZphW5b3Mn2wC6TYtom9U9sbXd+M1PQFQivtW6GuhD0L9YX/CntoOj09
wMHtuvyActTUzFVUYG+37aPji7A/akd7zzxzF92gZyA0NtQj2euPfzu7k1kgSZAfBMZt/pAQcdQX
wjDBuKmdNwAHd1ppn5zEWhveNH+Xq3hpZxZjaFbp1E0OO0lBX9r6BbKbext80FYfcJEBPq9s9b57
aimE7ETrVZwiX5u/XB/s1+Pp8iNmi2ySQqNCBZ/YGoy7Lkp8arZhmps3ih2jV7oTooQTlDB/3exX
D740O/ne2aOgz3TI7NYwmzUGHgCGV2kkLNZEidYGNzuGkEHgce/CSpP7DoYhX8ADMIz3IfqeZ8dI
rj11vt4ql6OaOaxa2lmdIHb0GzNMIN2d+Mx9U9c05RatWOhqNskCgto7WzKWJypOO9Bw0LNAlVu0
2hEdtFjer6/Qf0SvL+55Zma2RMPoELxBYcY8je+k84xPoPoR6x/4m73nD9WjjWDkl7K2K76eqZjD
6REPxMKE053FPDQmLUHXGOw+UKdNYEoPzW9iB0S/60uP5IHskXzbXR/r9Du/DPXM5izyiXlrkKGC
TU1usvS3tDpvikDSW56sZWC+3oyA7E6ILlDFgX2e45DLhJOiabHpLefUsFOXnBrzjlevxvjQmytz
ueQo57Zmw+p0ZRy6ErZM0FgTO6yiwCwrTxH769O3NqbZ9Us1k5Y2OMHgzeYgSKMsUP6ktr5JGfds
Zvh254TXLa6MzJphNkcRd3UTT7NY3ZXxL9K/0DH13LUbaMkvEJ6B0oJcFoj9M19sWK4KhUAyxiKZ
5+S3tjhAgtODoh44T9dHtHQgnpuarZU0c1l2Nkxl6T4qv6tkb8W//m8mZsvEygq8SwsmhCZRZrlX
qh81njDXjSyuzJ8pm6dE3BatLiNt8jnamSh0sAYIZAsAoMix7zQ3WusVt+h7BlgzkCEG1Gae6rF5
5TRo7gJ7Un8d0zRGeUAGjRiOas68oTXebPfvsZ/Yw0ja4umCqOhLgOCinBM3IoIUR9kAwIiLBFKw
ILCZT/8wlyB0IcIE/PMLAjoutQa0YAIqLhP7HBlNVB1cJfarNX2WpXsSpzmeBwBMgFE6uyepMNO2
HTGJdf+9rY4AfHhGuZXoOtEEKE1qcsXZF/fVmb3Jic5u/6JisdAl7OnjrhSeoQcx/0a0E6s+rs/g
ghjUxJBAbQGEDBvP9fkO1qnAyY4pFCf3FrkI7S3bVTt6ag75i+a3igfNq3t0Tv/ldrvsU9msmF+6
zM7Nz3a10Sat6k7m+01520FHA8nWz/yobGnQ7pLSv27u695DpgXkJ/DfgS9Ck7/LadULBYKpNG19
KE0AUCv4KRqDQV857RetQI4YBC9MK5mXhtDL1tKHEam3Ot1J68aOXxoZKO7r9bH8B0a/vJMNKH+i
zyRSuEDzzF/og9BGWYDPBXU/xaOhjj/brXY0bvUDhDljr9y2hqciheUlB7KnAbr6HGlQrzyCvnoq
vgKNc/G+A4wSPKXZlJpuilbL+N05hAzHQNG8otok5X3VrHjq9Iu+DPfM0DTrZ1tCOHGC+iOGK40f
ECsqerRs+VyZ0jUbs81g96rDlQyDUR/4Te3be2djbHtMK/X5rtvE28SvwmzLPMQIQRpae3XrhOZp
7X21EFkaSLwAqT8RVaaH8+VYzWGMhAo1GT9+bX6gjTV02u7sbewpv0jIdhBQOWmHYQX1vQDEvTQ6
24rUciXVJ6P8B4DmAfHGXXNDPXPfbpSP5nbYXZ/spbk+H+PsstWcTE2UHubS4QZqDXb/o1wDMKzN
4zwK6ipdr9sRNl6rvXMiXvGgeJrqRTdvLvpA8ZN2evg/Dcqa5Tuk22Vcnwzqwz619oa6VdYiu69X
0cUyWbNH8VCUJIpymCBPxhvCx6Dy6DPbkhV3WFIuPffBL2qSKijm3TCtz74pPQ1Seb62yTfmM/ZC
WO6HTbd7cULmxdvci+iqiqj+NW65HOfsdRXbcWS2kzuKMPKTG/OWb9JvRYjX1VE+9juOPUiwF9U9
3d/+lvf6HVoyh/QzgqOuNWNfnYvZIVeqLDUi5MewH7vQCJKbdMOgn79xQyiIf6L78auyTW+fkpPw
0+3a22shy3M5E7OTz7UGy8qmlRgOdhhtHSQnj0OoQU7w1w3gOD/Ann9wdu7K22ia3/l5i1LSdLuA
DwXa3+UZVCn1oHLNaXxC1W3Oi2MTlyvquEtHwLmJ2YkDZThVTgJSPnjJu6qKdxS7pe7YCtZ36YrC
5QTOuEMmWsssHUCMnKO8imi0FNb3LCmQTykIsKeJ9SgEdzbM0lcukqU9ChkOgpoOxIZxOV/OnTlE
DsQipvceErp5fDu69rbvw2TcJwABg5hcZCsHz1LMcWZx3vkpqi116PrpdVS+xmUdypp+9Gxq69qv
5ZKXNiY6Ck5MfAfaafPLCRnkjEbTgwIEomMW80e7yNDurrafpYgeO6hCIWX/cv1cXdwD50ZnrgI+
Td0UKuJEEo/3AN0FduH8cNLRd8nHgIYPWUw3Q4OtUQ7Kg122t2BNblXyouaQuDb7A7PIpsrix+uf
teBZyN6DG6lPFLcvz9/SihtnTCk0RRXgck4pBD1JFdh40DtrVZIFIBBy96hzIeWjoQH8/AmCVnuq
W1aIXZMUvUSg21opgdZXXkWHDcXDnhilBsLsgLTQ+MisNLw+1MW9erbqM5euGWDVUYEF0Pi4ibrm
VorKL5N6ZaEXnQsjsVEXxeNx/hwBervrHIkjoZAfNgewaIh9NfVt9X6Uu5Yo3vVRLSwglIGmd+rE
boaY0+VG5WozqqmDUeXFN26wjaPVD8X4m/XgyFhrwtiLYzszNru5a+gCkrqHsaiF1gvLdlmLcppv
J8eW7zXU166PbXHFzszNjr0GuDyraTCVYwQQfC/CFGrCkiorD4C1Uc3u6Q6qDkof4TiQ6LmiGN/R
9UtRv2vpW+8cifLz+pgWj7mzMU1jPnsE9NJtXNpiCstc9xCuBjX/GUu2z0FT+r9Zml26rcIaqk4v
fpv9LqHHquhe1j4zqFVdt7O8SuAkQuEB9c95gR4KAiZJNReZBcP0gAK85QBuJG22u25m8TbHWf3/
zcxWqcZus0iFO7DimRpEJdV2g4iN8LqVZV/4Y2W2PIxCi9fpMBi7vYEk18Yg773YV3wLecja+Xbd
2LIvgEDmAF2LTP9s76IZ8ehGCvybOwoaz+E9CBqZASmmhOkrgcriuFAgRrUWYCk86i/drralZkTo
K4WkIHSC7EejfiNS8cYS4jCar61hz5ZOJaSlAfuERAGKp/NpNFCPthIc9ayxvKy5bSBkV1YPQ//e
mH+t+jHpQiNHB/Q1aHFzfDIzEeJDjgkZkVizdn0TI47WU7pllXWfQ1Pq+fqaLbkhVEZQ5J+wNV/6
lPasLM2Cx5Aeb9Kw0OPbIZab6yb+H45xFrlCJwidStHMDkL8c+HGtHSKwcqy1neQ3DpYaZp8IzE6
xGpcADSU61n2zCJFhKoRl3uFGsUPXjq23xtR+VRZYAvRqhhv44G1YcYUtBZMqYVEjqPcCKPpbzuu
CeahOIlpqoys/iGdon3Pcmn4VqtV75CWdxJfapXiR04pP1VFsR5bUNRvm9yNgGYtkp3Wx/IX7ezC
uJWRmexjMsVp+ajav23JyzYw8kTfV6NUQhGP+X5UE1IE3M2s6GhmSXpjVagneIUsLLTM6Lk+BIMc
bDRVUEy0Hcvs0tXR3E0HiTYaCzMJ0Y3LYF6rkhbPCJGIMFftPsRLsv/dd9Jt0SI4BUzaTTvX8CMx
sv2gGfKYakpx0+aFeHaysXptlfoFGqv3MNXvZMlAsR/Ucew9TlwIfyV6AdBZpBsbkPLzj45wxx+1
Kn/sUB/dxa2rAY6uQ3WPSVSMIRhLmyo07Uz0/lCoNlTFciO0UzXdaznTw1ybSO+GJAd4khKyvmn3
StPXBwsqVvsBFPoeNQeZgIUBSesfWdRp8cHMx9zHV1fOoeE2LcPabAhUaBOp+8WIKfcQskU4L5iK
Rgh5k00i0UP1ZDY0RfCa4fYC/f61qJrB44rrbmQfQfizJnbnOWarfkjwMyBolJeDHZhuLNGaBmyX
DfABaeXXVR8/dWPLnac8l93g9xbT35jgxa4yZaX5NqQjN0LThp8qiSEe1GhVFRbQiXsZXKxZoLHI
LgGIMGFTb6zkzYTasHMw49p9RuRd7AbetXrkoe+zcRrBS3M9qP3azo5pHb+ROpqmHlqUF9DhYlIB
ZrWKrn6l60SWB/GgofdK5pLR62iFDI8hyn7TMWa+0iLO0BMiZ+ygFKq6qzFdG45Y+ycoPSYeTJlO
mJfF0bPVo6lFL1V+6gy0JUtwhh3ahNW7SOHujSFyqsNqnKUBUXm842io8Ahw/rg3BEqpALZSLSwj
TremHKGcVLk9xLktS8RBlZN+3zcZYDiSSnRfgAjBb4P2ceq1PUVg0esSTTFjGd0YipI/qaQUv9AC
joaDO6LFmyj5zgEc7VeiSKj5ydQZjxlLIyg0WcZD3WqKTwtkwD0Do91YdY9uM6MSNx8g0lPdI0UV
f9PTFFWsilaOuI8YKw5NlEOyx1F5/mCK1n3ieh3fFwYbvomhHchGzQx3Owo9YruRKO1NouUEVx/w
SmHBM/sB6mhqFwhHybUbrubVo6VwdtQVO/1dWgibQGVyUQA0oX8cgmCLvqJ25vTiiQuG/hZpzQ/2
SIYA0twpOmVqZFi5sRf4G3gSg9kPCXOkGkFpuLzahEsKy2nR+hq9EdVAGYFIkugZT9zAtUmI++7F
qn+ZeQNCIc7NzssOn0NcBqw8Qe748/rRvQB7u/yYWZTSqmrVxtl0G+WQhO6foZkTpORDSiMYu/h3
Wf+oY+smiRCIce7RVZjU4iPrfDZmN2+uKbnD5JS6F+khZV3Q1WjY0Op+U5igvmk7E1I0dg4oHAq5
4GW/rUzAFLPMry4sBvIU7gSs+YL7U+oUGvq4uuzmM0sAzW6TjcHajy5/K1VQ9Ju+BIS6jIO8Sjy3
kivX80JIBS7rBC8ATx4s7Nnw0czckDmpYZ7XdxZ48tgqh54dGGrVKyOdCtBfRnpmavqUs0geSpYj
4V2DJkFVHVA3VNM6RGbTa1R/6F9tupXJodNXouCFOG7qW453JVCNJsLtS6MZeMcRCnkIrHADWqN4
BTdyN44quhsy4ldN9qgM368PdCGWA/MbIiDQg8Wb1pxFqUmsKGPewSRtqS/M2ov1BCz9fZRDBHJ7
3dZCdAWJVgdZdQ3xPJrqXQ6vZ0lrVsaAFIHxA20VPcKD6waW/OPcwDS/Z4uGYxBIQgcGOl5TNDIz
i1smovc8zQa8k/J6xdzkbnMfAcUKYrDIeKBaN1su00pxeVsjlqt/asRrkr7F9kpucHHK/piYd1FM
BmWoFAET0pCBLSGftdYKeGUQ9swBWDSawtZhoWs+nX7XkZd/qE5DRhK1L4DWcXiAVHy5LMaoWEOW
aYiqaVJ4TodbHnoDiqa9M7266RP+MCaJV6HTwMrjdWk/AeGNSie0A0ECnC1QZuTQRFL11u9bzYuK
T7UIEa0pCciG+bNUVzINi9cD7ilIfU8pN3u+fZVCDgoIKziePlgATkx+17xpt4if9uXPmnvDir0l
bwdVCsI3BIQK7KjLaWVd3bXGdDVm2nNdQsf3UyFHxEV/v6dAMwBeHrr6OPZnVroETz3VgH+k7K5t
/CGSXm0ghPh76J0BbPMfO7O9a1UuFzRTMRp0XVBLsmvH/KZEiJozdaVUu7SpIO6CVh+QpUMab+YW
UmmElSZwC4QbN7kz3gzZ2km+tKsgT4VTYXoo4yl5uTZDr5oIFeAKIHHHXm8zcNIljaDvgqL79QVa
6nIBBDr2FhLQkBB3ZzOHh0atWIWLqCSU73jyAOB75Ns6NP3xWKGxmv0UbUhIXlB594bSaw5sJf2w
ONizD5jNp3CbLM/J9AE5pKflgbFf2Zry9lKG/WyU4IxczqgLoRKZjTCi7MB4q8NTEfJPdHPb5ht7
X/6Intt78YZ+4iuQjKWyM+xCPwOMJWSn5hlfi5hdwxRUt9rG+xh3aLhCPxLNj/dPterpuyLzV0En
k3PM75Vzk7MFNdBlRmQRhqr6/V7bxV1g3/dgsoaar3yzd+ZjetBvlXt1t1a7XYy2J+0HZPVc8FXm
pSjdqobE4BE4nlt5o78geZQGdBvtgCjYQkm8Rh+wZiuOr9c9eHE/nlmdfn52bQ9a3tVuOrWAl/eZ
anmRvsJXmRzw64T+GdbkwGcGRqfHqziGgeYG8nv9Mf3NXunGBV/r5/WRLF4B5xM4ndlnlhiz24ya
mMAC7VNv+Tu7oaECSOXG2roHvs3erttb3nl/BjY7ZuIkpj2HHAWa8TWBrVmeCU2eXDxft7KgJWNg
D/wxM3NIvI8rovUww4Pi1vJUvw7fQWhS99GTuvne7ujKsBZoYZcGZyeKaUva92iK7Rs/AOUtTqPq
68Lr3ttnNMoy1oa3FOsjtYh3hflfS9rZG9O0Si0lNdwD2H3+3m71bwCynJw762Ct+cfSnQ19P8zm
FODjEXPpH23a1u4I6Q8fObVH46kPgHHkN+m7s08ewUDrjs6Gf0+3a82sFzf2ud2ZX4K5Z2QxiqG+
9iMLk1cWUAmJSE8+Aplt+fqt+ZEqnor+smutQhZ9h0BI3IRkFsDu85vQprROSrR/8LtUrXcty5Cm
tvgwBEqSKvukFBj+WKMEVBlWgXPVMdOnsVbbl1KARxYVmtyV/0PamTXHjWvZ+q9U1DtOcx46+pwH
DjkqNaQky/YLQ5ZlgiQIEiBAEvz1d2V1dZecleG899xHhyyBAEFgY2Ovb7kLP/Syt7r81xPbu7Au
fHy2s3mtlkhyABSwLvAxdUCg68i0+nUTF6cy0rxwn8LJ7lTL+PMbF1YNm8UoRFyzeMj+uY+2+DI5
dNO0Y9pz1BW0731vPYw+vZKtuNy5/2343Dka0z0aKoOBL2p7NYV0xW22vtK5i9P5r86dO7TQADm/
k5Y+nXb9DTS2SL9gm7Se4dxYvt+Qw/LKfliJe+1a9NJ6/mFMY+fnMVVLR+0+8GHWzK1Pqnc2ZTGs
lxDVb6EHn1BRppEI7ofe+/Lr/l5abj+2e7ZQMFei5sfCkLbwZmffBNmF/fOvm7g4oh5EcDZsRmwQ
AX/uGhdmjsICI9qilgD5S/8uQCW59fnXrVycGx9aOZv4uiIeHOBP7636HvVbfa0Y/mLUdBLU4XAC
FeHfBPy8hs9xVSJqcmFwDBqsSMJb615kwZtYxVu9ma/dSV3sEY6YiOtParM/MmcfNt4l4AjDO+wY
o/OJTDeNdeU7vvjqwcaErOyk5z2/B5VQEQCjhA5p2aHseAat6WFc/t/J3DjMoSYXCkic6ZBK+/nt
TxPFSghKS2qGYzflwtzL5sqp8WJHUJ6BcwkyF9b5BCvtSI1qwmYnzB9n8dsCqqB6Gv6defyhmbMZ
Fi0t/u5pBxc1UJ1N0hYbL/hktVeOHhc/lw/NnA1YzCyk5k/7qTGbtr9pwq0mWXPtEHB62PP48VTS
8ueYeWdnjymuOKAQaMUJ06W+seRXFmYx7Ejn3L7mIn15w8SxEfgt0Gbdc+ktYf7oTYKqVL9GOhdj
Pu8inrhrtqsysMXrJBozcA3cK2vb5U/2Q7unof7wBdlcgicjT+3upnV4R444zx06naoDXB9T9UVv
fr0GXXx1J29G6Kig4D4nHnuWDmYXxLe0tm+qxU9BmNzW8ntD+it3yBeD8hMP48+Wzl+fj+udCPsw
Xp9Jdb+Kgr3fv9jmhfJtwzskG7aqfmj7ZCiv1bhcjrs+NH2WXXOlPYWWRidjeHYm8Qt9tI/toSkT
vpkBBUgbktKDtYc1U/hv5L4+dvpsj4S3Az4L3igg8lBYeGzVjavByLtt65tZXNNZXapkhr8s1i4L
RYW4/T+tOh8mj1VTGI4I9HMIs+EAQi8uyXZLbu7Ddb/BZePB7ZP2zjn+egpdvA8JwSnEXQ9qQEHU
/LlZt+Oi8RfMWZWNL1j7k+Kx3H6hh3iz3F9p6uIa8FdT55OonqK4LBb0sP+s82Atbv1vzXt3MHez
TMzKW/n3zcr6Wn6hydV8wCms+Nvy86Hp80lkJrfTp16OmZ3ESbtm+/CWb748Fyk44dcmzuU5+6G5
s5ljjyChyj8GdRUn9uZ+TKvDmISpe2RJmYY37NB+u1bCfAprftXF88jqRNri0FZCb3snyb6x7uWU
kACVQPmv3+PF7e+UyYQEFWiTc4MXnI/rtoaNQlrFEGp7djLF30a6/XUjF4ORD42cLaVNIJWOayw4
xC8Sez7ilvLXDVwarlO9D5y/rJNo7mxGgEXZtlGJj3vBbY0yNF1KdujmOC2ByeWhvHILcWmp/tjc
2YwolQuRXo/mdF0kzCtXWh5Iv2qvCaMvJvk+NnQ2DRw512XlYODmlbutu0Rs/GTO5j0w3HKPsjr/
q96TzZTwh/na931tSE/v9MMK1sMHHhl1NO2t/TfUCHTJkjV5nHt3sk/jB2/F1uV2yYucXzvNXGv5
fO2MpHJ1i9GNo9eW7lj4ZBjKHjb6mhv9pbn/cXTPpmWsJ39SCg35KEwUPOno2oFbzq+n5sWtILYj
qOZOlR1/138PrY7UKYYVPC9JhxKYfclepLeF/4uu9xaFPxQsIsApuKmdJ+A7C3ol3XdpQD8+wVns
aYE4Hk6nLKZq75h5RAVBgioWXLomcX3NY/rSmKKSB8vJ6eInOs+YhlbTLtGM0LAydw75LtqVe+3a
9FoTZzOTyGF0yKkJ09kPvEYCLChWILumV17cadE4X4M/duVsHjYjjH5hU4zNFE6n7FWTXDp52f1w
/QNqjzNq0ja+m8crYeCFfRXTBPRGwCMRQpxLkpZ5Yoi70aotRWLb30ZQhNo28ezHuUCxuF79upcX
lrKfmjtbysauYgxVYziYlvJecJ55ql6NkMnicHdlQC/sAj81dbaYLTgtRlNwOmmNbS5VsyuHIP//
683Z1JAjCV2j0MTY3i32i7Efo+WR/xtHRnQkCFx4a0PLfC4XERMoUN0pIJinRxTh+NWWXwPiXEqT
fWzjXCBiE1Vw1WNfNhHLoJHO4rJNoCr9osDzd0qRn8xcl2reiMo8/HoQL524fmr7bDc1jjPH/oS2
Le9z3edTs2P9pqs+LSIf6HPpb5T7aMR26jPPenCDKwvmhdXqp9bPZiQ4854nYDwKIrSXUuu7jGnS
UNhAdNanrh+vzJhrrZ1PShiis+Z06tLxve2+e2OdRhxM2naPWs4r43p68rMFBTlPhG4e5P0e0ho/
b6ku6NRjVKBnvkG4LMiNhavdSZX3oqa45i2+dBylpso+4rbrLvKqEzDv149wWrJ+9QRnO0HXRiS2
G/QWLMQuj6LJRoGbtNPQFtdoQBcH9kNnz44igQtMuMXRWV35e0rKVe/5Ozcek8ZhAAR9/3c6huIT
7LDwhzlPR1nlQhm30TFfbL0ZVsQoWlz/uonLHfqribO1hVWjKMiMJmxUhM5h0sPoaeE3zbium0+/
buryFwjO/f905/QePwRftkOBE7ARfJkdLs6Kg70aDtF33MTcg47u77wNe7i2qzoXl+dTFXYAT2oU
GJ599bE9N/ZYoU31pPM6g2vIBgWwpEyqFNe8ubtuszlvV31Cd8EtfnCDubt374drRSoXEAfY/T48
yNkCIBpMy4nhQfw7ln5q9mC9tEHqqCy6gXwqNZvXJutFQp74s7ulV0L7i9vvh8bP1gMLtb6V9PGW
DdvIKbXcvSpSz8krfuwDcWWpuxQb/tTVsznVzbKJp+405qs+A9pg/Rkk/XFTZ/HRPqocdDmzLq5s
w5cnVwRej4Oq/pMnxs+TC6MrJsdi2L6CIBkgNOqCUyX0ksBA+cB8OJ9Aj+cEZR5UZcpsBxDwJtP+
GzR1V86FFz+pD09y9qYptedhGU/nKKjHpoMXA0/qQSMts+mao9DlWfWhrbMXW0V909sGvfZ2/OaA
W5nxvr5Xm+AJB6kmCRI3rVb6O8keaqh2f/05X+vm2Vu2nAlGARRNkxBVCwEUKKrJJNju9fhOJ+/a
pLpwfQtk4F/v92zx6GteRX6P5gx5mamfaLGV4aYtQLfynuLgHkCNpBJX+ngxjozgDwW2Hq4bzuWO
ZHEC3Uk0WoC3bJCuj4L+AVwJu7uGxT49/t/2sA8tnZ7kw9ro+wK0KQ8tlbh4qgCvgNWIFV5ZBi43
AsYKvLYiaFLOdq8qGlTjW61KJ4VQGE7P9RCtqDVkf8yM/3ib/7N87+7/+7GHf/0X/v3W9UZWJVVn
//zXXf/Of7tnr2/vw3+dfvF//+PPv/av9Xt3+9r+/T/99Dv44382nr2q15/+kXMFk/sH/S7N8X3Q
TP3x9/GYp//5f/vD397/+CtPpn//5+9vnebq9NfKquO///mj7fd//u6cquL+4+Pf//OHpw788/fn
5dt7Uw3q9e+/9P46qH/+Hrr/cGxUL+OKAfkcD1DI33+b3k8/8f1/wHoC/i+4c4KSFyCV33/jnVT0
n797/j+wnsG3ARcFIFcCtvb7b0OnTz9yw3/g9hA+8ojZER0gJ/v7/zzcT+/or3f2G9ftfVdxNeBp
fpqAqPuAcBsLJw5pvosnPMdIqoEGEYXgB59UBTsYWCWtZyKmdRlCtITic+cJSj19JR9zmnB/zfpT
o7jJg1LvdOuCr+v8POCqMQ5rL6w2gW4DWMOPsS2yRQWLSTq7KbyExTY7NK5TBglhFEzykTKoMj68
pz+H4mPXf94d//spToBZ37XhDYV7uZ+/PXeaJ9ExC5ZQtIV7gYvSJKtPysWZUhW0X1tneYpj5+3X
jaIY5LQR/Nz7EAAgCLaxroH7eq6wqyTqfok/dGviq+lZ+8ONiYxrjqPviQXvwZ0fAqULtoew1f9e
df3gZcJ0IH3a2uD4UM/mTap58r6Osndeyjrsp01VL27wPFNe+zl0JrrPoM/hckP92mGPfhNo58ae
YekCLyyeuX3Lb8dY6mrN3LjsEqKDe4Rwt2JoXJxObGt2ss7xu2lfVNjSiNHuC/esHkg3E4HIwWKZ
4d3h/o9D1gK1CIjuqOEpF6+HPKPGnWAHBQ4kR1C8PQcxRdFg37SQ4BB42w7B9iQy3HI9le9xYEFY
07psQ6bGz+q+jNfO0tz3sb6PJ/rSGFDiQ6bIg5ndAtyNQj3KeRbQiDn9nbU0Lgx1uPWDkXZIzMgf
IwmzitJjZFP0Dq6FLFtnY4FG6rAGEXXhzToUSMINM7g2Ypn8jBL9xRbyG65nPxPm+vnUBlCw9S40
KWEpE8c0YQo4zw82NQpp8ogMPBkdONcOYPfufPiIfVMm2pVtFWeCoovBYvP3HmvxWzRC7OSpebSO
Y+m9tGEtczjQ7+EUhBTgRII4yCsxN3HCq6DaaOby9qA17+68sBSQpo1ibQti3hfRq2ELA2lvTqge
7QZWSX3J4JJOYKcAIyHnrtaj/6NjfoeyUCaaeo//PN1NrvIBLqdG4aWYwPs8UxO5CY10He7iUE/h
HfVbGaeqacDp7jtOvC9ytpsmUYVuxdGplkk+wsLKmjesGctvOibDCCuOcDCJz2NnFzSeqVJEPCNu
E08X4OkM7845Rf6n1xuo0MIDmTvQ3/xKz3pf6lg9FXGnj7SpW+zkZEG5Byk03dqdq8qcOlYsk9mp
cKSkUe2AMENh3I4qch4enYYG7ibsVMy384jKv1Ujhf0GlyP9zBZurFXZkriHwk9GdtpPI5Tn9qgZ
vJK6Wtj8UAg7uPOmyNRe4npVrJKopYufeV5jxm+Yx1OI4kFZwuyWWyMA1E4DakaN/CrLDe36Y6O8
3s+coOZfUSQBQsBc94zkBelre+1V1Bx1UCiyZR23+6dRWYbt+5NsEZq/RoYJ1nkQXEDsR1YqlFDi
oISdGA82oDTgq1nVXQnsUjB0OwedfZpiwuNEaSKhImyxqIBlF5TOFvRke4LXcNyIx6qsS7Nye9hm
dnUA1jJVzEO1YMsivVNl2VpbS7m4BrVZSe7Crhw9PMDQwru1daMij6zaUfnoRKpJZRR45kutKYTU
09jFz3OAYvvHeYFdaFbVTvQkeDF9Ul3gPqIIYRa3ECvNDJlL0WCMaYUM9AQFe/MFHzQ8v0rgZMuX
0RWjXFUGlWEwiaRRjOpalx+g/43mtKwdw7DI10PwqEF/Cd4axzJWDpQqavqxO7oy95ijW9DvvGE7
OuHsJWXIpzbTZnEYiByxPT4V0jFv1TT0dC+lRxj0rowvSRi7UC0Ko3DtZNN4WdVswmlv4PToz+3k
r0gQgerhkdjQld9L/rawxjYw8SlAHaWq0hW4KUY/m9qXUd7Wjn5ErVukEr+AxA4JM7eBEdjS1nyP
j9YtbqZKFk3u1/Ny9GYFVjoRvoViQD7H3a0zt0Yk2DemnbDpUmeeY+R7bLW+zISk9h2AKv64Jh7z
cYrCAvRmwWGiWY9V0D8Z6dnt9x48vVu/GQWqNZmSQLMH7oQycC8cX525ltCfAu85JkEEHktSula/
b8K2NptmavmS2awRQTqbsH0DoCZ+6AA8HxKQMeiMsjVhAUcazq+MyR7ChoHRnCDNIpIRNXDAkUfk
ybcX557A5KiD3xil+yZqW9xEuzWKZlzfhCIRVRUA6QvpLT4hFOO2ZRwHu3FofLmWZT3rByaxJsCY
tJmWgywK+Lh7fUmrzSCqfkqdYKjuQgMl4pqIsANO1xA4pg6BWyMkV7Xn3Tay13gFNTf3jc/6O6K6
VkCr3rsMVSmoXkKPoO9NnBkTJ6PTgKEmnQN2oq70NKfKn8WUY+ct7mhtyRvo22R5r0xVLHnnedVa
4kG+Yt0s7xzGOmBmkF7e+a0F8bNUw2evW7Zibucl6UrsXxDLK/65jxqUP/mxEvtglEGQ+mPVPdWl
2xvsFrAW6yCh/cLDWLwKzSzUpDJb2PkSDotcl9qOjkpDXJDMWNqZawHibcvb1pL9COKtM8M0RfaE
rlTU6eeGl+S+ny3tJrJUwb2eisbGDKeRtZ68lvJMBIPlrclkaidziDEM6GrNWFL5Rt9iPz0FPiNM
APaNi3qelRCGePlUWjxee80sh2zsi4XCK5h99xl2ioyxpeVrHysMSbkXldVWwv9B7q2ID3Q3977B
D9WYTlHjZJC8kehW2GY+xkJXch9FsqGraVSuWnkN1NK7zlPdujOeoGnNbCkPHeuWBSWbKEveA9jP
hu0wOwXiAs/rvuvZGm+imph5o+UUj9mCVN8BO/YU52LQ4SuuMWmfmWEZwKdh9mLdwhizeNfRiByo
rkC/zQZh+8MqkNoSoAnHJ6VabE/vSBeU9Q2zSlZuoPAmsNPTCGATQ23YAveiZF3iSVamTTC981G0
yTjo8U2F/h3tbbLvdCRzB1epX2MoNh1jvyjPzWMobncWEJOox9W4kgbrftXAUyuNbLWbipMYXw1w
JxSimZMgZLOVDm6ALdEiHChbRvv6BjDHCMVC4ONPsat/ODQudg1sd7f91HmbMVrUDsl15LhgEJMQ
ouxbF5Uh7wFIxplBmu+ZxKz5UtoB7Cmw/wEuIwqUOoXW2Nx4lNnfFW3FjrjBvOtjgZ26csuVg8u0
r2HvW8+13x8niXI2cKNmsmoLxAiTPR6h1rhFQMpXomc3het+Bcq4zll7+uJIL7fIhAyZ1rGzqaHZ
TWtvUClqSEBsc8wOBuXWRpdlmJnAQriPOvcNtVS1D5Vd5ySAiXEYkzqvoF2+ZXCmQhgEc/ahliug
qY+4b0EEMEz2OiiBXXfig4hhXVBEzc63+RoJ9n5lDLLAEcNNaxtuRs/fe3pG5sebPkeuV9x21aTg
9l30qaewvHvtUOfuLONDOxm9ssdw3GB5+KHjrln7ofw6lHGmyrrYWGH8yRIttNKmzmd77O6aE1LH
hmQU/6fYmUH2b6XTfO5KrM44lTnrxtA9Kog3kg6rIW4fECB3KSfWQyFHRE3E35TtAAtIFJUXCbXr
3WJinTjKcnDlD7yVbyCHwUOkcCgOdkWngd9u63tA2REeqY4c8AaLVAR2faSL2/BEOD7FcjUVB2It
EHi4E9BJDNk4AnH+ikt7VU19f4/Afa4TNcK62XaURuxH/Fdl02nvCB48uc4UvNYLp7djI776y+jf
u0j83OjIKvK+C9mOeOTecfWcDX7xZPuwvCzGAMmoOEwtE0KuZB2kBDcApyD12tse3/ptsKYgHySd
3yGDTkKaVVO0fBubZS0oEKwx/eLoAB4j0M4H0lkTBYUFK/rPikt8RcgAHnS/9GvoZd3UcdRhgZmx
TefqhY/0GBG3TsZ+3haN1a9Rtt4cYus7UBzJAGBY0hKKNLB+6mWAjQ5/C/QA0qQhpKQB+JvJENkv
iFxgqsQmzD7ezvBgk+En1AfZ+cxAu+iLfh3wcs41907bUJm0GtPcqL0LyDa8WRjgvKx1jx5MTPZO
5D2YJTy61NfrFlklMKp59M2fHERIART8EQwxMEf1UyCbGzhK3PS84De0IuBk1Afuem0eNz3AahbA
cWXjmy1SOcHWp8LN3bE8MgKGghpNBr/MFWpCW+zHjRi7lJXTzovl2vO8I3HMuqlGvhk8Xe4tUGre
jGnp52gay6fSlQHixph9Njx0bmk4M1ySmdC7pVQXSElJivrOwH5gJGxyAufWVBcu3MvrSmIVG/ga
GHP3e+FW1ae2QixllVV0o/lYgDoL+9QCQmc2tkvex32/8xe266waM9Qt9EMvdQg4xvJkxSTaWJ0I
v4B1w5EyRQqgDzvwRsdQwQDG7DzROAlwCNWON4676RcK51NrYKh+K0rgZg1tX5fewk3e5D1pF9sd
mK0wucfqn9UUedHQLo9jPQFe0TAEvQ5Y9YWlZlD6qy4zTfGpduQePqwgubV16ANVMflQ23lICxij
gi+lExSHBQv43o3gDJj1uLtwq7g6tFpWK6Ld9YRXk1pTN6P0wrXyMNBZZxuRNZRIbMqdlS0ut+9g
gI2lvlN14nSkWFdxs+D07VUo5bddndhm4TvbFC5YtpyMr2Fcqoe67N27oNJ1gv2ySDyXlHvP1GKl
5nqPA2eV+WYmT8VS8yZxNfe/heH8EFcqfvV8jBUOl7qM6tuJwhAMYnBOR8AF9BZQsl2HjwcBOVPb
GYiG1JLCfwnxmg9jSOq0CxU/UNLrNuVhNCSzW7Yr2xC9FlHQpMIv1ROv2c3EbTedG5hsS7vxYIWE
aGBZiuYodcB3QRtkQQe/DtkjbZGMyBzcue4YbFrLxLAZwpGgJQXfU1q9KDGrH4NG+OA02gK2EHV5
WOWmG7dzgcESFdwJq+BNB1grx87ahsrbcMtdL329mhkOhUk/yjgv4qXfVX7n7BjHdB3mziyZxUU7
I5ngwh4bpk1N/Ej9cR56VKxE7nzvAVfkAvNSFLTG8dNyh+BYqbGE61A/L9QzMFbB6jBkAIyDCWPJ
wcE99uCEjQAEWfiDxok59qFQmFoTtHWyFBXC53xiDrWTaDK9+BbFhR6DxKAS2CuzeVYg/3tkCfpo
BcfPwMJmPnQTdVe1Kq3OvNmTXcb33iCeQeUYxrxyKh+mQPWC/xUdJsvSTpRb/ij1Q9zbiEUZiwdq
cE6qujH8XM41HJ9fG11zH1WpfTgEahszLSMESJXkFe7AAhTEz+tl8aECW4+B20Z+IrRrxmUFgm1Z
sd0MGyS31lm7jNbSJzglzi5Z0SKW0aF2JhGsOpt1X8uhh22g8JyVSy19Kg6S0WrpauBUpsJPB68c
UmDA1nHrvGHTRU0Uq+WjFPVYARPj2rlXEbMKPbAm5hhlIn7c/cAlOWrRGMZ0CMWzzeEmG/ldMgXd
ndRkB480ktekWFJPgI4xLrWXxV23YIGpsWDgHX6ZI1vmYsbUFBXAbZYv9Ea6jLXwhB5tGNW40+k0
Zn1u/aHd4VOUq5I24QPYTOQAdT7OjJrVIKFbAW7xYausOssqk8knIsNVyF4uXqU2UDXhezJLm8IP
0MJ5TD3AMstFd4a5fwGosVvSQskSOJvZA0m1Fzg7zTap72Jumi82KepUFUGzEl4IhKYUJHAFKHMV
z0AVx3yFL1PNMoKM5ZIgk4SMhBEU59/FDyFYQMIRsYQd9852ojFd+5VTjllvQhcGtHZRZ6Xf0J2D
V5vV6sQ3iaoYB+iJPVtdHSYVlfONGKYgg13a7QybgC34GO+iDXCPBi21L8eV13oqsxj8DWfUSwAM
AmhMgbv+YumWB2+Zik03yPKOF1I9E2qlBO45K84WetvYOHUkCFd/2MSUTTJMznAj1WjfEEKOVeW6
awI5QzZgGVpNDCTbqCUrabuZtC2+Q1EDW8cjQtsElzJhVmkfqSwCCdkRAgEoFgVx09IazCNUxMEr
IaVITAA3xGEMAHGcSnvNA6J3Q+W89G7cb209NQnSsM9BuxyMPwRgEi2OXAMD8uBOA7Z5vcC8ZRl/
KA77PwWnvK0KPZE3QzRsPc9sam7PD91URmmFT/2OViLYVg2wV33QG5WTrgvmDcRp5KAHXYDBg0TG
fTGFCp4zmBUvSNEUOZCbYgMb6BY2Z1aYkTqMUtcLiyfEivU2CCpMeod092J0jrAdG8GkatoHgJpC
BDzFvGMFscnK7So/84O2z0gZtKvKxT1nSHyWRDXAuTtCxrJEhpOGh4D2fYVYeyl2Tu9Fa+bFk8lR
/hOup0JXN2UzkLwta/+xd9iiU2uo0b9RAr/DoeTLqBy/WAD5fVoa/Ipfx93JYQ+pu9yfmkMHEc19
qxEPy3gUj5Cyy2QyJE7jijYrpDVsmWA9sGHk1tdrj/o4jeB+etU6Isdl9ErGSn3TlmeSCcnaTa07
HA5Iu2T+XEypjSPi9xpHjH2tS55py6drZeEIAvWBlWhVsBWJQTNKGqNfcGL3myihYC8FNWzqsJ6D
bcUHawNQRSA/VzNAuA6SyXkR9gO8fG15E+P5n5DbmHMfJ/yvKkBSMvXL+ZPPmxiyM0BHdkSwclWe
EEWcUpETReeNjUz0ONlyV/h8LlJgNsknY/EFoxt2IFEQkYbL4q2HWYidXcBpTnmefob/4rJzm8r+
7izyRzkgSEa2mPtZV7TjY1/6R2OVoAsuDeBqJtSHolvc7aQIlv4AoQTIJ0jrmXJVeS7L69r7jAuH
LmkWAcaYQZBvIy2AOA47cFQV4Vp0o3PTDmrZFHMUZQ5XTqYW3m0ls+ZVG/r6bi5R/eRGzF4jURd/
MmVV3YbSf9dzwe/dymPrEMCFuwCx9ls/wsWRuUTejmyes9oaljzk/Zz4yio3Dm5DHqZCfUYmau0w
koHrxhM/AiCNRiax9DhlBYdj9Cj50Qf4a6u1T+zc9hHAJHIyErjcqsDBp8fnzSMljorMViJFyPMZ
ktPN0LQKnVVfWlQVb+M2ojfIkUYnMpG7BX+vv7d00aSLiP0loSJsVqTVSWzCqUl9iihwasIeaC0t
3W/QHpA1WGglOIedC/RZGXfDd6Silrem8YNdFCOpErXYFmzj9ClMI3QOBDG5qzsybgkQXbcW0lfQ
W02KPiENwFcObhrShfb+FhfjN63dogCrnVCE0nqbSvHotqKwKg/sOI0mugkpMVslhvketet0w01R
vkSIN+pcdhGD7hEYuzFBfUP4YArBEZAyLKedGcEpEsO2xToqZucRaWuU29byWZciXFGO0UHdza3R
FswztFhLznEH4fkPszVhRlN/EW6KFNRwoHbRfxMOpwvgfTb1U5c7Q7MKwrhe4detr8ggDONXM4UL
WyMI6TfI8YdbYRVEpiRuUcaCaN3ew2HL3QVdzcutH5a28xn1INkS+h3Sn335HYGFedU+zCQXkMvK
JPadNi9UkDM9v4x1i5P4fIMkCGgMDio2El73N53rg3XleygbHXwEwsbtkJKcGbPuaIcweBXGNBMn
Ntm6ccTJM6RgiO6tb05Z8VURq/DduO2AvbgDYiec+a2wSuep0LG3C3WB01PtAqs5AbLxUAzRkja8
smEE4szJPI4dQjjEAilrR7kFGg2Exh4wG9etzSPv4TLUysV+6PxZ5cADYwOuugKlRSOg34lB7enR
IzMqHstqwqlV1WrTjAuq3eMJV1qzjSwps7zufiase7GxvyUOsskz8HoSQbqmLpy4xzJXtqdTpJjp
E/IvesUQw4FZ7hb7yuAINrS0eylAaDzgQineGeY4R8Mt/3jKGD0gv+PvnHoQO+OzQCWMB3oTVsDG
MVAiHkbsak/QVULR28q62SBc7TM4ovQ4/9bzEUa1X4eAN1+CyOmhaBpGMK7t6DQsrTT21+Vknp7Q
imNbwRPhsKJ881WNcnmxmyhIQIi2BwSNsn0zwf9h70x640bWNf1XLnrdLHAetiRz0GhNtmVtCEm2
yOAYQTJIBn/9ffLWQfc5DfQB7q4XXUAZhaqyJWUyI77vHQXc2xLHPB+sp/GuoW3qyTuzY8cg1IPw
r7VXWrckNqrr2vGX24bY+5/F1uqMvYkuwcGOWJzqZnmZdTScknqqswII88yziDeiW5FVNlZTAA9H
O6KNQxd6pnwPBEa3ISb2yozboRcqYc9oQjCmlACmhB998HxSYvHM6v0kLN2sP+3Z3mrIGrssspFV
+UtvM8tNxjQN9kYeETUAduwvx86TjUnV7lrOTVdYS1prZd8YgoIhH+DTQuL2StH1B+2M8tnoaT+3
iS5AggL/WI5eVB9DgJR7s6r+zZNuCLsI4NawZyn3m2rsD6i3aMnDePCOyTa695GrGf/JHgVij6jn
+6VUW/1YrRFiAO7FTSerdsa8taPlumSmmYvBsg+z3OY/cZ9U9lMD4piDX+4vY0OT7FpfsHXyjvLV
t0/JoJ4XW/CghPZhMtV9vVz2qeRJamjLok6oWelfxBi9JeP7nnjybl7VOa4KTbAHT3g+b/4NZ2MG
st1cz1WRBtvFCb+DAMPznmLwUJC9+nqNiB8s2+KW6I6BXMWAnVff8AOnQesGeehXj6OrzLG2zXAM
9xVV1UCmanhhcwa8dnX/EFg0Fm+FDQxT3ZdyOOqNMNBNb9550e7TtsF/qZGOYdLesmoawzScKHFI
kj5vQq4KEXhpQAykA1ZxxkV4KLvqxlqkPq5Jy3/n70QCc0MlX7n0IPqWcxJVwu5hKZZzUawHr6mi
54gt8FBX2zeb8qciRvaFfQEXZ7Pk/ipp39b3S0HsJR/Ir6TvH3Y2icxlmn+0YIrHRV+5QX3XLkGc
G6FAznFUy605j8aOHso1viFBZckLV/5y7PaD4rpvgXFBKMP7ou1UHpfRF10GMtU0Zj41xEs+dsa+
k9322ZaI/iQnKSBJSARDdMIDsB8Uyfp5LHrcKFxNhx2ULC16Nt7ZCcWNCHyH1O6mZHavohxKuLor
k0pdkqGgMHqE0l6h2mMH7Ffu+ha0WiCYKL3PPQB6b6w7ci8fOw/0ZRyZYAv46FQw0GdlaXeZO4yQ
Qd30k9fnbJbqxhm9n15SySpDKR3djBwhJya+gjsF9qneNnEXr+P6kw9CkiZOL1pkfjyhu7/Bb8zh
uqWJCvxsq5yNj2Ibl3yUactkf3VGYGcD6wNMm7ipxDVW5lHj2Pc+gw2Yr5Okshtq1BR9z4Ogi3dL
du7hgk+kUNxv2tfe1+X8yrTdNZ8FDMx43UgrYZ/amcMeqroa6XGCGNsAFtdwvRr9lcVuVW7of4ta
MzC+jaJ69hs7MQx3Ouxo9E04vK6nfhDlLRyR6LIyWOwvzXma/s+5szcRay3OlWSQ+uW6/XIsAjXL
13+vRHH/VeWG/iVOAjBFWodJM4Pcu0iD/kl7VjcqGQe7Ks/enFSPLSq0J9SULE826wTGrLjHfugg
o4Uv0hoMWqEAQMk+J8WvXg/uN7QKPjnDFvlQp80PgvWphxkncGMFx0jnkjL4w+gtW32gsjVy2Od7
oVEibOrWC3v+EOODK2lvQR1SFqNzkLz77t8Kwv+WKu1OfI7DNHzN/1aTdtGuPc/jnz/z3bv8P//P
/xeFaSHay/+7MO1NdB/vH+uff9GyXX7L37I0z/uLaF72STpWEnqEL+Grf8vS3OAv4AII0ksrQUTo
OHrCf8jSLCf4iyeF54VycBRMJKD9L12a5bp/oaNySOOju8dP6BD/7wjTCF/4F50UrcaRQ+Y8vmPy
72wXMea/Pp8q7mOTLKudktcc6LMZdDH3zyW5KlNxt+17bZ2qUdTOXV1M4RFma7ihiHB82fohSaeC
Njfi4aA6FGwL6rZ1uEo2qEohdZDDmG06E7bzZKL4J07SG47x7TRJsYJsBmkSIX1JgecZA6xxv+mr
cjmvyIrRrgSffu8POavjCynA8VHr7Ydtr1E2MofRhsONNqU6UtuSSt/0n56t2ytDY+F5DDV8E1fo
Vc23fwYDYqSERWVT84b4BkA4PLkFvtW+GNysLzk5w9JGxmE7VT748tV32JGD6gaO8JG31AZKjVmr
46ZAVCLZIf1iueGLPmhiYRLTPyIvuQcKqy/pjPomMojF2CebXp32yi3El7fZpoecry6wzFAgXxk2
+2qw92m+Hu0mvBXaCd7Vsk4cxTH5vLb/3CvHulpNs57moISiwjwNVdK3x6q1z4JCgS7VgY4AcEx/
HNdoyldvWVLLBVzniv7scBA+StfIb8qUGndKndwjVApzYr71ASYZjdtUfEeuSbCnlDUh2QPkjTVU
RYYY8GFPZnk1W9525djV9M0BEk63aRluyDoPM1g+lTmoiK4QM+pc9aXzglEFy6dc+vlzpLnuuIrJ
ed27xb8xYeW9tYxrp64eu3PF63cVzxopGfikjWjc9QivnHuZzz53aFL4Lm7+4FbPkK0V9sANuGI8
Ng4QEAUoqznLxCYed64lDTxNYiP8l8v+sgoiX2LC1a9J8A4eWVitcyRHkW+eDg6yks0N0aZ2as+B
fypbzWsYusR7sx1Hn0O8Da9x3XXnJjZdtssN8c/m1S/1QopMtyPxaEKyI8quGa4rpr6bpAidKy+B
DlL81PexiONU1H7J4ivnhKBMp7GOunL823WwrZuwTi6DegkAmLYmcE7F2A7vZl2Xkwks+6T0Tg2X
u6/h2VOxvWRePUfQ0aOfkSpf3nrjvF+5lVp5ruPmZpgM0eCV2NPCJ3DdsxbvE2Hzh2OSU8R6ixRv
Wq0fSev0OTKu7VToIXkfekBuy6/8Zx6cnSclauAVm+3Rd4bguE0Dq0Y0T59oDK1ruy6Xp7HZLaBJ
qL/OB5DqA7ZimxQXu6LGYt2X6nZVlKlORecdpbU7B/qmxmNQAhlvxILNqW1PZJZi0oq+1KrUidnQ
v4lq80jqSJm6fS8e+2A7LZsF2Fwlp7EbzhNxjPfbGF7LuQM28u0zI3D/HO2sgzwG91EQPtdJ/z64
yHKEGs9ryFw89vLygrFEuwnJSUP55C/+xx6UKNprfzxVKBKpD/WaZ8dKMMV5wrmPR+cVnVP4Ax1E
TRIze7w7wvhH3XuDVPXo9oNzzyrsZbW1f3qjtXysSwsdnbwMw3CSxulypFx5XJTfqn3/TorkqZia
x06b99UtX80SfS8QCUy91R3juQ8YrcfDFE4HpKvIOMYv3w/Km8EOXp12+YxcRPc9SD5MaPlRuOpb
bO/VmyDNOR32lso+d6v+FKF8SqrofkKLc9Nu1k/aPo77ZEN4k1w9MWB2m7gKK+vVWtbowfUtcxBC
/VzAUkMB7UcrZzbI6qGK1LUnI+sIbAEq38uj7zq3yEZPy7QgePLk0UL1RoyOx3FBC5OapP8czu50
amvD0Qg0KV42pFRfNOsCD0blM8Q/s1lo4Fx5/cCBWG765L6cfSs1PeKaaAcvAiUKDr6zhWnvJdth
px857n77XiOPnmLl5sy4i6luTgtwkWsTwjF1vnuflBU+KiuGlpIJ9YVtcAsyv6fz3n7WCY0LNMYH
cLGQimRY1Opa1KBdm2+haQ2qz3KG91flSwxRG9rsG5W/oX8o7rxB0W65cqdARf8pir/X+MdqXV+6
NrnZ+GSk0eK6r9ri86RFjVgims7Mw24WVe7j6noHO1kfWqTKX00JExU0c3isKHQAT7fuqZAKj3XY
XGBjpz/uUGRZiEgqotgJNfTsHGYf0scPxIJkkE3c3aMbLHdLNlb7d7sDLRhrCTeJcpVLa56eKzXq
zHj7m56c5VCQav8nbqf2Cd0rL+HI72UN6GEd63k+OW6nPuMRUlSMiPoKFJK/92nZGZbD+ZS4ljoN
kRVHebmsVX2zRmpOHnVEUYHc99kGO5+TFcQtQdNh9u0iQRDoXVW7th9Q4+JZKn7NR7sHSYhRzq5n
bYb6qKLwUVdEUFgaeVo5A3tpFom02qEc3HYCy53I5+nwUArfbW67WUSpvxckECU+AttA9Ufe7OC+
jtUJmB45d692hBQK5MyMEY0f2/au7C4UUC4QwvY4Gs7oSUkYbiPd7Xqak8jKFzEt20sHX0gv5FA2
6uB24VzUabhpSz5sNVF+yCMOnVQyW1eno7nb0wfw0XO5wGPo4T3Q1UGNZe4mQ87NkoFt/rLVBG+6
2GVmGv/nVuv5ihfmwZ6CLFIakszWWRWoA7m8h0KX94Xf5Bc+jnObGyCTKJZpiQbUa82HXMwtbQ9z
DqH2KC9Fx5UMHxyHxY96QnDNolyzfVH8jAoqr2i6r9g2ODEHgRvJ6bect5BQYfoGNsQS65artn2v
Q1JzdBHGmT+0SKy2Q72NItW9+zKCb/MqoQ+h56Y9Bqv1YYat/hZCMZ0QnL8OA75/PSUwJEFfZpa3
dsTfht+FMndVW8znRHl0T0Qlpi+LxbGwO9D+lqfUb8oE+Bc2uAjMAqonvHMn7AXJSlCYvPHL9a6x
ShbTeG1Aa0aElyDwsCH9L2KUYRojfN/0eA4CWpgkgtvBj4t7tGFtDrxR/1jBVm6WJZmflyh4iyql
jqqnv8Us85eigEMpvhWbR9Lq1uWKMSx8qycnOiS1P0/pPq7TaaiSozPSoRvtPEZxTmTmzwbs94gA
vTyMJWo5geQkscLXAOXSwS5N/dJ1fOBZ6AoegSFOcTZxCQZKfGhViGvTKdNkYTThjmvG5V3VYz7D
GTDczM2Bi0325hBWLnLcdBGuTFIg3DWzZjpDTstA+/m5KXk/IFstqzu469Zcgo5KY6lHh+V06y66
F24b35f7eDPMmxfmnnG2cUmFUa3JGpSVak+9BhUentOqM0e31K+lEUYfrMryxryrYqu7i62+WRCb
ek55FQljP9p4+u2s88NpPHb2LtoHqzSe8zZ59nal8LRMbT52kDffN5sG3cybu6a6d6Rti5AD1kR/
LpXWKFe8CtLnOmkJkDipZlp/D3MZLRYQ5d6a+26Np+EV9Mr+vTmlBzS0idGiVaZaCMdNOG2qa8sN
4iT3eFXmFyuyw5vetiv1IedYr/lmYTU57wLoPkMguYvvkrH2WoZ6IwuKk+wC66FwLWqPdEN78q/b
mS1lYtlwbqZxKYJDb6a1eAunIrwRNl10JUjssoz3yDmb6Qb1ZPUyCTnlPs6mw+Svvb4xEAHbtRat
k5rRi8ezW1nBcEWxSMfPirKECx9Nf5XufIn3GF+PQohutCrTUKHWu3WQTkxMx13h3gehWdhJXMBs
CmSL7oXWn+CDmuWSaoTQiWUu97Cmh9SohnbJ3Uy9BnnaqXwO/X13H2oU+dXVstQ8XyuyCm6tig4J
1Lsh5BbVhBZeEaRgZ0MNjPu6lpMVXfcIZTmJelfo3HMSv5nSFa2fPJfbuFlPTYW8iVI+FU9PuCRU
8tOJJo5qLzLCPtptYs0nPl3oB9NQr7qF6B/wadRcajS1AsBaOf09yjrRANX3XP5zGd5FTie86w13
cnsoMVu3CGQbPKQtZ8b42yNGj3unstaIK4ki7cYrdm68Iil/+HPvvM+UBXLAwHZ/j0VrOooeRbee
i7F4smfHDvPdRGK7W2kQOItt2J3fsUfh8MnejL2U2ew4LCupMtrc7Es93Fsz19+JD1e4XtMXGqX2
FlsXnnSMlx/WNNsyrwHD+gcbmSfXbGdYjL36AtXOcooy30KoYFC5HfRSvOKNR7pCfMmVaLsgI0Vz
ux4n0bHHLiIbF5SQYV8nEIdIaSfvsti5rr6Kd89+iJTdPLg2bEaL1fNSk0P1YooYUf1K1sJ5SDbf
/1VU1Xc2Jp5PByFtalV9UWUuH7tMO0n3ui5h/c0Ri64ye7Zahivo/jx2sEWAum/2e9LiMcgvxs90
ktGcnBVT+E92vdnKR7VF07VsMcYBN19g4a0HLHYn0iWLbXazUDnFkJE1OyfXSxL3bS7DpXkJt/J9
btzwTgzJeFQF9JqO/fvdXTT5+c7vvtR3bh2taQ32Sn57hrVE1tddhHmBLdYh0b+sv4yqpzwqhyY5
Glkh5cFBdlAK182yuKQWYebU7xYc7t9O5v+PU/0P/9/CVPmfbvgc32fx+R9Pf6T+aPmH4es/5urP
f2RDXw7/DF9d/qR/oFfOX5dqYMArctvjv62Tf6NXjvuXQzNsQr45LkNCTXCE/wO9Cv6iFRdUi3YZ
gB8yOP8JvHK8v3A/2mSMxrFDr2rg/nfAK+fvBsD/7fK7hHcBrvHVL3+5gf1fxvV/QlcXgjcsayPu
QxiqaUk8MQ1aMQ3DhqjJnmjVm4wkIHrwUDelJlmdIrdH1/0lQwxdqROurKAM+DUWB9triryAy7ha
ELjBhSZIaIlP3ndB0Ro0gV8K9R5qXT5XjQXfg7KAq3pFq40RfmwRA4NNOV66eNK+otC5jjIRh/R0
1AgTw2xnbfbyMlzFrU/vHk6PRKMW12Zzf9LpxjIyDm37feJjgcEHNwkOt6IE4ADc3a2jsfaxutLr
Qi+SrvBN4mbew88KkcovXvQ5viEjurFSgLn2dzFGzXxkoqjuNPHJZYqglVCEZCfY7GIgYZswITVq
Y7wO5nIf2ktK+mDxHWVL/4nFedfnJYghbQ2fcye1p7l9QQxXWKnlCx1DU1o9yP1ORdo2Oe6J3ph5
TzcjAaO2GSl+gu3y2cKmQckaE7hK+2hVP5WXUAjXzyjKUmeyA34lGAn6tXDotWUzMOY0dLvdEt6w
SZ2qNVlfubLw2/tYMmmDYzB5i/2ho6LMHfk6Ubv4X8Zu9m8dDsL+QiXT4DmjDcdq6gzRyywS+cVu
wzRJi/HCLCN3qz9bhS120DtV9kwJ5G2lqHiRldbzGLhHMVktr4tb62d76+F9bAaWF1k3wZuIllam
dTPHP4KlmpaTO9TeD/jd6bOhHwi8I6IXZR/b+o83lsuPxdtMzPNR7FPK2exicff935Fe4LeEKG2N
DM+vq3QMFmfONe0+9WHHJIN0Vev/4ncpdHqs5kKRQAAmahVXzFDQl1kjSNy5ayaAS2iWkkKvblA2
AadFbB9DFEDeaekC603Nm7m36zDai5Mj+4rVd5SlSZng6+vRK5MwFQtGsPkuLi0x8PnZyz71W80F
WaNwQ2se4bWiBL7fphgGH9S14v3oR/uWPZaIzGxTXVDcj5QHFQeKO/g1TpQRP/oxwSwH7dasV6Er
GphsWSQmAKFBWntI/NERh6HhkbzZ6yRZbu0KY9BVMbI5HaWrkMA6UmlS5Np+AH1AoDxcy9haKFNB
RBlD/1pAnyELrX1n9SZwX6FL/PIZNlsEWRFqH0kkfYBrrguQ0+9L24Z7tvRuVby1biK6H1qF7npv
VyaUN7qx6uAVyihpb3qG7x0+SyuZfOwll9hTGyF/P6Lgdfwnu3M3lVWrLBTjxrau91LqCFy4oaAk
3xodJbxgiWVxHuh49Q7rxDDx7Ctv4eGu63pHelGM32reRL6ME2mC1YrZC361tBWVBzyhoIX9JMKP
zu9kldMg06OQbgX0c12vLXS0G7I7JCNUdWlRDA6FZuJb8sq5fBEJMMyvrUPvcD/NpBQ1XXy3Rg1A
ND4q38+acQBxSyzKQ1ncpD8fx6Ly9Lup/P25qEWEqzekGDPf2kSKO0d1fnEI4bSnJ7tnos3aIfYf
o3WImyNumeUxZLpBRpJUHE2B6xGLV8zBekuT+Lp+le4+H90C4jcVbU2BJfIIzuVkXgedFiA2z9xS
dfcc1EI8iWZ0Geb7vTyvBqh6ZJgqF4rW52Avjig1g8dmMtPnDoX3Slmm/AQQt6GUg239iCN81DL1
7JGTlmr2ofigwrGrz14TulN+QSfxUIeC76Gc24iItlW00yOsGZyp7jfY8RZUvCAUUvAyWdpe1bEs
nJlENbLFv/HuT/5JaB8pU6P87q5yE8OeGVZ7BJtAi2Ke0B35bY6DpOEQkioxX66s2PBqHWPDFCXq
sAyVR4c9eiBl5LQsdgvjWRMoyCuJb6bpZwzdbtuPhw0JtgUkbocPLYrAIe2pIRWZAuaxM5x84nVW
i/erjYzLfwsd+csP6xB3teklnHTYTuqJikh5G+zhTG+m0+HKaAe3p9vGIFrH5tr0PxyVaHNwlmq0
Uk2n6q8eDuPZmkPcaZVXOwYLYdncC9kVX8MEGolgrNxfhnKeoHIcHrlz6C2X4KG4KpEXOLp7KbCO
aloS9DamI3dOAubnbAzRKFZWUL9lOHlKYwyO6su3SilgK6g+n2k7j7QVYHBaJd4bSuzcPqvwgC6H
pkBSDM8Zm0dnDOxfQwvvdKD8G+FMsJiLk6JYPoVv2eW12gxSu3FLaIEpvQ3vM16L6DtaFugh10TI
oT0LjXrGc+udB2tKuKKRivdp4em1O1S1mfnVGuzbTtog8T6Ac4KKAyQvmxEUsquze1FtJ+2lZ7td
LSfzlymU+YaA9rRRnxTlUBTxizs0vId6NclT69t4C9pa1B8tt3OfrXvNYdah732YXKeAka8d7/si
dy9Om7WdvvFc2G81uvcpj2mC39OJV+SDqSawjmhdt18tBt0PJ44I718nd+Vl9hRgm+4964W6uOp1
h4P+TUQAnbaMAQ0Ca6/kmwiIO7joRDqbq7OKr2qiq/usaX0VkM+teBu1o8EIWMBxiCfxuvPs48RE
i5+4/aETLFfPKDHEiuQfi21qlfhYcjSYU3cbtX3Z0anoWLDOUzgc5bzWqHFmS17tZbwSEeQ7JQ2x
q5O8Lkk9fINSCrosJlmNsz0Zxm9u2TZxVnNZiwN2W/1QRIWaT5tEjEsVOQNWWhdlnxxc1i87a7B3
4VkbCnXwqgG3ZmM5KDc0YKo4+NLjfy8EPTZZP2jcrUJJZpVm26riWDYV5gqofInmUTOkrSEv9Gkv
96K/35HL/1pGr1tOtNLuX94YeTwMk7ioWAHqac/d4nBDpT7st+Hoyd9YB6yfkAf4fkwpwxQmLvmQ
/dD4KSek+dPhAtX5Pkn1q9hQ9h3X3fJux0JP1OwakmpS/qU445nY371RQ5Qi7/Rn9mLP4hmNL9ae
iVq2H9qJeH+Qjkf37aIlVCswNR2E7QpJU41jfeNtanYPSqji2g4W/ExqXObHnpH2N6Hv0kl3MXXP
KMLVW4KE4Hc5b0mTg9N1iHwWT7zRKLe26HDG/ruuevOHyBr5UK+imJGX2QmWn6S5Vut62db6gvfP
WcdP7uTxcZDhNmYLrmcEW6Osf4hAOF/uaPZnBFD7ebU6otGFsty3xba6pwuwjoVnaBEnm4oFBi8j
MkQfv9+Hapfyp4na4D3SGEWyTU/9BwjY2Ga6Mcnt7IVMV0VVICNkwox/dTwpd2QVOH42oOiv09pb
ZxTFc7tfPCdui051l/HtGpkOLgKrNDYDqku67AK1f4RKYeYzjYw8+AAtX0prW89dtW2kFZRb/DD6
votD0x21Aq7ek2fTt4HI8BebK4djH9l1jMSNc8220nJrqRruObzBUHcvYlzyYFIPNd7zEdMLT4vb
LGjkVCja5oClNMRKF4/BehyNnP9IdxrffKue+ixch6I+0HGAOtB3ZwvpXrd+hkNovxBNEkt89Bf1
smDQ/25qvNIpfmw9HLFQ7NRgYiBDDzYA6HpAQgVeCUwnaLHnJUobWQm6pAt7HM4yQK+UuqsB2RXO
2PRE9jbgB3M9eozLqoavhTkUYDV1E3LeQ5ujEzR+jGO3lZikpmJGT2758prfUvxQogagcJmyrDzu
ezrU0C5STl/Oyvh3W1v03XlM9hBPjNWuDJfhEv5E+EjpoBcsKB9jwkVEtsydxJ4UE7OaLl09/Nm2
JcSGtDLt5m48+gysBHZccq+9+p0e5b6D69q4gOS8UOxsrWyBSyXJumlIMgnSuLg0WEubL3oQ6+a9
8j7LB/IOg1+Yd7wy03pc7y0oqNdidjXGfHjxGK4mrn6gfFfxMdopQ7xhvxy6nC3M3zP6edY/u10X
Pt+SQ3CFnNRcHvm46HMxJDDRhduuJt37QF6COW134n60JazC5rNESiDzHl2kQ2dBq9qwOuLV6Qzx
KqgvOHy7icdobl1S4e1uhMcLAOUoFe4jK/WhzJPjFLRgqa4okXMH9JNWeRs4nTxNZhuxrgN2HxGz
G4Tk4byxc5QGlir2LUXhorvr8Z7MnEmd8Dh1d9FWL+6xLmNnyNRmQe11AUdZPmuDUrRdNocQtN5n
2owW3K+HJixQeck2FOFz69WtmyMgZi2N1l2U9BAB96EnDGeZrgN0OobNBg36NgyOzBevC/urOaah
lzquhgWhXoy3pvaOXjGVe5HoPOBmQVLobX1/YqCZXqywGZrrguIRvIIt3nQ2E0fisZGSU3ahefqe
vigvzkGnraetY7A9TaMGZDKhbpAMIx/bMqeM+dGaNUl+16Mll0xFl53YsV1ZHCW7BgmUQTiZ66ZA
CnFu/Xn5rtpGWxczChGVA4Z099qt7KT8bicKVYMUzYrlyRDwAIcXwPmY1hETskgbq+A+mVjl0Tb6
TZaUXEPppEQynFTLo3Ucw0Vgj11i3Icl/mEWP6+qnHxqHYT+i+OoIl+IxUDZqJfFyQhu0vGpc6a2
uK7gdtl5CEGR51bR+X7lRlUZUc6+qeG+WNuxPu9xKbs7F72OOHP/U2XdM+tVUPeuma+kTaYKhL6B
c55xa7Keg4lWx9gRvM0I+af5oYxttBkoWpWLLTWSEoeb3Xf3ZenvfYZIs1X3GEC4KZ222+tTHaz4
8OUSVs6Bb7AZjs2INPew4wNBxIvZaMT4MxUyL1kPv2p73Z1TdLnec7zXiXdd8a1daN4hiL9pNvX2
3orEvOcbkT0d1yYCwKskQOuWl8psVMbtxhVHf136Pltcnv7HaXFtkTdtUwRHGddUY+GdLYaTj7Eg
gqvrL4ZF4SrsdIunp/UKjWG0fjMSLPm+nQdyUeDitvYxGdCUvBSRamWG9XVZfy14WPo+Fc6OD3nZ
WTVvsX0HmJfXZtqOi+GINzgmkeTyVLfZ6sogOHqJKIoXLRfhxMzTqInSnTZqc1QsuCNLOugJpHKp
knSr+fnhEyq0oM2sHASCyiOytN18KH02eKIJ8JHN1dmtfekcXPDqOk3whal8qoSD2oB6n/qjQWv7
GkcdWQRymPY4B/dDs294iVEnEG42347eZGZuVEJkTrMpPXPYlV4xZHtEpxC2uNcgUuhdnOwSRl0i
48eWevBrJzaQ1m5dHaYZhRf48RZK/FpYt6+44JFaJsE4hk/K86v6SUe9ozjbd9mdosZTDvQjsUXZ
4uDlz519ATkePF7KE+oA79aKN23yWdCMnaG1FSZdSKt5qsO2fl+RcFmpnCTUs9Ejo+847VaHVgvE
IScHYrpH0hw92FvZwV8urX6LZ2c87ciZ4pPLJyo8bCPam7znOyYGtg8YCauBZ33tffMsHLuIU2y/
m58bt0VsEu6xfAntIdkAAJzZToEgIfbgFRg1xybqcXQNTjxgtdzbB8ABAP6g3QjkisZhJYS8DiGM
p7r7FW/bULDoJPO92AfIOos191WMcfIjWXoj0z3kqSUhcYjeHOE3HwbVjsVrTu4SyggTcEUsYrmm
M1hQl+jyOnNagiNynXfss1ulLz7EscVy4KLKfmuJrmjSndgywS5ICXtm1eGk0jHCjsOH3xrzJBqV
uV6WiX6XUbAfXJkEi5bWHayGDEf0SEzwG6Nos6x6AAsr/5O9M9uNXMmy7K806p0XJM04Ad354E4f
5XJJrjHihVAoJM7zzK/vxchEVsgVJdWtfm0gcZGJq5SJpNFods7ea+N8veRlyjCxjd3Q9MekgP6S
bMK8ItSE9jWnZ2ww6PuwKCtpmAzQK0zKa4iSaF5uhW5mY4RvhgZSs1Ml+4ixWrapRA0S02Fr1qrZ
GhRpFcOvi1s1diagttSQzJXhRXH/0tqTjtQosfAavaL4lp5rwedXLoJKVdi4g92jHgFASc3uNLra
5QorMt5xWnMydH2balGxzsdK9VBfyxad0KIO8O8pa2l6lDuDjpbOuqtwLvAFoK+yTSzhJUj8IaHu
OQt204qGmk6NQrRUxjcy0wy72qDgmrTnLkFieUpQZttbGXiG5GGbvnXKYnUcXutOeuxQq6TlVHnR
h1h5NhQHZuBMWvoGXx4OyQHLRVz0dvuC8bTrL9Wi4mRXkbXVaSiKNFWSymmlvi4WPeCDOFq0JQCk
H1iVRu97o5txexd7aUPpMlQ9TgmLlj7hxDk8r5toXFiZY8gnNtRBfWf4kx2Ri6HbwU89VHqAoCze
g3mbU/1p3QBpxsCkahw0E2EI//rKZ2rkJz5ISKhnkws0Nj6TzUpOs89E+OM91sQh2nS2mD35dmsd
1Wou8kYQ7RdSkdOW439puqWutMYy96t0hxfPLPetAq7RxQPYTQva2cmrSof+tUDv9ADERI0WYV+q
2UqUku0hBtEA9QaHxWLjN3EUkDCVTcpOxiGY+kpprINVNJUGnNyZ9eOF7eHy0WRIRIbI7GFjowgD
eQUIIFxonMNZxZRivK0VO0xplpZ9sxdTC1jD5n6zhwU8zK6ozGYNmOMAT6hHDTBN4VBRokSklk+O
VgQ/lSgxIL8h278tghxzQ6TNCviRKtO0dGJe7F025MF1p/Obll6vNJeUioDm9GWv8M+cNjTlzMG4
zvQcOwktAHqC2JxJko6DPvmZ29nwUE9Or7hhYheIC5QAgozS14hpKwsJqkYNlEug1wpoojIGigAo
H3WXDoZP9zi3u5dSNJLlXMdtw76Y3ukqGvvqKc8AnuEyxx8b9SD2XK0ZtReOadgirSQ+xdkQ9LOh
QllMjVne23mEy6ydDBw1DUIxzg5wbhp8Sn1ku2ph+2sgDh6Cz97mND4IrYRhV0zWd0BWBjItX69e
O6s1G7eEnnMzWjAOV/ZkRVcjloN4GSAoxnUeAwXyZlzCaqTMfpIcU3KXo17w2rBRPFEU4R51TdXf
Ns6IJIWlDddSp9TGNZK2IuNPHBBJKhHvM16QNArXRWW3KMcyvLSLBOvzY2qoJieNQk6XjhWCI6qG
iW2mUnjsR+koc3akq9Narpd4as/hK5KaG0JL/KGEDvCrXC3St9xPmtdO+KHrUSpyx5Ll4qB40Frw
n2Fww2gOenBhKQ6nLQ8D9oNkTzy6Ze5T8e+Vsb/zaMIEEAUUH09nGgJY0jW+u/Sjrf5yQKGCOiiS
0SunKXzKHCXsgwiwg6xzX8so2uqFTUOFCbrTQwmcInGS8M3IVDNcRk1G48YoDKosUkTslqNeUycQ
kSpmAh6wJL9YmqVcKdRKtFXFGhjsq9bP2Sg3lJHo4WLE492iCzdphuSWlIp25/uzQz+PQrVZYx0F
rOSwOCE9VHz2+3TFsniu09AYMm0QYIuiwgvC1DTJ2u6F+mADeZiQ3YrgRlRqyVyKpiiCWZqFP2NW
e4oivd0UVHPosy8oZkh1XxVF+eIM5QDCYMDA1HlafYSqoWMPNnPlJpmw21Ibz3F2+th0WVkT3bur
pOZh/vOFNi4ReHKkLx0aIUc2hvZNMeQtPkIqjXN5vnaw0VEBtraTmZqq2yZl8OSUg68sMSSa28nD
jQRwhhrxkl5+SUHHHAm4brqoTXecAPVbzm/WHpyKL5GWRMbgql5B678a6NAt9C7SpmWEA8tcihIV
37d6ypu3qISjgYY76X5aEq3QyWyQtbm6OpeCKcbQDLJhlZ2aYnIQGluZODaOAXEeXEP0ZOKxu+k5
heG/QzAdHmr+vkNpRw5q2dabHiStp9lzqwuVqk9WvMkin63pvc5eo1bUakAFogWnLq3zZxi3JVhM
lG8PJeb0YaEWSf5Pfuv/b9P/h/kp5njlU8/5vRc///i/evHmX7Yz1wts2htC/O4kkX8RKiJJqhOO
EJpq/KeTRGh/mZZmGMglWBP5KewnNeBLAMe6BhZZasKGr2YaGgm0f6cVP7tE/rMPb+mQl2eIt5T0
+4VunOdU2ArBOhW8TL4DcmFjDkzzZF+UwSIqEbUm9boM736z2fyBK4wo4eOI4Eo0RhX8+WdI+gIV
G4IlC1ScZV8INd9wmP2nWOQdaft3dPFZosqvq4LcDNqfOyhVbhJ/w2/qAs7rRVJlHqty9YIHIvHQ
C9Ml5MTPHkEhyuSY6rhexrfPL+3juLZweNJ8XH4Rrc8Dj2cfWBCrjIsh2Y05ohK4ccx9+8IUK0P4
K/Y3N3pibGzz++cjvzcDccH2HOUgLDQVFrf0nGHe2Eruj6MeL3PJsWSAHMCLX6ySrrvLhehdS4Mw
8/mQH2YOQ1JZ17nFumbr8uw5hqgMUr9lyLoYf9TU8/ZWRDM+aJVrDH/3lSOdE927+J+Gtf/y2f5h
WIcxf5HBpabpZ8OqQwfvMgSsktPaJcJO03/EFOBX3hDv+rh3hbOXvaW8fH6xHyatjaHLcKSQBlpp
ef5gS81WyphqM3JZWXMg0prkcYS8N6w/H+e96fDXc2QC6aZuCnyH9CPeT1zTT2jclRkl2RraW66t
B31mRWcXVHS/uJHvsffzUMhuZmaSBcafdekMe2/6nbCMUo8gVzWLcDoOOi/89MUgH+/bPIijSmGj
ATKds+spJsigmgIpKwQDFjaWt6z74atcnz9eiWHqusB5JxA2vb9p6YDUru1ERLUu9ziIQxgdpuIZ
22/gfv54/jQSZ1hWc2kZRB+cjeRHWFx5x5kGEHxYO5dNTg3M/io96E93TRo4T4XUmQfz4v/78mXl
kS31Io+Wvh7cWUZ1S8Fq9fmV/BJYvVv4efySt0jnwyRU6nnvx1B6rS3UgSdDuQArlif068Qr821X
5beTmrp+1tNQGjXM1UJx8Fs7HOz1rFVPetUhpaaP16yIKft7IZW/pqUOrkeSKmcLYapn73eqaHQ4
oLEtJ8CiOq16BD3UQaovJuZZRsivcfj6YPCxyaUHI342DopRnP4hTDqB9KCCj0mLM7pTnYRteGwo
K13NX7Eamd8MugULZGCUafSyraGmqfEBH3C4ldFg7EpZLFsLI3TTCjb9iQjgd7Tqz88f1/w0zp6W
0ElxcZjkGEzF2YwwLWz2jrS4K+NtMvy0vCNn8JtR3H8+zK8P44dxpKGZEl+pyfv0flZoztQ58cBZ
zejMPQXOft0jFDraNK8g2lZ1Vy4r1PiAX/UBNxxI0C0sunZVKb6/GZU4N1dqUn6xKH5c8tk3zVkP
7IggqZ4v+WlRQ7tuwbjnIATsavSvB6d7jptta+yatFe2s+Xyi6/bH950IRBK8m6wAXM+rI6Ap1ju
NRh+0lphY0XmHmbARZsvwkf+8KrzTWE1sbk088OKMqBWn1S1RBM2ZRZqv9Tr12lue6fPH+z5MERr
8I1mieTLqWEaPps/OAR0lB3Mn2IEcO4g9HdbMGNfXMz51+t8lPmv+G3bNcXwXdKMVm6clzryE99C
sDKZF3onSti31VeBhucP6Xy8+d//Nh49m9DvOq7KqC6ldjGVD9pXN+6PQwjeOctgx23KsxcCmFSL
jpohnOQw4zVSGwePTL9ajebV5vf3jiuRkpxBiXxfN/i+vL8SPY7bOMpU3jvD7w81coENVNfhW2cF
3VEFpfhc17W6DidMEulwjZA9pIDR0jv/fJ6crzO//g6YYNb8uokPlzskI6IzGysMPL1NlxnUjzyO
1YFqrBodxhr6ji/mzFnuLR6a+dLZiLAYY4rnBP7+0m2jF8Dfu3gpUZpzzk09HBkDYh4TaPgUdtGt
V0O/A0JKzocA9iIUfT3EwXWs+cVSjY5TVm6FdaNpZnnXlN4XCep/mABSmsSYs7xqSKDP5hj9dM4n
EjCW9Pr6RbFFvKZlyKfQ87BAfn73vxprfr9+m88lRVbYdqy+YxkuR1X8NEdnPYT5F5f0Pl/mX3f8
t0s6u+OqCQyon9i5975jH/ys2IMTW/YgOUYnPI06OkWaZs+0PBL38wv8wzIk2XTwuNmrsXc/G3ki
LMXAycQ0hzi4wCYcX1TgMr+aUh/eJr5eOsUcDkPzZVpn95FvMJXHUGdbQ/V7EeIMRw+hIHZQsZub
6yry7/Pe3zpetseDQbv8ywSy97lc3GKLzodqqjpSe5xV9tlK6CvpXHBEAj74/k+rkcdEJLdqDsW6
TYMrrWruqCi5dQhor/J2n9/kD7PobOyzGdvknaPGdUfzWrzgeF7o6Eqg2n0xVzX9fMk6G+bsJmtF
D1Kdo/yyBJNoWYCzlPC5ocyxMPViD/dmFXfjrkzanbBIPaadC2YQ1fXnFzvPmHcL5/xXWHMUGQca
YZwfMGKrBA1e86jpGlyXQbcPFWWlaNGtSLwV2Lm/vUAy3rwO2OzCcFicZ5/ZljfGaBLJvTDjBUvG
hga7azKnTEz4Xf4/ucmWrnN1DvUjDlLvV4RAoZtXI+TmJjsQb8I9RN6b2oHzLDEWRs4lbT1SSybr
UIQeSovR1rG5fbVGn2/A5tlsSVXln5Yl9fMNWBxafds3Wgm0L5PtXVPrrFGTUltXCkLa6gHDbV/c
JhIvNpDhrjBOnz/kD8sGB2GbehcFNM7h0jrbvWT1oExNw94znvoDd5n2gBl8/3yMP0wk3C/U4CwK
GpTkzr7A1LvTXAeAsiyG5JthtLDlg2u7cU60i58a4pg/H+6Pl/TbcPPb9dtS38eBANJNRz5SwnaB
0HM/dO3t52N82I7Nt+23Mc5u22DLgGLDVM1fVmNh9lgOMwuTAW8ja8IXF6RpzofxOBjjDGK9pQ7F
V/1s4UEMbgdJSjupMmH7DzXkUNdoNaWa2U00ZmnYw1WuTSh0Kwfy2m3O0dOg0N4aqK0nr0AnktQR
lBIb69mV7RN59Bj4tpEc4dhk1r4YMU7SMRmN6Rab/XBMek2BzK5aF2Ii6+p7XZfATM1G5lcpUjh2
bUHUvVW9Vr1ptQ3osSqrazyeKawjO9SvPLWr4ntHm3yNRaOdDv3gnKwosle1pVj3FjotAAFBbx9C
ve7t7UjY0DfNCWvMx32d31RqLujG1yYZXVM3PFB479iQTPZ4JdU03Q3U3FdqqXtvIZ/VJ9Iziksd
YeURyglpFHFTbGUcvxlGPcldHQ9Oj9FUo5sBXtPHjDBD85tKqvFqTHzf3CAVp/OTsZsvN16GRmes
nPgZtS3RQY6m7zPqvf2qM8BWUUEKuie1cHSkhFDzS6haKAdUvfWwSYXiOib8O9Gb4KI3PG9fajHI
0hiSJDoa8xGj8FRtjVFTD6qWyRtnSIU7RtMtmq3mWKI32fVTQBsyRnSDW2sNTyjzdhpm3aWn58Gq
78kD3iq5l/c/ULXBZWnavF93LZTkVITWFXJW/brx4qJdpQYEkpbn6YJOn9pb38v0e6MZsEPIKSRL
akCRn+7wjE0XWlyoqPf1lBtH7EOOPGWhYIlciFoNrlHb7XtJxuqE7xYUSwnSLbaezDyp3yq1Eaux
qy61GiyPVUxuoI7ldTqgQmJeJoshGd7sGUCWB/HctAkyhVikdFMY415Xe7qkBEv9LNDyREtCDkia
myBOh725siZoR0td+uJYpnp8rVmkV/C8misI1ap26ZTTD0OdpoXKQyNk10+4zzKbibTsp4WTveEU
G9nL2tf5XFXKwQD6UUDbN5eYWUtVPsb19MMSofktAit20Ooev342/4FhXOw6tAxE9KFYWALY3emF
/lYIWRlLglBo68c48Wn3YGwhLjC+jwjPWaCX2dkd3cuglScveHXGGtUiTnnlCfjL1ZjzjFmWgH2O
4m4SVY7efSz2VpF2S35I2aakD+2r+XOvTJ6NewZwhle0+lXokHs25fm4nNogX2WDqq1BiV+ZfOeW
tTlq2x4zOsZt+CflakrUu0SQtYU1xiYBzZ+LXuCQYFWH37OarUttpC3Cw/IFYwg8kzApLrEVTns2
TvEV2hzxsx9adVoKM5B7r/o+JdEFZTmtXzpN5jtPFtw7xN5XSQPjxXgqvFXfav09vH01u0EpMeQr
uyeoJUvCdhvUKOR5MbP4tldomSxUrdRvW/VNTsRoqXbrmjgvwM5+Q2Xx7CtMs4GAH3rAtery6Ju7
mJP+RR3V+AE9FCp0e80VFfIA3iMLW9mFwaJVynWrmPpLHSomAK7a2aU+q8LKH9KFGmuXVSFX9J5R
UyPh9h3jFc/DRQ2rFB3OGk7+ampqXqBYrgIE7OmqSwyESqqOBVsgkplJSg8+cl7XxB660EZ6+D3B
emFap5xjbf7//YR3OthKmvDZ5OyCFBK46nw3Wn2NzM1FirxMJnQzEg1e1D4OwIZwIzJc5KJkbH62
0JByjijbWjMR1RYraBzbot1GYlhocLl6sFw1IRd8BoghAI+97QpTPJa9Nrigpp9Yx1zHTNRur44+
qO4CsIY6vZk2mb1hQVM5sR6gJnRHzG+AFE2DEKAJVd2ar5L2Q1P7ni2AfqUwL/bo7qdLkLlQskPU
4jpWQ45Nnd/WL3UEPMU3bvAlJlsb8RaCQy8trzBNYXebUaArM7Nvhc+Trg0ZkBE4KZiY+2lat5VX
noa4mXjeokggCuvqNaKzZClH9FwIBllIR++nPScUpX5nPqiZn2zpe18iqD80gfKQocyJcgifNkId
37avTZENKwuuqz9O5fWcUHYqFaTqDlI5d8yUPlz65VAynwCpaTuj1Kp0X42DvElREy60wavItHFK
9IkkqblT4j02GSw0Dw1iskrBDw17j2PNxun8DRaFEfWb0r5hQyMrIgIlEdxlDYFgQo2HDaAK5eCb
iWdupjq1LrADBoo72hMiuDqVl4nU97xy/oEONbbzykcPTbU7iIB6NTaBbpr2UsMmVjvUd3vaCRJz
fe+9ONY4lHO4AEYMwyCmKy04r6cx5oz8Uu1jjQSp2kWU4HJacO143NvSAH5erOBMLvUwlctuxClf
1AO8NB2JtFN5BjXGFs2Oyc7jMcJTKPcqLit5qn0hXisN3oFZ9O2KHSyYFfNSqAEcqXZTezXpYeBX
iO0sj2F3DGvqhgWWoSgJ8l2SyAolEVUXvHlmeYIT20LUr3q4+QLpkNbb0ZPtB2NCFs4wInkivwJ0
OsFA1ehgjC87XlHDK/VqVxk7gsyqBwc/zH5GSy5aFUvhEtn8DCLyjWlZUp9YMJnRljc1xBd8j+iV
TGkugmDaBj3OLLtrcy6wKJv7BC6cwV6otLHPZkG4dnwLQrmPbIWNz4uviuylzidcSGiwn1ipnql0
g4NLG4ldbnAAdelKPwseyiNROLDtag965iwQFkcFHglCKH8YK5YYDEtuNaKDGhAoFotR8whWGpQc
K8aourkhonsF32G/APhDzKXTWsucMgIkXhXC2FYvrRawpe/4x2gq7e9lVfSbAbq4wyfFGEDv1HYP
tULL5rTRELvwEu7po5MNSzAUT7WF7FsQoUMaXTccGl3ZGUV5OyBdx7VrNNDipxKdsqJZ3L2+XzVh
3x9hAo3XQWalCOOcR5hr5SVArC026j5wh8BAn1rE4BDS0b/S0Knj8mClVoQSIWnCHU7CzFSs0T7f
19D6Y1I4fol8nOiySTHTRig9nnw9Z4PihTZraFpuQd0RxqIb0zc5jsfZVBttTV9sAwwcOI8ckNej
IJIic3p0O95wgydwY8He04ymPOUBUiIczzWyOBlv0zYIDpnd75pAnfNsbH81Tem3Kmp35PpVMIuA
kXn2XVZk9ZXjWY8p8qeFn4k1KFmUn8OAT7aiFqnIuEuf/InbcAGJPN4UfBAwaE3esY6ltZVTd+Wk
wa0dG7kL2oQNIXhZDL2ZmZ6E1mGoI3WNrEz2vDgWE3mKSh2xFM7pvRxzgun0oH5KyKnzE+0G7dqj
MhLoQ+qsv00S1pikWRkC8y2/0TefSSwUcK0qIYDHqVp0LUK+Lo23qybZXYdQ/iDcGYrnzH6Q6gdZ
beVj49nVCWWkeoW+iCTueiru2qm4GBW8iW7eF6cwJNBOh4gl4sZy87yI36ZA3bReNTwVhZUmCyuk
NosM/wHN/uAaqv5steFrCoTwEOiDX6yc0PD2ldVehqSybODhik2ezaSzOHwQIs/dKiYJsR9Q2nkd
6tu2Ty6ATBpXfhIRtSVoRiW+OWMKeC2bSl9FvWK4gnXgtpz12lE424yUwnKjPHzGlLc0u8J6qyyT
wkBT+FdpC+AboBTRt2sOokuTvrVsc+TaEV//BCbToSfhadvlTrc27aDewpTJ+OraiHsVizgtwgeF
qxTT/PZhkDKvx8EBf6WXl1aC3nSCXhMtjCEFDRZzlu3RUOcI/0u9u8COk+PgqLyNiTV1icH4bYhy
irvqWIE6AGyZbmKBcHz2g2gvrW+BQySLaykJUvmOxdhxjdD/AXexA0s1p0oF9clx8u94awO84/6U
HsoKiy4rxogFGUvXrsKIeFkWbKmwNw1XTpX5Lg74IV9HjgmuvEUn6Iax6tNzozaIWzboVoUGrlTS
WZLhrP8aKnjvA4a+N2CTyq4aCmfVRSXptJZvBc0qEqyhqVNRhAJss9LjFC3URLAqno0f2Uhzs/HC
xxijM4ka7J/ALLFkxwHBOUnVyq1u+bFL0wJ+Wx4PD5nEUiNz5egP8Vuut9VNZDbQOwXY66sw5KO4
bVg0QUy1PbtONJW27ppEZfsub032POFEKfeckD3/ooN6mB2GDAMEgL9S4JWKjdA5Od4sx+BA6cP7
goadLLHlpfHW6dtqWAqrzEpr4fCFBBKQNhadL28AL+YUMX/biE3NPFVUavDns/qjWxxVZ2fEKUkp
eo/mfyHUqC3dnk65s+nkHFhURZBjAgtWS5uMYnwMK6kTNW3AGmsjxakX9Gow/zQ2drImc9iGZnE+
PbK1QvwrOMsNmxTh9ZtoreK5NL0Kn1wcZ+yFDDW5H+vOIsdpGMd7Svmx2JTF6LxCcugat5NWcegi
EVxbddLckgDSfmt1w8tW/jQGwwGLTr/nJzXlO4ExfrqBGW1j0Zq6Eb09lukfYVg415wx8BSmRSTE
FbsPq38IWrysnh+CrvZwetoPneJnZJUWXW0v/GKwwkPU1qZ/zMWoGi5LU8FyNPvPyDQ+FHmgbYeq
P/UZOaWw6QyupXolOhFrgAGmb0Zf8zGlzV2JfQoS1nnMs66FEqvjf18qBSkBBGA4m5DNV7MdprBx
qeVkpBQYfrziS+2ZTEbnSNJBf0m7/bnXootMARXhZSXOMU3JSCliVYtfehw196QVB4eiIoTUpwnD
EtiiDDfyRg73YUeGZ7cpvDvFuQ3Dah/iy61naSwrQWF6S74ia75yRRcc8wDtlnwN/fK2Aovp7Ukn
0A+cw/09n87O9SVHVnWjqTfkgODC8dVkWKWVsMC7kiZjLOGVczpTas31Ar3ie9uqbq2H9sEbJ7tc
ZxAPUYOTks6NPiahdyFCEK3qeCGqR2l9HycHngHeMk+M+dEPK5HcVBXxcFvExT1pBeBPjCOy+Pym
INDFmq4ZMH/qda0g+jT6Hkfs7f1J41x1OXmPlY1BHyrwcDESFeQGUB6A/1XlOojkD6obyrLvRhku
cDAcijo8BKXaXGIFJ7MYxSp3yewbYuO8Klwq+BsWcahuoLKoryR3YQQN4RJYSwEX7A7dMOhH3jtA
C15XXajQdU5C18qHXi/viwtbmNXBavOEL2XBb6+iJV69VGnkQRcN0RTwemqXKOlVrGtHs4z8jNXc
dJR14fWBtk7U2LsKTXPE39cGLsdzpP5DtAyUHzoYfjMb8AI201Jljc2mdoG3HiMrzm/03H0HzH8a
sS2FWDnUPls53CFLADUr6EbuDGcqk1VYmalCBy0EYBGDvKmWmRncjIQj4oao8qC5BCqyD3T9uzON
w4uFTZsUewXVuN8LuPpMSE4yVmY+Z/DY0i0Og35RUXrPDjYJx9VaGQg7hnMaugDjwXsBP6yPIBk9
qjcCB3wdqPzB7NKSVVuSndGMw0XcwnXBpVB8A9CwsyoPFGFI2Gi/QuLcB0cFY8yibIO7Ej0Z2YqW
fK0lKSFW/YgoWle3adoEFvWpwHQtOpNHoooEXl4jX8W8J3dsQP1T4xRrEjykv8JKbOx0beYA96q4
ghoMFQ/5dWkvRJlCkpQm+mLqXGSIaLbXu7U1AwKbu8HMCvNHi2XoEMW2RbkDDIngw7zUJ6AYcpHW
rHfZOrAyT9kRyHMZx7W2zoNq3+fdscMoTJnNwfdQFEeCmlYZ5hl3bO06do1m6grfhY2gAZLOe0gG
TByDTEshpobgVLwCBa7Sy2JGgwbsGp41j4iRJdFG9d4CHErxYA7UpnIwKHhakuGqI3jperLDiUOX
lb8lxIBFNxle1VvHowW01OoJwiURw485forDAI4vu4ozlfROpxm8XWuXFRmBld6Szmd5VTvtO6NW
DwI1lb0isQfT8oD5AyW5P7lxFw/ROqZUkeO/jrM7vCQ9dEYzeCTOMcoOaJAJg7DjpNRXvgmy4Gr0
iAzeTAAbxj0MijvZmaOycmCkYPQcBvmmxmPar+qYw2Cn6BGSbL/YOZnevHjS7O9qvvk/E7WKlU0C
MxM8PvBMRY6ay6rXXCXgYXcAfppjhDNqHfNXHrxSsdUVOGB/601kYy69uMlhSZD6InY2ZKvVCN3K
wERbWwOAUgrURWqcisaCxcRuaXICnJ+gwjl0futDITlgKXKocftqtcXqTjiTj6JII9xv4lfQnIUn
1W4mrEbDJigKzv/I8YNrNk/ynsL3tainbBunQlyMam1cDSnnH60VisvXs4/2cEwSMNXMKcoPGhEe
qdrZkmNYGhkrvRwptW8JVi1IriY/W0ef/9z3KHEUFecRjm18FwmmMPiR27/XOmDi/VJHmYjE0GBZ
Z30nTZdTEOQ4wOqmckOqXCOrt+ncecMXrZ3z1tI8EJ07UzN1qBqOPOsiguJpHNnRo6B1ANMiIkIq
1aLHODAfOZuSjxRwHDA6mX/Rrjjvv/wa10CYTS9ahZU2/12/9V8ClNc+pCg4B2mabNQKRko65sUX
nejzptI8ioGqB5yaZfCPs9sINKMJgoTbGEhsATgvfSwN68my11lqdjus7dkXHcPz5u+vEecGpWXR
KSOM5P11NQG+67ynYZilV8p44dSwyLCB/f3ZQffTMYg/sGb17/tB2FJmqPNmPWC4o7rMWWvldGKB
4/yLp3TeUZqvhpwrh+anNPivZ230ItFlqs9qC0mp2CcPlgTX6hi3WXkKveiLvvkfBjNQJdDo1DT0
lefat2hQpG4nDYN1nAnZdLDBron/4e394v5p5wIFrsugeSwJT0Omjsrs/Q1Ugajjy+eA1j05REKu
zQrUOJz7ln0MZfFwbRs7E9/+335sLHJcInom5PfnFxhW+JRUjwNRUgeZG9Sl+jh4eg/3IMldL4+U
L27oH94xxJW4CohInd+zs6sMqMXiX2WaOLGPdxCk66KV2urzi/rzIKaJPJs1xFBnsctvL7IB9qPu
Q14xS6MA0ZQxJ/IAEsnno/xhbjiqhZ4DQaA5y6Pej9LSRq17wa3LbPjheNR+yuBUJQ+fj/Lrxfld
zcC8YBhWQWwfDqaMsw6qanop1KChXBKUTfZa/FCH/XPCh6w3kz05Fdcod9YClz+kK29hVfY2jsyD
brVLCk73OuwngnkkPL7cubb6+u/PH15ExKf0yC30hGdrS9CkddmyX6DqpKXbIqMy38EN3FVIcZYC
MdH289sxP7r3d0OqOqpPi8mKUNk4Wz213hK5XvCW2HW0gRC5TGz7GIGrFu0IX6xZj0H1o4mTp8+H
/SgNnj0xMwZTZeV2OM+9f9gmxLPOc+hGAZXdYacChWG+eftwGy6uhsUrPhkwZC/VYl8snS9emY/z
TCLHtjmTSY3VxjgbGuYvWlCrYtHBXs9XyyUBmZQL8+QBL/n8Mv84lDQM4ouJUsTb8P4qhwwkXzeX
R1Iqz8A3VQQtWsXh/otv4PyWv3+KfIyQnvKRdQyNmfN+nIyOmlMXrOGijFw6wQBIMP9p06qHOTU2
cGKwZ35+aR9kzBabFiF/iYIMtEHO2cpj9yZ2QItdBRwhAiEHbdMEuOc5eNGNV+9rLf5W5/XWp3VS
qpySY+qEojlFEe3Sz/+UD1cvTZb42fWFw8L88AXrFK0e41lWYoRcrSAVFziBBw284nCYbLOvXDkf
3pl5PIMVCp+KxRbu7J0xaKXBAdJpTKyS6+aCpGcXOeFjs/n8sj5sbBhmXtlnAb0jHOtsKchMyhYm
p5UlFfeMgIbSWqKMOhWGcscGOFzaeuf+v42ov59GQD7sVKdPuDSTnyA6l12i0KKhz6E06yj98gs9
36ffZi36RDlrjtD8sjnl23I2g9BCgf6B1bAs8nYPmPko6hSO8nNGUSYnw3Vy1n5ByHch/zlh/paD
8i5P+c95xhYWqRcoXVXoB80/Nq/58Tl9rc9/aB7n3z9V/+PXv/Zfc/e5eX73P0C1hs14075W4+m1
bpPmH/+b/+e/fvK/+y//1+uv33I3Fq//5z9e8paCFb/ND/PsdyukPi+w/3UQ12378/njz//LO2n/
xfs7v0HI7cAZz1uWf6VwaX/Z7HJh+zo4IE308//mGOv6X7qOXYuPtY5dAJ/hv72Tzl+SHdDs9yAN
hblr/S2MMcFdf5olRDtIDkTz2332tuHIpj/c0MCqpta8C0q8aUBdyihSqwOsK996JZ+qAmfQZFNd
wAJrYH+OKwQu6bgdYRaoy2rCs0RynBMXgGBSWwuWJE8Hk7OpgTCES68QotGP8ODGTF/TiQKNHNHh
kMkyxRNVc7okf2iZh32UuQp5sXV02eYSXkftDUI/RkNo8qtbSpO068ZczYn7Lc1UCzY+/Svzh+8B
TIzXdj6CG133KLxi6/9ydy5bcWPptn6VGrt1TkM1lu5SY59G3AMIEGADdkcDbKz7/a6n35/srExQ
OoiR0dunGpWZGCsUktbSWv8/5zd3U3ZmuyqIV7IIu1R9Y00JxdaWKXXOgqIlMU6wLjIDKIoIlT7w
No2ORAmUKZu2iCYIDOULYkS9JgYRPCjlilgGIjdW8XQviYoGo/M9THVLHDK91JvNMAyBDMXM19Jg
YyoV+RXyaJWC0hCmSUprJUoGsnPzdjFqDTnRhPFQSs15QtDKWHl9oAKPOl6MpGC/ZggE7pMqjPIf
9HWSbKWCK4L7IChzFy80+f3i2vC8DJskL0i6zuNQRiDMEC825QICiApsobBy4jS13rL2NVnf0Y8h
01JaGWTH282lqBLotjA2UCMClwHnZ6G9eAQ3CmLXIm1o77uEDC8osOJHI/6icJqiBQsMNLi555bp
zecKEJJ6WdC/IyY1TBv10CdWE6wKzCBgwIrenfK8oVYWDZinTeSNNAhgClLbWGQVuJhtnKbKdx0L
f4zIAAjIOqLvla/ixid/oG6HOr1IROVla1/mFz1XTWHxuhn8XXMIaXJSrPeaC93oxKMlWmHBylT4
m4Eu57WK3SAxb8kV8+tF2QHVhjliRMTTiJoMjQWcXUqldj2lysigmyBAtIhJHuFGaeS1V7WZr61I
bentjwRDIPzwZL/J6GUUVAST2EXRUGRa3OIvyJXGujGItdbDpQK/rV9FSQbq0FX9bmsaKTuafSvr
vfrsdVGhomvLvMxctIWUoxiyaSwqe8qVowqqJOoo6/U1b8FFE48d8H6wIAqwtEC9SYEMuOtytCD6
USbipMYgy2Nss3oKNy9wYX4NiZ2Tl2xJhC32RFg6ZLxV37WmpCU4hlMnGNm8GxPhk8OA7sjuRV/j
tZ7DqAXmAXrCQv9SoRALhpCCumR19U3pRxwaaT1/GLZuaa+zdqjsjd2o+Rdb7YpqnTWKu+1oeGor
hKH1V0oE4t50R+3rKDrzgbctmNYW3slVXCIX2llU5rormsiNSUoAFXpqSCQZrfzG6DVGScjDFuex
1i30UoEIZie1OoLmsJAPm7WgWco6Kdtregw9u8ZYe2fRRnuKCXGm+4H2iJgbc+CsU8QAhChRl/xS
aEwzgEWHuNvlgubwVTlK48akDmV97ZHdAzCifOv2NyQiIOZRCAof6Op3CZbyuLeq9KIGMNdsmK4G
lT6potf3EJeU+JB6dTYAcoOmRF4xvQGpXSgGcIxmEWVJyG6G+BBzfKwjW/LvpJoqJjV9OJ5oMQY6
bGBTyl4rtIOnMkzlRYVArCCMVcFL0Y40ZbasQ32TgmYbCTGlzwq53PdcDnq+baYG6KPkwriUPJCd
+yjTi+owNL4lXTJuqUB3WpZCfuuARhDrbWbCWEqKgM6CAbRN4SrGtHm9b6yD/fZrb7tEwumdy1qX
mqksPaZWGyoDQL+8DFoDAW4/oIjw6Y7JLzbOsDHap6HkEW60QEQiQpqB6JU+s2nWbwIvKWG9TEXF
DsRnfIVDkhq5YrRluYWe1WPpeFJInyJct5VSleq3L9NdE/cGMkI01ZdKA517icmofgyrKJKu2kbJ
mykuRM73vo8iZGEwYPz7xG9VnANjnCYrGBUIeVTIh4Sy+nVjb2JPVegA1LZQ76C2CnNpUW2+teQK
KlXZuA1ug0QK+6095K67gnSSXLttocDwY6v3bAmkNZuEYiltMuEn12iuEEEC9gZ7BJ2DRzLAw00I
akkLc8nHNMm1XlDxpKVlQGiXCjVKlkBfo+tWRdn8VSP2HP00IADlpgaiN2zBUCYdwETfdcggImIZ
y1I37HkrELImjLp4rQwjf6LFMg4bNLHmoS2G/ODxfpoeDSEuEi/RyQZCTQFvL3JHpGnoEcQ+MCre
oBnvXgVIEpPKxpQyw9tA6jLAcYXEQPmbcajbZylL8u+e3VvRQSqVgvwwcDFIomh6IxMV2NpRr3XQ
MmOvAk1ApqW46ICLUWolmoTglCghoHOBDSyNFkWR2daCWELYoh78+GBlkR5/GaggYwji1LuvFpUR
AtlL2483bpqzQeYVTkwBfQKPBDDgw2wBFDe60LCR9othJMQMrJnR7qyMwGKAWYQ7soLIs54tNf+1
86RBXGpVqinrzFSBtfYZMZ87QQd3vAMB4xtLiBZQ6hs6kYTrkKSwKuweQDsCAOMe4W0erMNe+N8B
vBekizc1GlpgodYqx/CTbdQcqN51Qz7MBTCku7gYyVmwwZ5f23ZrDQtUsOkzALr8UydVhrWGFuoW
hGUpQaoeCnIBYUZ5qTx8Jm0OSiadP1fauZAcbzSDgv2iKkI5vIn9aMz2YT3wEmAt4hNXKKlf1KyJ
MO+S2PYK6oj5uE5CVXlCj6w1n1NwUM1WMkJAiqUEEv3CAm4mtqnZFsUuhQrGdISYpmJlUOiEvyGu
yqXbXs/V+nuQUqLqlkZtYqvvhD0e6DsqLz6YmXvoeRmkZV8W31zQxckyiBuyeLIMMhfq7si8wyVJ
K87tStyG6FLLTwY8n++l1jTtogQEyS0GJf+NljgZnaaeJCGFERTc5D6m5jOuXbwfLOsgmVGUUy8F
LSNudjWkhIuyoOnQxgllrydcCLqN5PEsQhhgB9+TyRQsy1x8Lmnuot9AfWIStF6zbJTGXCa9voCH
vCZYNmBmrmNOHthN8ZKUHugAUl3rZ1vGGQtD2X+U2jS7o1k3KGuylGAQxXnWkjmDIG7BU8mKS7M9
I10HdV3Uq5SX7b4KRfKj1XX/qjJr90dFttoTJEYtJ7ZI1bfIRJtoWQbj1JuxvFIh3bQVr13TGnSJ
9cJ9EEFX/fB1O3MfixL/HC+5POmpSUe+8qWPlQQKhmGA90NX36TmVglKWaykmK2D+s9qZOwbTXWq
GuE7o+aBXXu2TW0LHTFCQr5noWQJdyKHew7lrboNCPZAO1S0pfxPPxP7MJsQhQoDucKapr7/TEpo
emtVgbkw5Si51NTc2o6R1K8Htx/XUdxWJypHsxoD/RqqOJjEVWX6QGP+ebrUo3znUUcS690avHqX
XONmLUOKp0hfd6u6l9FqNRC+VZaLN292h86vPfhbuMus4Dt9ukmiDV4vdudgZGZ7LqwyJNrLEQtp
4Mlr26jrZa+k3z/+kL9t7DSb6slP0xOZmexB31/SsCZto2deX0gtnZt8AKPFdCzobUZt9nzOZ9F4
MAS4B3vuVnTlsPLKIDMWDeuvqRmcoJO2xVWDEvCUfU2eVf24evZUHJuKGpqq49J5/8UkuejGuM8N
tjfMPsYA6X/RkRq3K4tiCi8Hp5yzAF8VfVhcmNB3XwiXNNa+iiiZHjbzAqCgx5623TPxPMPFKCFZ
OVEz+/sd5hxN0zDonLGHn6MpWs9TMwSpxiLMQHE2JKzvgGi7m5+X/R8VWv7/TD6ni/XmCZxKP38U
aqaK0X//F0mh//r0TDbG2yLNz7/zR9FF+zc9CAv7qmUqPPtTEfpX0YVQdJm7QiGGdwmP0jS7/REe
RdFF8D+Z9oXKw6UqfxVdAFZxHP6QiZGmk6n8I2DV33pnU/dB0XTmAFAvABNm9WSwNpGCwl+FKNdW
8ovL77CQHiO7/EGtxJ9Sm3y7hC8lE/UDHU1nzYNaEegfTaRlJbWRR8Gw1P8wKf6j5+kG39h9Xb6+
1ofn/H9BaY4Nk/jwWbl/xsr1r8NzWQfpv/7PpnxOv73+37fPzR9H+PXk4Fn5N/MmpkOcmrTzrSld
7NejA7f935RN6G+pPFB/PCB/PDuy9e+pfsYdlaEOTCW9Pwt2/BECBH2q2ZkmXC06pf8pVP7xqqDG
+atw+ZtXx/tZnUeZSiLEKqhpU0+SDuz7yS/qo6rueU5XwygrO1ZehNxhHFwDke1PzGHK+wLyr8+i
hzT1WXFE8rZ8/1kAkm3AqTZ73GrsdoiM2MJFK4or2lLNegL1TJIFUMgsS8NGS/cz+C/eQFTs2V6r
2rb+ESCd39XR5D/RWDkIGggaKjczEvqvqfDodZmC4t5Uu3+e7ESdmlAMAr6KNXsrsFM3q5abt6oy
88GLRnT9xNxg/PAPGZ7EPkctXuTWZ4PskpVZ7IQY0m3YwwJNKgtUvaRicmkmtxgvjCgoPpnwh5ek
FS4Ts0COqzfqSoGJviIUZAX1XYVq0NZbIqEvQAH3gGTzeK13bA/Ca6VGeYRYc+1ZCH+RYZlLnVrQ
RlbCCxI0LksjXKlB8N0HkkJeCvHoNB0scjJ0N9PX//wd8eGYfltt/383LfrQpnxlvOTVv4Dnfye3
L0v/F8wDssrjebxEf52Vtf+vy6x8ZWnzq+a///7f//Xzb/0a+TSaYBnyYoB6QFeI9dl/Bj4j+9/Q
GKYBLLBu85D9+c7QVN4ZzBdMFwp2YlDXf4571YR/iLidOj1HnDzn/2Tcv3+8QdtodHEmZ/L7Mdi1
SIc7r/fubJMYqcLz5K2PDOEETuPY0WcvItNwhWCbLt2mof4lqSufnIDx1Mh8NzD/OnMu2ltVQyU3
llDUxLtz0xDvRm6tKl6LZx58NtoRq9bYVFv3No3DrznQoD0RXqegbMeuyvTzN3oMtcWnGLicOfJ2
Ujcs5VKCNHNidn0/kf91WWY7HQxFGpNK7N1pkuyum07KnuNU2ISfJ8r+zRP+m3fFsfNnifP2/Ds+
QSLv2LuTh6a/zLpoY8bCPZx38NlLwcqBa3mh5d6OseGtXE176GvBmPtzaP7mxI9dm9m+qHLbcBxw
ydziN2KrXUbATuTAR1gnTjw307D5qzf659X/qZt4c2vrrO9JstOsWw/39CHu8nxX6pW87PUApzN8
HjonzYskzOhEt/nIvZjrzGLKGH0dJ9Zt2DTXoxfbJB+elPYcO/hs+JKLnaYpDMZb4RlfpRgTRlbq
jx/fi5mU5K9LNRu/GPLzxsQndFsVZDoUwZqyNiilvVI/WOPnrKQvny/D6Aa7zloivlfFSdV8c929
WW/4/8z+5gr3xKBRpg/93X2bjXcwkrQSjaq9bSgqdnm3Gb1Lcpu68GBgfdHVFwqVmP1Gohkw2T+Z
VDlThmxcFBcuGWpY4/74R0Evh99BoElt0dwk0rCWsh8qTq4Tl+3Ymc4mD2GVbtL7bXurSv5eVV+I
WqGahpWgvyzTjUz2ToIzX8IUgB9QorauaKTQxf0Sx91FFBUnCis/qzW/u2KzeSa2k5DC7ZDcioQU
VJLZOq6chatKNrhCxFAq+856cvNb19vIdE+4PvjdTXkKzCqXmP7wjdQ7fjmKNi5k/0acuELmkVH+
k8rzZgwmA+FNSMyDW8TsOBFLc9/14skqiIVUQ7yf2BC6qfOFGPlelkjLwhCY3rp6+NBa5VUlih+4
aa6IA3yy1eBOGaRDYwdPfeV9lirEAvjfBrm/II4OmOZwacnSwWww+/R+ta9d9TMQkRcMVqvOhUyR
yv1X+NZrPyaDy/cvG9AFBKPsSiu88Mfxmoyie9YFF0K426YxLyWoFD6ewumKBeT5Dv5wXbXIpzX5
NpSqr0FaHNIcooCqFDu7Lbd+EN8Ghg3KQbLQ92OejGPSM7tN3Edr/BPAMYh4VOL+Qg9gEyhQOdqC
APP2WpXTuzjON14bpWSLuM5AFf7jh/TYLDibw+UOHqReR4WjtLzg/J4EIIM+0RYieXKg7afd+KNK
phn2nI8/8NhENZ/Ye4j8+hDyHcp8Q+lyExbJ+qxDz8WTYQdV3k6U3NE6HgiUDLiX8i/nHXu2+CLp
N7KMXC2cooAs6yOhsazg7uNjHxkFYjZ3kwWQhDmqI0cWVlUh8NL925B8pJuwMDCvffwhR677tKR9
uxJQ6aOZmjdUDtSX20aLL0KS38879GxGNstKtqvCLBypgIM2xtldE9ra6uODH7s4s0lU0ntLIrqj
cgh/75bYTCTcC5HYRrRkz3xuZvNjj7A+Lwy5dGppcEaCvOnUkgH48fkfu+7K++vesKtmYzyWTmfy
vrF1r9x1ZeSft6aY82V7qw8rC7C5E8N5MkcSDQzv9bwTnw3UxPaHQPhN6ch2OxKqNzqaUPMT76Tf
XxUgeu+vigmhpm7RPkDpJRvR5syR+JtnjVXEtu8PHtJozDS7LhwQRN9QHdmLLBAn1kLHTnw2VmOC
I0MtC2qHUsE2Lbt8VRFJfGIyPnbwv43RoSLKhYMrNmlvFQHGnVsNq3Pup2bPRqmr92UTqRazTFH6
O1Kr9RXBz/GJGzrduL+vMTBrvL/mCcEQJGdVtWM3WrPQx2zTxtF9EYWXcjz+6DQYb3XcOnqYev+o
g/KfRSm6zfefSN97GPFZc7Ewz/M84UhxTzUYjt2I2aC1M1zUnVaXjlKCb/Gp5oFJ1XYf34gj6zFt
Kiu+nYprxC1ekEu509Zm+pxiY/wymsBPYxLTSTnrxSbiMVvGGGuvcRmVcJsGN1tGunzHkqG4Scnc
w3YzNJ/70VCvY4TfixQyFN5SWUclNHRX5dB8j4xKWxitbJz5AM0mhDpKzL6XRO3klvXq9aS9Nzii
P74mv1+GgCd9f0ncJkFEBOrDUcwIGpNemotGNR+E1q4NogKv4Ew26zgX1f7jzztyg63ZFDHWXWKn
UlE7+NEWcgm8RMbbdNaUj6no/ZeB1u2mZSPxqh1wM0slbeXKYm7++NR//0KkO/H+6LIqFWPcDLWj
Wz6ZYUgBLzVCZVdVI8tnvdDpQbz/iCbUKz43Kh1ip9kx9Ia2RrU2npgqjl376edvFv1uoeY12UGV
Y9aDsvBQoxmDd2qzM2us/DktWLNpgUC4IcFUXjg2cOI9Ei75su6Cb/giWIkX+YiQo5WwT/rRYagU
WijhRHP2TfvMbzebOjIzZpY1ytIZyYHO8vKSxvGPj+/8sQs3mzcyKdTKMqlrJzO1b+jVvouq/f7x
oY3p9H4zf1uzwY3uTG1cKyidMOubPQJI+pUqOeNGLSkodYi2WmHl0VYoYR8N39dWXUFwYsRkdSHV
uEoMP4bTNLrkBnd2c28mqXRIAsvdoLTM2N0M2DxdpBZ5UvM6diNyDxUjXqe5sLexr38qYNiQt9gV
KymxFGhWqF99C68fs7pHHGOd7EhZnUBAnUpCZDwuNVEUt9ago/iKwTHCXQyuJVsjKsRwK+hlo/WE
ti5j5+fiMoIGdE/Aav3kRh0O3kLPV10C6nWwxLeGDERs6GYIlrki67CTkwVtYrHtDIBrLdqLjp7C
YixbUuv69qUPpGJZJMGZbxtzNiCqDuvm0GeFUyc9IQVDhLKmTk7MdEdezHPaKEl0lgYfJ3d6L0iW
Q2CbAIbSV4TL1BysFBVomNP5oG1P2xGmz4mF6ZFZypxN6G3pk5gtjNxhKvf3eMmzKU282PfKKWbu
kdEwdx0qTRxHhiVyxy3dKymBeZYppXxikp0m098Mh3lbNlIIuG6FljuU4vGw22W3bG1wQr0vkaxN
NMCJu3PsS8wm836MklyYcuWQwn4Do+2rSLNPHw/pY3dgNon3RJ5aQ9EVTucn6heL5Pi7FD35ujIi
sfr4I46d/WyuG8aCtOeAJHbhi6suH77DGjixzj529rO5rswHJew81khlHCiXmKwgATeGOJA+eOo1
fewjZlNeoyoR0t/acBTEkeA2pBbwepmjj7H6syrkf/OokhppDuWgGI4BBmjRa8Pn0O6uzrr4xnwJ
YxpF0OYcWwL8s2jC8pBX51X2AY+/f0VHQwcZgO6XQ0hwqW/98zbDiFzfH9dEhj7oWmQ4cVvvE7t7
9lT7vDWLMXvclb43irIShmMGYFSIbI4AJFWn8pqOPOnG9PM3a5bSBgs6WLYOlButnZ312nKQ/RPe
wmMHny1ZVDKEAPYkhqNLWbgq4/raHcC3fPyYTLfsNzPZzxf+2zNH26SgPDWcQrT5NegFQU4zkDuI
jJgYbfT0hUle58cfdmRIzWNo0MyUU+tddyzSD5c24LAFtC/p2mj7dPPxRxy7WLNRK035poACdKcj
3LkzigdJsV/POvTcrgq5Z1DycuAmF0DTPAEQpdfl4sS1OXLicw+eRSp2FLYNJw5LZAEJ7b715fNe
I3NXauTbogCnWzopQGlZNsFq5trTx1dlpgH5c0U915lMKhRARZbh9OEVkuGtsKJl3G+U9BN4mlWV
H/op7FPe9smror7E6qPQxkvV2JsVOZn8V3FBFOlmdE/MezN7+V/nMxvpGozbIQoT0wF4szD6fmn1
MWRa7GC2sgd4Q6NCa27MItxH7XWakvvsMj8W2rYvKDZPTYzCOAWqOHZTp5+/GV0dAO/RMOLMYXGw
yWIdey46xxND99jBZ/NCqtVBzlYyc1xLP5hZcdEp0qmZ+EgbTdNn727fjbBJkc3qwPvqvuk+nMYk
954pzhNAO6rUQAt92JPo8+K77SdNzh/yVFh3/TCqy1zHtpd4RrWIIDOtW4O+VUZk+krNle6mlTXv
dnIvgVuxzB1wwy9BJQhV7ZWvNBsOalHEZ16h2Sqhp/mvw0xMHUn4PxQFv7NtkdD88YN/ZA2oz2aa
EWJaIWQ5cTDSHTJkuouBjR1EreRZ8brzRu48kaejgxS0XRc7ptc/Nw20rO7h49M/8vRMvtG3j+Zo
Vpla4L9yoO2tEzt0Qhfu78fHVo5M9NpsgRDU/ljgD4udhp7l3u9H+T5Xs/CgEG0A7jjw9nZS5RAF
4DJNIuD+OlXr+G4kVQxSYB5vuqjG+oEp6MUPsvaK5HOx8QJKhzU7QbQQ8idd6XGI1t1rX6o1TqWs
M1aJzq4lCc7ryAMweX+JvHh06yZtufgY90uF7JTozGLZnH0RjGOqYmyLHEbRliTcB70+RXY4dmNn
cw4BiOxc4zpyAI6+4l19ko0TU+uxI88mHNH1KCybLHS8UvfWWmWUa1+qth8/M8cOPptwdPgemjl2
gZM0XbKWMSjBEytODdafSKDfrHPmqCA1lfR8lHsOb27aoV2yqqE4dps2e1ruuBgB3LdrkT2r06s9
eAUCsE00m539fmqbRDIAfcLyar+jfvBA1sRGT3pcXD4WFtI55XvGKYEhU3j9wsofETawRl5EqnKP
I2xdUZ3kk2rrqeOner359bEykWHnXbzZXNQJkGKyFscOsL+XiJiGSsD4P+vYk1717URBN1rGZZJF
Ttlm9Mr7TRYo593zOTMnAJVDPkYaOW7hXWVKdZM3582bc1W96nUhdqhkmjcp+ViSAW4+/nzeBZlN
CzETjD/oRuLoxt7VHBCk5x13tnDJEmwmndFHjtoCYbGRle3zpjQ35x19Ni1EbpQmbDg5elYcCBt5
oi73eN6hZ/NCirY4SmAzO6SSgNRsonxL9EK6Ou/os4kBdibY/5agidEuMzS70bXmKvaZB5+tEPJM
MSSjaEIHP/+jbPjVsuqbM3eFczyJO8IX6MY+deAGRRuPeDnVzM67nXNsT6QJ9G+sah1ykap121ms
uGxX2Z11zeda0pGqk2fIQeJgMX5MwvQlzdnqf3xs+WcJ4jdzMRaJdzOK6+UkABpp4AhF2jIRXzHs
dQPyKBkA1l7EgGKTfdXvpzkauPHarx8NarHKoCwH8IyDxhY7kW69dlyrjbotE7JDqu9q9IkjxBSG
1Vi/UjiKUbfM1s2O2u9CS4a9Kl9hLl5FKg9p9ggjnRybYKFGYlEDpy1HhwkcK/Yua/ZA0aapugLS
notwy09GHgupE3veH4Xq71PjK5R1c1nWB/5QiTQWCOqitoYXy/0urM+yCz5fu2Gze8XLQB2t72W/
Nw0fPCZ1VaAJWECL0J9eCxOWWva1LZ9emPW9Dimg54sE+V2Y7CO+j+S/ukPO/SWBALoxn8MhZWrB
kotELTzwaxYMTs5Dl3uUW5Rwk1+XkVxlUarbWmP90u/zCuYi9E6xCd3XBiQ0F4S3WSvyCzfWVk1A
qgcc7LQsLmqxsV2P/9xM77gBI3nSxjeZ3FyWffHo2igt80dF30edd9WwrZGTYO0pxiPn4FFf8eJk
p8hPZaVgvtS/BFpy6ab1OinSpSH8NQlEi6o+KMaVSQPJx7BiUEFtCFzwhLzuRwXVW7ObLqHcC8Cz
+0ZsmtJYceZ1/QWSxkJ0w2UqqlXsIx/MV8TCTN9RaZ6syDhQBACNIVZALz9+ZI+sTX5ukt5s44gq
iDrMx6FThR4RBq7+deJUfHzs6aH/3WCYzfqeX7WJyNlGmHX3yayVjg5UU6/VjFsZlH69DAYA7B9/
1rHvMf38zfeA8GOULZoQJ/K9q1bPPkNOuTzv0LN3QBEVeZQSW+sYja/tidA14Z4SRXHe0WfvgLzp
QWlPW106Nk9J1x9wl56owc4wWn/WC5TZK6Cgaa3rnRo4Kc++3/tLuexARuB019c8/9OKp4puOx69
1ocaLV/L9cPH3+rYrZ+t2uIe1HofuqFjqfEPel6S4wIP+5QY4FfUQLevrWY4pe869jXneuZygDOb
j0bgEDpXXHa2rt+mkx8/dUEKNI3UH1KLzCwvLBrSPxt7ZEzK9j5XK2uZMvD3AUb8E6+XI198LnU2
CTuNyzhJHRFm+QE/RHxdV1b8FAjNZtbEfk3Cyymg35GHfh7DaUWSZoxDmDp63z0XsfVERMbzxzdw
2iv/Zuz+9J++GU8xiJGkRMTiQDrWmZ9Nb2FHrb0MazXYi6i0d5INA06Rley8LZg8my3MXh5cq49i
R0nDdonAhW5jfGajUZ5PD1gRgUEMsRN12Zc0zZ8ToZwIHjx2E2bTg+qXlWRpTewU0fAgG+1X6p0n
HqZjh57NDUNDslyoKaFTm+LBrUJc8fqpMtixY8/mhiysylpkcuzYrXh0I5ggRX3inaJMX/13D89s
9Msw/htizgOnNJXkoh9EvhB6on2qhsFc+6FC/ImUWnSXMwnMdNwNt/iI7RCNYBKCvQnkbZb5yiIO
pWQlDUVLJEEG1sWzixVFBXlXJh5JJK1nbCK+xArmfBqtfBd++ccP/7Et9VxPW1ZD28m5DTIIwkmk
R5uUmSSkV55G1qJPb1nPDAgq+Af4qEUEpndaanXGo26q61B3phXViJGIt3o1Okr0KU8u4NLyjaIt
P2NTDW9iHZnJmtWaX2rraenQWu5yWm0F6tckumuqdqVq9OQrbVe330Xz1DYn3gtHbr2YxvybsW0k
pshJyvGnHlcwbOVTg0zBIPr7Oz8X9JZ2VnZUR0MnlnP/fgjyZkPxdPysGaQuYgA31nA5ynUkg9eX
u9jbppJCGDz5lupWtkS3RG7tssIpIeDotQvWkTiTh0jxqVdARPUWaSUnq6DqyusOJMdewINYkBze
btXGJ9Xb7trrPoPIroI9xZuh17u0nQAOuQFcvM676LKr0yniCBa7KHNWIlWYtvD/KoU7pEmfrcy+
E7FY6b1849cli+h+YgLpCDJqyP1LE/APFJ2cUEo3NaFnpW2+ApWoXkm+rbKSH7INuBv1s9ZpI2Ty
NFqTiBT8kJoufLbsznhtszZ/9fOwuhnxxxP8Z0fEAHASSLhhlxG18ghuBE7HtNwtejOluGwpywAO
y5WLiH9jEG26V0PJWmWqCrRHfwl9dVi7siQtdSMud2Ht9xfo7MximSrhFWYibxsVxXNgle0i71rt
YGnJK7RL78Ef/S825KxHTLT6paZUoKs0rdrokDeWIgkRfqRq196kIq63XU063GA0xipGoLIc5cC8
0KpKXaGtYKXajfhEs+AhDsocmnseguZwiwf2RHDRIWgYz1ohazdhXd7yul7Wkq/thgLYP8dOF7Ko
h000NDK/QFe6I7QAFk8WrWPT9G7cqApugrxV2YTX0qIJwq9dnyfrIWIagdMx7tpkUFalJLfLSFTV
vRSajNNc+4FwSNtaipeCsiIgZSylz02MoDoCm0ecsddwqdpg2A9j4Aq6yYb0Eta2slLTJl95VVDv
VBm0vjeq0K4Sk7Rnz293XpTK+5D86nTVl6DjFAJ39iKNza2hJv0XQWjLyi40ex8SnLitIWMvCGwB
9Z4F9hRspjuS1aQvfuqp8rJCELTJmjy8cA3CgdB3syozh+FTnMajvxCST31ftQetgLFkVYuSuRX5
WG4sm9pGgVTV7Foa2WyAg8Egi5d6HI5XNu/Q27LWvNfacDPyYmP1RfO0Emhp5GYvUduEG1vSy7Xc
CLHNXOhOgy0V15nVq0s2GepjolcEBFfQCJ+JqzT3QIa8dTXEwzL0BWk9StNWPwTItZWaiejCwm/3
HJRWS7Ieu8umjYh+kaVo2xAAsWlhWC0DVYrXVHCNBfFBxFu0TV/vxrjK92VKVLmrl/pF3pkw18jn
6BkRtXbRmdm+LVs2vA1bKhW8U6086YW6tBV/X5aEhCW90e2KwByxytj27RD76UVqj+oXMqXVgzwC
5FjIZKJfNAxMlp6xtx+kob71KzKIPN4mW9FZVbEOazN5kIGAXemSVm6zoNXomMUDYSJmrL4S3ZCQ
N6eKZoPApLosG8o1FE4D+dr37cjdtXJKLEgu+uhyxDguUSUN5b1FwM2NVYjIXgOaQTuq68lDl+rh
NsFR87muWmLedBU81ML2LXA3cgK6j+BOHDRjhoFq9BX2ZmDjxvvBZuD0sD++V/qIY8WKYZqsar0X
wyYLSVGl65zIiF8tidePomXVrWrkXoMOvK+/hZLpTgfSm4fGjihqRWX3Iy8lJo+wgYSFH0ptbq2x
MtatoiTjOrbjatVoBaGpdUFcR+8CK+r8EesgRLRr4lvb7Ug0w1rPG9xVmglcdfSU9CIMlJGeBd8m
9eV4UVYq6dadhdtn8NWrZKzqy6KSpXWSlRQxM0vU65GwphUpkd7aTrvmVlAgXPUhaJiqRtUWtZ29
BBpFgIJXosqIzOw1rOvxuUIbt9CH0V0kpC42BVRrGHCLkRiZTslIsBwRlaU88KQdRpK5CysC203J
61aDYQMxDPROIyfGUNKVQi/txWoLnEyd0B3SJA2CjK1OW+EtwEuX18pG1UlxMr02XveKWq4bvdHW
4BT0dSz7pEi1HuvXirCt3K/jhRXYfrnSwqo2ruUKSLHOv36tu7p57BoisD2kuLvCbHoiE10rum8L
27316wCSIspc/Ph5bK0axSaKGdiaNJA1K3oyJejZ5BJJiSzBQRbCfntWB71+GRKT4kUqF9c1PnqW
6l5yQUJHulf9ngoCycvLImMcVXqRL+xKNW6MIah6QuMyljcDffnUVbwLv2zTLUxpbS3sJP0sFWW6
+x+Ozms7UmSJol/EWnjzWlC+VPL2hSVpWmTiSSAxX3933cfu6e6RSpAZceLE2YKUrWu7WNVfLnzW
9Ob5PoSLuvVl79zzXTkxLMXpX5ouy6PG5BwPbaR/qtwNSVLTxrs7WMZxGlvnc6yskqdrzG6xdJxt
5OiQUWV+WTL/JQP+XuSkOeS95TyWjbtu3AVcuGeN006W6fNEtlZcETW5IYFwhV7j5Ykfhi1PHsll
4+h9r0A9ya7jCwrtudyVNTOMUBhrwgJndYdNbrjvq4lgsZWyUmvQy4WzUnNZVbUtHdvgbITE1grh
bRVRwZsOgs4t47JKxADrawyC2KBq3SwVv585322dk4pWxRar6fHElfFIPfNr1r4JG48sIK4m447N
eXUkZtQhRAtqSaFmvC72LurKI9Hncl+p23eUDdkOUIu1DzPdfppmWO8JjAiuykj1jlhZ84n0eGvL
4K7YFm7q4OqFlrqXQG/5/yvSWms4KmAGiXTbNb1VUmcRF3sg6MMWSTdq85iugCokqMjdOPpTbBNk
t1uc8FPp8bcZjWy/kC+3LZuCa4zafetU0khKJ4Rn0M7VqSDdl+Y5mNOtbc/DLihGAtTSxh22BEDC
aq2zf5rQzTgLAKyB+6yhHMmKJD82J6V68Zew5bAiGFNYURqbrV/sSVVcgNxVaHhub+5VDekiv+1m
SstYT46lSeJtJ7ZGW5VFRw1c74J37cmVJSGn0usIyISe7LDAjNOh+3erbK8s6o6wcOzJJFNtyLxN
6NJJNHY2JL1QZOubxRhLr/X2hpO6RzKiJnJoeaerkVTMipvkBES+2aS1b5xLI/oQa+4fa+kal6qd
XjNT27GJ2/eoO8v59KMcZpxb/KlFBwdINW9BCx3apZBDOoWcuFerZ7wSfWR8o4ASFdx6YIop596r
ReY7T0VJLpYdAY/jZ88XGPeuVV8llCGC/br01R8ndVm5PpPbfmdUL88cJqRzGbN+7VZT/IayKI6L
N69Hu8u6nRNyavPGNps5CIlzdftI7p2yj/Y1QNiYJXtDbAxChS81gZm7rg6y7ewA/igjNRAIaD2v
K1l1LSyCj7YP/EtTBdm5zX1iEKPaOeXUJvCsVB0SSKfmfyTK2oCWyGq8fWSEBoD3mVOW1dgkb90S
DBmVFz2UES7xSMLotevt/uJ3M9VvZukR/NEcvjRKjeMms6XzS7qqtSMU80bea++pGW3gOvpN93lK
kIjHbuuamckC2+opL4CZAiMnpnByonsFAOmf6RbTKYvknx+1hMK00n5d/YYYUlbbm8OU2dZB+GuL
s5/UyLKxsDSnJsp7M4oF9hAtRVyXorvd2R0UIQ0RCmc1H4wBEnTqTGPLUVp/FjU4qNgvCpjKLjRI
iJDsU+dRuBtlf126LDivSyO/iMbM9yw5+5sVRk0SSLEc5rD6Q8Onvxl7cS44d88jGya7efDNJE3r
f6UHLQIbxpzwgYnrAsCMAp+Kr7W1wnVqLTuV30i0pFmzAFGojWv55QFkCMeiK1ymthMpnuO4/sI4
WmCRhzcOlSEjSbbwwDEqIlvtImW6QyzcGf6UMADzifajMtPwktcW1SFFDKu5xW/T6XXXAhOHhJfB
lWVEg5NLuyub5TXhuY2K7DNQRqIIb/Cv7Lbb24AP3hqy+Oeak//oOIAdRwTa3VwHHQSs3qheotat
WIGoUNb5uv8bgZIfZZqREmrnwW5Wrb8nKaI6diXI88wD7h2ZETb3YWo/O79xvlrphXAWVxNyMjWl
SuV8YLcOKrGexn3Vpv1lklZ2yPVa342z1RzUoIvYSpd+o/HEx7k/RtcR5PGraob24g1Kxz1WAOKQ
eaQyFio2oeB4M4eupBkQYts0XDe5AQ0lJyYWho1zu+fTMGbqEBx9p63fwonA6ZJgrguYQo7TXvrY
z6mI/QWW6AwT9mqJbKCDZXbWuf2wdedGJFCQBZbEsXjOF74ClPPgyAqNkPzsjOi9H4gjJc+n/qz6
wXW2RB+Hb90QwHoDaMyONwnad2DZ1vuS4iMu28D9W9EV4OMKVc/0sWn/ohfTjkNz9smQBuDc2IGK
C2LmcJIFAmuCmHfS8z+aEe6tNsmfcCPjz3VMc0cgjLOzZyJOb1thxISyNf0CyJiI2jKrzpk7+mdS
ya2kbaL8PEG3P/Dtrbspq25DosE/mbWFraWt7Z9mzt9VzcqXomOgvcmt+2ntI2PjufVw8GT/h8Xg
2ysgnW6WCVZdt0ZkSAu5JRezBQNmjYe+58Ye2pYPauxN4JDOig2elcpCdd5uKTihwrFf7vXI6baA
Ko2nPFueaKWip8WGi04i9LwdQXUntckPiK0HP6nJRWUKtdo7lQZsYLhhc1ffehLPHqOtmmvzaEBW
2TqGVKcmDNZNZC3ecxnS0nMK0eQBuq3jkKfvqe0bsU1ZcMDxowPeBN95rp2OBCZaTjN2VMPGGim7
cYgpbwcd0N3p9MZiipzuLZ9nfBsc5Bst5F+WAWLVA6miYgotSJ9eubMA3INRGvW+IT9zO+VsBtc2
GcqZnturtpWEh923f6JJ5UdZyOzMRRm8Nt1QHEnEvrXrZCFaxArs1wzmn2sousd1bI7CDpdrE5Vp
7JSruwfstFxT/tX9bOr1QG3QJVaIDTJdh4W0qAUmbmNNkM1TPvxGGIde2+t/S+f4iWEyYqvaaH2Q
C+MfXVe/VSmNR7/UxrZVjf8arlV6aCm/zx3qL3Ahmom5SkmOnVeqDieUOzdnR4plWe+lasvsbi3d
9FGrWiXaY/+hojyhyi+FJC7fcp4se0h3Lv6mY9atinVAT7+y00xXQadxJAMWVHw3fUyuz1pdXyM2
qSBkUBn0h4ELisR7OZ5TRgqkfgfB1Z+YsI5dHd715lhfhtmbWLiJlpEiM9OHxcJyUFduz3NR13tL
IVn5mZYfNoFZSU3+5gPqh0u2wfiVSpfdvtavPlvf63e1qp6Udu9tvUR7QLRlEg4yv/as4xHdOtkP
vugemrAyfXK5ZjDpjRj7pMvMgCFqYIjd0IVvfhNY8RrID9KGSSTOh8QcVoit9Ucp0s+iL6u/sMpu
mc5BIoPZTMZ5tMmI7kAIl/78ZZK1dQxZA98Sxyljx67CeOCee2EanSUDQs6ul22xbcSsWQrS8rIQ
ErYLDV7ljBDmLS/792KLYoNm4fFORf/SILCRygigtAb62NHp5Qmh67HAhYdWshIZCxmHd3UgMKyk
KtqOgiiLciy9F2Ur+9TUnFZuPR2WuRufrHU2dqX8aU360RBL5b5wlwfao+BA463j4BZPNJaw1kV2
71aaJ1n1E92ZP78PvRn8V/RoYLxzbfhUMHk+27lhPwlXsl/pjNWbUpn7kA4QCgKnmze6VflWZAqX
e2H5J4QT6yo9GuTGDABjmtFHP65XR7jn1GWOT358kxSzne2Kxl/OsJJlMhHT8lohN9yZlKb/5WOO
jmQQXKWHJdoMor8rmvyVzwyKgtv+Vw5Wh5wUjdupgh+6NMPbMoTPFGQPZAnQNlv2NyTQl6Gq8yNm
3iCujIks4NQjZntNuWrmCRUCFDy9ygDuvLurOF/gTtbblZDQo+p5PwmjCwBKSKO/GOz0oDfU88NQ
hstXMJPSP3nKiodcLqT6q6RrvJ3so0s05jA2ayM4EXU/8ne8ZbOOiw9VjbS9TEjE7mgUb1YkEjMP
L0NpO9sBjgahfa8EM89vDo/rQVqNuviV8F+Q+uXOqMWw9wdpbxRYdH6cXpKO477pw+q/MRvJKVYB
Qc+DYzYn4Zf+bqoH8+ACgIxpBrpNtvgzBO0a+8nGq7BkT63zaDhgZOowvGUAqr1BQMrJcHoSB+jn
k6YCbIGA1SamiNxDpVpySVTl7dwQOGvQVWJbUgclvmEEST0A3rK6mfRWEfknwvx5a4WXoBPn19Xu
l00Q5DQNZnYy2z5pVC+4R61pV7ONdwH2ZTyudpe/OjmfOj/pCOx63W3HaKAKMOz7ILToFD2P1yus
yAOr6SCpBn69oUHZbtw+psK/59zyk47L865b3fOYNpfAktalzTrMFbVW4KMr4x4277deCgFmiiKF
aGYdNzMcxBtJngpg/fVvKhRuv+dAjVHcDjnhwqFyEuZKkrgN9Wup7sMQN1uiKa96xurHuGNFJbUe
57I6205KPkHmvEGQILaljTadHVy6iWUhux8vSkHPVTwmm763L33j5oRqk1NcaOvX4Wrr5jam38sp
GLVBbzB+adQUhxrUmtNH14to2lcQKmal5LsfoF/nXS3uWxqKI0Hq9plQORDtQegDrYzYRGvFKVjt
k98z07WtfUestIXqGVjdK0HN4UNY9/BsgTOcumjICPanz5sNOj7b0FzLoZkUPtQC04+OUjTzVgib
07bgaTa9qX/EYJr/WiNgU1K0eSK4Ag0oSKk3BBvLNg/TQEoWmTXUegdfl5fVzL572Mxd2Vy7yoe6
a8xnuT72K5Bbc95LAWVFBxNuD8+4IdN9tXMhj3f2WsWBEYH8rG913wf24GdH1lECBPlkLtWTXtNT
GBrFIRBRiwoxoocU67ZzovPABTcM4W7BG5zVq96uPPMbUan7vHUuyqhtAn/HV4anD2TrnK10fux7
fvo1rNHEKjw3rsBpHLSeHjKsUNBY5JgsnqwfiiJqdtO86ucw81HE5fqR1Xa7k8a3avPv1UHXd0k7
iH2PwUgH+ZSdzQDKYaD8H69aT82i9UGINN/InEdFUKZ1gGbL9m0c85eSmZcagtfSrUHSwLibjfoz
KLp/WV/ipOaySGtIyGxlXiQXvRFI686osydGLPFarY+2MqujbasqGWyGaWu3ZFiCxNtsjH+5dg6O
j/u1jaDZueoJuaDY5/4UJuFai0026ws93aWcTNLKV5jh+GDjokhFHPRRcSdm07gGgi/fmtatm5vn
DiczR09VxF4toud1MAU+Ij4zi/nDnJLbsQ7Ae7rO2xJt9OyNSx2ToE9sFCCKSKEkTaI9yCLDHXuj
QdRghzd1OQ7vXdgvW1ekpBv04lJ05iEw1w+2qsztZFEmUeONhznro1iXKerTMt+1LeZda/5R7nCg
kDQ2kHXitcx/fRXp0zqIER1MHcK53tet/Mw7eaE/P3sLd386iPYltQDUBP95nv3emOrkmFmi5ntK
g6SQiCF+VMhzng+4gpHm6Wsmc1pjv+7le+3Xv/3EcRFZxU458mNKh+AMTkefwgHNz846566ymye0
XA96gfNSoLBv1LSe+kENOFRZgzasyYjtYPqUNqdL5wx3Rcs41BseYI+c+ib7RPtsABJ9RzVAoqyN
Bbb5bgOg8GJ2tNRKWtZRKBuEonNXwK1PtGS5RY/2PeTrNs6UpW5nU37sRnY1ovW9isx+406Ez2Ns
qcm1ikdmaXHgthAcats9rWu2y7JnQk3OlvFgTfS1c/jFcX+XOv+mvmxhOROjP4zrcDcHJeprOf/L
XLACouGIWFzjr3CMA3ms3ZEdlSMtT33E6ZUzahnLnyltSuOkrSX09qzH5AjZaxaoBF9YyUS79AoK
eYfU7rF8bY1o4V6BZcuRGcwRXrZAffX29F9vMJpiyuk8Clu/prdX1Y/gRo5eQPtmtS7FiqFx9rQR
Aq1O5b+CBXajG6+LokWvOioI2v3iBX3/n1Ea7cFgq7TzhZ2URfsIr+o62mAyCsmapjBNb+to/xNp
3E/s1vrry+jJxz5o1YTDZTe0L6Jmt3XSptp36Y/UMx3P2CTGDNikrov3xZJh7JbVXR1d8I+bsan1
tuh5Zw3dZ5tg8Z4MRly6bP+Bt6FqJOMsSK2OSrbGI7eYTH5Md2dgWTcAD22055/LESZ7RnO1TpAx
2rU6az4ivYxxYErA5OY5mPijbPfqQ16az7frzO7m82iq+n725ydWZbbCGfaBO74HEQH7dTBE/5H0
uTd9LryURoiZ+G9WWUEyTcu/vOg3ZuUhSIcNxIKehbWFKDSjfAhV9mR2tNwtBCaGkvM599OdDpuc
lP78ULVGSpxPLe48acO6tIe3qVdBvPj1HTPOkmOIMYmjCTZJKahRZ36aEjMcrCi2i+RmzFSIFp1/
InWhjfmiIBmPQds4dklvOBu/0fXW98XC2VM9G3PxYnoOn09/dTwMEmn7NfB8xn03vMDa9LaiHle2
Tdevzop+Sll8gc75Yca4bo0QQrNVz3XCBQMBJ2+ex9W+5OZ/lqsCZFIvP7i4qi/jVJSbNRvgH9WR
+zpTrG+dXpws0vGSOmSokRtO97R0nkf6cXOo5EDrJKRm9IwunuaMjUirL/+Ts/LitjTfW20MiZEj
OnRLVcXeijmtc7igArtun0ZB45QNaUAvuah3usAnAOTrvmgdLJ7BXHAqLe4hTA0Vy0C3MRiW4uCP
+s1rjP5qpjLdrqGFFdWrh52ci/m5dLviTegcYdgV/XMYIMUJkU13TP4Aos2h/xyMOnhsm/GzE+5C
/RHCMKNAWB/mZkjvaG3c58qQ5gs3gfMUZBC+o2B+TBkWkPijwp1tj5Qovgg+zFV3+6Dqaz5rzvLU
nJynrq2n7f9L1agrMidh02e8tFyBF0vWuAn7pXlxlsbdel7+1IQj0Sk3bgxdSZ2s1hg9Tv4anu2u
5iQhiWojXfnNKmu9hwRlxv46EWVgMcbCgWDvmSwsjJ697AAe5mXpoFpFlqMfS+V1VIeQaKKRvD7R
IH5nJXkLRn+nKQ3OfhsAYmJv4dAYaZEU1piyhdTOB9hbu9Xi6V1Ebmx95WQfnNgZ89j+a1rJ3tw0
AyOViNXdxPMae2v6WXe2itY9GrNtb+VYLTFBDOeysvu4zu3oWmaRjRKYjiydsDr3Iiy3vtj2Kskn
IZUyKJZHewxwARQmC3eOlZPS6OVclCmZeWXu3GNMmB9FZ9zcN+afM/DzKmrPeQH1XiaeMTB4VOOa
zJXx3s3MBqahVHQTDOmnKH0OgGEgrXBwgilnUAwKb8yXBH3BeCU1A2FpZseZByinOuy98jDaY3ew
NJoB6qLvJTIM1/MMWn2vF08ds3TiScYmk9mJyxWf9L0rX+qiX06NZ8Bxm7zpYQpukoM7BXGfljWF
lCHfppFkzBWA2KM9TS+oC+YGEtXqcp6n42HVMrrOa5hd7GGodulc4ieYJrXXslsfQ3uyOwo3crJa
R6Z38zDnR3+Wzncn3TVZ08i+yNzGnD+4TLJa93YpeELsIUr6ccGMbc/U1+Fn1lbuWbqpRIZNw003
+dV/ae8SDaQriwIRH4mNQ3w105+pS4vjjdJ0HLp+PU726F6Ik149ggHz6nfitbrnD7cEsnfm+ubr
gfSmcmjuFr83n4JmKL/cwnZO81TTnYq0fXfDyflhSObjgUmrXc4kL8bexV2BYuomEvzVHcpnBv0t
s691eKMiOWaFguwjpko2YC92Pc97pmBi28qA9bmi748K6AdUGh3umUI776oyrQfND+VoD/VwVlQ3
LwWV/FPU5eq/TNvLDXwqncSszOE2bMOPb2FxkQPWGWvqjGQ1RvEwI5r9uYao9taK3BrPKYz2WKdg
d/MyJf+9yYuSuJjOQMkfxpR+jmMGe3UOOgpbwsYam+C06iK/zm2w/ues9cA7okjz1O34rcyO/qKp
o0OxmJyM4Nr2WZa6/3jqx4vO3GqHfzF8WvXQx6HDA8+UqRIwB/H5fma2EHdKhfWu0CstvtUQt7th
QuuyptWAM9wvgeBrmITfJ0sv1WVyZvEwgPO7BH1mJJUMmm3uwmE1c0Z2iKHhvuP7xJvjBPjfujn8
Hl2/Olg9wrUcx1vcQLVaBgK1bX/5/kz8fVg3y7+0xBvKtJBhaVZn39oIpiN5/cFL0JV5T8SMOyW2
3c/Mazh4GUij8aEG+KbmAYiQAZuw+8t5cq287q95cCO4SNTYb49Z6yND0frblv70B+EIDF+eIrAB
YX4YVMBBD6Xpb/bd4kkOVZAEo8PYL02nUyR49UrVMMmxnHxXuZS5Gdf9pXR7NnCW6QwhUx1L38U6
MRd+9742XD5R+QO0KYPbJvryYNjdFE+dIp41ctNDERTbCZf7Np2XBlXJYG+gmUI23UNxZS72VrTc
nFHh8pSY6XMZ5e3rqpaMNQ1UjWZb9ZX/62YT0pLBv55Nc3mKbM5hmBdqZ1uFdam9wYztiXFQUGLj
SVG7v00jyq5toBkzFRKwn9kG9yNgqm3fqU9jUJ3a5HQonIli9f65ValZb0NnyXN9o0rJ4BFocXWX
TdlQbFqmJg8Ntrzd2Nviue9bLALSwCwQ8adp1jjqb8btXT9X687RfDnGmDXHln3VRISevTWKjlY9
aJxzHabiOy8YQpqifM+a2tjUnARGTCgYxLPOqruvIPOb94nPZBt4M7cD+8UEq2EBWjS2mo0Elrbv
RP89FSpjFKq+ZBjMe3an+4eiAx9ICW4fbJIrr6XrO29BMfQHVy4VUzgHaWpuqfR7b6G/UdbObNJh
G+gSp4dXTjCyW9xqmWAeblHMds3yZXuLv1/MKd0xxQlpncNgG+RADevcKnDjMy9eo2neRYAk98YU
DXf9WvgMTJgNZSkRzNbkDNDdgvG/NsVfN5VdFI8YfzaQwTz+bij2gBQRusysuMsCT1ebwXHAGDou
D6WsvcTvozdPhrwJ3M/lp3CUum/m8Ncf4M/aU8ah0NcmN4tdvnLm663w0TyHF5MQqGcXRN8pVI1z
TMeg3LgiKM4LGtmltpmaD7U2YoSev6ryK4KohuoyTXlHeZuTyTlNw/OEP5O5uje9eXOaM+A0mW8Q
Ec5CcoFQ44DjvFvtYkms1KYTTHn1wUekPJxDde+56pPHPziu7TIndGzVYa5687MIU31axMQ4OcC7
1A+Z+ZorAydn0T5RjrXxMtkVn58w7ievnxM7CIMEh5pF41cWjBkxw8p0kKBKXfrqrOfbz7F0Knf9
GrNpxRDkO7wWqt4Gomm2Q6jo19o2umL6z3dDQDVtMN2OUzjToPPCvY4QrYQwq4NjalwR/tiffa4h
aLI4hc66mfJLO7v2k7QX9zg3c7p3jPQjTQd7PwtQi7MY7e+0U/yyG5ZLEWgPNuww7V2QHsdCNTAc
G509FTO6wEZPnnGVnZ5iVzv6Fzbd0vC9uc/RbHfkDesVf42Q7R4yKGN8pX9DZ8RETLf/kJX50jJZ
Dq2Ll0GRWzwmUp1juSf3BnpMqn5U30WTzvwIR/qIMop+i9Gqz2Xv+g/kdGLML4yPMVvKy9AxlrRd
u9p2KYKTEejhBLp+2qP6Ldc1N8YkqwBOwj9ePxxIHomoAid23KV/rlSkXrqpUrtJOe6RSE47mbgb
PuVU73C8bbRqAM+xWOJKXBaGOT4hpCOD9467GQ3V3aezVWwlhLVsw0Cbf7sBxT0Ap4y1Zd8zAPov
Y163dbXUu1Z0OIGrI4PwZAoXsXFXMKPtSgCSmEz9osul2xp6kS9yxTQWZPb4G6JRIbqt6gT80YNU
l/LLTDKBoIYA3Dm7b/zV/uRx5x5Idv4VuCj5PAe991NZfq/k4r1ObjHsOBjSixq1ONfYPwmccKKt
v7L2sFjF8G3hq/gyXDjLvDl9mlTafBv5rvZ8uu5TCoH4GZQcbNRWjXLbNWuXpHOfZLPRbZe6Ss+W
JmrMHuzlmUXJhQw510mAstaPymqxQhUtnni7C/N7mLTegTg0am9ljSeMC/PT6nVNks/LkGi7i+56
hlLvtMp0mMJ1ql9jFqzcpS19UJtDdYlGe7jkll7u6aBfA6da9oSpesQHZ2N3yazptV3pa+1u7WLt
hN9aevZZkYeNCwZhmcFjwSgSVyTbhk9k6Hx5efMbplmOFCDRVwlrQLbw2+nPtFdGP0U1Lhyq9ZDQ
q9Yc+PQYpPWZP3aQOvuq8fKj20Ytq22MDNONDResi2Vvz4oYeH67LBvjsHhZcQgdP7gaov4ypgUP
6EpG3cGPZHOp5IIvKmTTMWj7nMlyWzN/9R6dwpcPFoDQWAVSPS79Or/IgJA6kL5QAk0m5qIqpn2R
G19gayEtRso7eC2jk+KWHbknNTE7l6EnEoaiTuJkHA6Ejuruin/5dTG8Zq/ctjzW5GbGYJFZ5F69
Tw/ryllW2vkAu1Xh3tFiF83pm1/OP5LwPqjHlbvFEMEyYMMjpVLgmE0RHkzvOq0YLnzZfhl+Ja9d
qOonT/lclCFw7fGftUqDvUGxklGP6z1jdrHxS+N+LVuJku/8tBzIMbf7Xx76u8HbZ92j6fQDvJ2m
v/psJ4Iwz7YpuM9tmInoziyXn96y6sRqNWIvBGzurrHmtkW3K6uAFqeGD/cbdSSxbYYAN5VYXX+7
OGYP3qcjlw+dYjt4mED7CDcem1Yfum/KmOqf0B0zDYwE06//DHlW3dt9IR46HBCfcKnXP3tp6hfb
xIgRDKP1hLGj4CAaa/R2I9gYmc7fPaNn7RPf30p5bCwJpntcmoZ9SEejPRnAY9kl9ezycShnvERo
th1jvzTofiKb/VjsOu22xYR1sBjB4tOWhGUDTsceXFoxPliuj6lx9wu7qYy4jPZBIM0d58iWh6VJ
eZyF1V/IBaekBEiQ9lN1LsvJnhl1pYzds2x6HjHe7TF7cWNNZbqNcCW+dGZTJlT1y6FNcyhlaO0X
Ic0sxjaB4gPEd+szT9n8P6Q2NZAlsqiIkGidn3BIEdoCC5zqpliN6H6aKcSnLI/2EWa7/zpmrLTj
K0YnWxfbXsv6rfPdBv+hQguJR5C2ied39p4tAjM8i7BgfFfSW9wVSw8AgoVLidvG9x5lMHBXkvEA
RVT+9cj419HNZZ5kvg7/gjrEojbi2wHTKfdptfpXmHJIP1LWz1Nl2+TfR6iSQ778RDhTT43BOmEL
j5PpO+s4aa7zV41xCkFKT+dBtRgh0qjxd7YiYMsCDsQ3ggPYWCJ11+NcRYrPsRtkZfAUmBWWEkPb
m3zGzUelYu5bu/tAfBR71FP+0QwL+Sr0f2SKVD+ROQ9XevD0tULX2kfAZk/NWszcZ5KmpOUBVdJf
DnREdmw5lTpFYy0BhtvibZUr+IZeD9xDFmGaws9OflP0J60mlgGCHC/HbHt6HxZVdq3TOvrWGlVP
+X26DapZHURBNdPoZgZewYTjtE7aPrCyoSlefeqZiBZNLHgoZ/juoKzdsPtUnrtuZ87CjZ/L+RJI
FhWpiHxxgOyL8cJluulYEqeR8IZ/g22Awnb7pvlArq6e5h7bRyON9NwRf7QNHGa9q5XJ56Eep8s8
YqYkVJSdmYqexBl0xAys9J8CSzwLs0v3Zp0zj6usT4w0Yx4XXIaho9IDjtlmX0+pdRzaAAeXmzn5
psl899nJwu6y4Jjj2VdF3PEeoe14Ea86Ey2R+ij5xuxvJiKEgVvyMKUu5lOa5OptiEgcgBDuL+g3
YS+2INGne7tLs6+M/x7noaYrzrk8mzYlxmOR48mqwnzbExG8baOsTciezOLSQ9XISGYj0YozF73+
2cPanpCfyRwxk91PDzLjf9ydyZLbSNalX6Wt9yiDA+4YFr3hGCQjSMas0AYmhSTM84yn7w9U9l+K
kFrR9S/brBaVmcokCALu1+895zucB6L+yke4vRTa2B46MeFeJ3V6l7lOTeK9O/ywlce74LKDbtl+
imXOVs5wtSdNQ6s7PCl1NPlr7Disy3WY0Krxx+fawfpOf/h10tt23ZkoK3XTH4Ml3HbtSlrl58Ao
GVsiMFoj3CESAVFKj0eE/A36pFg87HL41qupWPgx48/W7oJV1IfBtuQNPOrRhNuo1ZtPjIxJlI1x
hE4cVnf66Fj7pHAilARe9jmOk5dO6DQ6A9YQaWPq8PLxRdPyCWuMVGjDa21ZoOe9i3EwYKFPeJVH
ZasY9QhhNZbf8jpIQpsvnrj/KB7xIU/53/s8tDcZatvv+ZxSWb//Q/PnvObFiIEpaMj8++dz53DL
N3+xzuhCjbdElYx33+s2af5PPOD8J/9f/+E/GWcPY0FcJgLmrJn/az5Zbm/izxzrcgu4Mv97Pv/3
//n3fsZsnsPmFddK9j92dfIl+1b/9q/+k5koCEizbcpCvDwc3cw56uWfzERBqpqtdGmTLEsOHvlp
/5WdphnmvzB9WCCZBcFmpqFjoqyZHwX/639qhvoXq63gPEv4oFDOfxSexpf6xYxJViPBtAoJgCWV
bQjxnpRnuZwEujabjhQvGC9oDekVJ/sMXCryFC36+Zz8vEnnny7PX+N9Lwk2/zZ/zp/nWJaJ4JSU
SBST70EblUyHEGGIcdSyEJFfIJO1ESI7qjvrOPXGZ10k+YbTOdpY75ymnzTmiIuqNMbtL7/WHy7k
wtx4cyGmaePAMATIMhepwDsXbT6lFu3pPD+SKrooJ2OaRco4LEgoOpT1lzrNOOmF4I9yzs5XVaV+
+HV/nzGNW8mhVcfMrm/b3KXbbvYPdl6HiyGV4g7W+VUT6fmGEg1fakW9RWuE5j7yr930YrB/L7Kw
zz+gEJgXI/Sb7yOR2ds2YcaE60pHvHPXFqoMUjWUxk0akINNSbBosUW9KuQHYb2Rxr5FLZPsWVP8
ZlM1VwmZ1XTXzm6xi5DFyyulLa3v+Z4Epqra1sWXGva+sa7mpteS71viJKhvaNnm1xGz/WyJyaSm
j0NmsFyptb+zypVp04a5S90FmUJlBAljY3xj5Ym1DRKm6dgzIMM08iw+4xUb7W1Y78WIG57O2Y7C
cTy52ZNF797MXzOxt6yr1t7ZwxojmXeVM9Yj7TVZud3K1bci3bbO1qw2KeP3Fq3bakanqA0dwXEu
iNExL8NwxeDoPFsjnUVyy5nnxXyZ4R4MHM/kXuo0jWj41c+4d6mccm/FjEG77jbW9ivCQNzIyDue
81vt2XVwpCx1azPQbtfWY/06NLhVVnlwA9WveQ0ZMnvLTq7SQ7HyPjO6V+6CAdmo2Gi3Y7VQGG1u
oht7p1b2PYsvA17ve21vSOZC3pgf/K/8auq+5ltFVzSdS/aLBwZ7W28rt8GWzkxwEz6jvfNG5jc7
6muqw6eNd+NeI0s8YkVTD/mh2STXwycXDsvNfHRnGO6v/K9Tv3CW477aqJ13h/8CMSjSoKG4oZlO
h9w8o8FhoO2uLKYmJ/cFndD19JJ+zW4YUacFJ8ylv8GDvO1/YML1bpPrfokIbBes9VXdLfxl8Xnc
OZvhyV+iclhaa77jDtUGx95kPWvfKcbhnP+IftDCjX5k9KX1Xecs1b5a+Jv80HPEpYI5RzcyX3FD
X7ItHfYd8fFFtGw3yDG+xbv808jg9M65psC7YU6+c793x+To3nIOIpcqOU5feG2rtW8uym6hAOqc
xTq7zW4le3u7Ghg+xktkayYqFR1e439j+/v/M21amOxK/xVQ+Ns2eD/vSX/KDuXf+nd2qGvoxH2S
1sSqP6fT/twA560RoZZ0JK4lpmBzBNM/mcGm8y9LGCYjI9MmB1rNoIl/tj9Sqg2GAkwJlImR1rXc
/yQ79B00ldWaS3O5OnZhl+1Af7dsKuScPhFH/pmIsvEcqCFZdirljW177ei1U47khuNB5TTmIvSp
bRda0SRXhOM111adBMQ8JtJZADPpbwpqwBVdI5IMPdcOtppB3MLil9v7h33rso7/e52/XDDhoFLa
utItW38fEVcVATmtTeWf8VJqtygpmTcZcbtJKsNfWm36qRwkA8/Mxfyr0VPfliDnPtht3mJM5mtg
yzS4Y/yPn+9Cxv0FFdCgE26kDX1Piyx58ibb+JJ2otzhd0GuU+txvZJlEzx/8NVn1sfbr84PZLiC
bz7/n0vO8S8fG4RDXfpGnZ+DOgutU4Mj+EWllnEcjTzcAlO0r6ei8B8gvc8ewi4XxsItJsfB7+XF
4SYdMufWaHovwfTpZ2tsDuKDtNi3YJT5zpCbIRxjLqhcRYnGV/jlElPPrMe2yJJz447ZdS/xbAZu
XYPmQtBNsnJpix1+eXU0u2D4CFj4rrj6+ekO1aYledfs3yOA9CoybbfOzkFYHSO9CB5kzFCxpQS6
0VB/sacmTAeJ1PFw94hqV6McXLlJGO3jMRCrv/9ev/1cJi+u4egCXvrsk3gHlCBIZHI7i6m8NMzm
seqrcjti0kwXaTUAxPj7h73L4uS782msLwbrhsUP8B4wqqlmMDIH5TzSflCQYVF3TzQpgoOT1sNr
qtwGRzyWuIWp0VJsu7FbY0zurks0nQ7dOTCVvio3PhbSFaNQSOnCr3Bi6n69nR1aV/oYdB9hkud1
7O0jbZosjFKYRKM7tuWwOP76vEzKVb0yanEq24KNMKI9vqzQSVwzauGSMtdiuy4qsznYiLwebCm/
uQWPdcuI/kfTW/3eyNuZDhdnC6vWkodO1M3jB7eWs8ZvF2koR7I6oqflat9dpDMJ3h8usi71Dqc3
UyzK3zjbSJG0Wz8p3N3out4DKaviiDKlR+MQrtIcopHqwu8cgbqPYCJ/vHFSSTxGiuJdXP75Ly8a
n4lxpWRaUE9KHWr8EY/AWqm+wty+B0IdHoiIGnaJEU1IapP8c9d0LAoao39ixs17rWnN6yhvmkdF
p+dVBsF/67Zd9jdTGjZX+u75x31P0iXSVRaqXhwZKSRnFXnPbl8gQqtrBA1RkVxhjs8PuqsjTS36
126ynJ0opuak+cEHYJcLzujN+mnqttQtZfM6GiYEhne/Y2TTbm/y8Ezrmi2uK8z+dcKQetTdoU43
gebjlKY1+pi7pYHQCmjEwlDFeO1reebfxJkxV9vd2DzqH6+cv29sTKqwJXIYptP0+6ugtEiFgOCc
E29kjmIln45Ob9QvQnTh9qLwcFpGvPiym0MSRdo+F3n8wZJ12ULe3iIiSy2LQPN5FWUleXuLgqiB
z8K8+zwUlb+1VFs8Cvpdux4PwG2dkbi8YCUBdBAHTblMAxUzjO4CbCJuk5/HIKAZrEWJDQncT55G
Ke/pjg2LQgV1uUhbYCpa3agDzfr+1euFfTtIooKJj8NxHQ8P5dD2OBnJM8LwhdzXiyCX6TwPqxY2
Trjo/Sx9yryRFWCcfyhdnxrMvuN0oKfVLPwGa0wwufkLrjguNepxWS+KaBSrKQ6NqyoPOWT5Wf/6
9xXiLddnXnup3ijFOH1aPFf6u1Us7cjGkkMTnWXYW9cq02PQAEP3KZCGQFYOdj7IA4Hnv0iRtdXZ
1X/+8fQwDJ5qwzKVmhfZX9YC300mhuZ9eK61QNujlolXAmDtgae0uir6nAMOItVyA2/5tQBRfP77
x1+Y5G8fGndeGalXTbY783142th5LnNiPznrY8VT0QV4bEqXvRF01dS/CkdiTJ0faphX4oh3M/sh
KgcLZlYmHC1z9s/bgkUf2gpWg1WDU7NaFG0taGvDW1uMBPkywvcCDC70gcudFg7i2JR6uPXx7iQL
gR25XSInyKeFUm5172nD+DwRcwH5A6yNwGNAfOUqVAMXpaWZOEY5dKVFHw5+v8imhrZuWnXiSOSO
PiwzemaPyuWvNeH2r+B31IExbPop0LvysUGStbeYxR2CS6FlVbp9C8y4eEnDeW/6+93907PlGNwj
el2CU8K8Of3y43aqNrO+UvFZo+TGX8cady6E6e8MFQqQmdP4FQ4/Z35zDNba6MsPHq4/7NC05xwa
LnSsTPabt5+fGikHA+XVJ2QxxcvoJvMbNf+YKJ2KF5nV6oPiWsxrzNvHyZyXQE4kBkecnxStX75x
Y4u0TTTVnzhv8BITZlHtE/IMYR8Q3JwTKL5SYQgKQbc77KVOuRrwfWsYV3+eav/vzbr5vX13JRS0
ksA7YWOud+dzwC9X4iHtInLIGU6BDj+zcWp3U7SgCjrPD+jKKT28Qbjlrfs4ja+bjKdpAVUKbGlu
I8fEWj9NUffJCT+KuJx3znfXhW9duZw8dH6S901Ecsr8gkOIfrKtPtyKoav21JgB+pDcehE5fiTp
jmLhUwZ88DS8a7NdykxpKRPbNHsE1e27pU6o1ncgW0hAJ4X9WHRdwigky7NFRZLRK4N4cZRMEc4m
RoWlD2V2MZHR2zNaQGYWB3qxGrO+vxqCMb9yfLsZ/uPXhUeGhUiYlqXPb8zbn6zUawRtpSFPutk3
j21DSy4r2/YzI7bqOlBhc7KnOOjw0AqFujyxvv79df39DEIdzr0xbYGuyuRo//YCdIvMAOT+HAtz
V3uux5ShPinOK2H4kNSrJtzapQhv/EoLMAtFo//U+V4ElpOV5hFQ3H+WxfXzXPDr9bzb0VHSpl3c
B/KE1OkT5sS9cKMfH3znP510aG5w53XB8ev9Q+GILqoc38HFV42hvnSmpt14rMa7DPbAdesn/nUU
E4iS6WR/oOpQVz568J3dZfEuwEDQLim6m285II61cFv3g4f299fFJfKUQyldbkIdLoTUX15jn8lQ
IiWhLP7gGdcylg0ZriGmeRqUOl34RHdR2NmZdPYE7pkfrGe/L6CcbXQHDxFnQJeO+9sHwmoS8jk5
fZ6rnqDERRJYzaOTOPrRhrm0tBuTJsrff493hEl+c1ykHKwcez6BU87NN+SXLxzEAFZTp41uVZhU
yzbwpclUL8ehnOcYjedllP5EAVZQNDeJ3VTLhND3c5W12tou0uJlylzMIpVN8mzt4vsbsP0E9pTf
NK5t31L7DYce37Lnh9PTpYsQcwp7+Pu3uKSK/rrKcbyZO/ksN4Jq9Lda1MZzhEVlbE/g5oprtzLK
g5IlVsFa3o9NwjbkixgKSwedAA1m/NrG5WMlJnYpv/SxCFNp7qxQRit0mwjfUIYFq663kKG66U0e
ZZ8iiK3OohPx9Fkf2nzLTJqeLJnID05g9t9jMAbnSwWQR1a+c61wuhuoQ79BASB2RJ85JPGghs/p
ZBjPMTNNZK4e1W0IcEN3Kq7QKc0rYyzxQyHQ2JR9R2ZJj0wMJ5N78nBX4Rwix6QZlbPuLK0QPJhu
us17UNaOO4ZfQNXICkhe0kCjwBy9DYeIT4j0/uzYuGGmqXjSWOWuo4ZheKfa9j6VFF6TOhlyilAs
TS7TrEz7kmIpua1RS6+tdFIHp2lEu40rPcCUGeCSMpr4R+Bq2SNnuZwhSWGgyxy6/BH/iX6IUD5d
N200vTqBIV7C1LN3nJhLqOEUa1mpjPCDp/j9eyM5cduCJhLqJkZU8t1Cqtw+GyNR6ScMHhRiQ8th
Qc2Vm1Tp2u2i4YMi/remHm8MOwfNNWnObax376mPKRLgay9ObtGrg8zC4qXzCh6IJEDzP9pGhRCA
s/bfn/I/HPv4WIcxJydTy5Xvm3puK9pkdqee/Mz1vxotwBbVdsmSza1ea8bU30aYSQ6VW9i3pjEB
orgUnf+Nq3BMZblcjJRk0L9dMdy4H3xtgDgS44BKIPs4NeJkK1hHlvAXaGi+6uXkfcEeD4dq/vtZ
23wUBPOHW0FDW9Bxn5virnh/jrFbeAzmYEwnTjrBIc9Zb8TkyNc4lOJoe32OEpVJR5+EK5zinNVJ
Jd7+/UZcSqdfFx02MWFLVhtJCcFmMZfjvyyddi8KdPRSPw0UOkA3LJ2yfu7r+AhxkoWHkQtQZhxb
m2ycgqMMSnE/ZGX+PW/DYFoxZi5eyBrkGFT3VfMY4wbaaZ00bm2wqwc1l8t+2OW7Slg1gp0ewXgy
ognCk5qEG1zwukFBFbIsOTZF9qVPS0rOh8cKbuvvuzYHfJqkluDRM633Xewk67Bdtf0/LaQEHchR
2kW4RRxv30L5EIeKEJ1V7pdfIjTUd6wizq1kLnEgVoRC3FdyG+rGeF1lxr0fWnI9aDDgchf2aKLU
BBlI9t/BTphH1DKfKrPjFDVMPW5QwtpgLtRPNGpmVhTakp8tmWEwzVM5oXNddS6oBnwaJYKgQIIT
NIbxDuBTCVrSAOEUTUDXxNy9GWJFR1vLTXVgxYyhvHRoUCbt0DVRuW9r4Ahu3Kh1rPfZpzL1OT85
QbYGUpKTJVDFt0oOPg++4NmKMfk0whWY07j7Gj/VzsJwvQffVj6MbtH+mBrgzChF0SR3hn8T0Jbc
uokx4QPQYJx1mvYV+ZFO4t68zZr8NRUy7mxOtLnq4Fxl5jbCzXfjJc6wpUbkUaEKdG67Pst3DnOF
29KFfpUWsKym2NtL337WocNASZJbX/fBg2lFG77mFmyJy0bdTQ3LoiicPbjMaE/kYrhVdLCGNAo2
MQLjPSySAayQUW4NrxsOCA3Qbs7H7qjterwP5fg9s4P4GEb0mpj8s6+lSX8ozbIm8k1qz07Wf8+m
2D0SiRgVjBw9IKMe/N3ATL+kcevuqQG1TdvEIPsiEZwcF5dkirIV5WsbjoAq1FkkUbdCAHAdxhrM
2b4V+Q7nVfOYlmZ3B8CR0x7TqCdbJCXq01oMhDUDBltc/pDUE+iVQaXuKxED2GqxzdsRyX2yB+NT
DW7ys5UJB9jAKUiXqWrwOGvYQF6CqFS7lE38TD6dvjUVMtdFqTAr0sFq04U7F6thYOTwCOlRlW3J
bbj8aBgsjKVHo/9rFMfyhtOfvc1q1G5t52ZI9Cg1rsYe2kxfH5rCzz+bXneTdMLGbeDgC1aZt6T/
aVG1KPSEUO5Xie75WyXH5qEAVoolTKnrUNXOvoqTYdkAAFrERlkj2pRpfLjsRvAtQrxq5UTPRMvM
B8rZ4kaMMSkl0tH2RZIna3xh8hgiJlmO9J6+9nmZnzPiE3a+0rpVOKD56zIBfDnsi5Xd+c0Wb4oN
hc6FOmSmtXtTZu5dB2TwOnPL4apCAL4KtUHfeDzJeJJ9fAOFDMQL9iJAB/oIUaxNUaKvGjgGSyn1
AFm1zVlmDLVgJZAkLo2iks91GSI7Q7qmEV8IJt9Fm2kV8IhQby6xJT+J2jZYSr0vqZ/Ed81g21/6
Nvjk1b5YO5lMtz4I4XOCjG9ZVCBwLqtiwGv2yDa0oW3LhYVZu8InlC55Gb9MLM7HUmctrevus1kF
aPCGLO9eK6fGqTcXOFEDXgNvaAf3o+nML3gR60emIs2jnPs5P1uHQ5nwEOpS4hce8+BLXLH6aRHy
S74nzeHOdraixI88eRRs41j51x6+6a1F2fVYJmm2djGdIJsAwFO3en2OepCGo2z8k5Y2/g65HVQq
laUHDZ2OgU1MAxzlSPSMSFKmcY1eMyJIyCmfnUj3jl5hBRwSbZaXMFLD2m7GO7KRSILUreIFqwAL
YTPQBmXEH7eAbiwGcKZil6mrqHwJSuSfi8vJ7HL3ktGyoLJjAY2m9NUrwxztOdGPW1AYwOmpN28g
RyevwDnUJ1PV/bfUH/KbQQudk5Xm2j3+z3Ff94baVENt7nS77ndCTtgQvKZeT2FabGBIgTIlIRtY
a1TA66rKpRUlzaPtjLTekomJyhRwLrwsZeNgNI/4VUB3wLI0roK0ZmQZ4Sov20Ht2XKMJytlVXfN
/MEI9ZtpYJedMjIfF4XWqIURwspoc1Dnmpj26VjmWxhO8XXtACQM/ZFPG0dRPEkN8/iAch0dDHZt
YIENNJ7B/ZQ2svheNB69f7vAjANmQ3/JrfAu6xFhaT0KGITtB8c3/SsrTuSmSibnpjEdcyeFoa4c
mLxLo8MRMeO087Bo7kcDJIhbOWptIO1EoJSeLauPDl3bqFtnrjbd1uaXu3TUSJwRxZKK0N7iCO77
tLtHHcfhZXLXFKXTd6ji0003JvnPFkc0F0dRqEmsK5G9DPmptkln0lAwfa1f4nuCUeGjC7K0QL/m
yJ2g0nRrgPs57Iky8tnbtOATuNhrS1MRZDq/P+g9Xoa0z/WHlDnt1mnK8TWj7kP6lfj2Kpqgji4m
p6kfscgzem7dErGRJ75JfaifZV5oSKsiPC+mJ4wl+GxaAXU07g1Xkp5e2SkG4YoevlfGN1WI7m4C
mQC/Oz6KoTVRosVEANGa3Zadju0l7b/nBLveCHTg+5gW+NosORMktgzvjVi3IKy0M1W+8zZYLlH5
aENzMOwmPyXZSEtBeuVMO+WtxwWjP3ImTE4wt8hdCkbRfQYRWQPapDVzKfdgKIa3pRmn3yfPZJw/
R8Zmdewj97KsVa6kt3BiRoCi53IWRoRhQ46lfbJrnZOQRF7fuP34lIyatp+KrJ5l+tWREL1wy9Qr
39l6JpemXjpY/bmR0KsoNVeGWXPE5AV/9lpwzkxpEPpcdsgymgjHkiXRLGaGrE0asG/qNuItn1q0
YGY+wcE3ix779/wuGxRtfpmbd+18WM9cwCZQT9ecYdFDxQl3qnUcWnIRE0KT18xx70eztw4tOJUt
ZZB41DW4rjFqXR475dDODG3UH13k3GZ+PlfFs3qg9y3rs54MGl8/DpzbwRC8M26iGy8FZQWHiKpi
7y7xAkfAimpWHkh5/J2+Lxk4znUkmJ7iBQMa/wh0TMQbYDntXVTzdye8AAffHutPfu3zBLoOIBI4
u3LPiTHYh5GwXl1ou8fKjYmVcFBL75Ai1wesOAZK5qkuv0pZ8nEJsyBaPBNGciQ2D37haCcnD61N
aU4D+CMxZbv8MlIyNBu4fQfuDYttZ43yLPHToXcrYekcIw+lexjGw12fhafYM8tp2XWz8ydUdndP
Q7v+prda96mhM38N0B6MlVVSTTj6MNm7iwgAIqzxjRQe7ZNO1YtLpDTrW7Mtyu95ZTD5AqWZwM8v
GNeChWnxw9VNCDrPCLHaGBtckRPsvnJ4YeUBItNZigYapD9wWA5pc1Whf8aE5pvQNoL+MEzGY+0U
8g6XzHmM1KOdWO7jaA7OjnW0wyXXc/FC16i6Mt6ynFmMxyzPoNBYj1akrXjWMYpQr/iII1MCwovc
wBENyGVh2sWd8vR4R594XJc1lJtEs9RLYBf9tYgduQnMrt+YtmcdpjzYy0hlFBEhUD47+IJ+g8ot
AG54GnHILg1cXvjCEPPEzVhuZQBeNiEIy8Z5bVavg1PM9DvfmjDCZFr1FbtTiWEoabxjRpZTtmoG
U37j2fPcHaDENrrJg9ipllY+Dld2Cpshswp1xOJa/Mjcwuo32hgGxDu4MnpORn3eAei0YEUfzOqT
0wW1dk1yQwcCODLS8toGmfAZfIe9KkSNNHIYxm1SJ87Sw4S/wAh9Sh1zP/Zpuzecfjj2FqBYI0rK
m8jTv5chXHpsxmFym2QOmzf7QPyFFdEcQcwMbrq0QhaztdUq43oEVe8u+sK1v9QdtTxEwjqo93GW
yafEJ2iIXIl2OHV17bZnICBB6eIQSsp4S6iz/iSwz/Hfcwa6jDZKKrgAU7glLSBbJyWHC8Bo3hKP
smQ6kXACmHQzU8vLsOtn/ZBYZe0syDvzTkVotqfLXOzSEyo1GBBM2vJdaXGONcaBKjr1NN5vI+14
dYw059W5/LFIF+G4gquZ73Q/4gxkBgIh0qX2KOalNko5pVz+aO1RbyXzjM2nO+esXHiFG1mBng8s
szkTiOesYFyJI5sm0w6r4cCQhuVLGFX9K+t5jxmRoxzbMJ/ozadmPy0oCpzcfdYBlRCFY4GfWBLA
W7zgUCAo0B1C6wfYKsVqNK9lSTYfCDK/jQ6mlauDZbXxKoHTFuECC/OnZj7w+mmPbIeZN6Pr0GGt
k6PgnA45h7ZuC7uYtXmWhjSxZNkZCqspeKkKt8Hr0sQodJ3hFqJIfdKk3TyaCn++5fq8hoFn/LyM
vKj5D2p+cVklJXetn2epuIihVuOTcvYAv3Bv44s8YlPMPYxpGbIZoQWzwIJvHvgATwKnLDe1Ow1X
Yxr8aDsHj085jDu2g3NfAqDrRJXt0sD1rlgd7Ee/J4wvCFs2Kb7ignLXv9JiL9lrnRvBB6O20pzE
v6/z1LjhnSXlzXW7AT1pI+7ypm0e+dm5f1SbRBkMgb9uYuipUKvT21R607Q0J1PfF4G26VsFiLGp
oV1nGv/HT75cOiGiVxzGa1yGhh57K3fiFOGI2P/mas50MzqlQPLr68HXLMRWvKjh2dC4nW+O7cyP
WFZ3Z6RC5mHQTPj2I+ahnz8sNupHMQhGU3ZsXaXs6JxOkm5FD0rdxUUK3pSfdop0nRNMrHvJOpOc
7fu6Sb/aFN735F7k67BPn7Uk4LiK8Q1OYSTStRSR9ZDqsdhx/oPaOOk0P2KCGnJkkUeiQHBqUiHc
a2HDZss6yPPheyGAl5hTQ9rTc708wVFMU8+HDgYGijSbxWWj+LmjmuAqlyWTvl05dywCIFg7hg0j
oJD8MdDCr7Yp1SkqIZ2xA8px5RgcyXFgtdd9DaBRMLO5bceqeoXK4NzVQRmbLA3cMFm6GgJsBDjL
pEc9AIIJMUYv4+Loj7ABNGsKxsUUgR2H2aTjz6sbghXmaUmRlsNXAZCZvpZOmTi2XrLBowtSjYDO
Kxkk+s7R7GTdO0N8mqoIMbyuhZ8vDRo/ATW8INwSXNZU2uPTT6GGbWHD97rEfKSN9SyTmTAd4wz6
rNUxMMjGZHh/kTQkvpN9SwbPO18e99InGiKntsCxMb/dcRK7S7oh5m0zJA/xLG/SrZxcS0OUwAEQ
ibCK+HRLyl5jNTJDmnClpWHP1UwSCX4uR8IApmJjsF7yPjb2om/CKV8kKE2suW+81SOjmhknBARC
86EDklW3oRwp4JXWV+SwJAkqtoljd4r3vwHAXfmYFAevpNjRoa1uGlLeedI9I/0MfrojJsEMTpfV
TTK9vTKUug+r0Dl2NSXf5tIlvByR6HSUIQSYRJw9s1CP1VxOXo537Ec0CxHvcChlTn8LoQsiEruk
d00GjXPbM/l8nC4LcaXzpTMvOERNDtgyGFBVtEwf9xJy/gG8Y3EcDLCfcGD4W7DMSzjnX1VleWsz
LPWzrlfBBohb/KLCsdqFg1wT3KOONMe0OxIhObzMnb7CRPrRiAy2Js9aetOronpJZIUzDWkRxJF2
uLt0tl04kgcr7TnUYC/oSyV3DYi9U3bRY8ytrUtDErlP/pxIIpys2ofS1I/asio8f63lc4uo7vL6
LoZGekyY4992bkd8zdB2x5bp9NaBZugsClt9MQ07OejzxoebuD0GLt6CSY8wbXeRTlsEM7BeDXKj
TDAECxg2HpgiKugh1UmGgWh5lTZjgETNdF/tCVtBjLa0y+yWnBGdPNYxPwpzEgBWGpKiXN2jKhLO
RqvRT9mR4qFTJVV554wFHD6pgqMKmVjJoeYRaXzAYbWMWfibJgnXikVqXNEhIzghdpP2m4AII/ft
CE6fHSfqX1vFKCe+yJwu+zwZLOxR9jQ3AuxS51mz7ITfYdYH5m7oLXNX2bORzL8limTY0j2yaV4Q
HXF5llAPi03uSpoGMNX24MeqbUYPdtdmhXPllKrYlYTd7NyyXxeZp18LvQseurj4gm8xuKagoShT
UXwNb/kKvIvxtS5k85jMc1+nsCXmRQhXQGaDG8HpAND2MD7Ehjs8QFCPj65LYWCBt96qiIijtOuM
TS6do82h+trNNeMbz1P40iHjO1ye+L83//8gbkCmaDsOJiJTIYd/N3KCYOfkkIZRo9pN8kDz/Jsz
hYAYe6z7nVDZvsp1Z9unMKrDoHvuug6VrKE55jJ0M+/7T8VgiS5km1i9d/771f0+xWY45Oj4AeYR
Nq61t5OJdoDclRTxdCKECtsq0/z4MtaUMjAw4edxdGihPRHGUJSe+0H85B9kDSi7dElBYzmoP8x3
0zEvUZnV2yUBx36INx4jafFyWZHpUhFaF8bljR7oT32WRJwimsI8m0UefI/1JGfCnIabv9+M98NB
zGvM9Ok72QBJf1dFhRWRdq2nOafCph4Dps7cQp+PjLpNVzCWLN5//8A/3AAb856FvB0vo27Y74Ql
lNtdVKS+dho19q6EnmK8GELd/SaMUT+NRS7vtHymjviOewODe6Y4cnGLvmyqvRVa7tPfL+jyML6d
VHFBTA0d1L94RYx3ShwjlNQEzQQDAQDHre0F7ms10d/VSTvYNHX9I+k6d+ubDnSIaSC1qvdvx8Yp
friyJx3EUHoLgbGAx67p0XqoK++gZwEVbxg6j5IX/qrt2/CD+dofZOokUwvdFiYzffu3qa7ewR9o
HMM84daO11NdNFdaGdA3ikH5lL33GZ1lc/azCNg9UK1u7WWZdm1HXrJscyTBc4DZBEAa/p0P/PRc
6U111fvQfS77hYPh9/bvN1rMN/LtjeaS0YDpLhNp172kOv4yEsxlnOE7D9TJju2EmJ3a3HSBjLch
loYNDWV1aHqqa8cf1csA8XMT+/0LQYuciv/pKRFuNI7BR6/k7wNrrosdQ2Citbi6d68kJpUCQEYl
T31QR09kk3vbSIbtY21DWwMVbNymQ7SKKgLRcs9y9zZjHqLyEArciHay9s5cCJko1FaeadWvLd6N
FXF42fqD+/e7ns/ROXlaXCPiVPu9VH0W8/U+fNVT/L+pO7PltpVlTT8RVmAebkEAnEVqtnzDkGUb
8zzj6c8H7d1ryTyi2GdHR0f3tS0WUKjKysr8h/cOz3sNLBzj4iUkzbd5MrSY8CRbKxVM4zCKHWj1
VFrnft7XT/Lfg4bJRM17hSWoGOfQLHIuDh2Rhud7Q1dEbOinhYYMiA8/vTnNHaOvx/sEugnrA8Ap
oCioQuYZ9ApNKihKXSIflPwUiRQS32jHZMu8iFTAQKa27bEWWqMa3tGEISn4evRPTjNTpI3O6pBF
CwT12WkWotcyJRlbbThJ2Ko0OhXtUTdvWiuhiN10GzoM8c5M1RD1btBAsVaWt1pgwVfMUuFtyIsH
E/mbW8gq12bmky8hwVzgIyjAe3BS+fMsq/Ig18S+1g9hAkrvHZD0jmuhYVy8IB1eP349F598CWKO
AahjPi+Ad/w53kjiC/E61g64P0YrDV9GzvMwv0+TnDZOqqAZUGFZlwCO32gwxe2vh39HmJ2FEIK0
JpJaiBZo8bNPIVQS5OXC1A6xoLVrEPH+KjOT7K2cLXekSHOkcYYs0uJ96iYz28uj+VBbGHNHca+v
fGwer/C0PlscPBBFVl0ClCbpZ19Aga1YKIWuH6jZ6Y9VlPuAhpTI9wr4JhQydOO3qtJPCCo2yGkU
Vm0ZN0spCDLcdmBxuxIOjz960e/fhmmGO3w9Y598MGaJqQbESdA4P9wKBJwEXzHMgyrFc827Umlh
tWn/Fs1N2liKh7f3ZPk9Xg3DRGvi6wf4BIzC4Qr6WJMA/1IOPQOCNEOuWmHQagezi8a72p8N9KIY
tYwx3uZa02xTH90/Cf+gVTgMyTLWKdteWTefnPEmOAsiiCqrmP2eU2hAWOf6RFA/Wlq7AcKa0Y8b
miUy+LRDhWn6Zg490qQVZR+akergyeFtrMftVskDjNGSKkbkUq5fWx+lI+SNQnw3pPagC5RTytPU
wwpGo+DKU39yLpGRzdgStgsYmrOlhWYeN0lMFY71HOOoWBm3rSwDqSr0+VYyt/1a7X8d0/+nFTj+
91jK/1/pdHBRuExQPr5Wr2+/ks9lOvjLf5OUJfkv+MeARUVENyRoHH+TlCXpL8B3GutQNDTgeMrf
JGXJ+At3B841VibwNXmGx/+bpCxpf8FdJlM2VPhyGoHvf0RS/nNFCbKkGqrOnewsbAvgS/P4NAvV
VdFNFKcL+YTdYiPexLnqTIOx7hThGzbKN4MGM6JCyMKSfSekMyudMCjqleItg+opFMrqwxwe/xW5
P8p4aMzHh5zwnyc6O9IHrZFzfP7qTVSIG1MofbT7Cp/jO822ZtB6bY5U+alKXUGBIG1qXIawMgMr
NKFfFclPpdmAy1En4DLSq2qUc+0WiUejluH8p0bqISj9QAZseEmDMuIwEXIwyruTUde+k1Sy81Mq
bpI2fFGVCa3+/GFKoxte6Gmc0DOQh6pfZUntr9JK0FxK4I0blTxgq06/NPNEZRzJvMk/inn+EIjJ
Awq6N0YaG3ZQB4Pda9E3pcfaoxSkt76imdAO+jJDPJ4CNBL0WLvZbaMfpqm+Em6VPzOCfyb07GSU
mkIHATV0GytKBLtDG6KVeGc/MEPXwiEE205HByHdhiiHnordWEQveWascx9PeHBbDhezZa718hIZ
2BXK5b8qlOHT7ntrSGBlcPOJNMEx48RHs6NP1xTHYowyxmhhReDEqpHSIX2e1olpbS+mcgQOruoP
hpRJdmd0tyiYrr9eO/KfuLu/X/X8RNGHRuwAPqEAeuqPSYL+XRbd6pWCBZ++arqMnEQF+BloJ+OZ
jJzKqtG/gILAOQGleVtrylWvR15Y+PdRnyw1S35r0UxbwtcDLeIn35Scph6LPbsNRv/Y4vR1JbKf
Acv/efR5O3y4AlHYQOpfwD2oOvmrceqRj94A/XMsc3Cg8SxF9XRnVlx8ZmVwC40mXXzSY2ROIUzG
iC4XRk2hOWb5SiWWgT2L1k4taWehXm8Z+R0GAPdfz/IZQfafR51jyYdHDbICSJcRVJsWXRSE5J3M
x8YLTd6xw6EdcMxbpbF8zPwhUaL7qaL8egp8tGHQzKryYgcADDh5ZWy+fp5LH31e9x8eR0dwkvMd
0TV0TPFnjwH3srOusV7kORL+k2D+87bzsB9+HuF9rNHFig7/WOzKpNzVDccr6MfG0ToZOwgjoyJH
sxnRK2kJZs5H4z+kKCmn9z4yy2iRBIeT38yEXNoTSQw2LkCpLAlfxCS+l+R6lUfGr6/n4kI4P0/q
jDiuKFPnFFMBoWDAbtERiQF54vq0wM7+Skg5y+D+mRNOrI9zohH/wjRsy42U92tZz/F1w/F59Jed
bNoU2B0Dwx7MUWEnjlfSVvnPu+4/Y56dVKfMr7MhyQBiWdO9OprbKDbp7NEMsete/x2H2cmpxkF4
BHG7CMdoFemaN8g4MAtVg2p7OPtVdlpjJ774LSpn66iq+2HlPbHMxP6QpDy99qyXPsPZGaZrVLBO
o1lsmr57KbAgBDQFoqRU22mGnsl2WCZL3bce0SLHfncaFqaaPldyIOHGrBULjhd3RKoNHwwYIP5N
I/UONodOr2owvPRtP4RvZSjf9SNaT+QcIj1zwa1T8Qqf+2I0OjszJrMuITQp5WYKa8R88E2qMzT2
FP1BnORnrW+cUsbnFOmbzq8cek1ei6xdqwmHwqr3Y4Kjn6LfCkNtT3J7B8ppm9bGG4F2BbwbAwe/
FK8ETmVec5/sz/dy2Mf9mQn0sk4A9JDuVBEIl4HsNkVvQ0fubqx+0nFTncUoBsSquh5XYigtd7le
iAdN8vVZvg7Zym72H/Nxjk7R1dMwLrKzU4qlXFzXq0Q+PQp99ATQ6nHE+xXWNL6PcbJs6/BVrCU4
oUpIfXoQc0cyRtQgcCnVNfVBydorL3l2y/178b9rzHx4SUBcjZmrUrGRowAfkpD2+WmT6kgU4dWc
Z+1NXH3jc221SaGv31BmBD2fZMKVDf9OTv9sks9CfmY2VSuzMjdxnoiLZBoph6ckPbpUo6FOSgGw
DOH/LJUW+P/+iBX1rRCAj4StkXNcKdUS2D4wwNF3EtQzwMX8HNIBP0lNQu4bQN5CTaUWoacKUa9g
KFOnmJrboojV1eCj9a87SlFtkZPfqhhzYdIY9E6GBLxrmaXlZa28A+QXLy3BX+Fc9TrRMSA1A01b
pjGG0GCVHIjsj5OZrJVaQWG1qmEalOLdDAqi1lh912aGYKmdjtoYIOKUCzcdDOU4MZ4DJX6hc4Us
dIIesK+sCtrvQ4+jGp4tL1/H7bPr6D8f+OwQo+TZmzpd5Y04kNDWfvlQd2rpFB02Sq0i4hAVyNjZ
VqDlEG/FMbvPZFcnKDqcxLFnkoosQEW8WgGqziH2xl4AgxbP9mZT9QPqQgOJ8NfPql7I0N8LHx8W
Y5c3ftkpbYeAZ3BTdXuju8F9+IizybauEF1XW3xre0N2BkNyK/ICk2u1beFwbJEw1H6yHFLglgFK
wll1iIeXyU/2hoDnQ4GNmlmuigFX71C3azTjqklZJqrPu542JwsaXaw7VYkdSv79ZFqrlBotQm/V
Xawb21xBXbtLF+NJgsxwm+g7Yq8tgJLvfg6ygXEoKL4gcb+eh4vf7OwWDi88Qb0PZrAmWOqyaUP6
4RkolEaqwrVkYr90MkNaNYDTcNQ2F6xM0REma9lK2vQaCpW/UqMJC5g0S9xaLA1HKU0MEWUEbBSs
tFf1SFPhysPOx+RnO/jsyBZGeC8AK5pNlMYafXdQ0+tQj8b9KQtO5MrmwU/KHldJNqCotNBF8gh6
sZXv6JX5d3UWprUdaEF4NMOoRaLXFBb4xVR7q8twds7yZpGBz1iwZyNXr6/kM/ql6D6/zoe1Ng4+
OrSaRYdQwz8PKRFQCw0wk7gOJY8u5eQqQdG4lRL1zqhiTt+luMOD8gIMjcZNNIV3RgnMqh1XmoRB
A6DtBjOoKHCHFmg83hiaHULXWoACb9wkMRLauTIAPTnS6WanIm6DGMPUUvjSWv6xyVN/IfuyusqE
OF7BlZEBY2GnngT8AzrNHO0ijmoFtjk2evjg90j65qzxVGPYGsT1Clzxi1kFx7CXlpjUp3t2ES1f
/8YUMjc6GVNoG7PXla+I2ULRcfg9jTGgn27O6sVsWKJj+dzEDUm1kaMia/KZZHSjYSeYivcfrpaz
BEYqY73l8lpsTkLDfBVcJuq6p/rWp6cBhDmaJL5fxgsjb39hXYDTj1BMC2moC9dCI9jNlVpDjV56
lmptE0/KbRcpO2UKUL8sFe2ApO5ORUBwhCN+5Yi6dCt5z1U/rJS8LzJ1Rtts4th8DrrmezPwDaiB
+06O2graIs+ybDyncnAYkrpZJjlefqEuZPaUwVMuZcQ9Uul1jMK7ryfx0hOJZ/VNhZALniijkgEd
/SCNkUj46eTm/oRHeSDo/ZMGscCRwZ65+FBJThjBvEhKYUMtNjCWBBitsCdqRnv8PsJl1Z78K/vq
naz/STg4L3vSVzOauhGLDYLv4PMVEI6aUs/K+7rmkkQN6xj/NENAA83n2jxZjWjP7SfXSKVuMSSD
egha8DlCD7arlUToISzEKyfMpfuFeJZugBcOzaKVuk2GmKg8SUv0mR1RMPeGiW4PW90EYq1p5gKG
+e1/+LXOTmBUOERJTsZ+cwqlZROjYg1PY+7UbsHjocEnLmvLcmA0QUjGBDk6Pdb1aSmHNPzQkNYd
mqZHM2iuNLjO1AP/TghE7c/Ax0fX+lKShg2AGSx94eUgtD3aeTwcTzMeHosv0FBx9isVjG1GlFCC
/F7l1g9mcAK93+BvPUr+Wx6qYLWr6FU3hSsdjvfb5GeL578ffCJIpKHdtAGqq9Rw/O+4lQS/JdCa
mwqY0ApvTgnJW8ULw24LUvGY1PV3Uct3+DjMFhyKuOrMrvCoGIQbssv+tvH10FGk5E7rFISpoxfD
4EKXiaOblc3h62986cSeJY8/niYnNE+o/Jnof5fdo9ZYplsDBxwaAeRSlb5IcfO9h1m6UDHDVdXm
1SA+236Bg4bWBjepLuzr0M9JcAzFQ2sdvB6u5tDLwl9+Rlb79VOeNfL/+fRnZ55eCFMg9LQjUOqG
OCdGe6lEITcUs58KRAaSU/8AzzkAEFnuTDXfSTnHnQHJxlZTHo8I+wBS96UtT89GRXLW9o4A+Xz5
/nz/19oB/w8qcssKkeZypf/hNexf/5Dwfv+Dfxf4ZfkvUUQz05BMesHE638K/BpS2+jaqQr/H4gP
g/xbhVTW/4K2NCuSieBeTMCjfxf4ZfEvPDwsfVZ7AkVKg+p/VOCfT+zzvUqJ3zg7hDpfMgVxEKVd
sZMOw848piv5GMu2vm0ehSvpwhyWPxvjrHap+pWIURFubvoteL8nG+j/lXvRpyfB/PjzkB9OdQN7
YEGY+GllZ9yddt1zvss98Yf/W70SzKT3zf/Z058F/r7HIGiSa3FXBV18bLDycQ0/qtyorSq3MZCz
o/ZSDZukxyxGrut1O4anVV+Lg5fIbQBDFTpi2g64ioBaxnUQN5NSqw0Hy8LQkWsFvH2aaquxBJmp
wWZ3iHyJBxLOdHtVrp0Jvq/b9nA/fCsSl5bI5XaWk3VhcAJCrOrSaYMgWEqVbj7DodY8uTH9Nwnp
19/YmenIVmskpGWL1y1qWyS1KUbQIxXJMcrQSDaTgvu3ke6BrokLkvkGfTQ4qYWroVi7iJI2oFeO
RHXcCeVaFzXcX4YUrbFEfGtMDQZTFLTRvRyWGhdNy7z3MWVadi0HS1P2zU8xb2v3FEEiTSNu8sBo
8m9lZCrcBqtiKSNe5GqxGYP/SAQnN9J8Wcfyazz0whI7cTizYCf3XaBnD2M1QkP3Qxzx4CztYmhR
Ni0qBX/e2mIItIyaNDXfjBjrX02lFJF2sy0euoLrWDSyZaho5VYOTvADT/1Iu/3ko4GIG06uVIWb
nCRlHSnlSyqF3T6aiwSZlJbLDzHh+K8V87Fz9dm1eF6qZyd2q+ZG244sVXUfrnRHBJG+lB2ctb7+
+U8Pr/n3z05dYzT8cpy3QgWqLLX1fdS6w3GuwgjtBs3y6C7ItqhQw+2bFap9B2NqxIgw+Jm6u6+f
4Qyq96+jaX6GswMU067uRCkB30ZpJ/CexraaVkFJIac2HRIRXb/tsVK11qjGXXnvS9N6dhpap0wL
ciFRdqjg93StuGw1YxwtqnauP3EBW56wInPhZ9Tu12/5afVzfsuz24+FoZZmCda0M0taZH790Bsp
QDrLCUokxNXQzVLrJssV0RbBUsWG8aJBVXCDCl+YCg/VKV1CWLN76TmQsBiesdhopyEhn7/0QrEl
olyZmzmIfxa6zsq0BtB3bBLraZdAFE+7GYNuq46RkrfWW+1nK6+uzMiFU+Rcs0OHi4tztz/tom5Z
VQ9db4MzkKfW/mb0do2XDB2d2HTzYGtscAwJZ7iZXT4awrFpV1V6X8THr5/kwmo4112qIRgK0yiM
O3WZmw6JTabs9OKHJeX0Mtdfj/GuOvvJtOpnh44EnkeSknjcKXbjxNtD5wm7cYHz0U2879aaV9vh
Ars4J1/0ruhSjrRFb1jclA42Sreldw+leT2699XCvNlgPmG322sn7Rm46O8NqJ8dVibuYm1U82iS
uRRF14KYpu9TLMf62sl/Ux2c9EXWbyIbpicZ+I+vZ0S69P3PYhs9paybtGja+eECMYeytuvBcnPK
eFp9kz9mNvqgOiZyV4ab9/ZnH+As1NUt1P26RcbCXPorPObtwUZkn2iqbHzv2lxeCqjvNacPuUXn
a0mAm+e0m00Q2qdsXe3qBRfZ1eneesxW3cb0EPByg/3JFdZXbUrmL/XZu53HM00Bt6c30040uVdr
r2F0iBQXK++enCCAjh4tDO0BcwklBJUlxk4LsbqDs3RldVvzN/vsAc6iG2IreXbqsPNBj2TRtMkT
kM4bRHs8sBQ2ysWLCNSHta3y77VvwS9MbKh7XqIZmKPCzo78xA35LhrOulHzmlQwtBsYDwhpxNkL
pX4HVS2PmueuGL9zDVmQ+jogW7yg6jylayCyrs12LUS7Or8z8WhDYrJMtlwWgR9vhOKpFu/aiC2k
3IbaczS2OKs9wQ+he3Ar84S51LtxiPGt7N9J40HB8kPQ8YoL37A1xOF6fZq+teYyieUtRi9HYHeb
sYm2gXDyeqOB1r5sJtMxQbIowdFXm/VQ9w5u6J4Urv1632T6auAuN/R3pDv9sO/1dlGcxLWWh3wo
dVxo+r0+SM+N1X4fuL7SfaQI2aC33gdvgdTukWG+UtP6tOfJQaSdbTsMc5OmnQi75jLcaiiE7JOt
tIq3bbjIjtKqcadX803cDY9UBPf9vbyrrwT8S3FGO9uBYcvNPA0Y2ReO8oS+CrT70K7WsPf0pxwf
ADqUU7qZZ2qEl6B8H+Tbrzf/pwCg+aXPcgzJ4F7epNW0G5IW8xPYZqLqAqiFARr0Swz/jlOkrS2I
1Wr3lBW9Y81mW7DyNBOZhAe/Lr/V1t00AFevvwcxZiAhXmjGAw7xaBqdPFEqPZyC4SSNdt0uS9FN
6NkXFQuSXsWgdsuCymZbiTbd29nK0MOhdU/MpY5Hk18oFhLEISO+mfyddNr4FXof8Us17ET9cGrd
QrkP+sRO89WI/7UetLtWJmGV7QJ7m6+n6NLXOccdi6YwmF1DDGlrWlxStxwkJ0CTuKdUV6d7KX1p
4hUzBZ1/M/vTGhA48tkML72CkL8QQ7Q5IfkQOvFHC+mgscfxpF+kg5P1O0USrryefCFEvq+MD7+O
YYYFTbfERb4qxe9DFEyzrjSc1y472VFldZ7RnTQvl+jaVtEgb4xAkTaJFFu8ba/Qr55wGU1YtCZd
YA+kmrGqMfzGip4OUuFD+y8LIV3AaIu9ydJbt2+k+k5WTNySAQg1byiM4Mv09de69DZn2cSUCvBB
feaKhGXsViaHZjBhJ3lNXe/TOvO8Yc5ygsFM2kyt2DDjpr+xPAQPXWEBdY/4ILm/hZ+hF2yyxdcv
c0bZ+DsBOdfaHNFfVvs6GXeBTx/r9B1xSVdMb7l7nTDY7e8yS7M7/GItW622eXSolP9wGs+OLTpt
EjpuZD5ltswKOH+tnQuHariWS79DHj85F7WzZBq6U574mTnucCz+Lrrmy1u97p21ZOtPXroxtpEH
M9ceXHOV2UfRrhay84YQydJw2h/xD07tn19P8Tta7ZMHeRcD/7D89a5oYDUaOD1Le7V/G3NPylel
bYTf06f6toNwuDS26J7bpl0tBTh8XvgQ7fGwrKhD0GFEl/N3+tL5KzSlgk17pSL9adWXZfbeDv7w
WAA9fGT2ohGHXx83q++x+dRgbjWhHvcb3NGi94eFVb4pMH+XIAWm1sF7UKYZdsL9+YS+iqPVmylw
R2MfYpOsXUsW5+/z2XSd7a/SF5WojfhuELPChfDaep2bOvKzTtZ25YvMp95nQ5ztMARgpwkJehb9
rnabXX9X78sliUe2jZxsZe31b+UxWmUurou2vEyfNEfBeEq6cuc5M5T7e8+duypQQBSzhF7wbkye
rWDZYBGbxxgIqYBOuAIvp0zgTHKUQAf77QTFW7KKTk/T4OD/oq7Nk12Xt2r4AlXBqeiq/zDRhxp3
7ZVcYbZt+nR2znIFDSJ7OpjaiDCX6GrCvjk0WnMzjduqRr7lEYfVXHEV2uFB58GJwfSgcrXRDoql
GN4oCNMEuJR5Q/aU5RBHNrXuIMBmJ5m4Tro9/cM+pfjdHOvsJqhApOIg/fVnvbTj1bNMIzMQb4OJ
ibyiNzimGy0IXY5mAxa28a11Oqe29YVgn5zGThf+OrH1te4s43W4mBbFhruB3SySK9Wjix9Z/vNI
7eiUjomUkfaE4Fb1YWmYL+m0htQciujfiYtWualylGb7yC1SzR6rXYklYNTIyKdO6KU0nh99n9B2
CsZsBUQP7RewTDo3io7m1G0PDVnshOpKOP60gziHg7N4HAtGbvTVvO3IPRak/BLXZN+ZfpQ3kQNC
CkdCSooZtr6PfgRB3aGX9fV3u1QUPtetbYQTNsmtQFH4cHosnPZVWo0vucxgkfv1EGcKnn9vOeU8
wamMXrZihqDL5t+ET4pX3hVOvcmW2C471Xry0tfkKG11u3kS9voxX4aPNMafrA0u1jf+glzM8/dc
mdb5/b+dUC+K5s9Nic82mjIXRT5EYIBIwK1hlmDds9LLJVjI/ISygUfNGEfexs5Jc91R+C0fRU+L
F7Mmoe/gz6AtVYA4+6jzrO63KB/72EFKNLRuzcEGuFkUHu6xuYT3h90EK4DQZmpPL1/P5KfdLNbJ
+8t8eGglpYDXaTx0u8A88VAuJY8LnNs++u4zp+gShrwnetKm3ia/vh7y0sX+HQn/YUijEgYIXQyJ
/3tiD7t8C+TI69aKU+9D1eaejWXWwtj46xEPPxQh0x9fjzyvjk/OiffV9GHgTiiSCRFbGiEbbUdF
xBncaDXtjStZ96WF/x6BP/w+XgW5mMMc2IFeEypHX1h3xZOSOpIb7a+JQ1/K8N6Blh8GaTJrtJBT
Bzp+LwDe49J0oy8ov+Aw9k10EFI5xodrZ8elwtJ7aP4wWFiegq6b38hC1eNhuDdW3bPwS6estY8F
6mdff5dLKbJyFqwCIc5whmcY/yl/7e+mdf972Bkr/V58yx+EZe1NT+39tfV36UBUzjLJoA0nXSoY
TV4KXEP3U21rb0m7bQJ38lewLxb9EXzhGuMta3KQ9ZpW3V0HBJIery0/Ses4eVFyh6qGeDxxo/Ow
l+8BCPXHlk1+FWVxoZZ6zpZI25MoKOpJ2vWbEdRXLns1Ztu+/61vXQWj0lx5a7tjqCHepm+TFp6N
cmzXGOyg0HjNXfbSajs32kCffahDmbkKuqVooX54K3N63WsKAsQadeVDuBvKrSG6dN4X8ZV9+n41
+mSjvh/CH5ZdAXDPRDVH3onWDdp2aKuC8Sj5LqM94DgbcsLuQTthsiATKw9YyAv5sdftkmz2Se7v
ITzQXTHQxHlqC0++HQAhgvoqXaP0ekFw6tgLU0+NXmbuM9jTCInQ40Qhz1oN9WqY+QO2P7cPfrUn
HAoIh4CBFCdtj35D7+zg3+Wli+hFdZVfculjn6WwePoKejowz50Tu+nG8mQ3XyZe4WWOuURV29Ht
4G5cN1vVKXcQGvbNUtxqx3H5PXGLx6+34adYbc6Cd97Oh2kH4Dp0AOXknQa0tbD7b6OwrlJvXLa/
5WKhSC51N3fQ7PLeBCz68kppxTxUj2Q40QJoXfcU4fGLeLrILR435J1qLGpz4ccPXz/fpbrK+9Xn
w/OFNOSNEFnTucyNV21qOH31VNvCfli1kyuvYVA0W4oRumrrVzKNM1n0vzON9ybUhzGhrQWAfRhz
aJcBArftInW72osMR5vvnAUSlqgH3k/mYwyI2taGZ8rhxaL/Bc1BXvXrXCEPvM2hGbcL/Sa7Via+
lBy/82E+PNfcTzNikefS6GbkdrB8kjyCl9s5IF44DwKPnpj9S6LlUTuFC4JmWbqN8zi4xVJa1OvA
vv/6q7ynN59t1rPgnRZJKbZz8M5Tp10BNtQX00ZOHSxxrMAx1xD+EWBdnJ7q5/hGXUVLig8YG4Ld
FA++q4xoknnRN2nrIxN3P7r6PZppv083unAsomelRgD5yoXiU9DWvL7PAr+fDEgvz6dZcPpRmN5U
7ylYhYvakdGpVjZK4CSbRrgPQDSjvYjjsoDZsPP1NF2KpOdECFEpEB6fEy1Qmm56E2/yxVq7dWUn
ce+vMuzm28gn3+KciDAlcRWr82qtWAzdrnXb5bQq3Hgp0glDVW5f3YRH9Rs47X2w1Jfm4poszaW9
eW47lCqdZJ5MRsaU20H5fmV4YIEXCh7P+iF2sk2ALfTXU3mpAfyeRnxY+4jtmhFOLdIuvGnW6kZz
kodih3UNVTVhkT5kNoK8NvnjEavzh2IhbC3nGrfqQgr5/vofhpZ7sQUpNL/mreQ8oFV3gEp2fYVe
KJa8L56PP+9Xelf1/LzixSvR/WUsO9daCriGfz11l66F7wyWDwP0stgm9bxAGq+055OlXuqO+RAu
ULt2pAXkRUfwfgbXoueF4uo7UOHDcP6pHs1KZTgw6Et983A3LTK6hXeYkHOHl7wD5N6Dv0BE2Emd
2n3C33xhXhn8wnXsPaf9MHZkyeZkVYwd26qLIKjduNcS1k9Ju0SS9xvAh99uxjoy9fk7NR5i9epy
8kzqjaDR3Wqduuld4mAt79UuiKKV4kk2cCVO8iNKeK+YxnsnQp+2H7b0pakVOeKVr/t+/f1k+59D
mlUlnJroX1mE6GbesGufOrvbSDbdvnW4guzoqkuka2O3foLdaw+/893p0HrpbnCb5Yqy31p2kN32
0J51+1Ww9r1roelS8D2HNBdlGOXjfHhLh2nXu/pSXRSHciE5gy2va8df9GuMH47FPrrCkrt0qziH
KcfCIGDHzIiFP9miccAxdLKPymkZ1MCRHL9+lUgvoUotYhecpnN1k11I5mZb84+FAAC3CfJXprSb
3oRv0wONLapA1U+yhdcOOMKhSB28H8e1ct+v1R/l85W9fWlY7c9hJUssmmp+38pJ78bfk1MQ+oN5
1UkLMGrssIgCqO9U1yZ4/uHPlpv654BR2lDxQ75jN3FX+3VS7tsSayybBXartQ5pB+0Gu6kcNXCs
hysveWnMs6Kg3CV1lKA0tBtvrQN5agpD82eHBbrdyhTZbOV7RaofG3ejvg/DK0XsS4POx+2H7d4L
SnUaag3s2PBd0p6scFaRGu0rrzQnSp9N41kCBRQ8BgfMNGqSnULj3Pt3hRfv1XvxG1YB0tPXw1xa
HWfJzzD0Va4nOvnHmBhc5PAjKAPxW9GIMNBNH1EmBMeKIboy3IUuoWadl+gMTB1EzJN25ZPR2uFN
e3N6Qgz6EHPuOO1Dtap30yZcV3b4G0D6Cu6kR8vKaR4DbjZfv/KFCIB/55/fTQmjaRJaFkv/W3NO
e6pNyrfoCOF6wunMLn4rm+Kuuglu9bv/cMD5LPqwUKxBS3Ssi7ih3FhvGGK3PUx6W1fsHgLHL/lZ
vg9bJ4gW+k8f9zjpShHvQkIEKvnPYYPMSKbQZAUduvv8rpnnuH5MDrCS19Nva+PfZ0v8GORt7sYQ
kqmSlofiMV99/dKfbw78yv8cvDnhQYTNJaBDMUB69y4on9pau7I5LhQLZ5j1HzNa9laJEhHLSF/K
m2YduvkCdNN8x6DoH7y+voqryUXbj+OquHKMvheq//uG1M4dZ5NMxyZj4I2Yy10Q7VRAlCc7pc7s
b+Vj+r1UbTLLRX8Qn4HwbxpzkRVP4Vq7w9cTh3gQNxPN7JCHDPfDb+Upqe1iY/4oNKd/1hu+Q3Cb
Xlnilyb/LDLlSJkMo8GjAkBx44fwylnyeZqLftufsy60rWW1NT+ra99OhZcY34fmzn8RIYvGC2lc
fr1yLrRSNessJvkGMmv9e+R7C+/kG2mteLJmR+sIlKybPSiyrT9oezSwbP9Rd1ASmMvowU051yGa
fe4J9Feja22LeY9+8tXPVQ4nSwjUsmaljS4AYdZXsIBL7WnLk607v5RFfQjc0Cuv7JoL4CFUDM+m
eAzR2y8YzrBDN+R6NnmBpwPO151jYSuLzqX86OgbxAndbO9fWdsXip+oGv05bDLWqmCMfNl2M1fQ
ZOTGV+jdxDdBZ4db667btktpK7/ID8I+PAqOelu91dvge3FLbsidWIfY5Ynfmk26rw6De9qq14jL
l+b/LIipECebLGw4BptviUm6DuwH35gFyuR0xoIrAUW/NMxZuELQV/MjUZJ2KNSuxSDuFjje72sh
dGPj7YSlmhGZe3FYayDXG6GE85nZZkO1IH+puvtGFlwZiKU513/blRiyWAEQN/EPI8UhFNMPM2kW
qA2GjdNEjwXlEMxvbwXATEps4vPzQxW9FLkPxD/t04BlUzlqHmSyVWR6lvqCfnyfmeuTKL8mNGGT
DhLAKvKfLMPWAfECPRzG71X0UEmbExIzGSzVAMPEqe0wB5E3sYQEZvIcl4c48LFY4aqhV46gdnSb
tPBaHWXOtT7bKWcxGQsmUWr7mlQeYyS8sB3hhw+f9r7ZzKoTb+IJMzA3f/46SFy4smrmf3H2HcuR
Kl23T0QE3kzxUJRVqaTShJDUaiDxnuTp/1Udd9DNJ8SNM+8WRZK5c5tlFhkf1DM5FjLcSGuZj6kx
YW1jAeaiU8xKs9aaCsjeu+0e/j4M5owQaoZ2NBqTGXAWhLd//g2PLfjdCy+iLNs1igT/IRyaBuJV
Ke4EG9qubgfLq58fsDKGg/zyv8cScvZ51lIsaWMPJrVSlyAD7Nzhg7FE75NcHg27zOF3zBWwqY1n
rtwdS01GEQr8DRwfkNU61GoP047bkafIh3GZL9udA64I3RXOzw9bC3dLolMWQ2W/UkBNgInUVaKh
J0TTlc6JPVLJ1Mijs04OUGxwOLUyZgqLnRDq2MIvCv0PoYOqwwjZGIxcuuZNBDg0kTG6BX3l51+3
MroFr/ff5Zf5TspAUMZIUvVmzZP433xhJIUlphZUydlyBt5B0kFzhSg/6Buiz88unF+qWIeQcAOf
CFT2OYSeggRzOCkVsBf9coxh+wAqKmy/ebMGIApeYVbMBMB6kA7yZe85lh2Tnbp6/fk1vhXYUqDS
ubhT8kKEhg0V0PJAjrQX7oorPA1HOCgwppC/yWWgoHcNtacAvzqUrP4JyGLOhh/G/BwCNQ9AIrRA
N87tIxh8c2aW1LC66Ejaw185UOl7o157bSv8rOQmyuKeSGDhTKawQmFBjZDzGzTWueI2SF6rPUtJ
aeWN9fNyPlbtuzdY3BQ5QTe1m/AGbQKqDmyBRoGxiLLraOZk8b6dfv/8nG/lYx6fbRFP546RSVji
bGCkeyzfoaH0HJ0VK3tXX+fb8JZufJFvtbIez1lEUgDJ2zqXsHKi0x6aIPNiIzNVczYgk2XJgNOg
Mhp0GLftqufMxXjzZSvtWGkPS8oigg4ARoAMjkc3JwG6DsBKoz8VvSmXwp18/lN4Vzs9FLdh/Gvf
bhFPIfEBl+jHq44Gc0Sla83m5MZ2hm4TtSsnMe+KERmTtTWWX3veIpPV4PA5wtQDjVuMYzT92ul1
sEUtW8EVSEt6DywKIBfK4o9DYsOkB9gR68SdwFzZGk4o3+/0JW0nLgcOdC1swCx7E8Zf0rn2RtaM
h432yVrw/5OL/VUWJ2LZwVUPJ2mwSx/GmsfchyCUSWyM2XfDrrNKczyqLjhavoj59Q6WFD8frT8z
/W/O8JKQIw3t2BEBERFf5TWzB1YHTn8OnVTSOcmdK5fh4BioZy7D6BL6VVB6gQTVHWqyUW/BvQ8B
2qw7oIpoZrKKoZjJUTj9/NvWuhNLPwNlhDBlOGLVa2DWbdlA2vcL+njMBey1nXbmzWE/OLnZdBu5
/1omtZQ8rpsKPpqw2QzK2xykb7D9hC+crexnJ3zC2FbzMPSSD52T3POtvOax/79b/0XIoag34A+C
R9ZWeE7dx9eG+JgP3sZ/DGryIrLUKT+lUO7B3vXQeIRSgZf7wgsmwmYagCDsVi41IR/nQ1odPQLW
Ua6bLe21l1sEGSVRxhEiwqhYBEsrr6UDdSWkCdVuIn68izcK05WL9H/YBCkNGa1GcyeFrS+tBPgV
uT/vwLVGx5InQGaG7x72mUGZmeQezUZ6ETijOYbCPacQNNFJafZwIJgNqUMj9ykSLxp3RqWiPA/j
lXfDXZEd+iNYlr1gkDPXObNoRb/brzhBTmcmoY1RuE/QsnEl2EE0Tz//7rWAuGQgiFEYUfqItrWF
TpceObCa84D3ddTLf3zCI1L+FbFyIlRVrRWPptZnmJuiUMENtNaL0oTKB8hvQKjdNqnJawdzSRGA
slOWquWI7wAeqzW8KkeUcpfOK+zUm8/xLXzqDgCTVu/lxrlcua6WzCVovKVUZsmj1wGVSAhQWhKQ
eF+bfdDHCfjm2C/5SSIzzBzFrQLJAWyplxgTr2rPmghq+q+NL7RyZy15SCRMxEJkENkHzqxw1InV
Qpgrg1ov6uYKnUIt4J/UGi0EH7ezLZ4amgL/4zYbx3Lt+Yu4AyVbka25CKNNFAa/syforWXGsDVa
eSSz3y3gIrRwEUvjqmbYYD5Ox/B98MbSyE7y83iJ/HHUOWdKdXB4yWzIHz8v6EpaveRXhDLMJ9UU
Txx6Q0NnCKmgX3ow3yxPWxyFlYJzyZwgEEeIGRgsAaU/fWS7WNR//ukri7WkPqhUavKwwd8Nx1nv
hlYfmEP88LzfujjXHrCIBhWrVVo1qdCggBrpobiq5wjdm0A7Q+Ur4HzGKaz8yFzDLTzkSsgXH7/j
r+jT9vA7panGBplUmu0EL94aFo5WJx+SGNIJ5gycGgfO5wEa1tK16M8/r+PKll4SGTh+HhLpsY5A
HzzjwOzrzfp/BUkKY4F/X4lRJT6fQixhdKA3cipvAsaTAjXm9/S4VcavxdElYyBrNFhJFBkAPp5o
gd++U16hlOXzFRRw0T4WIV65q4+4P9VIR8Ps51VbiaXiIhBAjGTuWRar1nmYu5TPnJO5/Yey9efX
PsoiEtBwIBM7Ir9RNLTYWMkAX0f86JWNX79WfP7JDf7ea8zQTnJKHwNVCtff3oB7N0TuAJrR5/kS
2nVm95zZbypnreztJXS/lOa6TqHEEihw4fmQ9iMI+ESPvPgc5sDSogsaAMD838YjS0g+7Qpox7a4
hx7lH4DEG4nTyjdZgubhZ9w2HAP3t1lu9Y7eGOh6SzdJgivoBpb8D/T5mwtgCZIv8wEOX6mC68Wv
AOWTwHFL/O5anJQdMPq+dC7M6tgC1lLqlQFrUUO2EzMG1gWI9pu6ay24aXpbUJq1Ye4SOY8pkzpq
5DE1AKSlsFmfd1I0JsNrtesDjGQMNLbszo8Psju6vcuYyP9MEfgy6f7zIVuJwEtofQIXbqgso4Js
6EkG2SbBpJFaDM7Ez39/5RAvUfXVSNqkZkq0YHQhYA4QSdGZU3j5+Y+v6LL8j3dcXw4dLhD89Tl7
SwKo0E2ho7wN9S3kTbiMZoCnwM5ra6y21mxZwumhbs00GjOhJALPZ7bUMyGV3nDe/BDYNBOkl/AU
ZcGhMrJbvDWpXQskS1g908lsCpd2JOXjx7vQ2CNvD/AY9whskSGQ4PbNS/iG8v7nNV3hO0pLZHrH
KPCmV/CSJJgBw5o0vbwoNmSIzGY32pNeXTEURWdLPk2/o/v0nhxbqNLc2q3qfSVfWmLUp2hSSARZ
qGCy2Vt/6w+RLxwwqjQlqwyIj47rpwysbXFhzew/ZoV/judfsVqGxKGsPPooD6yvtCt9xU7P1S7B
iLIzmDu7686dE260P9dQBUs4OK/UmloNCJ6cfRts5PL77lo75JLspY8pCL0yiN3SA44esx8nMsjh
/wOqu1JaL6HeWjsKM5wfHtm96nIDeuceXOqVTJ9LI6ZWDvmkmv63TP7P+/+1qlxY8BqXIduKBWNK
rOEpzO6TduNfft6pK5fFEqld1X2oQJ31kZ2aGJNRDaoeF3Du6NbgdC06/2m7/fUC0JiCQloj4UOZ
4vPs8c8s5HWd8CS8PLJTdJCAIIV9sAHwNc6FTx4fy3krUDpsKaCvXOpLZDUjyfVAulIMeJHA17eI
9mU7bFyFa12KPzOzv18vlIgoSXg9tYx1UnnFleVt1ESiJ2hmp9mD+hzWJ7mG96Y5AwJcWfVFpUZR
v5T1TZ2hVZK/qsSbFL8Pa4wmYTQz6MXsD+h3oJqSguEhMuxNzqjpEePymCEq+a5q7Icsdj1s7LKV
G2YJzS4hC4/6B3nWDM3WZ6G7UGiTJLYAfRSyERPXkuw/efFfKwVpylHgkoQL2Ft8FdwOTbAJZbGe
7ZEXGD9v57Uk+08786+HlK3cK23fIcnu4WsFKXkufuYxrpfcXDMm+lvUUiMdYwsDjTt8KC5w6NVT
5tTyoDVLJRwItq5VaeVkLcHYfaFKcfdo/bHpTqJgVLL2UF7r/lLToxzyOhNPhvIiHnmQohICqTWn
obNdHuTKEQBgiCGDBeX5InsI1UCMmII/wbrkmItfFclsSPURgr8JJtBkQ4s0L1mYBAUz89JrOhGd
BLLEfWdqeK3MiERL5r9YkBq4hECKfk8U9M3GBErhfpHsm3oy+wiq+UAPgPWgdgErvv38PVbuoSVk
PGtnTaoqTI5Zo3mS/S+o8vqDQ5yf//rKwf5z2f/1salIIbYVNojD0ifb3cNo41Cv5HNLYDiUBKM6
j/Dp5vyIRnwZu1pJ9WhTomrl/liCv6FQy0sFzISDkXhSaObPgy/4nIWMfUJi9/ParGU8SxR4P2WE
UQY0CQcbmid6qlce5+YesUMb3TrtlG0cuZW+yRLWLZdizzViisUSgJfP7koDWd/e+/kt1qaCS2C2
VkYti12EDYTy78hBNRIqdUijcrfxgEraoX1uYcc3bnEDbtnvbo2TXjdRVythcQnS5tWmiyGnjdan
nuUGsjjxBiOxIAGP/zGY0IzEma3YAqxYuysbxcTa5GUJ0IZTdIzYgV2deYMdOq0zBOSa7HJLNSVH
tSHFo37SQPmP+4RdDJIpZdFVKXBER386qn4KUX9dPDGXTOcM9kU70Y06Y+WwLk1F46YcSK5i04sZ
ZIgBmSLS9edNshb02cUcZ4IaufCwyw24vt+nQotOagz8S3hUBKiJSZMltIpRhs8TK1v1jBFyKJgS
A8pk3qJE7QL4WVri8Hvj1zye+k1xzPL/NpNCaK5KM0E91Zmj1V76fb7/6rCYvKm6wz7eSLfXtuai
85LGdVXCOxI1Jwc/d34w2qm0hnrewUjVbMTcK9pp4xCuVYjsI479FWdHkeUf4/kHfUr0wd/zgfvR
A8YpwRaRNh6yAg+Bk/O/D+FLntOUB8Ku8HirdR4Piax0z99FE4hDBzTYZgcWpRM9ZQ55Vk6MF2s6
RUmhbfyClcENHD3//QVAAAHo8HhNYDZAkamNBIADcNaNrZj8eJX/3Rniw5Hx73WkKhnYhkN3KYX/
C8TBWbdNzdbmwIDsoIe+cSuukPnEJeC6maGYq0xYScZt9fDPJwOPxAezBtoj1EyPW7iptfdZhI6Z
mTNNgMR+0LUWcBvwG0BvIjk15y2Yzvc5lLjEV0thmEepggfIfqsjOz5P+y1g+NqfXsSMbkh7iZT4
04LyLIi3IbSFFCogxyre6Fd/f0BFbREGakHpFWbCAyjn9JcQmioaEFk1qNmGHG7cvSvIPLh5/ruj
prkgDOorLH5uQVivL9/jzFDRI/WFQk/pgUOB0UJuKNKjArTj+jevmVBDTjTIQtk/x7uVXoe4xEnz
kiDMI4ffkGISKxpdfoQPO2CPCvTuUn1kb6pZMrcyGU0yOX33qlJXhrBIvlftAeN21D7VHjY7rPnr
5x+0Eq7EJVaahkmUVyN+0Pw0mMyuPPBWcnY4R5J08Ck2GhBrS7+ESDexzCTsiJKpoy9S6TV0x5aQ
mIae4Cy/1SqF0r+bxCXqO5Ngfhnzfqm6lNkp05V9Lx7evltYyRUagriETTOFokS8hh4BjDZhLNnY
yT0pKKwbZXeQ7EQY90TYJ8KZEl1GUkFuUPfLOY/tUErscxbSAjs4+WzsyZWDpT6S6r8uC3gix1pY
48cwtDD6DnQnHjLnCgjVkOKMN0A732foorqIPKhW80GJEeIqxZ1njLukSx2j17NxFTz+zDeBWn3k
MH+/w5xC7rvCOxQ92EhcrTNQx42lrQna9xmCuAQNF/XAdNrjogEH06mCWR92wmEwQLi0AHNB++Pn
g7ASntVFBGI0IEdzFY8Z7P4dytL6g57ABlsDrZXcXFzCgoEdHWArh7/PQ5DrFD1RIzumvmwqr/n7
8MK/KlBggLxTtOeMTDOgeZGaEZQ5toZDa3tgkZUkXJUV/fB4PcBC0smDLLsWw/yNbIxnVgL4/4CC
icCMcfJ4PZCD6wPSAQMuGd3GMVlJWmFl/u8ea+eIkTtYzwdqiuCgj7fCVp8g/W6pMOA2Z78zlCtF
C1M6Z+7P+2GF5Qry47+P7Od4LstHvczDBQeBwYX/H6Nn0I2BvSVmNLzbEFOO0DBNT8wjWNKNJ69g
7MQlLJYvOjYpeTx5+gTfLmtMDmAuTIutyBGPmc0Y5AbdELyptk+vKbj5SL2srTRlhckjKotooSWR
RlMwyzGuit5KfM3ZFo0QAfIpcuE8e08duu/3AJeaIO8UF+Y8NzpUsPdkJ9ul2xtA/MVfG9/gcTN/
E1qWcNoohvkKLyByjQbMb+1hN59bWzAqp/W3lKRWv/Mj7vwVvhpOTNVYAnYvP2ivxYDVNIYAR/EW
mrUBueQgtCVLtCEPJAH9tHFcVmLmEkTLF3PLkmkWAjXhfzMdQHsqhdRwVXz+vHIrx30prE/R8Y9L
GQunHWOQMdtgC+q4lsAoi0CSjtCBJSIKtiLg39EEx8l46T4FG/2yKhhO9T55xha1Eqc8lQHfuHAo
zXzpzgd0Y+nWMpYlhlapoRL8BxDcQLznHWrBsK0A+6BldLjKGNOXqsfRVkN+pb8A5/Z/dwdt5zpu
JExOBoBodQLbRKDuf7EnBYar/ow+1yeUstuX0R99ebMv+331D1+Efx86KQwb0seWhDHtrQaNA+no
J5w5zdDrLHaX2pu02sdX++aALUG1QyVwcz0B8dBfGOg16Ioz4WYt9jXC3EbtvfYyi3jSq3Tg5qTD
LFbNe1flx9lo07rZuLbX6tAlElatZUiIcNiP0TuE5xgLnmmSHhnP3BZqYy0cL9Xr4fZC476v2UB5
ii4Yv5Lr+Fu8AcoDm4IkAfUaXELuRP1iP5pZplOz2G965jyyj+++zyIrSUXy//BQM4oAv7Fn5Zg7
mlVAiCC1FWI1Zr1xrFYixh9D2r/CYMtNJIPrI4BKaIbPbKtT+aD2nM4UWzJoKxnWEv2qEKWJKP8Y
nYc2RLsbxqQx9G3heBgzhdFAJ4hsVJNrm2KJhqUwE5o7BeFPGZ+mxAyb914RDQUC+H10Z16Z6TXZ
0jZ9BIJvvtD/AFhDTYJrKgCsBVzVwDStvC7/1Wv2pNhTm5n/KZz/GZv89XHEnFMlNqyFIORi7l0m
VW5kE4EsSTPGvV7l2qYl2so2WOJXh5gPI67q5yA2yAg8bkrgcPKahSYMZbXchPS3KUDZqaz1svDE
2RyGe9HEMA3Wf37Ttet4iWdVVLXNFDLMwRD6Y7nrKavDZ7QqLBZEQYj+hg0okk7tJ5OXhx79RNjv
o688C6qc3dg+f5RVv/umi4om7JRcgy4/5GqbK3iCOlcRc5zvrGLFQkAmaw6h06jOh746wMiO1iGS
BtHgytc8scO6NIasfh6nwhBZMDfrwqiociGZK0CZWZsiq+lrKxdqIw9ddDog3gqHZMmRITbM5Tu+
qqycvI+YRBU8lEJZi0+urfKL9vbGCq994kXCk7BCApc7rDCzC33+d3EFusJXDGpnh8blzuW1SPUn
8rzxtJVTLy0iWKKNBVcM8P7ojchloeA0Wpj72tFDxwcal/E7er2Q+Iaqtb5xWFYE1URp0ecpuVDl
YEAFmWSwv/lr26KTVBRHPoLAU/bcyuBoRCdRgsbPfC2I5MQy2OlFamVJEcjKfKzrK2RJYFSAIwBB
YhnG5gLQCrGekwn+wseempVY6gNXwBFh0pXYEvsD7eSNI/AnSn23/RYplqqk3awIIzyAwg5yExin
zKI9S25KFHQiriqoL22Lc4kWTc9Th49/pcyhKptfEAfXo+xzTt/7knNo9KVmLwWHhpY3iozeiG5H
Xhhy7KEODs1o7SlMnRRd/QRKFhIZdzlOuQxt7xbIqTAza+5FxiCHlYqjWDpVxegMexbiL6icGFUM
qbWY0fPidWqy/cA4mWa1MMqg+HNQxNGEYq9oqqE0lgwK71hujEhXBnXwC/43NWISBQ7tEsSQWfQC
OJO5cG5homF7q70YgDVmY6i5EtWXOGQiU7mvJZEGKpDosEZN9Ag2GFEJaja9asP958OxQlYVxUWi
l2BDZaMEXezBHPfwTdHs9HfjALwpubyDu7fVMR+cOdXoHRIorwNnwdFKUnTYSo+Vzgcpmpf2hXlY
H8HvODb6Fs1M6GgMhw6KIerGhlxLgpcg5p7jRHhD4EAhIKfFB6TYd+JxttiHFFH6qhhdByI8SCYG
R8ytQmOF7yUuIcxSKHdsNBEWLeEKQPn2LM4YLoDrJx+Tl0o1o+o4c9ex+uxbmz3XoUFVfVJfRW7S
26584cFNBPXrsw9nU8DUik3sYdxTasSZmaPpJ+1JLG9U7GslyRISTXjwoRkBKSLX+nU02xrBmkAo
DTILnNVGdw2sfSClmztbb7VE1nboIorPVVdNKYtHQhrsktmRJ7vtaas8XavylkhoQos2LR74/gHM
BAfVN3+QKqywN3yIV7TJIYIPTcUd3UlX7Vz8Hi5NZswnDtLjTrnbmnKtdY2XyudUFrQyax+H/Sz7
5A6vIQcWrR5npv6wy475Hp0PBrKY+S8RP+XnMynxf7b1N/H3f3DUqghYR8fDhCAnV5HVzix9rZj0
oxj6cynInQJUSMzpXApU0QyNAq5/FbhLIkU+THfNpi32ZR2ZPKJgcaYhbNztsjkP5ROR4KNXpEaN
sQOsE3UBrk/RBJthSI8mOf0Vh73fRfTQSLmrlpjOkwruPwSCvTxkmtMWCVCDYlMLjbyGDWXS7Oaw
QxdmtKIsskZoXmaxJYTgyLLdheE0qjeaDPmR0tZ4zqwn0YR/gK7yXpEHWV/vR+2pBktSYD1g2qyu
UGNw3o5caHWTajD8O648swtHu1fL9z7xWGkwOLyupN4JEQHJgecEq4f9R17CBSbL7lSrjEL5HbWa
q06tkc58beK6STu7ml7Y3GY69NRLtSFGFkEWIR0Snaen+GH9K3DVIcpj6PrRETinZKzsuUutrp98
JEtq48Euyxcl+S2Msh18O18GkplaWjxL8QRzd/Eea5kxtflHPI3Hboo9TnP6CkqgXcG6XafpYArw
LQmqpIGQkohTSHlSQEFJTIpeb0sJgUuQrWKGnwMkrvh7mjo575PoV9n2pggFIFYV9ZioiL6Frgzg
uIoDqBx9xXbnepTfWlU4aI1GnEbp5Rzm3TL5HHK+/ujLOocsSw2HiEKbsIJQ04KpEzMVZgR3RY+J
4OiR162iYxWpPjQK/uXAyxYVBziFI3iBIW8VGlShmeY1lpvoVSqLF5K/dVk3BFIqOdwkmeWQqm4m
0jcOdtVuKUjtaxxDml4Ti99zWTvz2EI42SLwRI+PY//cyMc4bg0GVhowh+6gkzy48BJARq8U8Slu
jDTULCFyUs4goU+LHBYROSwWVa3HhMZrYhi2ntOagqP1KxR1eLoL4OHGOxJ5OXG7yp+aY4tUOE5D
Q+grM4Tc06RDMy+GCXpnQq0VWzdGHJbNnHEmeAt0SSD2AUuNXjxDkDoTXRSiEIBTmcswBXELSIvs
SI2BBrZiwclXMML0xs57eGzkI1CSDWs2nB4ydJex9T6EaEiOOQqk0E7qHF80GDZSMDnK6jCmTxX2
rfJKWViM1XDxfJLUPiibr7z+mnDmxAamIvx7NWGTCMOl7WJHTcUXjOtArVJQkjCTmYgEcD82hn51
b6BKN2Kcca66FuJpDq/lyJeeUrBHiI0cs4bbN3xj1XD58mgXvfScakcy+onzJeUOORhh0/g2p+UO
r0FHzCYZCPe0t7CejUHrdpSNoDWh+aMQal5X8E8CFS/wtBWuaji2bg4rXCY2GWHKdhJBUwKHt8oL
GDYVELLC1hAxwGqg9UT0qmQNMXsR6ticKLlCfXuk+OYxrGlrxS7rwzDPtaEqrKcIVj7k1pTCaKWx
82l+GWowu2H1NmgMclF9ig79PaMyFjU/DiM8dBnoScUDWuUJpDRgDcNEGGR1FoOtImWJjfIMbEsY
6YzXiSN2o8xmKQlGqbT4SGztcbVZ8Bb7IElB9aUMCqaIIMy9ZxRzQFeFhai2Bdco8/F3RLhCTkEB
h/iO1xySSJpds23pCjHUOzS5uteVeKp4GgZ59DSOx77+6kijw3m4o05aX1V8dTlBt6gzAdjH6cjl
0lB61miFncy4ifowRO8PM7TJ1aQOmDjzcjT7IzbNjSbRriHMhc0Bt6HAyE98B6N1jUl9LPDo1Nke
nSctsvpObwIFke3IonWtnIYO8s6g/MTZmR10JnsDvVjVnuC4wg4fshZKOgO4xlumOSx14TwCmi6R
jS4zuA/8z3r2SGdUMCRRdW40OEAZMRAQ9AFK7nJyGOFfVAbsrEf5peROCTSvCqtDARPVtsrtuvDM
zL/jHNy24pPLoXsBzxAFKuxpHz0PTewyJPPkOHvuSA2l9bTknTb3Yww66jZ31CFWbAH0NUmDA/Ak
Oy3uq17g4XmRGm3fTEYKGVrIckq40iREwYeU4y4SrojkCYWdEoVk0ZuEUUIk7TTUV2IxQrtBqQxJ
cmN27oyirPCEqOv2daEkH9xTk9iTZIUZSHKywT/Gs8Bb5o6gKA5YVBC4nRSDkxMdm8eKWtFgSiBQ
EhB4otMo8easwDBehZWism9hUKRGCKKzl//OZoiigC9xqeB4kELc2+vk1OhKeNSRYryLbX+cOqil
Q5AcrQ9qFVkAK7mUh1wZnOwGq+f8SrCY2KoFzIyhatPhuapmxGPSQU4Gq/aepIcWSt0pyqIR5MV9
MXtCilpS/BJYUPRFk5YHwj7nM6OX6AR0viJbXIsRS/MM6ShHaoNINKMYhLq6P0vloRqsFpJdIhoB
MEbNYYvVPc3nAQAf0l3AYSzCBs55hQWVblWx+gQmI+IzpYhHxWTL4Gy3fG90dIJhtdmzbyr5pcD/
oUMZYydfvYogAQpqiTgFwAtAsxCI57xSEwyetznO0pprEz1LpS88QoUuD/uy2GEaFeUHmVoNdH/R
oRb1UjGqCnHuzkxP+XwtUbSIvTmEHg8yWO8UnavB+RM9vtc52mH+KOJwzPE73LdsldcCTa73yPLg
2zuik69wndXXOeIQoZeKSl6EL1pF7FFEFZpVSRcQ2B0VTYNxFMZzhljPljZPPoFqhxWxLa4Ymh5l
FX0jLraILL+rb3FjJcWMTUsMQebdqM12kKLyh8fio6OrjqndwyG0nqH0XtoDAn2Fb4HOTTdNPgQv
DK7uzYIeMkzph1o5NZ2hdX4WdyY/1Q7th8KomzqQ0AeQ4aQtCvWx7gKeeQqFbNfy7zCQLmgIWns3
nISEOYFyYtQQCIXK5LVX0FNifJmB/WkNiclp5HRxMohK9uNUCwhPhQyPzrLZ9bxSGtpMkVlxLh+9
9gpaRr2oIKliWyR7SMpiXrFpPuUf84ALnyiCSXIb4GXoxGulI0ayTcUeKkyt2c+C3qP7j6Ylu1cq
nN/UwyWgiGBfl7MvUtXmC5SVvOzE9XicxlfMi/VabA0W2oFNPpo8PBhpKRqxFGiZBFx2QXfaXMOe
GFocuNgS+akaWxuMRPhHwk0WvQCNyWGfzMavRag4TPjOomWAbps+a76mnOFy6mgRD+PTx2YGESgs
RF09N40j5aFfaepvKkSCORDmlBdeWLHvHIF/VYJPLQ21w1cjVgyd+ecOY6fZUZ8AJJckVdeUHQDf
NbKQuXmjdHK0BvpIwy3X3nj21s03kSKts6rsPMMOgOtsCv8eSE2HXgzNSqQCBi+Ty8gLXwOIUQYL
Aw3ovvVApeXHOqn25aDxulAwnlxhxzKNqww2XzpsTj5FpbZirYOE7mOsWM4wj4c5a1PI1pjJRAft
fILPVLSri3wMRrmFmWDRxV5MJ3+AoY8OFuxlKLm93NHYFdjhXuIOd0Fa1JyyeedmYhVE+5omeKyW
xBjkG5GRvgOyjz57coK1O0w5ufwjJShMhhymgSOkUobabDPAt2jvI5v16pDZFRxx4yp0YDN6g3zf
ThQZh45IcYYi+S1oMEOJ4NEnwdReUd9YqiBJw7aT4cKOaAmURFkccDnvBKCL2yaYyVui3VkJoeKg
pFqspzjwxQBTT4j2p1aFJlMrtRZTI5QME/RpMO7etfMEe2dQsfRE6+Ng6lS3CYVjpTSBhKFbVOW7
edIg14VioAntLCJmyRVYvop1xa7EoHymwRTldjInhkRfWFF+qyaUaVyxyzkcKHRcifRF2nuMDKnL
K9ipgwlg1ZJkzX175JPOYAU75j9azHpVoXhiuEsF1ZFmfIYnapCL2WnqIjANVPwl2OkcejyBbyls
TDKKpE14aZvyTgXNLdv0VsTjjUd/ZuJPdR9MRfwFZxB4hsIxDt5iAw1xL2J+kzPQpdHD6hrBUZTD
Dnzq4GuFs5BaaXVAhC1Li293KYbQnE01J8+eNJQDyDUeZ1es/E7jXa6A5xtu/3rELoGD+FXpa69O
EHZryaQMkKHc+8heZWr2BMwhkfvis/5VGn9hE5qoxxA/jDDPrSYmZphOZlh/ygrsxoWvcrBmpQ4o
Erl2TAJOYHWm+5JVRufgSl08C+o5T8xcgQo3Wt0l9Bsm9FKF4i5I5KSFHCw9mNSjoJPUMkWMwwh1
LE1efp3jzP8/ks5juXEki6JfhAiYhNsSlqRoJMrWBiEL7z2+fg57Vj3RU9VVIoHM965drfqlTVEP
9GWoyk4pE2iNiabQXdM+mMyJ2ncWu5ytQ/5PmHxITooNI+OTG8Mm9UT6HGFLrd4TzbVIvpClB0sO
yy8Ixk53Ysp+qo9Ze9etPVPCtgR5D5KhHNKZbo8+OZi2r7fc1KwpR30Zr9tsnWKSJvAbyX3lStC9
w8BIS2DqZDgTMVBDTmYqM9Hws2w0J1F3ob1Ha5CRG9/hs07L2FOzs2g/DexL1pRRKMlqN/myccpB
bgnBpKdtyP3WPBj1mdOz44aZsgeNXDr5USVYcuH9aQbXkikioeNRWK5t/YvJouloxlb3Ohxk9Lm+
JAgT2nv+cKn65va6YOnrC2cAdKIFQNk3vFDtOdJ8PTpZNj1lDptOw8Q3SO5onget5Cw6FgNpt5t9
tpiCRd56CkFKAMJjl7tKPlJgxpHNlN2X8T5m49Ls3IvZFtSc11qGU3taK0DfwW3W+ERCXNAPbBTL
cJCGxLcVMjPTO5CQUi7UevHwG9HGmhar3041Z1y9S7tgioNOL0iCfOkE4TRBqXhmEfFDdMesiN06
05iNU9eQl8tcm3s9hm8X2o8ck+JUdiFX+1WahS8VfkTC4vIe4d/oqmK/yp5mHOryz+ToWSrWDk8B
Lo2yvYqycmfhd4bJ2Y/tP1PsJ8T19frZN1eB66PawS8NtM5xAhQ7pu988op1V/1SYbRra+O17Pdq
ch6kd9q9A2mmpMLCXU8KG5++Nbj031r2SSmYjKKjzVU71ZjUsqYGJ6v19OceDcm2bJrjY1LP84fe
ysuHiNoeqNIaxUGSal+blyCrBg98onWSJPcN2qGjgc1XxSud1X8W71pcdQSyz+JQdMthjtNAtelE
Mrbrpqg4pnJ/WKd9pXQ/m2GkJ0bgZ1uOqxCpiUPU0fOgNU9tOf/FMYubIIcgihIzGJLqqbHwT0WW
/SSvtrFbjITtZY1o/5Uea3V1euqo+blceR2/rGJKgjhS/iRL8eox+lnnp7w9b73T/NPabzjCEesH
O8/oaoVTfBskc2VT563jfYAzh2P9Jqn0VBDjRrabFdzJFouNTJyaFIOfZ0qU5rnKvFsrT1n8of6s
U/72O6E8i35XNE4i7vaEPW+sqL20OFiKr/exE3U+nUJADGv5Tj4lg2CF5Ncd5KMCYte0lMHvaQqz
7WtZEw35Z3wpF/GqfUirT7m3Eiijqxhu0/tFehuz06j3Dsyxfh24rPXYBazAyUoudpIEeX3u+LcF
P94C2rbri9OY7SuiNyenyoKWxEv7omWBQXk2ouLK9FpqhtiC44PEoFO/GKQxRU9Tq3pjuZvy79Tw
I1Tnyl6cNJSI9UZM4ZeZ5bsigvJ8bXGt9WGmHcuy2WdGQAk8Vtd5+EpGV033UfYrJZ/R9hwP31O+
7RvF74hxalxWvwqYMO4ICd7R5Nu3nt1canPjOEXOFoOB5QcGua2p/cz6tKfsXOhkChv8Ml4PnaKD
hp5hUTlLxqOR7/Ob1sRsoE9t5nGXrJmrVmRHZckJNXHQ9smDsB6Mi948kJhpkUCDbKZx7W9patmy
vdh8LUEmqks/7ZWNRvgcqp68rdZgDz922YExQcLvLtNzgKnSfintfaO/JwoGxGJ+MsS3SUBvBsBE
Sf3MYVa9i45OTMnwRPtQVm4i//Qqcb/Vl41+rvxrpqsO+6/hLa89EjIVHYDjpJYf4ExDcomafavf
qvzU6Q81SaFIwEuSQhE3yZLHpbd2e0XdMxBs9U8VeQW95UXpmoB2g0cc6k4Fq8qW4W5DJBE+mQw3
+eNKiqgmXMRL1QuOWX+UAFrobh5PjCMNLrNvZjy3bUKFLLO3st5ZX1wq/Wv9q7d+3D4Xxl6QP0rP
PQ0fA84OIo0HzZ4uUVk/0vy60xo+TIrq5Sc7Cij+TKwXfhazfqxuInmNlwtZw9L20mlMNknqZGl1
bgb2eJZqIymRMo2BIfPDbaforZI2LNOUt+h7Qcha3oDcHAu7CMwq440nW892leQqHQQZ0hXJ4Q9l
W78a3JIFQ5iasMwWr3p9jdddXT5GA4/8yWCdqQTfAJJAWRD/TF/p6sTWdc1v9rYx9p1g1qfuglxt
Z5oPa32ttJc2OusMtDUsWOFrkTupYVkcU3zWowZ4mPvgVlm1759qzkHCmXuVR5a95tZUvmn8G7dD
KYHxBu2/Pg9njL/mp0b3m8yliW1w+cfPZSbBLFNzpnxXIgTc3BX1QU990ksoD7RNf/zlLZNsbxAh
DOjMBLJdU/OlqX7H4tNo+0fwdlQIWv/QDI7I+e7e+btW2ceidbu2gzI0nxCL2nx9vS2HCVhEUz8u
5ceanjeiNeL3vop3pfaYRUHFPh7vTPtFLC6wm33OOnAwLdCqPeosx+SkmljEAIEKmgvNN6U9GsiO
8uQ4McpyjhhO1/O8P2Tc+6PBOq9wpmySCzTESNFVeyYgluWU95FWPZ6FaMFRvSOZHdTLxshm+xF3
Xfwp6u+5eO87R+ApIr3FvlR15RDRa4CVKMe+BkcxLogYpoq2vsDMruxOlcq1aRQ7U3u1GCsip94c
GUVs/9gSwlhyefzl+lWrr2XhGHEQaz+6Xbi68ZzHTpHtky4YRQjJwTU8mc5MnUPzQm5wVpD3JZ3W
6tbTQd6cx+ya9G96BYB77KXZm/AMZMW/xd5r8h8TXSvFjsGUojLHJMd8w8KWu9KCBsdpW1oxdhXP
PNOLzDyySzprP0fiNtQx/Ak/Hwkn9Jvpu/5nrkPelCZxsy6wsrDrGF6ee4rh+vg3Mo5GdNgQwSau
WQTTT5sxqhF9hE1f95LXhf7ixVX7C75hZsGeBU99tkHcHzTqoy1WFMAlmXc55QoMDFASKdu3ceEW
3Wtu0CJfQngcs5Gh0dxL/edmmY6RHkqCAvvakc2wQuJM04bKdRqY53zxhPq6/Wrpm0oVvcTy+xZh
k+dcNipHLvn2KUZ048o1ObHKE1ISSf/pgVufV2GBbe/Ke5kN52hBofDgSxgmaYmFEVh+FuENR9LI
VwUJEPDiMzeQGRH9poaq8Z0v79215mJJwpTAE8a06Nco3maUwEBZBUetcLQhctHoTAbjObAj+Mdu
7vcraknd/Ii1Uy+Imsn9OeFDWl7U+ciTULRghI6GHa917f4sD0g7AXtdVbylgA/mdVpcYpM09kjl
VYLvFiDJUmu40wIkhhjD3Jntbx2dZ2Kl7b34MMBzEsbmcLUuNYWR486wyB14naXaRfe429afOx74
gezXlB/k5XFBUsTq39TB2ntN5suzU0tu1Hv9sCe2Wk7/WdM+zyp3mWHC5PFRm6LdZlpBHJMz3z9W
C28Y66dOswEqvUvWPMWT1zVhOx+6l5YuYBLm/9g9I6SQ4i1GrWh50W1EUP5h/o25myhOLZNQH6r2
DpePNYfTYYA/GD2VO/pXyw7KbylI7ieFL46EN8b/rOF9UR7Fs0YMgTo99u/aGtT8jTRvWzegyqcq
VkJmEKo4Hbb4KP23abKjIdkiPEGvzD1XMrgM2wKfQ5DfITuO3kusfyopJ6U3lEfAelv9TWK36L/S
IgBppVncWl4U6dh3br6EkRyw8Bl/Ijed7iMTP834CchL1fYu+0dy/nDLK4uHrLlrGrQ6KEHei3O0
tPvOOMFj74r1QXDrSiMorN9o4IML1aSfIwkA1qP8V9dPrBKFEYq43rXLUa+5phf21r2Zf7fKj6Y/
3fF/EpQ42dTy+h+wdH/kxC57SJOQ6Bjb0esQfgAVlwwwlGxfRraXqTSUXwq+8pnfvGGQzm/gzTu4
VjO6yTd4k56SQ2MJ2uVFL24Zz1TSkMJNxuv8JPZDc260wFzdaPFBSxCEUQZAenWJupFdhreLYKCg
k/et4vO8mcu/kWshfhh0z4ycMQ6ipnJphq7n25YQeXC02xtQ8fw9xq1Tvwtx42uXe7cg4tsIps4H
qp6xPHxtxjGLqDUwwBJGp2WokVq+tfVVh55JX3vpd+sclQfHXOE9jvciAnHXsTl2XDpa49lK7Y7l
D2kPZuxl16170wT4isJNSPT+OyFrUh4yRTerN6GXkrj+g04gAaCor/uixdrWj4UeZHlYKI7N7EpF
jkUs1xBYFme0X7D6cgpRNy+VYT4GvJpG6YNwS7QYAicVvmy/Jp/rwKZewk2pzpSEunlWkPmpp6EN
bfV75l9u+8ncN/mukt6i5qX5rNToEGUvMCf3pcceEel35GP17/1JAOl3i+ZoxWNnHJWJy1zBtvxi
R29LgiikdvgSmNUUBu1NdzMoMU7insnZgCGfdvJ0D3tP3bxG280/7Y2JqnkWS3lcDJY24c88Wzk2
1J30bGB2KH+FpnzUCt7bAixvgcjAXdWpGjfHca3cwWhO5v+vdxobahqg1nl2Elqa6vpT0H+Ac8V4
NFv1XQKA2En6eOew69LpO1h7riEL5Fkvc1Ai2mri/rnT2kO/Jnu1qh1jbMKuif7krPlnT9aXpKZB
C7W8y43UEX1o5LlfzsIzLU81Ji6WXRX7gm32ipAJAenOUtw6+VGTLxU1gnqMrIAVnBbdTtsrzfEO
wyWubPxB2Zc/tqSFqUZaNZ69+tLexjb2xvVvnDQXBUrPxQXmHAr+y7LmKZs2BsvQJg65Z/6ke53i
b5ZfQbXoY/q3GAcV6mSxxo9KeCzjbe8Iaz7lLeHFw3RcB17iEkxMxV4DSK2m5/rJ7j9iXfazmTy0
NvdjM38EAvDz8V7fpT5N032xB6hdKNJuuvucLJOLzxW0dIsXtxyvzXYCU4u26UOxbqmWPdbRPuNX
67r0JKQboZxdzjVBQvw1SU7cm/PqbzYz1oP+F8+/M0rrGARgx4BPBIXpKuI4I13UaAaIaQ9wOGrv
Qy/M8HBHH1aA7+E6x2E1HVaQWMgqqAQtfrQr+At4nr2uHDcDyF31mpxTcDvUKzDRfttg407cwuno
WIYvlltFUHW3iwyvxqAZ0WISTHK/r9dz/WOiucrN6Qq4DEoxTVdpPEhP2/BAnQUeysn80K2YT9ct
1KA0Q7uJ0Tb8GkSl1Bf1tmj7Mif0bk/J3S6nFp5Tbxp9Fm7RPQv7CbULOczICST1pvLoMyfzHc3C
XeJjxpQhMyCQ12KRQQZhFBMkRXv2xC8EvO6/CvNjnENT3a8kFVHXtfxMaAJLCLzLxFkuRqa10suh
iaOFoG4tCfvpUmavtnFa53MOywrQqx/EgN4OcLe913cvrV+MKWj/O9E4sCc3hjxGFIVgw5dpvbTK
bfizf4rU2I2pZ0TfzQKAlaa3xRg/FG6Gld88Jm9181mgBLPn4/Rf7++c+pCi2uBK2LuGybEe2klh
lPjImR4ZIwsf/E5bdnZo01QVXYo8KKqbPT10kycVFxluecyPFBdbmvW2vregnr8yuza4Z9D81NGv
bjm5zdKPVjmXHT53WT9vi6vzeS8OkbOGswoGV6d6TWfakpTSS9KPpj3JXxa/Zsy9pfyJ6teRKFSR
X1kBISFhj4Q4bXXmDoL7E8dgrxziuj+KDg6QRCIoxlLebxObBMgxUJ/PuzwwO52M4jXfoNORs4yI
A4reF3y8xRvRN4tYjy1znGq49vCwKZeidZaZtOSAoA1fHCPz3t0tvLX9WGR4fkdov+tdToGixvbY
PjRkKy3Dxn2/yVUGC1QkhVOD+DEyoPSxMfpmH/2zwmrSOIMWLpunPdnXqXtt3zLb4XkABAWsUGLI
LemvqP6RStaUvv1RMWgq7x0wS5yFcmW7a7WLUciWrmbumkR21WtaQYe799ntY139KApxAsnWV0uR
+AX0HIs1TNHF5jqoFT70ORDDoRnZaGxKM9RjO35hyX0wCcsWmy9BY25f0YRaonqeP6R7EszwIKHS
6BoKNQc/5dCQ9wurUr2RkHeKNVSx93sGVkFtvGg8bfE5Xz/a9D1OPFv+J0PRpeLNyO1Af1hkbzHg
Ho8FCLwN/UPjhZwaL7Yif42ldIxbbpqIhMRXC2xfat6NjGPWTcZPhfTw6ZOs+SR32TUqVIbWw6oT
cWXw5SDUF79LdCgzKZDhr5NoL898QNltnFrfLvOgNeFwIO62S4OWLoYARYg9PTQR50TsGrzaTf2d
JecUZDqOnQ4RSdyFVlc6K+1sLAxJ96VLz1o5Iw6a0eRj9+QNiU2Gd6SPVeJnW8UMAa5tcEu1hmfm
s7fq6HGKGOBByy9DMe8axTyNMPoEI0uOpj6O8Y2KSbju2EYgtWPensyO9T5/ShoSAaZC79BAgZio
TZgblNtYbOFl4SfsijDPICbDm9V8WkrAc8kyDqQozaeu/ixsnokUwIXp1Erqs2KpTmU9Sr17/6in
RzFcSv7AuPjkv2ZmyBitx0L8RA0x02+ZjDxfYQFXnyX64xPdX7aBmCOWXebkCFU4R0UZKn8qoL2d
+CAj7bohh4xU4VbGm0Tfun1sOAq3z9r+6uP4/luOPP8ZqhgjZk04CZO5O3VU8TQvCcqv8oMr21KA
E01jNyHRLs38X28AoRYLmTZv4CDYdBCQQQy8y/1Dlfz18PAr2+70t4ne/U+octn08wi1HrOjtZyJ
smW914xEafc+FflBs9BkJdlB5S8eW+aRWsxjuSi3kUyC+VCJ5yi/CrSMcfQq93PvbrZyGYcp8jr1
Pm3WH0mRBeVRWj5sBfwaoZsz8qOMr6n9pKqTvxSHfoOnih6rGERJexziQ63CHD4pUqhb3mZHrjH9
drWXwK4Y5l6UDtOuXu1T6SVVJybtb6P+EkBM6bDXBXTLLutonKxA3nOiVMunYR7OWak+FeR67Kgv
S8qDToxi+S065BLDKsM6U2dfbZ9zz0Wa2Dfyn3nnlu7LWNIXyYZrbzbdr5QJ/gnlo9bV+3bkDR9G
nXPN/B4HkBJuYGWWrHDMrc8oWQ/09D3H42FRX0xkxTUWgrR906X4sQfU7lgwUlOaTinsPnCaJTtV
CrGbM7T4uiYnfqPqT6YRpzdNIBBqY2b6aqv3wo5vtUnrjUA4Wn+rce6puraXWtSM5fa2yXcIiCMn
lmldV89FApOLEEpEd2Uge6Owu7fSpkpPsqaDmCe8AOSq7USlhqOdRE6bmbkzyu0UJIP4ijsz9mFC
US2sycmKEJAIbaI7VGG6ry6R5A9FKBQbf5uL72DW5leJ+z3Sr+v0zPrZZUfbwjvRpm6FIqn60g3h
mjQIbDu9Y53KSaG3cMI4XfyXSk8a7T4soVhlbG1+pNsIEk5B2JAreMyWQaMmsK2fCks6too0O5ak
eTq5HCovqu1aw23UU1epwlX71C34LzUoBp4G9bNbWPFL1BRNBVcCZ2ndCTrie2vNMQky2pr23CXN
m2Eot5h7Mx5UDzG7OGSKfpkI3gQmWJliLSAsOt0Zg8PUgCvQPkRCRmWSTPuuLx+meRSwWhFsF8m8
iRW0rcyXiWHOMa0yciKpF7uuFYqXxHzepg1NMqrZ6kLwnPqqu5aq7VicItLSnLX+n51Rck7QSDuN
NdVHurvY6FB1rfnRpQezLvdpPOKNG1Pw/TKQo4s++Rn1ITa2LI1K6lW6aBZJsCQFVOdMY3B2mCJN
JaS9QeO2WOITPqWUqXMtX1bjIHW+ah9qPYiX22QdxXgXQu1424ZmeOSxjv2BpgvoLLGB1WcSeKSG
BkxBmqV42aKB+yvmCyZ5rvmKkKZ0+9cv3QF8hW20Hpyye26om4jZbi7Q25J5FMmToXs9URO9a6fg
TBC9KTfLyGZRbCEbgI1BCkurZXkjjgbNQ/7g15R1javpajE/brOPW2s/rok/okAYVRbL9jWZvXYc
w7bQ9q0YBNwbI1OG5hDRM+fva/tUA6eO1rfJuc3wO0yfxWATWKN9NN0PwFnUVechTs9KHRbq/LDZ
v8IC7C7ZUDr1sOq9vxp8Do20t5IvTdB2IrnYz0iLOhRK3zh2JX/KdkDlo9s1yF/sLvrsqpbmmSxC
RIIab1GEK9XGZ2oqG5MPxYD9+DYocqhmyW2NcidqLdruhKNHKUqIWkKHO/Vr0HcmcZ9LPdo/U9fI
3iivlispceopevSr1OhReam1sadQshmQDWcyRQWlrtX8H9AHScNNvpUyks6eKi0zto9IsDUXBpC3
ox9LP8+ycGztY7IsMHm0xqBimiHk6yUGG2v0xUn62gdqq2uB5GwCvrGmKjtmSwsulVxbTG0t8MiY
VycJMk6blHBDibiM9ces2H5q5Rfkuec8zR6ju0FRA3caGe83fCslqhvDMGRPHqvRN5q7Quy86EdZ
ZNbThrSzng3br+6iXXTuzpyQLx8le2PabVYZ2kj9dQYqwXaS4U2qUSlot4FXvoVeisqOkW2QPWP6
nLZ/og1V9k4NOVmH0iZhPMGjJ7mx8dSr58W0mXUal2brSNV36sBf8a9viP6LjIccBULHoFyZTOnG
Zy61bDCS4S7lW9XkL4q1GpcVmhssoWA1v6u3lVxzi+liNlcjeZU6UOqDXNX3F65KyZ0sja/G4EHT
3tG0+GOOHU1GQZxo7V+DlD93Jus9jeNASyErWlC4XBa2sw7Wnr4dKov+ejJh+oUZx74h4eimy1T9
5NFXMgF38gpb6y8ig5kJu8zw4w+gFKuseJ3hb6Pf446Qr5MIzOgxUs5aNCTXHOemhgrxpi/bT9pM
8yHrX60iGArjVy9T+kmmQEcuRpefj1K+1i7GTOD+VECsuEPj5MNzaqiOQT6sOTsFatxcG8Lhrrwj
KBptyGKj+bW8dCiAGK51e1oTBE+oVy21hOUvXSPpQiNBie0Rb2euVCDwdO1mwqXuQ20FPyHD7Emh
XUiYJ9+5fJGdIOHqUIHIbN3Nv5Rkv1LheBVeV83nbd6n0VG1Lr2eOTFHTD69Tt0TpBPU8lxCpPp2
BfKG6NTGlutIiu5PMtcaDE0y5f8mKbnkTOOiOy7Sv3G2fQ7tx1S0vjS/CE0QvTrjTdDcKpf0R51Z
ryyQM0w9J23xGBuWHg7dRgYI479XRyO8qfLIf39SEwcREwMyL22dDw8pm1hZbqdYoZUQnEIDBBqm
DFp1vViFcVcxKUEph0X9ua0kfizC6TbVUZSPIaoP9lLwc+CCzT9NE+0Uv7G/w4HwkMpfOSKAVfud
CSY/4NWotSJ1AcO31cByCtJRbAeb/mp1c8smgSChtLC04hldAWtvJv2WloGCFHUjQvs0C5LYb8iH
qQGw8zScmtViv9u31nRd5BV3y9SnDaGqENpVAXEtBtbPlkAUo1/BHDR/mv6S1rSeUAa0uympxuuY
gOhz7C/wWnGirK4s4/OwAaqyB3nMWmdqxKuJDAWDR23o16bSghSfy6HDlYxxRapCq6QHUWLwHleL
F3ZDRLmoUeLeE53em4bc33V7y7dJQrwRKoNccQGCjnTpEKjxaaECqTGFtWvV7FJJXoFAZKwJmNM0
1kVTglmQLVyPRReqk4SkdQEDZBB7HKX4Fk+Fuy6a9TAs6+cigRtquty5lop6uDbtp1ahc8xenkBc
8+6tu2/KvRr/1Tbx7Kly1RhERTPnTm2bV7WHVS4uavSMSr3w8uxfS1PH8jZ2XJpNe4usR40Aa/SE
o0wEv/W65N8Ry1fXviXzh8LhlljPg/G26KC6yosMaJjdFUFvmYAs1vhzXB6bsz3jHYiStn0wV0im
SC+U0EwT9TPCrVpCnMYbnFwdRa7NcCVPvnZf7kaI82hrbZBUcz93ufgcttab1RZDc/S8pFOoRaZb
5ovyLFs/0Sg5XAt6m6avSKQoNDAQZHRaY6IInqWvTo5xoGSffV/+xlsCSvbWbP2+zaJXCXhBHp/T
BUg2MRDc9HqRh4m5qLw+qHpr2S15/HacQ5ZuKhgB4gdhhIX8vSa081kaumLtu0ytE+DFuFkydDKz
CbYcpG+c43rNgWkGVfWnVQYE40Ak0aKMR3lJFMKCv+v5zRjxCYHJ4zTlvsuDfi1DAxQvHj9rUtLH
5BknFnJ3VIgTHzfHw/wyzkhDhVyxrWSuDqKibrBDpkjDgTEaBB1sar7/NFnnV+0jtGzBJm9bH70p
P8WV/a9sSgZo8EtjLSW0BfdwB0SPQVl2r4PBeAfglhnTiUDiTPLRjcfDEpgYolAwCwgRy+06tp0u
u8vU6ZbYJRL0BoR2qaF60Q3k302mR+8Avxxg7a+hNl8T3yw6DiVBOkrYXn4lyBiYRHqSxrNFn4vT
s1+4a/tGriNqFi12yhmUk7TkEVuXMnJOssyVtf5Y8k8l37xhGvajjAhks47Ug+6wFS8KopbOcooh
DdJopccYeEZ6W2O+sVY5NeYDEOSpmwC+LeOqxHWIfLqM5+59oUe2Gmv8Q6jVSHg2B/53BfvBsrxu
AYlQ+77jxdKJNmz+5gggr17s9zHvoJ4Ttm4Jh3NpCHAZ0fiYExYyTs/I2tt9X9hWuNkt8GsiHqoM
tI9ZSHbj2m5P2ojSzFI6xMbyIVIZhrPezTKdrS7mKezlibkUJ0qvo01PbNhCET0aswGAZOpnybRu
Zt46SnSu1+7BYKLXrMTvLcBiy+EYO+Y28woEWNy/tTnilHkJa6FdaNODunuBh1zxWATz/Ku25rHM
bE9YfMPwX/x5z6C7XTmH8dTuU/5aSo+Gf3qpldnXs38c/OFal8fUNsOoD1iOk/Gkv0RodpqGbm9U
K32tOBHY7mZODjLsQxJ9RB2nIw8K4pok3R6aWPcH2G2xLECx1ktDRFw9U+diXA2k3titoZ5lp91+
BUqtIRr3bfXPpsSI+If75DSjjat+7PFNErfR/EEHlqSfsQyRgo5tdFPpcyanWxg2PyqIRkdNbr66
czNhIstQj8O5AfHn4qplH9F8ZTytBzCshrcY0YVk+vIg3dS6C+1E8zvi4531zsVoS7xnSw80CwX8
WoeT9Da3eWCQZGunR3V5bTAjqROFaEJ2rLS/0xyGUnROMUmAkfeXfuZgzwhsGb9tfU5CoUb7XDf/
JRTDTm0RLKagVhzDW4XxpkSQp+YGKjOECYZyTJmDBObNqI9P/XSb5zRoVqx/RnPQsBBgCvQIVLz7
4EfBJyVNkJ3IrkyxY0eesM/XoGWsSbG+HHLUHjooXZncOuNLSm+y4eIvQr72sapfavNtwssrLamu
40ddbXhAs/l7XWq89U31odTZtUkJse214aos5kuyyeQXlJvT2OtRKo6NTcRcTy2ctVdAxTK2yvvn
ECf8NU0siB3fE4YWOU5+ECVxHx/Bjnm3OD1rMw/iGvl5DpV5GptrEt1YZpIaUvhYxnfbpN+OmTfo
2bcOcDrfVumFeT9to+ukQ10tBADI8YzYOhrYN4Dk2f8PQ44OXJ/nRxlJ6obS1l6ncGA5say02KlW
dVbb1d308rAmuvpE0RSaWG3AM5kOi2eNKHAVJebsLpSg0ddv1TK/KvXTLK6bNTpFJyFwUXskWaUd
ny19+UTBXue2N0WIyKNFBlWu79NRHZUvSgeazwrsxtkw8lxUdyb8nu7AZLM0K7susRtaBZW1shM3
sRnKlq90tBOmqEurM0Uz/qB2jsnbTDY+4YXHvIRcHqzosOTaTWSJn+uaG9sLRoygyQJFQlmKtH0U
rtoFVXaWrOgJM8SQfs+z+Riv7/9j7kyWI1eObfsrsjOHLnoErl1pkH3DzGSyLXICI1kk+r7H178F
6uiJlapkvqvRM9NAh0WijwgP972XG+5PrL6U8tmFmoY0U70bxTgGknZdkmcvrGwvdfLU1MUiNWXz
xupClFCepS3YxAFwitsFVsRnv8V11UJoi0Wgv1hOCG22yemiGbX/CNelCFGpErI9EblE4SzHClzX
vCejWwwemiMMk13yKMQLyr9Be8soFmhIHppZJxHDMKFkD8Ic7tgzrU1WnUShNmK78r7BBCVVr90Q
7q1o2+dUOtx05icR1goL0VC/Crt+6Ql3L6E1yLtgZwTZRnUNPDKdsagzVZ3h/5lHRk7WSd7kDlkD
P/MeilCegwnmEeA78VEMp+Wiitu9WzpTl/JKOvTo8odgpglrFqUtGroyV16ywTY9UisgXqXH0iqm
tc2MuqKDA4nrtYq4raUbgIlbbRa5JGkPWvvExFsrj6Jf6w4vbYrNkmD/ZvDAt6BavyHAztxbvg/d
PqLnFuXaZsvsiLssManG3A7mokuvKiIJJSdpoFfLVji3jK9EBqcnvaeI5LUunBZ6zSiJMoSJdoZU
KsikmaKJauq7JQ9YSeJNVLaw6EjyBsGsYOfu+rOcek3ethsrM2/oWpXNSiM9luVt7y01bab72jYj
Q6xo91WeEkK7bATmaeRokzzHkpYuZKqumuim0UhfYreiJYegqzGOP2JpW9tysnSVUF0OyvDWmTct
sVk2XNvSz7h7pBzOFn10hNIUBzCvIYapkwYLyrVRb6DbFJsc5YMoV7KnvDZlhsg43nQkYtRkI5qf
rjYgP/ffLDUiFy6x9tlwwR6q1N91QMDp5CZevYHNmqMNW50K/kAsUXcH/C5kUfp5z0LeHyQGdiMb
WBGUiV93P7AMVfZPX/tQzNVQltexcaCSSZm4x28s5XuvSGYajvzAKHbRcF3o0ZJmqfOC2pEWH4vk
yQoe+oJ1EK+52EYtWvYCubi2L2BThYUgSTnWKxaphXXKn0WjCpH6rEHQigqtHKxdIX1oIHMjfMNm
gQ1mFCnVfoY3X8xxEHlw6cpqRZ+haex7c0q8Pa0GVRy3C8TPqimmbtPM0mGvmwm/TEXOoSDis7ZK
OalFhKhYEpNo1WdXsXqlEt/Iy2rYwIwlsT8Z4CBZHYbW4WEsfLnzNFvj0PXJShprEka6vqyaQ15P
Y9Jc7q3uzvOEIBt1tv6ej02lSIyI8F5C3YFOAqWSd4WYfBJqr4L9M9UE9FVSQ+G1wKEr7WsPKQp9
Y0PEeDabclXjHVEd8A9UNCWD5RVlRe7EU79MFm3fXmUlxY2dX2/L/qnXZ4FpTNVwWwXHstuZCEZV
/5DJEp+mFz5lsb62hODpvdnZdSElG9OiylvYqDKxRkqvhB1rtuWk+zBqk0eal5E3GyqxSW2bfnoY
t9jiphV17c54kPUPI07QdZkb3x3ug/zFVuoY3wpWh7xVZrhTZ71aIX8Il1KAQFZs3fGO6le26bx5
9FJkp7H+1bozT6rsXm7qK59yTG0Bji62UuNiE5PmXuHeucH4VfhHw/Y3OU9adZQFVZepVtTrStsJ
uTcgohLCBm5Jm7xwJVflHrMxwd2dcNMfGDUQAFAQWNC/bB6oaycElNwYiEr6IZn1zathaKSLatID
braEi0U+tWDn39aQyq2pavdrRe77Wd7qIDmTqzSIILN4RGFJU5FdMRu3WziioklZzrY37+rlkJKA
CAvcnWSe6q6894uU0V66Mq3hDBgreqWq166kmPcjt0+emezvZ25j1GtbIXHg2uQSdBvdpuiQiWKB
wpIi9Y/5cEDaGSo/wiKdDiWkAvTwObXnJ4ulvXNvc4pABsYJu1g4QfGiV9eFiVmixw/WdvF7UmJ2
7kuHGLVG2a/kDxa9eou4JvxqqzdPU6+KXNmIkQWRxdcZ7CIzFf4qbY4FiWNqaoMSTlySYILCsaWw
LGKZ6QxjkZs/aW4E5yjo1k777mJRtj02cJ5ztBvCpET02SEpEKnhr2/YedK41cDb1yoHZ9w9ZpRC
NPkpUowfoI+ktF7HUfCkufhxk7i/seglcEvWdEXoWenkvJrrNkL4pOBqmJeMtaK+EeB6kO373ltf
rVVfmsvqXFj1murKMgP0lEXxrQcvi7hpQKoGW5AQnc4MqPt6/dkND3E8c5Fnowr1e9QN/bUP1XxC
nA0/AOmvJ1nX8TBMtdaZBuXcK8s3tcqWjKVZU3rbmp2TFkpTg+qjFVG6zp2lSmbI6271nsDMvBVk
XWel0w9TK44IsaFjSXHzEY8fnL+gbdlSM68Q7OTObavTzVDky2wML8i65dkzlt+6XQgfNxv9qUxy
5Nwr1oNcXSAiEilVanhGqXWQ0fAF7C+UEJizif/YKbqOUALLG/5Fz49mQ5Kwjg/l3mql0RN5JLuT
Bnd5vsB4ixf/2qcY2rN7u0cvCj9A5q47V8U3RpJh4cZ3op47/Y0Ck0VaMyyxtGb2opCe2wphTbCo
jWlXPKP7dmmMK9+UzsZr73pl3Tir0JVmnX/tBFcR2lN71qm3Ub7o259JPLeTF5+qvPnsGxSnHiqq
qP6Tx1zRPsjR3KIJVbtTSXBKCXiahP3sULK/j6+7mIy5UEaRp3/lWgQ2h5BJw26OpjFLur3aPCT6
rWjMg+QazxlrZyT2xMAzudlTmizl+j73NrX9qBEsZ+TBo8ZJ56VtOgdRt1O15KX5eDxqFRMYm5Wc
1iRtbR3sHNhhico+jSx9q42m2jwXID8pi08LGOexUhKJlnvbQNozBExRQ0yOMdYOVYEaS0v7VS0J
KlFpuXGslGmh7tVlgwBrmmO7UuLHXH6Lgn6Z4yXpM9rbFsMAAKfx+SVj22vOWgmKdZHlq0jCLRVJ
SwUTgIAIE195Yz+Ybu4NPz0xFU5wkNPKJsVsbjJFZuehoJ4mq7m2KfqXpPWy9skL6QCfqAQwJrUN
ZanZ1m2TEsUjB94WBgFRjx0vj5/hzl15MpvoFE9w4B0bK2H67ZcCRk4XLyvzoKkHVVsLUkJUIGXr
KmKrXvY7YSgTI8+LjW55zizwjB/UJgCOUOYuPBBSFBY93nij6G+uKlYBHq9woKIdosCnyuE1GkNc
m5gqniwAWXLwGgtUrx6lmV7Vl6RvM52gVgybQgt3sVbe+jqSXym6l1x/66DNMCR3b5S+NhEZJrQq
WNnCW6kDhggIa13az0BtNBQAkyPsn4lWPGQBfoZ2nkpXTg0yuo+NaTbaj0KqxMeaT7VhctVGp7IZ
MtHluYm629Q07rO6IbtNaT6dOOwWPbXDLOCX8aTO5R9S7jxJAWVhKlOmCe3AM36aLNZFNFcQ5tvl
uvMXpk+44vUfbhBsExsFO0YFIigjJUnXj8rOZFnb9dxCxuYpydwxj57r7yq0OYZMlmKMzyMcuIlp
b5QCqNOdaoGRs9AChSR2qaxV+SzAE0/zbwN3YSk9uGoxs6kMVJGHYOPockXIugMjnw0Dtd2k/5nb
yEAkSjJAX5oeQ5SIryyyhgUC09pHUoQqcKJRD4yjZF7q+Y2TJgcz8q7pm7zuYnGd1bugBapU1+8I
aQJpJaSDGxozkBs/FMfbOrEpT0MPcwJRPmVIe0IOaxc6aJyCDkHx9zgqZeR5/QZGddpkN3STIbbs
FrvNRJ6+Do8YnicjMvHYTvAMXkAmnsFRnzbXzcKgMWTVQMGnLzzpLqtuKufhwg2cYXhrJ4y7XPfk
PtJUZSvLbTYKRNVi16tegBTRoDqk9Fn+VIct1lijMIjoPWqu77UrKCvpg4f64MJ1nMFeauPPvzBU
w0pNisZGnTN0+xGfG+FnpwS4GGbou/ApqfM8mtJonJqnI+0C8g3yhVNb5x7BCQK5qDRzMC1Whk4H
rAu7y3QdGUNeNyeXh1r6NqQ9J7Ub7LVxHW0bbd0qa7N+6SpAByUfmJQvKxuvIm4Qv/qRR+o8kOyf
rGKlt2L8kphLeJrmJCf3oJdH1einak+kZnNT+Y3XPyZMw+WLlisrH/2HbGMyD1zzxWvvWUMxP2HJ
nAocZk7W0XqiXgWGtIn0Enk95PehJqLFOM+HreHFjyeme0dHEquAcJYzsl/kBltlssrrYqWE1Sbx
JLRIOk1aiQp/RuwP1Hyj8rMuwnmnUcX9/pWe6Zapf/78yyttvbhsXC/Xtl5bSijBo8rRIFom0pOf
yjjKfTIPP1sVtYjeWGwzTVUm12qA4dGrCIOhpXdvRRiNyfsoW5tQH2H0JGWyrVpkuXmoFsfOImJR
U6e8a20zoALfKuTwbIRZWJF8CoLRgL+0FqVzYcB/jovfDXj91++0ycIojRN5oLukd3WYxRvnOl36
k9fZQ7kKq4m8RC8jTx6lKX5BBMCTTTu5rWdiQsZ96i4/3OkbxqqdjMB7fukxnxs6J6xBT0hqKVmu
duWqzQrwloxwRcp/wM3/UVjqJLM1cq7unHzkWNlDqosU1g9abFcamw2YlJRkooqQc1NTg2uIp1c5
FP/XoHz02XDEYFqN69y7tpVoZSFfr11Q8j2lsxYqq2yoe7S71+2bnN1Hxrb7MPrxBBYUsmEVJzeB
9iCBfszmSHTcg+yB4ho1D3u1Fbi2HhtEh4m5wcSr13M0nEf6T8+tW1Ltg3ffGwsZ5kcIA3UnEaXV
M4u4lrI642TjPlUKMnc0Tjgu54OOkXyRtOTxl1AXb0aPKMnnj9ZCwIOfckq7GnmnvcHVy67b+kVj
sWFB5ouPw21EFWvIDhSSuwx4gbRBZVqIbtJCZmsmDoCrhKQOqbL2wXqkJm1oVxprM0Fw3ayox+Di
K9u1CQypDvcjeizW7joIwWjj1J9lxshmY++gkaCZ2oAIpH01dETWXr3w42GP75Jl0/PUiSybjF73
OipcjE76Q6Tq136wc1OEPvYhRlMJZSEg71XOq35dqjri1Fuh7mvnnQ49VXfQunxu5K9DssUnRfn9
ocBYZtKtJGPWgQ6F1UchPafehswTSn5b6H4NTlzcqllzXdTJqxpaM5uNnEIcEydsXIHvAbzot6Fh
T9ke+cW8A3/ADpqwdCKCV9WhP3qXLTwKx3S+ztxV7LyU8j5hd0AuItMFQF54XiqIFrRaqzBiKtX2
LMwDJQcNPXHCVYXtEsksWsMhAM6SEflqdH7THnscDtjQgvK+6Dd1slWRTRQIuBEG5gFedj9gUTDq
DwGJzpHxcOrt1FA/zIEUB93/MGZY3XWt7+L4CNpGcde2CffHnxP/tvR3LzHXhdj93KdS9X8Iz3sI
k1UiT+3sPqyOWaLOlMa9kQhm46bBx01/s0RMvRq7TKl5yy4NJyi6M3SddZzefj+etTPQ/8+mcl+m
zVpRg0CGr7YzaxPmkEVcmS5S0FGIwae0OCbJSCpKzp4lFDyGSHe9D6mgP7iaP+acqE2V/ntSx7dZ
1C91ZFcxBX6PjlqCvkgu2pmiqFdtQUoKt01bZCQgAFRZPr2ezQsteH9PldaMEwxwJRWJa/k+89yH
Ppf2JiaNbIcg/EJXgXGu/fc5WPs3qDvKN1chZc2dqygyXqPyUjT0+3BOM06iIccuUzMq02hnqJN0
z6aDvR8UgppQ/qO/09lsGDPn0b3Q+encYzqJeaQUsqDfcx8h25qH4k66oTo0MlPT//AEJ5FNJ4o2
0WFu7FAfDWj19uaTeocmfngxLjCSzwTAmnGyHoa5pAgt4BTuS/eWvIUf+kd5lG7Y0VTKUrxVO+XS
mdQzb/1kmYuVwFI1lOa79oPubKxzlBLRL9+oOmjwabHx3usLwOBz8fZ4BV9HIFTXiI5Q6pUTkuT2
JRZR5m2UQSmwwO9Hufj9N4wT7ddzJPIYpERSd0WZCLcSIMACQBzSWHC1hhtMRKnjUo4WqF12CRqO
LLyS/DcHOrrkDMjJulnc7AeUytJ7mJMH98O1W1J8KqSFSDZeyCyrkJ3O0MCXZB3jZmbE9kxDvOuP
boM8WTqUINkHwvkLS3HjRW+KcusFzYy83ZQ1tVB2JbgyrSRZG/pPdbJPkZDD87AjlgzluaBPZ90t
bOkh896UUD4WA6XHIJ41HhpBBRq0HVAykGp66T3k+rGh43cV7xF8dBmNGLrnzAedTk+GmvJNb28k
G60REfdVm7x1w71aUDby4n3RYaJhJ0qlNqBo5keZNf3+FXy2TPr3aUT/nIC/vGbW4kbYfYYhAJYX
Jke4v1Lz4pdkSdC6N9ggTPQiHtv9IVKOkn7gE1zmcIdRUbVeMUEi2Wn41kMy5pGza3PrQ9Jxx8TV
aOV7yfh2ZJKSZIEamnV4R2wr4HW2HnYYnHlhjfzdLKa4AHKLvTBxSLhWypJi/66VNlW0k8SmiTe2
qSDOu4vQa0RIK6PymPWrPiivG8oJkU2hN6urZUTZb2J43tHw7bfUMaap+Fk6WwexqIw5LK5uqSjO
s6o7hl37qjnNSu/6qQZ9pYuAzavuXh+eu2StVTtrGC4Ey8qZnZV6sg7IFSkXwywpIlVLTwJhiOv6
h6S797qLVWnjxBCFwR00F3Ycv59PdXWEcX95oYQcbY94Rt5WbmbeWkVYHqhEYhiJ09SGs58kQGIi
a4a8LgSQJyzj+vtP6RyCXT1ZN2RpkJmaem0rlQVV3MFJFmFv3ko1gWGCKjCxOher5MGQK3Kg73Eu
zxupRM/bkjapyXKnJE9t2ReXppdzQcTJtNzptiOroZ1CmGqphSHcmcovzgtY64BaA6wVoWExFCtD
Izs1Q3uZIQh/N26zo9+8tPcSewGKhq/tnrcHFWg5bCU0UYx4BOxEFPQ2gcbzahawPVZW8EJSFIqt
OrEfq48wukLFzu2+R3SAJ3vDivZY0CuEUOCN2FFC1tFPzHd0S1I5DzclpAIs1DS9WyJVrxJIbJP8
Ged0IU/ia2CYQp+H5REayuC5CBG35OyTCw0LPrtS/WYOUE8WFbVX8nSAHnUFFX6hrcINdZArpJsT
j3bV0uRO0GtMn5obmrZOvYWN6nIi0ewsW5j0fTLZ14UzZ0JkuSKRN/7VLJ7ispzBY5nqpIJetDku
umU0xc54wDexj5YEu1fglVHjLqk+rqNlvaq33lws8G5dGHdnQ8iTBcwUrlOYKXdF2+YpHv+lupSP
eF8BTNNevJ3BaZqbax7zpJvoM+Co0/ene3cWLohDttjK8wsLqTJ+/797vCernD/UYcf0rdIhjjLn
DLvKdHxE5gR57hSSwMRfePcXxuB4c78710lfjoIMQBiO53J20m2ypg/Cdf8G0XuazP/DRNwnCf/L
BGNXKE8KtbeuHBtVeh7uhYr8L+lC9cKbO7OV/2y78+UEldzkogtb60qRRq9lTWudPEgBsksLO8ov
9pg5Mzt8vq4vp0k0u4DvPpDEoLyatfVM7+9ZftA5WIvWpE1CuRWE1falaOfMxPw5bX45X522Te5E
qOybGmY9KEwp38RkeqHYQWtpZ5lKi5PkwodwJnpTxp9/OZlGKVePIkp05IaWg/yiYSw3Lz26M2Gb
cjKvurqZ9aGu0Z3HtY5NjgcQGuP3H/C51NJniP3lwi0rFqnp1aRAixREUlhQwg8926ymGDbganfm
YMxlC39uhpznoHSUln0DqhXdArx5bHgEjzSQhaqtASmo84rMRWq7k26QawTJKhSSHvUlzXFgscuS
vzVLVV5HwpO3NYiKWVfhl2mwjkO3SsSTrgKFpLWvg6rNH2zrSsQKQFHHgbkVyfbPGqrtNMo6vAKR
ngJKgH33/ZM4EzfQzefXV5iYrWPUuhLv+mOAGpJGAO9xtlCpIoyy/inSKyrX35/r91+LJk5mDcvx
sjqROFUaeMpaJMUC7a4260Yp6/dnODemTyZjisfFgDyTNhklBCHQ5MyIUyAME9W4sIqd2YTpn8/x
y5fjF4aJL4lTeFroLwsEhsDMPWPeWOj1DMWS521nlTu1yZyD7xX1Joox5sGlDXCEZcMsYJq+sPX/
/fPUP3u+fbkUr4+p1ltmx1eYE6b6G4EOrPfzC6/rzMOUTyJKydTMQO7c/krKdzSBULuFsAHeXOou
8vslRD4JIMvG0dNOo5+BHxUk2kHYlrtGlef/0YcgnwaJlR9HOVLeK1MAvtFl+7mE6qqW7WvUBJeG
zpmpXR4f3Jfnj0PWG9RB5iQ9cX8dIHSP02YTxDoJIm8r7OEwaL01AdQ+U3U0NN/f25l5UT6ZdHOA
OHnuqB2Gvfs6fkqDCxmM8cn/ZlGXT+ZbYVEwLnKO6yqbMBnJfwjJFYyh3twcZv/ZtWu/PjLTr+o8
Scdrlyini4UfJheG/rmncjL0C/AZVhFz5BHtVoW3rXyhAda5YXAyQda0PI0dSeHA0Qwqcq/MEEMD
+vv+gZwZw/LJnFiUretKKkc3LG9Chw5HhWW//P7Yv3+hmn0ygNERdW4wXrmNLVXG3DQa6ZMboU/R
eX5/it8/HM0+GcVe7LhDE6G+0VW86RqVbhM6xBsb7e+P//toBvnCr9+Ln7SDC6U33Zmo2V15cCaK
ZalrvYEASPs+wYfK3GtHCABSFVTp92f9fSit2ScD24vQhg16ku5qv35NQ80gT6/FyzCCAJGGNbYM
sL/fn+pMg07NPhnNZl2nmIOGYIdVKNzL90OMe3oqHbt7bXIpiXvuLY1j5stElfm+yGiUGuwqLWXL
keQ+mNtcvAYWctUMg/+lJsHnvriT4R11vq1oTgkpFt09VqDIf7C6rdTjmyt/NF52Ifnw+7Gu2Sdj
PY+lSNeRpO4aWfj3OS9+69ips/r+lfx+SGr2yYD33MC13awIdrq7aPy7oDnI2YURee7QJ6OdYncl
OXoU7CQworHVgfSd58WFFfXMWBEnw721iE+VhqcSPwByTzB9AWNToB5OB1iyl+bZc2c5GfGGFjQo
SMdnT9GtWRY/qcgENJRwJh0ckPfvX8G5USFOxn0vlKrpI84SgOEqZkFD1wYADxPMerW0cXA35Bdm
sHP3czLWQ78K6ZzMmdAeI94nj4rBV5RzsPQFXSQu3NCZFy/Gn38ZgTaNcZ0wBT3Z249N9BRFJYSO
t+8f1rljn4zuKjZsp/PjGLrCdYMhF3S3V/kXHs+ZES1ORjQesVJTUb7v9B0c+RoPHAnwazmf6+mF
GfDMYBYng1mv6qZpEs5QVw+g0rAQXrj0M8/FOhkPfZKJzGslXBVDB/z3rcRUWl2Ygc58NdbJKEik
og2Q5IS7QJ0ByZDBVsCbG70MsxwI36UewGeejXUyDPQo6xNhDeEuBeomqQctWn//zZxZEayTrx7t
mV6Yfh1iRIz5XEg8WjpFARSmRqI+fH+OM1sl7bMY8OWj1xQyOCLww13rBrDGzaTpD4qU1IiDmY4U
j+zk4I6cZzsN5kj12rk9JNqKiOU1rIS0UtymvTA3nnuQ48+/XIptOF6dmFm0K7uDpF/RBOnCR3Zu
/2ydDJDS6yORR3G0y+BM2NQNsA7grp/Ub86PEpMtncsuyU/O3cTJSMkGpfZEnEe7AFV6bj1U5YUZ
5NzXcLLi1UoyDJ5phzsxSEsdhkxBrtynC4B1aU09E1FZJwtfHemFlCWcoZZoKVABZ7l2pI+qAMeq
BbPvv7czd/GZd/7yjnvXR5JkUAkP8GfX+m3oIGBAe5EOl/q2n3kB5smoD820N5XOo1ykxg9RWSEx
lp6+v/gzD8g8GeleoEl2MYTRbnhr7pTX7MP5gV/2+2Ofu+yTwV5pVRNhAo92VW8aQOLUx0KXLuQg
zl33ycJWwZD5h/ygRn5Az8gHc+Edv7/sc4ceb+fL++xkdIp54DKy6HlB2RJFpKqDshkCk55w4JGd
yP4Pn9DJILay2KzdiieEPYeOXjVEie/v4czyaZ4M2SSnWRuYPL6YCnnPNlnI13ayzV4urUPnjn8y
cu26NBLh8s3T9FO5o0Y/duEusCRPKHd+fwuf+dZ/zwto5snYbbLU9+RRYVIbk3hfvmTX0g0Lhvas
Td0nsZo6czTE35/rzJdqnDyuQJJNWThyuJMSRGrW3NakC0c+dxfGyZPyWkfto3Ep9SQIOKlLp7bS
YFcHWQ4VZCnj3fbpTZHEJH5bvHMzqbKyuTDLel+Vqb5MoyrdMFE68+9v9cybM06eqm6WaaVlSrjL
6SOLPu2He2+M4rEJPoPvz3AuiD7tEF7KLc51mhnukje83qgNIzGJHtU36+j8YEvw/VnOvLLT/uB2
nloyLRWineWRZiWLnRbFhRs4d+jTOTGTWzTvXL9Mkj22aGkaOBeu+kxsqJ9MiXKs9QX+H8bNwGeW
SDj7tSbrIEW2+ez7B3PuFCczYypb4CGGJtw10LzwyYP0MMnoX9qHnTv8+NC+zI5xnfT00yXuiGPK
Y9veX7behaTLmYlXP5kNY1mraCnJodsjyG4a6hSz7iW+/f6xnAuY9JMx3uW+IYkWqQ09G7u75hrN
y9gN+lA9l4fmuXy9cJpxHP1m1tJPxnuU++AvQm6C/m70junH3hETMGbK0qcYRtNm7cJXemYg6ycD
ufMd2/HRre7QHsDgMipgg8vWmfhv2aUF/NxIPrU+jM2rdWh3RAce7W1puILjh6l+bhUL5NYw/sWl
8uGZMXfqf8jruKTtMo8tpxmhI61qJv3v38iZD/azFPflgw1kpRucnIR/I4Fyo62y9JQCyvr+4Ocu
+2Q8a61UDzYO6Ksqo7EEK6Cj3Hwe+b/euv9239Prf3wy5d//h/9+S8Gq+a5Xnfzn3+/SmP/9z/g3
//d3fv2Lv+/8tyIt04/q9Ld++SMO/OeJZy/Vyy//gXvWr/pj/V70N+9lHVWfJ+ASx9/8f/3Hv7x/
HuWuz97/9sdbWifY027eXT9N/vjzn9Y///aHaduWNX5L//X1HH/+wv4l5m8PZVWkzV9uPT9Mq5fk
L//1r/8LLeYl+fnb472/lNXf/lB086+2KivAHC1dhy/CS2nf//kvhjAMXbYsBYzL+JUlaVF5f/tD
1/4qhK3LQlEUw1JVkz8q0/rPf7LwKthC6Kau8dfWH/+87l9e379e51+Q3l6nflKVf/tD/Uws/Gtm
ANto6LrO8VTd0AxTPv0gTZWSrZv4wz3dFx/1Xt0UXnIMCuWNzz9GfaptFWiQHGerhvAMyyh91/se
IBX4ac3YKbGET7pU+Z53Pn21AaovXJhwbULDVBKfYcoam2ddsDCdYGU0UCgbgIaEgfhC7f62L8Kj
3SYPADfXmIGfMYTSnMC5g/mTwO8BCWAPQAxsiqN2mr43+J8mQQA/3KjsOy1QbmMph2sprRpXlPAg
C7rnpOaH0qICr7SrTrXWQrHuUkuCTWWj24d7jzM4r6NVzea6oAdPHAevqN0T3CkpvRaB0QPhS98L
dWTH1yDYqhYvsp5AZTZ8bPKyo26AHlf07+yf08Tnb7rwSWJiGglMGRRe/9VVsM9a/HKhwBYxQCu2
wNmgmqcPopU9jisOOj8tDRpFhWp1I5XSKlDKRRtbD6XSAc60QdlJAPR03QHUzqHKgniz1UFXhwAn
pEHd2L3zobZgUhWeitTQX8K2ebYdVsx5rNa0zKV3iLANrrmoyFiFJUCMSmqWTRAfVavC9Z7H067P
H/hb5PnCWvWmxWFTbREJZIlGxY+Fbu29lO7fjg9VSgQ5DdZF/h5AHJ7YEiapxgN+Z+keRhQXKlBU
8CaGMn8I3OGRJuXzXpZw0slbgJgpZNv8RmrlNyPNyDB2qCwVVcFmUxY3Sm3eyXa9l4w7ve3fy0xc
+67/lCg0nS/L5J2KXwQ2axHYBuJ7Eb8PMT2+ZKHDErf8iq5rZEjVCINkVgb2CoTeo41DqQ+6Z6N2
GSLWPrIwnBqa9FF75RIv8a2r4/0qe6gZUYlM3+jtlS6RAc0w284MR5obQQ7JjTRMI5OzzB9CxVgb
VvoQydXRGWqsa8mNgtl82qbxgzP0t6oNQUqShls/osGQi/dkAHwIj59GlYMGoZUeWXg1VeNHI4BV
qUDJ5ZDzwKKyVRBBDg2OZnlQvIcKb7hQt5IXHhvbATeoTy2w+A5vvs6L90aEqxDCkgjinUKgQp5C
4EdggRdNMbdKWkSKBi1WUS0bi046uXLlVS2KutqhBZ1djlwtvJzVksuDjtB/qPh+G1VayUG0kjMV
YAMQpkx+bmu2AK16VbfRUemxmbQtZAuptu9gC8BlUN4q21hn8E3GS2sNcZfI0kfo6RsLYFwm8XD0
VrnSbe+1l407RVO28Enpzja2K5RD0GzZTRl2t3IOBzqI6brAVyHp3qsnZTey2j2nrfhoEunQ5tpG
VtVt0A/PQWoCaOqf2yR+7zJ12xqIkr9M8n9Oll8nR0X9JWr6c240DFXoKiuEdapa0nTZN0ACDPeJ
wMnr5NmPQKHNoEgCiInuW9vRu8ECq+kkV25V/gjQPOMLXly4ijHQPJ2hDds2bHQThqJY41V+CRli
O2+xHhcyV4ELRnMdtJOhscob+oyoEb2W01v6dzxjUdhmvbNJC+2ouv5HhTX9f7/4n13Zf4kGzv7W
/4frv2KoozDi4uq/ruqizlj751VapFX9l39f+v881D8XfvFXYauWYugGqhTF+GXhF4atmybflqX9
svAbfzUMw7KEIWu6Ytlj+u6fC7/+VxyNOl8l5VHbNlGi/C8WfvNT0vTrZ6VZXAD7Ujjvunoqlc76
OEH1FZn3haH8TJoIWr1MH84i8Ei0DzhFaXINsDOBgyas/QByfIG4+6qScXH7SrND/aP/bPWcpQex
FjvrSj2SXsiPZRnl+7gXHRSaorpxAjVZ6lpk0BcDEk/UuDZtFOKrssHpb0UdqBjaRs9dG3dAPThv
kawdrSxAtZnkP2JPCResVKDEZfcnPBD4SBKAc/yxt3HvrstAPCmNdsxAdNGJrMzmbdKM2+QB+zD9
9GjE80pp+dmJHbx5wg+mciv+D3vntRw3knXrJ0IHXCKBW5Rl0RuVSN4gWKII7z2e/nzgzJyfLGpY
of/uRJzoiZ5uqcVEup3brL3WQ5VLFB9JwsOB2qAsM/ds5urE4zJGzw7dA3rp/9CD9DmHqIs6hn2m
p8pLoEFJ3yZvrZfTGqCaV7STruE4qc6MvIGHWa9/jghBuHpVaI9pGR9CzX5A3pX2PkcBFM/gQ21d
eWQd1VYiI5kVIJ2z4Dxo63ypgC7HxFT0ZkS2WITahBJV0xXrFgo3CnIw+gyDugdpQAtZ6j20VmK5
mgKNf2awWGWWvHk61JKNo+7VtBppb6truuo0mht9/gZj76tUajDWKvOGiaa49nTfWngSQimAfzfo
bSP92JBaVFOEgHyDVvwhzNqt2dXec1/AH+lHEu5tSG9uko7O+C4pTFgTocPW5gTzkCBq2iLNXVe+
uXOQ7T3DhwF1W8JOolkOurch48tJLQ6WyLXHtuAEhNKfaOxOijUyIzXivuErde1bRyo7rWfSMgjT
hZIHb5kSvKE59BYWsw6UAaHNCEd0XLBEvjQh5KpahC2GUdmGHUEhxyRcNBCQbf2+uJNxNot4aWI7
ThAxtFXkcGrNcjcOTJ+7gBfWdZcNIA43yDJzmcMWiIDQuO/swNx0OR2lndZVkP+N8c7OZtVJ2Bh+
JhD8un7AAfPhXJzUfu8pyQjTPCIhmPPb2vSE63vC2MChc6XUnbgKC7P8RbcdmINZatsvzFuqMgU4
S+02zqPXPhr2Ucl3x0U+kfVVhh9py9vWNJwiv4XL05iyB8sCyNImSkiDLD+F1pabDMMfh7B4ukPP
LppGUy8dMCJwjngPXhkdlKmAsI/dzyPWIC4oJr+veVbUqF1BKqdoCN+VNq5iVAawxxQ3at+RuUku
tBCC7WnKigXZJzYFsstFnHHY64bTKQaxMXU4haKcoytobMEB6v0L6DHPoEfncOfZTWnI8Jas9RV+
dQCldvGoDHqC2wp3ppELiB7zezVj+0ArPpf1tPfhqIW5Wt97Dedk7OE5hpW9QVApu0iqzFzDiQ/R
IugYphlZ8BShP6SFdv1Qq7GEQwdyWvpPoO8sIcM0bbFKlGoVmsy9UttL306Qt+V75eg81Hpxk3ec
J9WRV+XEnNSe0YMgLWBUVieqcE2/lDpiQLmI3hTIIMokr5eGjlpZOdCZBPc6HMMV0VBqld7zu/3L
a+iIzSyRNHyGyHKqnKLEm/YKULmFCoHzSrBJC2gq6X/V2OMywcMGpycWVhIeaLe9VZECgwTRyq+z
FIZ4ewIugVeCzbVhplQV+AOMEp8kVdiRvNIGTlQX6xC/eyxJrvH7ft4kVJtgRU8djIcsq0eEoB+R
+FNdoKL4gU5pLwekNWVFgdIYzPounjcyFdCGqpDvKiE8p9hUVCk5PVltP3gdr4DKx7gyqx7bgJei
8F5MK3hLRV+d5QnBgyy6ZvX+szNDj2HjgX2slaiITGjDtnC5xFN8GLtEXaJxBlmNn3dun5R09vYZ
3KK9scmCce+F0ZteQ/4xwfS9c+DSwRvPF73PlSVnjY5akCCwEl+UoA5nmYIrp+4vDc8bVlPFs2Sb
0TNl3seqTfVdYxOk0DuzL2rayouOg6gLIEdGD6B5kVkWBFSZo0TlOpJKNi7qaKounTbmrKmjCiEw
ittDZ18ZhXHb9dw71S/unTR7LpUIOjFIb/2AsxCXjo/2BVtrQkrvaj2mSEyxuYwT60rz/WSbTFlz
b8SFXME8Vyx0ZaZ94jkY2voxKft412vRa6HhZpdtoy/6VhkXvaUbu0R04dbXTTp4bFt7wFuEyaVH
l6eZzNvemIWE4NSBM81Z+R3lg54oajl41kOeQAHwzi2IUiWHugnepi67n8z8ZhDx88BnLUaf/zgS
hK8jf9TXcW/Lca801lWXlyWcp51ENjahYd9kQxu/ekynxFmEEStBqfq34/PLiS/PMid55hw8ZgOH
WprywUmdX54SvKq2HFa6PmG9Q+B3xjjBdjlkN0k87v2keKR1sFuQLaguYdlEjbKGYtKxlN+8NLUb
5+GboqJMWqYZRAJp+qwp3m4sLCKSwH9VYCNYxPCEL0QRICgPOR3sYfXjANO8G/p8o8Yyd6PnnCly
3A957+1iu4PxcEijW8gneUrxoS0VxpOeJvBVZVZ8gohfk8F/Gwc0MRq4OFusTJEH7VYpZm3EgtY3
eIRpTe956/owcJA4tgf6oCcoI4RUuJ9sLA8WNP8+Ymlp3rNISvTmhNy2SmHvtJ43MLS4M1obHjpD
2aWC6+ykykMrMOVti2DtJOYFsTDObcTZ1wpYnPwUzhcILKDVQWZRtSooMqt5BYMuX3aND5GOruZI
L5rCG+FZ1sy9FrAafoPRFX0RjEszDw/C4OVtlGQmWDchYUe5w2DqTuRkrqEM+zikN0vEjE+HOuYo
9h4CU71twjkrM1VEh4KLMZXS2FTJVFz5jVbDCBQE13R0DLvZUi7aetiHZHZeqg7N1SmpIUwrH+uZ
PS+M+2wTQdGGEoSXE17h1BQ6JkcPS2ct4e4AFo2d9VTqBgqO4EpPkgt6sl/yEQKeqMufodKCmNUR
GxSA9FWX+a8hWLtswFzFMdZfha5iVfp4jvBd5VsxWtWlmkOSOpbw7QamU28UAwtJg2bm6gVHEy4Q
BMVNbLfSVd1VXxYNHKjqrRrRourr0PkiwTQ0LCZsp+OiheSh6/m+USUpHVg06k/hLMdDIhnlRJYb
RqlDlWJ2kpSHd2iE4uYjf9JuMGe+ZqFgLwO47PV2PVYc1NgcyGbM74tl+K95ET/7vTMuutnFDpIU
MnIDVlpMFvxhGfwF3pD2MIPaD3Zg4E5bdGAPk3bmQ7i2EPTTHTwaaGFsGZWDr/KYmQWwx3ouMSae
OZy9G8PQDOyVT34rDQQBJHQVUW6OC5yePUj+ZtsPer1xPCNehR0NjY5InHXXcIJ1UxvP/Yz3bTYs
fs/+l4Dmcajlw1TjLw/ghFxEp8xlqA+0pVa8RFE0sIyxRVAfBM3m/werZJOlaZEfOBmsnrfZSx2E
FeHqf/4x/FPA+q8f95+A1fpHOGRBLXiCTdLBFIv+k6kW/wCchopJENASsVJw+E+m2vwHP9YwpOT3
v2SqLX4ImW9jTjI7uv43ASth8VEeRHfAIKsOWRcbdDMR9ec8SJnDPKhAHPeDLPJd3CgmnoClrCwR
HQjXC24xCqW4ysWhiRpnHWcSSdvYtC4tvSheYpqHVk2ZTYjSJOJqVDC57154ZgzWpUmA6lrltDcN
/J0qRpCmrRpsPNLgyzSFI64bjHA7GThdQvVM2E76/IJkWIiyIY/upOeEQrV5O9aQ/fZa/GLIbDxL
65BRJn5aSpsTniFC4sgHlEupkGNLkfdZTzVSapBidAQgvMtKEReLophZlvLgHJ/YhnPfghZ2jk59
HI0aL8eZwvDKjkXFO58ctNG4tbP0Iqyi13QKD6HEw51/gY7cvRlgtZUaNu18eqoTDHYdl/etk1wo
KmlaI5pCRErxdzslf4a+1ic938BNI4pi3ROEQXNjwbpX4IR4dvymQ2RtZogJygbh3lDEh2Ccs/lB
fu/L7nIo5gAvJKYOOyJnEgyz4Y8Ocn5JAxLjG+T2eEUqFdpG3JuzEP7ba7uZmoy0/TSee6IZN9bY
4R7jmLxHtr4e4TgN0t6kDptUmZ52MRQWwsolQa413BTls9owGhCG56QjRDH7+THsWYX5l+DXeO7H
6j4baQGfGphYM/5jIVAv7cuIx7tTfr2HN7amdotMay6DEdtWpYGEoMSEqxgyaDTmXhWLp7iukucS
jwKuzHHY1QltCpM+wAk6Nlq8zNuhWXUVzhpdehi9UOWZYXt0B19pUAPeNTjHUJaN3uY0QDzO39gm
z44TwyXtzxo2an7zHn+EEWQ9SVYXzwX57m2u4auWk6FdGFmab3tbmFfjfHQGo74keYiWTQ4Z7eC1
7QVacnMCdcKbcWv07u4SXKuDpqnlLf2xj0UvNnrY2svJMbZ5GR4KjRdZDPl9YDXDVTFkz7VX3Xtm
hDIjmgs1XxuVvKZqeqPViGlNiBKu60qJoaVND7KNX8eoRW7JhHo3NAGrSKMedlmemGtzznE4AY9Y
Gii7oMJbHjkKOiyPyyaLX/WcfDCBL+5JthFpHsM7gxsUx7x09Rgj9asSGuQ6NMJWGot9S1noAl2t
dnC9mHczGpMbvUJsZ1B8RMKye6SaEKV2AkihtNsumSmV2oRjF2ZvAt40NwkAgZh6yiG0YLYOFRNZ
0LmGVUew5jtpf4l22PNkkUlRfDyFBOYzuKRkh5ycqSEw0iCP5Smjf0FvZINClLBWjT9d9oIzMwj2
Uw1xKxLp+axFo10UQzhch3qdbYDTEJBDCLgoBHJwObn9ReTzePYawRbKnP1SGGWP9lw0AUIl/MyC
8rEZMAjtCM9uoZJiKHOY+Zvc+WWEZC88JXzzbHPz7vBqErZdE9/J70pxIzGLhq4aMKimJsUN0kmO
zwK0NuTMus+IpUOeYw6GWEmUKBz1MiGrtc3nXHdHjc+Fbh+lyDp47cL+ckjjN3tIun0S4fPoJn6b
WeJPhSGfVjuoePZRA6+jr5P3S+j5h9cPRjD/UOnqi62ilaMYZbjJrNkh9Np4rZG2Qr2W1ENsIgNp
j/gwtuiwtBmpjTxENyqifkVyRkDErUbtNiZjdg0P77S1B698bIn8VjY9HRdpl1WHAhkHtwuJt7yu
vXw/N6IhsOayoZ5gY+KAFiJAG1fjVtU4ZPgn4VaxietQOCBuMv/NQ/fvmvWnauv/LYQfF8v/ayb8
/9l8uT4jqP67A7L/nf2e2t/Jy8ea+Puf+ZeXoQjnH1u1aJvEnhrqnP/+j5uhSOMfw5TIZ1GSF5TG
nf/xMzTxj4V7AZ8/ZXEVoAfF8n8nxtV/EDew+DOOyh+ydIo1f+NovNNd/U9iXAhLSFu3dPwVQc7N
mvP2H+stapagtotrvtxfT27qvj6H7k3oXvvuVeBe3fze/Ni9Pb7uTgCB3gEy3416BPOCtN0TKRHE
8rl097e5+wCnnvvIvxx+X9BRPf/7783q6efL1fn+6uLlx9v9j/NXSD9PfccnJ+vr5Gd8z4dik0rv
oDLFTD7P95p6qE7BWN+7xr6bJ4fp4wD6AIe4mOeZu4/7W9LG7vP+cX9++I3IiPvI/55Td3IfDtd3
Z9fPD2e+e3bn3pzd3Z1dXN3dXSyuVhebu7PN3d1u/qfVbrc6f76/uljs7neLp/urxf39+fXtYvd2
fn+1u12en7/dfjjMf6gJvoMvv/n+YxyobRE2Ki3ff/l8+Xi7214+Xz+fPz5uNg/nl4++u7q4u1ht
dheru7vru+v19fyJu9v72/P71dVu+/23vLcufvctRx5xHuYkceH1Zi0P87FhLQ+Hh983vvuQs5qT
e/f7IWQtQzfkH0mJuHeb3w+/Wd6HYT7NP/kvfxbuzVPgvr08Xb29Pr3cBu7u5ZbT9XTzxum6vX/b
v71Sxuav/e3bHmIf9/H24uLp5fX87T5wb19PrO8RF8GXA2gdVTtNeFmpWjGn5fpyub1czv+/dt3V
2Xq9WbgLd7XgX9ztcrv8fjHf+a++W8w5/Phw8gufAkboDd6SGXIMb1/fzg/XkFG6BzBF7t0Va5W5
F0+7/cvNy9WJnZxv1XdjY/c+jg3AxI/tkUkr1ra0foYqvO43YYBTXLRUpvbfT/WdNeR4OEvalhQU
GQ3bOFpjEauoXMWRt0QN9zLsL9ra2KY2igvmWynTFWnE52lAtcVYZd2d2f00gTZ35k6ZXsb4Rz+g
dfzgG+EJnOUf7a4146GkbjuqetxxGJMTVWUPvzbG75Bj/e5gOT3cvFzcvDzdXL3eq+7+9dR1PsIS
/uu4fRz0aCmmoAJ51DFoDVFQI37KWa1POx/Gexsii6rxlpl9rjUnmss/o/8Y1TIkYhm0gWrzk3bc
pDiS5PGVtoTavoSJSGrhVMEI38NN0nTTr+93+3isuZhsapaEmN/UTfuYQKTqesBtjY9qDLJfl3WP
ZHJn9jRYR2F6878Yypoxbjzs4kurdR4aoep0kb1Myma6FzQto8+lgC6xkin98f1Y85X4eIbnacFB
zUKS6CZJP0/7w3WVwP1as5ISTYpcXDu1ACBjOcmJQ/mnUSzuCXV3A8dCPTIKXVUNgaGpklRXO228
XqIeKNGA/H4uX07hPBkLHJVpWqoGCO9oMoUIjViOulzq9UDriGkYP/sp8Q1UN6S3C9OKgk7uNejc
xrZY6pbt/IoyoZwCvPxxto5tggcAecAhPVrTNijNOB/lMlImiN+dTnf7emoW38/2yyi2KmwdMXBg
kZa0jrvZaxHQ+Oa1xrKtiZ5jewKaTCr6X/k/3OY/Ixu/jmJSKKMyZtjCgNDl6GL7fdT1AWIxy6FU
1UXlZDrVPMoy38/ly+WywXTqXGZpgdYwjumTrJqkvaCCuUQRxNkFpeYsgB1Cm+uHgfv9UKTLjk78
0VhHnpPjJE6q2YyFGrJrBPFdastFiY4QgK6zSMLNp6Q/c7tBRFwu/KnYcs5WSmmt4e3Zala/BWyx
QuL3xZiV2VV9HUE8AuW99mOI/tYQzJ9qoNLh4E0L59i+qZpnRL3OpxpZlK8b23hEBlFxKRT9HUIb
+Mo8EghW4DLvucEjt5kOyTQxchpOPYOUeAzY9kIRxinGxtnl/2RsGIXDSkDAXMimzIftg7HJvTis
BphUUF7tIDKLwn6dUAy8ssaJRAIaCGd/uddzEpZEp4EylCqFftx8EDaKyttRjUvtoroR1+0+u6we
nVfzChLn5md1jkDVzXQVvExv4Y2z81bVsj/hkuiz8/hxzsefcDTnfigTJaGatMz3xr16J6/Nq/zN
2vg747aP3P7Gphz/Q71BHgRJza1xbTyYJ4zv8aoff8GRVexg/of5GIUgnyqi3WRbcCVrXSBNUcr1
9wt+bC0cFZtqkcNGwBTPA2zVpw1WIlGgv0RVBOoA6F7sqbqv/Ex9PDHKH4YxhcolNYhzsfRHa+oX
hqcVcqLqFqRndokq79hpj/agR4i1d+RLNfITu6D4YWj9ZkDNvnV+yBQKu8JDdMeeXGmfC6d8nHrE
akKah6Hj7repWSOzdKnn1kJTJ9cGJ2JEL04wumN9aJAH1p4GxMm84kwbR0AqrzobqCo/JenU2AIf
RJ9rHL7mTQEJYrIWFS3cJyZ+dJZYXkujqGDh79jodc3+78f7E5lOMnlMNwVZdhhi33zO02T114Pg
U4GJxx7r0jwmaY40i1K5PlLZGlN1TdHuVib5KZapP+wgg/Be2xicOdvweSYDWrq1Ytak6pqM8lZM
uTBp7Oh/MRXWS5tzGhrZkqPAznJ64clZjjRO4DIVkhqcObb2CSsz28aPN5xdocHAwsLYumHoxnz/
PuyK0TMw5QHylnE8o9wT554G2eZyKKd2k/uhsYjHQT/BFXAc6rwPOvc7YN64A8ft8J6fQgCRcBS6
2s53sqpeykw3qB4nClKYdYlSijYFVMi9Vvv7UwjWH6/b4cEWQB4/z1cYqZKlMXAhJDiBL1RIRIyA
Kk4Yzj+dEGzJDPnEkSKQ+TyKYcOLM1VovMapL9eRSNqdxqt7ooVfOzaO8zpSVJMO0ZIwAfF/HkZJ
8o7qCiXfyNSR1UkKErqj7lOEHuED8kbbDeIhXdcWnPIRbNCrus/rJwTjwfMhXWyOkDJHSfpQ9BJM
lHaCJurdvTo+W5Zl4Z/joevaMbWCr7dD3PJaLjWj9qkdNVV2EINWXFdhPtui2LsDwpZtJ+JTAmvN
r2/rIRUV0l+JHi/obsj+Mg5iwRzdEVgivFu+6sjEV0DECtS2UHToW3ObjpAi4ygE6Bj2p67vvPZH
k3cM0oeYCJKV+jFiO9CcnkbqBp1ABYpsujDy4TYyRyPfqiiHdCeMxfzhn0fDDiFapzmcB/z2I2OB
Lp9faCYa2l1o0xwOJ5rbhGO87awig487Cy8mQ90Gg35XqOpwwpn/MlUN+LAUNnkvW87X6vMxbCqv
sknOl5ROMhi4pZnwClWyS3Q6MZNKOzHXL6eeW6WruqHSgK0x6NEDqmqJZSSjWizHqLxOlOaxMHpK
QXJ8TuryFJ3XF1MF2H6GdDsmf6eGfeRbKkqKUoQtIdyNZLNSR6WDGH1qz6ym7u5qGXYzlifZeJFv
n3BHvljm95Fn/4fl5aIfjQyCq+2qGmSHNcKioivFBdB0fzEVwXPlFNssR8X1Lx9PRsRhl5ruYCGt
OfP+8S0IqdiRV6fU2wBBXhSjn7jNlCfL70c52j5rjtctXACuIPV9893n/PDipKLVkkZOxTLX6Cy7
SFF4ru+s1BoMSKqJIzY5rVSn+LGOjiiDyjkYMeYxbZvE0uepIVzpZ3ZTpVSxi/pXmDTxJuWFy91W
BMbL9xM8Mv7zWEIlMQF+X5J1OSab6whCQMdo6bJpQu3WiwrvIZzAkP79KNpcKNEtHB4SIJ9nRJdR
I4q6T5dGZcQI8wbRS2UYwYmX+su6cR4csKbg84SGzTy62uFQ+hZU1elSFG1qr1Gly37q6lgkQCPK
+oSvfxxukPRQyQXwbHLKVKZ0dADHSW+Tkr60ZShRIz6ThUkmJPONuSpYCRDhCF4Kh+69cpys66Kv
sifQu5CAl6Ido1WiZXB566GUwXNaJdUBrbgs+m3DUXSZJ0HWr4IsbOgRNkMdUvvBs636vJv02kbr
O3Zu/3KDmIxN7Yg9opJE287nDSp7JwRszWSMKXIWQC/B3kYnqdm+3CYD0wQeRseN4uJ+8RLB1naj
UiVLxyl1y03NZsjoM0wVFNbppQId6dfiBMPJlwMOoGfuPpGggRxsxtHMGlrKmgnsxJKUXLnqI2ek
KXI4xY17RJY096HimGpMDdAP0f0x73Ws9a3XOX66LAc6OTI78K96G1km6Kon+gLo/igTirl+EEIM
3w7BqrHrwQVDPWxkWfvbyRm1n3+7p7OvjNNvWjom+Zi3F+S5GaZRkC6dBCcqjES/jpTK+NurPU8c
r1EjjuF9O6aHH4YxTNOSUaJKhPcIBAU3faSconn70y5iPuZkhqnquA2fz6dS20pmoHu9LEJ9Og9b
pQURomX/i7OCR6DDPMgtwFv9PEoc5AKosZPgZXfR2h56fQkedvw7r/79qGAvHBJNDCTec6sf3hRE
ncYSLzLhTmvJW26o/ar2S0R8v9/+oyf5fRibtWJnyP8QXn6eDO9mrTTzMKj1KLdKBEcJXdPozDZA
F8nLxWcyjE/FEvMP/eDa/WtQE2eVzKLG1I5WkMZRH2Crlixt22uXWjyoWzNWUJCNqvTh+/l9PRIY
EHxI/B1mySn/PL9YiFrozkDbChg3b4nCGkCbKYmL5ffjfJ0SZwF4oYZzbQoels/j9DREqTUk4cvM
jy2wSAQBwFDrULdWjmh04/f3w33dNp30vT5Ht4Kw73haiVZZNc81w+Wd3NGZPAhke0eAzUXmmZt4
7FHeZms3fzvsfI/hxaYWQrL7mBQ5GjOorMZEWQAyKvuVpdVINopSya/pMkRVUMNmRUs/TasTmdej
YIATw8Bku8FKGmSa3svXH27DUGldA9BMwVL23nmQy/Qsln60mYZxXPjZWG6UJFauStA3SzWlSf/7
eX99ksjwqBpuAykSlcf88+6C6qiGJFG8hYQrCZyXMwXpOkXGpnPH1CAhXOh2p504Ul+PLoMCTbV4
mYiEj9t07U7NU9PyZn17W1kpAAPdHmzxiVG+HlxGYX114KwAYY8tsxM1UU2mzkMjupv6iwrCBZg4
A6AiyzjiYJ14CL4Mh9dFYyruKmNRvjtKI/jtYIoWJjrQjJO6adNonxigs/TyJKnll+XjnADQlSQk
Kahp6tGeKXXbVhXA8YXaBMHanqjHeBpgtO9PxpeLOI9ClYuDiev6RULN9/MyVxy0P7u+zO50uw1p
mrG7Jy00zcCFABGyLuzSw/ejfllFRuWFew9NuRHHq0hF0jGqVrcXMV0mu8yC+6nutPi2rxCG/36o
o2jRIlOvc9E5f0RtEkqmz0ffCvklumlQgtZltZeOPiDk3dKhh352bKj+JRGtRJMkavzUcY1uyoa/
ddgJOuZsEIllfpLUj45MUpsVtaoESGvPU6sUBvzcjpo2+7y0zb8NdOaxhC7IcfCXfgySGhWaUHIb
UekgaotdCxbzUjeRp/x+Tf+wfZL7bNosDfM6PprR2GWpQh5xkeZqXK4UU3HSlU9WV12Umi9PJQi/
DjffcEBfOu8S+3mUSRnMipo1r+Miaq3uPIr1euFlg3YtU/PfvfT/tTz5x6HmZA3Vf9J3x4SZPljG
IBkbZqaU6rjsRGk+jaUiaINtoWD4fhnno/fJjRDM68NgR0cTBtLYMxvoI/y+69eFnvVuk5XpCdv/
pymReCfMpjDPtZt//8PTgxEe9VHvTKQppUxoGqnknR9I+8KobNGsvp/SHwfDIEscFiL7Y3LyKUyo
TresX2B4Yo18r7pSQ1O50EdrOjGvL2+aIHvAY04zA2NRBfw8r8kb60iPGAqAbX0bTAbIaTCyO4jT
xmWVZ+mJa/yH3SJbMXP86CYd+urROrZOVxlhXpuLPGzkQ5eq/taR6d8RDRNhzbOyTGAHDrm7Lwna
WnOKvI9iE6VbM7rOokQ/S9so+ttAeB6FbD+leHLihPef124IGj13JHSwqcwHF6H5YKP103jiMPxh
hyBRIMuD8TVohzi6t/zoqTYz1VgojS9f2UG0fy26j+Kypl6qZ3W3/OvTRx1PpTJDUpnc+9GAhedX
MFpm4DPon8oW6lRLE6hEqf4mrU5h9PvRvj6dkEiRFYEoCjIJMlifFzHsEimgWTAWYjCgj4kCegDp
zXIufTobl5XlXHe96p9IyBDWz7P4ZDZsmChgPQF3iyPpHGchmy5C2COmqdLOy+ah0Lyy39J01qAB
MRmAyAtRwueDFPSTAdj/UrVSOvO9sbBXqTLRJhc7WSXpFW/CO5++M8etTWQY6AcxYUqvhN0vWsNP
UQaem2StKIdDvbEqI1njokIh1SEVf+9xFYQrmiY/twslqRa+7aOAVcCtQQKPDvIfeinqp7ShkWWh
+UUBv02T61ACTBDfBo1p/jL5w5dxYU6wBRgSKvXElk6wNH2Utd24lU23Drx8fEBxVzurghlhkQs/
36mRKn87iqOdZanhNZu49KILEY4++UPDc6BoqkV0DZQlzRZ+2SfbCo5Tnx4j1TrkJskst21JFbtN
HecXdVHREBKEpSJp75M6DBJR5D+Vnoqoo/Br5lSrkXE+WuqY7HqvtcmEdZ1NM9AY5T/joPOgB4y8
9oFgN35qu8ajWYTnMXZ9RdPuWuiUxmU88txDNaGFj7Da1BMgfNh619o01K8+bdMwOvV1/ODYiTGe
ZVlj/6xoE7kF0QTNcUozxENn5OHPoU6a8LwtLEmHRSe7yi1riheJP8WOq0P2MC10r4FKUy1K5UbU
U/Toa3hwiybI7XZVWrVNKSASQ0PRWqNzaaZ/vZxqKy03svG9AkCYMWsBD1BZQQZS9FtFL6qBVhvT
6OldDMKnUbOCJ0MpFcut6kEXZ0psc49b0Ba/a7BfF/j5LNpYV/mlKsoBsjt18lHJ6pt0ZUTSfqGZ
AdbD2PdlijQsAIBFQh957DZm0hwkXTABU47Nn101Vi/9WIvLxGus55I6ujzPO1jT3RbipJtYb3s0
oRyr05DXbOo7GHh6n5ZHOBUWej0WdJpb0tPcvChR8JFwG9mrri6MMwEjmrJsiA6o3KtGJRZ+zGBI
TdvGWd0W6SHWh+TG6bv8tQ0S52eQtGjKTyR4z9FeoL+5MOuf1O2UH2Gpmb/8DACa6025HS0s/Ohy
JWWnngWhiSNmhTRtrMw2MynuG60xLFADV68bZ+otSF4N7QE9D/ig8sxpbuouRNYUB8+21qWW14TD
gZWcGxygt0CJgIYOvgI/gNV7ObsVG/59h4V/6EZnfFRstfVdp27H1qULqi/g+7abfhHIEtaYMRLp
msjYj9Y5tdiCRQymx4RUc78eJ4X+UX1UZqxpLLO58b5oFr1pTvs06cpzn0g5XClGYb6OskO3TWqD
jLeW05WryhiEt6jw3UziBW9ET9qvnDslcKZ2p5Iq+0mmbBLrjAbqyzJPrGcli4bmDKREdq56YREu
R8tobkPbpjOp9hr/LJ7KKFpSeLRRyUxUulIUsETdWa/jUdCaN0GVLjvxO7Hs4c6iedBCgbxDdrJi
CRBOTRv4WmhnTx6U0g72Smea13pf61zKMUWR0m7SxlrAKmI/T9oAK07EfXSRdPCdFRXSXKzTSkt3
nTEMclHUyuisQkPHUBlykPTUWx40smHeQTilkSgB7IgfwtqJThy6ye8rN4imYc8jZMlNS+986w7Q
2gxrTdHF5Op6OmTrwY6jG30MbHXZt0I8tFpXT8vCGAOYQpqqvaqnNB3YkDqLF4UufXMRx0oduyaX
Xlv0xUSFtk9LTV3aZVOdS5Vm+7ARdgp9T9A8tfQ13UxG4d/mWaY86yQZ3iYrKrEaQ9KSXdTSZMnB
ienvTuoKSV3Ty36HYYmufZVPSXBdqqBhqTfBKxilKegT2qr9X0Ufpm8FR2tcDjjl3VYbA/hJhgCW
BrQdur3etPXOFwosIlE9RA9mWVsvOPBluDbatL8Ca6C90RadXSu00A0QqI35S19yqd02ro2Dk+bF
sG2JqAv04OPkOYB6QQVK48iNP5BSWIZGmae7JgzbXwb9cLFbTMpwABk1qGtYp8dLEeWOx9LR6Ik8
VFGurRRgwMob/g9z55UcN5at66mcCaAC3rzCZCYyaZJWlF4QpAy82/B4utO407sjuR9UdbqkPFIx
up9OREd0F7tIZAIbey/zr+8X/E0lljR8TyVnwjesTMe7JIukO7qy0usir9PNlm9/mupo5IwoNeW5
Gu1yoJGaDnQyzDXRdsyOUftNjJkuiL629BqLDavGCODwmWCqf5zmgcVm2tX4IKeZ/jlJNE6EeZoE
L2ihtK+xOS5sjVnESWIopcrRXBW4KNhdUnmjPBjM+g9q9NyuMqSW01qlnMP7vs/LOw1CSRnUS6dh
Pwo5IvPyzMnPQu/6L+AMonCeYe8nYptoGyoeHOuNxcuIo9o/crCZb06iGQPbtzI/x6OGi2BhNoLp
eZaoZ8VG+U2ahfnJKfICaGTeMBioDXqT0peXxk9KnmortCfZZAIfYJSL3qG4yq0sxsnUmpTeXepJ
cHesqbPJOfL8KV9t9hunl9KMnjDgRFdu2fk8NdGH5yKZrclrIj6pa6xRnuyMYp55pGKN2+OULK3h
ynNTrf5CMKvuVjNm5BLfCZ1x2Bw8huuko5rsdLMpJ4/93XiO7NVYDqY0DA+qhHQwiKUEhnKEnm9F
yl/HsKWmKIYS3nbjJ81u+RaCCdgaU+fSYoBunJ2aTVe3P3RdxDhuHyeO8Idq5AvoaGQxhk7Hsgff
ENcyrS9neJrz1frS0RcWDCgyes1t6ZwZ6+vJ/lxMlfqhbWfrpI+QrKi6iVupi9fP81Q3n6VEiYVH
zWWsXRTvkbLn3M+u20rCSabJmlxyxZIkAKpSQiBVHVJGI/MxdXZqigcewwJN/pjToWU8EB8Dg0hg
ymGt67X0NvSF+tb0Sj34XS6yjhs/22w6hf5BRlU8ul2Pn/TezMeJddjFEQLKIscjAlWYEtl+SsCX
8W2nsU8/q06uW64zt7m0y8e6rj865F+pL3G+1L6M4vYhNTQwYqsRJ/xSohi5p6Xc+z3MgvjrZMsC
detqS+tOGsryhbCTiSYShGLdd33OG6OstO2urKhOo8M8riavXbvth8NmahjMmt5IrGZbfM5gPgw7
eozF6nEsDTCBymxhlAaWdXYcqS7rPggpRyI6Yxu1KEwwZX2kSMpgY8dAZXYaupgxZ8R9EyO9XioN
jXNvN7UiBfrUV9bL3Jbxo5XPYvIoDYs89utGmHFI/4bhTFsSrXnb009cwwaSfnG0qgLVKUwOogsv
dWy1OIFxq6UAE60+2c+jvOR3iZaMR3zPlt6H5CXJx5FYWz0apZH3X/SEIHN0FUZ4C6+kKlgEQ10O
i1cNfbbsp8FO0RvSAIQ6KcmpHPvJ2IzpUc+ZUvkYr2sTzQeaSC2YYV2L8FJH7FN2V0JZCPzYTvTh
oSC+GU7zCCXuTus5J2U3RdojAv62lu2WGpoFNl8F0rbJGG3nMLFF6PcaIU8E6sZysoe6iUX5BHky
XzKSbzmPP1iDDaWst1JbfsmqucsY3qwY8OXwNEgZ+DcNO+z0FnhXVSa9TEqAPgnWVdkzkco5qnim
is+pS5CGwWnOYWDsUovjci9K9ulHpeXBXQ1rmZhHK+3EuM/qPpL9pU2t8UlR8nU96wkVwCaMi7lB
/jehyU8tN66sZPxqgzYf3AxGWbVrNamUEYb3ifRsgTAqblukzGVgiXgwVt+EqCYfSYY1GBpD3KWf
+ob+NzPXE2mL4lk6PGDPWGLxXE96uQTxgPjg0Y41CeOnKtKkfSLMBezu6DQ6w+bxCM17jOv6pRvw
5yBK2OB5WrQKIj0oCSRkXc+WpjVzzIV5fGnYNINEOOVYUau4CtFFd9PI1cjmyoBH0e7GuhzXUx9R
Q/jmyM5SBNqcaeqrWVXCvq7Nsh/vG3gK2r4XabFFjV07PjNLAWXKbaeyWD5AoBur3rWsIRK35VrR
jnDBJQGlqYoE+lTvpHX/Rc7tnFCtp9VPRcJIbuoMnaBX1Zj91GM6rqGaSYbKmaV05eInEsC7XZok
eXblAMLoGGzJrPGsyHMtiJv04aM1MspwqwmaAjiOC3n4wiCHUcGqGccPc6ayRdvWBItBt0UJJatY
nXsaYEoVaEtq1l6yID8OWjkDTgMdSlFxguwtMgpHN4S8W2cxWz28sdlOgkwAByWka9fR+hbVlhLd
zJ1EeDcuq/YUzQxQY6tFfLMb+jyN70u1tDS/V9dZwvd4ZcQCFj98JkfSM0AGbTaqjz0PsdpNBJKK
H0VZJb8pGGiZB6uNJw1X7b636v3aznUBdMJWhLsYXV9e55kdpddrG6EeAp6Wj0EvTYDf6FPM7ccB
3FB+MsYm658mva5ghOUJ+Rtz8aCT9w4itTSMh5x9LtUmTdr1k8CFxZi7F8Va1xoYuhis0FyMuARn
pBoZ4OUpvnecpCvdWKcx6bWyNhWnWGrz2kubmCm2gZr3kXaz1sM0GkijqKRJyhmjeqbMFXUmZ23s
dGbLqabI9AeT6Iif8BVD/CZ4Wwv4aZz0ToZvH+2SLBVePS/j27zklXPO0RhGb+mqVMkxI7O0T924
2PkHXLId+5Rm8lLhU9upxs3IB19vQC1O03VZdwbZp1OIoQqIaXW4AAka0UMjz6z/bmp085wAYsqE
O2ezZhHbrTGucgNY2k9r1s5f03mCI3GoIq5zb8X9EnnI7RTgy0opHy1brGxcxED28jQkWt1+W2JZ
y+ND2judcgYnUT4rI8slmAc5OutNRa6eDlUUDE3G3AY3LPsW80o5YHgyW9sl1dwIiIj9kMJry+1T
IWd2f3KETPpeaI5+jOYMsmE+G8OVaQisNPqusis4VEkMLk2u1G/9pCDrosDAydDlTfvZgJxNItZZ
8zmzUNLx9hTL5NZmDrowh9Od7Ph7qOxUKTZeSHHrdb8Oc/GkaOCKA0B3eunZbQuCXzd6HdwyzOOg
HmtQQd027+SSgBTDvpN4eRDEWGoSiDG3vq0i24+LWjf7wWzGq3pQsI5tnGT4xNkM2GqFm9YFC5UU
CAx5lp+sKhWpP6ROPgWp2rSB0o7ym9ZB+jrU2faeC7kVxGyZ5aQ7uq+LnzKy9UifgioCYUN03ycF
9brEmFThwTYbP5uTYn6ZrbgqPGmc1/umLxdqbLLSXltCs1iwq2p86EU2AAo0EP+1c6msXp+q6Wsb
Uabdtek423tyyqq5EZLcmLGbyrOMbzUwyS+W1aGuJTqJTEzITSN/NdbSuFKdaFo9Zx4cOTDkbHyg
QtIqgZ4p4qGAcAAmTF3TGTREMzyvsMWR+E5Iif0JAd1HYTtW7JmTDkFiAXTVuorWyN/auVr0YFbo
WXjLJPcYEUkKZVdJZM1XHlyBf9Ai1SPEQzX+ZBuFRGFAF9OGzdOzFxjSauNtjEPIl04DOaVTcm3X
jBIugKo5Sh+nas2kBMZariiH3hhUJVi0mCgkI0kcPBjdiuKO86hwi+dOp4Jd1c2bpWV1CTMjSgJn
mMuvnZp25LD18KJMyWB5Kfk6H1iTCMwTUoYn5vim3LU7iqF+V+msXGc200c5FRFcwB6So6cu47ek
osDjLU2+Nnsni/UvAgBI4hWsnVstmlEwmkTGVC/tHqd5ipHDadFh3UpGBj4EuM3wqEwIy+Z80Ygv
Wsp9h2KQndUzhrJRjmoxJZXvTHH9pepzCwvGWqQvWA5YOfkOQb8vZfJaEcXrSx0kwhk/gshR2pxM
gXhDT1E52yMzHIVqnSB/a407R3GWQoFXqJ2xsfQkwKVTf5xVBXtxPZIamidpEZOf4VZFUlqWeA6L
SWKzVWaiWpf32FbZZyeDYqZYJuExAAVaMl2X6MsMJtR0sZR2Snb1TCIVMmztTDBENFvYEXZvBIfd
1zadubJel2BZUptzG1GcQJHR90qch7k+gfEyyxSDKdFEIPfKAcigYWfGy5w7aecD0W952fNhkvyh
VigQt+0okptxjNI8iNjSpmsgSzha96VdTF4uGpW4K2+aK2JFQItJOdoKxMxu/aBrLZ1YCx8arGzZ
9Egy+6Ed/JgRMmCZy2x9jYdoSjxEBKV6cAx6qSddCEbb0rjuXpe1A5ZvjY0C7VXvE6KKXut6N6e5
NjEOA73bS6i0UJEx9OKhkYulvJGkxM4DNXHSTyxGeK02Ry6OxiRFew0+3hCOrdlLgU2hH2wsp7uB
PlWJVd+qmzLeT07drEEU2ZHYDZ2eku7IVmX4cQ8ACcRaC+uPsvq4OZI4lCyGGZNsIthauXFEqcpu
G/fYajLqXsz+QCutCiRJpL1vOb2puXWuJ+IgRZXuhEMtGV+HtJfI3BMKVb5jx/E9kLsZ7mR5pAzV
Nj5/Hk1jm0YdY6KOKHDvHIxF9WVMm0XQqM64+OpQi8hXW32MfDtfTTkYjSX9Vo4tePZ5XrUkLBjn
i02fbGWcH0SUdwNuycZWNuo06ybCqn7ykDzKX+0SZLLbEC6emlKeu7229rAvLbIvxe81dbzvB0t7
4vUQvSfoEl/lolbwzZKK4YaxVuoYUpmDUk0lOYCn2sRYwKa8PlS9njK1VmHPZ7b8MWI6Kg0cKH8M
b2pIrvA/zYpinyozvz1nlUVPZM2ohCsAaWdXJKks+XYRUdqlWiI94MeQxhzutfxZiVIoRxKVmSRc
p76Y9+nG4XZViFG3c0UV4JqmrzyQMQwLuAN1dE7Zyoz2qZwIyGFy5XJ1aHqjhJNZ1exVGE7YT3bj
SBx/xFOpv6JG7ON7GhtJeRZkGzepRfTvW7pEpSha6s+NZOmxV/Zt8c1p2/XRoEu1ukPVaQq1tbSA
hjcqaMpmfRu1N5IXKnoMNueDqA7Q/Y2UA42bTE1p6W7nYVghhlYLAZI8J/lJ9EXrBKVtEvYas3Vk
51xfWoPJOXeNG0alifGmcU9JVQKYpA2JW8+OoHAlTSL5U/v3b7Fvbpuv1UMvvn7tr1+bSyeYn/g3
t+NXgfDp63/xL3b/tRuqL689Ni2Xv/O/kB6vobWgb/Z7Hs5DI177YvkLvtf9SMX563f/ou8p5h/o
YujuIVRjlngjv/9F31OUPxwacJsaUGcWYTNx+ou+x/+zqVH5JaYhtvSFXvFfVBzzD5Is0uRtjNTR
6ZFr/w4U57uK8u9eoKRucnMUo5eT6SKZtHHRCfk1ccRl73OkmoQm0RMn/V7aDq2mPjrT7RC/NxP/
c0/37wtedIzLGhS92gGRWmXNb0dnrw5y69pr+pwuzdsPT+L858f/yeBB+6nD+fdFtp//KFWIiTwK
OV7CfLifCLb0qvcng60vhn83v0U22XOqnoS2QvHkjOUN0klM3rn6Jhz41T29EBQUZqks+IpKIbnl
vi63WTcJdvPqktoypHDewhq+sAv22pPm8qoq39GD/M51TLvoW1NQSp2qlbpQAhpmUy4TaWiQj8Xx
coLrfp5a62Tlpi+kFp7oe3iB3y6iiwZ2jkkA21BbhwvY4luOgNv+QwJv+RlHqvfG5H+WYf3rkV7a
GUhKovbdWkch7R+/0R2widN+EbcQ/AlSHD8Bv/zO8/vN6lG3j/DD6sFgVcaTY57DybT3K31t5tzg
yqo4uKVnaiGwt9c9UDLInI8GjXJUnu8IHn73ACFd/XRpk/ZDQl7Uh3qh7Ef53E/W3hBklPTqDE7J
puOO6ieYJn5ivieP+llb+vet3V7VH76v7cwSPn4Y2eeELs3k+Jo876nJ75n+9/U52mP74qaT/o7u
5rdf8kIAQ8V1odFk22Hz0jykXymtMqBcYBv4QVzjR0S14p0H+bPQ4e8vdrHX5JEgq861NnQky621
x1KBd7w435cPnsxUTr1WGnZKpj3J725wyvf52l+8/5dKUuBGEqwfUYf9ziT9eVZequs6uU4e0tbe
JecqxERnoGiJabI/fo7MI6n7TXU9dof5hNvU5yg7KUkApXe8ym8M8q7n7GxIr+OV5Eoue2WsXbev
9Q2+UEOg+XmA8ti4lgIwnTvBj++yLOyv7Ub5UGDeNH+Aie1+tt2WOdHZtzskHkfER44KY/5jf8+k
m32tBIpXX9EktfZdmAXLgXb8KVrCeTf7uqdFu2UvjnXQyzvdR1hwENUuojV0LW66Q0oD7SBunHuT
v1hgyz4/lvfSbrhtz62Fhv5Oj96yD9pVvLfHfXuIT/Uho24brEHWfinu4GjIwh/fUIl61Y10nCh9
7MW+2ltU1g/df7gzXs4GK1PpxBQM1BAOIoGs40PzPlh9hGH3mJ2tDcMaaX4JEcXmf0ODf28Nbov6
V4vhYkuWNNr46PrVcNheX1l1LcXxhYEGV/2UREDRxghDjU8pmXXEtjL2zblM1f1CcaZ/9w23fvcm
XO7QJq28VR2j0NZPslZjAQLIZLH9ycmOHXoEl9JM3BUfikk+RWVLfceIj2tieBJMS0OPss1cQw46
KCvzOLnMEmKnDr+bqv+8TBJYyNEJ27S9z1JfxMx4w4kcj5OtpDuQlUGbCp8zcfBbtbhlDjx3J4ly
qAo/s5xotBsTPbsOAzVhe1lBG2BJWWzLUxYr4ZzatPI0RfPGYfmYVsltN1OR6IvYLWL9PCvG9UJu
ZmeUs7XScunC+YiNM8sqb5KxIokvfSi0D3XSHWKlM9xBKQ+ylbe7JcP3DbOFm6pWb51q8vrmLbY/
vUuDuph2+tf+cznlxFg2Fd22icIoPWTti+PEb7Yk+3M6nK2GO7gGvdncL/a1vS4uSajLPvzOIfab
Pf1yDGNIYnk0cpq4qLreQByBudJodxMCRJafxghgWIq90N7b039zZioXB5cu7Dk15TIK22rPVzMi
ULgs8u3UdOv6PhkXt0vvk3Zhe48PyNLe+Z6/iz2+z9H/cHit8JxLtCxRaG5AYTgHVUNdodD8BK8D
J2tO+noajbuqvn/nUPndN704vXStHDvNENmxChvHOaJ4eJL65LA91KyOg1y6HkVxNhROalM9rfHR
Cf/5yr+JgC5BX4tUoWpoTLqStnNqddL/dDx1jkQksJwa/nkLg/75Ur+9qxcBdC1PhY2sRQ3rRT4n
9LFs43HzYKGPRfmuIjJCo9ejQAHR+s4lt+j4Fxulsv38hweJxFNUWGMp4Rj1JwkHxGi6t53FL5M8
6BXllLIbRot1+52Hy0fJF2rZ/3ztS7fMv9/Ui11a71AOFSkh3zye8sk5RPgV2RwONAe30hwaEA1M
n16wReV5f1WRjZeFc1sKV2nFTbXOp7WYwqKNPjZafaWpELPzPbOtbkvpUeqxrtrZ3S7Xjm23q+vT
srIV7XOxk3h6yk7qI4pYjNCoh4WURCUysJFQzfLMLntIeLIMv7TzgINJsh3cXrIyAnOvraepedOx
dSBITPbjuBdOWNkHvIVm67CKgzXv5DmoAZG7EhhwAjoJo53otOQvmnozladIfzH0+0F9dOYPjf6t
15/L6kEZ97m2p9E19gerC8culI2drOxLJqnKvTJvH7pLdmLeK+NBGg9JHMZ4JiYYZuwARruUThpG
9VypwTUUU0POfURvVoUBpqbd5mJ4zFRxpdUZX2vFLiU/OU0bDsCqzaXF8m6mmj7u8sEJx60x3d7Q
CgnXTHswcTocllCW1xsUFZr5NNYQnpcF4SJnKK973+inrDB2FP72iT1/QaMGUWd5cOh+uZ1mf5Mq
5Z5m2pPe3yg1vl6F+eho1XWllZ97JzlZ6XyvoL+CiRwunRkAOGCGSwcslnuKIwXK0n2meLqjeO6W
nfCbrHpFV9O7dpogOwNXDvrHyfSnsmAiq62ocnEzpK5CwGTLV3KSP2atFS7INIuvaEVRYGFO2YLj
/pbGBwEP3PGLcUFEok3XyWAHmSH2cm2sQYGkH+vBQxuT1OEhNK+Vb+T2cdLUMJYa3EDX89LKFDpH
d2wmfGqWvWEeKTkhq7XvFOqNVT8HLVQ2p02DJvHWmOMmUQ9jVz8Uc3WbYVqZ0Sq2FDmMnHpyrX00
t9utuSWnfOzzD4gHYYPjg4f1DdD8DdJfTp9pajF3hlxqbUJa2mHRdNcmav0loxKuW/PNktpfdcqZ
Q3Pd6pMHuFlQAaXUaAH0GpeDKqfHKdbv81m/hoP9MMXWm73OaHJ6P5fVQ1IUu8Uwrqj5mssZzQhx
o3E3ytOVaufYjZrhJA97g3qFVipUVevQ0JEpW/bBTM7lQv/FME52356yIQ8S9aPURLy/810S63Ry
IrRTWGjpefqKSciOihrWpoOryS/srG5uWV6VnvEJf++c/N0udxGIKYsjoGEP9JmWkNL2wW5HzGKw
rUqwI93SzW8l9u99REhlrkdaI/+8w32f/P3F7noJSbAo6OpWp42hjcs8ZmbXcc8LXo67OpNvtIHa
bUd/lML60Nx0SK/r8gFpkx8T8MnmQ7uwtCwbUVfrI/Ly5Eb2ZPgnVgUOH34Vo+8ZLeVYmd2SvnuB
fjVHiatXj131UZaJdr6kkxo4jHJMis4ZmfNeSvuoLr2REA1XpGBQF3o2d/GISc19bg2uY7ee9VjS
RvvnW6D+pvIkX6T1azKueMDRAdFoWavVKSqOhYqV6UdOGBRjm1vtgHpAQmMxY5p77rDpcohZZajq
Ml7WcyhX3gxaqzIbDr/Ud1TtisjtpmzN4C5B1/PPH/T7jMuvntVlLKXoyaobuQiB2CD+VUNL6n28
hfZYcfX6vezciDX3LNxhcvVOoHPCDCLMq/4K0faunCyP2UWe4zlVr8fkNLHIVDrJ7bFtuM10UAr6
W4OOgc+L1rPc3mgxeG0R7Tuamnlr+XNG39BpETNXvhlVtKVrbzO8Ww1sFNuYoYigg06G5ATfQt1t
68cyDlL6aiAkUBV9LspvWwpgmLKX9knQzbmXx5arLJs2G79hACRQcriFr9L0SYknD+/ZxqDpJy13
vUYrI5ddVdyhFykSZCG3OgJQc0XU1bEKaSUqIG/qD3PT72rV3sFx9ekseUAZvCXrdhV/HhExvbgi
iEvTc/qPVS+7pfWoc3rr85vFpjus4p1l9Z0W86undVE9kSwgFnmnkDdf2ZmyryvGOQvVPC99vY/z
zY8jNPqHIXuOJ6C388c2uQMEzqgWqbQ5BOtge0XfPepDvLOLUwZsP09x6fyeZB0na3kw2g1ymXix
wDUrygOG8VxLG7zFifZZLm6dnEnuFBM+3JdLkzEfg3YuZCbcPnxtoXxAtXPqc69ieKEd14Pe5l5m
Gng0lcfcsQ652vpZybmKeGZt6yCjpaJUsU8ryEVF884O9H3y7Vf36TJujoTS2BhPhEbxMepUTNTM
aw7vkzyurh73B7wcbtrUuVMH/UsjpY+DvE8s+RolzWMeFzeaaMPRbO8UEeos82yRblezxi8kf+oS
/YNadqEZ9wGIOB/FoodtkmdUWxI9xuQkH81OXE3xfLKl+qCpuisXrwOW4A5n6RrnqC2kvZ3JQcJq
XHAilooWBokZxoDM6Kp47QBic/mkYwlYwvId5zow+/m6sYZwSRsEH9G+LPF4479bBK2jMPdyMvjZ
cwt8Cim/i/sGtBjEnJudm4uddbDK+T6nzQuCiMz/vc3je97zq9us/xxG1zHz8lDekmPamr5N+4ea
4d1AAdOOxtPS384SPy7sfRMbfts5T2Wk0Qyb3ULpz+3i7N8vK37vIfzqo1wkEetCq5oSgBTauFGz
eWknebntllqhnIn7Rb4Ob5iqXxXW9Ej4HWrrQx/CyT7hHcr+i+NJ298hh5FVb4Xb4C1ozYqnleGo
xKSsMJVv5bCGlPWPquN6UUEMavf3a11nRw2gpIrk0Aj7/L25qe1T/+rbbCf6D/kJwBrDgqFnhi32
QNGSvGhUtBrT7xVP1/0xM09VHz+DGD7V88nUJH+l0f3Oy/O7SoJ8kZ8wx6DQyR9p01AQXhQVP1j7
VDfOa6kPp6RVMYgbTxruPttjpId6EjxWSTfeu/4Wnvzqy1+ELUWlmJIqcP7LSusW1cBJaw0fl49z
lFHjr6lWbrWryTivdfb8zjH4y0uql6glkUtQVObFCBXSWrS9vm2ft7x+q5wUhCZTIrsYPf3zxX5z
g9Fz/fx0EcH2jFE6WpiZ7RPKG7zhi11jfEFEcMLwvExhWhnMZyTiLBnLyUrWk0Ee9M9X/3VmD6Hr
54uPbQXSsGAGysSsdipN9Fc3i4nzHV+zy6M9Xf334s9tG/ifD1K9nKtVx3VJ1p48sV1ulUnzM7t8
kvmO252VBmkvvnWt7c0KYm3GQ3ys+jgHCE0z7b2l9OtSJMS+n78sU2mi17TVDnNOy1LV/WzRPCWn
Vs79xFBxk6ns1cL2cNvb5Xysf77Hv+k6/I/5/aIYFTHpC/JhB+WN9bK9u2303KkWAc56Urj1ZiX5
c5Of2/rd+/27R3uxBzops7NAi52Qbn7tUQfsqufNCgeDaYivhuWaCh5EhJyOnw3xsbL1uzl+maL+
06Bl55h6NBwfP47ea279ui6ICcrPd79otXQwBnLrplBfozEOOt04pbKxBylJ0C+fMLc6KZHx3nr7
9cahXsILW62kizw2DiNX2ZtN67E0xbGdvu9XtpYEampgRfKBaaH/dH1dbFWdETMyZLPCDd6cVGd+
y2h8bXqJNkS+2p2nhWJx89Jae1mK/7O96pKHXSaDMU+4gBOxj6d4NU4Z3bKBN3jbFu3KOsk0KxVO
3XfW8m/u6iVvdzAwyBS5LoUxpb9tw6h5T9H4cHovJ1XIbsTsld4pvmFEf17z3xJ+PNYl/7lUb/yk
+PitL9L/Qo2HJQNs1onbf6/yuH4tXpdXvBZRy/2///N/u3z7p71YXr+8YsF4eH2ry9f/NmDsftSA
/Otv/6UC0VGBABBUYShA3kPx8S8ViG78Ae+S6XaK3yA3NvLaf3swan+YYAI2FgLDZRRYeGn/UoHo
OCqZDI6TfLOTMuqv/zsqkJ83BZAljNYD2HEsCE4OpJiLV4cRPlGolSyezGijGcmnbUau6Uy/lgef
X97lZcO8xPKOW4Zycer+eWHY3OYGEYMRc9lxB6MB96bX+iccawNhoQLV9Sd0wIG0GU3LKK6lCRUs
NPZrpAYj7oOgreuO+cgSfzWAXvupyv1O744bVVBNyk8ZEIKEyLxSx/tMyEGRoTmUm3Bqm/NUvyml
sV+Y6zZj464s8kdkrAkFWrMtr/R6DbrSfAROcu2YBJIO9bd8rjFaI9hb572WmR+tHoteQ3ce5V62
GP9CuhlN2VuiN3u5K27AIrmLnr5qsYHWUNiPMTTsWDQfCQ+fID6GWtv7RZp+SaoIKWd8Z4r5fjQH
6lnslR4DxTdTYT2mYrnf/mTXi5BxYJpw0hTmwr6dnDFiMj9iWg29jsTpMPfcrLzbbZvOPEjHjIO1
h9PF1GJ+VcnR56XB3b6aULNL2ZckGbIdhnT63pqaFyeKgkZbP81gJ90ukRKqxtJOXcdANemM01eZ
dSBeliYkNJg4M8KUZtwpp2WKdSQle3fLNayiOzacqZVeXilwmkyKO3q6BAXDVz+8euc/o5QfZT3f
Q4S/g5fvy2VDJ0GEw1MDJ6+LQ7Xt2nJgDlY8YXHpy7NxSoxu57QLfUbjbtnG6jRzumWM4HE041Pi
FIEuKi8vrBtG7n1M4x6a3tq1yxwh/+leGPR5LnruF1L1RDIOlFH8bI2CRBl9I9UPWCzerX2zT3GW
XjjRXBDXN5XZnutofi7RxScJjz0zr2gLvSiA3LBsolMyn9qq8iSmwhjDzYOVVUxu4mMQSVdeGe5l
Y1vgtobQ1U4Z0Bi9ouAcTtBcJMUni6w9L4yrtptGb5TKT4AfvXKArcxwhT8szcfCEMd1zG8s1Tgw
/HXnmOW5VK2rrJhvY22+bdr2wYkjH17Xqc31pyQl9XXUpxFBrtKjrI7Ks8VrMif6Ta6KnaXP12P8
GZmYb5blOd7YEwyRFgyatAorROl3WgHWvhqOLNCrZI3e4QniD/dTVPrng1U2jpNBDg7R7eLBjrkQ
MMvM7knIzmNjOo8Zo2tkq7tlwOFdxvtzUnBbnI2g6bPrnsn0RtT30bivdVDIxnybAUATbXaV4o8u
1/GuAQehNup1YxTuVDVnM5IeIa37aWFdNStdB8305YLakqTMJ9G2oTEbex0fHQarw8UYvd4CN9j0
HyJ2wi4qmfbQ94Dl/MxaTog5vcasGdoV22AGtNbsLcKtfhpNCgzw39pqehZ25jeDxieiE5OWgdkN
ft73O2ep91rMZoW8mTkeRsSQWfflJgjj1jdn6qKHxRiuGwclbGPyDufB/yfvvJrsRpbt/Fdu6B0U
vImQ9AC/Xfume0H00MBseA/8en1ojunu6WGLV3EV514dxokhtyugUJWZlblyLQMrVPXQMJBjj5Xx
slBIMZBJK4wZr796QtL5mUTriyUHZZ3QxiAVDgLYNluCKMu6SJr3qj5eRlMdVuevMILQYonk9mxA
fPCllbkFGdXStt0PXR2SBr7KNjnXvtJ3tYLlj4Srn+/kFxCZ3x84xXsJd2NtvEzPw9HMgBxYS+vu
nrk+0TuFsIoWxItG30IZNpxRYMoPzSi+RnCTMpflCVkd9ALQ/JlpZHFQfviEkKlnqTRkJwi21+jz
Asb3W1UNI111uul8sbVdz9XwoTPB3ijKPY0dX7ZdIrNvQfn6rT7Ca2Lt9Mq8aC3rjUh0SwC+tFaQ
5BhgP8FpQo38/B4hqWggXl77+yQzGrTk62CSB0Re6IGYo+wN2yhtM/a30SBeRLJZIyOhvNxCUJYK
NQ1k92rV0w5a+TC0uAq9k0Z86BvtPjKmAzQRxxZw51zGtjiglQqkP7GNqPR+/ngfBYWeXgy0c9sN
QztJk6mqvIyL6UWLDQVOqvsJWgRaqnaCxeF9c6pNqVMc1IFdE2XkatAaajjWdTj1mkMu2C/YT+J5
cPVKv6CP4qJHdR17vaeh5FghmzqX5VVWxocGiwrEe1dZw0keqytNtq5Srf2grvFhbDSqN/J9IYw3
es9tlsvwARKkC/pR3re5cqTz1o+z+CuMrMFIPsxchpOYa65yTr91eG0Ubi67jEEIgQqzvEXPFz7i
mIb7xWg6x4yW9xBzzXYT1Z/iQrlW+YAt5Nh5WbjrRP04K8mhziHx//m8bivm+bRClWdCIgUVo6QZ
LzEPdFQjhZ0wrbqghBxqAyWPfjy6Xwrz/zGG/08b6SM7CoMZW+KfI/3bb+X54Tz8gef+7276UC1D
T3R/vcHWq6fB/Z8/93twLyOWTu8az8Ugjma9/xncy8q7x82oqzKSRo927vfgXtbeEXeL8C1vYkdw
InN1vwf3vAUYzIKVFiZf5FT1Xwruf7D+/rVsfoAbTODiL8782jqpkNlnyinbpYdm312Q3w4Vu6Z+
bZsneb/9U70wL3TPIEPtd44RLnvpFq1j6TK6Ti9GP/LKE9nXMPJmv/CyyylI97LTut0+O54f8l1Z
2QrMQYtd7zj3HjIvdmcftRo/cs6u7Oqevh93Z28M6X/i77APBLV7von2MuDF+ZA4i9OEzaHzVAe0
4gHwzk4IkUh3SRWH7Q5hd18M1H0TnIPMXTzBr0J9X9+iVeRK7vmiC9LZHk6SW+9qv/axHhfxBSwI
kk8Tbqi6wmkrvaS2eTyfjLC5kPfGpR40F8spcfWd6q77/CLdjWHtF2EX5L7qCeGwN/fVdXQlXOS3
5711UZ2KsNmQjh48VNwn9RhPOGmB4QCqo1pu2MUpuYR/MiK9D0rkProagBLMvwGP3FHy9DJ+VvE7
+9vOo8XKR7jTcqQADhJP9qLvusO8+nWoP16G6kkhv+A2geJSsLGrXed74lV0nPdpUAWEjU7HnQ1B
6Sb+5De71VOC9gCFcNCG+qf2QJnCVxzdVfbno+FNvhGcd1IwXZXhyLemm+I68dfAuh6gpdoBSr2e
XMM5B8WeuuA5GB0MZwBroZM6kZ3tabvdm77yXdqfr9D0/mJ97sOK6+jc1h7unNiZXBrAndHT9t1x
8vXLaqf60KZ45wCVMr9wkxDV8uvocjkubuOKvuhCrWY3rn6Z3YjH4uv6nhQ2kUY8OrKMvpnTXohu
62kXyoV16nbn2/qeJtfd/F30e0fbGW7Bj6RXyWEM5DALNDCrvSd5Zz87qSfNpf+Iwung1qqd3hpX
xo6uMWY7DVC88dfzVblPXbKrQeqKH9Sw3suH6QO5G5fSIxdrev0XqIT4AxvzTXFQdkNoQUMhOeaF
eiNdsRKDyEv93GvYJyKvfR0OtMtepbBO2XwyuwbjEdA1pu/VQPDTy/NtdsqO8j4/6id4zm6yE0qA
QXvMdsm+3KuH7g3xGMUwnnmIv7b6izrBVA2wW1WNdIJ1waNkO/u9W7ugY0Lat+yaa2jd79/7IPUN
dmW+q3erq3qgNZzeFe6owdidVzzASe7kjmjDbeVPnuyIztl+T2+SP9iTIzsU8tEFDyW33bHD/HMo
gaS1sy+pZ3isIidxG0dyFR9CAs/keSus8v6gxvsiODuU1p3ehvTfLYI5rK61A6ANj9aMIA7SIP1W
NHZu7LXO6b6tvxX3Y9gfqJPdm+h5h2mwXNYhQSAtqs54uBEcwxHeq27La30YfUp8fZcf1N3ZQWT0
3vwUn+SddBGnR5O1dNIvWZC7eCffrTfajeF1/rg3ToURxjuoNI75Yb2I/M5XL7VAqa5MPh3ZsZPZ
0mkONEdiec/bfvDpOLXpbrS/w47lPHzK7S8Aor2JvQBXvtt54r53Ffvr94zvTy57ks9GDsBWZ7ER
WwD63O20/XSktT7IMKzmRRP2AK1hEwA9Y0vu5A18OPVL1V5Ci/UoHOIPrDi3dh50W9whpuSAlufi
vmLDj2rAQzkJh/K4+hCoeWBsvOFgXeWOxr/OF6vf+6Zn3lDOzQPA7yw9OdBcYKAurSle7pWOZpc7
4XLZb+Pmp+W3+FKnRa60EaV3Mq/yE48tsGvCylODOBS92YVXx5Hd9qJ3Ujd36CR1JwcGzQMcUI5i
p/7Zn+zJbgGOD7iazhPswh7s7zEeYXSx+jaSijvNBYNP9+8u41NNKN40IYxgd8an2EUoyE4/tvw6
4dhOwAMJLOOMWwOF4kY3xg6Qji0HQljzI8m+vo/dwXni+F/JM8Ak/DzS+msfvciETRvXu0JAf2o8
/bTiykBABAjIuk1YcGDimbTu6reu6XAHTOXgGMeEJ8GhkcmZeFVwb0Es+IOn8deU2UBbGWpyD8Hx
0ikdZH/txIkCZKSIz+sg3y/hcBjYhr0/+tuWhTDLnd3PZqAHo49rBvuf+eTr8Yqd16JPaG/LZnOS
vOHGHleIcx35th5Ifrsz9xGGqvVNTHnk5Wxh8fOwz3fbD3ahzhoTneJi9hv+lmA0G6/jz+C1FMkD
Ggts09leYgU9bOu5C0nU82/AFbvzjcoPNSALLZaEzDDZbnJmbnb7cfr2dxmLpXd/3EhGoEAiBWOQ
uEjHuiurMtvxrRM1Hsewm/cDdyezfHRuhqV1waThxKHHYuXq+P7Zrx6yO36feYWbzYk83ROD3l+Z
T8ktvJQ/ukNUsef3mG7WlHCV36MY6zVc0vKdx+LULhvwNwDr8S1Ui8l9d2hYO2oAUwszl7twue8K
njOoNWzn7Jc8TotlavnA4CXaIGTHDGgjI1Zhobv017oLG2dxtq6M7b1tzoAt8TBjP8Z3kPHDMWos
5MkG8M5uZNPtyEP521KuPIvvSW7FICX3AL2WdpTs3I3caLfdzhYq9T497SGWgKe3sFqYID4h2NvS
q8Jt8srd+tE8TfuF6ei4apNnTzwRREF9THbdHlo9JlwPhMvtSRvuEpbYAIMFHPttkHutcwsOn3tY
WHCl851MiA3BhJ1gFaCMfJwLzQbO5efMyjbJPRePZBKrR8ZxwB8gczlUR8MplA99oId62OOVUzfy
rFA4YIMOwtUUduHCOt7GUonytj0Su5mXPC5MCVcxcaGZUwet7gg7+uMYTfbg5HhcEuUR2xTm20rG
uogssQTjgSxmALmgS9zh1Diszls/rh+THdgMGGToNanCDo1nXF0WGKxvyLnJs7HyRLxy8xsVol3r
kynhlSSAopJdvK3U9MIM6L3xhbD1Q7iKDhb6l0mwbYeej4C+tRUs8OiBTXYTQl1MtCOEya7/omKG
reNmq/JgYEpllvR2q4OduiUzqrAMWtdgVcnM5eIxowFb6tq8n67VC2waz7pwpVPhbvNdczFw9YWE
vy6/Zp/diSei4EyIkfyW6yiDfJsPJ+UzC/dfYRHMYOK5TBcS394Mv8J36h2snV6ELVK4qhFHwb4g
jBYD86R90dm+4vUSmLiY1lnc+kEIKsxaxXcGr3o/sR0LwoAZwzNhg2GSZxNuI1u24cs8qXxH/OoQ
toXQcLm1b3GfwJkwBKZnuXB68bs5k9z7TKwr7pVH2yY+rnDIDLFYm+fZduviSJsZEnnU7FRHIf6s
uXUgsccO8CB+JGFOG2e00bCwZU/yQZhNfO3R63Ep4zEhtoBG0Jbs803ytbrYprrZa1xozjRgPXm/
9ixCcjPI7mAEcOvLImgIVBJXwT41wXpY9VN5WVwv3+ZwCxTQ0PRSwpU2xHKw1aNA4mPWBUQM44FT
iZezj8+neJ/TeOJT0XWrfekDr9rH+yrIF2hL7eSShPCpO3XfEqLlxbcCMOwOQRDYtPvc50gVci2+
YNN0a8M/xC0m7hQ0zmyndHeNdm5TwiDqrv00XImgCG6JczKOFKldOC1R0RZ2CZxPEBTd/viwPH0V
nJgzg+XU3ha31B4PyF9Ow8V81B1EW9yeRiwr6AnU5pDOiY6fl+kqS71op0SOdVGHSrB6DSE76jy7
+qBdRHdabPf8Rbw17hv9fmk9/Ugg5iVkbewiMDlKaIGuOJwCbASgT/RheDpE17a66w/Rrrpnflko
qitfDpxCyoN8NQm2WdvpvbqTieCUz+pX8069SgOmh89mtzGXo39KvwF9POhXRQDQxYcIMYX2wYtj
J75GF8JrwyLARRJmbnGotNqaFweC13CfBZFizMsR56XCyW1YhF067frwTCSlBbxgN05nXxGbPpQP
AAT7xTsf02Ncca4ZfCWAVt0jzAu7/EFtwhLWzp31WdPshK99lG9hENNYJ/yluuPDxHzb4wWqDMmP
A00PDDGOyRxWu+0cZj0+N4sfJF/7oM4H4TPhKQtQ6I5R2LmmHd8psS3v0na3BolfOaWbfZJYD19m
HmL0ZXInf/YeSIlhFJCWRxMWvDbHPMfwVFu3dVZX59as3Z5/Le4WhpLLttXHqJGEM0OQHi4AUHPm
4ngpujRi+2CoeRVFd7v/3mFW+8aBCm+C0eRO/lLs0l3rJRcwsM7fF7/1Iobbolua2GaOXw0j5Pw+
9CVc4+NV2Bbp1VC4ln1YaP3tMnriZNgD46/5TX6xxIHqVzi3LawjCMKsRazpOuQgejI8VjtmPfYz
r3DJ6TKW6Et8psY24HN4cKxd56F3FBwtF+9sm6Zm9Jqwewu6U38LtrfFve5X5/57Fmzx7DZd2xEE
Ciguh0QsLrp2xA8CNgp2lT1YU7vFZW8XNTj8FwMkM9EZBononIOAzGvwpjJlPX7RwP4DnSCS3qI6
4QAjFDG15JUYOxewMG7U3O6DSecYGpQe5J/+4K5cSO1AKOVu4SC4f0LdzDP95g69Ed/a5QFtkI9t
koBy+CTu15kvNW5ADa096+iu2TFfOCUKFO9Xn5Y7jLKJ7828MTDDmtMGjjTY8i99kGxm2NtmmSMA
Rpmw4DjSfPi9I2IU/JqBMm/CtxC42HyBCyaQ8pOduE8vst0WY1MsSH3Z5gSiutD5EIglXv2NozYe
ZjsuCkQVP4+/yY6/eoyFh5DXn2DtAPmmxVLV0okglUgTPuqSxBJ+3ftKnOLRBbPgQ2BM5wDAAzCI
rKDsJBdE5gibdsYC0uGKq6Pbj0BldeMQGmZCm3kHORkZjgQDR36KXBKRqb1eRvfRKTq1R+uy3cke
BMGBRIbDImLtHHJMBNXTXiNn1L3P72DqC/tdRLwHXQoWm+LylqgJi313yv3xQKsF/6cgujmNU3/Q
d5tFHHzzdtyObVwh/HQfZvvKwAkVQXe/2uVld8puu2+bG5DuNv9WkLw5e1oo2ZCJOt21cZjtLyOb
u8AfbKbKsqFNx/Vj5/F2KNVgHbSQuvPK21TIMcEQiDuZm1AuIs7c/IrptgcBawgZyV7/DiEOdiVx
6x6jnfklk0diiSTd5lIgED5OhKiM75A5cRYfwUjOGd0WtPqbU5rZb5OLmeAzW9geXc/+Ft1oJBqI
mm35/epuscGWvpO92u8wZNtE4EsDIdD9yl0fbwcOBILCBjPFE+lwIyreudqt+1K57nS2u12Ryhqx
6L09EUljyWcng7OPBBEV+1tuHTNAJdcb3wvXKxtN8WZP2cNzt4NEKBhDHHOwYC8Vj83BOSv1M2Il
M5iJf1p/iyMBGBIhbjE2pwXuQeFkr/WX1lV9Ej9k1wUIX5FQLztNbO/NiIDdih2nIAirHcD2KUuw
dbc1OfH3lqPWAYZv/55CtDPsWptSLjYiv551J9m3mwEJt6Mth2v27MRzJDC32YCXW4g4EP9sIZ7i
NfRbJ3a9zz2gjs4WGM5M3LDDtWJLaqzGFtLVhGVkcgjqauW4HUoM9mP2aLmwY8foS34RX03ujE3a
Ug5Iz2GpcuLZn+9WBL7+Ybe+wE4W51o754lpnKJv0qW6t6CfJU4m3rsXb9Zb/WzTh+Cv7hbImpjG
LbSU/PJKuJzIMveftF16q11VB7Jq1+uX/Mjr36lq+0qIj/fMPVhlP7mMyB9v0UN0BUrudjzUBylQ
9uv3ivwm3QfO6slkOeHX2+kEhv2RAzRhDEfj3UhIzCHOb8PlMifW0K/guL5f9+T33G6H0/TO+4ol
kh6LI5RI1ukTzhHT74oXZwze6nklSRf5Sv7U74sjXoiAVsaXRf5AkrMhNaGH3c66RoRs+kKfa7Nr
fCgaDtZlvsO+Y8VJn5N5Uy7li+4AuSJB9XbAzwIrfHwEv1S0+S+GzQKLRDET+//PFRuXUnUFCuvu
4fwNKtDi4XmJ5vfv/16iUaR3poGGiAWvDjKMG5Tqdxae7R3wVzLaj7SZPqoZ/l6iUYx3oBEMaHs0
QFhgs1jgv5dotrcULhEBIwhTFX7wV/BXjz2uf1VoED4FC2rKSNuLBggxeH+e+z0Zcjr4wPLqOi6+
00Y4iy39DZ0LYgz6+tKr2tipElwz1Gsb4WMZtW/Uql8isf52BS8SyEnUnxUYxqpr2tbtnDa8jk4Q
9Ajc6bTsIC+Gxuo6HT4Xeo+WhwSh6ddfX8L/Z3XH/2ILHWAf8sybqtg/r/TDwwAD5vnp+v7raz8W
uGG+Q5kWkWJUPzdxwg1R8WOB845KyxX8bZoJk5S6EVD9scBlFjg8ydYm5onkrMyu+GOBb/tFB1oI
0kpkYQKM/1//45kKVvfi30+RW//AiSJRuH6+siMjM6aqW6IgzqdTp68cTYVudJIx/+085gFdK8EI
qUQzwqCdGjvESu1BL/bV+bYROArF0jVMuVjzUefgIUYPsUwbCYSj5FXMMyzlmlQGa97Z8lTIhzmv
iDwgw1e68uNZl33Luu7HDv4482hIbXBuhLtVHe5he6Z9Lb9a+4Z0gZkljnG+nIQS6CCMhCbU1Yp5
I2vJ15k2OAgdB17r7s9Z+aUplF1sSZmLzCPEKZp8oUvdESWQzC7Mduunysg8JY0fKwaNpwLtrJYs
ulmsA2tgV6GmYjp0tnpWv8H64u6b0NY3Vj4FUc9prj7TU1mnh2nqP4wx4elC62/yFdpTRyhF8m6i
cbuxdvTZxyj5PnRFsJbmxynRZMeY0w+pdNkoWo1YyPigRT0no+q+VeWvWgbRDtCra0lcvQXSK6vq
srtzYcqnVkPxataWS/ioae9Dg82xSupn5tJ/llJESNK+krxFnt4XtXaxgurY67pWfzSWhYpOkY1B
X7Tt5zFL4RScUarp25YAGAJV5EU0HXRWrCNcMpuyl0VtEkAgrRKKr515tU5SczHoDR+UurviPIHi
zFQ/babmMNDO821B2wMQh5zeo1edhVIlHnPgkW41LiOtVpH//9YE/QsinH+3EvitfzYux4e6Tx7y
V4wLX/thXEzxHezL8qa0KkpAKcw/0cuG9Q4hZ1M3TCwF/9moTv4wLuI7E+0urAqeGMCoTq3yD+Mi
voODUUeUljckWUEK7YUx+alx0Tfn9Jf7/FGtAURmbpioJ8fFzrKU89g0QiCjEA3VcQ2yyjzvy3O6
K2vODPWcfCq7IVAXCS5WlUNhMR2bud5pyDzA4koH86BUn9C0OXTF/Alhh48wvhrDeW9C0rN01DeG
a7k1GhvCze9Rsd4J8vIxWae7XsqgLLdWdxXR2FH7Wndgeqd4qcBwHsW7WQCn3GaJb/XWxTCRjraM
cwBLEsk9A8hyvXT+JCwPKjoHtNlyBmn141q3dikNtbNCI5lpNhrBx2hcPue9FNb0BtOEfyd3uuUo
AHAd3RRDvdecPhtvyna8iaX2Y9LpX+YexUEx/TZAbLDItKKlsvwho/9zQNNm6M3f4F2eocPKaIGf
aYYYjMvMzF343TE9ye3ccBWdCa/yCOWUnE1ulQCVyaW7OJ44OGvtt06ZbvIqothceWWCEpZA9+Zc
Dq65nkWnKqrTYpH1S5MePoKSU4mc6P7SjBeilNS2Cc8yMgvx1xr6Q1sVVzdRpaCpUxrXhJXuwJUy
CdTQct7bCr9ht9KNNteRo8Hba496f22uFaUK/cISztIODaNAEI3k/kwjspVan+DTmSDRoqRiwNCR
iqZHa4/lrsJy9pZlAcGg92G8nDFfYn8H/dnkg44dSX3Abx00xgqqZEjnY6L1adh050AcgREu1jBe
rnGrfZ3NJoYL9ksyN2bYJYvgxbMihICpyZ6OZERq8crqgEzXcp8WcBWRnVma0suMnPNGJDdIPZug
2vqz/j05V96YLdaPbrZfOg/83wRT/7qWDBvyz5bs9qGMXzFjfOf3GMmiB0Oj60rVdYVmjC3o+jNG
MjSJPj8wV0REEGv+Zcag4qQDkP/pALw0ujD+MmPSOxowdJBadCRi3zB+v2TGNjzWSzNmKrRXPzdj
KMmoxNUpxQV5/jiiq+SOcd8EfYuUyzmGwiRTl8LT9BT8yqbZBJF9idyX2DtDnEIUYqnovMRbRy2s
Y26zZCSUi6ogT1Z+TosK6m522b4x6+KhjaNxlwpR4Uva2nszYSPcW50ezvShO5B8zJRoOrVC2lbD
66ZfGnaRn8dyfZGfBwgzzhaQOWtaTgq6oA7IzNSvGzrJbaPVp9+WqUc/s4TnDRpMcY+wTeXAAE1Q
Rvy5r/VR9RAXaaHHs2TSo4UK/ZhYZdANaPDJT7OpX6MRg3yVUenvm1QeEIjVanhhRCon01q55TDR
cypFZEGgSXZ0GHiIGSGcGsf6A2pQPXRfyAMlcrO8T60Z1qk0Wb7RqzD4Vgu3+mJC91WKUFnI3Qbo
P2eAWqoSlbW8/i6I6AMIsGrbwPa4HH1AibYyRiJU0OiLCH2CJgGK0GgwiPPFBDlrDmQTjXRwaJK9
yVUt8RJ4ZaZ1sLiJBsKxIUZAkBZalHz6lfR3Xxef8yw2bsxy082ppvWkQXruCn07H0sI1H0YyQXf
NMduT7tgWOryR3M+J56EqXE0deicuheBG0Uq9CiqSr1p1SnFntuz4Q/zSh14mu+SJgvMGVBqUZ2p
+6rtST/DmA6jJDzq0SjAnDPDwAa/vQI1MzSh4t0KTl2fsmi3GDF1i0GjYojMmR3XKMo0oyHYpTnH
YUNPRKErAxJ7U3sc+vJMDwteCL44stl9bn3ulJ48FdD3fYzVRgWwAuGLHOL7kZ6T2xHuETeJB4PW
BLqzUDfoI8JBCAvzaaZGMKft+2HAZxvrBCxQ0IvQKuT8w//3oZ5sYE7+2TZiDx7S9ttT8/j4jR+W
UdDNd0RjHCBF7KAFMJ8f+2Eat7dUEhAoJ6uoSkpPQzxJfscnUegR0RM0dbrb/rSNvMVR1IByAHy/
rvDlX7GNW6bliWnUNAw2MrMmyrnkWhjsRXqiWmTUPogcXAj4pQ9IGgJi79WZfHXWrqAUcMoe/VoO
KYzmvSUb4i19ANGugxv8oFnsaCzgx2jCULasO2oDUhd9qToCEnsgniu8CXkBe9KUxO9GgZpCulIy
xsR+UeWzfj8MbAN7amfr0zkvzRPkUPo3IY0zCl+NCUBxlmk4mVnRp2nRCXZM8oHLUCQ+E4NxnKop
+mR00nr75Bm+glR6bVo27XXMETks85H150kA3KLcKWnEOi7BGkAxQ6EcRSeZp3VKg2ZPCX50jVqv
ELTfRaH/A0KM/7wc4KT2njwO96F/+LdvyED0y8VD8e1//rfgYX34N3jQ0/rprnr80o9dpWywcJ04
3BJNGvwe0d8/NhXvyJuoMaLaOr5O3xp5/zg2Se8ITFjqHJCgIFe2nsg/jk3SO5ToJVDjm8QzXu2X
qL+V5+GGQavnJgGsQnTOFdIH+6LYVnY96qZ1DFGMlgM+G2C0uRjJuVi0VkT4hb0QKcinxDRxd1C8
xhMvoTfVhm01jLMrJY0SOx14uVM3yogPNZaAJO1EvwUNXiuaa/OcXXbKUvm0k8UgJedIqFxkPQq3
GmZBuOxEOHKiXIAnaClTLQvKjp65qNYlCm3yEIMtLolecrQgqv+ws/5Pye7/FQNliQD1n/3Arn0o
ny3X7eM/lqtOTzEJOo12Y9k0t/j4Dx+gqu9EsMYbhT0NTfgAltIfy9Ui78jR2ZI1S9y+/pcLoI2B
VkbaNFUV2fPta7/iArYg+K/g2FA0gySmTAsFfPmwYrwksEChxiCwlZHLOA91tB8R+DgkWSeh82eO
CpiMqqqNUC7jXhTsJzP0ipXd0ggvh6aXWH3sZcLUvshhIs6Xpmc1EsmrpZmL+OxyN6kjqMtRhFHs
52O9vE0dLXUSwghzc64g47Jt2icWfSxQx6EVFBzbVEx+1ykQqLWzv+ax/kFq+voiibPp+O8YU9rc
ty6TjFFZEU/H1ITzPFeFATgEmTDafefmG8ym8QcB6ciLc1Pf6K2pvjHm9ptP53S7T7plJJV8NQmk
LW/0bMyhN8ROheZTRUnsbEd9BkXkosgUWMs5vy3auLr++V2+NqIKEYW12TyyRS+eIkLQa5snFbAP
lP0OithkB91YZV9slOk9Sekh+OXxLEpGW/6c5WoaL8ZDI7IzV6kB/aHQizyeHXNEhBMByHSniPLk
/Hy0V9YNIRqt+7KmUjh7SXKHVmiXorRGbfMMUxsiapeSkJ/SYhBsvdRCxUzeCD04Eb98gNDAW1ux
gQOw+sg4/WShkv6NzXw5I8Ul6/dQOFt7bV1+jzKe1RGe1g1eG0SnJsbBnFZRy3oxh7IwU89DWthd
o42ZrJto2bKRyTZ3vzp7BmuCCgnHTKQ4xBfhZYNemkgQu7jx1K5gWdtiTC8VvZJjf0A12PLoJ05o
FMhIE2rur42NWd0SqBItm1QSKTM+3wlykRVlk7SrO46L4Ixx3d9LyShCtC6h15WWYJhKJvoNO/Ny
ZrdRLY1yqIr75/FtkeWTx7ee18iglLi66YzQvavqkQ6w1JTi1f/57f1tICwZtptwQ2Kt/C1y7wUd
jSQU1tzeoDQyJUl5LRdi8waVxGujcGzRTY4oWwH1hQmDVHLKBS1B5NmErg094850EZGV9F/cZgZt
l6TCSVqzo7eBnk8b8lF1nFXR6mqDfv6qYlM9UZOKS1EvhkOJE3MyE62gNx7Wo4d5ai2pXCvaRn2w
pa1ECizPhzWHKI+77Dy6uhzUACtQuTI6MCGyEnYQF0yZ5UX1ECBC+MbIL82KoeqcL+Bb0FUIStgj
zwdWh6UToJege8tQ4uOEXrzbmxX9fihTq16sVilgY5RAr36+aF56XIOqAb3DCl2TdEDS0vx8WKO0
xomcvuhGZrvosDgoKzpUWbQ0CEaUlZCefj7e35YP49E1zYHVglQFU/N8vKJqJ7GJoGiP20ZyEd2t
QnQ2sze2wksPRGO2IZsGij4ip2hSa89HMUaJPQ2rgVuni3aYU2O5apdyJX0tzF4yp+sbHu9vs8h4
KPtwXIYzAyGhF4tVgHEWmTQIZpXEAiPfWnOMyOSUAmJFqDJ9Y6n8bQ4ZjRhPhL6BQI1k6vO7G1Tk
PlPFMtwORd9d25tAs5K5faPF7bV7QhmJiaTT3UIF6fkodZolmrCaYP+i2vhSilX1Rc26srNz+U1a
ttfHIuHAnqONX37xvPrZmOGP0A13FOEUbaYuPdEGnEK+AUvsLy7AbfI2jIlKLEQw/eK2YuO8ZvrK
5Mkx1PUmOVBnNYruV63kNgqbio5ionIOpc8nT+40axqyMy14xljdIZCW7Ys4K994RK8t86ejvLgX
vVAaiPJZdpCS0sGWMVkLomTIqMUgDYUkv//53L3ErmyEB9wWR095O2iQxXp+W62gRjBvMHmt3k/3
dZ2lkElXyuGcLmdEXiDl4F3ZN8+duIclAQIJRLPdVR7IN541X4zH8xuMJtuIz+z1dkXEYaSrtqXz
yEX3xLsm59owloKVY3Rj4QuS1B7Jwxt+NyFk2YrDV3Fq5fc/n4ZtN/9tTA0WFU5cJs3e22p+MuZQ
lGs1F5LhzopMb8ik0eebC0WQo8n7PlaqmzgaphMCeUb484Ff3SbglwjOja168sLMJC3s/AJ6uq7S
jEoo1fnqpcO4OnkqGm+cGjY7/Pd7/GuoF3baLNc8nVbucUgmKnSJdIOaPU1LpQbUFYlfsxPX2yYV
ZL9SquqNh/qqgdNMWee8q1P4eTF4ZXUKZG88VEh602CyoF1bOqt0/z2z+ecoL6FgsEzoyTQahrsq
43xQBwrEpWXWjlarb1EXv3pDm8nGIpBwUl7cUL5OQkPkxINDSTIoDaP6bFTDWweFV9elrnFO4Nhu
KC8PCsKQxlqcMW0zcJC9hVDwHiHR+MNsGeoD6pHlnvO8FpiNKr8xla+PbGq4JR0bgVLesx2RmKUI
GIiR8+ksLbRsAB3SxVTwtaFK9nOjtq6up6s/IVv85edP8bWp3TJsZNSpbIHrez70moq1MAkjQysp
kJ2SOk0K488blu+1nfd0lBfHlsXoJlHpVhD7tZT5ZNdUp5G61k9na3iDIPWtG3rhOvrCKmCmYueV
BsIQWZPRMt0P6hsxxGuuwyADQSbCInGqb+8/sWFGKXZVLXNDFMxRepPVcSMkl1zJGNPMXk1omH/+
nF6dwScDvnAdotKKlPllugT1PP9Swq/ontF3ft9Ng+L8fKjXZpD0FZgYUefsIL94WI0Zq8Ns4RbH
tlW+GO247Npp7t9w8a/dENkUQKsiXl7d2ASfzmDTqUkDDyaAEtUC8yVK0UGmVOpXPD3v5zf06lAy
9R2Vg7lMpvr5UG0ixkmNfvnGSUwPF0L0Xw14ysIhSvo3ItlX547UDaSpxLJ/Wxe5mq0thwI4YhUV
VFvdoHwhaOc3FsPro2i4bDCU0Cv+b/bOZMdyJNuuvyJoLBPYN4M34e287z3cPSaER0YEGyNpxtZo
/HqtW6+kVxFVeokUIEADAYkcJNL9+mVjZuecvdf+7QslqYx85rjwYHMdHl0/0TdWmfnyP79sf/Yp
v61KVo7UMYI7ZIeaVb5YcO75qv0/+hTwkLQTkXieA0R/eQ7yxKnWhbVP9VucjXb1MlfW1Z88Av/q
uwCwiYibptakKP71U+SSb8HW8l2olIMs9YqWtd3/s+7Mv3jQaLqy6yKVPA9UfvuU0QNcSxK5S8RK
DcN3AKK3HnKUSMcQgHr6J+/pP3/auQnkUOz6IaXn71DmLSQAW+YhRk8ddigXLOzkk1sbh1xPFY7d
nxxp/vkSgot0z9oTCJ+oc397HFyP/BjHIetHDC3cHBuDVimSP6Mu/4svhb7lfBxFAnxuoP96o8Zk
hqZI23GvyCjGqhBrn9DxoSAZoUdHK//yc4Hg2KdPQTONYfLvzXqiQThSSOaSqnLC7zS4bMCIZzV/
1o7529/964EwOmMD4YSCEKWP9dvZUzOdtjpMwv22WGm+5V0f9fHBjYVDBmxqJ9uDCw0K/TmWUwo8
YPHNsFtab2iz2supJagFbBw80fT2qqOiOO+PqSudNFN5kgIO4DHp2mMcC5DcnLpT7zTPSe39yb73
z7cnOmPiYg4KbHz/VDsXQy3VNPjUCzPvLB8XLgXSxKCvjqv80wiz33fZhNDfiKYqsCrkmQx8fn0Y
uGMbdU+IIzikd5WZVsiPuS9Vsy/OycPI/uHT/cW3is9MveTMhXPPmtDfO1jzWFSqIfh8n45bmlxr
4/tEiie+qPdy7mBr/LVFNqGdykTTR+cFKS39vdIN02rtU8k9K4YyphHhRMHHEC3en6yy/3wlzwaQ
4PzwYQGhK/jrlRREp5MUVuZ70cR9vUdEFP+wLY9HEeb6ayhn9y8i4PyEsXFy/oc9np7E7w5JOsGG
XrEH52Yyw4UeO0yaZkz+5PKdXx/+9H98syjn+PWBy+fR70R98etXGwczdkyB1MF4DeS0hjSc/iJO
OLw8Vd6GTqnonZXkEbCr72XdEJcxe/K+Gdrkvlj8FUdsuflVFtsUuHqhyum5r2X+uRGXQcyJQFnE
aqjeN1lcp4X70hXIhFwPRVUW1LmPoa5N8zu35WQeRa154KDbxNlE5+ULIWjTQVdb/ewlzvgkvLQn
CJ2oq+K6djatrw0ZOvuVs1V5YeeVQZ10XXvXxUPYZlNUtS/hNJuTn1fBpdOw/CGcqEP09ilgjLy3
d8Lrf2hPAJZM5g3kQV6639uaCEPjjvVX16bjtR7jBvO6y7Yq1FC++HPFKuGjgc35S5DU5SBGQvtN
glqssjmw0/OaNoQip4vtPJJ2OhdOVi/ilXivgPBMWyQFABFpouLgbG0yZnpbyCRqEo21cAq2i8i0
yXU/CYAhjR83u1KcfRPhtN21o6oPcTgPO4GuGc/y0DtgXDoHld4yq7NMTGKNkwiYMz9onfoQjADL
kAGOtxZ+Yb0jSsb5iPNl/VIHdESk54U7GY4QTHSNdE6UpU+W1+KBJBWibLNyroD8KK1QKnrTRV1y
3v0y6RhzpHDD85XqiiK+K2uDnyI0YgNhW9CJPOZRS8IAsWlh/Ob7jQkzlfbOF6OCGBuDAUqqhJu2
e5246rOpO2iLEifSTyTQ3fXILZ5fhNuoKc0GBOmKSZdixFhkERpGdI7lrM2PdotL92Ekgwdr6+BF
97F10/yKXzvSnNxkQMNgjTyC/hrLeKw2U+Pe9v7sQfZoBn2RF00wHHqkegA/VGEzr83d6LpwcDtc
uapc9H3PohOe4jasnO/LTEjEsUv7+E36pbgavGmrDnNStG/eWj+5pVV7q2ZoAdaL2zPKmZCrVtUa
+/q0gQlYF5X+sbmTfLB6BuU0NyVec/Lxbo3w8jWL6yHYBU4z2ccBuCTsVkdHZk/TEyFy31UFsVWd
aRXmdnJ1iguvjkyI4pxEi1Atxyp2Syh4MrBA+vRWtseuSrGGKsTamVTrSA5TP+q7aeTDdgA7q5Bo
p6Rq9nXkER+k2Hftba0r6bdPijKGXsta5HJ99YEx8x4ZrUbSW7EH7ABq2vKJwAUw055ntvAQE8VZ
P0Xh1vJmG1wERbUvyFNU92lfC3h90yiQT3I5vGm3hsWIQ35KdJilBIkF2dwN45feJD30J4LZiq/g
cDv/Ii465I5RXQhxpZJpvBeRJRATW4kZU1KFrFMy8tRtvqucipnJEo/bsk8Veb+ZiKeFX+zlFpBB
MtbxIUqwGO191nheNdmnuKjRCR8D3tV5b5yuhlVgE/2AqCsIjuXabA9FuiXdPo+WjjnTaim1/L6I
vrf5MPo7gWa43HcsY+6xLSfkLUlvcoKvClt1B9+Zjd4njvCSQznK7YsoBMFrwk+tj3GG6NvMNGt5
X5EySD7v0OnPgDy8+3DNyUienV7YvXLHAFoB8qKb0t0qMlKMkZexV8TiKqnc4nsxsPvth9Hbkv1m
UVVynimaNKu72oABGvLtm6ml4+90lywfy+bJ+BTUMKxZzsbiMxpLolBaVTiMW0modLK+rmr+XleW
bxEp8g7sc2PEgRG/qI7WD9aTCWNR7ghU8XFmryoC3bI5/ZQVfm8JINqWbof6WENKinFtHLQz+mBg
C7/1VpgJCdzXKlrr+DI2rolu2dvp0fIMtO6Vo9xEHp22im+krWyKzlTMwNLSGMVoEKzeW1n0RD9O
frVuBzxbpIRu3WJ/OoglyssFW9V6XMoiukllxZa1hOQxH/xkdR+8Xlu4jsM2lqyyZfxzdmV6x9HJ
Dy5KEjM+omja4NZMA0m9eq3T+iLQ46J2s+pYR1QduD+0qRYs7W0ImrvtIr6UsUplgS3i+LjG7vS2
pROk76TapL6Y2Doepa48NgiFTng3bI2PFTyPU/L/+jy5yZnbfBdSxVHWusYEWd1PI4QG6MX65Crr
Q62a4+gPHrKp2Cfsw8R4b+iDM+3bZcA9Uo+gI6eAMMpyGfzHUtU14Zi9aB3S0tT6HRw5a1AS2bHc
zwi8p2MQdGW974rVxDvdxkGTMSBK7c7x4ChnSVBzHh15Gr76/EYPfUHemB0aMX86lMMoPpwh8L+a
pqILvLSt/14HrQy5oqOUJ5cBM1DpeIAr2q/nJ4qsujRztJfeuGFdNPtKD/mPXgQrTLTQqDgjLDEk
2S3CXHKUNDo8As6q+T5xYQhn6KPpZdC5G8HS2YDEmJzOLLizEiPGfsTn8TpVWwN7qPUlnA6SuOdj
GJj125azWN9FXjm/5pus0ITL0nwNYlD5cmocLwMmzfMxdUX7Q8ysjWitpzJ9VJFBZJpUAm4yWaAt
RJ52MgrH0VommXJK9rdF9NzAtE2Nv7eLjEEpAVpfDn5XE41s1Vap48zFBjoiLV/RuIV2snptnA2H
Sxj9ESar71/3sYohj3RnD17nJ1t6VTq2hAZFMK/a8YpV1a5ZxZyQk8k6u2sWv8TgGBd+TX6eq4i+
ziVycDoMKUeIqkipJtLQXgxWOUc1qNbdxakZ5ncvZ6W/XLTEzWhHExILM9uafPbAG+UdcXYM7DMF
4t4eqm4xECOKxu8ftz7cJBb7UZX1t9irKvV9Ilssp/2IDr45BSZaNsySUjabujPxNAt57GZnK/D2
9EVQd4+j2YwHTzE8OxwO+ToYTVUv3IHOi/TA2xPLGQs1HxxQ7RGOokhEY3POYFiq71VTevI9djuv
cbAqhIaliANbwJs2qO6o28jCrOiqId+HkxwhcBXtpO9zryEejD8gOi/xNSnDY9D8YL2eikPcDxoH
RVlupAe2tKGyJe0VwLnKlD/gQOd4uby1f3ZatEzHINzCU8ekoTmWDDirbJr5L+RGxd5ty1iHTXXh
hmY+Cx+ZiZqD0C0mzDo92rYYPgJ+tzgkpRYnwiAWcxLtNKl9MnAozeD8y+SQt6t5bOopiK5XI8X7
4rJLHoMidpH3bt1mDqaVg5se+zpcB+ZJBbYHv61n7KttbXetSObl2BC4feUUvdtdzkqv2+swLGS3
s2fo5K1RYmgyreLqc0ELuJ2DmNj9tnTZUiJ428HfmZnu6M5sNnlem6nrd1xBvBjlvMr8WKzlXO58
DwMEJq3OhWDjLelT0Vsou2RVhyQ5i+Ua1QyYbGaO5YeVvv9R150qX2rdyf6Eoa2+L9eRFWvoq+lq
sMYAK02xqh9E2tQcGRl2fcQNQd87j34F4DrXVTXXOwm6oxMMyUNnx+anK1sb79pxnJ1sibeQo7Pv
GW8f1PH61MS6+8aK6L20nWuByHr5UJw2v67ho/tuxMB1i7CEdBN+WlQWwamV3vzdilHBQS0T2pu5
tvrC1pOGO5cEWPMU+z4k8MGB4iGn5WE9G7oy0uvyH7UXTdQuOuLo3ttN/lgTtrMD5PLhhsBDCypI
eOzMampGarjcHa66ruRYSLZ4rI8NO8JRSPpFe9+tfXDCqa+BCFPyGHLU5fKutvAt3yzgoqb4DI0P
C6U9f/EgmsZ0T8TBz6nHBmlyw2/Om+XexRh8PyTzdz2loFwTW98iDOcLVOOQFKR15mp8KHnXX7RZ
q595FXrzZRnNHeCfuT9GbTmAIeoSl9CUCW+cpf9/ZKgijrUsPE7I/dZ+m5ulf6tF8LxSCJ1TJzkd
ZRopZ5zZTgZEVPeQrJxx2ztD1YPZiDzMKXMROXvO49QyCzlGblnnT61JHKhKdU+6aS6If06AodnV
fQkcLCubHAA5TTa5Tcq4P3o2Tb+kDCCvU84IuzHucPzMjhEvuurERxvI7tnoGRSvNwQvg2eWxyVp
PbCsafW1K1u6QOEmDFDSmur1fNvIdt6S7arkfE/sB1kvLFjxG1kB5rk9+wty0lHugrAFSdgTsaiE
c85DbV+2tbvAudkiWJm2G2+Jlp0ZeLOhbVmIbo6adxx95t2S1MFb1TdQdFVbv2/sIAcxyXQXGGKj
w3xNbiNBq4Rn0yPEkmhPd6ekfR5j9sOyn4MrY6vpsqSDTbiIczNtzXXcATjEj52hUZ1gQ5CC2ZW0
+tKomTNpSORGueC9OZTYF7Fa5Ump1fvYUKbTAWzqL12HNyiLCie+38ptOQ5rcr3avHu1Av/24kh4
sTYaCA1PrwTTmJ92GftLs1TvaRuUd74j2p0OHIxJFXDStQnFW+n4/Y0dwu4lCYPpCbKYjY5LkDdU
rMYDr9zY6eDwKPrb4h99GX8slJvZZp1LxkzqbZhp625NVx+8SSSZXfrxmiK0soxdnfSj6uuYCBzM
Z7tyTAFTtUNysRVkqFqjALShuL9uxnb7mSSA8mXfcKSWIANSyujNOF8jHYkn8k3yC6+YIHdVZXVR
adoRWSmqeueuxYOawvEhaNzqpaqiEbLSLG/LdRWX9CXWCxtr1rLF/phRahzbfHWzsI7md/pR7UHP
csryZJR/5LLYrhRjx5smVJ8dZy8qCz/Oak1y5LhYjP5tV32KolUvyH69q04M46HP6ThkNiLgekmc
BoVsv5B7qlSzywPR+FlI1+lYU9QT2oNhCynW45YO6XWwIHvdBRGUum3reIA7SfhyGS2EOTGYvXK6
TmDCc68WchQvg0jJ61mGX4LcFw9b4q5ZNwaA/pzS4XncVvUWlTq+Q7fyxIIR/2jrgL0hKvyHWOY/
p2B8m/kOn5Qfati10Eu+rk1akqmd1NEhlPX47G3tdNVs1XDhO+ah6Waf94ZFNbM9ARh4I/wH5Bgc
u4LJfFRLBVBuowJe57wCweBTibAv+W65azVK6IxCXxGbFLT5u+tbCVXWoU+2s4SWnPnhUwRRNXC3
i0b3bNnVKidO6NWwDqfBGRcgzqKbn3BbE+qQJ+7TUihnPfDnhwPMA7oK5NLP0mZB3wi4qPQenlYT
cmpNhsa7jhSN20ybwH/XxGtsgKAi7xuK7PZYkiCeH2WgYrHb5qi+W4u0A5lNpyLPcAubYt9zt6Cc
skRAemrOeS+B0ckfLkus5NWLSKVKZ685NcsKpDYmoonqcpTYHsu5wyZXBR0tWVPS7SlT0aZZxTPU
Z1IYJzgGbUmjOBxqF3JrM9SgqbQ/u0RDJ2bebSEXLxN2xfVtygX/qHTKRe0j3cQPIschtes3EYeZ
THz7IWrPlru6jnICO0ThvylRuCpjNhFVFIHeROi9E5pbFfSx3dVum34flBi/RdM0PTRLa8YsF0FR
7BdW7T86USVyz97W+sdpSHseTLR2cALr2BsPVaSC104LljY0lRWYU/L72Jg4W+rbmTaK3cnJSH1c
KInSPdmxfX2ox2h87haC77IUPQbMsUBOPArM7T4bz9agJ9shxsVqJmKeimoKaYiREkYfyi2S8HGy
QX47jS5Ok46hU56tVW3u0lC7gjW9wF8pQVK8xpOlb9xtY/5GJPfKfjvYqtgHHMV+zoMMoQS2i/5U
8AfayxXXDjpvk3vxLdQSShwbTwnwOpUr1MSBZKPxOsuRcuboj5k87/sPvSR8h9bSNU0XOkcZKy1X
zyuw+meJ8lowsqvW8EldmdwuXZM8bf2SDkeC4mVEd2ew6z5eqcX3cVAJ55KM54IMdn8wx3qVG0FP
w1QDfZsXlsiqQ9a/R+yB5T/tEsIYvWZw2pNyRhIX8vDDD1uvPIRNUcuDoQ0LxXlpLCBIsk9gB7TF
NB0a1u0vUe/nP4qanWdno757SqpqLG88DnXYhs6TGno+TfJdM5pcDkU8OTyCRZk/qXxJoIV63rbR
9EOtcxCVn2+7gHLrtVlyOtk8gOdA76SIygNKL6UhAkyA4U0hlxXKQjDwdnrWl8ckT5fbTQ0UZOky
0kDSSQumoXI6pJQeDaRkN2pSwkiui2fvRSViLn7WtZSQH5vWGy9dmm63nS30/OzgUNUnoXilKEN6
1LAHssw8qHWVYzQdErW0+xTyTrV3/CUM99VG+hMhOmmV7PzciGvGQ+p7zQAHMvNm8Uq5Q905MAOS
+K6XXf3prim8iB4v8j2QFBbAOXJmrE5b14HnDcLpbgYLUe1LvxE8kWXrvixzXMSnabZLsEfSB0Ol
0Sh0d0GRlzZbBkqyK/JjufH7vjR6ijLSYWZ2n0mvwevEBEg+Dv3Y9bc1wh4CkUqyIzeObw1T4ISk
sp+9bSh+trRVVZa32omyotVzc25oz/Y1mRoB2pK1jn5tFEvqHCbXD2puoDaIvln9rE890++ngryL
QxqZJr/tbYhlmrZoiNwmj87pz1qOiNeR0nsos/Ro5p4jwAaQ2dZzqh7iiXU0C5ZwS3btBlLuwUp3
cG8d27UO93ZSVCXtQCh4IX0545jmomGO6blOuV+08eW6AKxBVMFJ4c3SHoRBZzgdHkOFCq3LckxD
zpe1FiXpQuvKQOA6tXG9XtHIXKaHcUSMe2DJ95bncEyoqw6z5+Ojp5dZ1eeAzXzoX+omDFqeHGHM
Y259p/g5KKcVVyWiMH2VrCHaPhaWfngmoc9DmabrMv2mSl+DrOzwtsztzq0CEZ5CJkPd5cgpN21Y
gCLdZbx5VX9X0fPDs5/qcnHVzmmZIrnZqmejnN20KU0MBZmH0U/c+es3GVKp7SjHVtp0jh2jJrha
dLM2l7RnpvS1wT+IhFS2YhNgU9M86peMWlDQKm/IrI9e01X66/02ijh9qhqP5o9bVQsnojkoQQGR
cehTB9g0lOFhpZBu3+mfN3CYy2AUbda7Nf7yrBZbKO/I8nJoTTGu9JmUh+4gL5RHt2hXiF5QQoZm
Ifh2S+0acc7rmDZBFxtH3LtxF9b9SZcqtgcnHkR8ZfJcCA2exNc50I6GVsyXtl8NhvB+XThtC7Zy
8WS8qhSS8Dwl1leEx3VJvEjdTq3YDTZV5jTmoUof2noiaT5XaVVcRxT5EG3nJZB7n0lBxYB/GXDw
DvRs5IVohkk/MZ3KvWPYyXC5ayJPMYhP514nVzJHULtl89gl3b2eVNx/di7DrmfbOH0bst2tQuvT
36aY/zdMtvpH9zwNP35Mt5/694DW/wddit5ZkPK/dym+/Rin/5J9dr8gz/72M3931oYAhHyAZxGW
cIdxKKqK/+WspV/B4B6hVRifhY3/YVX0/ju8IRdBLk8YIvyzv/E/nLVnWbSDE/d/Ao7+AskD18mv
w1MvpMmNuQbLC3IlTGDnef8/6Ngiufi6rJJl56YSRUzwZfKj+UFXa7CftSwuon4z2WJYK0PVbNfJ
tj6wHTNmaB2If1EQAyteClq0ZInN9FaJLObclkp/e2ApXy84s/RlRuc7OIXBuvcnx14vzkw2DiCR
bGz6PBunlYShEfGcllBmZpoBuzQS8fnNvh5Y+lF99oq0hXISd2aLv4g5BQ2/II+clqj+mVvl3nuM
3d6ksC7rvg/PeYuGh9lUDj5g096wfsoW8IBd/F26DOWb25bj11jvy+XObod6OKE7uc1XkErRdFWn
y4/e5weIcnsqHNT6lbt9Z5XBodaCC/KNhRQ+fPWqd0S9z1FJskYIlbdpT6EdL4PyUn7mrncbivUh
hHbAmva12/pvw9BdKW8+NHF6bXJ9o+L1WBn9EBfRg1t0Dy1j7AzJw4XJ3ZfVFnsR6VOUc8h56JL6
uRz0M6Ph8wEtvkPAdCgql9aNexiZJ8tmfTDJe12hka3y3TCAT13Tm2hcb8hl3ZtuBl6mxNd+iuZs
9NrHaSyeU0vHJA7rr9PaP4VT+xYl200pY+L38g+ptjczAgh1J5rC42u4eAdoGEdfd4+su8c4ytkx
6BnS5v4Y4RKsPg+JyO+XBdtNK+rMOB9+c1P0P1a7oe4iiKtXT56CP6Db4jpW6fFsxNglhXcNzYa/
pEpuS/BVPcVpRuR4JIC7DwNoo+Te6/nEBCIv3tqLIqnpt4S7cJH7qb5nyXYS934uwkM/5J+t7L53
MaEj06Pw6vu6hKa0XUsjd4V7EXoPczciYTpu28fSXSbl+oXBVJhNPskKVjy3jveplXch/fvAZeKy
BcMpTZvTKBxiVeLpXTTiOIjtOBbqNcxfIDEFQfM0MCVf5/U0e/VJQDAuq4dKFKQJEnDi1YfUeHf+
FN5NS3LndTC01ZdtfMu7+TKASbfFObiIkIGNPKgiurXLdhW3wddqKB7KXALgb+6tcCk/FZ/U0/th
zrIr/OZSyK/j4l7lerkINeBhx+5Wy9PpRpzSkxMu5Ns0SIo7JkhXrS6/0jvnCbrehvHoLs6H9D7q
hMEv9wlkfJ73WbuYn5VoHjnhU7v4ew4onGf6zFn9y7h770TvZV0UXgfk5yZ6uvFNelXH+pUJ1H6c
9G6Nb7FU7BI50wN9Suflza3jY2BuE/92Dq8RIsM+j+2JLfZmLuX1EH1JRE33t6G5AkbFUlN2/smr
psM4Fl9TToJ0EfJH25jn+PzylUn64i4X/fwU9D9ay5GzPlLzoRCqj+sEOUZxCk8uo6E/orm48VV9
jHR6q6J0zSRAgG5naqQMVbnrYRMNCgB9w6nPb+9DMbwz9biwXv4adyAGtb4RErK3CzVs0TSKo8el
6LkM3kmlpDSZ4mAIB2iHg+0W5kbjISy/2iB8GKdx3BdjczKr8yUHJ4Zz5y1xgj8gOAJ/rwzAjoHp
HlijHqMOp9q4K07TiIAi1hfEUJXyGCziyzidx7+chLCmJBmV5SvavAfop7tGnI+/Y8WkktFVFrnN
cXW/2cSe1giWeBoft+HU8/gODsE8cvniOYQQDEP+s6SQSZ2NCR5NlbSWBMzSYNZFfs0o57ummGFB
J0Y2mcMLuClXA302dP7PUZOYfZO4ywFNYrWTuknfkk6PrPz6a5qXww2EOH07TA3s79i5xtJ574vt
prcFc24j6msrluR+pqFJFJ1fnoKKlOeZqFeX0LHUNFkyzvU1ncxH+FGoLVyXhyO+aPnRjHoCHL7r
fchue57C5nNWy93YNOU1flRxmKbOuQilu9xMGj1IZIP2LmDneQrbkeQG67sMSt/z+hCOebP3Y9jI
gJ+K6pVJK4xrWJI8u717SiqML+mtSatP0usht+l2u/Jc5orFeJHH9nFqR0JmrXoVLYnbDaFIsp2u
u5OQSXhfd/KSEXqdxQVKmhG6297LyWZpnPQiXZ1jSn/t0BfAL42GlW2f0UbRhKlOjaOuvTp578vl
VQU5ASJD/Er3Od8bbhaTZbuf+/mm7R4qmleZV+XBDvkkivN2vVo89d0syx/b7L+Uw3LN2LwHZSkv
UNXcB4JZK+7Edx3p/FMP8EHpG2ZTxduxXnUEnUi69QUZyqrxNiYmutg3KVLLqeMFMfNAf9PvOeMP
dGRcVIlO/eZE63Qp/Lq4pBF3W2+fsVe+G+pvppLrUJ/aFjxoKzdkBeK7I8EgLDSBBB4f2op7Wfj2
yIyd8WRIRLUmTSVFHBI14W5Ztndn9n8Ke+6+uHCppppiLvSLPIvWYQbTEdxAPruRTf7ibvlXVHOP
VCF3S5e+m8B8mtR7IMLy6AfT93K97OkGKgMVPRU3E5vSi+mD7lQ7DgqKcHGuTEnD1lMODhkVdVmp
o/ZG1MKFKDarvVgNqV5p8+xDoGLL78GGNuMdLQYGQmMIVPt8xRr4WzsvbfIj3MH5dioT3mk7fen6
wN8D48pv2rqEVBDExU1VytsKwzYLc6HfQ0Y4exH0y49AEPWdkJVOLPoQ7RtUokxTmDPFU/m9i0jq
TuV2g28k30UbHiJaWctll4fyphwjeccY0TlVAdnXyUA8uzOCZ7U1KRPzcOG1g85ml6ucMAaZKMXQ
H63E0QfjyURk81A/7pz5Xa8ffRXcIJgRO9RsD35s2h3toSuOFyHrVPIipvR+bIbLlWWEFunFME6Z
WqcBmZZzV8hvKU1HmrzFfPBCe5eY/rm3CdMdoeCmSfEou7w4+Lp9QRVzZRnkJiVotKVfyqP2u+d+
LW+2rnZZ2KamyepBX0XhnFxTkQ6ERAs/vtPJuN6ivmgeUJqwevYy8nf1lBLQ4drusa2Y2qb+lXZC
OOc2uTSlfp+EKI5+dTE6tXjaEj99TWPPoi1Lde2wpxkSPGhTHNaGO25odp76tiEGoPffOoxxh2UU
P/9bq0BHCZSCu8qPn8UyXVqnXbNETMiPxHzZC4IQUApRA9tbb/C+VWNL4q/3feagGYCD9Kru/5db
wIouv//bf8Ww/p+VWx8/2h+/UGH+9v//e6kVAjHyfSwXSeIRzv63gurfS60ARDTVFMwJLBn860yF
/TsV5lx1/b20AgRGG5UXFgm/B+nc+ysQGFgvv1ZWZ1EqWlUXkjVVH4aDs5z+HyorjQKU7hL9T5WK
khF6zfn9gRliyY5TTCmhNk2zno/JRY+w7MYLi5amS9xu9/EWN8VlFFt5FrR4oj95ftejD6i3Se8b
r0WuHrdd+4Hg3493fVnYN5wA8Uei5AZ/OZfq7axXhiJrTOdqZDlKxAYGo5qSr9PiKxqbORPiheA7
Rl89AWHSWn5JmS/LqxsVSh6LpqcptGP2WoufspmZXO2CpXQZCjlrWUlFS5/Gz5UVlYdD2ylcQSKa
r5VkHFrP/pGOXnlDT1WY28ZUHa5adCtkGTS2Zpjpb8n4ECJ5Cy4Li2izy+w2hPZK216qz2RyEgqD
MvJp8HT/g73zWK4by7btr1S8zmshA950bgPuWPLQk2IHQSPCe4+vfwPMrCqRyhJDt1cRL7JCKoki
Yc7Gxt5rzTkm+wKogoaQUgExUgjSc1qirdgkYz4Gx6jvOtjXgRhD39DGXnsKStTrNyw0tIlcUBz5
CqV6jZ5KdAB/XeZ3yFXq4XGe2qm5bdJxkpyqmfK5QAwaUES0opSgecuiKkYq06wr8/mS1XJ0aS2B
9TjlOVxe9opDdDbFpa7TtdR0JSGTQxOoT/shl5DITsIPkwh+Mpcqp1dvxjWhuiE7H79hPytDai1H
k5HBbFc1Yc5mTIKeyQdDEXShYU/1mWX9Gy7AGVijtcy9rLpSgfjjFol/rhMClmAVGNxQybG6oRXr
EDkds7pM+VNZ1EH6Ig+0adgZJIVMAlfXqfk20c0mfqM/K8jXzH0wyWOjoeUgWMT5ihXhUoaeOFqU
iYVrFR2rETFIskOd9VWyQwzQEHwUjSKvocLQHoCeNMoWjaFe7VF2gsNqI3kmO3BRUzpMVnY5BjMp
RqpVX9JVpoalR6y97XbUpUtePt2uk4fRq828v5Wr0XroxLx6TvTkJDeVcS+GiTDbgHPVy1Jp8hfZ
DE2Cc5SeBqgs9s2DUsdxc5oSNXuoxEm8rkN4X3DlrG9LKIdnYSgbhUvHhMZZrVllY5d94Y+xcK1U
w4KsucwOc5xRiVBnrXscofdeZggKH2W1SSZHjlSYjwW+UFfKFsU3RxN1ssC7Maesd0CKLPjsCx2l
qIpdEE0ifck1xHliEc3T/MbesfS6QWZrtIg3Q9aR6dLL+lHvVs2IKjdXoVlc0XQiSStTp7eySprD
TPfFK2mOOzwcqacmYp9eI50o4Z1PWkJ1FCngBBM6ycnHLVJRZyudKREdqCBJ97UWU16IYyyutJrG
zvQHi/7ceSZKU+IpehXlD4yDZHyF6WRZqFHGQDwHdpnVbq6Fgv4tTNY6eDJPRox4MNNYmUVLULhY
mnPhfJmCdnGEuYmNk8XKRaeJMVLiQaQbvaWKjl5DCPTqCmGBdTEByXw2UewYdpTqBsT6qZM7flJc
3lq00Mj1k4WBk2i6gcFk5UXhNeIgiZ6cdguRjbOayBft2EUdwluJTa8YivLDKNFV8EDSsVCUxwoK
foovxaC9WcbFU95GabNP1bFMtkK1hJIHGQGObL7a+mEfWvQW7xW9Nid2tgMcfqVHfHmkdkoBG41X
C/q/CbBZfjfGQk4u6GpXld/RO27E7VI383LNgqATHKuu5ezQFF3O3Wkp44W2MgyEy/zwhrv408nw
K7QQxhDcDZYMDQp4Im+mjy+SSJ7kVDP6wG6SDt1qYSQicLqq6V7+F8eB/2SSLrISGj/5u7RRmqDm
D3hQcql+rqJxfpaaaPjCXrNadn50a6xXg9mKtRacAx1dzcerWcJpyPSxoVoyWMoWLVjMxigrrljK
EhtFD+ZsDngofn1pP2Fp1qOCktAlXu9YSD67yrIRZzqfENlvOU65TpiUys5Ro3lIKhOvx9ewARhH
nb6srdqjn6egORNV4+7X5/HZPbWehiFL+rs5BtnKp1uMr8JIlFaj21uEFASSkPi+lHKpOTdf+H0+
m/VwyLEP54ply0B89tnvaDJvxqW0EAgcFtaNBpXKX9pZ+sIS+PP1yByDyrZMFZll16ehWRgYDUAe
sj9D6Oy0ltyivSyC49xN1W8/BVTVFTD9q81H0i3507iZ0d9iyw9QAgUklM/SazQCvfrdz4chwqqN
erxKSf4zXy4D7swWLrFY1wcsfkI1oE5Ch/lCTjE1/P4V6TK2P55soFrYzj5eUdKidwkRCdksGB4E
caAaEJIH8PtXxDpUUtcxQJn/kzmq0mpFiNXRshESYuoR+75LD+lQLKyryrYe3F8f7m+Gna6s2M+V
0IsX65N1XJ/hsPEQrtD7tvdlOnxeICyZ9+ujrCf94xwCNgSrnE57BH8ek9UnZgGqYGtUsejZEa1T
ux2oI+o9D3cjDP0e3Pjrbx+ObQGdGEvSgC+ZbBl+XMkjkFDiqkUhmCVCfA+NQTkImSUfGtrC58o8
q19gaX6eIoEYU2iDb8xsjFv54/HChepU3c4U1q1It2l9PwFbpXw/SOeo2wpbHvIvjvjzc7xikxUa
TTSpgFh9uqFhHCrxUHDEWi5Lf6GByb7eRPEPo++3538OtU4aio4JFt/tx4vT1KIdsgSUN6vvyUc+
NPrgcvobw6SrFEpJfAsrQlm+eNb+7gIZ/DwFeKVXz/zHozY6/OFZ6w0bet+wEaq49WQibPy2Yrv/
69Hy8yMAMctc39givTU+yI+HovhXBCx6YYXTFzvEgrGuM9th++ujfH4E1jcJxn8TNzZrKra0H4+C
DaVNJyNnzGdD9AxTXdhYUk5054ySNqcN88XM+LfHg7EGAZDngAn44/ESPDmzmdCts4wE5KfapJs+
VueHgWmltylvfQVU/PkhYG1A4xSYGy/udyLxjw9d3C9AScCW2NJIFIlc6Cy95chIb1R5GveNRSd8
VfUgqv/1jf3b4zKriOt1qorx6UK7Ca/C3Ke8AsZcvclWNUORWeVl0WjdyyyJwzX6m69CzX4eMzL0
OtCU6GxYFnxeF6gYWAyBkJi1MkuPo81E5RnFyu8Se1gU4EaC70w5wlqbyx8/RAqZg6QB3KKzFik7
bQ5fmYPKTWKhP/v1Xfz5eeNIfCQUXDgYOruPRxoSRGh1gz+hFKWWNhMFPfj6rbrVBoki5a8P9vPY
ZG1MIUTiQWDF89kAPOlh00s6droyyDZytpDP3hovY6hQyVOq32QrrdRZWWSVoEKhXcP2Pl5ZYpRY
0oTCorYyiM5qLHYxxVlfXNJPpLA/DwO3FPjlO1L442Ews0xZVBiUcoMFc3ivjzTO+lnuZ1cXysJy
htnkniaDET3QVwHKWZPvg8VBiFDnozYfNUcOIjVHu16IX+becvQfX8DvZ7cuKUTugfEud/jx4dTY
aeJk4qqNSq8dPaCfP+sYQH/9uf78KJKraCBPYG3EuHyvsP1QQcNPHERmTzsB86FwLJe5vAgBR7qS
2VbX6Bbrhxhh7m8CFnntrmtmbWWd81qVP32+o2AEIMFScsa5rZtIm3O3tbLoi5fEOj1/uIFw0TkI
MS08YbIpf35JZJWQClOLM3IumhcN/Jtgx1lKJSqW87p2m0DWhHPCMXL1qGmxon9xa396ZCQ4nZD4
qZPyjoLS8HF4GUsb5x3icrupcsIxwoWyhdpI6DWKmW4vqrfc+/WH+dOMwPF4RA0AIpooQkz6eMTe
Cqo4YpqH6BGpxa0aII+zeXeE6m6BWWJ98X78aUaF8qOz8YHqATxCXvMCfxyhcqV0sGR1zZY6DDZW
gIwPM8Fvv6TWozCjsohnuvuJW5k16N6rSNHsLE1bX4EBv9HQ2TtSKZOnnubVax1owxef3c+bWdCu
Go0scJkAD1gjfrw2/G5BM6jh2iUKQ6R500OsS3dAh87NqL3R8uFZRZqhGsNNVKL2+PXn+E4E/Dh0
obNYEFOgqLPC+fyA5Oh9wRVmmq33keqjnwh32NXpUy7adKFj83806i65rFvIBUIrt1siyhGpvfz6
ND59vqwfYa6up8GKTl4XQh/vQSKVRQGhjfhoozDtCg21Qy18cn7/KCtTdt3fyhqxIh+PkqXhvFSx
lTvaVM9OXEfYoRcIBb8+yqd5TmX8rEjXlV8L/o0/fjxKXMg4TWRwL9YyWKFfIEd96trYzBycnwhK
iWlM0IzoQ2vWj78+9Kencj00PNl1tcNKnG3iemo/TLEaGm4zWqrOoZ8rXPHSGGS7VPRJ9gU6v93v
bUY5Gi8OkSUkKaJgTz6v/XWqY2ExrcGsIR0I2A1oyfU06XNbN0YSXH99be8cyR9GKodT6ffwoKC9
IxNX/TTJTfSIm1jCcSEqplAyFaC/HW29aY1xM4jJ1O37hHgnt5Uafb6pLU7I0wuK8hsdHmV9rjbW
QqpcT1NEf2rEAKYcMP2udrGvI3vWSxxniJaMKqW9OU6AgyKpB4xKr+hxzuRG9JJUqixfD6SlI0aN
RXOJCkFUk6f3K/3/6sv/g1b9hw/9p2CT8/If+VPxf9t/ZE/F649hEe/f9y8FJiQpilQsJNbSzrp1
+ZcCk1xHJg+V9w7FSI2v/DMsQvqDjYdJbUaio0h1hvnl3wpMqg+kCJEzwSPLqv13+oTG+6v+h1Eq
swLgnNgx8l5kuH5OxsmGEaMlxg1nlvpdEh/rRjkPq/K5BC9IPFjGfICWTNFv+8DcU5fcG0t/ViGy
V9ODhGzbXkSIKJWEY0Fv7UiZvoe0KnDwHlX0YKiBSjPwpfip7eRHIZBmR43L0B4I5HKSoXsaYqLt
RbtNi8xe2vYIaYmWJP4HWa2fUG3K8ja5tohHSTdN5eLxnys/MD1sBeXeqgA3bDSTxLaLU0cXxTDO
5NCJouNEWtGmVr0cd27oBR2UEBvPrND5c2LbreHNCb2LnSjQNPdE1a36CyslttmNy6sgOYApqfGQ
B+7aAU0pS2zk9LyxfEvdZdfZdeImbnYKwrf6VhGvkFCJdh6CELQVrPzZcsz8zNfuhQA4o50/Ioqq
rimb5KkNkoWkWQe3cxt/j6Sr4rox7Zs6Oy+FOzoOtmYuRIw5IYyL0lkgNVdn5JOJjUmvzWmFaROE
8arfsqN8cXfZdMQptNX7y1LYRL1fkxU2kgJDFE2LyFHatG7Ryc4UOf3D/CI8Co/zi/j+u/j++/pr
9NS9/flr9CS/dG/yyz//G96SJxrCG/VleFNfNOYk1BQy89d8jq81mH1rU6dHGeu7ahFgj3kIDoWt
7LM1t+08aX2Rqp9cfkOwB6aSrBv5IXtSFfyBZOPdQEG6msQdLhMaqTbWzV0EkCJ3x3BjNZhyTyk+
AM0fI5coPb08NbUzLScUFwqpaoNtSBt+RaWelyez2RLnZIOdwCQk80sBwkHwIF58m4iSAICT2crs
kOvHd/N7ek2gJZ5ay7YeB0c92Y3HvzOfStUrZtt43OTNNqno9Z2QNNrRDIdkQ/YPCeP65CuZO19w
nVHgYENNO1e9wXeh3swX0XOAxqq9yGN8pvtJ3hYHci6rbdSrjtkifMmuQuElbE+5fpR3We+HG769
jO6m6WpSHqG7XuiinwgPDNVQZZJXDQcPlYsX1+FlQTRm6U9C6IaRYeeG4PbDLk3duXRi9dCgXlWm
i6jfKsMGjzrUb6zzBReMbhkYVH02RaIjIIiBI7LRgjMlOKuOxNVNvrovu6N5+ahRkbUkV40c69R0
+yjywpLn25nlm1a4aEmdztdqfoM5+YIm4PgW3cTnZ67vmtnefPPryS1RRz+dCbYW29RfLadQnWXx
4+iyapEiOe25CMWFTqRnKccG9cGNcBoij58oz54Weu3sTbiku2CfyceUENn43oxWPoOnCscR89PT
JAQeBjlHFRFoamzoBc3WZBBIcKTqdykiBq+FgNHokHWYU+Pn0Ozdqd03SH+7Y4FMvEqPFttWAPbr
uVnQsS7EJxaxMR3QO5SB9VVev6UQGkPgANnkGSxHrhZWDFHVu7gaKpMJ5oQsMWnFbfEaI5xjpeug
+yxiAZKI5SCL48/m6wkFA6fGJ0qm8w5UvkLDhwTExzSYncj4bo3CfZf4mYYJczcrh9zyjAyOVngT
SfeqqXGlm0L00+KuEO/EzKuGA7qmJzmh4AzHAgOlvOzH7KAQD0lyKxt0u/D77EKcb2j+q1gBw2N/
ZtyPzIeSXV7mlxYuIdGeVYwh6/8pTv1Ze/b+1/zdn18RmV5Vm7lqWSe0foW3rP/TiOv9Xp7Fk9OO
OybG5bDczxi+MEjSc6Zd52KCQ5F0UavnqMSk+Zlhr8Ro2J7bjHTN9lyb8cDJ94JIEoIb9zxTtW53
IhpS9ByZ+CwVqEaFK4wtThjuwkpgN1igSt21SWdbGhAQmt7mvMdyElW7RrvNvQC4A1BCisbJ0sdM
1vpDKzKvsqSrrrirBYUznGPgALSQe/Ns2gFHdq0cf42MvLQc7MbalPDwe5t2tlU9ZKPuZ27hp4NR
QciyrSf9mDz3o1OnraPWZ1F5rod3Ja9HnKdWsWXFaMCYivzlvEJxrjrY3if5oWhUCBy5A6+Udu7k
xaTo5QgWTJlI8VS+6AwMXAgshPqJCpVX7DUe2rjDPTl5lWoReK75soEroAz8bKzeQi1zqoQplmJK
0pe21SFjlG8DKX3mxf4tyWhErJZVFckKgh+XFftF3hECT+KmqBLsuVyKJc34cHBCC49uLzm9Ku3a
QveErDpkoAW0megDIYNjRPjY+DaGR7PFzTBuIPmleAUjP7EuBLxZcI1UDEohE8UcX8ZaAYHCtDwS
GSjWW4JqS+1wkK1TPl1LyBYl0/BSWfXEogZ8atA6qEIwisMCumFD5vsjKtLzNJGOk5ad4Ffc5Zn+
KhcoAdVTVPwvVqn/bRll5Emu5pv/7P/ZlCw9/3HdP7/GLQF7L92Pq9C/vvtf61A6l2v3G/wsW5G/
1qDaH5QpKDVDw6c1/GENuqacUYwi0wGwoURL/t9rUPkPqlMUjmA58rN+wwHERpIt3sf1J7MZAnTY
oyT6EurwcQsYV7WgUSMCuBRYi13nGDAzK2mYanqAVJmfyOZxMaR7/CEXjUrsIBpPvMFn1GFVr+za
g5brW9JbAbDkJ0HQ9+WgnlPBOJhjehcjzwU6dDtM0FW62thnVAWGpt1K6cAjLD/PYrhvVPGqVNPI
hidSOOCpXnP6XgAVsdpIbzDP8Lm0+bjJMhTXEKKecZ3r36thaFeVlCzdYnDtN5pWF+ca+7w97t0O
lb+k7PCnBjYZuv1dl9aAbuRsehTnAKyhklcAAAXzMir057R9CtOqPEE3ZWVR6S8VSGI3SkDrzk2b
70NrHPxCM6ITzNBoS4wH6oCKCvHanMNroCQZrI9Gv5rm9DoUtfLFiMpuXT1IriCL6nmX9BoK4ZW6
2NRGHQHIgLKG6x2NfWHc1znT4IyryUlUXmU5odvOrEGvUsTqogmNnZJM+eoPTTdG31xXMtPeAPns
RcsgvZT8G7a0+zRvw0srr3ZdjQciZ1qlmeAEZbqxhtzLyhlKQ+kGYrSftXhrpAeAWQczwQMDPafJ
cRt0u9VGGIgFu//SNrXlPI5ru5pZbCVBdDeHA/8AcJPK68bCso3Rt33WQsMv5P6Cj/7bVC3eWMFC
MB8QAvqLhdFZLXYL9hnWQoKBhcNyKJ4Th1zYFtekIulJLP0oRcJgh1N/UdRz8a1KoCjZymBgbZDQ
zL20CtyiRGOJKqkVlmi5SO+UVUmUFcF5XhHismSNPxXi4wTW9TaYq+sWtN4WOmxyqtMzRSj3WpB8
VwfQjAD/JNU3EtQegrykKCS06wH5EAP4pUnb7IK1jbZt+3ifDMAlA04xrwfBHXtaTsow+6kE70+R
ilfGARwFYwL7jnXHl8WgOuRZdsoCA5WczLanrbXj1Mj5TlEBC8eiujhG3dKG7MKTCvrCDlOC+cD5
PVDqNv6sXv1WWeC/bcJdp5//PNv6T035/R+7dt3utz/OtOu3/TnNCvofFLRW8KwsEsaGDOGfU61g
/KHrNASoCcNVAeDIfPrXdl8nHtiilMtfasz47+3Uv7b7usSXVJHyroFu5z1r8jem23eh0b9nW8p8
krpW/SEMg1H+ua2ZlAVv8J6leWzE7WWbWBIOsPAGjUnsDcMc7Kxm7U33CwMT3sRGNpP4PMFrsI+T
tPClZnRNrNrMMqm6JTIcqb3RHUXIPJeTZFz8cHMv/jytH5Vn7+lVn8+W+0LkGzoUxFqflA+jWQVJ
KRSKMwVSexcUGVWGqmzMm0qBNGdDI9Chd1o7Ge1maY9qX19h60YcD6VJ2nXwFlpvBSj4mCDMraKx
CM+irGMNZUHaYqeCRBSlofA9nZLuHHtyd57U0CyqeX0dgBJYLgEwsdcCJnVdmUEIOHaKOpEdKd1Y
XUuNx3ou84eo1nreBbqQXkjAsp0YmJbsFE2QPVrpSg349X2R1uryx/vyXrAF2kJuAaT/T+/MbswW
0Eq17IQrApAIdVyT5XAEfxa3W9SxTPAVGcd2aWIiiUMZQEDbRONVVRlk0Ycw3xzqyoaXQcyTvEKv
5MuYHIncFjQtd2dVqb84Y+1vzpgOGierrZFefKIf3/KUwFqz1TXJIeNRuO7w2O5gxFNxyCBDw4/T
or0oV8FtjO0fZ0e/6La+rC7PpA/p8IU1seqjIs53Yq10d0AYKsShwYoB6YI2uhqqdrqchr6foETO
4ADmAfIXTTbQUKMyJY9wvPXGzsjQ9TrK0KatdaPU2IyL6JWDpTACBhWorjgWptODQ89cSu7jbSha
1b7XsQ8NBM4gJqr62jEgJ07uaEQ3RjEGDz0EMmfQo/yqoxj71BOUYSfaksjuYlX9tpjCiIpDbgrf
IhlTzEz/8LWlA2d39FhXjWuOcnxYdOtMAVt4MVpGdSrzOWMf3Unx5a/Hzvt66tPY0ahH6yL/rU/W
p86FUOfY8EQKUSPi5U1jBDEbrYSbo2QmmKgpbHS4JvRuyRfVTa+QVjBi36tXyajgkuI1a+tstAa1
GS7AQRsqjAxRuqmHcKJiZSr1KTRlq3V0pYs02xzD5MyaKwpHNeXwyBtxA531QbmtoqIBjQxUQrJF
cqmcqe1DB2ntcUYvjCIczT/fJODQBZWbeVGUMi0XQn8HE3fpkO6UECUxj50VTbbAH6OSf93RsDHt
KZgb1i7QXxBnoXDkouaZLdwozEcDjJBUqRQwTYzbnhIpIgWeNoWeLOcHAFPtmdGXmu7LVN/OF2ES
3W4Yo305jlMCKgm3Jk4CtT5GOf/AwT+nXBDseRJaE+V3z5ZzW6eXcl+LICrYG4rVTEulCox7fc61
1mfmiKj6TU3mGrFwEMtwJV5o1QlNUvJNBxdyVHMlu5KBv3/VTvq7hxC1H5VeXCgmbeaPDyGGsZTE
A0qCfcbgiudGPKbsC85r3RI3y6jorqll7XO5ROIXXe13MeHnUUdyEl0z5Hn07T81emBam0E+Uplo
5ar0NAHHV0KFm8qVfGjNIdupXV+zhkZ9IkLCziyhcuW4j87gqKmeVTFUxlYsvtCdvbdhP52Wzo4I
jarBlf/UEZImtZyAW0uONcaKF9Gz3CRV29hBbEBfTcbFVyrgu2DSwRYOAg5nIcxugWuhB48AbdFS
Ejd9Q6FPIR9uN9dKb0eDoBDkbeDoEnHYUI9VXlgUgOtptS8lCmtv7vMFcPoWfAMkNdiPPn6k8+qL
SSNLcmBJJUedxGUCPyR5LrZBKl0XBMywwE0a60FEPN85Sdqc0qp6i0AjUVvToqGyjbGniItLFNxf
lue4NlOpxrU8VaEnAwWjCLHAN5VmmqzjyBvGDoqx9kBMshGLl/ZcKfTaDaBmexo38z7T4F1J1ih5
I6BHnplKrA5lM8+vsjg0iCanZTy0jXBKgvG06I0wOqJuxDdgySgOiKnVnHIe7m+jJFH1hjU0nfVL
xus9h0ijJGpwpeFcOocHx/AV4RwxY9mwsiQM0jM1SmEkNoE4VzVxWBfEfmsmy7ZJma5UpZ0fYB5F
11mQSA95LMmTHcvRMDgLsMnN0sJvLpIIeqGgUKI05oxsJaAxLs4GZsgBp9DyRYv3797l6MiYi0XS
OVjrfOq+9olaQN2X6NePcXAj95K6NUYdaQ1q403bGS1lpTZxEOmKB2Va4CGCnbPh5dWbuIdZn+Xi
09yRahXVEbW7XI3dJtNAHFdz5/763fHeCf402gy6TghDEd0Qh7Hu5X9o17bhMJNPKPLuGPL0vq4V
8yDAuFFCVfKLRKd8hlxwI+ql5PWRjuG7rr/VQzruLXNMNvISW4wzegCdkGAkQOS06/qhPiySSZEw
hMBlRuotNNDVsNIZXqhX80UVJYJHT0D7hlkiOe9yPdqAqsq3Dcycrz4MluAfHyeV2BzUXBLHNg0U
Vh8vEGZwYOb1yAVKVOrKSjLh5i/jvTx11rHJUxJTSsSpdIwQ6A8W4BAMJ5x8T/Mn7PVXkXfaV8/4
J8UDSyZOCpUFb1Ha5fDUP/WRAXYFhaiDI5YKFTuIUQwe/peeYjItAEjP27hBD9aZDzp1Ypb3+6kf
Lf/XH/3HRv37OcBnWeMScSeScfFpnonjBEbHWqWpqhG9kKpvB2sA2g4U9os5+V1e/GGQIZlB18aa
f02zZpvy8TOY2jkRMjGDUhpith1yw7rjwmq27wZjqA+Ex3hhpe10ZBletHLRPpZE7t6hzgsbN5jk
FiuaJhyQVMR0BK1Mek7LfmstHa74OlMHOpYzuMAlB/KVIDYgSWFQUozjzJVnss5yqFFaFcDZbMGc
SsvmqciMLrMlMa73RmhNpqcqyVdpZH9zg5EkI4ZAlIyi1vw08tiywWwqatEB2IVDaZrpc8h6cRwj
c7ntwel7CvLJkJcSRDn8a+qJOpeBOAySMPqQpDlr6Ltu9KQL3/pcGXRHnyXhORzj9loSqoPYN+VN
3kCTomoyoEaYc7N5qtXFvGO9oPmDgDvTlpCc1HBNYDJKkB+9ZCQT1Kqpm6soCVasyHhS8qV6hdmK
u97K429hqZuUzlPzAF3aeB47lXV1ReMb3Iqsg+svexxi/crFwBi1Q4qQUR0qDCLxZPNbjkXwoZqk
IvOs8pbt2CBBuWrLjSolHEkMYFq0BA69j+bfqkycxS9N2ZZv3WcIFJnrL1DCmjiMuv/5b6tfrMHv
/7l+sYmfm6ese2p+rF2s3/JX7UKj4muwOzBI9aJM/P7s/VknFvgSa2d0Zqh1EBEYIgP0n2IF/Q8J
kRLqGpxb4p/25n+KFfgSu1RdXB0ZOql00u8UiyW+6+MEjSSbAhpiBWTKCIZ+Sp4LACQmWlW+SZId
7ZZddZNfSQ/rhr7D22dXru69pvt8HznLUdpC0Cs34ybdGgfrMH/XjsNrt2POOC9uQNecstfkVXJp
Fd0skYdg9w6zZf3UeqJT7Gan9qyt7FS7cMv687DsBgw/Nv3A2gn3mVtf1nv9KbpQ3+JteaYd5SeC
LPpsK9HnvmtuumO7x5vpWSdqhD4YPifbpXfyZXUcveAy2Sk+JCJH9rKL2asvG+yLvWve5F4MfcWx
/OJUXo63I5tZrKqXy9HcQKu563b1lXBSXuQ9jEJ/3HRHfZOea369Cdxum3rApvzI0d9gD+45y3Pl
YGyDu/wKvr31Yr4JJboKiFNOuO0BCWY2LbisdVFP7AMOiunwZPkUhG/D6VTvK+viuT+L9zk/NjyP
Lua9dZrvuIVHruFN9go/2C12vKfH5GmH4oRbxAbLfc0SZsfT60RO69xgX/YALR7JhTjSyXdEn4LR
TbCnx+aVDm0yO9+M34vAbyCyP2jbci/5ls8WfQsN6xKvtC0cgkdjm27U64Ud+SXQ3E6zAx+6HRTl
Douqm4qEYmzZKdSZHT5n0kEBsXPQdr2jO4XPipHzmo4zmELH/NZdz0TdqIS32NrDcsy38WV1qDdU
+pNdvdVc3SEddNfZGbcl2UU7w8+35SY8ABy+aR+F8/zMvOAI95YPb4l+9o71p8ltTzfxRneNKwVY
lJ28wmQW7tPDcBo35tsMlMYe7mG+29O9cuium5MJgzLaLIOtiluLE4VfvRXPY1/yRLfa8Gb3+ydz
P++7wnEJY8sP0km4ZnwOThwVpzjfGr5kl2d8vxs7ZGj5UJxZOvt4PcC5uNU36tZ2fckGvbajzlbO
uWk5WHJ3Qo5gN6Ir3UyBH1Fnz30RRclx8LHn53b+rLmTW28isFZOeHaRO7bqlFeJz87eN7bZq9/d
0C3X7+TCZV9P/9XcP7KdA8PqBU7vUDn0BGcwOIv6MT9bDoXfnVD7sK5P+RGvCcNIdKYd9htVOumA
V9LiuG7P7ab3Jf2hB+dmdW+8R+zZessCejtAw51J2U7KWWdfvLQ+1LfJyw6qbTgkE7gd7ufb4XK+
piXMlh6Wen7g7zSIhzNQGad96d3Inm4zz5Qc8EvegtBJdqCOi9kxr/Fq0/2FBa5RKbBhSa1RCfNW
fJnU1okZu6IXbNTGnp/q/XJfEENh7UOvdiU2VfvgpbzpL6Y1VdnTBy5jX+8KLzWesn180m7qN+oC
ALCvg3ODeQnp0b44AiD3FfG7dluDnHPbU39dERTrSIrfnoYzcKWpvZxpd6qPEtvJXLpWKdMRiBG/
AEGUUMJiZRKrkFuwSBu2Eu3CzEF8qqVn+nKjVqSKbJSbZs8jbOu3ouxIvT2Ul8PgGh2aCyhH9MvP
ygv11UQq401+2zryHigywBojO8ue4mthp28IAYc2Vm+mN8El26T27lf7Ny0gO70UPB7qXUT5tPU6
5Yn7Kz60qDjUex2hs5N/r5p7wUtVN91UGLlH4mi3KjZt80wBk/o8ojTXt2Brshj30IENcotOZ7Ih
uF3VjunSW9ajgyKxYvOgWDIiOm4f3SrpngKKk5aPERUctDfgoIKXIAbc5SvX/bLNowvo4t2wl730
TufffFMPhnxW3MIdzu/7+xjKWhXa5rZiw4nGaCOeNSQxPRr6xkBUcZdGvq7TqPOBZbWhXW5H/Iod
OT0ekRrQCJaH3nLJCi91J4X3+cS9nq8V+vrb8Xq8Nu4YU07B6D7vrkTYSCB5kbfvu8vUvTZ2kuZQ
UIBzZPrz+BqZx9C6DOnp3Lf34qUI48YnaAf+PugjGuPOVund4la4MK/a7atFbiziETez2+pMUJ+M
M1Ho0XTVJ5JX7JZsz/FMCq8KX4FBRzSUXTwa/W2fk9FUGxsZnEKJFGF6IaRxU5R2bhu72M2czo2v
Rm/2dAQpxlniUhiLbvg5D6QMXEZgrsvR5+GghRj9P/bOY7tuLMu2v/JG9RED3jReNXABXE/vOxgi
RcF7j69/EwxT5JWSTFWvarysyEopKIq4wMExe6811w7Wa3mUraP+TPvejpzY7aGykhjkDXbQcpS7
V6LIVtYVJGOpcgHwUWAyj1iYHOY3wMRG7wh3KV3VR4uQ+RYf9DF6EPMHCbHRkxRs6Zh2waH5obSL
C/tFq2+tcw3q+i6zDqq4diqXduK51jnQyW971x1essbVgejwJtpjZav3wfy9P0ppy8FXdgImSrc8
9hC718mKYT8aTKwJX7jsvJbYwamHjBJF4gUrVm7rLw0xMWZ+p0aqpyfZvQA490i3NLkGJg5l1epd
KFuDHe+67eCUq+rZvDLPKJtETnusklWDtOGZ/9ce09108M+1VeZUz0hPtvwoHmq5gpVwQH9FbUnY
lFud1UV9Crfdcwkubt89KxfDRt1rKuIIe9Tt5KI4mACtHwbtgihup3Nkj89KkpDkGeOaX3DWF6lq
2H7IQIOHGW4YqxTFI5JBho1mQl1bVyWCzp0/07/YtNr9QL/ge7f1ifyjDYg+LENP45D4VBjrXQgj
Gf2i3R+RmSDB7DaR883chIg4Ck83vUHf+e2FWOyIMxpb57tYIy5Z//62/KbI+OfTPfn6tTj7lr02
p39o2f7/s3Nv/vPty8Frsah2P/yG/QC0n8vutZ6uXpsubf9uqC1/8t/94v95fftbbqby9f/+xwvY
jnb52wic+IAHsqiQfLId5xLy5nX6sBvnO/7ajcMD0rA6LjwgAD7IfanX/rUbR39BIVvkPxIuew7l
fNdfu3HV+mOJY8E/znZb+9BL5EsqhCEak3+rQP7+5H8147hp3EPu2V+/f9+c+6ksgQBxsanjRFt8
oD+ZT+gttAAbFpVPHVp7HezPnVB18ZlRCOG+A2TvtJFmwIIr26MlNsjwOOPaBXyQL2oTby6B9xWD
5UrwaIHtAwaNs5eb8b4s1fpZHptyPrI6J0Xk9NGTryvRQZnE/seUlsx5phyiw9VCapth0Nodp6B1
rQ3BI6F6IO2CqdUu3/yBLSQSygS6FF0J5TR/ccpfqtwnF7poXRZHKZ1h8l0/XiiaCSjonOPtqif3
D9ibsq6pKbD9HkgmQHhBA//dgPrVUzo5MDEMwMdz/pI52b0ZhT7+SNo94BRlOikFnSYQJBtDLMJr
QRIB6+hISgN9UhyBaNKIwAqnkAM0vC3I8sYE9aaaE66/IQFRl2j1n9XE/38I/w9e1ndP6SfXwO61
Pnnp377hn7cel+xibaIMJOP4Fxkk/7z1MggKQuQZ4hKssQ8vPXYzpgrmCzxulC7/0Wrx0iMcwHxA
5Zbvw337O0dweWnUfhzCNHGozalcAnPJqdk1JviDxpGKeJIyIdJuUhCX/IuidCd1ENliFnnyWMxU
3LDMzpZNadpsbSjoAY2dYfzeJEP1CKcR6wpc8ht/IEILinCrP/iDGdzBv6lhelpZ/Ugh7JtKJvHL
7y8y/ztrP0z3nw27Q/T6EravedO+Rh8Wqbfv+3P0WX9gyYRwgjVUh9uC9eTvwcfSsUyy9E1kVham
E4bl3yuO8Qf1Wk2lPowqUJeWtsBf9R/V+AN7CbIW6uk0nH/TrKJ9nMzwcusSUxlvAFgKtILaSZGU
wCqoHDV1ixKypNMRy7ifWyqhSUwkit+iqUficQYMu8PtVI0u/RJ41FhKHVHs9BsjUVr20mpHIEaj
rpOZMJw2eBbU6MEkcW4la4h4M107t3ROF4lPE6ZNDj3NZSFK6vsEEzRmAlPeJiUKYTOmw2KTIjO4
5aK4QYPuc/onouhHqKVLaGXfOGOWEq0qdPOtkBV5hOnM2JYxh3W0EjgV4G95ppmq51OFmNDsswZ9
fYiWDXWyKXJ0SiQ2hIoCH6gl/ozE9Txc+1VsXKlVp/43JuR/Y/v17708/4M2aZQmP3tvjiDSX4r3
e7S3b/jzhTH+wIYOstFYzJMqHZp/Xhi+Ag2ZCdn4ia+vKn8YGm8ZbWdLRoa1aDT+fmH4kqwa6GFZ
uJcq62/N1tgaP0zXFGpNlgy8ozJt9yV+/aS7aISiNvn91ENWuSScK3C6/aXGkX6mUhg7/eY4GU4H
WTy4Nlcgad3cyShlkW82eXPcrIbJ3t8FvbzKitVaWbduTy3kAffMrvPCzIm94WHaoHh1290QbDR9
J2K4wLt+dte4jZ1tqFS5JixoIs4QciouUl05uxOnDXjXsrUxRa8QIWbHXrsqI7vnwgCIe71D62H0
fM6WT5rTrS47ruKSYDjXctJ1uNXdcE3Uml3sw0vyR/TpAOgEx5d9R/f9IJ7Jl6iL+DjLsVrelZRJ
5XXpaI97gWOv7wqOeK9u6l3qwkr1fLfb3A0rkHw22lN+gg9O5BzTl3LwYbcSeW6LV/2jfOTIbV/6
1LioXJEGaN/tLu/uLPu4X34zrepDum3cJ+plVELrQ30g8X0HMpJrp7BmP3g3N4H9PDrloXU6l4Bo
/mVyVyFEMXKI1fZehB1BHBKhOStIHN1dSPy0QwoBf91TZN9wryhStk7LvyPO6MWyiQNYoWR6rh/J
/73CS2Tnh8wOziaLtvktItWrSF9F67hlwxsMjpGTQXhZvcxrcUu67l6NnYT0W8WT+CF830G7jC7A
g6+xTNvSOTnEYKfdMHPlc2KDumbHP7p5ThpA/TBjlDCd6BBsGQd3ozvZ1E6f0rczZOlJ8Kwd/FL5
cFE5aXpBaYBybXJZPqsDKdl291qeS8lKfaV2fdmtO0qWqOkw8yX2Po94bIq2fYKOrgkrqXImnjWh
RvNrf6ROmqwVO27WiW2ByK1scIS3Cp+GG3dEbCy79VOwHVMnCbdQ1sPtRR5uH+txS2Ylx4POpp0V
e4Hb7sUtmo1D/Tg9oSEbZZgnwNhpdW1CAoT6gLAeRxrWS2TUoRGRRt7POPzSM+sS4walBPO+PIYH
+ahc14dh3d3qJIQ9W0hnRGdBh+I6ozDJL8RdchY6wnnB72PhOAx0F+rkUGDa0TwcgSIN5sSuie0d
8a2sh4OxzUdn1lZS6JLkNeWuLB2VZttRrdDt7gdLiFzbgE0GzStvum9hbGuHFnckV78dpl0H1pNE
b8ffhRfxNj5oYKt/+Jf8lc4zICD74uKw4/qhZV9XDjkBToFYMrSBeJCKcAPpRlHwma+aH/qTfsz2
4dra+qa3dF9dZZd4AgOMNMdIcLUXhCWMAWnt0DwheA6ltxdcEvdGnZHQdYHS0QOjDtl7dC9d4KDR
Hh1hsv1r8SX2bEqudr/uNuqxxxLoEK2mvfDByKXzQq/zLqaNbNmrINnjEeLuUIIFNHqmnPu3gpc4
yxssKrfTfZg4DdrGZ67LJ39qBdeaecNY9Q90WS6C/fgdCVv1KjwDffGLlUwPEjIsSNI1ADxsmPJ0
IyuOtJmOuaeuvIlyWA+ffDs756Wn7Z8Fuzny2kT7+DvpPTvY5fq33JHs5NXPuSXiQE8hfc4EG9b1
40VwtL4p0Qq0WXwhX6ELs26VeNsTITltkeNfKkf50TxATrQD5Cyd/SLSDj2a5y7lmLX54NvCMTvg
H7PLZ/liq1ytKQyfhT+UM/OiXyku1cbdWbWNN4UnVRBvr4xki5dNvVNrPlB9VmK/3SQO07L77Vu4
wUNhbUX7OtwUFzvQm6t7t7RD+2xyXO2SBLMX2VkKZc13+cCvbNFRH/JvjwqTOfFr8HC91iXU3Qup
8OY2GgdKbaNL7X2jrVDZH85katRnNMvvyMZWz0mMWJt2hHtgWxw6p3XN82Ir8kfYKNnYqWg+GLim
+DPWmjpgeqbtBocL4p/7A9xtDg4buhWWslWp7R71x2Sr+rv2h6bZ/DL98Wis367irL1DrtXs03Vp
p3eGiweUvRJm0OZQHShYygxyukS4V+Ud/lfa9sDcV5On21XH/7SUrvnlwVrjK1U0lqp2h43QP8es
R29JWneT1zl8Dw2idap5mKJmczUyPMWj+hJQNy5JgnGDC239KBwlPoOl0mAgNiJcMyodYy25VKSU
b7cxxcLr1eaHsKWOSCri3vRuz8ip16KVj/z0G6Xsbc26aRyls2RYTRcRt6jzKPo51FH5b+sKlwYu
kSfWWC7fWGNuDW7ybzhjG2vdHLgo8yHnTg4HVEuoGrAFH63qCfyt8J0sNKN1UEdH6rnvXlK4psFj
p+spOu/paJasc9pjyiUvEVIxp32vFDCPbtA70T5Ri51uCfbvH7z+je3l/6CNIz6NzzaO1zizjt/q
KP+weXz7pj83jxC/2QayEQQVAUTElAAA/HnU5yscpwDV0E6nCqBYnIT+Pm0pfywOAupt7Okg2rxD
A7CvRNmLRgicAB4cACW/c9RXF6HNfx31EUGB2IMARS2RcxvitKWa9U7t1cYaCWSDygbEgAud62O0
hhQ6kofSmKBxGYRyqKA2jPtzodfWUhVt1bgt6WQkN+RIk6Q0XGskotvaGFaHutDulIxkDSWbOlyD
DVoloheculfqrZ6y2UuJvXVgQhZemMQmFWr/NZVx/EMZJxFUByQ+isYPg41i1FvZxrTyeyPgoNWP
tP71TrrudXEjGEGJapi1pM/4M1rzWAbdNq+eugIbqNTqGb0z/ybr5T9re79Vzvo3hvf/utPT25ni
X9e4r/tv6fO3+vv789Pbt/z5CigKrwCApAX6+yYdoXbw1ysg/kHRiiMQhhj8NFQf/nkFTJHzE6Aa
oDEQeNAzUxj/6/xkqEhYMLaA3ODkxfHptyj6iyD6v94A1FgMfUY+uDrMJ8sVfnwDBGHs5qQRJXcC
CnkuFSbvgSHIEs6KMbPMg1RVgel1TcDGpojEtD0IfSYZ9+9mjV/VcJcX7fQyTItysQlyCHoN9+j9
i0jekdRYU8Zl1IR4LKZi1cIJBw7e7qPBRw83s7MhBil96CodTWtXW2Q1xnqiTZuOjN9zqDiGuvUD
asQrNQzYyCc1M784VYStoOHPg4svrpmZ8MM1MzehIFrge1y3Zr1Ze95NHnE8U6vQC8U1Q0jnIkUY
YsKN9qzQUQP3gay5beKHV03bxq7Qxfo2E2mPxZUq7QPq5MCm/QpNSeibX8EOTxoX8LK4NK6NGisT
7J++1ve3sxO5dZIgKS7I6WwPYH+0rSmI3TFUeq9p58uYqONtDjvKmQVJ2tA4rh3iVRCYfH6TPk6w
f12IvphfqQIQMcb0//5CqISSb4Jq16VQihtQRef5OtVCeqFVwuD5lRmlJJ+CKppmFvXPf/bpmHq7
CdSYqOYu3YFTvWHtR6hufYPnoyuzCA17DAgE7mKQA72J08EsNQ6vRcWB4vMf/Kvbj6CQdEvV4L2i
ifXxUzfI5UWcXYpLeBsVAWHEpSlQJNkg1Kaj2g5ZvRUJZLbroVOvhg5/CFmk2SVZ2lbxxV04YZkt
jwCxKaJr6JeY7OSl3vn+EeizWWszpmVXLoWWVEBDIEgB6y7SlEIsSGoK2ryIIUjIE+m8+ph+K6VZ
UlZ6WQXfvrgxPz8S+kKw3OgGsOSDzv54LQN55LOfNJZrVupEaCHh8R61WP8YdMlim2eRfER5a60C
ApzOItWfbnshqm56TfRSPRcrVsqpfKzVUTiMcUSZh+SPTQWu7f7zK/153L7Ni6jA8RJCVD55gm0U
a0FELRYZcggLhVVZW1X4BQ5tHRxlTFZnaqeq19NUBpvPf/LPg4ftDf5F1PK0HVUaGx/vUYGJqK+r
JvJMsEOeJJdkcBedRYzJIJTiY0Tg1r3UpfOPxAqhCRZmuB+J4vISPNlfNPPexODvp2WFKzAVdlyg
2SgJvl3ruymuQ4krEpM4eoRAwFJJKrLP7KlgWju0Sjpf5ZmVTzuZGZpymkrZ2ALES2U6Gk3LaU1p
viR/Uon2eSVI5NT5tN/yQEM2WM8kk9NCqXu0QkDTMcjjPQN8N7brJi8MkuONNLVWyTTStP/iDi8P
7+OnoqtLc5LOLj0mfDEf73CcKroWYY/3VK1tN303dBspByk0hAN1mIp6kZIoE7UmOX4Z+17YmNJI
VfDzq1h+yOlFUCKlRbqE5vCLjxfBlByQeT6C8NZLbGUNlnLOdGIsHa3WuM2z9C/pwb/sZv/iYbK4
0mOnk6EivzZPfqLS1WMpES3vjeo0PIoKHOqkTdUbWUxz06lwiq7KBiFhRcLwwSo1ERf7HO40uTUu
8yL73shjeoeJr7KnSY7vykIPXKPX9qE0IUMLsybbaGIacDjVsgL7rYDYVFcE4+XzG3di8GVCWzYJ
4C3ZVTGRYO7/eOfINFEJvvJ7j/hjbAqwDVpgWV3zoApBtS+kXtv4FlwU0iHLDekUk9NkhXE9NOXl
pNalZ5GhhU9S1q9Ulj2XCCFMeIlinvuJ0jslM+gX64H807SH4p0tFlVqGp8QJZcS9vvXyGrJTW3J
YjcrkmFgJODMLYbuHGbMdBn6obyReWG2HaifK0MYXqy8sA5y0cSL9l2P3BkDL5k/M7oSU2/P5QLt
FIldFGVGf57u52JUYf/mIw679tYIhGTb1z7p8zH6ucFgiRWFvj+D1pd8sQf6eRAvrxH5ubRjwWSc
zg8YjSrwBlLvwaedDjBkO7dX+uKcndy09RU1Xn/+7H/+eSC/2cfRd1BoRpzKILQOnEfsUwCTxzF/
UFrhO5uOqHGqengWg6hNvlg8f/HzVIzui30ORCXP7+ODq8s+a7WkG7yo0dRbM9SSV2EejT0kDMRf
Q6V9MeGemAiXsc1xVNGw6NB5xl9/MlKMBAxlIAaTV3KYXCHiCES7KrLrIUowTky9cUbotnpddULv
qoMhsRHucqSgFhToi85ogxulVQkJb0f9i3Xp9KDwdmUclRdiHx3607duaEuLNEx/9KxUSdb+ZEl3
pM/DmID9cTa2IHIyUDqvbbvE92JZcT9/8r/68Sbe/gWPvkDtTyavosrUUG4KejZiMt6KQik9aZa0
FtSMPMC2aRVnFNrvZqOVO9xUxhcf/kSU/+dz4eHwdAgR1dm9fBwIptnmlNK0wWtoeVYQhiztplbL
apXi5eqceG5urD43LlpQIlEIRK8Wjf5cmTQzWeECTRu7Kwl60uO0xdOWB7e/eXewqgG5QQRBsBrx
Mst25t0Eo6ddNGRipXg6W4FNTaQPmuQiPKRytQjslBdzyAAH8FZ5edqI15//9J+3LGiw+D/WVIAQ
OP1OdktRUxWzYlF3jqNaFq7wwxS3g6hYA5A83iqHOGtdWgWjXpI5mzQlzZugqDeSFJI+OcZN+9tb
fy4IxyjgA2gUfKqTCwr8uRMJKVaZJ4al2dFi4fPFoj2OQjI8Ius6dEKubj+/DT8NUX4ob++iEOBk
Drfy40PIZtUfiS1SvSRokBnGGH1+tBpy2inTjbXaD9mLYeXSpsWtuZ4KQf4qwIWT/8meAo7RUhuA
rk04Ajfg4xWM4aBj9cSk2PoK9VoCnrCXJhHZcNtJFqtdXYhxtp2irgrp/SvTASZMMVworUQfP4+r
fBm8flZ88e6+tWA/7HW4LrC7OKKk5bFoJ48j0ieZaFmSrf2k8oFrpRXYF8ugerZqRcQHLv3lAtU6
N4YQrELPlHXUNw2xWFGrb4HO9NKq7WVz2lhSMWMeIUuPTl8vgF0v51C7jqIBapxApIG/bgbwyXYe
Ei/6xZbt51kAqSKVF06yFCeRepzc37rIUqmUCPzqkib2N0u1BLk5PA1lFfbhRHM1D1R9FSoN5gIf
d7tTFLkhroxE1YjIhrnQrocIQKKU852rUjSU0iHepIq/uNKfhyKlTbr2MisX9deFw/J+PjAKvU2j
jBsuUPxxknTSsKGK94RpWUcZtPTGrKTpGZfRetL/tp79y43mT4vmgtJih4m1iaoXNJiPP1ytQxK1
IzSQ1qAIV0ke9Bd6aOFkljg8iOR+nX3+3r1tnz4OL7Ri2MMpJ8sy5JmT4UWBodGlUMEaZOTIjQVl
XKeceR0hVsWDrwhq4fqqNmxYU2koEAjkJmNSkCbPRGQIbXZWzEbiaEHY7JVMK9fZFC1syZRqyOLq
fwiNEtXy1LC/mqL2iy2GpPz00uJ4RfAjQg1g4T9dWMOQ5FSxi0QvZ4SfKbVF+nauNPsikIK7bOTM
m45CSPMxmtqDNS30QcScTjmWMKoMJe69Sk+Cr4IsTkzbrHio79DhoeCgPA9obHnK75YUMh3J6JqV
2fPrAA/VwLo3IbHwCSLXQcvfj2ooLv1YqQQPKYNqdrOu1g/trBi7VluY7ALRsLgOOoyb1iQHvjdk
wjTshwofqK3UUa8dShn86eej4ZcXbrHZllinaRHoJxfOSJBzvRcmrNajAR3RygYsK51uXZC76D/m
bdVOKyKxc8qHSrc4QCVpeOqaPAqWpVrpaMr3UkguZy6BizECY9ORRcleW1x23I3UaXgHVEH86sJ/
nr1ZrRbaPOpG9n6LwPH9HR/K1ggniABeVIkqehUS8L5piXkupUpwCYO+9bLAFJ7UuhEuAxkOvVmk
8WoQx/wsbnmxv7iPv7ic5WgK0QJDosKt/Hg5rdJz6mDP70EOn7zAV6DRymO0K3StOfqNXuLMDY2d
WeApKoR2PEulOTvyiy0BwMHviXzfhiMzLlk8cAR4T05X9CktYjlrRnY4UUGosj8lZGaXw5Wghv5S
hpD3SpDUXttW4iHQ6+52TNBIdGrTu3MHGaUh5fiiUJV0ZZGO9MW2/RczECcgsljAD7LK/aRBkvM8
MGqxmr3a7wX1WFC+ti3dj8oLYazDYpUqUWjcC5PQrjVZGETPFCZlfIos4sgWIgX2hnA0Cglztkot
2dcIjnBM3xSnlZDMYbab5VwhkhDuf4newA+BIoAaULcRp5avbvUvHjyNhWU3SXGECeBkOiUUJFHi
BOs7/H/sH6FccwzFHzECsMfPpDXzUZHZRwx9cIPK2rxQ6ljfKGRgrpOUhf3zcfjm/f84u7OQIeen
lk1YESaBj+NQ5+kBGGYchno2b2Mxz8/IZjLQZWjgatVWkdx2UppVboHh9IkGp6LUiBdmNiK0qHpx
07ZDldkQm4yF42CBVAyVGr5EDXV0jrIhsFOlE24MDTJ/k4XxUyVXXoEH/TkqxvgxzQz97vPP9Is5
nyMsOZOsW7xeRFx8/ExEaU5CUuuWJ/OCnYdSohz1GhaUlafJt95AKBkkVenKYjTR2PCt1ygYnnkQ
pTM3U3jVEvpu/zcuiQMWJme6QdStT06e5IS0ckK/xQsoFB1qvSkPEeMVRqE6O3IvTWs9TbsHi1Xp
jHlhckY2cbZQk1k/81HOZzFXv7im5cl+fPKU6UyaxguIgxCXkyffN0o1ipJB8vuk6feEGkcOjaLi
yJ6+d0OhEG7Vxsi+OOr9YrxR8mWs0Rejc8CW4uOzSQiAJRGHs0NYBeqawqe8acEjrOMmw5YUZtke
B3nxENVxvC8bUf8xKMm3UOshyOi5VqwTs62PpNclGKaUfK/JjX4mkKWFP1RSQzu3rGZdZL3kYo5I
tzPgpJuil+MbFppDI8y18cVdxFJ+ch+RES8eGw4EFHM5oZx+orSWlyVRdJuoqq0VkmGY9S1tg5vY
kqfREfqyRtRERyJwmITLxFE62dqOWdsotjpx5CR9pa1mgBLKUN7lchEEjgyIB545PBn5bBIVnGOi
2I/10ygBle5pR6znfKqbVR/LauAkuX6jJeH04GPsWVysyV0xiti1O9zaVanluSNUUlu6BBqze4+V
Kkf3w2sCPJL9ccfeTR0ukk7CZDuFxoCSJFSB6+YEFdlzEklUNRM/3SlNEwxuX/QSSLUMHYmpV8IM
2mEULIeAMQIaK11N062visOZIadCDQdU8S+5dRFh93GdvNZdpGBdSUbkx2kfBP2+Z5fjb+S+GWon
k1uQe70hdAmAYSm5pJBT44OVUU5PfDgnGyaM3LQHBqx5hBq7ESmQZ2pIYtdC8ywglo9CM666wYoQ
rRpahcFvRIVTFMok7Du/rR58Xy2xndO95bQkELNL8JYIuRUaDot9NtUYVXMd0lqjVT0wx7mtPcWE
oDz7AbgyIETKudVMgrgD5mJGbjKnoU5wqInaL6xgTqyHti2ltQKM84qbx3RYJ8uN8pMAWalmwG2X
Ct34nlV5Bt77i7lmWUHev9gMSKZzZLts1xf07slcU1ZkLIZM6W4mRdIuFsEuCgY0bBmBxZHIGVBI
05iismQR36mFkmw5P0pfHNd/qrXxA+Sl2LY0vjk2n4aXiGo9NyYnRpISynabJn6wy2NNdFMzOgu6
Id8qgX5tkhxPNTWo99lYa3idLWFNU8Ryg3bSqQNFzevnN+f09PTnVS00nAVGYYgnp6eyYvav5gDq
7JQNrwRWlasR0/hF3wXpgxakhff5z/tp78IMx0mNBZacGmg0+slZsUx6AL11j4rZGq1DPPjJrhbD
9NHsEUVHWsW7Eaj52dxlwbaZM+AxYtgvxywpQpOSSJjLeoBSd/pUZ1eoduJrLSubYVUa+lHMOuaI
KplhOPYDTR2xkb6KE2RKXi7xw3hiYyjpi1tnYTaxZn6csi111Eq5g9RbSpAO3UI1anNbpQRMr8y6
7bDjgrXa+SkT2lpMlfm6YvwFttHNouUNmjQcx8BswGgM41w4Us+hdqWnUfEYNfFg2JKRbdswTxTw
RA0w/SRh393nUYIMx6zzwonEsr2rc3Uv+Boxjb4xAHusmqbOV1FShEAdMhNEZiF30GLm0sgfQn0m
9KBqmzJfU7wjeTEoxSjeNENAhHkRj37q9h0UwG1gpnl7YfkL8C/OTG23nK8tRxZrSXPzOiggJM19
9lyWMZkecSonM2kgRvhsdFWebsYmJs9NhyVcOqlad42tR9IM3X/2ERBJZj0d5oTSmJMEPC+KdvV3
Joi0vaEIUz+Hda7zJLsg5DgVZlK2y+ecCAkSpit465mincFDLHkRxAhRBlHFwzdVnDLZU8c4zpjS
dCTGnb40mFC65AGUXvyUK6R3aAJSTKyIpisLkHKJpTOyuf8aSso0MoeNVEZpvjNSS52OcZ11ipMP
M/phcfCPsszUPonlvNxr+covSBayp0ZBXt37qfrCBGReEH3Xlas2jjJHGXPBot8Yy14mZsqGulh1
rSptLmz8YuYsocQawSYahdrzQcjKcaVoSYPeHsdB7ISJiKo1EqyLJg6MeBVKBUgOliKYXX7ezDe5
MNSDO6daeiEUbQ9CNen745gPbb2KFD5jMeh5s0nHGNuxXxjCgq4X9NEl2j6XPb6KHF4LKQzbwNLm
9Nqos+iMfb4R7kao9mtDqoP8OhLkKgPvkDbVDd7UrrkwjCLv15XKwgQxPBS+JzFn122gsWa6E2mQ
Ot73vLoVgtbqPasCLrkqMrluyNlo09EOe5UqGRTZel9AUyvcdAJxynk+CRFIFI0ViYiyraG6UPoI
XpUSTfmtFVNdQpvJTXAMP8EmrYlxt8446ON3qEFXr8s4HoC19onEF5Okq6nqgRQk+yMyY6+Yy/Qq
Z5ntcS5Fk0OeWpJfNFKL6SA2OyEl9BFtP3BBhq4Muy845pi2Ytefx+gq77IIiXtn+uNBBltdXgtz
qaOt490ctlGNdRhm+TAJ6zHXTAAiZmfQHhuTLD7Mk+G3Li845IBWIQByPZM7Ha4lHXzEQEE/e020
EmO/CGFW3WUlersV1VGz2lh9ao0rCaOTspKjCugEGcraEg5QJuSvUZCdzxl6mB2ygeQAWw3hZQdC
NRmebtYIqRrJLDeZ4FdM6pxaOOQN1tMgq42+yiQfGHpk1AceZEOfPenGbZcIi2zXjKzrOqeNfMGE
0k/k3UhjAEt1acUMdEFv0kGuWb3MpnGCoDOSVS+xbh5LSYP5ogZsZT1JJVHTmadQIdE1UBEcYuMq
01Uqp1AbInWyrrOGxIRdnk3aNcFow3cMZgXTW9GDE7egIjWePKRZuMl8lS6bQPWxsat6rh9VuYSZ
WvZpXrl9U0pANaS0wPjhBwJgC2Brw1aU464jdqGO7pKhM18HZG13alLngLgEqPc4BZAF7Ks0z7BO
ZAPZIMGU52yZu76BVx8pFrmbRKE/+4U4tO6sFM2dTru3XiPeGGbqecI8O30gqOaaBPgsdKU0aJOL
kBEDdkHNy/bSCPmgHmIXdoyjnMCAjo1x3BNKlr7EkilkbmsVWozUQZvVS7EtMfyoPju+VJ2lgW5b
3ehHrBPhkwAlDxZyFzFPwDplt0JjvW7dStPTTd0EBha5tONVp5I9WE7Qt4ALtNRsL8Wqa2/npl64
5X3Swo2t4qZ0W+oF8q0Fk+0Hd1fL9xkHLNlt2CTdCZMqVCu0TvNhGJrmVVHqhnLzTHCAqxhtK24F
4r/ZBEdhrV8FmkUoE9GGg7weR1799ciOuHfjdAxuO6Io4dXStVO2euCPWyGO026bdFVx3VAHkGxF
b7PpOEZCA9ICNVfipcJizwusOUucymjZpJlig4unmlhnNGpp7aruQ722qSG1xPbAfQ0dRSs0gqWE
KthErSiHth90Jur73GQAh02g7hSI7flOYHe60nDCcu9zMvLWk5zh49ZLUb5JjKKJrn0hYinv0sGq
d0XYze0mZ2/Kjq3tbkqLbA/az8HllPCOupMe48IIM/2hb41iXCeiOHXHqWjGa0NpiPtpMlmZz9tk
HvSVNBvAQJNGZYoNVWh7Kz7LGNPPiwbDaZM6ZO8XFzAI50pEmRFLxPaEupENrNGRfB92nQ9QeLYi
hSytsfHdQkvbq6E3/HmlG4Tt2ajw0ppJH2q4K41KaV7SOxiJOIIz9xpi54cpJFeUKKkPY2wQBnWO
4M9J/C1aW5TbsdfG/dz3Q+eYy+xl13PAKkgeQoqXYaqJ9huyiOKb1VH7ngYkdU4yVMB448TEqtLy
r5RN2qtYdaw6lna1nFeFmw9hejcRcxbvB+re07Y2DUhCiZwNhFPRmd5FEICVFZ7NXNv6+oz6Q+hS
rBZdroIb5LaeJYgLkS9n/4+y89iRW8nC9BMRoA9ym5lMW15em4AsI2iDNkg+/XzZq7m6gyvMohsN
oaXKYpLBc34b+Aw/jFi3VbSsanMhJkV28BZhAapj79YSKw31mVNE/mBMAjdLi8B0NDpZAcgWAOar
LCmuyBqYEKYCDeAVDFv8huyIKKg4Im3zfV2R9/1UQ5sRupBP8Xe0a1T1pq1/t/X0fVOAReR9vW/8
bvymxnuweTQF/DS2/O2LcGphsDelVDUk7TZEh3Czw7gPgq0ijYgM7Ldijbcxq4hC/jktwv0mvOo1
52nhc3UTfW6cLgBMU1DNp5jWhWnntm7wKtfNn0iLdnIkfTBQ3qNTuFRDxXnpPPqNA14u0mV2+Bmp
W59L2jbmI3G8DpUNSUVhWEca/U6uSXIdxeQ456KhM8u4Xp1/0KCvO/DNcjrbcFD545A3SA58UC2y
lE1LkVMxomq5gMksl7bN/fFtWxrj7MTWhb8wwi3ekZnPcV83pxftnuc9lsc6UONrmEJEZXM5cKcy
UjAdNZtiHB4GWaRs6lve0p4xplfeq+F4QKZaN4cFJex8bujSmOl7quIh66s5JlYnTam3EzOQ3Fna
Ncn3cgrC164LLEYSWzrEslh8KR0HObEv1gKvVyY0BxmZJLyIRnok2Ti9AyGYjM556pNt/Abw6T62
8eA4uxXSkviKZBvoJq7jSZ5c0vmhNb2gxBcVeRhjAqNJ0Gf+SY+6dZbtlFR6BIAYBhWdpAnjOnOg
RYsLv2As39qp8C8I0OT22NnVEpmRzFGPrM9z3FO5+t5vQKfAXhdTuc4+dI2TzVVY+5kgDgT76JDe
Y3TcUZwb7cU1z6gOvpVsHcSDOWgIDqSeb/0TWdxMlq0J8+4cDmWfHGTnkZnMw96KrE3zfU3pWrDW
gd6pWFXfcq8WH6o0aezBj6fY3flh1fkvaTNwpsOjEdkUO4v4UhZU074Y0xT90ciScygxhZoxF01x
/pkaGhejqm3U8zjVfnfjBAeHEcpfnmxSp+U1sKFB3QZFiCtr6WxxLOk7inZpvk32oQh5UB+CDZjj
2ZpQVxdd51pmPkzDi+o6JgxlerK1pqUnVifUibIPKp1Cdeu0sgVyaPRN1E5RzlT5g3YOXbtypuog
qN+45VG0aCSxaK7CCr+U0F2I26tdq5vns2ge5miNRRYKYx98wpXrA+9gz3vMiV6QoC9B8m1UbRtl
cnXbn/Q2YDQrEjpZZOPhtcCVEYdn1y2jty7o/BazI4KxjIVFemfVqLohMsrNt11bLUG+D0fLJ1kE
bvj9Whfbd1eXWOCsVvkVvSmZi4spuIROxyubeOaEtCwUTvQ3B43jZBoKOLPeqpl3xrz7lYczxNdS
OTZ4Kpw4OEt/q78Hi2UrXaxJEEqN7T0Y2Km7X0vP/HZpdTW1p4gmchb97p5/attWm8xxZF4fU2fG
nNeEKzHICSXTu3DohnA/l3Jw3upm3KZrud11sfj6+/f3p4EurzqayMG2ufkIX9m987ijNbFemPJ3
plhswNmcLO6+yu/RNng5iwETfqijfTEE42lsF62zUaEMJJ86/23LXpe3bqIiDLoxCK5jJeo4c0MK
Cq5OkVp77EQVhYcwQQESc3L5B9JkGxRrozO95NQNJMexdptvXjGQs2J06BY3zt7x1bJKEBtX0EfU
Ndaj+s/dAvddOof1TY95cwbnxio3dR5J4y21C9/SaCNFcGHypn6H4O68LWzyPh3R+tEbbOArBpdV
IQPRJxg1XtahyYbBk/1JOyavsonEjvdzPpn5AqMkH2oT9yQi+h6NZgoZ7HD0vI59ts91RQVnMYl5
p9NNFEedcz8cZNLgFhSmi/aJ1/fpYfH5O0Hp80vXIlHITBI//KknR38kuHwmDiw3yztwO/XWdy3G
UCcuy0wxITU7G0lD6uamR0UfaYcXuo/m6ufgqeEcroIqjzV2mA/Eqtr1EApLA4RktnAPvn8v4str
hWk98jrPP2F5oDitZIATD2pr/ORBNB0fBxPTnFJ5noIZ9AJOZB/7Nr+rUxhTiZ+NU7PndVDQDgH5
SDYisN1biKYLP+28JZwTupOds0sHX9YvTEHlQxMmzvSghBOfU+Y4HMLrJCam5zrVL471R/9AGht+
Zl/7BN6R+bvugjAf1lPLq0V8gOVpekpLthJjRu5QUUheUBc8m3KNTksxmQC9okz1mScm/RKgA80k
cnJeAgwt2yX1ywgE3XfSmEIt1ecfVN4xDvhVTiJFU4urSlfqJtyuzcN9vw4k7DJee+01VL0Whx4F
CccTRN45EcuWAAuDAgWVS6nWQKwLpa0aZdK+LYLNHsOBrkV3Ve43O4rEoThD0MpKa5i9rktbUfoI
k/1wh6Vywsu0R9hp4lfxW7qC8FceeRpUI/ic+pEww3iLXDm3p80E8TMzVu9kofLsTYp467OwnbyK
yMrqjvqiooypoNKzFfstDxN3h9xPE03Ql5TtFRXQM+kDxdphkF3LtLpFJnWBydNmAnDWkmzRQTrJ
USobXXor+vFQSDl/VRv4wrGD8F8PE0xA96zatGrfp93kpE9BJVKNlqUQYO3or3lLJvZLnza8rJix
mBoaON9Do6acvSavZnz3RsjmJXEYmC990Uj/ItawGvbO2vBK6bxBdedlux+ZTtW1DdMH+/IlKaeo
p8ewHtyPC6vsmo2WySebPWO2I12AniUKsJTfiiLhGFxq1ikoB4T3ByeRxTveMXF8hnr2pzN3FZkM
lQdqdnMiHbjPXGTxXVHuIfexlAXJBZ1ZimdvwfBxqLfN+1F7gPJ7ymG2+VUaSZReEzVLcy4qHZ1E
2WJq3haCpTPEadX1fwH2Ow/eZKB85d4Gb1PKxJd2IRloqnKUA6niZt3T05nubQN4cJgS5C8HLcL+
0xYrTVxgwK+8W4aOo6GNDLvrhLBWHXs0cryaomUan0ZqACjYjBi7rN86+nERs/UYF1XSXUTPNvzc
VG75cSEP5lswl4Qa+F2h8rNfxMm8r2gj7i7zoH3MuoNVn6GmqAIP4pkfj7Hx/dZUObwCSzdJntpO
EHjtJLNmaQOyAsZBXXVqKOKiliKgXLLrjNyJ3CMJM3eL4hGnjrwVohfk3dY9e7vsZhNeI94bX0YI
U70zyobfUwC/PKN/oTGPYQAocvSNpm5UuWz4O3crN8A60MnllqZLuL2akrKio2iwqewHAPnPthZF
f+PGtJzHTjyLL8HQ15+9VUFINjyi4bN2CiIE5LhO9uLlbftYKqdOPvajT49jEyuyL5rS0LrLJFvv
03kACiQ+fcazj0aUtrTZYH1Zhrb6NYtYYI0Kk+I3e33bnIwpN/kULSsUbNPa4PvcLC5hTpGXPKmU
f3bHR/OTk6d7Pg8h26Xc+VXkvKIADPsTyJHOIKglQ9tSWffR29xkPfClMIcHwgleG7Aej+k4T3+h
hZv8LLd14Z4LU8ANzrOoXpSJ1ntoA1eSxdBOzLskh7M+NfOtrzcfuEsoKmOmNZUjmTlrZ3cOv9FK
105JUIjsINV3MN9DS06lqH8htNkuSTV538EGkbFUMsGC5m5kX7JvrbuiHZrP61aWPlvTquXLpoz/
peiXWOGxHtCpLdNAJP0k63FhwcfbwazlkHmn3IFCBhMPv4G6rXhNA730xyixTv8W8HKK6c9zxubY
bwITq2clBcNgEmlIksrmV/dRlxqY1Elq9RhQ8t4fbNUTHOoQyM/7qw3tJZK8vw6iTQz68nFjeltY
1t8NK3jGNRm7pb4a1bmPY9DqdzYwLGRDshasO2267keaL0693yclfTQJE+YaVQ7YoZkXeQjzki2S
rUa95EbgPzdDslHXhHboEfMwefjQ0/FwVIHb2CeT9qJ/csUaUUw4rTMrjdeV47fJKRXEZGL7U6tQ
ilfGdb7WMQm2CC4pfGZCbEYQEWMe0aauJE4gSy2YGJw1OqZzUbWHoar6jkd/nMM7ZkGDKuDeFp06
5Nbi2W1KXDjj1q6Kv7Ws8ScwTFNnXdDWQC267rozv3FhSBVO/CGT+Kzma1c5kfOukIG7XUffm/RZ
V2WcXkQxF4RNJC4VSIkeEudBD3NfHiNricORnGjbbW4YUQMTzUzaOFU7Jol68k/O2voSsCKlG+jZ
dMq9MFeOoKmb3z9TnVJ5Z1v7AgG7lzKDp0Cfw9duQDnzZKvAVtclas3nsCzEd9TAVAurZlTuKa46
770M+vx1lvgxSK91B1aGvizWGybPkZ6QPIj2fc87fde5BvHW2rU0Pnt1M61kgAztp82NeTfZPKCW
aoioUaQwaeM35FgLy0MIbvYl3brkk2iWu0RegkAdahbCFcSSauaSafh7W9bqu9tO+Vc5F8N6ThxL
dqwT1/onEN90Ce3kiWPvypVbM+2okFNpMb3DLpR7Owa+WO8t3wyQr/ITtBM50W8goe69XTfqL37h
iU9d6W4/S92P/WUwEd3aeUlZ7pHn2cSnXIOQH7x5DBZalkorbm16Rz8Bhq169BZ/bjPFb5Wcmrl3
fwGyhvKz6Io2/gp3u8oHtseQXqbCmzyqlSnAfDNokgIWPbHMv2J/TWdqh6jJJfwlRLhacCcGL1u3
1f2+DDQ4OMPcEB6LWFSPQznD/0EPl9/aVCE3ilbVHKolFKdK26QBhwx6OoJQsZy4GPyYziPvbudH
PVBCb1IMCoVcB/JC+HKqJyVi2x43OOmv84Kz4gWnkFb0XswlRUm+Px1i3jlZH9I1fezA2Sxm+k7K
+Bypuf5p/CEiaiY0zfhzbccJgY+tqbvf+nx2yZxw2evXpiYqBhigTB8VwNWrbMrYwJGh9yACPp0/
hV2nSbC1mOrOC7PWgVcUbwQL0hZ+pzIi+ThIbzKZS+noOS3C1L/qaYTeD+iZC4B2w4lM2aJ3q98L
HWjUsiLPJEslauLtVuj03qADPh5KxEq9PesWsuxgkb3/ZJsu1sPq+c5v3sbsU8aZSF7WqBXdd83G
3fO0YfIreIhTc9Y6FPFD01OeCIcKYL8XVdmm+7AqHf+gmrV7G5qGB5aeIHBUrUySZC3Rv+mh0NIv
9pOi4Gi39Pc+bpkE9XRyNBeAws/Z4opFLS0yt+6Cq1PnlDdpN26cHQd2T1tyEQSnonbRnbqoJsWh
aKG/STrl6fps+035bJx5ID/Av7XPqEXGaKemfiTPeDaBu6/Rc5PTPpbpM7axWFKoTMvg3o45Ofj8
ARHyuIZ/JFiZqEvalvBMI5PzyXYcXAScb4TTcUZLYvBzn0MNbNnFn4ei4y1XcM47sIDg4lQ2avcY
R+mvmoYgf9Jj3RfHeR1Ge+Iq8bpZpUdxzEDBbcwDloDOBXFOv6mcF/req3AF6BziEp2LnfSE9Ddc
4/gAdugU0ERI4g8tPPB02OIebG72lq7e95HWbBp9Teh4N3j1MXC2WXxbvHh433H0fe69ctIZDkLq
Cz09Bo/Kj9phXyXL9nFVXeJd0QOrEkqB2AeUsIFL9JARargkkyFzbDR03pypbmx/ADNwrYwa74/T
WM5EuPja2FNdV8lpUDBzpLz3VXoa0TGzTrU6F2RayeXjUIv2hxwiC58KaSn2gRTybNEX92R4+6wr
XSL64hDYJLzNndlgYh3wsl2OM5tBTgwqPvG0T+GNaRWf3TBH8S82oW7Zj8naRmwclU2uGLCQkMi2
gG8TMwFTjDI5UpjFm4oMVim5w6K+91wZbvk96k0OSh0rRAb3BejRRbvtZsZ6uWJENetRVZJi8oX/
y2tde3O1F21F1JVtK3LPhJ7VQ6TT/tdShmRuz3PlVFcmtwrYAjs+lXkso8emVklxrmfwG5A1aNSD
2qxtnpVw0Sm1/J4EoiNhDY9JBQcIh6D7B+hDcMKG7uLfRV4GfB7quqN3VR9IItRiGinZYuvt7OkJ
Np1ad/Drfe+s0j3E7KwBbXMJQIwXVwE7FakFWTctXPF6ieR1WIybZ0MXu1+JCzFUNq52mf8mXfuX
0Cu6B5nc3R8JYkfSI/6pg8hLl53Nm9KslWBKA5jKYZyj6eo6esY/2OY/c1cuMNWeoKavj73j0sZs
29MWXNc4kTtlN/9KM2p8Ltu+2jfzqD4YnlkG+Dz/4rlVlIVDm5L2Jqvhw38LUe4f7h8iDmIoIsx2
9yQ/JCnxHyKOijrIeIYtObbYP3eV7+uLEiKF1pmDSzVUkCiNWMBNIe/+IkgSf2rwyRC+Ky2j0IMd
5n//8bMhqbYkLNvtOEc+jQUREjVJyw8hUVXqVseYN9aCOhz2uzgNMrHy0MfxGtPSZYPgiLmBCAft
1/Fw7k1D7JmtE6B9tmwkcnYoKZQPGLL1jRdd/jrY2r4vhG+3J08XCdHpeWHJ5PcMAubFk5OEz4jr
nEEPiC4LKTPqj2qWSbIjyzOBYIGkibJeLrV5yqtVfdJRePdod5u+LM6MPHztRvtBY84O9s02/gyQ
M+0BdJtPiGCnF4iOPnOTYsmRtcwR2pNhFJREIS0dDVsal5ovKdavjChbRwCbjJODO8LC7XAxFN+2
ZfPJv2fYdprPgM44w4cwcsReRW35s94a9OneGrgv0yyRvUDfFvObyvt5O3khsitOaNl+pUkPx/HQ
WucryhXU5W6uwgkoO7QtIGvlAGgHpfSO9dx1X4qYTIu/Ke7/pRu6f+0xaSP3gIi7rfGfz0sI1gv6
LrB3Vs5IaH6a7ErsSBefy58FY+UdrNjm731afpnjTv8KZU0Td749kk0O3VyH1J9oPvN/Pwj/Ugff
70byiAgBCIkWQYP/z4+lwEx8oMPliAjFPPEycz+mqhhPIeEs71qo+1PH3bADYejz3TzJ4GMUW7kP
EO3ufV/N5c63dfAXudyfYlw+FI8G14juONclWuSfH2r0TTe5mPTJCzMUyqftdN8UOipkOBR3BGir
S4Ti5m8uhPuT989TIcLKR4MlkU+8Ff90GMdiZHAKIbMGA6itqWE/IZ/on9DSIyfB7wyDxvb8zukq
fe3C+RP/TPNM5e52zmPhHnvHS1+i0h2yrS+Zlf77q/p/fTriPThrqYziC/vjBvIQQ5ewoN6RE/bZ
lvfqMV3W3aPxq2n+ixD+Xy5Lpr0wRuaGx4A7A8XHP78BBcmsginn0HbG8Ps0dCFpc9VKRQm9aj/9
lVmt062f6ZD+2aZ1QcQrI2Cn5Zb9//7atFXzkgHup0aLmIp/fpKRCCwbuoocQm3Ht5LVHbhJp+k+
6bbi53//rH+/FghChlx0kWliPv7zaAacnFBXKGpKhWExF8hDd80cwAlSrky4HWzv5ylh458YBv7y
s/+lxUShn96vOMJInPt/FgkPSyJhnbjnJx2qN1tDACT+XAc7or0ISaXKWP3lhvL9P+93vPQg2j6W
K1wP7p+PmWFxcRLtywyDHtKVhIAjxaHkttkY1Mz0gZ7my5THLnUdSHZbOgK99gSAxYrPSuRemiRk
IrFb403fXackldJzNgDKkkGA+wUOgEAzpsSDrCqWPR2O/XCNtrkjRGFr4VX+++vz/ryGEYm9cBK0
vqP55qb5Q886lgt3UadY4JE6f2ffIQ23wbX4nuO/uXV5ZL90SYfKsl4502qhGhRjhJQm/d0gy+s3
2k3BDBrc5e7jNDnB10XkxcN/f8r/14e8Dx74FfkPWu8/bmj04XUNzX2a2lZ4R4qpp/WD2zqCeNNx
8YYr5rdp/PbfP/RfDzSXhluUfDt03ETF/+nSRL7k9iGJPyfTTt0F5McwmYXRGzOazDYI88cglvO5
XyFPdpaMb/5bBPkZMvpvdr//mZP/73OWPH6CrDhf/hf2jN3in1cgd3zdutBPJ+m5yOta1IG3dhj8
x4geVvFgYr/Wt42dr3ziiZDeCQdeIS40aZONWQpYjF2KKz444GRMZ6qjE0gMNGS9d5uNB3SzVgN/
4vYDx7hTDtET/Eq1HeMgGbqL9TnOdm2uXHX2ByMfUo2Ag370AdjYLHT0PtaIHMS1DDnnrgXVpfIh
2gDYDoMF39ltoSUfQYPM+fAMgZPvWEC3loGWHesB8f3wOSJKZv2Sb4VbPLd9A6BLD+d2M7NO41sQ
9mHwRD8vc1xUuPFDzq1W7cNJ4cdrnYnFGDlu/EHg8ZYHm9aRfUHappY98CXOiB4j7Okvt8efR0HM
69a9Gzaw9DMS/3nKrtXYgDcuhCbPcFhkDKTkAoJ7YjPLXUGiVdDh/dt3kZvMGJ9U4CAIrBK7T6We
qpu7JBbNT+f2819GgT/fepzDfiCIYbpHQSCf/2M+webpEr6Wr6etGulRG3ODMbXkac3vTtW/2NF4
kf5xJBK+gReFgBFWG+YP8cd7r6UstR7iMT+hXBPdXQDmtc+y7crfdUCDSRZgikDKVaAOe53SwX5M
p0Qn1wmAMH9eZwwpp3LKI/drnkzs20uE2OgV/E09pTWyun2e5nN4K9EkeV9ap6mW953SXZV1jMlL
ZszQ0/+XwHEcIusy7g8rWUiPsgVvx8jyvwveEgL2tLkyn/cTV7/IxGLz6iRL6/g5fy0qvY+Tzpf1
PAxhtX0QHvLvne1IzdyFBJpQBVamzSl0sLQd7vTo55Ry0l9jK0FRck8QZJeDyjHYNePqZOS01V/9
OvdOrhfL+Fp5KypcTFrS3XclviWM9iSaMPsHwzMS7j6CPme2OsGI1eowqHUin5atYMimwJnlhwHS
/hSDu1f7aK3bH0vgzpRtzUVPjqsy3fu09zGkdJ0z/TZtTd/gltrqB+8OEJ86Dab6MzSN3+1Hpb33
66ILuWccCvpPpozyS876VF/CKZrfgtZQwgI30spLIOTyk8JqaChYizDaB+U0vU+CJrUXC3sYHGCp
h8/3V1a661CYKlpgLcm1baiSahcnVfDbq3xq6Fs9rr8aVJTvgqrsxc+yTJCjO6qLm243SVkWOLst
vX568ApICG6WhxVAstw3g6WMSiR4SzPkNlWHAEtOx1DUDfxqv4ArQv6wxSD9obXMT7RLelpZlxa3
T9u1fIrIJYy64orjX0mK/BSzsG5715uaL8kCDrwTRHGCZ8VGfuUFudEWmFbKKU7tIqLML5DenPOl
WP2PmGdxHPsbDW9UzOqLmJ0tydD1Jfiooes4z6bCJOeKtKP6EKlk+LUUM7xj7eXskR1pDg5tiCG8
A8K10d46XkDquOSkbu0c9t/2DC4hmpuaTH6j8GbtrmDsAkOWFvRgtYHS38eiKQxWY0sGnOfput6X
vdfCXswb9eic2XwNqolCpMTz2vgH6Mv8xdeI38F1ooro6sAWQ+bU0Wr2QTzU71ykzhGFdou+JXMZ
Yh/o4ujXVvgA/ThTErO3rVyfa/46ad0cq8kzGDlCmHxzXpZW9N/Y/uP0jkyt3AH18D0st8g/Mkax
6wgc53sThku1X8OayjqHPEYij2Yv3ftNzfhklfTzrOgDujy90ispyJqR2zl18z6Ni/XSICP4iaak
u8RlQjQ4HooyPJqAvJRLE/ANEmBSobnEJ5OYg8Meu+2LsF1JfTZl8KB9Wp/O/dwgBB6jwaDUwR/L
8E22wnV2OvUROHbqH/PRLG+uVwkyLWvjPSDpdPrDOoqueQC4JC9SbELIN+tvtE0V81BEB5Qt3KRJ
v/lfGs8FURs0BsIdgBqXu0G2iKfMy93l0DPGLllcLjQX9CTV9XDesnxxqkqt53UB2kLIVvgjIi+Q
Diw8+BR2VSRHrka0aYRGac4plN7lPEKGw0Nj9GozUi91ABLtNOSem+5zCEgmdu0WRW96XuKeBPi8
vW139/zOZUQIDqJEO7LrltJ+ssgB2muSkNTcYAX4XE8t/YDr6jTboTFFvlzmIqk+g2m5C62HG8Ww
G6RMTUtJTFlfn6qMpwJIwBqfbBmv0V8ob26JcK47/QUTIxYamea2o1ZgMx/zAl0goW1i4eSDTSQr
HYVZseOfTz5YrXUOISSLT21PzBB5Z9FSZRvKH2oglrrLRF12OOwomZB0zRV6Q23pF+vrGNZ9mskq
Dl8ak0NxNKFq3wYZR/6hd5u7PGRDK72/czm0vRJKo8Hv/fCHKZnbs7nehLl44bh9trFiDAkG7lRN
mlf8qUKQj9wEyVJxAMLHleiPpNSr2ULgt6tZc6LzA/+4SqDQvbekUebwB+1eGIEgV7lR9yNWETPS
0mqCPhDNi1dbLhw/jRrl17qGq99PRBRx/CQpQsfRRnhM1mL7sJHsVe+WsPffMbc1xT6eQSIuJIXd
9ewpfqX9FvXtgWDjygG+8h1/t7ih0+yU74rqBte0fCwW2FLO8WVRb1E+lD97u3mvldt26hw3JHBy
YDkTzQuL9KJPHrwKWek9KUFX8hccfJVxzusIdu2TVza49Gf0fG0G1RkfXLrMDnnlLeZTb5Q/H/qk
QZXOMQXbHJJJSL7HmobbS9e4+dFJES7tt83V+ryOjEo7hNyee3RMULOcwgL4p2rG5meDJYmPKhxV
fCxaL+n2lG+3v3C8DQhiKsN1Vh2aCOQ2VZwgSRQZFqbr2pO/gLtywhm2+ZoWTsL7uh8JJCylhQRo
3Ds6lkic5ziQ4XszJMGC3nqavZfF35L4g4y59Wi9YIooiHIC20pn2e1EhADjUBQyf/MLzDw4wOfl
1DM9kHQ/YtXapYjauCIj0Kcw05a/VPB+T+mAAIgGgnr6GqylI6tdmTuzOGpOCf6O9VIy8HKnynqx
4A11F9+ldyftenmZtVPpm6pD74Nn17Smqpb18gBcP/4o0Wk1eC866b4mbh1mYiLY54AYSdFcwLuT
iHzTfRojXYaZahCzHT2hcHusCUFY6FvLu8MjrSHPqjx/KzmVf6D9LjQXMQjjkx3wcCDfbfRx1cv0
kfIW+SPytnQ5S77STJW1+VayKG7HTtftL5EniPx6nsx6b3L0V1gW2no6dHiLGw6nEizMWi1c1B68
u/BhROO2nzF2Uu9uu+UmWHlgg71ttmfH6YnlGVmB2YkJ9HryK+J6PhDXK+FunaUTx3Fq43djWdT0
DYcF51gVBwN/302rD2JbLRUPRbo9zG1JPidhQM2loktK8uBNfGtjQ/5210bxg5FkSe7dBMPDUW4h
nslFJ1j9ksVH+uwUY0E0rxnXjWJsZQgdHPqwotVvCWsqQuoVnj1OiwJ2uw1/Ln3eJbtVGz88FUsp
eu7zAVB/cwXazjHhPkhz886rC5+uA4SPH2azVhsTY0TXk39HiBTPmd7nq4EOr4txQXcGdNbstrRb
uiN3Ck9QHrDy1eW2zg/QOd03Aq5wHniLO0fPDqQyRRB69Z42BHUcPZtnlkPTeFo9NGMz0SZQbfJr
NOfRr47jhF4aW0TtrVln/wUzHAQP5uexjG9OE1D/UZhuKa4JwfLiUNYc1g/kYhhzjzgtTMb7QIeZ
b71QPvHQbwm6uXnJ0pFDi3pYOz16Zm2i22QY5l/DNncw/CjCPK9Jw5d0uK/SyEhUMlPC46IsO/pF
Hz0wJW/rIS3dEB1O0SafnXxRLocTEohdQzBMclZ5qXAAr3pzGDcIA8pWB3VvsxPQNemTkuwRB8/3
7o0Jtuy25zKKF8oXAzklGVP1uJ0Z0OVAZXA74fsn+sE7FD7qhgy9pHEO81IxKOYuZpXPBglJdKzm
tvN4bTlOcBj8cHwkUtqprzWA5rfNnXxg4KnTP2TMd00DvJrGh9ZDJnvr6qCKn4k8iuffQyTnOSuR
8c+XptjCV6fQYXRioho49VG4LdNuRftRZ4w26RdPhc15UdpNdvwrIR6ngdCbFz2oBApi9hs3E4AW
dVY4Du62MCrG/EGHeVq8VbFV7jHm9JovNqly9V5gxrzbIU2QZ7os3PpZb+hJHutuiasj7pDcfvbm
3LCOD2tCJbeElHoQlZLzCRKvzd8q4rGxB3Rz4E2QPvFAG0RcywKJ4VIlULPKw3aJFNNj6u9QqSDk
d+wL+aw9wFZV/B/Kzqy3biTL1n+lUe8scB6Arn4gz6RZ1iy/ELIsc2YEg8Hx19+PWY2+afl2+mYh
UchMp0UfHjJix95rfUt8yXSPjD2Ad0eA7MTs6jKb6Jc+u7lLznyg8LqvOdIAysuieTGXrIj633S6
fu0hUemjYyGa0HciKBo/d1DarPCQB2TDEamauAYC8VVi4APIP2O6l8X8Ozjv1jj7c8cGcghzAjgi
IcAOiFufTPQRh+96WpbhWC7V+NSTTpywE5R3U05KHNOKdEiidnqBMzNcUe/+zjf+/7o8DQDgYrSO
6FR++rhD6NNhVkwlzGJCvjQIA8RF77rqcXLz/imy+uxHrQXKKVH0l4Zj/Pjr9sjn628TG/ojiLm5
EfRnt+7Jn/hUtE8XpTBLHWnXCKKNfYMuDPXYGfInvYfi0e3XUIybGg9NPbVl95vp0ee2xNYFYT5D
sWPRlbbdTzdAUk2YQN4XcGGoyZFcZ4TnSPOZsNv+MvSH8dVjL/5N5/0Xmvd2VVpB4MJ8xpWU+T9/
7Axrnq3SHNS8UT0xsSnOx6nViY1WtdiZJSaHrAzDi9ICrlEj+74DLdH8pv/zy62Hguf9AU8gwc12
ou3X/3Trw3DCLMw3c8wpQ8W5R2BhemFOw0hucuR060UHOaq9yztXfW+izLwBqaL7w19//380jv/8
/FNUATUBXcAc1qdJ9ulO0AlxcHnV5Ukuyue8reS0fldeN413CFbsIFE0UrzNHad/2NTgxaEG06Sv
dNlbxMC7k23cVm0k+h+TljX238IPsovMDar1xOZPoNwYadgvo1zrfZrKYGbZzlEiuTkR4JWhyPio
OgQxiaGt2rxY5xAp7dzlhIpL1/TTUwnGqnnEeOGKFxTioX0dlgOWCy9Ph+xE91eCvPABU53qYJjc
pPLpfxwGEbk15nG8hvFsuK05YRX2xDMj98XaD4PdfMc0aup4UggHEwky7IHGu8VBB15KfWE3Ua0P
ai7W5fjXt/yXwWRgMVgGIOM5sHG8wPl0y01EtEtQTTjLwDrvZpQxh1SE687r7OKpRAhy6dViPh9E
I2JBdX0DTd47VnKbnQ9LkQhTitNv/ky/PAcMwhjAEYvsBHTZIL/9/DTqVbaZAYfuEPUhnKcJp5lx
rtvSMp700sAFCNMRZyQ6SsIBnWht90NAZXSt6JfxjrSwQp9mgjLUGbK2xTyi3rFIWx9penzHW90/
hdjms9OS0jDaT63RvQbEPKD2nGfvRQ5e6FO7Bt2z0au6PJ9LFMA1oNzukDXmmp5cG2tBPHQ2JNjZ
bhFnwMlA8dKkC7VhRttvXxcpsebTUI3BBXaNqT2n++G5XyannOWhdqHL3ofaz7ozyk5tMsQRuXvA
6D4ZsTbK8LKCf0gaEu/Is92tqkbo282KZvmQtq/SCojHWLQ7cNIF4KEOoqR9EkdY4Tgij7SeEktr
gtlry9bl7UKhGpxz/GHgDXh6LffLXKrhxrdVSwex7dSdW6LVP3LqHZczHxCQ/zRYcLMyo3QQT6HP
8B8zvqinaRTOG/HTg7zoZ9ov+zyH14YE1k6J/lsZr6CQ7tHl5rZYCdxDXlZcT1pNHJD7NXxwR3ch
REpm613P69UmAoiIvyupDfJDkxp01QKvmQrOc0OEh7jEp4CYgWEYc8JovPbGMhI7MA10zOFDqj3f
wpru8Bgu1aH3wuFN1plLTgfIlfPZyhDFDnnZH4Z5Kf2EKo6PkA+5j4JpgteJQMDt4yhtLGPfg5Uv
bsbSse1zYTY85h6CojEhm0dM7/BOUe/HPACwmaGtatA8DMIM5zJT0XZ+tXqDa2V+fUS/Gi63supN
GRdG0L9wJKMQRvqCEq6v7Hy+yfqo8++sQdTniJkslOOhX+fYdorhiOhJWIfUqrL82Bqz5V3gBORD
F0DiimuABukLVncY6FEVugokAzSqRlnph5tr/FD1MiEYm6A2nvf1HPTni6GQMhl+Oz01VT+QEWmO
5vCbXexzqQTgkLrX28JvtvAU55OWAOK5NPNizaBrAcfL5kh9WRUpL5Qz61nLg/Y357jb9agTNqgX
3wfRzj8vERSjwzDaXM9pDOcefvE7HB90pyhOvhGlO3376zXplyEu1/NJ9IkIjkC3AIP15+sFRiRr
IDG44QIP40yg5ps8iw4KH+Rr2UCWAWo11hdDNJLHWEyuFevIno/M2sNX28/eqsBsOSD7LnPcAMQs
7GjSotp0KtJdhFIuoR4Sl5Uc28scWzR+08J9/uvP8Hnsvn0EPoFth4xerND8tKpyPkvzoYK6l81g
X3AbWIcAX9TOD1Z6rpkNEM2kDXg5YEv4zTZju9yeP+/s6HEIZiD1iMl/BIvt0zRWiAFd5JD6pINi
uUG+WAHI7acWB1lqekN0zZnLvi/83l4PvZ8h9TCmcn2ZdeeRQ6eBgCfUjICdeo7Y+PScwT5xxsTa
AH1rffdrP/3KPu/re9SsuK/dliiNQ+gNSJmzzjKuZBFEQHPoPo3xX9/WX558RgDcWTQjLECW87lo
MdoxzVoxSrzJS7nz6fb8yEporpaFzRQdulH+pkp1PrO2tuyXDWGPBo16kYr552cxgzQIfCjrjtNi
0vNOM8JmwqGBUYfvkm3AVVNxEdCMaI52pnw7LlthOTv8P86wN3VRLWTlmdhLYHNETHV81Ty1fe1q
9AcFlgFOY7iQg9zBYrQyqn4ymmF+zOyuyM4QEtGqL0Se1JyJzRNevoYTKxFqZxUKjndyIrP9tM2O
WXv7pz9u9d9KK7uRH+29Vh8f+upN/uf2W98F5SCWHP1f//nTP/2voWU//ab+v/74IdkHAYf67ad/
YGjAkOnL8KGWu49+qP99gf/+L/9/f/E/Pv74KQ+L/PjXP97F0Ortp2WF+CnN3N7Oev97Htljpd6K
9uOnOLLtd/w7jsw1/7k9ESYPBEcoMOUsTtNHr//1D9v+J+HOvPQsy8hIwfr9TxyZZ/+TX0GEg9ib
X0Rh+j9xZC5xZDzQrGRbPU7+QvS3Evl+evWDDd7FaSqKHLRU7KCfV+omR1FmD2pixGZH5+iW3XNo
6r/LXvl5gfnvq6Cg4iOCn2PE9PM7ERQybApJU9wAqmzg0an0aYZ88pt94Oc1dLvM9o4H4ZayBu0+
/LQNaK9BFuznZL8GYojxyogkbTLjRAeyOId+3j8a0KMuRGWVv9UQbqX4/11D/31tVhom9KhuTNxm
P3/EBpVgbdZi3IkM29o3rJfhyrbThTRy8ZQ3617TUZyPDOFqspbDKHvSlrJeW7vp0h1hLpj5QB3V
c5IZAdOzRpmgB5nJkoHxmzXx128D0ScHOC7CWf6XNRH4wsjMyBx3Vu7oux4/Ot13F1fXb6oOntFP
t8TjUMrphW884DKfvg7mlOE0+eu8A2+iaa879uzd2LrppqsQBJcCQjZA8XzJI5JE/L/7IUMP6SQp
MNtfCMq2jeFPZ+aBEDirY7fZBb3h7+hFBRdOR2f+Ty/67b+/3/8AcHUr8Iv1//rHL996yOyAAIit
L8OLHH26SucsTBLwg++IGevRrIZI5D1HPuElePnrK20/6afna6sLfFwsNuWb/Yssz1si2bDZWDtQ
WDMGOj/F7DuitA/n2bioKw+B8F9f8ZfHhKWKZ9nZGi7IlD8ngBTDgO/GL1FhLC6NWn/rNvjC+I0S
7JeH5I+roESn+kHi8gdd/E/fk8dgm/gMruKYMr0rYbkc6qAwd+VMYJ5tdk8OpIrbv/5kv7vmpwcT
pKK7uCvXtMMOJ2kDq8uqunfZ+P6zDivkhlkQnP/da7Ik8VnRcWIKpsr6+XnE66Y49UAtsEMjPR/L
Vd9azjqfV4Zw6xiZRaU3Dt+U/uYl/PW5gXDvg5sklA/q5uc1MWsng8AEEAEMHuq7ERP4G4MDP2b5
DYZ4xOHzGzb3L68EKyD/sxzSLSlnP+N8BSikvu48j9TfkEz2SHZyRzhIyQQ4LI2zv76rG7755xeD
hiw9QS5EZhwCbiD6P99YiFb0SLpqZKyZwgtC71i257I09PpcagVrLuNDQlnGxNsebV1j8LUhCZEO
zXHi5Fmqs97meibYEV9gNapzQG1hxgAyWIwDnN4uSODESnpDswQNQs+BeANLeam/b8eNBsiyRkFF
nOfsnIYBqDjzMEQfTLOHQiUNWFF5o3rSSi6IE7La82nNHec5JNaogy1VJ/3qnKFPiay9A5eOfQvB
u30q82jW39yim2uGfcskLifhd/6Jw2EEwtVPjXdLNZO5QysgXwRTeO/MhweJ4MDjLBt7yOda/NoE
YiSZKTxrt4yEgcSjisZjUStiR9OGAVHs1HKorkozAlUJdy6zj5nhlbekBqCYWgM7HG/JcMnJOLcD
+QL7wDAO5Vp68kD974aXboCUMa7VJiuxGOvehKZrOSc/M/snGLphwIEgA+8VBy3z9XdWR3d299LO
EBYmadp33Fo52dVEQOcauI/anIHxS7HAMLVpK0GOwTpq703Si9ErUMI9LXPTZseormwrhgkBMyOz
mc9frJx+T/aMknDvVgHq1hVT4JdIIug/EnoXfU3DQA+SSf/Y+TRQJxXAUavn0Lqf2C6sL26HtZ7+
MkDNI1gnVNexgfs92xtRpSewCtFqA44fR+NyymdMK4aB1OghEHA+EGlkMPrYJgAiC619PGYWuLcY
jYFf3dpW38Ie6VA3JPh6+PtU0fXcDfQD5v0W6vVclgatmRSZ0EXf872TuLIasr9M8Tg+EEEhMI6U
0J4Y7I3dU5gq20Qio4somZmBV9ceo7zlgJQwhbbMBhjjjKzBHGvp3yt62HOcMsAVF6zrFBuNjOhS
tKq3m8RXrfemMGSJpGPETu9Egk976bR2SaUHppA0gBs21X3dFIlN8hHpDOXcPWGbNR5sG/XJwXEY
WkL52SQHDEgsBJxZyQgKBetUbpMS4wdPPioHX0A8iJ0+TZ/ADXbAAX2MjDRmZ1x+K+yOblekGbkH
qzflyTxq+aUdLMbkQNHSDnh2gFAKicjgHAMol8+ibhU/pDIQo2TEH4HCQIr4zckQJF0XpdjAXra/
BMkcVqTYlAM+knhd82BKpim1vkfGAMsMCNMy83gB3Em4jn73Gns1E1BtbEa9i6yVkbVaBLhppwAN
hxR2ORW5FbmHHjSRPCyYGKOEI+E63EgKK1plOeCtvbnw3jw0Bmq4OzbBsjgwP8yHhP2tu17SCPMd
nsXmdQC49GKMXXlDLKTnHodiRnLEMa0qCLeqJxJlI8MOH23HMc95dc1XPQF32itp2Pdtn63R18qG
B3Yg/dUz8gRLo4q+Yqtr8lsHPSt4xNFqV35OY1Y9EC+Zel2Os8VtYDyYk3q2EN70t04wqP4CX/lw
PzqZl5+ZQtk4kQbNFIQQiIpN+UCajp2dEay3CYlaeniXkulYdVD20tu3XVYE/d0UCNvtEgZzOIua
lVhKYr6LSn0vq8qaH4yuKNsT72Zb70GuueEH7vEiPTA0hb5gDymT4mExZtzK07SCUW1l396Bg/a3
hq5bH2a/1TNDBwDAK4qEr0VI8z5ZLB/3oun11Re85EQpWKms7iiizad8dTUO/lAi8wowru5Meq7n
oW+Zr6Kx5g9/qJcfLVWAc/RUl9/IOSzkLfza7ltptPKrJ5zpi13JCHM5CoFHc9Dek6k0hq6A3Dgm
uKyLqP+D8K6sI+O7jMT60k+oFncLR8RyL1GrBedoTLsj6pZu3AUmBWSsTA+FZ+ZkWCgX6LknR9by
2kA1u2sR7a1JCBV5PEDWEfMOUiygCck4lVs428gyZZjKSxoq6iGoMlasEb4vAXXz6u6Zn0w+QkSv
eZrMiWUVThSJTRpgQL8LhQcfxavH4WOK0GkmdqSMp6yr7Fts3IYTYw+vs12vHBv3J8ntB5uoTn2O
RGw8hRlIGkCDgrc91WF9goKR4q8ftP82VSE+DRqpwwuTH8yDjYsCYyfLZb4eXLl+oV0PBn7IEZjE
mefnBo48kAl7OOkIcCyAPIKvuxQftHnBrsAkIJ896ktyB5mA9bvac+spGSEgmMfaHJwMxXgZfnGs
ulMPk6mB51h4GN62r/YdVZFDgaUn+G5Q8wH5WT4JXceFnMGrKUC1naC9d4/N2DoaEnSf3Zo4rAL6
Mkv+snh8/l2IGrndswubtAJn1eEGrxQSpAyv++1qrJ3a6V4v4WkEJGrGaeR27OCBpOWk18L4pmgl
Iro0RGTtxnzK/X21OO1XbQdpdA15vUJh47KHPJjL6BpxA/v2qp0Gy0LzE8JEMUsnPQVo/j7A8BCi
1NK3zhKn9eS7v+UbHKqhNCL8yVnwA4OjMnYpKDw4a37r8o06atx7CLrT41zD9GDzXW4wVXrzsQsi
Gn4R6V5eLGiUPttoh/pDm0beuPOw7FdxWLVg60pNyRyXq+XlBwuPcwOSdkpLgIuiuJ0V2k2cMsJ6
6zPs0TGWBpOxW1WBCbZXI3yrGfu8CFOHdlxNwpZJ6s7O4zpZpJwXkYWlb0UK9GaAEKp36PNRTM7M
ixY4jzPSPF/181cwT2l2IIZc3WVlsOY7zi5ySMIqEtOxncLeTKRkagiN1SYSgfY7crTe1qSshml3
7vdOs+yVteFjXUqebwWL4l3I5gyVwk0JZBjDCfCIaqu8pz88a3IO15Bl0wJ/h00hZAB06N3V1Gej
oYMmGcLKfa3DEYlZBUVnjnu888O+J6uRuAD8JGzgciAzJajs/jRXWj0gxyhNyHn1gJ6FhsG8i4pV
mtdT1rVQgGTFt1ppnd8BoGaGBhteblMstSBZAn+7dxR93APg6/FbibSXkhUDOv4Ov0Su6+vIIwat
8A0QvvkaQexuhpGySlXZdekwRj5pVGfQYDC8OYzopXVWAMuihpQVcqU8befXOndhpudNA99wwg14
l8II1OfIIjx2IKQGT5Jm8RqHswuryLBz56aTgEqP5uRn/ilwkDvtnXIzGBVWXzxPcFHelD2V4R7x
Uhjs3LEIfqRNKf24d9I8T0aW6R+j10b3xCpG5+YkEaPOvVRPuM6qJ21njmQ1QdsPuKCxjjrqwZ2K
KEjROQrfl7hGFvU0de3AHh8M8tsscnHfgtZ47JVEOTQqKU+B0HxoJQvPTyovhFwewAMqd4sbhbu1
cZHdzJXffmlnQCRJ58AAQKtjdc8wOST0hdlsz4Xhr8Q6DBZmFkI8gicjZygQAyMJFfAxNPr7zUgq
GbEoalOP9oaZ0DYHseEqOlO8aYyPdgGQ9yEGMhZsw2PZ4Zm3nCtwHh6yQMZmQbwyWFqSMeAoHCPL
zVPQQiaM/9BDfX7OaBTxkYXE8R6HtlsdYU+3Vx4S1xdFhVfuHfhd2Mz7iILOLkhlS5y1m84CoPrP
6ZISbd2Iprnm6+xsILKh9hIbXuUXX/cLxLJWkQo41s29JkPj3raX9pEdqAHhOun0A9Vcp+OsWAYo
+TPuwC6slMGztoTXYapJ2sBEkz1Fa4e0O+tqCBqU2PP7mDfttevM25mDL3aMkUFvyR5YWCiAs9kb
qBXzkFWLZJQzGRbgjeE4QA2WvuEQghzM9rOBqQGHAULZjOq45OaPEKTOvJJItiSlYP2yskIqHolR
lAdYqen94g5sInAHMnKUXbsDIjnIHxb/mgE5ILxvKBbHMfZzR91MZcqRYA6iBqFWv06AZnWE1M+G
NxIIMkzielipQIq5dxT5HtoskmL2p9cs8+QaR23nXTEbd6Bq9pO4R31gsDhDYOScwdBcxV0KIfwc
vB4pSDNLEdLBMv8WRq2cTzWs75t2JDrkgiWyee0XpxFHgJnhPRw2P4yNWQxftfI9/jabHNSds9fs
XCHSp5AHoTpzbdE8Rya0kVinpcUJYPCCS9oKtCJVqItHi3cHU0XhuCJm9hFBtkPZ6W66B5NwO4md
NE5BkIPxFyFflKoz68XvIWV4yOjLGBCpAEBd0/HfLxwWP0rFSQslOgfX/ZyZ0Uy622bLXy2BWwcc
O6CISmqx22Ll53gMioYQi9mtOQUFc2Mma2DCNIU4AbS/D+dtLO8F+REg1Zgi0rOcB8sVLM4ekPJX
6hbX3lleKW9EinMvVqPWzJACgBKxTSVwAR/NZLeCrAt3dEIA/WUAKtswRhmm19GJ2gfU2kDt2Lva
6wERf3dNWxC6MbUEtYeSdkNFBaWBZByOqGg8sh67mQb8OdMWEt3Xwka+yCeLgHbkjR5g9JWM0BNv
CJsHK5PugzmYgORDHTr3eZVVYWyVI0eoLqRo5HTeR34MX7R4y5HuI3yI6vWtAZHIz29ClvTB40mP
izTCaj2Alfnhz15+x8FryA8ps7mvnVeMH+RvkLeFpJCtie/DgOTYA7uh/eh6KVbdKq8YM5OW5Jfm
Im7axcEH0o2wsHDzDNCQUw6tYGbgnjeH7ZN+4JAZcZqUeX3EuCLI72gpauEgAzCtOV9UG7i+/CiI
x9kQOJTAcWPZK0jizK38JOip7WObuf0lkcjiZRhqpu+9GRhJQ1wHNyv07TfbaozLUc36dczMAnqy
YjnBB1Pqu04zUANHYOYgZWyrNHeV59XcyAU7zcHXMv1GeTAQ8RGYC2dZw+fPUYoMDrapeB9i/H3h
dRBUwb3htcbjENTdW5rWKzs7JKEH8lQ4zZSpgM1gqNS/Z/zOaDdqAG5eNYAnnGM04m6gK13RtVg4
lHy3ezd/IZldwt2xC/r5SEf0KasgiIO5QpO7nZ+gsOJGXPUZh1TKS8hnFZ+jouo4ykk3DxVfdEOW
iOedcFO43fnoRozhTZ3piw0xvsuxFV4wlED9ai/I+06sqCtcWVSARpLZ0rmb/ApFK5zw0Y0R4nZ3
kKoQydaug0W785qSQnqF07YLBpfwoqXLKEAxI6svyG3wiXNoWwSFOuvw3sBqIOPGGL3sOGCfuXEN
w36NtLanxJYGxSPrsp8xtBxoL0l6KJdDswiD6A8CXHYDBE1yj2CV00NQ4BYRvqdF+NYy57J3w9os
ZjzjfnuGTUOiAXEB8DMny8yteHK88mYeQq8jdspC5dVFGnp91zTRGWGbkb9T6JeHHRyY8UkHkElj
V4/W20B9anAKWlYSQnB9iHNyoCx8uVEh+tgejQoFySYYMYoFSCnyWC0viIVS/Beb1SVkOvEywWZi
Tg0NxjnzVMCfoXWM/A2KFpdpIf1EF6qPhHFSYt44rpHPg+WOA1eYFhluHqzc905OunJrwQC2hNsp
7EIHToT9VWES13I2YTdARMK0lxgtTPtRrGW+GEnfdRNZhYUW0d7NSD7f4eHLdhlfH3RvtyOMyu95
VvYmjBn5AkffAqbXEq8KCn3WYTyjjPYTtBYgrwMYn0fQvr6PNhcnA4tWaoc7u5nmR97g1TsQhyu/
oIf2ypPiCMVcv0lJsFKeNKdEMcz/wNHpoModl4WlQq/vrva9c9vy8Vl0ZA++eOBwn1Vpq/eMKTQR
F24OD9acJ++D7nFNOeJmhdrRiYE8F0z28H0KZhBHFOrda9T61k2oJbkzgM/CR3YtEcRuxXN6HMdR
fGHGYQZXoXLlIyb7VMe92UW3ddBWL/Q1UrCBBprafd/16Lr7jWgad8G27xtzCPDI6SxlxB4McsIR
OF28r8i5YDHljDHJui5QEs0k2KFMMDN5GMPM/eaUZnpP+JTKkyZA03C1hpAoD8g3l6+Bs8C6shD3
0mpQozOdKlXVxS3Sr0HuQG9hynGCPrDJVugwhvobU0xPjmy93Zq2JfMt3t9be7V5IwbYZz9aWNwj
w3eHKmJG5l8k+DmQv8AMGJtHoyrF49Ixy4mLVc8PDOXdHNh9QNWgPQ6hpzHAo8ZL5HmI/uZSXsI9
ZTl3pzFiVRiZMND3k6DGfK+zqYDofl4OLmQm2ia5xB1hEK/EWb+AKOPTOY/dIVvHWFspwXl1agPW
4iWELFJ4Ykxm6YfPZhMhGoQAAMFpENnIhUW5UMP3CAiWlcTjE1kraLiVl2fPkUFzBzSvsIlXygUt
tx7w6ndmDcra1awG5Dcoicy9JTH1tcDeS4HZl6B0rNki3kzYawW+vl7Hl7Bp/eyA+ail/jZpPcVZ
g+aKDN4WU5CXdvIZ16cABWNa92Ub6nTvD/nEl0n7CvdY3z2yYo7X9hh4oFc5aKKoYIH+4dR99c3G
M0ohgE06IxWcY8/ehRP8QmoUIrwBXRoWqKkYrrwOhjvZUei+9vi5aJ0YwiN6WDO0xOxluml65tEC
ptvVCIOUjaUihncxnOzFcdruNqoNcH60BFKyMVqkGbk1l7fRTBYfbbvWPmVONUYH1xqba6Namp5k
HiuF2uWm4WNQTsCLVO90YQIbjdOnqWs7PAg/7XNiLqzN/hgMSwihL0gvc5OBZeJlSPDPy0aKl5Q2
a4di1s5/mBFKoQPeBgiyM3EdDy4zV7600jO+ptpDf7hyE8RB0vrL9sFUo2J1RNTeUviF71PkEPyd
AwB+Nn1AWzs5WtVjMQryQsgHYl7Uz2MTJNC/g8dxrjp2fdaH+VA7VvXOsJkmEqGRmQE3svbWS1FV
HiJxz26/tsviUCMVptN9G6WLVkh3GABjVsoouxWjZ9ZnkImmDzTG+rvVER8E3jFXA+EYTGXi3pgI
GxB5bd24DvRC4gimHps4PuZ513URXDqbrsWVYp0wWBeH5RS4g6MvkTT2zyYEwClxKVfOHGTTmsVD
ue8YsrGjdV1K39bww/a5NLEJ7lJzCW9KX3p3C52ed5NWGP0kxITf8l5wUoJrWIRHFNKaFocVyB+A
2wT4VKB+1zMbhhN7vWOfGGrX8hyyUYh1b+gwN0tJlapp3X5E0WqwPg1Gc2ngak+Tpq89rM16rb5l
kypn3ifR0t3HwKljgXUSXWBUUGlPpcMyu1AijsmkNWYNzm3AsFSIZfgkHD84N2B7fi89BH+so8wO
WDWBJu0b3NvWAQCf1yYtLfOOkje1iouF/plNvlFQvOLO42HhxAYQiiKetxhom77B07x8nZHIc9Rz
cEnFlKK4Neni990RTakJxNBc1EOOYerDbldipkrZk0/cOei5TJId8MoXG3iwqwzrzslJTYhTd+2x
Li/5SMsj47HA6ZwW435knLnECwft8owpm3czOXrsOao6hFhnE53Fva9COgQOLRt7T+0g8T7Z7Jv8
UfIpS4CrRQ9T02RpAjh1S7ehZvQvpK8KbzdEBC+c6T70rtHUm7fW9mxTYrHh7jotLVqyNTZk5klN
OjEakt7lNNeakRGmXeMGn5Cd79GYpMDkq4U3ulbCxouDBZrpmTLS8Ei+uANjFhM8y1OLLXcvQc2C
G8NEzywrFKo8piU9jUtQ2TQLtc32eFXRFzV2xN8W667xx/YVnodhJDKqiBJIOWx+oR4xxJ5yk+or
QM34iOTY2wy7XrodqP2gwBJUATvv1xWg8YQgbNqHDcqjhFQUfMtLKmmAEMrX5Ad7tUg1GEIJnbrE
VZJidPLBG20vCuw0A/FR0rbrwNBjouWV8LuiH1EEs+6oyXdhDCpUcJZCiWzPCIDzryxR2Da0fkB3
sYkirMcINzr1sWUEonZjlI4XQyX9AQCabdzQO4HTWgANzBJlOqlIIpSpH+6qmn5XMBLcbEycqw+c
PP0wgXyksOOKssTwrdTywHvbGHs8vmzKw8qqgCDOTG+K2nGvTeGIbyPDgDWZ6dkQrlbCpY6ht1XM
fFdKocSqSx9APO9cim2VmdQhSqWxsMYt6Z1Xp5E6Rl1ebat4KRyA3A5HV3OMzBPV8BwcKGVcYkVq
YzXOKYMDVNpjYeYPJg1t/V6YlGO42Zec57tJQ4P+DletboSEDHGk2KdJL+h6Nhc4u5h+4nUJAQjY
tXBjuXAsO0Bk4MXspPvMnqltBgId+21b+GZ/YJqPB8MR9XBj+d4wXHNMSLs7syKzABOAT18ty4Lx
BUkAXeSVMdjA2bgOLQByJdSwXc0u7R4KZg7hfhWDc6Dcn63EN+uNxtwa+g7VUvG1F0VBW7amXRsD
Q51YzQuq1YH4qPtGR9EVkpclu3IzV8qtnM2NA9jPHJ241foklnUtFF0QMJzdHW8dqt3MEY4YrjIi
N7LB6hPFFkCk+eTkDdJTPNTNqxEEvbkTg20wRF9H/1XJcaiZHBQEeo22oC8B3xmOL1euX6PRMCFp
9sxnZWWWP6JFVC9zga4OXEY9vEfeINV3TjGIsQ65CbTvVbBaNV084f1du0RosJ77GlVx/7zWxJvt
/Hq2ZBKRQ7Wc0xsTw15hLKInErQ1SY4RioI4mCUrhFMzTYzR2Ifjj64hIZLCWdF4dciNSR8YReSa
M9Wk3iY3YP0wIKlksQ3Zzz1OOXOZmLMm8QZdlIJVrxEVnDID1hid5KgI96ZCvLQHNeHet8Qw0fFa
jeFsjgIgGYT/1U9rDgJghx5O9BchA39nH61WVySEyxC3uRSWg7w5D3nt09QqCeRdjS3b3PJlfi4U
s8idpgjK6d1C5dgpozOrQ1UDJzmTkxfdhhR7DQ7KnrgdOmMQU070ZcYuS+yMEustiiDnP8kMIvuZ
8HMJl5lDPTeqC2zJ8T0NMSV2JU50M+Dd2NrUUPvjSKV0XMe1oROm+hanvQwGTPy547OteK0w1oMF
dyPfWkz+dD5NA5FQY1NFB/xAhKHLzNWAVCufQ8Os834TukZC2MwI1+GM/2uZJ8MY3cJtPZoi3LgF
XW0MkVpsyzQkiXNuF8RfKA6aEw2oVVrmLcOCWIJU/67Zpsg3nFLOhIazjAnIIekmxDR6Z4TT6WBv
6G6gv9hCgwQbTa+RRq5pg03uLb2QJEgjP2mA9/YXXqvC6cLwgDImU6QJz4QIXkbnFkPuq3XRgErK
oCb2vQOkkPhw7KIjOe/46t1uyGzWRzJbOEeWtN8HZRdHVIjkptGqFuujJMm+POXgRIk+sLpI0XTm
uZzPuqr230Ugoner0xOkQDQLsJTHwBD/h7szWa4bybbsr6TVHGFwAO4ABjW5fc+elDSBUZSEvu/x
9W9B0ssUGZmiqUZlGRYWYWrICwLw7py911Znzg5ATRq0CyVGd93GLUWNHxR7PCTFN0K4q22MsTOF
HU4LYN9RL4UyMtATWDckt11RYsLsRx0F4JPQqNeR5U7VPnscOb7mFMmn2t7Dia6HW8/AsLtH0d1Y
W1ZzXW3CCvnAehAORf+mlXR2rRDDwkn4Jlv5ifqWvjXpKAZXQxVa7jqw7LL4YLAoZtem5pbakogA
4rgoXVAFNENV/tCF/ZGC+T/qkl+pl3+rc/7/UcEskUX9ZwXz43MTvjxn/1iiqH4lY56/7IeMWRh/
keFqfde1W7gQFUKzHzLm+U/Y86LBkrwsak6Nz/KqCf7v/7HEX9+xhS7KRcTMpoF2qybX/n//CDkO
f589AUpN549UzLOA+Bd1JN4Wl6KBdEwBzkohmn4tAmvQQOA/JojUZWat2pvQuvEain8AH5pVne2w
mdnDna6I4dldbdLi1g2v8A6vPVgz0owXRNBuSJ8Gs1/Cy7jPkB0i4hwfgv5Bny5Bed025SpiV5At
omFLzMno3Kj8xbEv/nACISPF3ff7/0ev4n2e8u9/jYpeSHyjv3sLyU3/+o/82z/Oz6/U9z+/7sdr
qKF+F6BRXVyIyFKZWXlDf7yH/JGDypicDZ3tLk1jnU/7+SZK6y9Qw4jNUD9Zjvr1TeSP5qoaBD4b
qijuIfEnb+IsHf3XiyiByOq6i5TV4c2eHVCzqPYXOWvF0QmclE8P3468XeM90xtPKPpj/G/yUN6A
UgRKAWgHR+976Ef5ehR8/3DE/I6JVxS4h6HP0sxfPlw3SIkwepPyf8FWoDU8mwTBCXoEjkGyxEui
uBdVr5pDCrbgRmtBSnGSE2go+voAQSUmhAkTGsUF7H1zKSI5Nj2/iTbyQzcCSA4CUj+O3F1jVWCS
pxYZe9ehSIeXHnHDwNGZLWxKX33tV7J5qnSDHB6HHRvCltD4EoqOCkoO/CzY0J31F5YWGvkacFMB
4J9kbM8L3Jt0TMNPzQT0hy4LZRba6v3wqExro7REPpPgHFJeMhvad4lJVuXCLTmhVGQ+fRsbIc8O
Ob/WDy30Hw3H/86VAXe8hTD4d+MS7mTe5b+uC//8oh+D0hB/4SUgFsNBcmEL3eWt/zEmDf0vXVh0
Q7Cq0KvDtfLPIWmZf81SdlNnsOD9ksr4dXFgPM5QB0FDz5pRC9/dQ5h7fmry8QWxHv/r179q9IX4
DtP816jE3mZD/uQtVZQqFJWZedT+MjCSiFjDScUZPr6yuqV9OB0Ao/r7kpMvSg0KEXlCwAMKWH/M
dbpPdfJoy+KLnyefutE8GLBII9BTa2B907oYC2JZ886kdq4QQk62eTOQa7poXbI+iGB89sOh34x0
knMxjij0cclqZX9FYhNY3cx77G3SYJQOmLVOb2CWhLvAoU3Qk18wFr6LT1Jc0d9De4aJm4p5z5Fc
UDAPjbuqP+QEGuAQBgqtBQ9D2HwlsYHaOPvmS2ag651NbyuvrW06YphHSPRt2cN7n4XbI+MvL9kg
T4MdfzBscbC6dPbgEy7fpO1eFKm/7tz45BmyXbaquDV0I91myFjpLA3Jrp+Sy1SXxt7TkiNh6CcH
yLqN3eQcMrm1I8eVCd0ttJV8ObIx35RxdBVpY7LuTMz6VV5f4wjVDpYzLNtq3EUdjUvkwtnWjdK1
E9dbGx7s0igJ5UYTRiCTemxqncARl+oqkCFEVcvInSMkTfMOWsmlLLqla+W3uksSXEuIBzaWaqr2
4TAss8LcU9c9dfr39I3TLFsa6MF6KeqpNGKei4r7JPb4m6X94NYpvUXg3nhVc2R8EI8NJbZuWj0Y
A/A7dBM7Uney82hZyToiQwIHekhUHhfT+y9xNSwDe9oWAOYIDw2MfVAWziqqcdgG3h0eYBx9lENB
6ZlLIqxWGeigBe6HdRTAr0wRFI2cdTlW7jkI7oys3JVSnYlF3AB52WZ2mdMwisOVH9fHogQnWHig
ECLKalpFRYan8QFXo40eE+kvQtIl3e2NUdtfKWrWSJ5mxC1Runlppos2tClCtS9Uk06RG7OZxx65
iIE4FGm8tUqHvwfGUzdoZCG12kVlFy0RKz6T4PbJJWBpdMp6M7bZaUrSR62Or1PVXpVg3uK6u/cQ
2HrwleIho6bSAHZDS1VHYhsWKIfCCJJRbzmfgWpu0eQyr1OwXuoiywjHockatfmht/WdRzIzbJy9
bqqTmQ97hQ590Y0oi2PI6IvCMjlpavLRy+yLTq7XymlxbTszm7TPT+gNfCyT5Y6GP3ozPVuTtkWN
38hgGrbuKqWUi7oyXZMXe1dk8QYj+doevad+nHxuRfOZ1BoKCcGLZWiPpKOXB9O3UNFbL1ADnyvC
BX0jeLF1DqHaIO+Nyk5eWhXeSZhfgy1OphxPZhou4rHcGT7apHEklkaG24j2WJUVxN4NNy5x7HS4
3RPxqA9BGd34JUDx3LwrDf+mENptSKSA79JYJwB86ars3ojY5nqxIEpj3CodxamVuE+zyJQMuYtV
e88TLbzlZJY3lZOvCg8CB/KnKWJp1iMUypq+Q5DQLTJX7rwi/2I3yT5yvhgk1SEZyu8Q5R1qDyFC
41v+qqrabuNkTBIxIGHZqGaX9BWplqnF9hfUrQ26c1MMj6buHz2fXK005QYjOYOdatzzC2r1rb0e
Ycn1UBV5Rb0lyv1LalvgjsoSUCUTTqlpB6HaDcqY5KoEPbhXldyovL0vp/rB6NOrDm3FshrqbZwL
uKd6Q1Ct0OWWpgW4mSJ4QO67UkB5yth9CjH3kHVz7mxoXU4X7qi1xStXPbrZQ+A8EMc6LWkNEZoV
jCutN2+6EIcaTbIzUYaLdDAe46pCaeatyDV7ycdqScMTFMFYUjmr3WhXN4OxFolazns9OYQXPQIE
6Vl0sTiYHinHAlDGE9DS+TIZuouon1bsmx6knV3bksHWThGjxGB/M3q434yatnTbfgxteQuxlmzt
dCdMdW1Y7RNd+nblmbIiD4g+bloxraXWJRjNaFlM3Rdc1gUn59SklxPdtEP3Kc39Gf7mzs/Peaj6
DBcENRdiIOQST/BzH4TmArn3TV7qmxSXAUorplzqyk99y69qi5RfPcvDXaO5n2EY4okfzEOvZ9dM
BShVtP6JWKDprhuCx9rKPqP9O6F+eqFgQGp08oHpfF95+j7p3AnNFPmnokUr3e6MFp0mdM498D1G
c8jtRlC8SYqxJWmQortUND5KCHhLVB4HuEqfNYWcGFunWEx2v0Jofh4N5yXpBlRW1IrWbmU+Ziol
dEYlzdpDHDT0FisTxEbhu996rHsbVC4ts7wgjjBDuxTZqjvlpf9pQHRPms1hstJtRVF2weKG3d61
X6ahO+ZtcRWaOnaBWeFfdAOxp8wMVISzp0xE5Ub54XVojo+prn3tBOhZt2/21ihum3HGcSsbcQSE
SDs+W3lznSJIgep5S/UdkrHTXSwwlg2EedTDwxF9ZohsxN7lveAkGvb1Oh3cXWOrddBSOSXstGDf
a3yxI+Oax/nAxFWdyLjbxQgZltTcCgSw7a3do4pzNHSn+GyX1Oz7Zd4OXwdf3CEKA2CvdUcUTxeW
jhgrCeoCInXWFfS7tKnVgqrnJtTGm4Q21KIH8bKx8vhaONYhLZybMI+BB08tJ+0uSZCBcNAIe/9z
PdAt6lxaJFb8UhvOIXA9+lTo18/saKhuw+6mfmo/9bDNSAis6SX14xrMIdFHYX4bFsRNosRicU92
HUFQSyw34NlVtXZEd0nnbVfTnoyEvgcEIc01iSEtEyrr5jeqbWutco6dQ+QiIX2MLQw/lgVt3/RB
zrRGK85h8VFRtGqnYEnhaIVDZd9I/RI37jZo+hLw6zQswEQzPdSbPh03yWgTsOI2e0nvdini6VOo
nM+jQAZp+y1pIFK/Gm1qAsX0Mfd4TkpEfOt8wM0U8UjiZ+BywdEchyOIE3TjbndrGogEwQBscdfQ
ph5rXucMoG2dWksLdCZ6PWIzhzzttoQJh2iT5LNpTsmqCfszniHopkp2pA5jUnIIH7E6ZIS0bh+k
k+7HMnspOyWWSKTPpU9JX6Q9Yr0m3ClyHjeiCSxYmPG9FuoE6Hok6xClt/Y6C/HQEJZrUj0RAesV
WmM/iTYVyjRqqcS2wqo50WijnF8za0TiMHaVh1zYf+qHst1MY2luTTl7DI3ZbIPsYhMQ+biQfm8s
CARdwqVEkRjR3s7yS2Ybz6LIikXFWgDcu7kwzx07szsxk5NxYoRnQFLPdsLjCtElLpB2a0t845Re
8UvpPrLjptE2aQzmMY4GucZ6faUQuK0T6Tw0xnir2vBjP41nALmnuo6e7dZuFpVNxRVhXLc2gjJe
yAbd9uiiUVVlwVbAS8Yl7SJiyHz7a2G2as28GOKLH2lBioVVRrvWKs9l4emLuuuvNMOMVn1p3jQD
E7PIEHFXA7oYszk6A3XiVtPukORsSZU4kqJ+8PNZgdWaXwrbEkd45XdT4Tzge1lXmoM1ynKXCP3o
BRQbMOSbQBUxwUMpUe0u/oVOs9cJcEoserlJ4m08oCmxkXLrtGdcMCdj4y9bC9QxGWWnkcBE4KnM
+A2wy1CNROMlgI5pG7JJBhbtVtFzPLQnIepmYQqnX1EkvijqLjRoImtpBvUEkjrbwW5k/S7bG94+
JAWe8aUp8wfPy2jBwFEl2wI5eLO0xumemoi3iJLyHjNSMRscjrUxfsANw+EHD8eiGsZ7w6tOQ2Te
0/G5QuNGnl575B1Oeaz9vXAAmkdCfq7d7tzoEf4KbTjMoYCj7I9WYO59ai6LriHQnQ7leiSNGfVr
e92RzbqoUu2rkZco+dgMT0WCFDJyr3xJpimyuWOf5fHSmHghRxIAaRLLFdWEZhnH3k5q7jXKF/rC
/jeP9vRW0k8hh+wRkUa28OpcHsq0f4pJPdkmfvqp1eK1rNw9fiPnpDuQPJAxtIc4UBfLjZI1d2/B
XLTx4+hclHLHtmuNnvxDTiLkvtGLdk+vrdmh/+6oaZAiXRYuLXE9kPtAMl3jqWh3Y9uwG2daPZAS
pa8bL+kPZpUdJjk8eCVmUrMmmTN0n7uWjWtNeMF6dOsVRu5DgbCAJK1a25CLnrBN0ceFhKGPq4FX
tW7cw4AAe4NBAoRdP36ok8LgaCyvwTrRMKmjNfg/TqFx/WQ26cnIw5nJdQzJNFx7uWmvCxU/mwWj
0crJTUVHvxkqtO+6W7EN7JDlmlmFwkXN6FVYtWWVXJO6XhOZiAJF9CW6pCD6LIxgOqLnPqQShUVX
MiUOprYFL0qmLzyapac4juKsutAivA4C+dxIiDGhHV0aDdN0WeWbucWDeoSyFrU1RFPx5FwsdrEL
OnVb3eK10Eqso/DgBOosaBAoHwNCCSIJ/l9xmFEdZsI0fGC4vlCuvoKnz/miohXqjNUXEiCKpTYF
dyp7Gc3kSZlVuqnMdGOxt+YEizR4nFv8DZ0NsvAm8SkQGG6doECmQDuZFxGANWKh5GS44lmgn156
gq+Cva5TdwnuSNel29UgDZgSZ0XJjXS7UeMA4a5LEQm6PXPW72l0tA8RCX1sBJtE0FoSEkJ9dj8R
tswxJER5h0TEtxdiZtKG3RcnX08jra2OLYiJH7S5LuAIIYwkjdK3dkEX3yrzCg41CphZzWrY1Sod
631R0PnMscvoYFY1R25Cr55IMFBHd87yE0b1IfPxI1AhYFJs1bhW+H9Z0a2bRv8wECi5NwoL2Bjc
ZjKxVNY2C8spn4ZOhgj0p8fSpgpvjmeP2dvrxwvlwGrj2eaVkcrZ1bFFWbkf8v4miz1UYw0RnXl+
xKxzpvZ7btiCBQo/Ql7do/y4c+P8UfRiVwfYNaSokQMASg7Ge8oItPTc+hoQoWBngrg1N3q6vcZH
L2/EAp94xWG3/RBFlxQRWZUCmvWDOt4ZavxSTdahrDmaWuzAvH4+xqMJjYu2XegyEEtg4sZSFsMy
gebDwTg7dG7UL6bazWZoId1ALyQBGPuw92IaTz0TYjeVN2E3BtvOTz4cU+We8yI9dx3hlEPC4brz
roKqS/bYOA4Zn1Olo7nEHPe1tstToTs06NOtVnCa1mV5spGA4bxesM38MKXPZXsti2eq5kvsFRm6
n26D+nTHJKov2xoQeyi8fdpc6grCmPTy26Ftp0VG2MCKPtzdSEr2Ue/bBgEipLay69jr2/pltK17
DP0PZm1k2EYxrcAAFbtZnExrPDHzL3LCngU57VKFNqDutt+2VbHTlbgUNcHqpOkgCb2HOlZtsvFZ
RvLZLm17Hw/fomTYR1QSCHmaHUTTReK5g2r6RXBFT5YeLcCsfMjKKd+1TfwlJ0Np4XRjdxlHFFCU
8peGCjDZlrghmjAy1kQXBTxxAuyQW0OIDqjWoYvWlLLIO2i1raDOZw4Z106yDV6N0PhWzYqhoWGj
YxmNtzUQT5876WgHjJrRUTWmoF9JGQB/OonGHpqSupX/D62e/9LaMr2Z/9x03IKJypLn7MuryjJf
8rPTIwQ9GwP2EewkSU9nBk3+7PTYxl9ItnUObpBlDIPi8T/Lyo75F6sz+mHp0A1X35tAP3uO0qVM
LQRwLkX2E8iRP6kqv2n0UFIG4qHP38dCFCXUm0ZPrpqRqKyoP5dDW7YI351ZX2TRlbCLlUF4tuac
aGQQabVI6t7x9n1qqvLRc4iiuPxy234WvF8VuOfP+ld5W3ItNg1YwWUQP+OYxptrsSXUAhf80pmi
kTIiBqYeNAc2/r32AOajUGdiD2o/XEE5sNtkC2++i55QxTrs1ZwQm1CTxvlec1xtxAMRms5NreH6
3P/+Ov92y2YoIDs0F2QHpA7nDSKpG3TyZ6SZnPHIYsYSLgz48+BmZv+UE0A9rlIRssPqK7hoeNVV
UK3qmnX26c8vg+4hTw7UHTfszd0yiSka2VYlZ8gEYfa5MjvaUQa+RWR0qcrtTds3g6rwIvgFsSAk
YzYHvxly5/Pvr+MNWhhVl24okHtwihDhcS1v7ocHlR7lV+8eUpgpgTiovAECo5o2dfVjEUIBuQcH
16M7KkeNaNQMs+E+Mug+D16mj++AeP7d5UDgkTRqIP2afwM8D670PdRD9qHAZpXdtL4ZICjr0gBo
Qj64dWZt/KknK2LhanT08dniVaZoJADOxTd5zaK++/0dmm/Ar+81bCWeEj3ZuROkM9DetG3MMewH
z7T3raqTfAStVVb+FjQ6sWh0BekFIMtL4O0bS4xuafRNNrAG3sNlzR3l15dBkN4MngFQBISPJJHX
lwHiYqpQ60PsGN0g8z7ZdCLIL5b4K9GtBB4Uaoqdeklx/mK3iLE5G1tuEWDVUXaBiytu+zL6plsD
vtVsRMY4LntNm2VLneYH/rg2Bm0cjz7SSvUcDINTryuH9CCOMBgB4uc0Mrv5Z3QJI3nmvM5/sSb4
jbP6/f1++wpgMTAF+m9XIeXQDfvtTwr3hW4HDCISClxRIp5Ik27M9yY0Ba4yrUWGx2Dyy27+s6RL
TLJNyqZMkESGlYvwyaiqhh/495f15jUwbYtuII1+xRQ2c9dZB37t3hXSxGuaG90mxVMTbzSjKYuD
JibYOU3gq8sQMHox6gWas6VzkfnvjYzXSCPJBbiICr6z8gyTGezNCyB7D7sDSoON0ErRnAlSJJwI
Soz8Yhm9npw5UNTNNd05fpuifvNIqgExJXWWRHLfpKLtMcIBwKOfoicwAfB9Tx+nOqEI/fs7Nctc
fhkw9FcJpKbfajGALYbMmz6nTbUmx37e0MtA0L5hw2MAYiiDuj5naZPgFqaG+c4g/dtLQ1MXIc9M
mAWxqcine/14msQcNBtsLyDtSXcunT6FxK9EsSavANPje+IG5P5d51A+2SHM85JzWUnAvg0ia87z
v78F4s0qM7MRdQvJpkuoEJKOt1IgDJN93GP+2ExKd68c2KZAvMl9TvdTOkfTEUHR3ahiqqpdGpTo
XimC3aRRVSucD/b0sU9jT311tUidjRqN79pSiaB0oMhqWQR9YVJ5oQON0hNqnfZna9N88QKAoGGQ
OasDzqNd/uurLugv9Eg6q01MvkV3E/dDhDsACAJIkmlojMeJCKrhCkR6mH/rcdhxuIod+fWdeziP
qNfv0Y/UYfZQhsNM8+YyrMbStZJxvoG+EB6G2BQ3bY/sA604GtB0Efq9LdaJLmRxSsIm8o/0Mf1q
5Q7eMGzTUvOsbyjjsUC/N0O9HYrcIKmzswN1h97FNN/MBYGLmdtwVbEJDNm1h6Lue3vpJ0hNVwTj
FOmKftpoblF104mJQerC2JIy9DcobBP73rKgr9D7JZnlLiHnXl4NYFzjK97stH6H+Pb9Wt7cxVmi
5KIEmnVu7ptrpb9NDblx2k1RI7RsKEIGa5oSXYWuvC7iQyoEbR12q3QlKNbRKFIjrkajaEvxZGP+
blapZ6ZLjp6EhI016A27FyhiiQPl9GcRykNJLtLqfeNN9nPMWXA4DGnR3XJ2K6kfhA6NF1926hCC
N8Ty3RWDFp1dw/ZBfGLSL+9gmiMPVwWAow00Jb5KICB+L3l1fl/e3AkCDGz+4T8MynmG/0V/4bN/
qQpH1ptBTGN4o9cJzvqkqUp5bfLwyn04yfBk61r68Ps3+d9+sIPoQ4KjY7c1L+2/fHADiDflMNtu
mowEwRXm63IrqbUFGz0lse9gIdbHFYB098/SQtjTIWuxvyfwuhLLtZpf5F8+2c44T5Ir125SHJnD
XRpJ+8kdqvTrlGaN+9EebVw3VDNisULxS9Df6FVk+f3xj892BUgoqkhWA+fNBio3oa1rTt9sgFjR
ry/bAc0WuYR0gQop/P6GuqOzolfh+++sRP/mxiNqYxabt5Lc+zdLpigxOThO0WwEETOKioKXet9q
xjSgeUAhaJAdUefrwnGr99ajOYflzcvGAY/8VskKqPPhr+88pjNsN5RCN7ZsU2o6qh7m849wD1XR
plvKWJGg3G3Q5/KF7SXbugO/vmSx9OpjruvcnD9/Crbk5TOoSrClffMUoppCTxb0NfMANqJT7LjF
18RJ3VNJBlHxFeG8OkwOQUPvPP23+yY4uIgRdcMQcDxtpqDXN4KcBr2oJCvhjEtyVuOQOfcADur7
vig1mjI9Pptl5RMFsPBbpUXr3//YYn7Grx8EaSEgA9lMzlLIWf376xAIJ9wBxlQAwBibBDOIn5X4
u2I7BAITgRMQekzOF9mKBayT0pHaFT7X+JhDx6fUzTx0BfvNJY0jLrGFirHu1Ob3l/j3t3S+PRb/
0pzgf2+uEP9nW2hewBWG4Tis4BU54wfYK9repY5UfyBixwxXdGqrdx7Nv7s3HNWFzpSILR5c8et7
Y6WB3brjBMnb7Mv71m/QIUQMJm+p4Gckq8zKhqfYbcwak0CijsTCZSclfONGT9UEemsUuSTEK4+D
Z6Ol9/vO4vVvdnUgbTGUK0Rz6Lfkm8WrCLBKWD2pGk04xS+dGUSwwsaMWjetdF0tQ2ng7OXB35qY
1feJ72Td0hTp9F7sz9/3c0wkBmJfRQWIKfzNhaBA6ooCu9jGdyGF8S6nTlgtktzQ9pmR444bezz+
+YKMlr44+CRdrCNL983b378qb7JY5gmdHSWZvZxD57fl7bTigi+TpauV4PvyKV2VcWtOOHQSqCgE
8HUzaNjrPudln9oLjWruxyxmH7QZscuc48Geoi3vfPbQp8Ju35vy5nvwZqTBzp35sqDnbU5Kr98m
AgFbstOmcsNuRJnroHOSE36f6lLqsyqnl+lDS1jHg5Y7Y7GSWlMZkAVlthV5n36twhKZ4Tu362+T
Dwcml5xxk504qui3k8+gd3kxdNwup6fAj5Agrx48lzDmlRSz0n4aHBiHiQo/O30ynCmop8lSKZ3j
e5bmkcMWruH2dUzOGLUGuDELK4vGdROjGaC1kOqbtjUA5L9z3X9bPVgolf39SSsko2+rQ+gnofRi
od1YvSro8NppP3eHREuOM3PpaN82gGCHL43pZ/FzBdcquM7MYqg+kjndaNCETW3sF398VezDFccK
1LKmAarr9QO2aJdrJrGdG/q9OWV/2GHwGMFv4dS7MrzEUYe2rTWN1X1kX/iY5JPd3U49oQ6k3Kb5
FDWbwbKy/O73F/Y9zeDVm0dBlZUWgxNP23XflmgyFUwd+k9vLTUonAiQONFR+cR1GBNPNtidtHY5
pNcJrQ+8n/g5042e6sHoYzDeAPPgtyK9oKIRxXp84esGuStEI5tTEfa9dcB4ZVUS2gu80Z0FBFD/
gvy+5KNK7Eda+s6i9bcVgXQKagwsmPhIFKPp9Y0eJzekeKu7ZJnx7Tc0YvX8qDWZVwGU66uQFr5n
Ihht7SnP3kleR3n9ehxb3EOcNSiemWbYMOhvVgXPqAaTySTajgVxje7VENcTN8vtCcssFyQd+bm2
HEAPdcOn0Owsu9vHLAfIy4gNyq5Uibj/Y/+9ZhSZNTWnAIUI74log7lI1oakRTlLTYfUFO30ovGH
dotsGsXXzoiZux+HDOzDN9MutOQeavAkP0Yl6zF0ArNTd6jCFCKOQdPL0UFdwlEMYevUeV6z1Aty
QR7NkU/Iyb7BTZmuQTG7nrtOsVNC2FAxNp0ELUgFnBmIj0tQxrpPybooNnpCxLq7JXA55svHsYop
bjFfzh/twQnjVw6p0bWzSm13fpkE5yqinUI3mV8dyGLUpwrIBfzFIUK8NuIP9+uaMPdIK3hZqOBn
arhNO1v1w6qo9W781KaIT54EBCGozJaiuMQk3oGUHdeDrkrP3HqdpmHG9wHppwS4J5lFKykw4LUs
0zIjJnLVBFpcY12MYecRytfhUiMiLFak/lQyDObf43gn5M4BcoMUOCaX2PY3Njd7SK40iOOID1Ez
YUHfgukeqbYVCtrEHE5iyULOz4dIEHUk2J4Rdq2Ljt3z5efVwoKnJbCZpgFS3CYaWkn6tuLcjZ52
Qos6PXojpRYQzFMgYFJFmawZnV6VC35kXiPcvUd9qKkxytDtkNl40uBouvHbSPjtQWAP5sULqIpy
6wcoKtxzXbMibmxgDFPLib+i973sSFyitTsRSfycgUDBjOtHEc+p+Dn28z7goceIQ7klXlbOA/jn
ryA9d9wgO4QglxNvVbr5I0CqRN46Nennj12RVc2F8Cz/m6I1UD8kztQXz2GX6cOpEKDuSOWqytbT
V6WYZglD2LsBz7IFCcyHDoHLMrXEs28/W6UstRsxhnMFcyjH+WlVbcxMTj6yLh+IQqLlTRJ316/a
LBjbR2UkEZec/LhyYjzH/BkSXDZzWyO8ksVNYfRa7G4bTQc3hnh5yotxBS8CFh4UNX2epzGtUjhC
8ueX6gL8IXRh2/cwhDR24b5J8oZuZW6TnLE4e3j0Q1nVMLbSJMmPeFpUHi5A/ff1dSejTmXrED80
PXvf7abhVEKjRHlD5W8qSfF2pdZtsd+YzAqBoNgrl07GynLfj2lFs7wS6DchETEDoSBoCDBf2MaU
m5+mXJsvOWIssekFgTbFcEeKrk/bA4clfsaNXYY5Qws/lexu9aTwmeOhUcVYgcn35V7jD+A9MHSY
dOMKVwHPmawwCSX22hFkvMpFYjC0io2wQr8w16Eiola7JCjuw9up8OYlJCSJz9qRq9DwstkyznjZ
SFud/xej+eR21mgDo28/Rhl0iPmLLA7PjFtjcmGt3U0mImZ3QbGxiJ/bNAq4TgnGmrHCFDM/9BDi
5zyt5RXvalRFZvRBaB5qcXdCOPipY+qbAX99nri7yBpC7zbrjJSSYcyK1yObhEb+VcfxjP5k8P15
XAyyYO70aSQgmg/jRnUGAoNuXu1639GcZQuk0Lxxy6gKHwuj1eOtKCkaw4QDa4KZHDDLGN0xA3bu
rRhJAAfuEQM5BLvHdjc/eSVnIIyyP57TJIlp60k563Sm9nToWPB//MBhENsueMVQ9O65HZuS/h9+
7vbFbga/fUKaHdoC22NPY7BOxmzQF06ZFwT1ib5oQVX6vENfcizo2llU8FCzDW1Dp7ppahf0gCoG
hQE+0NocTgnG9GPctH4HjzWJzHTX+bTNLqjGwQ9CuIibaF0lGviWmdjk+Y+IVg0uGEcOhdqfQ8L0
JA/qZ0+D+4cfAAyw4Q8P4WTnWNCBMFV5vDLGah5HPebz8Vi6EDsYLKQRs2lsfRz9mDc7QAfHxg4r
FErgL3kNAQmVco9rQs4BgJ6WurdNadV8Ka2XgWdKlX7uawADR9iwSGWTywRPOCXjlollagCuKiTc
J7PtwvDEC5uV+woiBahikVC5qXlNSLUCTe0woK0+ouu7DFQ4z3FF3RgscyZrkaatMteqE6qoPxY2
Nhdy6LZBYdZ+TZkSNu01UA+v/0ze9Lxe/9wrWcKbp+ufaznxux4bzEzr53EUwNXh+zP25w7Rz+U3
CvJ5o/BzkTAw+jM0K2HN26UfGy90/PN6BfK45MvsRs2TeNpi6/UWOiAB1uKoDOdFNevref3MILLz
uBIUxPOtsux56P9c9XLTmMNv6e96ofG/vTo02/O8aSuUYchUsh5vic5dR2UrfzSJkqz//p0bZGD9
wsXmzbf05Tg3njLH0biXUaKziWnS3udbIULnOS0rFTFkEcYEtX876t6UVA+R5pWaWvZ6nJcbFFgx
Bv/KqntGZeloPrOt9WNfSn984Aeu/N7NxlXNGHTMQ+Tx6/zYNGXFBAEKM+cLbFoGrCF6I2l6LXWv
nvcU4sfSF9vp/N6wr5mHHmkiShvWHWTueQb68Ql2rGeWXNmAvx19nYbJvIBKP41jfeuaoOg4Gap8
Xp5SXD5l8xAblVYkj9gt5skKop6mR58Cw5vvejnZADeLJQ4sqI2cw0lGr8SlTSH/MDd2hDyw38lh
woXbOkODVWxyM8NxdCHzQfDQ9didfwp21Ak3suCVtnaF3pmTuDbKJEUMCjjBrMSVn0m8M8c87KSu
IZvqoRfMseWNzt4PCDex0vOdgkw3fz4sMdqhoabqMnn8uS0QYRw2nwuCp9sH+Fgmg9HygmYuVCcz
gsJKm3kaDgM7nC+6sOY9oTkrJJqlCiyTHmoIgnJ6DAFDcJMR0sc8jp97j9Cocv5+Kaz5h0wDlx3x
XV+VqrutnNLnYXZumsENy5L5G3pV2nK9sm1zBhFqAm1ga7Vw6/p/2Du3pbiRdk3fSsc6F5HaSwfr
YFWpNhQGg40B+0QBDdZ+v9cdzXXMjc2TBW6g3DY/EzERa3r9R91tN6hKSmV++eX7Pq+Gam3BhFEY
0IY03ZWjwhQ4p/xFVEGynuRwk7/Czih2i+MahikfzQStx/85hU3GK6LAjuHXwL4xbMcDYlnV/Wnx
OJ5z+ClyPLtCvkVPgpAyzCBXLPVMpw7QI+ClXA41BL8yofXBcYlZAT7/Xjch6CmPCj+YbTlC5NeM
0xrkpDfEXaKdpGnQRERLiSgR2QpLnR2cUfej1LR7pc5v3NB3qgfb5XrLDnGy0W5cuynzGwMcKuf6
VSzVrEissrrst+qIXtYzYQWiy68NKk8v5qgnuY5DUWFcG7NoRuMSVrQ5C5hwjdudF8k8T9dVXuhZ
TsJnONdYiupEowzrAaK4+mnYJmw7FglwrghiZDEpPXLzaHDC9MsYTBr/yCD+QBFDQ5l2o4ebGN3j
oiKhYVxVI4dMENIQjCDzTVIG1Dm/16R1EYJHy++jNuzhrlahNuPz594kmK7a3ini8pODKEeka1ek
vQnAyk3ICt6UPdBYJrsoMC9UlYZVu03cRl5fBJYzxqtKKeR/GalaGls/mRIgQ5mmddnHsgHw42wB
HzsNBBF7arFlUciFCMTmpoZ9v8SEbFTqmrNBf2KNBF8fb8emgM2zCKscZQL4k3FWOf3J9DBX6tN6
zOXENzC85YwXFyzg/mPV/DRll+RJI4uhtlFSZmLLknM8xzmuiuLUiaf4tmlKM0Sa5zdVoK6IAgHa
HJOPjRLOTNLAXIRmY7rXsZY4PNkB7qsF3w9UTDadEqI8WAtTsREjY3cszVLGXURD6xBOozJuLIj+
jcbBuhqZpxhCZbmaQcaR69njIhePrDNQB2OsbRWYn/3/kotA8oxIvFFaQLucQTCPsgFpmDIe96Zm
ncvfZTQC1QPRI7y9cQ4AaDz3/dFo1gxalyWdgUIxOe+3J7Eb79eFlJ856Upw1lxvoi2iIyaVO13N
COTqbTGtdZHnTppfjGsavwDQzp6mC0QYMg64K0s561P4+bWKHZ1TzLD+0GQNWtNP7BN9jEZWYsR5
DWQOXHHh1XYvp/apUWSNGTtECQ8LdO28qcxXNjN7OJia334jshgLkmcVyb4m9TN5W570EsIq2GaB
nJMTnjN0NmtG0wu+oUsMGvdUA+nIfBBnSpn3EP2NuE62FsCeydm4qMrGVdGJvLrQWx2PIFm03DZm
DUaNCTNTkzC6cuSk+mkZzy0CWoglMa39fXncxihNE6gVSDQLelDdOAB/OSFqmdnEDMMQcUcItxsW
BpnYxlZ7nJYj6lY2SI+Fcxu4tGxqRZeCnJzMQ+az7HHKa8PUpZ55WlwhakU8ELIgFPJXc/KXnGZR
+M7MGC4fK5+o9eWcB39Tlgoa3EEm1faxXA98rIPFccFpjdxQTOi3Oa/XZatBhYnJSke8UscC4TSq
LLREpc11QbSz4oYnQwkiXfs2KTiF543JDR4HjxHiuJ+FUbVF4OW2K4KHLmha/7PbT1WynaNQ8edl
HytYURYu4wcXqxFWxrQMaFGo9ZYWXeI80CYQl1XhV+O3cNClDgqYgog3RtZH5bHWB/50VfpJNixn
a9bnTVC2+nxJaTVXyqYpXMyCu4lGcxV5NSCf5GqsYkV81Ug5zldaH2oR2dkJHlv8iGoHwB6jVNLh
kMqq2YphWYKc2tL3VkCeujMxD6u2GI1b1U9H7VjJ2yq+i1uNRDpjLuxNro9AS3YtqE3reG57pf+c
cSLnf+wDggMc2CgBWSWbsaLA+05mQRy4ntU4OWpXJCsWe5Y0Kc3tVDBjQVLJSpGTStKypkencmvm
bwRRJnlOj4w7R/GI079ZgzwVMpw8hKF+97TjeqqyKQNk1fPYJHjcryiIpRlMRheyqwzckgLe1tm8
o2MuOgR0y7DE/YxV6HGjHvB9CxxRcvwTSCd/m/b4Vo0TdMst3F9iuzcR4svk9nHLnfizLDWf6tyn
V8I2e1lWVyKTVbiit5X4StugvKv6KbI5YTHkc1/PEHkHHK0orokB0NAC9UzamsMI88K2fypHZGkd
xZWcLZpkruMPLS2y+GOhOXj3gC2LItvZPQwCy5sCwNOOR09X7oMUNghc3jXKkZc/KTJfbmYAabDB
rRK1ogTtMMgijgRlzW9HuUAsh5dERCJ9Z15KmbrmclLdVVKNEfx0dmVDeskrZYWY+bCuimHRwMtv
MQFM2XDGAyyHsyAhn9JawOOcwTe2VoW3DPXl2DzoLklgD9QSXXwXOlUVX8GsEgzDpp7a+K7FEzOk
i9ZG25OwXli1ASlgFnI/FU2D1D3NOUz5b+WQyfbXmBel9RAjIYngHpI7xP9nTEJOgiIY5fxNHJTA
2fjYPLI5yy9qpFMoHPFxK6W8HXk1CibSmoqB2ggaJv/RN05tnbUSx8wOHDopj+ppDuONc2hPhA1B
FRRIxDMm+P1M0GML1ZQMKgKK8ooHRuyVXIc6oWd8nPSxnK+FLncbRMzL6UtiqucrU9F4KbDFYdSb
vR+LtGw6cduLRI6BRDVpg1iD1sH4m0zADQNNU6fUPuQmrBduTiUKnncGRo0Hjd1XNjQqq2waLsbJ
XlERXqH3HSnF5ugzMMcn8SBN4BRfqoKT2vKKWU1dd6F1uCNdb3rsAWT41oytqrpsopVq5P3xcxUM
ztJV26k9dtq+F9dzSYDzGqFlaZ0RyKpx2wClBcNlYKhdf/m0poq83DdPB4Se08q3/XK6I7IA46x0
NQ3ypkmaaYlFcpA3jZJb3ibCxRRmZpgJMRxTfrTBq13qctWsscG0rJq6QTN4aStEKTBbR7V0njVg
x7p8Nbq6rzT8QEc+1clTG4DDWFlp0IBImBzqp14efVieWNva8rV/2iwGvd+wpcg6K5uRlRAFM5rE
ZPYjA7jtJ2va2PiJHcrkafKZTurGBCaLibehI7aNtHLguaitbmHFpzXqgF5LCMXgH7lT8Jlo5lWm
kTOG4P3TM0LAwVcIFGKEcNREOc8dx778DyXMTbYAkR31WVstp8dOTZT0tv6B+16UZ2lLv+9hhoYH
jMpUx/nMCLUBuAJwlWHUrvfHM+/C1vwLFKnNQ3F2mz00/xjUFD3EF+dYMjr6KehZfs3//I/PxDW3
f5xHD3X98AcGhD9Oo6p7SA9Cn+XveLIimNaRcAxDahnAS3HSyiH1kxWBv0Kp53D4iiAX3exfRgTD
PpLdVRuPAAfYqitRak9GBMM64iTPRpvoiL1FQXuPE+HwyApklaWiThVo2jm3Ogwcl0oYdohqQHe0
PzW07EMQWsdVBU4ETEnhJ2+oYW0+96vDZq6H54IvgFIRa8GhSDjXRVPTjQ42xFwZNMjQTU5XdfKx
LSUXFosB+2v3EkaquwzN4So2LAAUd1pFo80MlgnUZMeP1mabIxo0rlzQyVl3UsX9lVM4605LJO30
LHOrzXzPBiJfVlTU9lSuVEmWyTv9Ip8coh0H+7gsott4aI6VoDnxq3CVVcTtOeGDVY1UNl36bUwV
Z1Hq6gc0//WSD46Cs29XMYG9vgxmDsPhttLdy4zjhkUi9PpEq4ma6wfj3q7qm5hCaGHMerMpO/Ui
NNCspi4dlzSgv8SxxRXHr7BogUVMzmU4i6uJ/vgiqp0zzXSmZeGEuzzq1kWpbEtLmG8cVWt7Oe/L
w1cpE+VEmMElgB5xCPX6sNIgLzokzyDchHzGrT1E2KbQWjXZBxtUPf1k8J/xTEZgivd7aYef6Paf
zLnvrJ0+3kCXDFaIFMOtGfPkWlX/Zg6RtehEtcLY2i20KDshCW1He2wtCvG5g4Y01Ol3AyDmZNon
naXsWMLZ7yM9gxIZ33MgSAaCceWEBb4Af2xXWlfQi2CPowLZlv8SB2biNXFIatMY3GXYT7aRPfdL
NJTEw+j2HWTiB4CfysqXXbWqd5RVIoLUo2S+4Auf6Ub+LRLaFic3KcG+T0KdSSBLCF48NPCcYVSG
zasl8+k8zfOW+pWdNkZQl5PVpRvF3x3JKTXIb6PZWN2kZfbNLbJVrvq7tkNuQwQQ/nZ7rYZcHl/v
ncDqu0GICRlJzcvHjxU1DBjki5u0z8tlEQdfQB+MpX4+z06yogfxbZisszCgtd600T3NGJZZPsmM
UsXLLVyCUSuuyNgqz42KYa0YrKUjRnd8mJ3X2fE9MtV4WSR3dRZAvEQWvKA3f2YU6nXWKHRKhm+9
NV01DU8uSqxxMWXh3TDbx7MTQ7vR6hKpKd7VxrfOmhnQSli3K0JOzhV3vp4H7hPRSmAiHHNBd+yi
a8vzBIngMp74Pok7u0vydvSNNsvDQ/VDPXbtjs71VA3VOrOdGxTCSxDE/TrtQWBpETGnCllXo/HV
FnBEBoVUyxR5ql5Ed34zTieOkparALLvyp2MZBcW1B/MM6BbJuPCElB/rL5bRqrCzrwZ0+OIpuEn
A8zbms4ALWpTH3epT9eiSegqN7XhYbceYfrQD81HPgJJrJyCs5InuQvp1u3alSm65pI9+UgFqeOp
aGviGU0LbpwALpcb/i6uBcdoo7EZfU5xI0PfKGmvLyyskpMNRslE3rAEmEwjZWawW2a3sEt1Nejq
Uo/dY6Q8nqHm32ZOyTz6GGsE5TvVSD6lcX1uC55+WLXnGX3YIF5rVfLtxap1/vimvzR+SVnPq/ef
mV8Iaagy6UuY6oHsB1BKYQQdM7GTAgCzC3MzxdaW82KdAZW+Me//pAiT6wwSIwtNF1dVD7PO+05V
FQXow8Z2kJ1bgbup7W6jFPkNlrPZT84Gc6Ay65kBk+bm999UPZTl7C/OYmqZWHE0vu/rqS7PVL0o
TC3YIO+8001ReAQULDVygDhlZq7ZP4isWbp++sHJwerP9vr/SS31rzk5f1Vx/XdEx754Uj9VUv9F
vHDQ3e6LqMVtfdfd3750c/KUniooSz2ysGVSQz/6NWWh9FRB8Vc4JXVcmxaqG5c6668aSrWPbJ48
0ieQn1RdOnKcpxpKtY5cl3rMVSm6kNhjOzlgAv6OEXioYzId6jAdxY+BPBdO6OH46rSSoM24nryU
gIvP0dg1O/I8p2JpY2q500tXg9XWJ/56EGp3ms9ORjblgF2DrUJoH2t0WS7MEfLXFM3GNfJBZtip
pTMiJ/r5jrZ4uvFnpcvBh+fOGwbQvb7vxUSAlRLrJ50QaSTkjuzfnhdic1g/hFYU5kA0oTndAsLV
PieWKYOYXBKYQxcug0pnSaYz04kn3RpQVreeBBz0hekKg+PMjOQqWB0qqGocRjB+lET/EoTqKsmE
fWarznTetfpwwynRZLJZ15XzfoxmmYo3ryzSt2HzZUp+M9NbEx8DAibChcid6QKydwhPME+O3akm
CmcgMIQYjCmpNk0k+rf8P4yjl3Pi/laolEQaT5F5wjiYE9UOomEKhYd52fSXZRtiKh+J0YJ2bb1R
gB0U3vtLaYxbFdkbtFXAsa/1zTQIVYyzo2fZE/GPeSl2jeJjgnN7Tu4b394EXX7x/lnoX5tiPvYP
dduxwTm9LZs/1l1+D+S5yA/3eP8NZxyVZ/pr2/h/5QE6tfTVPCN/4sdEox1JELUJqJrNiQMX+nmi
gTjKZAFSlFVEezSUP/GBVecI1xAzDDp5nFdCZ4P3Y6JxjjB/ulK+z3wj56f3TDSHCxkTjc6EZqD6
RjfJm3owaGZihjvS1QyOC4WMuo2uOZ5OV1NZ/Fm47Z0TORddNanbkFixXdNLpTeU3Lf0pFJI+GrC
YB42QOZaWBJwZdsHQkODYzHbGRzD67BIn2A127FoPoD+uRwVwr+Ju146sOmJPSloL2bD5sUT+5vC
ZW8gO7w+ln4cKYhapeL29avDTFCqTVcZJO86QJaQ5uvLki3jxzIzQ7L9BFwTyTwlVwAPrSi9yKko
wiC1DushzelYZkNkLoKKdrHnJHHoWVUHrxM9zzZNy/LJd/auRso//bUzmN9+/dotb6cMQjyMbhom
zctFXv7c08tnQ1hgU0oNjehbArgpAJ5WeQeaA7BYYTyv1z/g3Co/JcnxGA6E5vIC8lM/Xj6XV5YR
KnWxmJiwmb7n5du3Jl4OO5yMFqYsClj5KcBDvB52RPsOeV6GnNKiz9rEWlBAnUGaMKvs95oxWLe0
qb9ih7h3Bi2QFfy0qefGEwgLUXWC1XWDwt2KFpRXUE8x+p7I0VZ9NvvnjdGPS7WPEcD0X1ORqH+6
4aQeW6ORvfH2anKOOPwacAMAT9iyKXXI+Q6rNIlqvRacTfxZQNf7YoMkxucLq3th4SMCkTJtwoqE
iaXG2QkwpHLUybot+m2Y1BGnEnO5SdXRArs56js8Ai0Z2WCBZSJL97kmu/LTOJfXdHPfWDJ/qlRM
Gmim4aqMAx34wSHzQHMSsKzMkeuGHl5IhE996TTB+JVYzJ7glVolL3ksi9tiMvJPZTXARI3Eac5J
2FkE2UtfGnoen/ciK6/iagbypTWuz27E6qQcMhseQq13Ae62X6cCTGYmwv5W0WsNINeU5Reohgu6
1FPeeNAojmu30CDBkK/MVNf6BIOziq+nMLoWFmHjHuWi3y+UySTeRcfnevfvxTygxng5O8iq6Nez
CgyY/Pb1nkH+wI+1XD3SkeA70DrY3cJMfZ5O2DQwWbB4QSmw6X3a7Ax+rOXakVzj6Y2xuki2OPPT
j+mErQZHUhQFUA5Apgj9PdPJYakJKIMxjLXSwdtLR0/+/Yuqe2I+y0sbza0eK/GyMcgOVNS+2Zrg
/97wi+2daC9feXktPq600RmCfzu4llpkJAqmDfpe01VOabwoGBEMy3MJ7EZ41hB6moarEE71BGzq
PI10PGScFXrONPYLw6SZlLTVZoB/eaIlubHirASAM5lDGyT464y0bK9MgMtOmlJ6OSTuBf4vg1C2
ElEFxupl6hbzaZ62+sWLB/43tYB0VBx8M1yRJlYz7EIy9un1XbTzwHITn8vPipoyAbuCA36soZpJ
RJ2u0GImFR6/UJeZjzv6X4LhD9wWJveUKzuQghhiaIrl3794ftY49xB+89jjGDhYmT06plkgB/v9
95P5J4dfkF65aTNGKDwFS9iryxSDq0YdSeSwn2OMhLUpoCN2uD2Fm8NrhOZbe1rs+GSQqoH/JwrL
4OtUztdEOU024FHF+mwr886eEm1TZqRfLcy00L+HgxNdsL9ji4karu48choDF/15F5+Mjhp/i2vy
nTWaNSiOiAk60aukPe4Gc7z+9yz20yxGpfCbWay7vef4qCsfXs18/MzzREbHjB2G5IjwGr9AWe0n
MuAA8Kzk+NhnJ/yYyKwjhouhc4L0RMB6nshMsk54dqTeqIwoZrP3TGSy7Hn1CkIpYHa1YNtwoX2X
5dWLUMLTmDh69sZMvfbx7C4Ko2W8js24IK7vjRdCNm1+upzJaTRvhc0mbe+CevHe1WRnETOitV7N
DLZgp+RwTmC4w7cgm7odzelqWEROrKJoCuzwvujQeW3LWlePRYISlVSDCH1bZHfa1xog8DbKfeVT
X1RTAGWabrKWdxoiFd1ME3DCGGtMskc3dmCKdepLymRURTuORfJdmmraZWiSzCkhcEssMMCdx0wc
TxOys6Vl+m3HIbtdrQNrCoNFNk9kOk9oEi6GMETkprt9/MZ8uLfMHT4NDgYZJDR0eCgsei+fhoIG
Ts1neXvctPqW11n5xRpYH1egQvUlR06gcy3k/pi+cuUb/2YE+D5TqiDUPyT0shsSyC0hoOc2AYh4
CKw4Z6Eogi9xmTlLF7NzQ1JuVIOnzGfEbjg4KrD8fZctSN1TV2phqfdN38cxHkvX2iGcm45hbOB1
aHNrO4rWzBY2VrATETUlghtd+QAoChKwPfOb7EFL0QxnanChE3RwE0MPn/1IvGmiPrAGmy5dHp0d
uyU0VdPJmn59p+a5TkvVAnoKT8dZ9H2qLkwsYNlCCfBsL/Allx/MqoH8h9CxVTs2kF2wasNMkEeq
aic5SrLP7QBEHmVAgKSko2eViCslyeAScgqxejErnD8+w5f9+p82/3xgjo8N3jDUvFQ0B2tdGthD
mWicZ+Y5MmQ+tL/tR/cmIpxyAZqLbD+VsDx9FKEHfq2FzO5yxJQgKfj9B/lp5ZOfg9KJdobNSDs8
OGwJ540SM2i9uW11rJsESeRq81bRsgczHYxkfj97LZd3GD7dwcoXx1XlpEncevAl0gUipJEsFJkQ
HRgkRrf6uMWZZa1o5jgLfQ78HVY6BK6FRd4uSve37v7P05zOsYVqSekLfCRx8HHMDAeYVhSNlxpT
BdU2LY8DHSioPKaWEpYhuyCL1NRWsJLK21ib0emZGrmldf7R1toNGpIZKwy/PVwMfe6fDl1d9W/s
kH6qFvCf0sQFeUXPm2b5wZge28oml1c03jxYmpeC8p7RArXWIHad87GdW+3xtryrtfHbOLvXwXf/
H3cVzRcvyU8nGadF3jYIQm7bl2u4avJDPxZxDUEHj8ZGUcFibeu8VT+OMLQjGsHynIKxbuj86/Nu
xDoC58Ro44jelMlgz2u4xZGIPLznD6kOVfEuFcjPLTVXNqJhNaBSMTk0OZhbenz21qjRje4svfkS
g4j6Gibjhlx4kUMRHtQd8dr6BQL34mGcR+s8UuZxl7N32eHj675ahKafJFHSnWipEXCOoaWfLBXD
1+Py/67x9k9vpSGM+d1Ye9QfnURt2+xPzs4e+uhVS23/88/DDoM99Q+rxh5c+mrYcTKmqsi1HVtK
QCgVftSONvBUdshsFx1aLcJhMvyxCbaPqPL4S2qwx2O199SOMsLvVTXHyRk9XIpX9jjs0/WDVnKM
WVaNnAAtBnj+U6vg9FtHI4RgFcLReYyzYxM6RbjDBKIGKx3VQbOIGx/q1GDTh1kMSjtmkKDVP4su
jNYCCftVNE10rZzCnM60ViXLddDmKsOalykn6Vh+c4J+vEMUBWA8h+W/pOVXP9CQfIug89MKxpdj
vQagJGAPMhnLL/+iVHUttlT5MM5egGzgFpKL+n1ULeVDTC2Pn0OhKAEkrB4rnC5+dmH6kIuhzyCZ
q/4Yigh8+f04edfL8z9hsmZ2/d0LtOzq2z9vX0XS7X/ixyvjHLGXoZHMgS4TLLK855naPaL1yx/r
YPYEbSOKgB+vjHZEJWQLtmLA5SQ7+PmVoW9kEy4J0oQtGgXcu6ZqNmevXxnLAslkMOHDWmVgHQKh
pkgYSghB3AN4o9wzVsKzBOFcedKXtdgmvYbO17LzdcnGbEnqx9fZ0eKTvsEctcT54sNrkhEmDkyr
VYTK+QIL3ric1bIms35ocoJ1y6b+HGA2WrPZckOiEAp7q4Zuk25zpCvf+15ExzM5ceaqAGRvh1m0
6mOWqtM2jE6S2sZ0iH3jq2NUdGFMd2jslcB8ZjuhvkWEBKo9NbD2UAd1aebFwVSHS1JBCAJo/e4N
FtHhDMPDolCV9B+OmSWf9vVLSMsq9gWeYE/pUsLvAHgPvXUlIvDrUT+Uj7Xxu16xf/z6ZDO2f93P
+Hx7d/uyCqLkea6COERl2dBcCMFSbKrzAv2ogvgrebBKo0vSaTlheX637CNaX7xcnDhCZFN1Xonn
5YiK3OTdoiHL+kFE5DuEHOphcwF9kgtXS6NVSuuY7sLrwcKWz7IRimpsbVxlMxGnpJNEv3C64bs2
z4tmuLSQ8S9jffgTK9QxvTlxrMzlGX5ZLJxz/SHF6H+qC32dKrpxarZf3z+D//OH129L7c9Sfb3q
mhZBQte8Hmivym3a9C4SYyZlim3ZRnoeaBzRy9MvDvH2ZMOXA83kDzmq3w8qmkwvB5rsv1KI83/Q
NeCg4R0D7e/qHrmCo7ujMGNYy0n+RWmQkZGVxLmqemXlk+0HptUYb4MxaLe52/XLxow9jF56HV2n
g5wuaeNqZoALDSZhHBNjXg3GjTo48Rp4511ArsymTptzdSB4jxgEz7GLz5qvE4keDxfFMC8Jgp+W
7x+M/xPKCVOKGX8338kRiX6tDf/3/0ofsunlmNz/7I/CgtwB2pZSAK9aNmzMF2NSO9rjwcEI7kcr
6QJ/FRY2khQmTfeH7OTVmGQk0sil5tDQs3Gu844xqfOLDmtxtgHo4fiVvByHtbjfBvXoJIPmabMJ
XDye6Ga26Cv6+Auz4EYE2qZq7Qc39i+tKEuJg4mUVV2PO7uj/dlq0aX/wakdd21M7s0QazYOT/0Y
1o3KuUJ7RXQRAv6sOHVTc2ErZFBBQM4JqPWJgpqJ76hV2DP2aEs781ivcD59nQQq6VrYO6s3s38P
37aePj0cnj7IbcevR++aM9Q/wz82XXSbv1q25Y89DVwT+SWrNtJGAwEEs+nzJpL8c/qnbCBpGyBy
etm7MI9sWlBAvQnmk4NTKj2eVm16IRTQ2E50VZpO0G68Z+Bqe0j4i1bhXgVkSg2drIeZ1A9qvKpV
taTKB5SFAd31406hAY6BBU3m0m2SHpS+VgtOOVNzBD8SVcNXvQb1tBngAXqO3+PcLcZpiLwWGppY
loXIxkWgB8EGJ4ZqrHXdTtYQPdps1ZrzsIXSgFkES6PjSv28MizLLgC+P6lhsmjrMPhYN0oRrZn6
g2oRlC1oPZ+wTrHQ1XlWvW6aleNiqJvvLs76q77EbbqI/bI1t7PtGzDC66yoVoTm+UQR4hwvNzVo
qARBfuiPnzt2kbuhoaSHeejWX1tgBhibY8e6qIpRv6AZ02eEphfxfaJM1SdAqclXVw2wnkLaqW4C
DZz0osHJoJzZbFC3g9CrehEj+njItEJoHOEW9p9Q88MbYDnOJygKGVvywp61D4aPyn4Z0fv3l0Vj
Gl/AvfTJ0kiUGBYRHr97VSN66wpZiOVcNSk8GM9XDOQaRDHql32ejeYysG2lhRVjImn1M1rvy9Ya
sQF0k2LVCzQ+VnQusiBI4D9ghkZ0qnc8xbAf4WDFnVKdJk2Ykc1WJ3O96fKa7E03DKqdoTnVPRs0
Qa4SAafVurYnhyC7WKYNJJxOAXpD1XoG2aMuFjBPmm5HuTbCNSjTOduRdEQoIoxUTpHazCJf2nch
fOdl3/A4NSsrvSrLiZCbw7y9D91Rqz90SaCQW5Xp9c0kFOc213AAWWEOM4EW3nRlxEpwnYqBiJAE
oVy10tiZESXaVsTc6pmLBn+JixDTYymEdmrYlfGAxTTPPiZVY6jrMFLw8CzAWsRf2kZvDK8dcyBD
Sgb0ADMn93aRW1Fyqoac1SwiDhFQyKRlZ32y7RLvrVAsccxZWqB6+WiPeERDC9h5aldBeFmDy4x7
4CzTMC6qkvJn2ZtdeVPnAgt7UAfjnVaEIMImFLuN50dTfZNhE/XGqsaNVWeWc1GEQIvWek+c84Xa
lgSwdG4xKMcG27zvUIHcaIf6IAxvmcBauvUqsRwnWSNqDsUmtfU94nZwUMxpbvnrPMsU7LpNX0Ij
mMccp2Obxh3qorB14UDmWEUrmDE4TeKAxJc5KKIbAUvyocptO1kCACvVBS4EvKS1rg8Zz0ovtqMZ
oOCZa2PEYF6VjKaE8e5FtjG3XgnJxVmViKt1L4oHcFRK7xrfITaURJ7FrYJWIna05oPVh4RLqk1F
E9/Q68+EBRiKtA9pWJIU2HJLIBFGddqFRTuucKv6qqeQ6cXZWKF1u6EeCwzdmRWsVa0U0XZUcmKs
Y7MEF5aK/mIuKv+mDIMaVFHaOmeZaPyas361vUzJ6c48V9OTyyBwk2TRa6N9HWTC/VSCNDkXYNJP
wa/rS7KYu8Lj4yATIJ2CcOc6ywYL2ElXdLy0lfWNGTK6dgmOvfVNDHHHjtsRiMFMTaNMHzncW/pA
CT8OjtKTRTdIiw7AiuF84sxMX5DJ4BtLLMVJvhA1iOQlcDbXZ4gOMjFZSzoW9zi3twGe9WkRTkoj
/TdkC3uwK4h25TCkTVd11NtPgol/b8CfPKjH9//5Hzbd+d+s6LdpImWWf6e2lD/5Y1HHHaGiG2Bh
RgbIwv28qKMqkKpeesYI7VyXRtNf1Sh49yOKRIe+MNEEezXCX6u6YqKe5ogMpwW/EjGO9q5G196A
9LyqK7JRIDNbDhtcddSlfp8lKdnrJCyEc7UoYYzAjI50GkS1/k00ifLF1tPxJkqYJAo85OuMs1wo
+CPmrXSCBYphfdULXyWKu38LKn2QEvLXJ5N38+WuLVTIc2ocI9mmepidaMZUfkjGmthRRNunmBT8
pahdEmUDWyzUfko/A+/40itIRjURkDc8+Wa/NOY08IRItTVhtRXkrUbd2IUzkj+r6Z9ePPm/OzN+
LdV+/qSy0fFifymKzmK2TJJt56vOUq87oNdKmS0KOwn/FCnRwpYxFsQKhuSOmT4xkW3VFO8zfT1f
/eAYUncaEDwhABpRaeSw2+XgKXCTVk7F6lKHbbaFap8uw2EovVId+hN4qW8xpF+3cp6vfdB0L3KQ
ArRgQbIAJ8kXpdVHF0FQ4PMFZrQ0B1d8iogEchetDabj97f79Q7q+Zryz1/c7d6lZlJULd6WSZcB
N+isBZ3G9LTwxf3vr3DQoXq+BG/ry0vQQ1AyQYDWliT78GQuMSyPSV5cZnAEtvG855Yn/dINJrG0
SQzYQtZt104wnyWpjK5QRs+FCn/qJs1dXlkGcGKtA9yk+m889AN98fMnPGhpAOop8sYivVojVnkJ
nyJeWU7RrFME2lvMxPluQFOzC1w3W9q+FV5iL4hXAIXcFWiigJcXaA0mH3ujJ2O4E4OqnZVzNyI9
K6djATWMKGG7WWQjoc+/v6u/em4H+4asGaI2dcx8O/u0VGLXrDzoQMRnl/bn319hL874m8nMPugo
dmESpEY8FNu0F+kutHWAXrmjbM20HE96CilsB1GxURq38ACf1MeoArJdn6n9Qoz4xmH0TauwDs2P
RcLarIRw1dqcDNagDLutzSZ92WtqTqZoUG0QLSmrcSz6jRmqIaEUHQ4skqkrQ8ON7Pvaum/n/MTo
u+p4LCkES5OvXDfqeGIERgVRoyi9LqCRxgnJqRZ0znoIav3j7+/Fr+724VnfZM4xmspim/uYfYuS
JAfyiKDQldOT3fKX4swDu+lfg9A6mKGrWkbpTCO3246bdZRW+MuZq5dt3p2VQXY9+PVXow1zb9Dp
MziZPr3xoA8O/Z6vfDDjkgTR2UZtFNsksroRWRTogr0bjp1Q2D/A+Ldz9i4w1GjOTYmx7ErV3TRu
yw6xsgh3286t2hZvzEi//DgHU3A5OmUxFyY3u8z0D8Oc9ClkhSjbEjxm48wxdrkTkOdt6uCtu2JA
fJwky7Spxm0PZfGtjyGH+d8M/0PPRJ9jjsqEWmwDN4i2uRYHWB6nGoam/6XSB6ptuSGaBOz7cKic
1Vy7zsZx5u6x2fPLAfH6FOj5qRzMzDR0DYVtbrp1hh45LNszLyjS6iQXTkqhagWr/6uxfQj+9yeH
N4vghG1Pc3bTTJbFYu9WnlCry99fQT64v7uTB9NrDbhn9ks32SYtlB8fohnp8gqIUlPtjis9Vlex
NqnXv7/YXlv6t5c7nBrHuMvRrudb9HPTvW0aebAge3faWeasuOvGHDl9TxorxSFZp+kJSBon9trO
H7tFabhpu3TY0q+gedfWsdIkp7E1cHeAtln/h73zWo4b2bLoDw0m4M3jAChHT5GizAtCoiSYhAcS
7utngd1zm6pmseJ2xDxMxLy2WkIBSKQ5Z++9gnxwxfWUt7bgbDWrz5beR9+aIgJopULD+yLmTn5J
1CEOi6Svtpa0VeIZ2gSDCrCYjDCD3imhAJSJJ3Z2lDp3qitx5xN/rTUBfZ1BBaytX3dymG+MKNfl
ZkEGfoD1uAb4EBOwbPIiclw8pqLGgckWbWeXOpWZ1DDknaLXlENGp3QgwK9eXWNMssvUk9QpJrso
Lb/sdOXTbLaCAo5C3GTvOVVBTsgUf7HYV1ymMpuA2dHc31h4eIwgAzrp+TXnRM+X2ZiRrpQ4SP4x
2MRbY6rifqcnlf1oyIy4bvQLyy+FsNxnkhK9jR6B0t43c2ncNy7HXb/2FPOqzWzvcYYiieSSQLWa
i85lFMZDoaN6r2T7mSMZwclewu35XeMt7aZwjda6mpc4MBRSVTtO9ntp5Be5uig5SQipRk3Fbpwh
0HSZwVYwpkcjLcSt4Dh+aBDw76xYp3TTgwaCTTsYNdLJnJRBDtzmmO5JHiaBrtS9duRBD9YOaon2
GTAHuQioF10RjJotbu2MvOOLpLe6n5Vt5b/GDFhq2zg1LLO6KzdsEqoN7dyhC5S0JQypIbl7IF9e
FpB/KFM/Fu7CW9bEmH8oi7IsyIfW3cqnMG1/VuDbCSoIphh9AlpE7TuDVnwGxUG467ykprYxa4EQ
NtFjpdh7U2J8zmZ72BuuIA64zLJvmrDt58JUso5s6GouPza9aj971rAoW7yRUx9mHL/jezs1yibQ
aqVKKEe4bDh1oVcfzKIonmAjlXEA7VHQlm+IvYJw06vbKMdBcWhI4zwIBQvFNh3bhVpfZxPFOVXp
FVHTHiwMcqlbP61TfGO2O/JkpkSV92ZPnhlBNmozBi5BIg/SVPQ4THs0QL42l2Rm1pYdFl6CNLf1
vEvC26ivG0u00aht9b7bFhzRM05PPlFkyxdvJhAtILgRipVO6MpDU1tl6VvmrGRbVdbEsrtmsjOn
UTaBmXj9fawxrgMZuQz2vI9/kSFaQxK0xrWwp2XWhrDtmBK/XJq94mnFlgzOOrsdiaJ/6JNJfm5V
SOQbBRIOha9kjkOLgN5uS35Edg+KPUXtCeH8e8W31kAKbZ2HSNblL8Xo7GfEO1ofJvNg/WxmgzQO
rZEtJatGDgQ5d1jSKWF73/uhI7TGIiftZxWb2ce06tCixdQEJQLOaTJ9zTBnzSearPzWqLG8kUgr
P82TlFtdaeWj3aZ153dRbBzgwEUktyB0Bd2e6DewPTbxVFN1g+ie/ppiq95kBVkobmLBEMrn6bHX
CopgU1Y03xyGk/BRDRMPr1dFthVjgr0mr1zjC5rhKdmUcXUx4jU7NH3UUgklq7Teu1Ne+Wo8wy3p
YQ8SeS41kgC8tu73c5fNy0YHTnEVdSjefSaF4kPU5BOzZl9/ofc5FxdqHanXKZyhQyOT3vGN2qme
zA5yOtW52b3SmkX0G9E2W1y0IyW7OEpvCJZUkO5bzd5qxsn2R4RXEtE30WhrWnkIlDpnoujndD/M
JmLpdvK8n1alptGmyEf1uYDIV/scKC1xKL1Jfm/YspZbt2by9GtHI4/GpjJ1PXsVMPrcbm1SPvs1
cbt0kl1Ux26PqKs2v6heX3wDMcFsm3c6iFavaFK060IwnpGXRxFzOHNmkDbemhaQJNaVN5l8h+8v
gSd2q9bRbrUZDUkZtGUD1c9A0EojPuSRDdN4MaLw/UusZ7c3lvRj89IEQqRoiqraUyRraUbMxj4m
DHf//r++Cife/OePdqTpAg9icfRyPxVVvtFKwsMBC5u+tGKStGF6P+RWPm4XuPU+52ITMLQBCahl
7wJQIdkSShiFriVp35kVGTasgltzycAPDI62A6RbhJjK0j1wwsznFbLKjmK5aEy3u1HbzPyHe8i1
j/T66Euy+xCl/ZLvMzlmVzQNULpn9CXhXw/bdJm1DfHq69fmdYeGfdIOn8ZEYt7wp9j55CZyPTy8
9Z6OSgoOsdFAtpt0b82ZepsNZnQ9jXX2WWmUxZ/HogtTmkV78jkSMF3xvD3zAk9s+cyjzevszPmQ
SDPdR4jhfyA66a1tWra+luAEuJLwxslfiiUZ0WRmjx97sLjfQFWSjVTLeVB3di0Io128jiRsZ5mK
zaSNKY0Rc6Bd4kRD88TRlP4AKoUBak2Xx4/kW8acPEFGeBs7Gewv6CuHyxyCMWuwaURMIGY5nHmz
p57rUU2jNOusYnJN9omEFEt7Z61k1Hm/IXC3syCsRBYHKb2OTb9Uo/JH0mWE777/cE99HEfbadJ+
y97GNrD3SrtAvjyR0KxgMQAP8Kcm7OSwOXX2ODr6t1PqtI3bZezc9ADSarErSo2NrJL+mIzZOfMQ
T9zIMQsQcEWqxE0t9ulgmFcxXT2q/Wy/R5tN5vvP6siB8q9T1CpQf/0FluViK4Ca871hLcm2HRMz
wCNKYXauNAdZH+v4ZGXzXVl6LWOv8g6jC7IOxUD088xPWN/LG9+gdTSZwZTqPXSHOV9ZD+UowqOu
e2Vyp4k+vW9i0rYkFcePpVZKzt6GdU2crnW/4E0K5o45tY7yYvf+bznxWVpH81HZxikDsxd7hW0z
MagqfSrVGsnHAZuhgZ/bQKca/lnR5KX1/aq0SLnGwQMTV3vpGiPt3tgNKqNSNkYbVR/ev58TI2g1
Lbx+uz0wSGdqjbUKlunbJhYlmx0xhGLU1DOD9MRKZx196fXsLQM2noqy16Rjhie1thO99m9JPf8a
nkffshuNyVI4drlvGqsNECM8Vm3hXcIJnv1xjsczn8GJ6crSf39O5TBCEcPtu0+metmovTre5LFy
HdfzclUoFtWemc/blihV7CE6F0304kd7a+QfTSPlBHg86cpqX0Rq8yRc8NkBvFVOJkpuLp9TgrGI
y1OzmEPvGKeD3+J+Iq5agEcIIJuIqz5vAUJFpDf9orFfPVVICly/s4dW2WXVIBDcvByolZm5eClz
ZnwDlMRurovxrgYO9NmBYUSkPj3hg07uBW1gEpwjeH1sN3eqgF1JNm/jcYJw5/ZeE3VNZ9dsewtn
ZDfcA3gRT+Vc0BYxy6Y6B64/Ve0zj96ILGEgEGwe7ylGGFsSjsV9LhyF8ji1UaHZHbHwRnJQzPqX
lGYb2lNWPrz/0Rx56/816Myj10IpxIVb0Cu7NE3Kiw7CYqCSiv1lJmzwumaYbCyCv5ZAYffAvhYc
EcUgXOI+KgLru9rTN/J7ykNxaIypd1POoAGxd89yn1pjsVUouOyNItUwl7Jr+y5Ut/hspkm986SK
2oMkZBpKDYfBNkzNeaKnOtbzbdPbXv/P5rljOqOHtxETqcj2wBBiPxdLva27frkychcJbCqyz02S
x2e+4XUef2OUH5sbbW006sqt073Ql5+G0d+jk+k4HWY3uTJouw7O51czRln+/us7taS92Ixfzauq
DQCjcmlRlTK50sAB3hOyjvRnVTo4elpvZZd429wT3xBYKp8RgaikmvXT3fvXPzHnHptPBYH7wIwy
sTc7xoia20WoySVFRZKnZxoypy5xtGttabkQVlome1px8gBcSQ16dEaXXGs5s4k6sRK+KApfPcSF
pP+ilkq8742CQNQRQjNTsLiqW60+TM0gOV+byvM/e2RHa0iJxozCiBvvOZp3MDBU++ARNx+MZLFs
3r/EiR3bqjN/vRImTjktKBbEvqCed6ctteK7pYGkqxfLLuoJk3//Oi/o+rdG+9HE5fWNNSktE5cW
2eVlVs9G0NlVFGroULYlQJ5r6XbiolPlrca8eufYRbFxtKp+kqWufYO7m7NJ134CteI0XmnYneBK
xGNW7gffVqJ6n0NP8JNYfFrSFARZn8drDaIMRkUh7lXGYguSYQf7l4IfsVmkzqoOZaVB3GJbfc6Y
3CggpD2HO8Xbkw1B6rqTND58gCGE4Fbcg+OGxyNadjugty6F7NpgJSOFix19BZPTbMHy9WcG2snP
9Wi27XM0eRjWOGS5NdWUrKwyf17To+28skMkaO4uaXV13yoj2N8mV77EXSNhJeXqmeP0qbF+VA+o
BrvwFkOL9x3WtK+6s5QPC/irQJeqFgyKoOrRVubw8/0R8iIEf2OE6EdbbqcZlIqYw3if94567dhk
mhhRueyx5rQHst6TXW+D10mMTg8huRYkKFNyLXTEjlEKfofu/kcvUbygK0QbSIu8J3OcEC3CIPhq
02pZW4RZaOm5HlLlQJ80V+c80yce1TEY3Ru8TnFSGe+daeo2hl4SJTmU881SWJ96CF/3RC+lZ17L
qZFxbHnGei+yom7ivV5Q6jCNudupeT9/d4Z5uEyHdLgYbNFdJnmSPIzIj1GDZV3YpOm5u13nn7fe
1NE8mwkvBbfWc7erTGxOkW4Vaaye2XSe2uO8VHdezbFN15IrEbMZiGGq+ouupftqGduNAxEn8KbJ
uayVSUdqtmSH1mocf01WO+P4P7GEvCSivbq2qi1pjatM2alWjqRBTmWoioxsj1Jvz9zfiSn3b0aI
JgU1MyvJ3pln/bMR6dM1krfnDrP8EFCaOlfOO3I6/2u/hjbpt7ndnUvkRLaT7IWD+KPxpvneGJfi
cmz7PtSrSN+5Vq6SD4hKcsmm9L7UpQJiNGVHDZKWLhGtE0SzyrwZYse4mC29DDvHjv7hsz6a4RAb
G/3sslznbZndRzrVdm3RczpSlvb0/qRy6nUeTWEpnj9ZA7ja94lYkbMYTRLVtW5NSWTr+5c4sY17
UU69GjHdmKtwSFIu0WXdhTNq6HBW9qtuFd7OBEkWCNLYNrTk6jNXPHFTL4KZV1dEBNss8GPTPa8P
CCAm9guGbBeYSFzP7KROiW9extSrayAPjgeTNIW95SjJIxXuYjd4rX6Xt20dEINlhCAChgeu2xxo
sid7fUqawIrdBf1xSTKOqYmN5UxmsHhTHpqlLQNqNIS0tNO50+mJD+k4zlvCMx3pvaWcTslX8UZL
BHPmzNvKpokGjaY5cyo4dZ31Pbx6FpHdKLoTM3+3RPnSTC/my6XyUClTrQySYs7PLPmn3uvRdg8Q
IxqxxkopjsvlkMNj8ZWIYP92zP90gpws0J2YubWj7V5Fs7XXFsQJwzBGGyx/5nXflPPm/U/h1A0c
TTiaDW6YUV/uWxsuwuoG20Q6K4QLWOwfXuJozhBN1RsSruk+K2NadgQC3cBIvUXGO55ZXk/dxNGU
EXsz6N455yYSz72tRYXEDBjZ3TAU597CiQH1wql4NaCUJF08z/SKfdxE/VMUEXBWT4LsS7WrfaSg
/eH993FiV3IcHslPh0MgjAyQiP5gd/VNnHU2+E0lD4ca9hhJomfWtBMPbY1zeP2JLDYLy4g4em+W
tFt0wnj8zGkA/qqJd+YSp/Q9xxm4fayX0MaGbJ9l6PhG0KQX6pQCvR1KfTeOHRr5tSOmU73ZpELr
cVeZ+kVbuM4md9yz+/JTL299BK9enpvArYKwLvYgGerJH8EvdwFRD9rXCCg0saJz1h4GPZLgXFr5
regq7aslu7oKBmkaz/2sjBeesAClCM4cSONyjhFurFGfev+tH+WG/WvdV4/mkUpJLY73aHYN2ZBu
tagPsymRRmQAHlvRbvqJajbSQ0S9duUGnTF74JxUufViiSE+t6wQ6dZ8k+a8xjGH5JQhHfskY83d
9ZaOO76Ipo0phgXI2hhvsjirfCmSy3bsoKsXYAs7bBrSjH2VZuzVMMf2Jztxh10RG2Ir4/aSN9js
hl7xQjON9ZuJ/B6tPTdHnFiRCa387Q3Bdsj0mmTZPfIK/UAuGucUL0N3q7YcFhf9F/5lzu5t652Z
uN++4IuH9vWQyKLMBo1sw4B21c7XUu3ZHPPu1ispHhZxZFLL4TcMQnpnlue3PzeyEX6/w1YhFD9Z
L6hbSn0vkBX9Ylq3D06ePr8/iE5swjXv6CGOsKcB0VvezhnYBJaGoYZkaoqtnWrd9952KGf3Qx7W
RQcSDPFC2OfV9P3Mxd9epv6WYKCiObEVNq27QYO3huOUrIRkDdwcCXSL1SHUByvdKDGIZd1Q8kPe
jOrl2IwYWkxRhkaXK1uhDt/e/zmnXu/RmjMtel0ALLF36lhBoosHe9suZXfjpUm1QwYB/FwFDxCX
mn3mim/PMVidfn+/9CKhpusCXaCSCWiekwyNYoov0szWD5R/p382jtyjI7dWYYPT9dHZWb1ZbpJc
z6/BNQxhrafi/v2HZ6rr6v/GafHlv7+aMFExJ8Kdkmw/Lp6KGUBW7mXaFGoFek4QFTOpcnUd5rYX
1NDmr7W0gmyTKLQWiL9J05DSCmo4F7VKS4AFmce+M9XsNsdsKf3WMrwL+v5DwLewJVFjDSsomXcC
Jc7Hr0U+Gw5OJCXa9TB9DzCadERHtH9+JENE/kfCjvbOapThlmK68ZAb2nQnG9v6AYQ40cJOHXLC
/7rUvgaqXpNh05N6RxyCHt0WnmLBhFe88UOMqmMIY5B1cqvEzwg0ygq3UKTflL2WIjsrBO1PHbsd
xuY6C4khbWLfgpwIqktloKcoFyaIkiJO/Nl18r1cJgQJCkmmOXReTTibqMO257uKW/y0KXKGkwOL
OEwno/vSEk/yze1dRMZK03q0QvEDzvy0JfrGC52esHd+6O1kvNCU0d0O0fAR3RNUa7OsfpptIusA
7p9CT7Nz9KtqLFXVh/ljDn7kdSiBuL30h8xz7Yqw1cgKbENiYUae127tpkq+6U7boaiIMlSsFkbp
ZGOUpvbZ6hv9Ik/KZkP4Y9fsVBKpc38NKQRVOY6tFrh11OwNhbtJR1mBTmJXl9wVLJRaUEYyMwK6
dNPPSq374QOi4uZD5mQDIh3XyyP0ilZkHfqoGa/49iIMW/VcKPQF4na8Ic4i/1HWrfU5n6nK+Iot
yBxwFjN7crMUgNKoJ+LTmCaWs5KkpiiUy+h+7HGxZcGwxPX3TM5M24vIlwr17jwctCkzJImHPR0K
WFj6FkWgZBgvuo0qAtEPifqWMn6eNa3iY9UG92MNkf6XgtIy3eGOLEToFF20h3OSWUHXlqiAzBnV
FzE0Roa6yrVI1rbjXprEGM5kbxhtiWRSpk225YRuLSjm4YHsxEickmEMhr6ps5jcYQs+/PVop4tG
5WJU78c4gYRe2XgPgWInH2ND439wtRK7kFpPqnEYlkXVfDGDHtlUWDK9A8mP5fe0N23ImrL3vo6O
t41c2mwBNsH5zvWA5/oi95zdQNqEEcSpOQYsfcOClzLvrsa8nsWWKm/zZR7S+FunLulWGfJsreom
WaDbnepdDHTvq6BxHX76yEx3MRItOQQGlb97fKG1u+e4Q6PdZZXL4a3VvFB2M+Z3L0vkRwUk6uTz
JTgXmU4cJfSqkjWXBOjs1q4s+TmSzXCJwqFlpnZbKwtoXnsPcQqLGv058guUNF6bfaDzUu3KTLGe
4YLVIWNBKeDIFhAUetGkH2UZOUSpWoJNbFZMPBKv6+JN2pcVroGGxuS29+olZhcT1dfxOKViy1LU
3cdWqc6BSx3QChZBXrLfuq2U0G9GWoRVslhIt+QoHlfyKNbDTi8+YhFQTH8SifsdogyVF2GbzYJ1
Z5UD4ji2bsGkYWqpxGDnYeb00Q5tbptsFC+ylm1Dcf0mLyYx+BOzRoqFeNGYXupBwW2Vd6hXZT4r
G3JHa9IkDVw0m2px+62pRvUjFjLsD4PqXAljFO428Yr+xzCQzueT879s59RT6SprIz1X0+zIJjX1
3PWBmAtmw4G+kdGP14MJms7n33MDfYrifQsgTL+QcqnNDbeOSrlO2vyH5w2jDItRk9uOIvwXz2xV
pivRzzyhZhjcg2Eix/SLDkKjz/AdLqdFxK6PFtC6VVX4xL7X9uOhMKYs9V0vte756hsUy4nXZEHB
SJ5BBrtjUC2lbEHKdMl3yxqu3aJ5AiKatqHmut7lpCvxz4K/z0hAO0hIbpnemoVjPEdJjHVoyOoa
g7itW4cYu4mzNRImp423pAg+StVy7uupE+m2UtcuwJQ7pm83bDD9pJZDxNa/p4/WlYCIPS9jnzIX
mkYyVOOon6Gh6/m+L6LbJjWc28IYtMe0QtywiJWz1ui1zVAEM40siWJohNSzNK9ymvsM9HqM7iY1
t2Bt97X2xak8WW2sDmUj0s3mtov0/npK54/oo1eVlpeVj4pYyFunhdH9yAFAz0GHjrTCAyGKr7mX
8+OqVMxakEVme0HFvVgCjSEbwlhRRn9KXVUJ9V7IDwhgxw9J5k1f48rs5p3bG4q+sYXV9kHepFCf
syH3Zp9lXKUbXsXqvuQR+IOXl9+x2A6PS1UWN7WR9/is1Xip/bIcAXsDw1VAGjJw9kB/ZxjHohrj
QHWmBMZdKlNjV2PQfE74dr+wGWh1v6CzTVo7yXirTztul7UzLMpA9SKvR9/lRAdTlhS/EZDIK2Q0
hNmOnYFznoBm9LFX6dDWpT9ZevfhP7yBgcFOwd0NZVZ8Qh7IT0uUsv70/iboxH59jUF5fUBY8ois
+Npxdwv0vuves2/zaUY1HC3nBEunrnB0AO8ygG8KDaOd7Sof+8ww7rJcK9EFzeqZYsKJPekakPj6
HsgAyOmTmRT900bfgF4sLuGKa1ucoNVOk+505vj6dtECxfvv14law+xq8Mi7WCSfObge4Gcj3y6S
H8BC54Owe+eM0OhFTvn3nSkW398vZbc5sO8kS/aRxKXZVDkIE68dbukuEaDfd/besCWC3y4rr/Gd
gQRpY22jJ8kUGnwgT17u/SrGlnk57cXVQA71U1aMBr4eYwx1dnwb0pWtwKyUOYwlURrIzO2Nnqf2
ndFP9TZ16K/a1KIRAZbOYVSyNuhnE/Ayncdto804Ajw9v40XLd0ZTi2uIwLBgk7O49Wg1NMmcdTi
UOSClnBOngbTxLIpx6zYCNT/oSNRn7DDhtyydH9GIZ2sIJ7oPmnu0cGwifMMVWKu7Bq77A4aa+mm
mvIkxLjYhWZkZkRpzJhrhVAuOmBuHxKCjsPcTZIzA+TtoU6M5u9vTQpN8SYY23sLDwJQTVgjljH3
W/a557r8Ly2Sv48MXT06gEn8rYmRLGJPnIIXcn/ztgbEGniGEz9HLerfKltGrKXNsqnKKP4ibfTM
2QSDXdeX+SKHX+dHbhvvlpFUhALoynUEp2vLeQRLYuzdVWae34u+em4tL92+P82c6PhgZP/90SRV
FJcyp92xREu/GREFBsUAAuoPF/LSO3etYT9PbmNc5bNp7b2UzoROvCLneNe7MzRvukGAyyiMTO/B
TCzLhxejXb7/807MIN7RLOjG02IuHg81cmvn3rMlWgNKhYHuLdi7WpDs71/nxAziHc2FIlYLEdu6
s0u8+Q4iQLUTXgeIlHh6ELaC+Aw8E+9f6tQtHU2KhQvls630aKe203A1ozoL2BqOWyz+2O6wkpx5
dC9Z/38fkJq7Hq5fHaKFHjfEXBfRboBFa4SutuS3dMON1m8xZe0czW70kIQJT0O03HXfBn0oEH/Z
cudW9cDJYBZaOGaWdeNl9GHO3P6JOs0aDvr6V8Gr73pTGZN9mzfarkwpRiEJ18OXh/v/ARevAi7W
utvpgIv/Kn626TM4sYdvRUUN6ScY0X5egzHWv/dnvIVmQ94zYX4RmePBzngVtqY5ZFiQyEDGmU1C
lbvW1P9McVU0/sgkUxVYLTjRNeL1r3gLzfxPi3h2EvtAbRAuCMP234hb+/0jIaySUMI1ANPiSpQ5
jhVgbe81g2kNzgO2Qz2MZ42cm3HGkJNTJ42yvjuzU3kRL/31sXCfpNliAgOFZgBYI6zr9+GpKwbh
Lks1PKJOxsKSDkAc6Aok7gUOAUkwi6nDOxDQuhH67yvPjPGxKkMZamacXGTRQBycTK3MN9zBPBip
Mf8sa/kF41M8+uT3mx9ac86/0g0VuzjSlFslcwaEyl2RHuZsyL5NJpNRoFUwvxO7HwMA7iXBzslW
i54ctkwOG/yFc/DUFF9ejY+7P27yNTrh98Xxj1vH6gs6jCItYTlHXyaBVEU0F0P/KAgrDYCuJURw
GZ+XFhPt+1f6fZZdr+TAIbIcMkkdvMXHXhWvV/PW6O3isQSiTs+AkFCnoXIWOT3LpBnX1aUcY337
/lWP6tJ/XNYiVxUS7hrhfhxMYiRJRQ18Kh7bxiBsJJVOmPdeGyKHWT2zugireBSB3SdXYD2eZ7ub
Ht//CUebgz9+AlG7RLDZABL45n4fXmDg5tbUi+LRaEr9Jm7adDe5BDa1VnFTEea9pdsxbmrFjbeJ
utyrSScP3shAVIUQG9FBTuiFMu7svBVfhImhZzad9DBUHMP04ZfZFrDVlra9zttZP7M2Ho8PMkJd
xgYwC4fAGz7K3397vEjDoL2vPGTqJ1uPg0q50MW5oXH8wa8XecF2grMggOT4gx8QpBGCIpQH1HM7
O/3ZF6S69R7pT08vr+J/Y4Wof5YPffvzZw/m9f8A23UFL59eF/yfbXGMkP5rQbBJKjQdkGuE7rG5
oVTxVyKs+Z+Ywk2XNYMJAg88f/TngmCssd5EwTsWHCWIOuta8WeIIX+krwlFHLXpubCY/FtpR/bR
zEFIPCH8RI5zhoADYb18X6/2NI0sFLsm3mhLhP2BtipnfOmPEUq+MvH1MZysDyTMh4OYb2IXherQ
7/hRPqkDWMm168wRu7Vs1sxPA0GBJJQF5UTTldNQ0Xf7qHNDV1lhDRTQjR9m/9UD0Do1cu8m8SfO
4x+lLLdRY29jehNaqwYEZTtZtcXqEPbYbKlJ+HGGYrRPPsUmAES7DQkrQ4pJ/D6OXcU22PEbV+KQ
EfeCq7PwXXsMvBQ0Dt53WlNl9mio1meSgT4sSbIbCQ8VXn9pW+S9GITtiRByr6+N50A/R9/d3x7s
0boH5g/pZtS1276pLqjJ+qN9Z8psMzT/LhLu+BWuG8NXr7DGhYU1hFfo6WQIfBnOHRXMv98KxTig
t8Aa1iT54yN64ygED2RjS67PdapS33MfFoFPM8JT6wsEwHoFqnr03Ubc1MmlURVbgSI3y257xIIt
Z24D9WybJxedYhF78Eka4I+0p4mBw3HJ73rOBPz9rK+C9d/qm/nKs9bKY+w7xr0yo4GvsiCDGhdx
HKcktkHmtfa2N3QmfJRe+xLnvUGVq7IuGuxQr77nN9bxow0/yZ6UNFcMEt8Ih0tdXx/QqyesrpWs
eiSYvrXRM1csMc/4XgJPfpLgSQU5OFiSTYdYQhoiJQ+Fo+eW0/Hm/d/x5nt49TOOzlSFShA5vqJ2
mxF6B7/Inw3M986wLrXb9y91tDT97Y6PjolVbQ4EW05MC8YS6hiyInZgg3rujtaZ9FU/8n+eLDwQ
8lrh6R6f8b2kxXgpeLIdTLPaOmRq5OcjmitWKSX51HpXNhTb3rxoVflhUW6qath0yyfdS4PF5FnX
ql9Fmyj6HkHoeP8RrOf0VxvXPx/BXz/taHU2MckPXSbbLWnfQQKWEGKlL0C2lk28YVXdDbayUYb4
w/uXffsl/3XZow2Np0xzRKO73TZ0Gayq8isdTmc9gIHrzozrdWJ47w6PpqiSvm6N2qTdzlPp0wjz
4+Lr+zdz7gpHU1MiW5XsAK4wzl9b57GTZ47ibz8sHBiApyCTHdsUiW4gbNdhkpXabT8/S4fRQQaE
Fz2/fx9vfg5rWqFnkfVPmuvvE0Dq9N5UdFynyRPfG3a1fFKXh/evQZLhW+8DQR4AAI1O+rHes7Ni
guALRlzRCma4cUtPxU9S96AvKrU8laJeROjC4sti3Kb2ZWep/hLTgXGMpykumEOdX7qV3tLGpXNH
W1Mq08ehlx35JO2qiVmbNekYiGjARGpdFdPHjJAQ+MHbRCPBNEluaZ6FhRSbvLZ2av0j7setCqNc
estN7zyrzQ+FdqNw6gulVi+05IbsIZA3bPY5WJmQNZaNYvzozI8agvf2QNAKJn4RNot3GDh/rejQ
vOGrwSBQpeU2XiJi60gvWepDRB8xUR2SXtGnLk+Nol0YyIdyVe77cVfX6oYsjRu9/KnS1K2+p63z
yzKHJ3KBHtxo+tA7u16/GdPpXubOr0x6YUI+8oB8IcrUB2QGhGAllxDYt13iIB3lkEIxFMapT7b9
hlpYaI93LXYVZfzaCstXTGNnjdauqhe/Jv1FxDc6kXEMkbuiFzei069E8wNhn7/snfu+eV6tOqyN
6y0QHrGNNLrRygdZfSvt53j5Ks1PrfBYnL7Rm7+LJjrMswzNycPvSkOZINZqzDa9523myd6OXXa9
TO4lBvXdmHwcm2bbiOpiFRsVxAch0laX7DqbKXL11dU6XHB3NymZJ2q2wyP5gdcTuqyZkpWieBHM
kr+T6D9cOZG7ET2ME7mrqUquXayJK/Qn11iAbBiE440xjA91M+6l0+2m5iFKSPCaLwu9AxqQbiTo
OSjYlwU9QFMR7Lb2amER2MHykPK2p9Z3KiswdItGbouuRGFsfFeKLJwT5nGF3IwfE/8TYGyyN+bQ
/Y5GYGPH4yb1tEPTmwcnvqSe7FtOciARx0CmAF5gyzMHuhsO/bWp/rEjyO0gU8iigxLciho4It2u
2tgUVRH2g/dYDLedRQeACN25C5Eob3r5Xf9v9r5ruZEj2/ZXJs7TvQ+YKF+FE3FOxM3McnAECBI0
Lwja8t7X19+VaM2Iqu5hjUbSSIrpQJNsEqay0my79tq+WYYlWUo7YEQ6YS8oPhkLwBcr/zpLWjBu
K6wHR/FCbu+R0of2U0jW45RFCcsaj5ReakmgLQawEPJY2oLkCFVAwCBk8Q6x06dICB8DZbxKtWyH
conrqjM2CUxZQXkRz95KRyxXhxFaNy8NeHOStDwhXQ0v/bYtYLv4OfWy53p461B/IOSA6fTAz4G/
TavBL1pWiNkAICSMaGsM3t59E5SkCl/Fs0LkGvpQFM0Aw9cBR689W+kAB2tzW9RgSS+DXb9AlXiE
jONAtXFgobgwY3/c5DHi61K9ToqM+lK+7b30McenNZJkGhm6ri8wArQoDQnSKCADrDAPnWkgha9p
oMFY+GwITzFYV/wicZpFgg2pWlH+eB7y/bmRTZ9zPnYDK72c1ui1ZRjHTsrMs6CipTlADD0yh/DB
q0WJJAyJJDQw9eJDmahu1yHtOMhu5PVmUKZWrC2oKpxPslI6IBkAoBkkIkh0pr6ZDIGpgHxjOehX
8eIME01A4j3JSQ4CGWAhwUI9oiN64oyZBoLjkfI7jIwaeNzebqXHlgMo0yOK2iIsTt7tqizdBwgg
+WnyCAzEIajLVV+dN6A6o6HX2f1is9CQrQJcpBofQwQ6ZKyCCnFdD6XZqiBJOh/rPLNEXEjMc0tJ
Olc5xxbYoRz53Lh9sMQRbi2lWZptBXY6EF8Ywh6GJkNhAXwFwDkWEh2S0PEWbPS6jWwUJthx7XOk
r/3Su0NLP3sR1ZtEehf6JamEvb9s1oDo0YUGhgRvowbeQZfanVw8qpJ3XTa927bb3KgYsKbmAgSs
g5RaIFEDHZmbSjmIBCJbhrjrwn6HQu9TeU5pKAJRqrVXop5sR87rihzdGbA/CYC/oDqWXjsTE5kU
O8AihFMLhl80GVRB1S9OU5yLYaz8oMlKSw0ywEvgBQC6pYLnOgPrvSDFVpLCJZRC1g8KWTQRQ3ti
UzH8ddQK2x62Umm0+4V/ijp9ZmhfqefJyCbmtw4W9RgGGeBW6LoDIoQr4Qz+sXAkanWKsZbLKrHq
+ucVInw9HxPTgxcLlEOVl9aiR+pLOYGGzwb2Y87Y5bbeT2xBfnOighAa8ProjMBv/oOL4+sV78wX
4eZ0sB01mqMuYG039b4RSjMDxi3rl6bYdVfcAEDy0RxA97Ycm3VbGPceliKWzVwqAGFDZzu0YwQ8
SwXIhvvofqcSBfsKOdZbpZDhNAIWrg5MxqcWwqvqqzg1mttpp/q6Dm5qUSb9Ej07KhGU7Sbo0eAS
olMkPZdAWEVEyCJTVO7zsykrsE68ymwAd8+Nzhp81a60YYdQ6F4BaMaQ34Dl2/uLas/PnCa2J9VL
7kELyNTR28fV0oyXyfYMoqil1518TTSNZXeocumxSwY0GDtq3piQvuytZBiP1QIR5LZxUDN/Gjrt
HiRk1yNcE0EqQUsk0RjeWK6H7z0q5JsGqaekoHUWsSqBoQFFIqNP7ODL9HOz8VIu8snKXVysDysH
EXguB8R/sS13AmSiXx6VhcXDOMZobFrM8XhqVk2VgeDyeF7OWMZfxY9EMOxdglHo5qyoGrecP1y9
KoxeLRVcPcvsCgDc3PV3QaJuwHz6ZYv+rPjiTZbg3zRkiHz5S5YPZeD59f/+c32q7Lds95S8VdOP
4qP5+2dV/3t52nvLeOfVn/xiXpI/h+aNtz6pmrj+W0qGv/KfffKHFNLNkL/9z3+hU2T6zUYqvHr7
H0cfafaSVX/5P+u3tzhIvf/7LfZ1/gFf0lNLDU19EIm8uDGA6vJcIWBl9f/8F55BHHKpXloICpco
5YfcFJrB4j0GwBlo/Yf3/BCKBLf0X9FQRUOfWLhgoHXXf1YbtAtL7o87GYkiXQKDO1JTCvJdPB/2
070EVChY4pAGszUUFqvtOvScoFwb0lWSuDVoNBKWpEfkqcD0CeNTAILT0eS1NqJrdiqTwl+lI6wx
GgCUCihEAACpI3QU5GKlAUVragoUKFxpVlTHNrTlhb04OzCdU52qBfQoDE0DKSJLD1dl6srd5gyh
5JtnwGljptV20q/z0Q0yC+5TMNwkJZqZbP21fqpuktf+SX3vn1J7oeyG5BCED4PiJucZd3cSift6
hiZSGlSTXnn2FRSNLszqcXjT77LH4lHSqHonvLU+0Z/FnOnP2WP22LwhgIt2DeMzuoz4x4R6Z6sZ
3oAKySRiAN3VILrgdOG6CV807sYUQKhsKxnle9aQuXVko+hcbR7ixTvS1iQB8rAP97DkPuzW/ZfV
/ZgjuzTJ+WTRDR4h+iBA9DivZNAdws/R7/PyAC5bwVirC4B293BIdiAkPRj3zSa5GU/Rg2yCLzRC
5xmKHtbpSJZwhBK6jEl+3cGQhOUHjl8A9PDGXzjMSTTodxrm3AaZQhT+BBtkTipMsU7/eVLhp0Gw
i1BYypqBXBHwBoI4zfAlIgqDtQSJkCAtOC2uGKM0QkWUR2MR+t78rCD011ebCOlfeLUJrf+Xy6mK
DP2CLK8G/MBPxUOpjCBSbQPFbqhmD7QzFRqykOHQU/SRpSjWx0OlAfMsj4HSdUY8iRo/2BP5tPww
AH0inwDsG/Nz4iu2YnemYMK2Q32FAs8bRh56WNwPtN4IMakV2t4YT/0raBGlWwmUJaDYLwhQ3wvg
/1b5cSmgTRj1RrtEJ6LnYJX0FFloRNaL2+TNO9QiTTS4/zS6XexQLVOvg1uhI/gfvkdvLQJhP/yi
5ASYBTCTIkzee8AoE92EX1+ekc02Q3AkIy1z423qd7TtWdwutuF1FxBUhsgrb+89jE9gnm4Umu46
hmoO1CDGdHMmzaY8aTHNY7LR4Ynfi6fqtbXBynLXrcGHfV0QLSbBNWjtFJUIKrlBT5SMeAV4hilI
OgH6Bkvn+BC6InoYwdx9B4bae89f0pf8pQwJmlvhnwzPYvcqgBvbKVsTBJpRReX8lgdyPArnE4mb
UkXVOmkMkj5K64ChHrNLUdVBmmMNNisWoNZ7Dd6xeM6Inl3miXz/vsx/xmWekya89/xHY+PXliY/
dZZ+EGYquC10tBxGnyMuyT/YOkXbi4Y/xIoNXra3TlL2Q18EpNar0VmWskTRvHeO62nukpOgxa9x
yQkq+YfbRLpYA+pJQj5joiIiAH+KJYrPbEQJaM8qenM3mv6O/uAR/rPw568vNFEO//KFLgneqRLQ
0J4X0Cp4J3BNfrpwKAz0JRTPKTb4n89UNrKOpIApULSScaSg71FH0wOUv6w0KqPNiAUqeNQ7oyiD
lOjWaKpg02ISmAjdQfbzlb9QBKoEyBVro19Y2gDJW+4KcN5QzYBIDs+onz1HN72kxBYq3eaCPRdy
os9uZ7JAaRUhIQQGHHsp0wT9kIiATuzwmlC/ASZJA50SqJeyOGCc4xd9/Ihw3we0L/ZQHOcWZIoo
/tymT3FCEBeK6JzS/eYx/Tjdk3X1QJ8FhCzGN8CydxcBvgHKHSMceSyvjHvNMRzpPodvYFx1z+22
t8ttMFOPMLfkUyLuP/mSqxP99u9ecr7jPtmRU5LTzE9S9LKCmVc8oSYXDTjzJ6DF/W06o+jntpYq
//Qk/xZba+5eJ0nxf/leJ7CVL+JRR3EK8L5IHAPv+9N7rVo/RoFEpNj39wK9uvJITR4ebo/HmajE
ZXGmi/fxOhNx4hmp1i75dYaVd127Pi2IsDrb4Gd0n3O3dBWY7RqFgexWpCf2wpbpmeQEtt0m36Xk
6WnFzIVtrjT8ESXHu5zcoZCPpGSHqkSynDXqJ6DRrydmKl/QySMoMsiXbCTRNeTf2aPNYWmB19k3
IxQhUcEt0VMzoOkhXxVXwKUJCtULcr7V3c8DC3NjuWBsP9gE3m84lrkNMwUs/6sb5psGwocNc2GX
+XDPqu8hFJlgw7QWoF/aqnp0oWQyGznRPDZnualm53hy6LuwqAQBrQHsmvUvCVrSXcU3RUBVick+
8wMGfZcDC4g8pyMHqC+6QUu7dqQFK4BXgLs0B7yZOzGXhfgwAb/7iZldsUmY/5eu2GUHfCJSxIml
XGkNujsH2CFpQjNbgFtMz46iMPFdBriUgEoW6I5feBIn4vI33yWzkzCRq7/GJHwrgIhajSWSgFAb
S21KiCyHkYgS3VyxGXvMyGNudfb2EWSt7N4KGXnzTAIwBTOuHugBHJvEOR53MjXIwJz1QO8d5tyG
xPl8YVBI8A3r4MOgppTQcQMcKaqBFVuwdQLkDgJB2gGdGix0c7SbgbTIy+G3apWtqxUO8r22BWzv
kL3XL3hlThfOgKNfWzI5LaxXkF08qAztZZwzLZyIIK9+e4Zzcjibh1NMxb1mDivESxx3QRfUYJqL
QBrtHYMFdk10ii+zJvbeI6HVr33rbaStOVLgY8y3cq3IRLnZIzS1MGE7v2XbM1P2NXlbUNuNbN1s
MYEaoeZDTSJ8fESNV4O9gU6XmLQkK3CcW/4zVPUz6mCsAJ8KsjA7oC97dUuSzd5guqmaLtADrk5z
jENjMTErC23NXbCh488KXlFZSxrY5016F+CSGlOv9R0Pl4GYwr0L3+tVY921tF/hfl4i+qKxzUPH
7nYGuUN4i97trxNqK7hcSjK3YwCgEPsOT22qgKirlWkQvFxeAUgBEmkrc1Oy2h0Ph4SAt8FSiWau
K5M/7oEVI+vX/groX6uhJavMmq0b+nqSIPpRXw/lHtJXFe9D8b9ZsnQDRljrft2QbewiLcygIFhH
77drsIyywkR06MrfrNMN/7CclZbvdqv2vngf0AAiIx0dVuEmdNF2tqPI/JBmFdKF1e8lhA/DzbCS
r/hl+QjPFLBRegJqGI+IvO4e0HP9yiBPzntDTifhgEYvPREIKTbgO8cc5yYwy/fmQ+TWpkZaM3Mf
Ktawjo2rztK3mOYF7YnrEXsgA3FS6nS4v5mTwE3Dr8Tij6dzyv6eNyOS1Px0ghLUjHGnuIGt5WZ2
QK62PRutdNOZbK/bQLSvHirXFFcYojVYJmUzVt+cpJiy4P9bJMXc/EwUPVq2FWC4v8wP31TnrX7V
mdsFqUhBH0GwygC6oqunYUNNsBBYd+gjbnn7zWp1PMxMz7zQmpj534XWd6H1nym0Jrbjb3ko5+TD
xKz8LeWnxMu7vhLmSGuhsveCuZrm7RZKfR59VFpAN5WsZILN9WNltlZrNSa6mlkjfian3gJk1+4o
f25YFdCS9eV1PCPFnxvoaAFl7IqWaKGolklUZKolmT4FBYUZmCFbAESlX7cOUN8UuEkGSCx+BrCo
1QMyPiDy1EsrPYEwmGpk0zCzNdVVaz55bMkMk2tSzQ5d9Oo9glxm0zLR6vDXnCYMeRr47LAY0DuR
QZruQuKT2yeZPgF7eXHxYTTYbwk19hm043Vk768VVsMwasl1RjdSQ6LNcle8yPZIN9C0KdnsN3cP
GoICPnFimA+njIAD6aK1oaZf1yfwEhHEM3QCC3CgKjk05JXPzTsf0PEd6hvPo4rsYlS8vr4iG7qi
oRlZnhXbCYxXhQwWgEomnxafVbcFGyzNSlhuc6PAoChitT/X21jPmbWemPIBuPdSD0T9do7VazB7
DTXwxVdehirnK7luGc9w8mVUVihZdVPXsNHPgg2mbAlIPYLlh+awwgNTdWLLM30LfGQMbOBYaJ9F
WHCZ6Rb6b1/+VthgrkMwI7QCs6IxnserLfQtNEcnsSM82zvRFj5vvmTCVZLBpBGsESZoZBWb4R54
XPxTrkS7NIGZd0dzYLD0z6ZEJKs30XIT1jToPPnN4IEWtthqZ9yGhq/BhPXGdFjchQnK6XVhylea
LVoCAkGx21o5O1O8E4HjEhsssjKrppKTU5oCT2P6DiluBHfcyYdsU7jSprapb3ospQgAkxHDEVep
ExAC89ws7NRKTKtz6129EyzUGKzwSdsDA/yN+qsE78rWBrYwNz1rJtAYhiQMQxqcWvwemxnr8Ymo
ZoQtHVAF+7g2a0zFGnEnGKCSnZmGqeELHccYjHZ+eBAYcPTNchNYzpKCp/1muGosErieS30S2v7c
9pkVFZOA1XdR8acVFeKFEHpq439QC1Nn94zOulFgQFS0VgVBUZma3ULg99b50P+gGM44SxJkBH8G
pa02lw8iE8wBJxA0KHQASgKEwVZiL+hLC4cVm9Z0A3An3VdwBxqGxr8MnJ54NDSmsb1i6bbedq52
32M/o5cH4rDjargC7IDhVHhmasmwnuFf4PQOFMl/fKRyJZCddO9fg3hstXRru7Zx+CzZBvoKKNDM
RVKfGpeTA2k3B0PRZ9Tn1Bcq2xBtC7pSsWWEBPiJbig8+W1HuXpsTPVltECiCrU4WqCfdMGhh1mR
mcy4nOQPjaJXMW3smCWYPVD3mzGr7NDyMW8e/u9BUnrmmZ1Zj5+emdngkzRjq7ILW3zmshdVWjSF
fA1ZZvtH/r4E6BT+2uAQQPkCUseKLd4H2Ss+808QndAq8H6fYW3MhJ7ZAhPerhObv+rLK6s3/ooM
D9/i371VbAUr0Sls/MQVA7OglZ1g3AHWJbYKGuM7arbwlZi5hTHhHlNogdhqMAIu9c/Mx30kNr62
ic3vh0cuvFXIRifj47H4T4wTd5LhVfzKl68rrif4+yBsd62TQORysavDgNARUAjoPnIT2AybkXL7
AbVCB3VVufF1eK3cZy7EN3RrvatuxBWKyS1wo9nNxcjp4dlzY0bFQ2SNnWIVFIp21tByjQmNAfmt
mbGdXWR0xuodmt9BmnPtImG9PIfvR7A0QjMCG26ivISWVGBnEl6rVERCIWLgZtwHVmT5pm+y8ODD
OFmwBdQ7V10FFEJpnc3BiW0PKm2wBpbgudpCJIEbFArG2lpcVfs2j1MY2F86C830emAi3RhW/q7C
sADP4Bacpmwg6h653ZXHjhlQPzZal9DUNq5DO2BQ82fotTOFUTLgbJkg0aUqZhIpmSWiQBldbEEA
TJd24VabaqPbx20BVVlCjW076FAJAy9pxO5FS8VNV5igysyx7fn5OpsBwE+gvqQegFBrZ41GmOTE
79DAxGDIGD5z0OENapcHvmqce1TkmA3LENrKTf2Acjxce2kSqL6WEB1Rg5HeOmfoedhlDkLhbuXK
q2oj2tK98qK9VGx48bAzKxZtADJ3XPjVKPnjjjaRKMyvhKwRymHb0bq3WnOxxdLC8vRsoNT2i1Vv
xyZ9TyEf3t9jenhFOp0eb3dPIbm97cgrrL4zFow2Tnir7diaW3siGck1D7FU5IZfBZycBNVMdAnz
UEe4J4FxeAIFAEMYhPFtVpids9x7WGEwUmMuuABA4yYsqcoMvBzV3Cy1OydbZ1gYLgv5bJ2xNAX2
wUDQb4Zgd7ANgFcI73WWvPKdFVaSm+OoQMeu45sJ2XJsoTMNKYxlbIcB+zWBgC1gZ1LdzlzdFjFx
8goN4hEaSm3cFt1JTKUDJmZDfYeH94i5tE0Ur115V++ZGcGIQJ9pO8UDuDbcAhfUMv66xBKiVNFE
x1+6mAlZqBf4y2eqZwKPUXIDjXf6CnmSS7SuMKWLT8IPLLdQ+aFABuXin/T33PfgBzrbQflYaIRk
qtbIyhvVEplCxY0IAdvsvLWO32tXMOWAeI5C+dnV6Jabqeomt55F0txCirH06mKpQqpxOQaL1Uqt
aNXYBeQdrNfDcNvY5TFmzbayQZmLv3FpCEm8zmzIaUjmEBIYBAKQ2MCgmRFimyiYuTzgZixzqlz1
B+koHYNN8yDu1G208Vx1195lNoiJ8a6lyUOkiKzuUR4FGQ7ZzSU9wdi4lIVmiOwI51aDLPzy2ahm
pN5GISj5MhXYsNg2jmcZOGR8lXiAEbb1WjRR2XrqLLwK4dwW7+n2INp0+zUksx0fQWiKq9YOArYM
gbvahAWb3nosho2NuPRdd1faIHqG3RlAvkX4fOwCM7QNiJcQh3iA0h6xm55KSmFWl9ieWCesoG9X
zzGcGjDrHuDH4fxzFyi0RRfRUOxChEu5dYufrcVXukSolatOLpp5dJ3/D2FGqPwCQJ4SwVh4p9iI
sBns4GpAjHOBT0xtcK/jUy4PM4TQLrCBuVJuMBlgoTbRqAzD5EY1iFjtDu5W/r4DFtLSNzxIi5I3
iDEQQCGYOjCJZPgOd8PilniDEGuPWeNv780RvsISPodM+BHmx3UJgb2Em+phRmLMeUzlfXIHMeee
aQJ3BmuFnZBAtHGHF44nEKM8gVHj87m707gCoZDgOE76RRVdZsZZ4CP1h269cFFcCGmAhxWvWrum
SzfdCQBLpqd2pW6xXDzoTvynxQGK3DwfNSQHsJV2aGHu4uuyFQ3AVb8o1J7kdxGGwJ0IdWcwGV9c
uUa3Z3dxDcW8Tm5bp19zxcw3HP+EBVyT88WogFFipSxwuDM44hA9w/Ou3ArlDwGBHsKDr0YIoS1Z
G8nSzRe+kQMYBZ3twwWE0YEpSDbjtrnKbSewUkrjtwaBagOri66JWDkuxgJsZVCugOiA0FfsY0wQ
n23l2rf5ruYecnHHZxtaEc4O9voNV0OLG/5a/lf0s3D4/8HnYEvXXHNyb9C34UbBG8SrKbbdjEE4
62Mrk+Dvdx/7u4/dJHvwCtQVOPvm3IlJuF7X9HqMO0TjQhi/XHGgGwp94mJS2s6BMkFt8nk8SOHP
fwAAfHdevjsv352X787Ld+el/2+U3+6/OCkf6wh5BPQz12WS2REXSeItufgG1AAxadfWYRPPFAHO
XWMCEPqXrjHvhE1SBd+dsO9O2HcnDHbXdyfs93fCZq3oSaLqF1nRF3rhT2T+tERDEIooWfbIlIB7
7JL3yF2eOE838hVPrHLkGPKPBMEKZHfB4YccIrqVwENFap0ppoQ8BriKzBFxGB7f/hI1Ak7PYC9v
PC4b0bcMnDOvd+MK4W3US5qqDcYR5E+AnQPoMWNoj4LwMg9UX0LDCEWsuX88h/uavdNJ9caf905n
01+XTPoHz+g/NP31pY3EV5tfkzlvMKcYn0LIuxINkaS25psf0TrE63jM7XR6PQ30GUHVDCiIE/6Q
M0TT14AJdvgu89A6j/chDuWO7Pl6JFcFXlpRBNVvFuQKUIJVepVeVbaxr++kvbyTt/1BuUFvXAS0
CyBHdKSrKoSWyH6/f4mRKtwjqhmTPUJR42pcCS4wqavRLhj4dYGwyxAdBdM6zdwBYNaC8aqPHs61
bxG8uyXj6iEm+uH9/eiTI9IAGOuCvQbs8I4cgIx7iJDYS4DzOHHY5sJan9YIfG8acqavryEF9gOZ
P0T/TyU7IbWBuKDKbxgQTqBCGv6TP8Pv/nDCXFzmCJ9cW/iGV3BQweH1c7DHt6PoH1Zm4tvHQbSM
jKhRgFXmjzVSPvSxM3uWkXudWDcoxLlriUeue3JzqWW3AV4m5oYA/7IBguYWNTKmR8CVj5QHT9u1
SK5YaGqFIF+AxATuJUTM9fQKqM1wmbV3YF9C832YgZteUqif7bGJUd3Lw0LtJeQDtMf8/vwGmLXd
rfRj8KQdhIN06PeVCXa63mdo54TSR2FJepEuRqJvjSOKAxUJlCG8mqZ/zl40JPnYAlhssJmC7jei
KByUDprZdqR9+HwFJj0HvtT3gA3+72djYqgvm0pHb2WcjWEnBsjTvvEUaEJfROSMmEeCbeDR28RC
TNdcsOgYHf2tRHjmLkBGiMe0OT748zFdCuw+m8uJWV+XniJHOc+tIEOlUGSikAqRrXpjAMfF83kA
xJDKuWBNwJRHatFEYydFvOusFbBLqJhCZhNZwOqSlJGx50MMFZgY5Ig6pDDjLXJGsJpSW31AierM
VgAX0LccrA9zOtHsIXrd6sEC4+fZAgPj5Ula5A22HPIzIGXLswM8PwQyOWDFvGsOX2qRiTufkPsB
Hq2+4mi06jbGT57e5knmM9LPPJ3O4Uw8/c1B9ny/BzRB9t0u0fVSYfLBuymX60JhhUxSBJ4HB+2O
3AoZTDRX2/SI0j1pV6PpcMiPQXOoeyR+sYoGEqcV8n6tdUmnIQjNRxy7/QWWBOZN4NeUK45XaE15
JcBEAL0icGR2t359PZvv77ebt8S+3oNXOk0Jzh9kVMDwzccZPL4vWQWEGo+O85g31/v8e4fIN/LW
SBQ0Dv+dZ4F4rBzpRQTXwYSLiCJStr9we0kTmopGSYPzIGPLJ0S4YBBQr+vw6e1uZQd8gMieBcSn
AUQJBO9qBYlxzOlAcnorkNuE3d4eMyQ5LncImXh4fU1Re8dl5Ofn4NsW4o/76FKg+UG/C30atHKD
gRbX8ZWiweoC0sxu7YyjwGxQvLFxI93NXPTSdOmT03epEPtw1e/a8t+lLWf3wyRr86vshzlhLE2C
/b/faZkTuxdk4IeN+13s/rHE7sRC+oNp9TlD6UIU8WF3/TsMpTmjc8q1/kcxOufMfmliIP1xzX79
W5RXhq5LnFFMhR09kY5qVnggHYGpZxweWyB3rrLeca/SY7UVHYC82RuQFGZM3qKtB0sO2APW3AJG
T4MVzAsnWQHbQwD2gXv30lNQsgJLBs4qW7PGbYZITEgA1Gu30QVXkVJeZeDfLmF5BxH1D7mdpSQ8
lAU5xPD0UKw5Y8rO3t7EP/uT3d6FcfUrU8cQ0PpM0FDKO6UANBJ0Pqu5gYUO2OlNA4iMcqeze26a
cyxsz2CM0/IG7gcckMiJ1toFK1rQZstxoKHFy0RasNeAlZc0OoBWwO3x4gEWXgFkZSVbUFYj/gXw
DDLkHHAJKA9Fk3h8720PFQSZCAJrWxWtZWN+bsjN3tzEWvhT3ZzMXcDPVm5y7gYh8lJJacHXoSPY
sT6cENc43cOPBvZOQBTEtvfoOA3E0SU6ubf3hxzlMiKFPzLjTnC19dlIJkekOIPJKFYxkivLXR0/
X8PZ25zozN/wNlU+o5/d5yRQoMpZoDUlQjWFybGk0W5EkMYKIL2eefDl2d1J5OlhY3uoHw1W7g4h
G7DT4JmrZ4Ad8bKMIobGwwqD+SjblatYyV7aaI62Npzk6NUkcz6fPT6iz0Y8CSOM56WeGT1GDG5b
a42A3ucfP+lB8kPo5IP0mGixOsqUTNIhPcolyKBINNDo9MyLycSNQgX8TIHAVB2O0ORI9JiJjiWu
OWyce/C+5bPrKqHye4mqfEQswFtPRQiHM5FpfD2aJQE4jbSdeb7+fOAz87Kc+r+9Jiz8EfOSHB5Q
OnaYc7C/rTV+nJjlJASfF71fywUusK5RRTwCFQq2LJohtocQ6oLc8J0xwvd+RlzVcomNSjb0NSGq
9TwiuveGf297cN3cluQBbc1JSTBKFLTxCKEPL3xVkmvoQhQ4HRHHexeIAFje+8zqynwWPtk9026J
ixxN6AUfNwGpMmDw90tyXyAAzKPFj1v+F/Sz4HBWKPja3DzwxVvYJWGfL9bcuVtOxPgf/9wtuST5
YCn/3HM3t30nArf51bfvROj+ObfvRFz/Vtt3RjtOe2j/LO04J4Cn7cP/MAL4m4R5hoFElC4oMpgf
JxI4jRZipWqdYj/7KE+qbLSFRznUyx1kHT3CRLmFvGOopeBJqpnKBVHgAuNrwfbjxSfSOR5rKVvI
PeprE1rsQlQUjaiFHUw0fAez1xU6EDopwPYczr9EMVUPsingPI8qCqGe1+XRK9G8EE0locgBvEZN
F5fw4NSQnZadHwBJt3Y7AfchsfcQd9HaxhqN5+DJJKjKyZhMjwL+O7i9zUuNQgTsA0twQvCHeKgi
QZKGB1pDU3Ii+D+JFZroFELxJKo/JBjQEhOYxJ64HV3gic+FLXg3ZyZH+qnsGooALJRnrAzTUUmN
xhYXib/OoHoGmJX8VwGif/uIloaopuG1Nag2xl90cv+3LBavwu5RWy5bXEdkhNcGPC7xzgJ/5lYT
r8Th9Yj80x4Lgue+PPw9fw34g+EU3qAEDCB+DvPPkcxAytCUkBw0eLUh7VHexbPsoNzivwPuj4ok
lIXrqBhoLwUWHd6F2qmULO0v6H1xJUJB9eCj+XzK/oF++nE7TfRT4olJk0XYTgK8pII8e8Qt6PWN
B1MPpmFFUmbxP/A9kpip+/h4N7A7mYK5LofR8/T0CgYb6PCQvB7eVwF2fU59bIaEza3t7Maf6KX/
pI3/TdqojxJpolQLNDBq8wSreDHneaSCP/iicfMttG7cG9QQoZYIBeQXoz/A+t48PxcwzA7vpxOo
B97eDHA/RfCHzy638FBPu1m9v7+jlvDo0PcF0rF8cVcS4eeZHlGiF6BEJ0cdXmqjwI3na8PV0TcH
MiPzZu9uotH/XHc3L7Qmuv670JoVWhPX8HcTWrOWwsTH/FUthW8a2mitLaKhjSjJl+DEBzv+fNaC
eOihC6Gl0BITRzqDgAfV3UhWT5olkHg1I6O/STmL9sF/v+TkdgNpUWuhhEv6uvjaCwZYKYwSDVjq
Z8VH+WkrtnYSiiWLoiSx0hEcqYoIqlElIktBue86EO0XSVqhX16+T1rpOffRZisdSlvVo4osu1aY
G/E3DYYfR6xMTLkkjCL1XEFwgomkRR0uIDk+zV2ZDFvEB9HruHVy0IDcPnFQwmrngZ9/RgNfovxf
GXQfhjAx6BJ0Uxw0BUOAY81F9LVn8kI5TmcXE04Lw+sGPeCEDrCuju8xsBCf2wASt4o+G8HEakr6
por8AiPYcu/49bDlhIhXFjj9algom9tVSA4zl5yb96nZ8evP+4XJ/LO7ntgTVd7U3WKBuxatApYc
cGEFRewLoY4CsILCHnFeODECmHxa0rEd6vi4aZiQQwo0QcAAkBgcLAm3flWE/RHlAEjp/fT5TH1b
1n3YHhPV3hvtYiGlGOYJ2vqZW5iwymB2IqTBTdp7ZrcUfEQ52XOSxRcFxEKcttHeldwP4YXdjnPD
LQE+9I7HYygK0U+n9+P75yOd3ch8zT8InF9/I88u6UST/k5LOicmedeyjxP1+4vJudM6keuJF8ld
lGMPJmS738zEeWc+fIpt/nkffmk08ckpv+AjPmzKsJfRSbWDSsJpqXCARdCUgJiERtvwriYbXgUf
0HiXAVLVgHIM/Bqg+8rJDuQMHPH0yjMOD+bnJ2XuTE+Rv7/fmRZnjIgpifyvYUTMaKPL5H1YsV9B
G81ukomMTcYAvUBLvkkECioxD0BeWEvQABXl1LdcJyzIY8/g89sqQHQDAiCRdd4Bi2gDy3hEbT6d
sUxmxzSVpn+EMU3k6695mH5Ws8z/11R1+RQHT+lfSFO+PTV/yd7/cqyf6qCqg5c/Q+tLLgL+cevL
XVbW/luZ/mX7VOImn77V+5J/wpfel+ht+1dBU2AzGIah6aIB/fKl96WoKH/Fn9CwBq0xFV1Tsal+
aH4pCX9FB14d7RNEtLhEc1y86Yfml6LyV1GUJHQmk3VN0RRD+a+/9QDdfxG1aB/6D1vZTCQKPl9T
JTTLEUV0ckMXzIkuERdRmvVntd9Hi1JmwkJ81KMCnWBSQSdFmo7UL5FW+zBbP4zhY8kkN+U+KAFc
U5c0tPo1JFVUNXEqb/PK0FM5Fbv92DZo5S2geyaaeCfu51e5NDCYXEZWDCgUQxaVJb5+qtfFPIy7
RBLbfSn66cYP0YXbD3sWj4rEwkXfEr+SvG3URW6fGkctzj17ZgRfTa6EVtJLAR1KZVFGH7mJO5MZ
bTOM41DujaxuHSWPllaXq6olLFtQW1ZqtEoSAXFY3wPuuGgldxGhoZqcLWMnEkuVqFo5rBtfjrZi
LXprr83/P3Xf0dy4kqz7X94eNwplUKjF2wA0ciRlWi21Nog2anjv8evvB82822KRl5ieWb0T0XEW
imAiq7LSfpnp/2BWFyyclO4qEkKl4oIyKeclqFjld3xSZAp4ZJk8u49YFmysLIILnfnGts9ScTXR
qUO0N9UcCwrKfWgAdk+m4psZBJGb8ulXg/W4PzPasH1EqvIm9ZJhF3iRukqobDdNz9i28O1oY9uq
uOKkve+tsX81GXas2QJ71IPa7Ny4IdmbFQ1PC1egFR7Bmm3i+Cm30a1ClaVdQZaOxtgxntwLFfOb
MjMHV04ivCO9X7uqSojb8qrfcy/t10E2kk2msHjh8kfMDuSRIM6LrYFmMi1KqcJG2+PjzWurF7aI
4vs+a+htkoiXyKfZmvVWu8HieDX5qFRb1dL0xtMHIGwF7aEIw+VRqSOeG6LqzspS/76XY+BOtvmS
BC1GAkXCWHlRra7CJniSnkA1wY/rlVF1hnOZcz2WRYOQgu6bF3JBzymsiT9mPTNVnkVWpg5YWlVv
pW8AS19O8tHPwn5tezLZmuMT96NDTUfUK7BZtQ4rb2O2FKl9rEq5jVkZbOwuGR/iyr4KwnRLMwMD
5hrztUmo22AGkpzUQr/1iYISWGiJchLlFu5MEM2wxg0v+sGg6lCFSj6Nou/WzVh6C36nOT+rI7nA
r9sM52NzgS3oumtFhzz3c2lPhzBKrwe/NbaDCSEF1shpYxFtzKYavrOC/whbDBiarNFJW1suKGM9
/CHEMkHalvP9sHlt2vEVGXEVZF0+0UPGPLIXRXdHpiH51jUKrVhegY2TJYvNO4q1WJYTke6HEKUV
rNpC2hCcMs6/CbELatXnbhMTIK9sUdHrTFS148mIY9RtU862hFdvU1ux98sSprvE8+fbkktFTRuG
jEjNMfNzbokqVuQQYPl3ZYT+t5pBtiLJOUZHmWMHOGCroh1WseQ7GXLpOcPQedeyE4RteBBTh4+B
+SZ6q94BhuFhVhMb/V3mkWnJHmixFb6VMmFKItAhJLnSJ9dTNcRpnXXNgUVp+UiFaLZ96Um4tbG5
MQwfg2+7TN5mYzE8p3mBA0zNHMmNzoaqLaOudmOeFZFTpFFzMCQrN0GWqe4fj/avXLh/bZn5oXjP
nprq/b3ZfS/+P9hoPu94/t/dus37r/fqe/P+68NXfa9nr/XjHLL3OvwOd+5j9fr1r//7f+bf+adz
Z7H/Iig624zDtig2z9v5p3PH5H9xmFRmYdIChW8Hh/Cfzp1J/otgNRZTysI6RoJGyj/OHf4Cb08p
CAdcM4vQ/8S5QzOVNW8NJBSazP5Yrn6U2WBRnqoii3ekxgoOu1n7seF0JHOSlDq++vLptP4Ft+6D
Gp6iZWJpLoVeO1YkUziaxhh18S43uquqZWtO7v6SAmyYyQWauS0ghLmpGdKhK8uizVK+g6aibpD2
2MaLbYYLGlH32uCdCoU7NfFUFT/J1Ke2NDphJ82uEEnhxK3g67JK223fFsG6nPLCtUuTL5icE2Mw
+8RwjJW0Z8pMR8Q3YRYWua3qXS1b4870st+FHDF/MFf2dZX1GJtpcowNhKe2GqdiXjsS2IObddbf
ZsA/vHMC8WPwG2xOdCCIoqw3VMOqXZOF9iafgKr1WGW+GrH0r7y+wdjAhPIND7FGeFKGdPxUoj/T
7vJVSTrzehjieD0mLL6VwpNOF1K2zsayuPKH7jXPeL5q875eZWVrb81UdKiNWry7tczKe/SMIAoc
HuSNW3q2dUe83FpIdn9IyWez+3HSXHALLhkexkfa8lNGI7Gj0fBR7tiVgao2TPQvOSIwONsUSyX9
xt9EQ8Ee2ny0ndSTwV5AIlzSld7Bw3rrlUnDcS3p+MVr7fy1Kvl476Vxs7IGCwvo8q5Z8M51o2FK
bKFWpoDYI2SCQ3X8rNJsHNsUGmYHM25hWX0rNwMCSrdivVqLipULPpvu/JhSoj5lAoBPLaWE1Jwf
kagsnmIe7kgYulMGPP3QrC6/Y1P3iHUams/BGqsfC8HCXb1O91MHsCLmbgLsbWD4WQaoBVvTu+om
B35hSbpPT3Pe/wa9yuGNKngOx6dZEMPyBwQAu7DZyCm4CzNAnu3xdoSfc5lJBi1+5N7NTGLVLoM6
J9BXlsYkbYK4ikca7ho0qoaP0Rd1yO6sG8i7+Rph3xDZZnfDgW7lBqOTn/13tVMP+wLjq+kBAHiO
KfW/e5T/D+HC6c8Ccyz/x9+lCRTC+yws4yncsf52NON1kVlro8Ka637aRCFQoSnGyQa7y6dxIlU2
giDBlIBWIQIoreNz55NRUq8Nh11TZr95PG6FlwcLJ35ytx80JEPEAyQYIv5jGmZbFyRjiD6tMnJM
Gy2dLdQPvx/iJadT99yRugA3fyjNV/9JhURREHlWBUrMQZxyI66i1U+BRoT6UCwYo5PLAiUEIgTr
Oqw5hmPHlPwxJYk1R9QRL7G3vd/0JVY1jN+76SWsu3USMaeUCytoT17nB03B8U6YjfwTfJrP3PFk
Yl6XFcNOJeiIoVhnJLGFINjZ6qlOTFeUC2Z9iZ7uOBgNU50JeoHnOSTJd92UbXzzt9V4174qdjRe
IHhOGOGYIS6FazT/75hBQjs5lFY+7Mw+GK573LYrE3taEMeTq5u32EEUkQBCpg8tMcdU/CRvk17U
5V52gPgF9aoM7ZUyMAw/SB2/9V07D64HOPWXX9rJaX6QhecHn48irNRkc0oyxoeoLPeGCh+IEWPT
JfS4RKc/zd9UEjt+Q/+eU441r0hJcmbNUc4xp6U0TO7NnCK/ss5T71owvqmF3Eykcj2aPrQiu6nV
9WVGT567sqSEUbbhM+Fh6GjYNKxU0xfWuA+5txo5dhBUWxmZblRkPy9T0oGMeH9IVRLK4H5K7FDX
baKdJxUP2MR2fGccsCRlH99Y6Cf44sFYoUNhW6yzNZdOS1wmFq5T90b/QXomiiSmUHqCdsjZSFUt
2G4aMLoBfqCIFObuYl9IitwHKF5m9Sw5GH/knZEMhsY5vkokJkM2+Abb+Tba+ft75HC3ST/ehmwd
0xJR0v/EV/9CxPDB2ydimoW0QtuWYfFB7NY23syl3gz9nVPwwOX8Hx45UhwaM1QWDQuJZezK3sOA
pnxCrWg0FkGbOJLP9nSmMjvs+If0nqWn97hZmSFNc3+flarbZGX9lidxchWNIdv87XlxUIEDjuAR
ekVqRjTnnKRTMIX7po7CXcAze9UFbGkfqf6uoPUtqhjjc5ae0I+Myyfj5pvjFApjzA6BwaxtEtjs
y9QV5o8wGLAmgCRvl5nS9RXISYSOSN5Auk2qe2QcI2mDKVHVIRrUCknlQ58yh4zmaqzpU19gTHu3
8JzPMIgw9eO6EJfDQzuW8aIMpjIqu/rAWJJj3kl/LfwJIFlf3padfLzM3mwsj6QD7MHPRDsks7BK
VEcX1Hme+YNX1YcG6pizHrBMLm9SJRZgmSeyDmPzUWWA224jyzwz/enWvLjIkpDV9aFN8tuwvU2J
2l7mZImC9prGJo7iwQOFUtruRA52Fi8onzNnpdj8nCB1Yt4Ge8xDkXeSdn5THyScN4Pc0PraCIvV
ZTbM+Xq1G/lMRa/KpGaNppoYVPhzcZDEmV5irMFAieMh/BnFTvLee6s8WmBtPpxLRDXfVA7JmKc5
iIaV04SOYa49LIRBV9qSvTjznPB2ieS2iRyjrVvFWhllbc/ylg8FYtL8nntG70QxwEdZtTYaIPz6
7tflI9U9HTxhJSUsMLLIlFO90hb4ZuLVaqoO9ujS0pF7Fl3VWHXiOy1aMtoFLXgSwM/kbIKKKkax
Q3HoaVRr8sZYCVHhAsVVce9PaK1gt9Mt2sK30zbGvhB1M70Zv3rbKd7zl8u8nnsFn4lryoNXaV9N
HYiTFE0J+X0sqwUBPXeDKFvasxaeC5eaVUy9vO+6FBRgT1aByNZxillEvkC/O5/23pi95Vm4oITP
PIp58zLcfVwjR/pLk08k9GzaMaM/DKaJWkN3byl6V5uYRZ5zt6OYqxTzTRW/DQR7cjCcsO+F42UL
Ht3p+0denCArg1qEhchjPvtPOsyosm6UVTgdTDPDakBv1QzXQi0I6zlWYXFQDLQtuAdIix5TKSt7
CHH048Gkjoe9QabLmUN/2q/DvnfKH93X6jlbKoSdmhxw9ommJjW1GZeZ1/vgLEOjOjbHpamTZkh8
iPvL4jnnjjVFI5hNkcKZqzqK6RW3cgqR0SzM6ZBC0WBFXOmk9or+km8dlhxiC+Ede57k+jLR0zdx
THO+10/35mHRpB+TcToEDNvAhpeiWRpc/xHnHuvPYxKaeWNm2AUJJ9OBIVXEbsvdvDqlQ3svwa4M
YxWiSSLcooQY5liHV23T31id9MXOFp7mEqOaCazrwkeQMEwHFYQ3dLiSVrEQmn442CeMzikSzMGA
x6rX4icq45YN9XQYb0iCxqb8a/Crq66D3LGxXBpbW+ynPZZMPZCfXutg+cdDtK++xl+wpQXbob3b
dsGtOMlLo3SBhArlRFAhbabPAZqQhZWlSMkh/oqsA1JzxdpMnPaJGY78thTSnX2bn6lp1xwXKW0k
man97n4Jdi3KraqdOnc4kF+xIwxnvMrDjbcQiOjDoJAFOOZSu1gW2LxlPeimv8NHgU1sfBVfW/fy
NsDWnuB2Kh3yMiw81VM9P9NUFBeN6z5J7BJkzUffAE3ym8u7GDvOrhP2BGPNFgid1Ehn7hRUOy5R
SoACNO3TliKH1bLGw/DabMLv8sv0U93mjzEmEt6S5xHrX1O3grBhQNxre/X3ugH1IBMlG6RBGNdu
VBieUuHojYeJWs5guHRa8hrP+AMze39IaJcneVJIMkGhkxsBUCAWtf0u7rI7uq1vsuvoGqPZr0q+
Zvssug4LjPX8zxjUzPXYBylNq2A6JFNiOMVgbMo2sf4dIoByzM4xsh5CY9FObNvMqnY6GBzPoY/d
uny5zMY526s+UdDYMNKuNIoEeqeuvk5hfJuM8qpMyYI0nLGDyBQpSuHdIMv4MYPpk6UIw3ZqxlmN
t2qvsA0XK6aytVk4l3mZT0PToRaEHWYQaCaBEt6xPZrsMsqj0Zv2vs/3o79po+csaB7G6U4ZfMH2
nfq+s7ckgQxQQIvAdTmmZU/RaEYqE3saKdfsgudBXZPwVnlY7pQOTtVkq6lbSjmc0ZMzdgS+C26M
oZSl3VY5xk0VlW27L1vzqpim61HJjWcbv1vjepTNOm0wCjLLNl31o6P2CugoRDrd5vIxn14mSmhS
4BsoJv4AOnbMuhWwwq5iMuxDDxUUOsoNcv/o2SjrL7VtLJUtTj0bYCdRTUc7E2NzOUxzUYsgro1+
oP7BQyjqDA1f54Z/3SSY95l42wD5qtGL3ggNrm3/savadaH8BcE6eSSonKCBa4ZMznA5fcSR10Uo
h/pc7cPSxhvkBSonovQ3PPbDhYLwWVKKATQK44RwWLthlpVDH8JZ33tiEuskiXqH1J7tAEcV/60I
I9JGRkkCmYL8BIp/x/eYDA0JW5+Mh37CIBFUgobgPRyeJxHdkbQDiOYQNAslhpNXM5Oc43xc51wh
0/QZLxmtACQYD3XZOMgOXw0Km5w5u0cGxR1pcz3W03bq2wX/bT60I8UwZ/0BtjLnzJZEivyY0zws
ZDKovjp0tKTuaHTdrUo8tHwHAXWiiOzDwTKvO2vMF57KGeEFZaQdgCdDfMV1cAQqXqVvJ2UNyvE2
D+WVyDBW2kRY7ovgBwo7az8im85fQfC2nWdjQ2xnLUjvGe5xpjAfCnJj8o+W7k/KN6mrYQxkWR3i
ySAdQCAc2wxrLChEPbn+ZRHhQ10V5n0H7OmC/TpBmVEJtDJSYAJqC6Gd1GRMdAFp46StDpUwwsBR
loENqzJWByHzbAe833grVTDdjtWYukVbRU7fTOYKfCBpIdXg9mPwMhoRtgFXI3MNr8NOXdOaNmEe
+e5UtcN1XFmDI4u03F5WcydO//zps4oDihQFFT2i8qZsCqrEqw5hD3Rbn0bhajAstfAiTtCa8wkh
cYewF0UGUNFOiJfFNGQKGaIoUnCTGrNYW6J9jePIvO3sPlzxaXrws6Ry+4hhpK9dlX9Zo/34AgHo
B+CPqKDqpmwKMy9IPVIfrK5or6cqyTZDby/tpD99+kiIzo+AIceBRKXOpwJkwfZYfahri6+JPaXf
ey9TrjWO/VOcxK0rgza8Auaz3+clTx4v3+a5R4B3CLAx1M5cFDhWARXvy6ZNrfrQRxzzxbOSraK8
A0QZxTiz6KON1RnIz3FjXHgCJ04JHh0S9zYHABg4Sz3PbRveEHhxb+3jBhWcFljqLa371vUg9xhO
TtgVYIw/LzN7QtMGQRwyZvIJVJD1s05R1TID6TO8uh+GsQt7zzUJWZnJ197vF7TLicHSaM3P6JN2
GQAWN9rCowcVpm5s81tAxm9zuVTkP8/SXGnEMBbGLM3fyiffNtuY0wMXjvXuI9uIvca79uXywZ1n
5g+V+Ss+MWOprmlIBK+pK4erPJdu2N0E/rQQXJ/IIo5MQSMCH8JQwNTrU4iNYqBMY3roq401XY3s
ZsCol2Zt5vfNsCB+J84akpYEXQhI8cFNhfU75shoxoQkcgBHr6nlimQ9fPXZQv7u5GnPNPhHQRYI
RkAij2mYca/qBgd3CDhw/V4dP8fN5NjAlEy8dj0zJ049Ahtc+Qt2/dS8HlPW4SVIDrXmpEqC+KhF
1jkPr+AnYSPAzyoNH3Mit/VUr6hlrJvpTbVkNUbs5rLEnJFLRBzCAuIHizFOPBpYdzv2h8I8KJls
pIGRdOpl7LEmN31o/KVRoqf+/8zvrKUBFYT/r8eD1dzLEYSleUgGc9VLa4tml3Ud0FXfRF/58Ool
9DXIn0RfrHojdgC8vh7zZMGpOSdScOAssIs2HqBZj687S808jgJqHsSE9QD1G0tDR9a/SG0syO45
uQJOAx7U3DGEYOWY0BQrO6oq+KHsKeo2bfVWhrf5r8R7LPkBEJ/LF3mOK0BlTcQzsMIoTR4TC4k5
1nFsskPW2Y9yIrf9EO+aKn2tYrnwXs5oGWA0/pDS3uQQhUOoBspQq6GPvkU3bTPcDkO/8DrOieYc
tACkPLeM6Sm8MsWgycgEwl9FPHb9SL16XRs6DW+/sri/Kq1wCfpympJBbAovD8NgLUgnovDjQyzS
rA1js2wOJEzt12Q0gaqv0umG0WB0/TStrqEO3xMSy7WMeb7uM+xxCLo7UYjc8QhMlRdimTlaQHZj
MgW7Iq5/5mYSbkNRdy+XL/w0+YfGPIA70CqD6wb0UbtxEffU9JqkgZXsmMvt7FupmmKNni3h+hVU
MocrettRZTgBacg6kUW3HsupdfwuC9w26LEwpk0NJ08U3Vz+uNO7wyAhRGdo5DHhNej9SxXMQ1+k
CbylzlZr2kR3URXwVSeGac0s49b2omIhHNT79tEDgmwaanlAmwLAiDDp+PJUQJs+nPGuvTfKN99u
g1895jI/jX1rYBJV2PVvQ8pU7k5Tmn7L25BhZG9kxEgLo37zNJR2uLcNntVODjRp5YzoBnuOk8h4
K0pipgh7JHDBxqjCNxaaU+H0EBLl+B6lD1HQEEAjAzrd9FEjHnhBjdqt/ATdYoom6IMgKva+2Bz9
is440ClzhSXqfWYUSGeaZhh/Q/Z8xLA025BvHONPHmJzjGOnKdr+x1hbqOx2aZR+IUhrA6+bWN1X
gEfSH33fVh02T6f+YehRzvhLrYKSLAAVMMDmnEgXaNo8cihI4ddAjljlAap75Q/rkfoOCxrX7LeX
BUbXKTqh+e+fPJfeIH3NShBqbbJqjM61k4PyhgV25s/9HEjrVDQRyZDnybsMVAQBhrYM1nmdL2it
+Sc+k0CCALk72Dj0J1G4y1q6h9uG2WRm1B2SNMKkl/S6C1XkqCqy3DRGdu3ysekModQKpOPcLieF
AnJXO7YoA4StSLruEAbI7IykwJhZG3j/y1RODBkSuEiwIL6SwFej1/L4cjrLGjrTCAHSCLp1VfeB
0zXysSn7TS4x5KabUI60Mc8kjP9SKhBngbA1+yUorZ6E/nZvDU1epggu0cSVV5kjy9Dpllah67L3
QQXVeaQ3cJwwn8fsIZ4DiI1lSHIY3Yq2B9vEoGIgeC4f4ulVgZdPVPSrCr1mNK0cYWqUZOtUeS+o
PfSby0Q+MAvH4gcqc4gISgih9BxyK6aeBHaEOLHxVkkkD2U+OU3zjjquG0/FOrL4VaF66K4pgMUa
HcaGAX/prwpj6Smcig18H1SPUX5D2RrlouNzHdOkzQfuBfeDkbiZsm7ivFhNMSBStHE9wTdl81BT
tfAkTkwPml/sudkG6VZk7NGKdKRJ+Kj4iNJReG+h8IbhlcONmFyfX6cvl4/69D5h2pD8mFHhc4JX
u0+eVrWJps7wPjEbY0MmC6VxQZdSfyf5FURYCH/oR3/SB+bwmB3fSmSY+BSWlKnB4TE1gfLpx01n
cof0kriwWxzpnfp7PSJiCfNiCVinM4ov+Ch8wOMjyIDpu9ezPizbLDObQwfotZuPae9MTZovOJVL
VDQdg45+4Jtz0hwG5R9ECoC/REfOgmycI4Ldfx9nipzxR9/vJysz9GmSDMjhHphvwWzGJCuejckk
C69w/tbPj3A+MRhLdGISAodSF0EJp8fOw49HKLNN2YfVKg2MakUHO9yUdVku6OcTtuBiUSA1AKGG
okJV51hG0GsbiYyZ5cG3Oqjm36V4vizrsywfMfRBAGhlCAL0sf6S4ZtbOelEeUik76gQfgxKRMHX
/4yIZjmHKoMEmCASZljWVr7001Mpq7+VAI0TTTtksah8EsIDMPO3HjDKcFraAqhrPfgYuIw/Z8WO
LyMtA6sYAlYe8tIdrtEUzfFQI1SpHa9Z90vFrKWbmUXjk0Tn3mAnAFmVh5R9MePCyftbJDAWDk1X
qTpL80d8ImIWbMyi+fqLn+Bnui65M0hE6Atkzovxn5PTVICddm2DlqTyMHY/GACH4VKIsHRYM5+f
+GAh+lcxq6082MjlG+m9FF9M+/d/JsXaW0wSIw2jBDT8EXhg+ztLv4p2IeO9xMcsgp/4CHNrklMH
EYtStJqZgGYlL8liOXrhOnTAaT/VUV0ocNLZoct54JQ8XLjxE0V5/FZ0+F5Sg4mipOVBmtFVKXu0
JRx6WqxZ8ePyrZyVYLQHUHtu+EAm8fjESOMFAD/i2SO0WNuo1Yj+TY5sLdWjJxZKImdv5xMt7bXY
Idovs3wOZSrltvLO7J6tNFhdZmiJiPZWKoOESU9nPdYVTsKuiG245r8T/qE34M+xaQ+m6WNV1R9U
KAZaitKtDeqAtNtmfy/SAFCivIFEJIrlH4OsPom0ZdBK1QaB8rcKlxetg3jZyYYFKmd0M5JJQBMh
oOUIlzSPtGzryCuqujww7KkG0BDzp1OHYv0OQ1XVtZfCzTOXBHKIYYCJQ1LipARXMg/1+B7iXX6b
kLqKGVbtys1lSThJqn4EtZ+o6PI2CMxmiUGlTNdz5LIv7uOHCIOWC6funPLntAse6FLgeZY1AQgF
vFNUNPRu5LjB/EEatLgvlaw8r3+32m7Fk2whPX2WzKf8g2aupY0MOSoRcDyi7wOwXomxj9tflw/w
jBI6ynFoBptyM26EARqRl2wIf6jMZwwE205p4lwmdP6mPnGjPSdWR33X1FB3PQYbUJTznMkedlVP
X/PEX7HcRhWv3aIg/Shk4SYquukk23bU/3u1e8SxZqNkHiOt2s8aKmpWpU1XrEH3OqFbu8gWSJ0E
pHrKRbNVph3nJlpUykMduKJaZZ7TfKkf5VX87CUuS1eog+Wpm2+8dOG0z5ivz0zqG25i00jifiZs
RsmqSTynGx8W7nNWF5pbfERC91jbDCmTOTuGYQfqtcVmox8xhqE36DlbKX+TigWWFiRVX0fjmxir
ogCFOLBBrOJxR8MY8NJs0xj/lub6I6k69DIUMbRnCEohLdc8vCnjbmPGXy+f38Lj1nfEpGnrV/XH
DWXDlWhvWVBfk2hBPZ6x/Ed3pGlHz6gpzxnuiKT91uwqZ7L8NW17x4j3lbk0O+2sgfl0bvMNfjJj
ZlGFhpjPrTPh/cceMMDbYspXij/LBm8encKtWIpplsRCUyvd9P+IAscOtXII+md7eJnqhWaLWSuc
SjtqZmjsnjusNd4UGveytoF73mT5JhbEQSrasQBylqrYIE+3b6eXywJynqKExzZ7bcBfHp9mjjpd
mSYT7GeB1dBRdFdk2NGHuXtE2I+xUm7ZLIGNToDj/9BXf2hq1qDxQ9VbAWLpjBtuz16HCpuoWedO
fbjJcwxeoNemWrP6hi02sZ7cI7o9gUy0KOqxmJL4MZnhk/AEubSSmhpi3xTfWFKuGnTl5iJfAVu/
/suD1ShpTCoV2bxPfWtfkXuvJNesBoMRQtUmfG4KTO2yluLUk5FqmCN3xJzmgbPR6i3TA0msVaE3
9Vc6uaiZDZiiUmPPNlD5WC2TuqjIfBU3o/Voo23oFqshFjToSYXv4zMA4EELDWZHKn1Ue2lkU9JN
+Izwa/29/12tquv6EQttHuRjsU6+t9ftU34P4iihrRbL32cv+BNxzV5gjv7kWRTErV2PlDnmh5gO
i1xWu91tvUrvh23yjG2ew/vS+JBTqZ5Pf8beAlgDl1OHZcYsZXatAms/VKuuc1SwGptVZazDZo3J
YWJFd9aCiJ3oXY2iZvdJMo4szkGxHNUDzb6YU7ge/G5VeV+nYOlaTyzJMTG93EhUFpRBPcszusDs
am3LcjUosr38apaoaNeXGFPmVTFYyuuNH2ENO0p3ufnzMpETnaexoum8HshkllqzgAYYGtjkCLXU
FauGdZViWE+JxUtoWLxM8qxYAnEOwcDQF9ROj9WsXU4V6mKe2Ce256QJdtDGKyO5CZaavM6f3x86
mgoIk4R202SLfeij7YntC7Kl5ULAsMTL/A2fdGifJ5NZ5wo6NP+SpO2KScOx0WCVic3lQzt1bD8u
6g8385d8ojR5hOU16mX7uHLIg/rZPGXECe/odfKj/dm/YniGnTrtkle7dIaare/FMJAKdfB9Vq+D
qnfiqXOp8XyZtyUiWnzAStOPCgFDxA21tsNwE6XvdUTXl6n8L0rpzwlqKsIggOEoCrmrs3XHD0bh
qu/2L0Q+1otBVm24sYqFF3xZOjB38fjO8hoIboQCYl/mW6ZuE/mlRsNBvIQjWSKjKYppLHiQ+Lgk
4RculT5QwK8ZtoGpauEIT9zNIxk8qXURtGFFbMRFFeEq9B3oo7kxfIuZJcRwg9y9fGFLbGl6oiEG
yWMbp9fwn57Fb4ryB6J/t8cE5suETgNloJhs+HtKYFQ0pudpmiLlmczqehD7Af17UeemjwNmlDnh
L9WtLOcp2S510s0/eOTbzgTn/n30g6DQrbd78REw8gq14b1i67EwkLj9Nx4uKMx1QlhgjFzUhF0B
K84MAxRIUGJlG0vqzZhjKJ+MxZLpPfN8P5PSfRwjtToeoMlon1qRm5XriFYuC39fvqMlIpqM23ZC
whIYlj2huRPX1cqqCzeVSxK+REYzhzQCrol14EXK3uUoPJDwe47hqJeZOS9wALqgpDs3GurpLEtN
adaUROzNp3TvfS2xrpsgmucrgTmmhVOVDm0cjMq5TPY8c3+oano2n0aSswFU8xma9KURr9bSGL5z
fjeE4Q8NTe7mBqhJ5pPYA6l2JzA1dp09yX2wqp6Sjb2qV93v6LvYMjfd0B+kcdS3/MfSDuYFNnWU
K/cArzDLUexHs0V8qlYITZP8+fJZnn/B/8OnvqIjN0svzjzw2Rtfx+D71Hz7u98XeLoYNIwSK5TE
PMnz2HTEJfEwMbxs7+toSlZoFnw3BrLUZ3jSbzIrhxl3iFlw88BdHYpiAzBoJhgsjrn2GRlW9uAZ
b7Zdda/xOLXfOM3KaMWxgvslSlKkQ9uAhwgcvLRbxa0/fA17E9DyMaH9m2kVYnABwfATp0A36wsr
wjJyBySrMZAZA7YyJzXqxkC3fdks+LC67z9zAaQvxrOj1K4wR+b4rFTLisbnSXMf0GT60mVl50RV
mSKTKbEQ20yv5zGeC29J95s/aGJwCOwFZpUDYnxMkyVtmpeKNffQ5d272Ue9CwRs6GQ9hk6Kgk3f
YtI9D0xcX5YL3SiCrpzLFtgHIGa8iWaqQFKYJSH9feVN8VUQjd+DsadO36KmgBFmS9PRzxztfKqQ
QExmRDSnqd0xAZ6yn0R/79mYOBp43buBB8UZ+dKwaee1SfeXRn/m7zNBTQFHAkN4Syb7e9ROgnWf
GF9UavUOHdGKVdfeX4YioAamMN8U+xUwDUbfFGPahRX5ZOjvlRdgv/xYRY+W13/NE+n9qqtuaWbJ
mcsDdEcCnT3vcwDxY6GBcaFW4mf9vZCYCsTGtln5GALnpnnsrYy8tBf8zxOXFy10gNEBpQpEG0pD
+vv2haiLwLD/m70v260b59Z8lR/nXgVRsxqnG2hJe/S87Th2bgTbcSRSAyWRlCg9fX9yUv17y27v
rnPXQKNQQCWpWBO5uIZvsK9L/xe1s4ML/c6icbaFibwttRLtBmfWUEH2uzl32Klm/Ic9AgQdhl5v
zhwudJ8XMSzsAtdgYNld2yP7oR2R7UYzkzH0/e/Dxm4jKAX7EWtOKTB9oDngqY+uO3+Gd6XSkHoD
TARtPDUj3/XorHPXPhsMC3zUJpq4jASguJ1Id2wggMBqG0Sc+kR8WJ4P7qyZAgY60GizfuoSI9OV
gWnQyfeu3cIMEm67dTSI8dRY7NOrYNGgXQmPE1Aqjp+U4Ot2M0XtujTSdlNXdokED/yNr2POB2G/
WVQXEz8wQaG5DaH/OUq8e6F+wG3FlUFvtPbUN6sKAhanQ2rClCGt3+wPvaeaCRAbSspzHZWlDEjc
+HVzl0Eh88bsqN6wUe4ywYv1lJntfmIG+30M/H9F9v8IsHP+t2Jg8iSf/qisXz5Vr//9P9bda/2S
/+uWq99+O0/1z3/9z1o+dS/wEfrXOX4pjmTZ8cN+y7L7/l8IDg5kNfzAw9EZILr/lmW3w79m9ahZ
qQrREaJVWHh/ZNkNQv6a9QLAgEPqAHXxuU3+x3THcMK/QrT9oIgMowGggxcWO//AcgfEWxAx8JPm
4BWAbbA4YBkd0eOfshxakbm4K2y/uAK/wHvqTSddl/Y8WYGRwomV/kYffVeYITGcxbyhSD/DWiEk
sQgdhhZQkXVCFoNhmbTqkrjnpf/checTO8wBsu8AIT20EhbhvIM4fJkQdtfWtw6F7fjwqNwh4r65
q7rnzmoBmjQiKJZY6Q6csl2V9ztP3dSiX/cpiwcniyk7t8K7lgSrWhSRwYB2K6aVI3Q8qnrT5yRq
TBRUzcZKw1j6p8SXlwrTHx53sbHtruVg8eNx/dvggl4iJMNvcUqMNY+7K+Bibsp7pH2Y8kSnNGwW
Z8OHKy+OwkGDXJ1qXDn1lIpsPVyl3UNG2Kqt6S+l3Z0jfr3bFNe/P+J7P6VlFPtwyUVpwl1PVyBk
MFilitW6Xa0xjIaVdLl2N+mW77yoWt9+fclF9rS84hLShIJ78KDQxuJ8R1fl1RQ76+EEOfLTS0Dt
H3ohMMwARfI4NBPVT0RaBjJt/2UKKMjQ11nbxpzfV+xESbKs7X4/zrtrLVZL6XZ+2yNuxxDxhHnn
z2DTfuu2+oxvhof6MnvN9uCb0sg5q2/yTSYj+06DoP7963e6zGnmu0C1guIIknYgnC9rZ6cU4L2z
EsISxgpCWsF9n0cTFKzHVeNFOcR6SATWyNcXnd/iIiwcXXOxWivSeaa0ClzTLlY9VZtawgg40zOU
oJjWX1/sk4UKlRSUftDSR+RDRn/8TaEKYlRGOYu7ccOJM6vUN1kYpOtizL2k5ra9VaOQ8CJuqgsn
bEQCeHDwNLad2orWbs+aSqgr6CxYVwYNitex8Jx/tuoQHjE2RGaKYAnZDectrrxLCIhrEMQ/akSO
m9O4gypAAv2i9MyGtUUcpFA1SbPuVOmzSHYgiwApOnTLbB8K3z7ETY5fCzhRYUks0HJV7grotWXd
mpgB3X799uco8O5TQwoOzwQpNggnzidjsNhQ5Tj0jAZi3HoBZN9ji3tKRjBncu8602yuNB/9s64i
oxlBScGnMZD4pwR5l+0hYN5BY0AbEvI8oD2iuD9+UtKEvQ2hHLK1giZYuaQMwUYZYAtGKcbgTsVX
U9b8yL0ODvZt2J2xnDbrgpIxDg2Z7nvlFSd0VhZhZkbIgQ0wdyPANULluXj3Ew9lnYmsWUvbmyJk
tu0Za9p253TBq039YSvBAjlxGC/z+PmiOIdB+ALlCGS7pcUGtzmTRp3joqOubptKmWuqwuKbbzGU
vrbdAUyXj1PiZJBfg+LzaM9zHtGNcQApXgdQ1aI+8R6W/AjcE7ScAUNzfCTcwPUtYmBvmTkf2gme
QlAWjGk1FmepDz5kW8CQy0yDn8VQ7kNOOeCRY5/IsD3pzDEn9e9WKDTQEBageDM7UREAlBerw53S
lhhdq9celkgeO0NNsCrK3uRR7vP8UM925uvJDap82zRTepvmXfsEvTjurcN6gLxzrtv0+etts6SH
4q7ATcEiccBRwT/e4sU42SCMvrX6tUHtQa8n9DgPDGK729oV1cF3JW0j04FCMkQ6R/0iK+oGSenb
I4mmrmPXAcQegYy0fIOv/HaavsEQJTupjrQI5PMxCYcAVEwoEUEtWPYGMY2U/uDX3hYxID3XJQjL
ZABuRgOdEBv9SNaFTUQU+JkZuYwYu3Yc+EoEEo67o6ViJ3Wg6ivda+y4YqMzqU4MFJd7/+0O4W4D
0AuSaEAz7OO9X4w2rG0gB7StQSuF2lwRBJDCza016RooccqmgYI7HHc4SW2I/HX9Bg27asUg+BDn
DqSP0HA7RfNaRN63e5qnCIi/EGJAIXh8Tw2mWLLJTG8r2STjsBRe3GjiJF8voTmGvF/X+DZzDxLB
HRoPkFla9JpM6Spayczfwurv1ewmmQx256+qwAxOHOefvGTI/EHcGkIy5iyLvzjPCTgxunWLdIuO
zwsYtmwjK5Inll0XES1r5w7qQO2TsoE28mTRJQWI9bHbsmBu8uWxP7T85uuHf+O0HD89IG7o56G6
ht4KCOHH73iwEcT83E23qZTspy5t5yZU7s7MSiNmgDZsEOT5WZnLcF0bnfWNgGccDfgeUJ8BCbxJ
DXUmoIaUR34PD6tukPW+mES1kZyxQ4vjeEUA3dp9fdsfvxnuGuocKPZQN4EefnzXJY6vwBI03are
n84pDQEnUa25LcH1O7E85kW2eEGQqoM0FOhpMPtYopvdIgs9Td1wyxtH3QUdy2CJzS33YWxSyeLO
9wFgYKTYcjg/1euuZm4Qf/20b93V5T3MHUOEX9gpINgdP+7oqaIQ3Eq3tRja73xIixtHu+KmybVd
JGXq5H1EXfT1Yun2xs8aW4lGjdM4qwn9ILGWE5Pf/LobAD5ipPUjUYBBkARty3+xNtdNnNtlWKx7
2dvnqu/YU+Uyl2/9yjUbKEG5EIsm3K1O1CkfTjVonuCUxROBPobSfln2yhw986zAc6Uy99eVGv25
vyO3TLVq5VaQOKoan62EP3kr2WEgkVm+2nz9cj9ZSii4MbOE5hG6scsN4AnmT4HABgi1D7/bppw2
aV96Z5VV2Ce+47y9F58R2R14q+hjoD+5lPiCPaMXQMve2OYYzifK7vMErQaxYqMOEu2YOSaMkPmS
HOCArx/yk0U8S+PNDRQw5zD8PV5AZQCPMla0xrYea7EFteGJQ8w1ttuJrMCnqhOjqs1V1crmijcd
PxH3PnnFc/YGtQIQVUE/Xixf2jVlASnGbNfwzD1P1Whe1wM03Q141Z140GXCiBV1dKlFONMyr0xI
vWQ77Nlg25q5u1OmV2IIbXPoMqQqgVBFcSJEfPp8GFbAp5nAC2Q5Vq/sHseHKiB3mAUwIxXGdx9R
4NL0IfDy9Xf89PEgPIxRJ/w/UIYef8c+tywZcILHQ1WSuA4Ulk2fPoImle7tKnVuXXM6gYf9+HCI
faDEYoIKhTXbWxzCDkNTO8Mr3RUlALA+JCPWwlTZejCr8J/VQDjv50thD0IACVKOSykUwx66wZZY
J3oq1BO+VrlKibpt6FRCF9+161XQQZuiCiYUJkZ+4kE/vluMPDEWR+sRHUZc/vjd6qlkYQVM0A56
w/XOCCh4GFavLzt/Th5pk0I8e6pO5V3zTz2OCdgTUMedM3ts0Q/9RhaUhIxBtoMQTLlVrpfdlZbV
SWSn01hF7TRUO2IaLnhpnBh6F1gp2ZcjjATQAqyzR67zU42ApTfa/B2QaHiz/S2sushyXoRIrWvI
+oTbNvB4Mjii2uYdslAvb0XsIJDEou6ApiwNdxcKNu6LHCWalxlqk/pmG/V9md5URWHGMid8OzRC
7VuwuR8qn3UrUZswltO2d0Yhj3JdOoHaYS5V7Mp6hAE4iq+dHLPqmujUvpCjXe5NCJGsQCpp93oM
ypgG8pTWz8dvj6gItaS5soK3hbuIUINDeTdZZrjVCpgB63LqrAg4hRqO2v0pP6ZPrjXnLEhrUQ5g
jGsv1hnjfld1dbajFLZdrQoffJKZZ6TBvDFsyjsxlaeULT45aCFtN6toQ+kZKdOycUJLS06ZDLNd
xtKfDbGzrScxMJnj1dVkKrFVfhpGZRgWSSBt/zzlY3oiZftYAuEWcACgXpuHkMvcF2JBTE4WNGGL
gPcRmm1PhmqzxBsna+UNxSlLj49hC4J+eLlQLYC2BpSDjt8y4PO13WQZ5GbrUe0h69HCo8nqzwHY
/Ydyqdgu89AAdHE8mQPfn8XhOspRQWe6hl1Y4O0znnYR8ys/cRxRbgTeJtL4NL31zMFLWgcahl8f
CcvG5Hx5hEqELog5oXRbgp5nMLTRTwbF6cqDuB5psGszG6Ivod3FWO/TVoyV8Sz6kqwCnk5XNTe+
U6/3w+jrO/m4sGecHrQMMXK10SOd//xddy4omVvpPKS72urQGGh1QipjeoTPmn3R5bbZx2z8Y4f8
ov9b9sqvfwfK9931eWMeh8/5mvCKhOMFLByWp1PasUFM6IftPLukOC1gjYjMdTixdj8uJgDnoPAE
szgP6iZLYQAVBsqoIZy0G2oTcr+QpwVWebKjfDLliRbnx0wNl8KihXq0D9rwMleC/ubgDH7JdiUX
/b5P3bvS9IoznqbmlqCaip2el+esMaEUUzvjCebox006X92ZvbKQXWDuevwJG8JVkQYN29VCQ4Qw
bfm6Td02gtHZbup9cQIH8ZbgLz8fklI0RxB+0XpcFMSOlIMaNWc7KGzmyeD5eoV1YyTwGqmzCJaU
Ym9mHVvjpCpmj+QcfuUSbE8Flw5pqjRiitJnU3VjJAvub0fppgmy2nQ10LDZcQPpwpQD4AC9yGxj
pKDappMRxClasE9uL29sT8hvX2+DT4LtDLMk0IpFRAC0c7EPYBeeC1ULtsPkk0Uq8KpVYLUjYCx1
tmF+dwYQv7kftFRAPuEPNR3NE3niW2tk+WJnH1WEA7jSQlj4+EMqs6jGIaDFTipQpjUa3EljaTuI
uCD3gGaxKwNQNTgfau5sXd+Q51btBg+E9OPGhKP51uLtoxqqCbqFHo2E5w2xB1zHNjDs8Nxwsibx
kWLva4LSE64w6ibtAytShuHUkdMPr0w/agF1A9vP3C0GuNmJsPdZsIHJJ/J9hByk3ouV2lYNZXmu
GQwiHbaGMHK9mtoxXxllZieWSEEhAI3q6etP+1kcAGsJoS2EUDUmX8dv1SEM5tPok+xaT7mRyTVH
y3ewk7Bz/yEKeY7q6MQDHRSi4wto0rxT3wVTmglFGGTkd5YBi2eamtkZVMDLtQUho02BpPxE4fRJ
IIWOOXYgTl64GMwm6u+vF/LOwcwFi5YI4iW209Eod9tTSKSPFTCeCuasCNqY+yPMHF/FmGD6Z2QT
26WD12/RKcljScUQixK1tzTr8NKwBg6jOZGeSLQ/fT708n0sGbi1LmXzZMb6hlkB2wkSqAtCDH4/
8LC7/nqBfBI/ETlxViALmAPaIrcbM5Wj0WEgnkEyfcUzM70Yx97YGr5R3HipOOWl8Pn1ABlA2TLX
94tQA8541Q0K77OnbOUGgq8tD96lGJI5USBPjSM/+3rINDD8RF6FSdgiWhdQ/M1CH1fzBanO8kEV
iXTraauLCTr0I5x99UNmZHz1X3ipmIhhlwObYS7V+eB27nVp7bJd3lj5hjG/hf9sCX3HdDQufGq6
N/+F6wHBPl8OFq3LURw8kJ2w6vNi5zYw07Hg2XqeQiMkgn4uwJ18OCXl9cmR/2Ya6WGcjl2xPC/s
uuQBPJ+LHXqeIGMSxbZaIHeUcK3dGSYEOMORcPRbw3w7mEZ+IuP4JKghKYf44ax5hCbc4quytPZw
BnvFrsGz4cx19aVm3Q+tPLn9+sV+fiUsHcdH8wszrePdn2OKHRZtXu5Iz9IVKKjdtqOYm6OFWpzY
7p8dwhbmmLBJRUsfmOZFpBlZr4lAD3oHUdD8ubCndjeOrb9uJ9buqKeaXabr4GLgUxojIxIPbi9O
ll3zRRan8OxyAmDp3Lh13m7yXRBvIPhcp2Rk4Km4aWx6AoerbaQruwqnde73BGqlFdli7Wcxq8Fk
yTwbQud+2mzDyug3X79+QOc+3M8s2Ih2OapdNKqWfWTHsEELaSdjS1lLSCT9nP+qpEOufEiBTxtA
nEZnK5vC+VlCU7/deE46nOt2cB+FBJ7Ogf/CrVfr7kLqboQOgNLWd2b4/d4devt+dIbCjMZGltcQ
fABRxyzyMY9gGtnvguKxl/UBnQ11pZpJBWsMO6vXFCJYemU12n3UmS0ChBGWoHqEQk4zHSxFysta
lmKVIrE4VI7TXBt2zhjgzhVc2MHOHkvo9SA7TdrUg10DzQZSRPZUy6T3asCcnDwLNDScbIHWPEa1
JYSvS7FRDII8OOCKCkBMJgJc1JXlC7en4L6qKE7cSkORNGjG8iIwy/y7Y0wetGGqHANob7DBb1c+
xvS54pWVZHXrnZsdaS50CxHYxGa6erAEomHXZdrbYPCIext1popodHKxIkEaPrUjF/fVZLh+Qtyq
d0ERlsatxG3n6M9nFUkmWpHHyqyzW6U5DSJDeoUftaakt4bLG2ODmRvUXCaV8agkzD0fguZ1oOw+
8w3fXemyJg+tpJAdsEbMXy/RbB+eWzMoV4WZenaERjEjScZ8ezu/b/+q0lSM0ZBn6ixAc6eOK4Uc
LKbagUO13dHxe1D0xbOfW71ceThpHh3uD1kCQ5vxMSTS8/cYfjtlonrqXzYTGApuQdNw1xk+2Rld
Z8OyHPpXl5PkIozCCrL0YJ3QLt3ULg9eKK80Pl/JAfYxPJVehNrrbqHLT9yoAwSCrLSRTkFEVe3j
qDPg7pMYNJxuK4difKpSHhSrQvr9FJd5X3+r7EaDAueGcuvknB9AO/V2U+6izcQ88wIkheYAN1M0
vFPVYvjg931/09QwoI07ARfSqJwUuTNTRJNtVyp2Dsts89rDR3eiItUgF3iGUegIrG8z3zTUzLbK
a+0xTqtRBQkR3gUfPf0Cr0g4p0jHT/sog8VBm3DLLCss4Mr8mU8pAPzwjwBg11JZ82ANTf+ciQJG
BI3ptywSnQmqvEv5awi6wa3tTuppMinRWMzaThw5NriTbGBXTGajG4vRdZ9dOXRmnOrWBDkP2J4B
yzAHDFC73a1qC5C/gxQ5aFyj5/gkRA61qBEh6Ak+shBGhwpw+GAVPttQdCDtyA5oU8UZnX9OyUoV
TwAKOTtz4OTZRde02KSDDq4xc8qsqC64w+ICtU0Syty5p8Ap7+t2BFmhpESlsZHVPSjxllP/CAc0
WSPoCLoqauiY0ZVtlfY+x/HBgaRoIS/WtYXtrhycyg/+WOXgA4QNdpJDMa6KlZl38JCq1Tiuypwq
OxpGcN8jyrzyuoLc6TUsSMY6srWfJQgD3QsXuvpu2AxamTy0GOSMge+M6rQXu3DQ9v1U1P3PAb1g
YLpo1mcxZItTCM4WBAJhU2oYAJflpXrsBog3gXFmix8Zs+susgZ4W61JaKYvA1PyfhhLD5ar6Ig6
UWaXECfCfedVkgN4Cs9Q6oztLoQ2zb2o8+qyHFqIwwQtJK2jrJLugZmTjcq7CeeCt+70de4MzR0V
zYAPqrB0obVeWa95N7k/zRTFTzQ12XjdQYLaAKaAwdsKXAIXS5029BoBPIP6gWtPPdbamD0N6LlN
MZZej5lIL4vzHgbCz31a58/+SMDtMHvgTaK0M8FGtIspPIwCJJNEcAyTzlAd2Xel8qFsMA4ZWuWD
J0yyws7T8LIdVRHDSLm8qUywbtyGncmJfjcn11HrpgCiBwWNglgp7FkbM2mMoU0qIFCHJAXibYjK
XjddgrXA8+smd8x1hZllveXW1Gd7YeS+n2B6ZdyoyfbYirKpOwiq8kMY9OHzgJd5l1XivHLD7ygd
GUs8hcMmBnMkACy2VucQ4ZjGFcMCfmxU39AIMSt8MMvMmFDkWiOYEXUF46GgUBZdqYLSOwb5wUdo
puf3+PGdDzRUiO80FWO6n7I+hCKpgc0CQmXAf3EntVQEudTqWwVs5DclYC2Ehyq1F5FRG00SGsbc
3qiRi0S5cEeoTU+2ewhGxTelbqzzsi0crG1tuFUENRIDXP8h7LKoddMUiykvSoo1IWfJZV7BjCcv
itXY1Q1EDnzkV1Mlej/SbS4hgA4AE6iL4ZDluD34n0nByWPfZ2IDmxGYn3mkqUjMM2M4w2K2Mci3
G79PajU08CjmUvvgcXJ5KVUIsPBYe/yxauGV1CBBBNENeq0wMs3RdQZDu4BS39BkAIRabU8ejNwN
LoJmCv9o7v4jzP1V81rfyu71VV48Nf85/9UX3owdzXL5P45/Cfz3n588g9iPfrGqJZXjjXrtxsOr
UCX+6u/e4/x//t/+4R9Y/N3YABb/wlUt55+G5Vm/B8BDW/xdvjb//CM4/fb1qfv5r50oZxz9/O/F
S8Lrp/Lv3xMfftYfNL3916yICuAmpnNw7Zs73b/R9L7110yQxR/CW8ZETY/M/m80vWv9hcQY1YaP
HHQmBuFv/Y2md+2/MO2DwDdKWOStASAPf7+VPx3ZrwD1c/lwlAPPfYPZ0wppP3CN/qKR4QGhlfZV
BR9YV1VrAIm8Vef3P8DM61ZDWvKNcsdvA1ff3r28P7dx1BieO1xH1wVskIBFgME+SIZANOHP3+Xe
oZyChocpxMVA271uTBFypI0p/458vXoq69w4cNLwVe8D+bKTjh77GDMxJHW9V6zymvd85TTkjCEF
ymL04MkZzeuSrLvS5A+Qp83yxIeZ76utlNNgm2l2MSra/8qRDNyN6Dr+MpjaOOWkYSNE1BxwCnXh
NSR7qbvqW+eQRsUIEEYQTZCZexiNGirLId1Af6iOSs+uVNRbg8SeNlumo9wA88UvKfv9pv7RXrqg
Lx1E4H/J443z9tn/vav+n9txsy74/5nAckY7+vwk6dHGmv/K740FlrqJjQAmGfYUSCnveCrokf2F
Xhk4CuhZozs3jx3+7CznL7BQ8DdneXyMY8i86f7eWKCwoLU2/zZM3jBFhcL8P9hYbyOsf69wXMJD
0T5LOL3hZ5CrHa9wlxZAG2ayv0bhZa0yDiXwoh9/9iUdfrYt/FBg8eEm3INgR2E6ImEETrKDAirb
gjHl6t2r+2S/LTi9891ALQvaR2DzYt/hP4/vhmhaVjnIoddD2UxRZ9h7YlblvXZh3ofjrttWpK4h
d0GqdRNOctXkBGoOJNxCb+aHzQZoIomgStoqEHfaLrtN3zntDrWWiWoz1ed1Hz5oCnnpr++bHDeS
f9832lkzJAcdezjTH9+3ZqlUfm+wa7gKYARtYvsB1lUSYSYIucUN7/psF0yB3EurD6/rgGTr1CrK
zdC4w5kSWfeiql7cN2V66ep9Rcjr13f4Bns4/s6QCkXoRLieUZDLuRrmPY6jC9xhRUrz4FRN/4um
tRPnneeuMI90z+DTBoah2WJGooSRtJNfrD2SR0A7lEkuoATqVM5wU2dcXPr1xDdFSJEoGwM8Bc0K
RnK0L7c8yMyrVqrsPNTmiJnsDG7WYXqq3XTchEBeiGksjgNMJzC2RAI2t8PeBWaqMAIpjAZGh7Y3
VFFvdrYTjQpC+UFQpUlGcz3Ebj4dBCy44OwizecWle8VFaSRsPoakbDJrNz4ZcOSDOTuS1cW8BxN
ueridmqMl4oZQRpXiPMxmLwbQ7v19QTfutd6FEj4c1SPd417a/dhhBo8OG9bKjfT5CB5aWVHoNo/
2UUMw11+pkcbgIagscvv0IELkG8Z/aXNJuv7xLRzh8TOq2Nug28agRRZ/0gxYE2IJV/xvVoSlRJ9
MPDXg/ASEEOrRj1EmwdH6mGVZn2q9qiHuhPr5bjTjVmPBydw2MkBqwjEINz0jt+vWbityATltxMB
yLlGcbOWQeOcQqQvPuOHyyyaeY6NGiXgsLFCat9sDDblm3LqQvQueJZG4G5cNCT/gRWYx6jAqvs6
Neu70FZ31Wg8fL1D3tDv73aIj0YfhiUzfBX8EPOjG4k/aAjEeM1hqgBoU7anL6EF4SdewINzRQgU
1/yw2wwalZHbD+TXGHLjHN2O8qzoYKtaA3C1d9oQ1muofaIaWJOEwqkXeqyyhlNZa//UoKluLGfY
VtmAvdJ54oxUBdl6jgRXxg64G9XdtC3BDvyem72+yPTYXHUB+jN+zvjWbYR5HZYDOeBfEAha1t4j
gwy2X7+KBRoAXx/jPkxDgV8CahWDiEW6pUfPBphSp4fGtiJAUi8Y3oNgJZQ+gCUfvL3X9HEm2ZoO
/LYFq+XE9T+sPqSLGOzMUNWZibx0smssKj3pFM4hnZx276aGj7c77L0SxhFtOpboYKf0lhp1jxGt
F8DqQTuRC9RXgt+HeyYpyvOiGIcTk+ZPbwtDGZitY4KPyfrxpqDStQCr1jZyvvG7Jy1y6dLc2X39
8PNRcbQM52eHIsRM5nnLxY8vMuZwvqGo5A7ok9gbzxoi7fFupzp5YvMdj33mj+zClxdkLeBpZtDh
nHO/C6EWzA+FA3D2YWJVFhuc5yJqodmWCECo7itu6ROn5PwDj58MgRrcIDwe6B8AsR5fsMvbXpXE
lofMESuzh1e9ILGsvJ89CKgdcOAAaFQnrvnJUkbfHqNWpEqAyGFkcHxRYBwKjLz65qBD9Bem7jYf
QYLo1KbS4tlH53IK/ZWCRajJ8l+WVZ1ol398ZqhTon0PPCcSwA+Wr9SrHIGWiz4MRp4l8FMabwo0
HtEklMOVkNYzbsnaA73Wn9rDi8UKJw0AB0DEIKAKYLG6iwju1EqgwWV3V+DYTJdmQ+PKIHw/+JbL
Ikzoq6gUdFo1KefrqajS7+hy92t3LNptqwL1hOOIX7O0tU68kYWsJMROANtCJYW1gMQWY4QFqqDo
KXY2MuIrT04oqoPe3VftYMVVJdLbaRCRp6FALNPCXpdNeOYLDaarHn6ia4zehV/TrULSss4h94l4
5A9JZWIdQV8JxwMoQ+uvt+NiBoTbBaUDmSjuFuUvwG+LbWJYEGIwYKcMxFMPCmUdGb06J+5FaI+J
BXXXTFrrwTCitJxOfMLF2gHkDNW4A6MqQFlByFqO9NKsrhmoEOPVWEsMYkdva2FkGpUDJIybkrhr
jjnUNoQA09ePvIhAb9cFZQ7TdZSewOounpiUGHE7eT5d2QOliRBcwJ8ZRhkQr5En3u4ib4blMjzC
AWIEZRHjJCyG490JyBuRPvWKa1iXGpf+YJzXkwFqrI9zhqcqykdHP379dEuyF0qMEF2UmdyB42UW
Dzq+ZoWSi45pNx1gHz5FdsUDdCbFBNM6uyNbv5yqFRq21c5ulQ+Tcu8lNdEc5n5N9ubUkUgPRg8J
bhZsDBP+FdHXt/c2Kf13lJxRTCEydOjtEUAp5tnj8e25Omc1zq/xAJWtb5yAUp+pjoIoNYZgVUDm
1spGGploWT9AZ2A4TzMqLqlSIPrA5uAMtT0YltphCR3QJQm8sYw9wBW6KK9F/uj0otjNlnoBo+BJ
UK+5rCw2XXSF00ZSOw8qmGYemdJ7CN2yU9H4OCj9fjiA+wCnhKALFtoiKFHho22a9dMB7X8vDm2q
zmz0kFfNpOG12OaOsS4rIvYseFbQlHfyRsdhCINVLKJv1pgKO86rSb18/c6PNxruaq5/QT/HMrRs
LIt5lb47CW237QuVjuTAZGH/dANVb0Eq8WO4qdWrnBr6MQAYYk1S81Sm8+F94MqAyCHNQnML7MPF
WjR97XC35uRAU3jKoueexXoMyYmT/nhDz88HdSA0zWYaOFL55fOlMvMG0gbdASGu33S2+x3GSn4C
4QrjxOo93s+/rzS/TEgzz/SCpcITMBYzaId3BxcI/AeXEzBw6vDMIhjkDhod+zxEW+rrr/dBXRSl
ClYU0NBIGZG7LxnHQdvoHqeBOgAKxNeekVvXXgtrSosb8pYh+KxyGI/fK9gRrkzRyzjIYegGK7sK
ECWdbTE+ZoDX+uJUpJmL0KOt/HZj8x4GBh5em4utPA26tkWTqgMILUhAqEV+YFylztLUnnYc1K+z
tICvEs40IETMpt7jaGFoHUASv0azIkcVti4dN9u4E7P2pZDPPAtendooYlmPp2Sn37QOl7c746ng
9gXRRazI421g1eBPGnbTHTprcNdTO+gq4p6Zbfy2XwddA+T8pKqN43fOGmBWfej7oMAcy5ryHx6U
mmL8TLEjZMrPYf6eXaLKks9uK6uNO/Prq6zhr1ZNq33WgXRctBk9Cxs0CXpHQr+qccPz3ArqlaNo
c9lx84dZFO09AgNgSBB28S9teIOCXzl0l/mQhodeNsE6Z9AyUMQVUNh0WkzFai+mqspPJOVvyfDi
3SA84LyaYzOW2GKjBp6GBUWftwc79SB0MnLQzcbW2bvg3e49yt1zAS/BbT+oa5dP/4u989qNHMvS
9asM5p4FenN5SAbDS4qQSSlvCCkNvfd8+vNRWd2dCtVIyLuDg2k0ulCdStHtvfYyv5m/+NidPvkT
YnQQXD0iL0YHtIBtWYPhPVnJdDUJarjDpCx/+Xg7vE3rly24wJhhnlC8g1i/hBfGXZ51cyiU53RS
2401pSXjRRnO7Zhqbjtr8+rj673f8lyP6Tcvh8weWtrbVRO3KXQTzWcGLsviI7QsG8x44tSRRRtm
avWtpcGD+Pia7wMaJEriNANCwHiIUL69ZmaYNGvqoDoXI1PXWo5kN2zVyWE7fwaC/YfXCSQcfVW0
AxbT3OVWfjsbRqHvddS/qrOZmQUqN3FwVTDcdqIwyXdp539GA3t/Pcw7FWxKJXqJDADlt9czMj0M
yUGKMxrkwt1QAhQL/HCyJxFHYkmIy0/A2u/OvgXZC3DAUimTIJNcPF+Dm3sd9RFdj6HWNzNEbdzc
w97To0a3Sx0ThrjEwLAW++6TNPOSIcTBR5cBbXkQ4kvFe3ksIcell7HOo0aWMDyNVTS+lFI5P7S5
diVXmrKmbSsiDSHKV0IVafgolNo2Rcl5VUpCZwu5XLgmo9jHREbSZdQbxVaFYcR0b63za91x/CpI
HDq+2dSbXFUEp1KRg0T3L/jSoeyY5qjbsJUjT6naHChBPw2bdGi7fTEXhz9cscuzLlbZS6aBoftF
bC1rHy/InmUUhCkU/cqPvIzwSYKbTpuPL/VuQ15c6iJ9hxmZz75EADBLcXSEtHkEjIK62WB9acPq
UZ5a6ZO07rXx8SY6UiUx8aIZS9VgEIPeLlq1l+JCh1V1ZqmKuxFj385JU6t41IsK83rsox3FCHOI
3fJNVc+9S4gorhB1CJ26zsJVl5mcg4I5i1s1nVZCVqZrQWhrz4rnyCsHRT8X4MD3lTLm9qQteHyh
/bGUFSu9FwrRHuu5LJDHm+N9Zc5uNZrFrs3yzx70ohjkwRZHX6L/oumBh/a7FoYwLfyYLjkLMxxN
ouGBWfzk9EB6vDwTRtca1duwV1pgJ3gS2er48PHHfRcelhtQmQ5xG5xErxpgv4WjdOjpzSd1cgbD
FNKFFnT1Rzaog0ey3t5PQ/aZrfBFA+XXI5vYjTGQYVBEKfz224o5AyBA8ulZiSp9Z/a+p1Dpags4
OB+kehMIhXqV93XgliryHFGlzrYWjp+1xd5neTz5Mk6mRUqHFrnrt/eBQZxBqyRIz3U8RevOssJ1
ohpFDALJn+2u+YFhDIyDYDRXoHB8lzOZbnrPZ/IT7dT7tfkcxp99jncHEd1iYvUyrKLDAtT34qYa
OQcVpeVnCUWQL/AhU3ce9GilJYJ0+vjLX8zGXj8E3XgKw4X0ZxKt314LNQh6WdQL57KRE7swQyTM
J6YsdqA1gbLqoyzYdYqaexIKMm5VCLIHL6DbQSsDOCWVsaOB3aSTkMfJWpLAz4CRA4PYyHThIMZv
jSXZc7oEgobvW0X4yaH9rtZhwghsdzmvgRLQlXt7/6ok+Gi9029UTdy88jGPPPqc5iex6FIeY9mi
r1D2RYuDkHTJhSUaaKY89MW5F4IfUW9shsj8Uix4Oi3SgNZpQmsXYeSfFOh8tuB30hpA83Sf0ORx
UhHW2cff7Z82EDqaGOlBwQCcfRkzgBriomrlxZnRvIGxeWqtkkmOd1Gp35H/zcd8usY+UtijHHMn
Z0O36T8rRJYm52/xmSYOyxQEB1kMaxQFrLevPhBQVBfaYjhJ9A1WXTt3rpqIPzMNXYTMaOp1AILd
U/K+W2W0srKs/6RzflEJcQOg0RT04ujpM7xbJBl/z6KUOEiY5on1uWx79FfmIV0VTfyQx+Jz0JSC
g16u6sZ6RWtWkT6T5b1YeL8uvnBtEEWEDHfZ8BHTVot1vWzOwRh9l4VJPdAMz+4+/szau3e85L7L
O+YhQUVfcl90re7nctC7M61Vc62oQ+DNTKVtPgdqixNS2WRSerGX5KDwEMXBRS4ahpUQhv6dXs7J
OSnM+VmPi+QqN+NxrUiJ/zhZZfAUNGK0xqk59ORw7Lwc7V3PbFvNCzt59qKsAQNKw2bTDiYD8jy4
xmOQvmnXN/sxNJK1IYWPvZ5ma+CL1kqcwvpKT6aGGnMQVlM8Wft5HotjOFapbQRGfNePWNWLjZx6
oQzC1q961Q7D4mtVecW076eoWfeGWh0+o2PJF6kL+xZeDZQQPhVdEU6bt8sk66WkUUZlPldW9E2Z
zMGRLUHcpZkVaVjfzfJS0yN3G0fysPaDqfwahM1T0tEvrtMkeimLrD32ZV2ezLCFHBCGjSeUYWH3
sanvyxw4rZYVw7UWTpZj9VoOTNzHSrUrJvmo9IgKN3WQbuZq/szm+t0aNCH06GT2FJA0mS5Xh5IJ
RjaYoXimdkDDNx6FExBt/+bjRfhPL5ARC7Ja6JjSW70UO9IjcbBGv5bOXTq6xRitgslYAfOGdV97
ptTehqa+wdZ3HRH2kiG3+zy/kbJ1HjwEzXWeo4KrTEdzkOzOyldBu0nr9i6JBtscImcyOpvNZpfK
8KBx4n8SKP/h5unKSjhkWhLh6p1S7wAGFOWt1jx3RoHZYZFg1msWpPaqPAJHVNqIrzw1qMj0BVIG
MmNCuw7i4qhWjQqYks5OP0EGK+Nhdqp+2M2h+Q1YZbnWOs3aVYyzT73IgMEUxPQ7dq2hxykEyhdy
gasFGmNOWR42RWyln5zdl+0DFvaSr1FDQpcwZZr5bxe2FKtDGoaScB4TZfJ8kJCMhoObdO7Hm3nu
y2MthNZDo+M0pQydYQ8GFgBDBQS9AEgaRCpe6KI4VUg5yIFiE1Jipkej7gLBTt2PF9FFTsO9opzB
Qb1MaWgcvs5vfksxDSiwYHQ7+VzgwUGjuQB5X86Rkwiy8Emp8o+Xol9I9YeKOXvj7WsJIBSkARiP
s5zFPvVXla4twBCrhOV1/vipLvPHX4/Fc4El5T/veEOj1krD3JbKGeBFt0nUQHKzCZOtUBH31L92
WBfRNkWjZD1J1kNrTfIGEDbOclEwu7LE7hDj4s+y+dd7giBt0pUFI0ZcePv8amExvJtr5RyFw09y
6TKX173un1JlMD75qheFw69LcQjzQWkMMdJ6eylYLqBrwSCcRym7FywR4kse6a4uiBjhFEH/GXVq
yebepBwmEQjQJDgCg9nO5aw8UAtW/JxbZxwOihddwIFQQgHGzSO1T7F7SqTHEcG8xgUPuZl9U/hu
ar052xBN5gThshjU9hSsVKBcXwTR8LdzFJVbieYnY7cinj7Zoe9PHnofTJWYEi9D6sve59CPGf3E
Ob6dlRAho1kevil4uW/ACCkM2+RuW+fRZ+7Xl6khH4VTDrQY/VayeubEbz9KX/azJfVZddt0sr6N
C0ZPWa6XHlIL03XdggLJu1F5JiyXbgLR9HqGubBSQb79+lz/C9/8b0xqfgsU7wDT4NtgRGXPzd+g
6bcwTv7qLxgnA8O/wMAtTHwAz0BSiFS/8NHLn9DPQdSBWTu16e/4aEn8C1UN0l50iNADYp73G4xT
RInckBZh0tdlwG/8AxjnpQYCe41VxP1xyqANCGbn7UqylDlIklCVNlXZKDs5TfA7q4TMCN2yBL4Z
WRUAJT+LmGLFSuWpgCGkWkyes14ZDlnNOWtLjfgSG3G5DfXgBiIdgqy9fLZSFR5V38b1VRWi990H
/vytr0bJgdjKIBL5iHyr+s2x6Ie/hVv/aFX+n65p6+c0es7/y+7qH8/dfxU//+u2BXGLsfS35hJq
vPzuf2ON/x+B7C9ikP8zgJjZ7I83q2758X+Bh4EIcwQDgloiBRMkouyvZSeQIf1F13bpOogoMyB1
9W/0sCCZf1nwG8EPYD5LKricq/+GD1t/LeIcgEOWMowRnfFH6457+y3ML3ga7ow8gdyWApcxwNt1
N2upEaSWUN6LQpkldh+KdbgaFWWXQmMqbX82qqsWoKlsZ/IE1a3rdYiXtSytAXfOgz1FY1whRTsH
h6G2gh6iZzZ8n+jsoPQal/ehWA01aWDZHMG+hS/znCW/OuB/tMr+P4WuL2XGByvvuau7N0tv+fm/
A56us4ZAvdDsBJrOB/7XyqOy+Iv/F1wgxzvj8kXY61+EEGIa64qOGH8DzAwQBk60f608/hCRd5Rh
Ke+wRiAX/iPk+mU/jJH5601owOoBxNOTfbv0SKug6uHFeWOgiu3KYbyY7LygJD5tShNtnUTGsElb
VAXMwHeTH7VQ3QkirbHWmNwc3JndCKPxICHkEkbjNkK1xhF9HAi7/hsJwMvrq/3fVfbfHGEfrbKb
Z6yA36yy5ef/XmWK+pcBPQidEhpjJItkrX8fq4r0F8PLhfQDdoGSlhD29yoz/wIyz5EKdgdpBdQO
/r3EoCMtK89CqouGNR1S609i29sMFmcsRhks4MVDQuVovcRH9jJUyqIwpoOFsi86eQbmy6o52aMU
0VAop5ZCeMLwXclWv72fm19J8u+sI17HbzF1uTDgJPDHZAZUX7Qz3y5sEQKmlUhDfQCnQEjVY91R
BDnfSCPwkI8v9bYt8felKDKW6Q0bkhf2pi/Xp1U4dUNeHwofd8qE5pw3avSvP77Kq9bff4qB18sA
LeGMwDcX8dtLKyd0aIJOTKvuYOoodoq1GXqNqKX3Bv5ju5amhaclyOMjz0r3vpXjKmGchy+ow00P
z9EYSisEBHXdneWqXrM5/dbRpYKRjzwb8nWldOLiSSJWT0WUHFlv2HLk7TTdg3NsviR9NYAxDYUn
Q1BSW5srC578GPdXfS0UlD9tMjwlSdE9y9MY72BImZs6zwcX4caOHrsvVrntK9n41ZqRfLE/fjn/
8AloHIK0AxiDgtKlPxGVZSZLg9geksHoPGug9eF3Y/bJh35b/r1+gVcKGwwz8ChoOr390HosqkEz
mM1Bm8OHvnKV7iqshnKtoCfzSaVp/NMToUFCt8tabGguSXMN7nqRVvrNwZ9oW0wiiDUoOb7ixZOT
dt+QPi4RZ7CSxikTukpa7XV9u25ADpiLmlV9I3fPiRhvCe4/AkFdhYO5zqxrkNdgTa60xnKAxzkh
kkla9mBqmdtV0Fcx9x0Yx9U3fbQTW4d2ry8yIBO/qtGXuN81hZPmjjAHTmiIK/SCVzHKdmbcebCc
7XheI17AovuCTVtcANJN0Ar3DzG4/jE+TfoPv32YmC4O0RkrIy+VdvARnVK6yozJGXRPMYOV3OOj
pz8bSnptlvIm7xhVfcY0evU+vdhKlBJwLhfFY4b2S0L2W3emi/K8R36rOTDDkNb8q6ebuejFSf4j
SgqwJYmEsXIYp15mBcU6bPvwTkqSqygvRU/zQ8GFYKXvizob7MzHuLPtHiVZ9nr1Ry9JtZPG6uxm
fV6fYtrON36M7yodk/0oROmqDRXFkZoxcmgRfk9LrYV9rfV7q+iNIzCJys4FBr51lea3SqKX22SM
Br5SPq3lvPwMlCNzBlwGSoUUmPAMPZT3cdnTiAFNxZ3eHrTGVFzDx32ZEDTt5nLWHBUv1J9w8Yna
BlT+uM+Ux6DJ5W2OjSgCCvA0el+vsFwBBK7Vi6AAPFhbEnvLQScIuiXxZTMCOXSR5c1WqoqW+sdb
/2Kc/GtX0g5mpIfEGgfXsmt/+5gCZiBha0jtAZ011UF3oXKaAIpIW07qqjGHfJ2amDQM5gjiV+q+
GLE8rT++h384bCDvEp05Z8CcLMXH77cw5GovJnLSHQST2bpvCfGeQZi2NjX/M7DjP16K0/Q1b+Sh
L2JQroYwvueuO1gViKBRRYkDfWzxKezQsP74qS66fb/eLPBDemrUwrSSL66VKY0VyF3ZHHCD8Y8Z
4B0EVTLlNIC73/MyFDsJZ9MxEPM4hJJYrsquViHZVNo1/HndQ4GluVq0fz7BgbxSZ97uX0D5nIMA
Ahd1qEsVyGaYCrnkRDmIsnAX1L68aOMNNu3jMLURiDIdYVA61whM00G06tGvIsVNchy+yznNtp2e
xxs9HeaNIKSU+FmUf/n41b1Pe8Dgckob0MFB6KgX2YfqB6EuT0p5KPAwA4RcF6swGdOdPtf52oCe
so0RyzxISvuZ5eLyTd68GnUZm3EOkiDgTnrJWKgCUepAieT7KWnMlTElpRt0pv+n5y0StoxGADxR
GS8cp7cLvuytkvZFrO4zsR49ENy8diMXvI/f4rvzFjAvk26QYwsghv7P26voGE7M6dTP+2yi1C3r
etPNomSTuVauALry9Wr/W1xQXPB9/ucS9vhcN+Fzmv7dvWve1hn81b/rDEP6C9DEAqenLPxVTfxd
Z+gibRQIFiwHeGavJrF/1xkSLGwURcnAcYpidL5ktX/Xsupfy3gEKAMwS5SeoYP9SaHxdq2wxdDL
YuZJtk//GazBxVqByZdmgxhl53oUEduF8YmKz20/IK7ETPYzX9W3+/vX1SB2LHAAxA0AJVyszDgY
xpRmzdmImsTLTvIcXA9KbBdKeyyUMLIN1fjMl+ofrknOqdMjAidGT+EipjDcCeUOVSZm48b1GFmc
q+24LpsIGlhhrCM52UeW9Ecp7+uDLtzVpXpcvGguX2uv91aHTn96lgG9bvrW3LYjEDjB3KeR/hlz
nUPlTfTickCndfptsMB5r+8wFmT4jO2R2T1b1xpwaQ1tHtdMvoujLY0BE9/vkQ67M3/sglsJjaXu
ymyvlXyjJXaNqlvgyq0zS88wUmLf7cLvZvDdLO7H6kvY3Yj9tu1/KuoWmypsd9vQS+M7tbnWw31q
wnxaRb2DW3Sdrc3maUaxMQ/IZWtHvuvqbRO66iE+FeFqUr5PxZ3a34b5VRpez8aTLqznEmrJ2tfO
SEyX8klUzyb8sEaCaiVjzVyeWlFYQwrsjE20HuWNgGKFYBqOcjb9rbI2dghk2yFAcePaegC/ELqZ
1jqcF9GT+iV5kUvmhjez9i0VsiNsEwfedVXcDE3kqNkPU3yazFv83yrGf1NP0Vae5OqlihMUgmK7
lH/0/lfUeO3csoPOa5RtXyzT/9RWqkd/PvmoE4WeOMS21vU8seYI06MR09tWvgjRvh53AEHR3ypt
S9qL5a5M7OYmjxzZR3MLtZrACSw47iuEaOtkr/qugQ2m4OjqOhAAkKEo/8mavMj4fq0STjZ6GtRh
5NXLKvot46vioA4ycs8zvjeVo+sI8ahY67qTqIYsBB/+ehMph3yo0ESiYVW0SPj8FiH/ob3wLtyw
GUi+MEmQwEq9cxyHkdzCjdXVc2s+txPiPi3q144O0timEyJ/kon909WAvRLWKAbZhMrbB9YEue2K
udbPaWfd+2GJMhC6iU7ex4exDttPrvYu0Cy9aNrlXJF9z9D97dX8ARGGThnTu5GMF7muCl0z494o
/W07ZHvdiu4ROPqMsnWh/sBH5aoAE+EH0lGHBL4kvr991AmmnqgmRnJXT9pTa2zCrDfvrZbqCgvD
aiWRMNl1qI+rJhk2EGdYy2V4F2X9SR9y0246U9lmSE8j4ty7+hifP/7gxvKO/5NYcX/0y5AMkVlx
i7j8JfIukjUhS+TAus3LI9Y3fG0DJStzo8kuhu8SunHiZko2kjduRcDVvovuU1iuhB9Iyk0WEAAb
YUH1Fksd7Jy87FjvpV211XbGep4Y2rhh5VhHveMZHX6wxqYbNazBrVDod/QCmKEt7HRPtGMV3UFb
+C4cmt1CZrf1q+YluA138r7+mu4CL1z7q2olG04u2LJhI+Pon7Wnj9/GO9j5r7fBjIzUjMnd5QEY
lKiuTFVi3Zr3A5SBbxRdMSx3tgAcOdXxfxr74j5tbfkm3S8CWJntIy9We5UFTsiuHyrfFiqnui2P
wz7+UbzwHEYJwuiTPPWVmfz+q/3nPi+Gw3UgDjQ1Qus23mJwjqKiiRVr7RX7YoMFD2H0p8S7fUyu
Zs8/9Y/SdX6Ydt3KsH3/KpHXfuj4x3BrbQLfkc/KVikc2jFRsbG6VZG6WH+kDAdDd04OseqY430b
ujl6HqjFIRbUOJxg4NMRMRpsY2Ps/e1wI53G80RT3bBLGi6VO9JGC3EaXqc62mPX6rifNa9BcLG4
mfxnsXhq23NeOUptq4/plW8Xnrop1/GpPBbXcuIUt/UxXn+Web+m1pfvja4wYrQ0NZlJXaRTCQji
zA978zZ6EHfStbSdr+NDc5VdWTYi4l/UB/w3T13FarWTBB9UW8MnpXF6yxMkanBn+JohIA9DsnCa
cVsPN3W9xscsl5BzdPh7qMp0lCeRR5UcVqu8dMGpRZ07xRTNjl/a0LsrdYW7YXOI9xqQh6+cO4YJ
1G9XlWw6L/1a3Qq7bmt+ib/qX6Rjf5V5wg0Hj1LZ8Skency0B4LHbYeRn3pr9dsQoxSDg3OD5p9Q
eEK8HmbX6ldpshJbOwvt+BNayCsi8/1bJGuBeLygdi8Oqikmx8nIeW79o3+MHrqdsg3vfad000MV
OuK4EiD6FF7YOGiXWJmdHfVt56X7fB+tK9c6FVskWT3VE3Nb/kKvPD0Wm483MhDri7hG32JBtC5+
GVT8TDzfxt1SLUZU+qvplJrrKFsX0g4FFbP2dPZjkMrE/31S+nZjrTJMS4JdCcDHOOn9Kc63orXT
h31TPqnWPbI8TbMygqM2OaLiTv4mjpzqG/QyBpItTIKf03XouwJC9Ceo2LVoA+ZUvyeVbT0HN+VP
WV91xX0wPZr1tTSu+HNai+lkx6EzDY4JB9JwBsy1kf0q3Ei+hZvSVO407Ir4iulBnbp+tE5DLwo2
rQFilBcsse0s5Totdr14j7yvM8VXc3Isq3XINJ5o3FxHMTSI/KpVI6czLLjo97pyZVkuG7PvfnDz
Vbum1RnDJLK7l0ayFf026fax7BXJqRfW+vQykSvq+SafG5fGAkREZZV05CEaNi4qj8jNqIBXTdo1
A27XUKSJkVCQWaJ5mNhiPG9aM7A1VweVN4SSXRsIopyN8Kbvjo0Zeb35EBl3cj7aGSqF1vCHqQxD
RLSilq2uLF4J6sVW9zO50ecZVGWutjUEUyTh9UlZVb7cOHNlfHJyXKYyDC8WgAfezXDimVhdJBdi
Fqs684X6TG/me1OTuikJ/EexMlATRW/xk+X9th0CiYfRPlQh4IKUh2g4LH/+W1bBWERvkNwObmM9
w9xcqmaX5u83hghLnr8LY1V0ImOb99jtBVXlJmjoqnNQb6zS2NWF4n/ysi96assNLTgXClVSK2hb
r63p325IGGI1EsNRPKM8/KUeQs0jcaS7qh8CpUuxr/bXrcKhKmQnKxGuoso4aXqB9mQgnoxJTT/p
XF7metwOaQ3QObIufDAvEW3EpjHIRHk++/WwVucOB1GgtTog5WVM484Z5AZesfbJufy2i7m8BQaL
rx6fy4Tjlzz2b29hjJTWMItOPENTRcYkaUSnh0zhjCUr7+Ml8P4JF8+0RWWbcScaHhfLWwhSNDmK
rDu3VSvYhb9CRrNhfhWGVJZfFSUG/ymp3scXJVW+DKswjFCjY5HzVmmFXiy8sZZLpS5L+ZwkO8yA
MuTP1e9WCmW3uJpTR403HUpUAbC03laQv0I61VbEK1M8alZil8WTVt2p7dkvH3LxZhz3+Xg7lQ9T
81K1rJLxNkwPQ/sS6Xu1PZAtJ/k+mTfmtMmr4zRvSsGWVIYzIUUchHE1c3D8ctsM45+tUW0SuSD4
UeGZ13O9iuZNHSNvezIidv1N3h01fZOJT2JFAFeFq2reYG+TCD8Lao5ZRtUYzLAveAZHr/qoB+fO
OhvFQ2VQCW0MbsS8FgJPVr6lxYM2rYrxqglwlNlwxvXGKRUhs2Kg7Ur5T8tY5J0PunVtGjx05grp
Wox6u093RP5ZWFnCFzO+l+crOTxTYRu66/NMMOESYSerP/xurfXPUnGVK6eoukspb/V2F0vrEL+/
ftrCq7UFDtraNYRDxFyszMxVbWJMox2nwuu+hYXgmPmzhLtAqH1tsDK3Agib6xQr3QaHllM+Ueyg
je8U2hYnblndUj/rxl3f3YX8aJToTq3cNpMzmg+d5UnKSlY29CigateQKPHTKFcKEy/tE2jou1Ob
tIzOPMJOS/eV/fQ2rlXQ7QND89VzGAUpBbvOHK00Wxtz+BJyn1A7kVQan+zad9m0hlQ9knGLPxvW
6GQLb68azsHQjbmonGf9O5jvrAZaPa/EKkA2ep9UPxvhSkQOmtFWF5yUdhcoOz9fSz7g8oc28wgo
zfgkmF5qHLPxKGdXkYwionYyKQW00yR99QNHVe2SfgJJY72D4RLQ2tF3U3zToMahxLzZaYcXUm+5
/U42DrmdKfdkdfON7zu6dbJg3+DeuYw1A69XPBmvQJgx5m7uc7sUdznMyuZHkHuqtmrhz3z39bXI
uxN31qlPjlczItfDdRg/FpNma2ltV1GGuv5hVk+lUdhG/WAoO+Sbo/o6VTxjtPPoE1U+EDjvQsdi
DLdYny/yHiBq375ls6kAL+SKfI6UHbNdsgXM0rbajb9KneFn39vFce7t+lFFrp4J22QHgR1Put37
J3HejUVlM7ZUnNE4luEhVV+WfwliqLnZA+OorHfT3J5LV1agsyMM4gm3EyJtu9g4hvnxuqDXBoYH
hQlAkluVs1mZfoyozCcKuia8goJ/MNfYZlLpKb1tpV+t6HmKjxY9H4uB33qKbkNkh8eN8FLeSM3R
EFwp2IMSz/UHf7rvu94xg8qWp+dAPSllT6F0VOe1oF+XyJuTB4jIxGUDAaG+nqZnk1kX7NTWOAtR
Rx19gPlaOX57FgV6doUjdLscwyNMzgLN7me31tehYmfBXaMV2BW8SExPYyGxtfpOtKbllU3Ug12y
ETkG6qNMcR1Tw0fotmPiPtq64U4P0qGTj5WylgdbF6/U6Fw/D24gIakJ8QoGh3BMdeSfq2vNv/Lj
wY36tVZ/V4ht4VGGRhQhiO4P2iGvbxrtQQr8TRJQjpfIOq5Q4g8drXspRu3QtdE2VPiF6DOV4wtT
1Mz4IeLhjK2S3cyhJxXrvG5s/OaN9psUOUbmE9c9xSiWUsiv16+ufTUxM5lsQb3Lyp0/bcfELTv6
el13AwbVzvSXMv2uKXeyXfeuMK61hKk3OfMmntwA6TdojKNXmPY9H3Odf32QX4TSw4ciw9JedOOz
cN+JrvQd1IFJ8VJ5yrCyCsdKVvV4TMI150F/aq/GmRLY69nlLgdNug63U+z5xroQI4hHqyrZTalb
3rfJnraql6b2vEJybixtJdiK7gG+MnKTgZOz65tj1K1wItY3ltusiA/hE0zN4muwt7ziKnkWbqrQ
xi6+P4+rbjtsgJg01x29VH1r0Hc5h18D2OyCLW6qW+SF+hMMkEp1sObbx19UW/Sd6VSrrvol/6Tm
u5hNLqkNOrUMJxfDmkWQaclHfkttCnL5LLFy+RzXsQmhtIRYXfXQRjm4mBZGbidZq1jMZTYofa0g
7VyrsPapTmMHcvAV+OP7RjCQwvjMieVdLkz/EKtzpv2gopjqLnHntztjYJxFUDXHc4xovhNoMP8R
2I/+NKPk0aGggcHRGX8iwPD2KhCMfNQ5J0haEVlFqXUPYijeqGJPkT8/t+J8g6L/JzETqR9+6++V
Nr1RpAEQ0Vi8NYmdy5//9mxggwQ5xoTijOBRNDuigaDZhkZUNBMJvAqOmm+PykqXNrl8FQvrkHU6
P6TEWLrw5db8gQTuC+EHXVNaFl26N6QzrChnBO9UVc7YX0UaMWM/hT86/WYefkjZo9HsxfSl726q
GGuDh7z/OWOmotDFcsCAGDPYcZtJQxK7neaQc0p04W0sk1gDMaypyUHFxBpXBZkURNZ6mxvuCF4K
1n/ksGOGhUZmM3kI051JW9kDjrGR9zQ0NiQiJ8yqHd+hX+jSulpL3uRUq95rVsGVefK/Fj/9++Rn
+VisAK7vmaPwc0yNvGqlr/qn5Ev2Ij1Ve2krf51OAv/UbgbfiQAPiYxRbIy/+G8ebBYZqxkS8AZ8
Omak43DK16ayKbOXPvk2ZcdR3os94J+jGF+3w1ZocvxiOGnKTa/dxszni8fMzasDG3yWvajaScne
ookTbNNokyuelaxBZXBgI8KPKyX/25/Fu+opKe3sCccao3AM+p0SkY0QaKdIeD5FLx/n6hS67xcP
uBcG9ksH5H01MrUgF820m88h9sLVZtQ3MX41qieNnm+hHObx/6u6K0dbRnA2Lh4sbPWrVbm1uurL
u9x46YorevHmfESzgC6jKq1x1SjDFY7AWoSJBEKmdlA6zTl9Eh6x7yiuGofkmg5Bauu3sCwHyY2z
lXzt306POiDCySsKWzupj/2D9DM85w8LqfAUHLAjWgW76hh6Cb/A+poO7ljbxcG/7jxjxT1u84fy
WXvo14UHUlzQnOSWcP9Tq20wVnSVsZSLJLcrcdSwy014bWzS0haf88Y1Nvq2rO1aukNV0Ct34dcc
uJdqp6tm2/6kE8jBKdnNk3ZMuLWjckTy2BFW2TpZ627jBQfd5jBxRK9eUcEIzzENGjZU7Chf6bWI
t/7BvxMH+h10fcTv8hYHRno8MfAxuzqiqXilbPqN/r0hWq+wlHnB0GgPN0I7Yeih3lUgrR7ZU3m5
imcXk4Vh2mn0UKXVnG9EZlb999I4Tf12Um5x0Flr48EKvbhx+LMIUAqHQm4bZ/Ep/5Ic9acOviqf
5JjdV/+XvfNqjttK//RXcc31woUcLnarFqEj2Wx2k6LkG5QChZwzPv0+oGWbbHrU64t/1VyMR9bI
EkWggXPe84ZfgA9Y0Xz2+FH7cLk2Og5fkiPBMNWdMHGqwkFcbRg2VrPvhb3Z3xaDSLfuYzPtBnqY
xPcv/cZYm5nTznTtvSFcAzfp70G/SY/DN+25v5Vbphh2zXcy7YwZZeLRQRKwstGdNHD8Hi+OdaOt
5faQpEAvV4bq8sVF4uSQhp9DVCIqW4+dMXbNyRW7la/tfMut470irTQJLiSKUSvkOsLhPqHFiqlw
912NyKfOCiPifhNV60a9LXxHae4GSpPYayFPVmtYkma5Lgq3HQh1NoivxHdobDNEhFZgMb5jEnml
injfAoHhvUx6kBCAyv6OJqZqdWYafjafss7obGNgh/vRmCKZzrwjTIxdm5yk+kaXu2NeeGATZVfg
HycTNVq8yg/qwr81rn3XkeJ2ODag9yMhbzHwent01Ap+RkMXSifpo5VbkydqJRPWgrHGaF45pxj1
vQs1AGfIDCBPMsp7140QU1/pE/R5TqObbapddxhvhg/AKFeWNxzZGqgpzJKThbtufCgRgJI9iRbx
o3xUHyZUOo50yeP+iO93TMdcoB6hEl5FSF7njoy+YWibX+dHQKCO9jnLHBSv9dZJsQ0pXHqZDWv7
KBtehpxy4wy9Z2TLAdXF3li4NWVZa4vH+Puy0e+mT6ipKvFDoB6m3lMIz8fpWO7lT4iVbLOb1pt3
wTpaW6dkLXjtfjqqbrKmt/rE190R3j/kn4eb8oCsJ3FJOQAKrOKDwZL00UD2tBk7mx0SJG1yO7fH
MbnNVO7DVY9j7NDxRYWMcOhjJtYjm3kvceRIjmrwbpzhKDwusfFWPHL7wW8FafijeGS+Jn5UvgvE
yHRPn9jA1eXTPLvMYSiIiDH6UTlB1XQLR7IRZrshv12pNuetK6/m73Vqi5YtPOZfkDMq8VYH2/Y4
sO9Mu3rmQS+hZjPv9I/hqSns6KF4WISsduV9im/Mc58vp6b1zToOgqNKoM9sfr/50hO0GCUlFBh2
973w8tvqLvpI22RnHrqdtdFP8XPA+Tzs6pv0Qfs67eTb5Iul0Di2jSNNYf5fGHfxowJd2XLx7JGY
HEl7TVm2KgCytL9v/L3ZHAbLFVZJsUv7zTTejP191x4j9TZQV7DVOt0VFLeUVpFJ0CE8uGixW80a
DyGh28zROgpXg+HQxcA+Q/+NhrXeELjdrHE0tC1aO3myYLkTFARb96b2WHa3srxBQUGeTrJ6mzRO
qDvoxwr5jdDdpu2d0PpOgrxr9KEMdn5jG1f6un+zZ5lUAELCuBS6nngxWDE7ZA/8sZ1PUJnKO0GJ
8n2fLS5c/ah6eC1MV7L699cDgg3PEAwksxI279sYsQgzxcMgJCefhjJGqSYRs652hZh8m0zhGsbz
hXXzNptdEN8ACCHxoyJoXvQsrbhUeqTqk1Pc+KU7T9kXTc67o2IktTO1X8HA+dFElRS2iyMliItw
zEFmL6bGOsdVm8n0nhpG9ZOwbgHtO6UF3toKmq8/T50uHwtPnm7Q0l1HLgGX1YsmZzVCGWjjLDq9
GAsJdccy1fXWpdhx5gG+788vd6kAgA4N6Fo0btHcBgZhvFQBr7L8pLSyuWzS6GTihbZPq+kG0whz
lTQhFOho/lrpVFRTrETeZM4MWkLTWNEaxhdATet9X1Mz8nlqFOhUf6NbCGwVWmnclFFy5Yx7AR2/
foNg3hYN/EXwSebZaBdPpsmEyk9qZT7Lv3VcD/+B3k4fhDt1rZ39tbnLvOKeeWl4DnbFs/JEqGco
Gv2WYnaQ0a+1a1DY8VEtVvjb0a5JAUB0h4yGS7QSolWSuKQkGGzLtH6kiPP/3KkHtd9YpyzeB9I+
x0qz2pPlVakT13Y+MXBCbhKNLU8ze3sx/mxXXU0SsWL0aQ3k1/h93OYyzdt7wT8NpPv4eVUePQES
kWnPLxXBjr4U3nQPUaAyIO8sUYJORq/QInGiRZDDMTmPnlqiHxgr3ApjJ4zdmiRQc8rhyiN+Ab1c
PmIYH4x1+Idu+0UMSOBz0n5NxfNc1jd5lyWuYowadoMclKUwyja79nOfc36WCdlVJt6pkv89tpJi
y1Dk+POledmzQ48X8ybg8yxt6MuXYvuUwqHOls3PshxJTHHSO1Ud+rUffZXkjqz1ceqLTTyM1xxr
L/vAL9eFWUVwwifqnQ5zrpSZpTdRfu4tYdVKgLpwP0IAQPfhikYyzSy98X7+Ud9tej4qqF8yNzoJ
8Pwv2giCKrWNpFTZOS7i3quN/QT/hSKPbD7OktU/vtiykfCrAnGCxu9F4B2DUYtKTeO5xtVHVA5I
sBXzGUncxymNrmWml8kZ337RF6QjC8KVY+UiE1QqRaS5HQxnzHNoueUNuTYWiFdGgC+HxduFq2lI
WS3kOxFY7Au87VUUi1VlbKRK78/mLU03Wq/2+IAM3aDb4sz2J+lzTIreaGOmR61xA9HTyHcAtOaP
XbQt8n0cngTrrhz3pebF/rqwNEdLV6nmyZlbtl6HzWp1UOqHsnHTwJWa9Si4lrppMImOoK/sW+wB
KRStfaB6cCQwy7B8z9IYUbvSd8pJptaoopA56oEbPWQP0gdjxDPXUyKnPJB78efph6S38YWsQk+q
nIDsE5O81ikYGaaHQvHaaDNmh9hYDS9FPIwhU3B6oDfVqlK8wFhjRJhtRB/9nHV/m6+v6WJeTv14
lQteDjEpwoP5jiahikIWRqnYnUW4q5be3zHjs2dLHmHh1x87rbgLaef/fK2+wyUuAmHoCUoso2Wx
Xpr65kY45Ai5imc4CzFl4OhOiAd4iqaB7eob1YX3S0uoHze50AZeVZTXxsvvPzbiLItYCCNdMPMv
x9KrpSUGcxAO2pifU0H9kEZZ5NRq6DtxlVdeizCPGxffEQZKr3zy9yGBEAweE/FndB3eycI03ZTU
EZJR50mvm12LqDtYPC3UnEwKhCv9xb95ysivKfABkEYBC33ZYBRasfOHuuBig3muRGnT5GnMSOB7
OBwLIS85bTtMVixGSGlZXEkE/+bqIE9xoyD9IDVDhu9tJlhw3od5NNVnIRctZhYzfhTBrdJplatF
0e10M1RxzBAw+MBk7uPPF9j7x4xQLwxHzJqQHiD0vr22rEY4h5p5fW6yZl81MnWNiLNS3en2aKHq
/vOrvT/SFlngxa+Bz4mY0UU0tAaxBuKnNWegFe2GRtbQbke4fzYyKx8UOQwd6GgTA+bEvLKc3mFB
gYDzKXnFNHJBpSjy2w8a8mkMoWQClmUTILdafAjBQ+fdGQPOfV4r7GKZkfTYGgIUSMV0QIiasIi3
uhUAwSxTcdWiPmYMqn5umLP//MG8S8+5PeQkFE57Bvu4O1wM6OIyFQDjBuJpqlrTwV7oe9hXzUov
ysaWE6b7JAMow0eMMi1YP9TVFNFV+NRGMsMuDMBWrdkVXqaT7pXKSdbSzqszEG9lfOVW360Y4KoY
NSyyUGjX40Xx9kH2OUKaI2I4Z6sEvz03TEysspIcX06+hhWIsp8/mXcH6ILJRvhqcRND4eVSislq
ukbKA6M4T8aoACkHt5L6XXplD2pLZvfmAEVIFQgNfZtF859X8fZTDVqtFAjrRecKsFpkZ5b8SZHG
UxPO27CKihtdBa0WTDNDYLUq97rGfVhCqtyOnX7ni4F1hKmdrPAW8xnCaDtsJodDqUXKPpHoKejz
R9Q1Ge3WsX5nhQK4obmTVrP8FfsIigr/ixWEwpbboFtKU1hOx4NVaXS7c0t10noCbSCSqLSqsBMS
vzhZWe7GSssLwNpsXRpic9/RHfVbs7+fDS/1ZesErGDS2uJoVO2E2MeV9PR95cQjA4YIP4bjicNJ
efvImghNS9xvkWZqs9gJUAN3erEqXCOVCkecaflFcevvui45EswfkBIY7Fa0nsVWvE1k31NGtX9S
ZQvXH/oAtWzVK+QF1CshR77sxEMsAoaEb82ShyGyebHxKzkPOsvMo7M2CNFaGXrlTmoLAS+RVran
luWEszhoAly2GZADPW27TVOFLGi1LRysDqNjkH9C+TjbzVZ0kxk95Fq1W0dp09yoQrBvfUne/HzR
vztzWYIwAdBRAI6hsdfePlqly2vcdYd+QXRZa4VFccNszQ5EoOsmVHQ7NcfO/efXJEAu+QaOFATJ
t9ccZA2ErtnXJzluv85p85yF6VPqJ9vM9DkEmXsJYnglFUdFkO/6dt8tssEsIHIca4kob6+aKEot
62k7nvLIVXK4ymfDwl55/IC8YFB3diB91LJbeEhttct0MDtgMxdzc4saNXCGqvKw8bYD+DxYnItw
MiKzcRUqtWYCV4AAcTADxZC/GC3w3y/6WMCn2tc0/OD+yP1dj2Jvqm5i1KuzkzweetA9ZYKFwLFN
XWPycgywFAqhD7g8O335mElfhsprGN912la1Vlb4HdhvGtIZ1Nc+HfVMfdSLjfmU6+6Qf1SUPX7e
iWSDkmqOmul1E5MwAD+MSXVP7xwMrO1u/I4oeEJ3PKvcfIS5favqd0b96NO/05/UVMWr+i7ghusT
Xud9sSoRYBzpxB6m0p1MW/hE1GXgFWlb31hBZGQ7ZZWX5JArOM4BQq6l8kpYfn8KIIfPtpLhhYK+
vARBpuKED7guEyEVBeTESHPTjw4IBzrF0F/T3v9d0+NymSw7AWUZHA30S/JrpGWZGFXqcOrU1SDf
FzoKRncNjtWpWDla42kpjQLto2F+tspbn5dY+Oew/Rh2u0b5pKjPkvo8DrS4ymNQPqfCbeij2Oip
ydPcrcG8dcXeF5nBPErm4zR1tho/Bb3sYIptW76OHPJ9gNhW6zPRAFTRgxkZki3+IUN4W8jrwPzY
WUCkym9yUyOUS/+CN9R0kSMhqtQitySNT5a/Q+DV1mDzDLrmTDl9dTopY9Nu+xBnpSF3ECwAQKcO
SOirA005GstJ60498AhmaVYBnyEu7HaiJymiq8n8r8PGXlCeJe1bJJR2Lh1xUaWYquF9CQD5c7oF
wceqyNY9tz7Rz675UxkK0+CL9Fc/gIqxxWhCU5bTJGHA3X/SfoM6MNCLr+34Qw9YKXVk874uT3Hy
TWV4nMgW/YCtCSvaCh6s4D6qPxX6SQQxE34swO7o+8qi0oVQBNAti08+N6NaWwsv6PIT8ClgzKOb
KqAnWLHdWtBcE1w6nehqa8r2/KHgzEP5x16ECbHs5KR8lL9L5zF0mYBLKuCu5EaGqaA6OMUvGvXl
vXDPVLD/ouyR56A/H62L3FExoCYitLYKjIN+Deg12S1A8nFIishzfhnkD4LlFQFcd76N2w9ul3iB
4lShq3drI96k+dqiNvYRhL43ht+shpbkVja21bSK69WwsPGmGkAIYhTLb4/TXVsDQocf14xPYogl
tPypKz6NzHFB4Q4YSn8Yvs0GdlBeZ64hFzKgreUHK9n5qZPLu6D9GJjbdP7N6D/PrEwT8gq6uC+z
6i70EuIY64SpqLUuOk8xXXPcg4cnFPIj729q4ZyAjMJGSnZHeZekAAduss6Ly4MOUCRvviTLPHm0
k2abS/cqNy+U33rpvk/P/niOGTY2mgdZxKy3Oid6kTzm4W3uHxRpLQfrMNupwdqPb5JuF6e7qlvK
e2XegI7M5zsp3+uSm6urTDtNwxNEPqV/7BC72HbF3WSuR3VVRg91AjXwJHXHjsG//ySzPeZxq1me
Zd4AZM+0DXI6CECEwKB2OgPJ4kqjSV1O+4tAAoEe+1RQcBLp3rvstWgLPOP708wAMAJbigmobaBJ
s5ok8RzH6bCdK324U9tKtZssuMlHOXJ9yw/XoUgXpepk+sLJaLERQMxVCemv0SutY+gZOIbMZ4Ri
d1b/YMb5Q+sv81u58FJDBP2wAMFywFptFo7ragzowPSIfyCKDxfSEhN8cZ+QFpDs0sgq0LI9vBPT
0yt8cVMdvOdi7dvP8pVH8r78JCeCcbjUgahdvjMVFUqtiaVQSM+yLw5HPUSjXsldWfV7e+4lDuMe
MosZfBm7Bo0gMeiuVd/v3gk3sPADF+7jUn1fdF21TuqNWdPSM8WbehOUR7oB06ps1e9RA3SwbVEN
Smuaw/WEeXCezN8gjTNzKlnoP8+Blrf/ZnUsd4I6jsz4B+Ovl/7wq14HqrehlaJIcp5T8RPCw5zd
ExVXQaqL4+dBQ/X7H6enyyV1xNmA8GuUfxcFeJ4paTPLKq3PZmhdZJUHp02Mr0ppmcdMDSBOdPJW
r/MMPGzje75a39Wj/KBwGO4qcwLRp2ePgVzz18ypJgXKe6etE9uSn42RQwv283jlKb2gut4+JlgG
i8rX4iskiZcpdTT7UTJFVQIMjvXRS3m47kdRdga/611piPD/TvvZlgPKJR20bmxlwbEFYhEwbuzy
tF+pgSWtJ1Hs1nKHQ2yFClDSBdIq8Bt9hfGatTaNhQOTxYAxmrZZN1Kpb6YC1FUYRl+n3GhuJvSx
h0m+Ziy0VHqXHw5KJq9EU6FxGBcZaTOVo1+oc3KWIVXYSDM9TGJ8Jb9/byao4Dfw6iIXb90PtESW
Ex8gTSMy6JiNbBVJdQmOhp9UE8afEciI5qS0YlN0v/TG+lh1d/mYlqvYwNQkpeKWBvluNOEHoZLr
LVMnRwTK4M7xBM4VlK8/wl3KdBVyn2BuSjWAllAKxspyebvKtVT+/S5emukyXSxEMYEsXuziMjJ1
VHNm4YRDMJmLEc5eJfY0B8xg2IYlRYtOXoABuTYu7d0gqKHVmjoArcG8skBfWvgX75DJhQ5Ychlh
UKW+rSpaS/UnyiTh1KFcrbVKv65anqIwq9tCkyEpyOW0mkHlqQm+jdKk3FlRS5IAT8LDtQMtMkyB
1rFxDcj4tzcmLRIPCD2ICiIVb28sL4c8TutaOFXWNDttMJyUudqSH6QusQ3yb95+6jvfHX3eYRYK
e5E+gmNMoKR6YWzQmwvPRTZ+/HnYe18jM3ahNGYn894o5i9qv7rro3gKyuCc+mZ+mKlndaVb+6k5
7Ofc3+q+VbtlYmKCiJGXo/JVjt6U+h7deC8W9mNxozAlVcVc2ASo+pIr6N9zK5xW1ZSLOCcWvy+2
/+qq/ItK+NW7eyeLfP4c5e0vm+f0Of/8v375v83X5xx1/PyXz/m3Xx4WxWTkeL99/sXp8vDza82V
l2/7Q7xW/RXHHmZflFNAlF5rJgtIqyCgQvlPtwS5/9fqjoLxK/NQCEjQ6Omeygzd/5RdEVQ0RGnS
UxBqDElY1f9AMvkiHwHLhNb3MgWUSEmWk/EiNs4j1u04UO3EJOzTVWMUDMxcrLOqHPU/VLkfmeyV
xZcgUUdIpCHusKT+UkeaFctGCE7/1QM+/h41Xqs+Sm8DG9MeeIXsCz40JJWlj/R2z+LnN2FVDb80
DRdyhll15O497mu14ugKNmVfhb4xEf8otKwHrtDMmtVsxmZWBFpgRuHngjfqs0zNilfSFdTKRQNl
0XJHunUxK0VpjYaRenF3gZWlFgloZxcMY0DLl1lXkfy3RpiuJxJdDNnykIkNyN4FiELQ0VKzOsZ5
OlorzVAWKFQQmOK1+1qOyb9CMPCERdlgEdEmn1s6BMtTfZVKyUw+c0GPdnWupcXkzWKnjjdCYnUM
j6shRaoEEo48U8h2YpJXH4h+ar9NJCsyTEfqY1/Ht3IQphmUpZUjXqfqUxM/ZFJqPJGRpmPvJnUc
gceue60DW+RLk5j+np39D8SZhyLjx6Xq9WvR6//zb7WMl9v5D9PGZhL/ape8C0MPRfJ8oR778jd+
RBjmWL9K8H6XHBFGF0OXP+RjBcmQf0XmSwPQAJT/JVb8oR8rmAi2o8rO1ocriwDSsvP/ECm2fmUI
SWCiRFhE+YHp/IMQ89LN/2txwqZgGESKz9RNJJqpl0zKxYdhmvVSPMvSvVLd5YHrr+L8fpL3hbwf
gq0insrgBsKU7UP61w9l5jXxat6pll0/WYmDk2pq7bp8XZS7gAXtj3bwHVwr4LYHWgOFS3bWx0dj
PEBA7VI3UO+y0BmlfasvDGxrWAeTNyo3laXa8P/0GQWymFrDZrfG/mNYfxKxhS+dag2dqu3NB0Ev
3RbupBTvtPwYRRgoftLzu1G8tWa61XepfJfDLhQBuZv6rZR8CFR6YIgWTepmAr4YnPvRhg1tV3dN
tSOI/7Mg+eOJcsrwyhnSoDT9drsPotzifJaJ5ybSPmp9ELljoBp7ZTZ+M8aOwYXFOFVYDU/C2Gq3
hjL1bjwAJnq1Cv8uVr9N3pfbWObUjDHBSnF6LerYr6NOjutbqTTqfE5C+YPUSeZJw+RrT89Xi+KP
g1l81kv1MRNHga5WvZbFUnY0JZ3ORQzMoJcef34/b4Mgt0MJyfJiooT2DYfn0kV9FQSxJMQUXDGH
cy3X4qorI2vVzOrHVpnWWazvZEUStkD1fohe/Q+ErbvyOT+39fNze/u5vIxe/5FxiUf472XnHrr+
c9q9SXwW39s/wxLS/IQjyuzlLH+l2i8Z+q8gAZkxMvpDAXIJWH9op2vkPZxf1os6oUVQYs39EZUw
kkBqjtJdkflri3nLP4hKL8n/m6gEVoPuA8GNRAPFIm7i9WppDLVstVJr6ZvREczor+9Hhc6clnXq
Juoac5s3Y7bWg7o4yr1S7tTSL1fppM/HRhn7fZckKVi1fB1gsAXnqEpuLKutHiRpzG+MXISog+TZ
Rq2beR9JswhxTmt8ZEMgbyPmVV9pbSx77a+PQ3xHlGHhyBPqwT3hI/v244hqrSGjpahnjdLeDbLc
9GLT/IoqmLB99ZL/Ztu/3WY/rrSkGRj2kA1dzoi7rLHioey0s5yBWArD0dzOIyy0XCszutGhflt2
iy64lUrzlYjzNx9ycRcBfQM4h7i33NqrHR6aZTGameiftQjZFwQ7gn3qq3SxNH3yfv4p312KRYZh
ISRpC0lYZmVvLxWzbnoLU5oHYdDbVTjpn/EkFh1hlLQrb+4FDPHm1SHggsIiy5Dsl47cRdwi5daD
TJ+qh8QQV1nQbE1TW5lze5NXoleN2QrxRVtTtnmQOL36VInCvVTITgxQ1P8M21RVTSanzSYc2t2U
HfGecPte3WZqtsrSs9aFj6MGlSBbmELNHrTvvu7pEIWQPjtZujKoXm727YfhrFfYnvQWufBle9Ec
p1gPcV5BbnmAFyfSaxpfjC8m5ruRKuSrn7+nd6sRINGiEIIcB+cRK+PteyoHSJjxVKsPZMb6evZH
sHDCCIMg8/NtOQ7WfSIYtB3qqyvk7enHPuDKQEZVdt6LXd/FCjHieAStEqkPnaEPiOflECNkP7uy
2y6bGFyGuR8aH3jOMqMWLzV8pVLitAQN+9D5EghUIUw2aiLM6yQzoHOZqcsoGXfngPlAUNN2afwQ
M3C1Qc8rq6MDLGLFE1Ce7ipq2D+D/f9PHICpudh1oaUOKxXvrosnj1FiV8R+8Bj5QeH4advdGRKT
a79kkCUxFfZ6CZyjQc3z8wu/oNLfrDGSWc4GUg9E5xY3wbdXltoZnWBdqx9blckZ0zotxEjSGPL7
qpmeaqV/iNNpcozAEu0pVb60CEsOCvzJTPVh8XXHcFAamzbP56It10knPweS0tqQjL4U4MFUc16P
ZeWNMCN/fucX1TZrZin0oblSxsJCYMD69s4F+sxqMPfTY6XJt/6sr4e0dAvTOjQWMmq56mhtbkeC
+iT9gN7/N0v5F2Hz1Vt4Vz09IYwbNS89m1XXdjmr/DlvmTptv/3v3//unwmL/ivgiMX57EIelzrK
XEqspSWz5BF/JCuS8uuS19DEo1xamCyEgD+TFfXXBfuGOi5RfYE/S/8kW7mIAhR1CnKZ0BF0eg/U
ay/CHq9OvgBXhCiSxPYx7mJG0bWSpQe8gw3R0caxWy9YPzsegyDx5knuv9A1QcHKFBsGFYqePPpV
Wx3SUclO1O3zujGU+sp5ucTZv/bkyw1SRDKioJ1FsXlJsBlojYu1qbePVQy9CMz8Do4bJuRJVl0z
wX4beH9ciubXopK9lD8XgaftjYGW/tw+TsIE1XuoAy8Qw/iKQMu7BHE5/SlZEbRV2a7vhJ4GJpNC
zfTwQw+7cC3pjCgzEKpjVYgOaKQKeFwHKaLFWftBSifzMFfCbVKn+zr0oe1JQb6VumT2kObSzpnJ
ExckK3HjaUpWhn9KDJBtCZ2tTRyUCpS10F+HXaUhaGeJ14Z+b0dtyyOjAU5mTbTE+Fm51FCayAzr
KWvCD4YhhN8MzoTjEMKSI8nCOiEqLcAB0m5U0Rjq1Klc9+nsBFMiulmrAaODjps2WQ2A80FT+9jr
kyD6/Zz7b3z6F0BjpPfp+C+pJGUpherP4hXiAGX5XLf0mbdNSqv5dbz62+/1R/wSMTWjcqKD+qMz
/FcfiD8ih0CdAttPMk2R3fuHvrf46+K6yQAWmD1DieUY/xHDqLeYE8vkc+yBZRps/qMQ9rLIXoWI
y8dgLov0VQyDvRZ1UafG2y7bh2psG9Jz1gNXgdwkwO2WpgOgGHlwp8qZ5scqQDXRYxQSax52tpq/
Sws7hLtgOBz7RbIxvia6rSLYop+q6qj7h9la06JW040xP6E5ExvfFnWZnGlO1H6t1HtJvfGDh97f
hhRIhoNIjqR9jsKzmRyE7mCUu0reN/qxMG/U+IhtdMLPe8Hfz9FdM6IPDUPP3y/uIHJ0wDIHPv7s
zO3BWHSS0bxJvhg5lvGnwfqgRXcFurE1Tm/qoUYetrHgcEEST28zSGH9VpdWvb9H3kbPH9APTRRH
RhE/3sj1Nhw+yz26nDjPS37jxN0pm86h8jCLWyF5kubf+mRrhLd+s8narT7tg2GNOYE+rHQiCfM3
60aXfHtOP1ioZSZOO9pFcjdOaz1aqdpdaN1Igxen+6bcjOFOGW6n/gjduPEZ9e7m/tMCsEMEgtRH
oaUm4PizMaC5zx/RY8Izebf8KFaz+hSO913yUA5I2cb7DOqZdqjVc9Wc/fQ2DjcIF8TIpppeBNKz
spPZbeP1pO9qYYMupQzRWFrJ5boKf/dY/0dx5O/bw/+BDRZCAfEAcgtietQwMM/o5P2Zg79LZR7z
qH3+9uL7+Nz8chuxhX+569p0ivLg77T///bb/4gWhvYr+xodGSY/NFtogPwRLRZrO52UhpQeZ53f
x6Y/goVsLgkPVZ1OD0YxGNr/GSwE4ghdGT6MSKpCa4DZ1T8KF29PeUDvRLLFiYBuBg1ipiVvo4Xc
gQfqIz34VPWAhfs61E5SEx9K2ilCVT0PdImLeT77E2s7MfGNUTOvNavaBiYxeHWuEFj/fNR/U+68
PUJ/3A/IZoweDSihiwnl6+g11KDBp6kPPmVJWa2EQEeZbvkpQS/FFRL0rLNOfPr5NS/qhWX8txCB
0PpZ6KgMEpes61XIbBQZp18hUh4mXdhrUu1l2VB/CKawsts6TL26GlUnr1AKqPLwgw6D++c3wPJ7
ldWpC/gTgDJ1ClSsJbe7eAlZiFl8hR3ZadYm20LYL6wAC6koW+vCViTXQD5NOQALma+Uve8vrC2n
FfnXovjI/95+8LoJQmh+inKSdQFNFwOy2sBo1lb8/mw1w6qBGKJJ5aYq1E8//8gcfm8+NCuYF0wr
mfeMecmCHnh77bhXtTwD1Xmf2ImNjIB9e/vbdps5hhOse9u/0Q6Wpx3ajenqW30boVhV71GtOgge
ipSu5VgeQmr8/vJ15abe5JvWPtabll9anryVj62NQidf+LV3vh51F/mTT/Xe8lTX4I/jL8OnCdFt
alCEprXbYFt60mE+BDfW43gPQyq2p6O87W3BAUvn9Lbh1d7XI9/069eWX45O5/KcnMi919zOQatn
5aMzhAKvp9joR3i1K67FdeGJ635Vr7Lv8RZqmTs41sbaaG68LjbI2CIhMH8TD9J2Oo13452wRzfe
M27kW2EjrpFNQasI7jXfTUKMe/n+pqdthZViW5v5qB6U7fKdOtt3vm/2hY08mmO4y5dZbrWp9s0m
dc6ZDYrYQVB5Ddd5i27W2npoNoN9zW3gZQzxKu/4/X1C4rYQSQVjdJl3RFDn/UoT0vuVe/eAJvu+
cop1cN9/iYB1t3ZoQqnxoGkj3L0JPLi3nmRDkFzNm8gr1nypRy9l9bw+7CZmOrVznuxhE7hAiG1+
w4u9xJ2465RHni//3k6SM9j3IQejjRZr/mgdUYGJ+G932AhusMqd5e9uNj9fuC8d64vPie2GAYEB
cP8S0t+u21LNhtbvlex+TK0AwPpg7sa+igED5+shgmFfTPGiNWjSEGmrm99/Qqkk7LJw+/JfzTR8
yoO+WeOohLGjAfI1yqfekcYScfS+AHetS5W49aXBqeWx2L38JEFhCGXAekbHDmUcQP/JIDSwjVSo
qsOdn8fizmfj7cgBf/yUFzp0Gj8w3L9+7+Xr0CQwr0SxFzejiycDpIBuNecah9dlD82f8zGeUDO7
ZwywE1ThRs3DU9yGN2b2LLTtWfI1Fy76QRGkW1mbGauZqwUpFFjeTCNNRltR/BaEOFKow4MR55+L
wrqvjAg1LGvfZe1Tx+TQb4bUzr9E6vAJVM6mAEOtTTXyHd3BKvR1JH0wpdn0KDSPMKbXVTmioTKH
ax2LFETdbsY2WaEt7A2q7xXhHX18NH5Kz4fjWxhoVuj9JkXNCniCq6rtPibJVFKSxCo9KXl+HpDo
HjAZ+PmiujiBXoIhxk1McFHfZdp42eXLYrOzZDkL78WEo6aNDcyJZWRXxO9ii35a1K4l7Qh6fjUG
Vn/l4m97u8sb44VxAi4yfBaHwcXpY6K/OI2t5Hvwx0ensobIieehtFV0GTytadtTqYaAtGPjyoJ5
e/q8pE2cfXiDkJpJ8DUvdpI21GYzAgG+ixv5OclI3uEHZqs5QN8raDQ7bhUNMjIuLlbcSOsrj/zt
1WkkUa0zuV/kSphjkh9e7uMOK41OEx8qKUGk5f9xdy7LbSTZGX4VRG9mJsLgEHcwwt0RIkVdmqRa
EimNZzYdRaAaKBFEsQsockCHI7zxQ3jt1Sy889I7vYmfxN/JqiQrCxAp4qRH6a6O6WiKmqzK27n+
5z/dyftPl8OLo1YOsn735+bsBQTVMLL30hN6871ObpP85KIHo2oLtwo0HGU986jbvZ0/nyxvZ1D7
X42uPl0tzi4H2WMxks1fSixTWs1RmVaziebD3SSdYT+c5a3kz1SiUi+8C9V90hkcgaT6c37RA80L
inR2O3ssB26gNvd3mkgq+YUeYXGkOl02if+7q9S6ucyGbbqqvJvN8+ezm5ufD6+ub1+/AAN0BSQu
o+I+b0/Iglzc0vUgmcJHN4DEYT7LjyZzqcn4Nd87HqRIfPqvHF13W/80XM1v3i1v2tnLLIMQx/zY
T+lt0OtCJTVfgU9c7q4+5BNCb53e7k/DX7uf3g2WVz9/6C7f3F7erI4/TX7cG0yvT9PWNDuYXtFU
4VN3tft8+tfep4PFzfz6x9v5fPc5tATL94PJz292+9e952SsP5jz48EDqiJffvi/SkaX3ynOy6GJ
s77L42z1Pl7ksyWt6PmGSZzKb9+moOvO4EySYOxT/9LDA5UR3rPVVfz9d6M0ny/lCyYYiNVgilzr
Ow/g7ovMlzw0wCzig/MxI7cHOwRTiItgls/S+aT8473dHfptcDoxNszDr3lPZWG+NPWHZ1Ws4cN/
56EPj+/C3msRKPNBT5h5n8g3tftgivD55EE0V1ag3SP1D/cRCZriIagU1gpIEla1902iYx3z1Obe
7LE2ZtaG16pYm7AmL4R+qsl3ByBQiWoC9nb2HUQrwUVoUZB/5glu37ukaFRTJ84heDZUTnnyiXm4
ayAQFiBRoOsCXYNCHNUE8RMuf7dF6Igr38ejKh53AcD98MAcjA0lD1ZBWOe/x6lVHYIWwTNDYEaU
q3icFWi2OzvS/RCKTKxxs1bBLQGHVrUEA1YABlDS8OWDTKlogJYcAoqVOxK5CWv3iXkq594BcIt9
Dmke6RTzOHMHvE8vexL89rcSYQprDcov2l4GkPruytlH2hf7j6Svbn+3u4NxAIGepI94glME0jJe
dQG6O+J7QOCARqnMvAnkGlChSZcVKxOc9ScVhqqpY+EAVhMI56CYorsEmMW0nAMTAcWEeQpbKyD7
d63s56n2b7PTRb4RHIf8rZAAriHU7PN7Dj8VOqWALOyOkNZA8NGqY9Bs75EoovcT2QnnDpAm6mAB
Yv9YCyE0+Sddu1Rz71NYQXoAUEtp6boOUHNPcmgcDqqrQr0DpUzeXgdQ2kaXCCo/yysgSqUqCXtD
sYSpdS/FgGBoWfSA7oCkAlTHAG+AujmahNHYt3zcRWi1dkyxP+ZycQ6CU4TFpmx/CjodNL1kfkle
m8ddAJLJbTGVwYsXvy4Mz4AOARUFylPQ6e2QvyeRPiiMHTnolYuAV9yl8buEz0O7ABRsK+febA2J
9UgFqRSQVWbd7TNrkI9oh0BPvvbyU4druLsoWt108jGBKTynO6I1kYPb/Y7WCey20XKiBqUCrbL3
xP/gj5Jy2eCMX6C8yhMvIBgoC0lMFbtem/uwsyN4Dfjf7+VhWFqPgiflEuAAkI8DLmg9XNa0sv1N
jKMeVafgP4qrLyHSsNYAbl3lGnT3doh/Uz1mz4G7BpS4URoF4JMconmCU/ySUVMZP50+27wHmNiu
gCsEiI7swCYK2UVwgk+A+qqpE+ATNlbqme0NcC4AGSAQU/DfimSUJ7gQqFrvo9wgVBGGhmKGMsWK
CCA+JIT61FwV9ywgew9aCeXuY/JAaiakHBt33zj/rEsLVGe5OOaFIa2BVvq1d3fgr2GLbZDfvfu4
v4AX0RBgGMwTntUvCQrlOSARAkYVvg0CQcXj3IF2aweCV6DzGAthqgC1LURlFEEAKZGpZwIHgx0K
3VoIiNDO/lq52FODfwh/4NHUQxS7aoLbFdHXHBIUoHqYuvYyMBKcESwVlSr9x7YLXzLEdGUE2A0A
NofDHUEN9/sAc8wTnhYQ8mPVGnRgSQEeDEFKGdrBqKgcgx6/xjGGk+c+SM77QlICgtfSLQERPnBq
IujvJFxlCQZcBDAgEAmXerJ4X0BLoDWBCQFARyG0WTQElIcZVhYAnMSA6gV8oVCjf+hn5RkQOY+q
H0DIUTxc9coSNHs7YJIpJLnLFAfnDayxLz1VITSJcUJaInrQmTuZ5h00I0KQxirmMWsd0Pmn3lm5
/RiCbWCYcCGg5ar7LhWHgri+U5PBxQDWiq2euu9i/gFwgGDLmTrIMKnThIuohAgFZwKVRtn2Qf/e
rvAT7sHDUso999LjHOIdUqFtMVLB3Xnp56dSfeBbBtSHU9Bbij3XAWoOgcJJLylUX6Eaw/OABOuv
WgNJcpMCxAFwt19yAi2Yc+gtadNioQk+IalTzZ30hkB8MP7cubd3KObELrQXQ6LDvCgoma+dO46t
nGki3GVw07X+e2DDYBuQlFhwcy9z0NtLPoBtVOjQQFZAhFV9B+6nI6WS4hCYJ7gLLygN1ZnvCay7
T8NDa86i0itLQCIQ7g/kYXDSXn3ghw8iXkF88cBEUkj6ANFuA62oB8tBd0DkmoX0u1tPwo/SMNip
hIzSPKHdfK2b0wTJMaRNLZJ9o69LRAQ+w5YwHQa6AkKlrLr+iD78XJAMa6IPLxhtAO1bqIFOdaRj
Dx5dyoehISjvuOvttE1KuMv5Lzc/uEiHOthtMjrodQvmEvhYRfg38XXp6A4ovAKKDsvwAYyuvAFN
LJ+2YLvx7O9ueXURWtBqEBOFq4t6WXmCs4CgJFMugol5kda2qJdazKtJ7YMwmVCFXl6V4NZASOdV
krCJvgPcC/sgSq94nMtAboD8F+4P2e9Aj4F2CdoA/EE3SVdvZ+pNqPJkylDqlvtfnLeQHCB1BqiJ
MKQAjMgPoV+7wRU5ACYS0KuUb98nBgOTheoAiBQ5IQs5ADbH60ZAMIjAByEEKiWiYa2BWhK2IYyE
2BGUW6kO3Og/QTIhlkZOlmGw4Pwi0yFUJwl3CQEJBBCS5PJx5QH0CTu8htp/CxYzsjcgccB3adUB
QCg4EGCFKmN90qCzKg7QFqSDha+2UBbBWYcgGLRrQMyPinfoompJEIpEIAYlTFiW3ga089QqK2fd
6wN/gNMRXs1NdoAoSXipKYQLzwaSdnuqq9+WgJeUgZEJ2KADB+S+hDyLPEjx6+DsgHaBy9g+Fijo
F2muQvmHLYFx7r0BghETgD7WrHVIR18t81D/gJuAU9uIEEe8IvM4+tD3AJLsBaf1hOlXdfJB9qPP
JBpwj2uoTF1CQaDLuoPSxgpo26nGVc69hU2D1Ue1T6nu3W3vEAmBQBI6nvLWB7f7HbX/i2tH3vcO
1LLnhoLE4OnTgmZAa8bgbr0a6gDksbdLIVMX78Y8rsk7QOFxxmibUeaFg0uCqGFfxDfgA6f4XVqD
FI8r+MgM0/AGtyC4ufNV2tvf3tnFoqFnDyNVRF5TyhwJANMNI7QzT6xOO2lJ7LWE7caZs9Q3QI0n
wqCQdcHZeMIcp1J0zRbiHCIrAln3RXyVbUcRgnkC+QTCyzzB2Xh6fUctUxeGOcgAa7svnT0RAy0B
ALDKIWl5NbMZASwaz8DuIc18Kxu+t4OtL9TQpfLfDW7uUJ8qDz24Xsq6oAVeS3NB6SCd0y2aNTxa
Fxo1ai+8NJ6ltyldWJ2Np1kte083t8K/D+u8t9SenDD69KVjldhslfNOiZs0waS1YXnggzNn9WRG
AuKCZ5usVjFH98YjCWgrh7lriUyC03L0L1WeekJUcH13pNXyJosOFLdhYif1H6qWKzZl+0gGhGa4
NJRzULNinpqyI/MPkB8z4L7cIywRIP2xlaYOCBbo3g05dEUCNE0cS6ju2qFi+PVEPog/OHw6HRq6
broATToMd2C3gNOpWOaAbB3aJip3nuA8wVvpYVfKeNfMb0ocswePj/TvKR7zwoDWgLyDcg2akBpA
YwN4Y8ByVo4/iW5pwECPw+AcOxh2lbMmgg1cqwVwb2MW16Su+pKz6QXnysMspZx8F8ge51rY1e+O
dWXjRSNg7sFhGdzcpcGDStYLdQPejXC7bzJ5mHpHFCF9++6UYVjajspr5RKA1kLT0b7TVia5di8x
TDC+FHBg8Icp89SFS4LnxLKVMvC7Xa6cf6htSNh2AHiUC1Dct4CkPnBb5SHA7pXZIQBcod8fSt2m
3IF7uRjWBRAtpRIBAHhoS059ei2sI5XLNAgh4BMedRFqSjlrvHhK04bErIT/vHLaoezs9WArGZbU
yCEdc9oO6vYamA4OLkAcS1fqzl2KldokqmHyuRMEgZ12rbRHo5GiLjvUVra9Q/EuD6D+0vYtrlVA
u09NhXL3m2w/XDxSqlWLbODUULBCAWd4QUy1fidsQ3lmDysGY6my40TsW6L3+xaVURytgHZcIs46
0U5FcotoHh67M/UOZAXYs1Qo3Sv8sO45O6Oce1NsVznprVqCTpo6UpDXho6i8BUD2nFppajaceHh
oRm08A06O85hpywFHhbLwxScDSdF86qpY8dIpYG0Lb9TXpXrLudB1BoIVfOigHa9DChsH7PsUYVK
l9Ah/KKFiY4Yr0xd+rNwKEhVB3vdd7W6jTkKDVmbQ+7MXZrTDHbpwhKu/wZBgvLoSzGOgOwBYtSi
1X2hH2Xv2/beB3f2tfE6rjWgwz3BXrobD/OgVCFTh3yPzwlLyZX6Z/t7T30Jbim4A+uZ15YAscCN
x9YvpAL/Dm376Q6kPPs9gdnBvQnGsBD7rqljitS73ba0zzVPcFYeJeTKJSArJ7l41N7GJSCgLV4N
JTih7X5JBrr9BcCQJSQNwUINeYg8RBtShkD3bfMEN3UOpHbXMWOhkid4uzF0CzUzwMz+XUFOeBCN
lrTtVZl8sDDAqQvfQFliWmObB5ddBsgDMvZo5q6ctQnX4r6ZUoqKmScWLqk5abcYXm5yVz1rQGZc
GuIXroBvDglqCAERxdaFhA8vhqFOSiLhWxQYwCJ1jy6s7DxKTnoQgca6T1qHZeq01TU20kGFPb7D
V9aLbeVW8BeoRQ3u8Pe1Xj02zpDKKfrolVZM7QoQuzS8gra/RHi19i11hWlHGDThFKlWDlauAGXm
6PruoPRwOSmhGTstqQZUqbumKTnYxZu1PKvuOYB/D7pdWo1YLsOQ1J6adaMLmwI069RcbCyyA59d
JKntCQjP0NdzDYtRZ6Jb97noyh1owjRNoaHYQ6XHVwRRAzoGhiBSdQmopgPkKlS7rrNLhBOWSfxJ
PP5AHT2xXFRzB4MLzQSF9l8AqkgSS3ipwgOqAJRXzr0rRIqQSALHLlw6N85HUH+A8Idivth9SfYE
ZgKVrV+293ZJz8JZ0xmyv3dHvHr9WQOgy5hawYIV2D/lMWhJKy2KD2pZewIBNJrv4O/eG8iBbb+6
xZQEO4YS4pXahsq+03NNynJ6XUsrEZ4DpC41FEqFPVrHtfY2Q/SkwQ79Z+k1EFyIkxIS7Zmn9AIM
EqktZ99bEvUXn6Cs+QhJzatNHdQ8Mg4qEWL7xePMXdpu0XKZToPlb8ML8ImEUml7eCYlek+BbanS
8B8q157gPpNH3Ze/DdDpU/fWNmSadNMEl7zxFMBBh0VAxU7pFwfo9GlPAX4NyOQOQe772E7lFDSH
wNKhXhMsW/EEF/6g9bnyJmDaI9wHEEyVZ901/Vu75IAwe2lBXFyV8Fw/NeMoSB6Kboh229su171y
DgaGhg37gD505gnO9WuVgEqF/Yt9i3NHiPvexassAb0W2ywPPXbtGhV3LyC9SIRCeRWa0mUCKDox
/o0wFxjHSXoDd4CT0TwB3gVtKoC8Dqae9Ft0EX1gPShRJ+kl/5h1Dmnr1TSD8OyDWtvtAFoutrYu
BaVSHYsACRDa5IEgKM89RQi0mAeVLXX2lUsvqQ/KFsBrB6f7IUpQTprmiv2B/GOdHve8U7xDwIN4
EGK/eELbd2ixlEvQZINh1MbJsR3FXb1H3H9PuCcIiwQ3+YF2/wXbgqCHcsM99ECeMIipRrQmYXAX
njCVcuOhDhtItreG2uY0oODpN2uf4PRbW02qJpBFWmXRQ+ALcT7BdWHp0mIgvDNfxF23N/KoxmNr
2fnSxqvtf1Gm4ZYohxXos0UU2y8BFYkUY4hPe2/DVVUexwMjAK84uN2XOgNlzIM0N6WYd4KNOVam
Lg1FdzEC4CEqlya8ML8HDgJcfqy4HgFtd/ZwrO4KIw3dJQp9H9wJoEhaeQKwciWoB4HufUyncgIo
2zMFmbQeCNXmUcP5aRQJnWifhuFWBro2D/YOdgGpAJtVC8nNkWoblQgQNvVOC95MytEKJe/OvkkD
HlqKd2guFp76k+oD3exx8jjZCHcb9XW9vCZtNQD4QcJhmdaDC/QQp1IuAoQMe8wQro3S8XHNX3ID
fcA+lHvY6L95X0C3gB6oyiXArwHvRoUeIF7zuEsAMxs6AKQPWa/iCW4J1P3l6KlISJf52zZy7hLs
4SAILcGgAoYKyxKEL1J5CiATFQh3vyPMnRUtCBgOqnWyAraVcHhekJqNTTqLUKfexwziMlUmD9c4
bDV4hh2ImoI79h2t40t8t0OcDzqGiotbmb7AnXH/AAKVvw9vDdTtVLHypJ6HfA4qvjJ3YW3owtMC
1jlYuTco7uL27p8UpkvPINNA0gh3Zw1IAJAIg7RHkh3yBHj3tUsgVx+cD/Ld9f/getrB7IN32bYT
Cu3+294eiu0n78/m0yzDFXsEQjn6KEQCQ2Huu5p/TqhXpI1Wx4o+1//F+Yd3bwD2KzjDv62GN3Pk
JbtDn6wvBP1oL4RIlG5yhcFXeBohGb1qehrWgCw3vLoiQ6tivw/Qg8QubdZCnTzlOUpbD6kP6ygt
RW0yp6b6JPhDSWNrYOuZgwv6t0v+7+1ln0R34J+s0ZUgDahrEF7aksA+oEMvqTnwR8q9byLz9yDn
oHijkO31LCdAKNBuAIHK3G94Or9sd7D93uPSIt560BGWYR9X+Df3hHl3KPUNZfAzvMBHt5DJ268B
BT6ktwbEdzeGvvoAHzABBOUemt2jB/cIjg2cH9N3ZT/hQHFz6TRis+ChzZ3ej8r7b3w+8NtSEV3R
e8bVQ9zfob6ecO2/QkYufvjH4qgeTJPZ+HC+TJZJvHiXx9nqfbzIZ8tH/8KXB2jEMtzq9fj77xDf
HfAZu985f/tsdRUX4xd/U37+YZTm86W8fZKkc9NHovJL21fCfG35fy9nuT4B512H5dTsH75K4izK
RtOV+cWq/NY30WX8/XfPsvw8+q76+fYHeeX33zmfWNn2B8fk/ZM8akTzcWM/ys7zsfMG7Pz7aW77
hkmezGbOsKIstePK10bjdGFHMvuJ8NGOezaNWYlpdBk5Q0vYVDv0QbS6jOaN14sZy+2MLuJZPXrt
dEipvXbM5+llMk9GzuYJwaWvceeN9/FVfj5LRnZM2UaBpGrf8DKL55F7mIXQRT1sHo3jWZpfxXYs
+WDB9GlHfhUh4+wwhXDysNA/co5r+0epsn3N9nLjJMqWnIxfc2cd6LHkYeh0vlzEWRYt7VhmNYTe
W7vGb1Egy7TxPhmldjAZGwfO/rj9ipxGyXzZOEqWy4WRpm/i68S549C2+3rLcT5KnDtpnHzt6pxl
7Og4GpvPP0vPo4m7SoIeUr8jzy6K9TngXKaLTcKQ1Jr+RcV2fEzmIz7ZzGiJYC+kQjKP3Z2R8IB2
ZvsZ93cxbXxMskmyUcgTQ9G/5sPpg2/wcJD303mUZM69bkvAT7tAB3kWjSL3SAkWTzvuaeRaRcAx
PQwql/kwXyyjZZK7h0Wg3fpvlvExYZbTz3+bxZcrO6SII2pJ7I8KcSQvOIl4Qzy3o8ngwrzkTQ4V
WqDx+xdZxD37g/MeIBKPasVNNvJdk7Z1y7kw/a2p/PTfl9tmRD51CC212Y+Pcn8SXBdh8W18hIOo
bvVI4/T7j9zOhkdsxnMxWu1QsoTC1Kwd+CT+a00Xw4GrH7YQ/m/xpbLYyP4TsVRwX+3Q5gg8fj4L
H/Qh/+nDPFnG48YpcqKuUzxIoQPWN4tmjWeXcVaz4qhbkGLrL24AMusO7fPQBA6iLDk/jyNnae78
4sfG/3YXGEotKjccWSDCcoPfjoc7Z5nW7qN7edMRa/DI33Ec7G90wZ/9Uj8JA0luueegnPJXHoFn
8yUhh2XtgAFkW5McTxx3UTdS1w27p414mGep63lBnS6RKc3036Ro4Y1XzOgI1djPsCC4wLV14Ooq
l/Y0zTd/s2Ga0K3HT3IT3C/udwjwU7fXBd1MV2HyvGsmxNM28m20xLuov6UPtJZQI//rk2cb0J+6
PpP8Pgb3tQKOMxPVDiIcHcMufAztLkQFBsj2kEn3tS/aj2bcoQ2qgKJHLhO1cQBDezSwMJ2q3BO7
xbxO4kV6lS6jS3erQKhL+08hIwPuT7GCZP/0L4sm0yw+tyOJ+iTnRadBjgM4vwGZMUMmoX7RnTpq
vIlx2LK1SJl0vCXj1qV9NyeEDrC9h8yQYu++nZbq0rFPb2ZWv79UctU/OuTu3YXHHY1of2P/8CFD
gJhnRgijusVS2/XFHf1K5XKwuspcB0rgd9pRX0a3ETctS67sWHIkKbK1P27vOL3Gl7GjmEGlVlL7
va8XWRTP7DjFsB4Wl2/91RlUWpJov/XHNBvXlkBQLdphj/IbIpx2HLME0qhSO+xxfB7NXcMesiX9
uD8RqbejmI8VEnftx75D7WV2GDPquiLN71XcV16x0ygfJ41nWXTuqgJToKj95NNVVhvVRyakdJvk
mxuHlwmx3pr35CNG/ad4ITGW+UV1xVGP9sftZcSf40s3qgLeXz/qm7TBofvdolH3tHs+5NrLlGEb
p/n5OMEmTUbOVaSbuA+xfJbPzzdFdKVNo6CD9Gv07DxvnOSLyI5kLlExugfZ/8/vD08P3388fP4v
DTk8ccaC1c8/BhZVLgC820L9A+6l+6i02aSs/z5hrsI9suq/mp52vV/Hs/3/4AXPkPquXPKgS57N
xyl5p+rZ8pAYMD6g+60tD7pkP55Nkvyy+rE+tP9+umBhTdDsVZzdxpP0Opk7S+IjDcTHRzWzcD02
8HRNuJ/PJsSznM8VckOtEnwezy+jzNEjPgT+64xlcIOqwkqh/drDxbLuWgvJiXbYg9t4NHXX1kcq
5EWyFlmWXn/ar30RZWm8SRc96A9/pcVV5DvsR4oOGnq40S+Tc2JFNQtR+sdq1+Ilae/5Il7ZkeSD
BciqHjfOMFjcYX2sA9mGUWw/z3ysh1txkKXk8hzRYPpzaxfhVT5H5jiL0JKuCtpxX4/WhAOdsD2M
u4xm7tdKgYD2a3+Ms9oBo/+Lh2ExWU+ilWtsm27n2g8+jpbXtdPQ9bC6x8lymtdNE9NORvvBp7P0
Orqof7KHNT5OkOtkibF3a+GfrgfVeZz/Nb48T/NsYk+DMdl9AN5O0tmYNXHGlY5V2pU+AQDhAoRa
UuylHlZkux3GLIIPJN0XwqRUX9tXbe/mkhm5iVxZ4UM1vxVPdGw/z6yED9fwLXmcfBK5UTYfSer3
KVrOvXiGSEB7IORGx/WBpaJYPbCRmqC5XLCND6/j9KoWIzYEYOoPvo5w6DLnTFBu5WElbuKxqzwg
ofcxbLK8LZITdjA5xqZzmnYtPlxIGN4xf8hT2ddsf5nLkNtRMp+MU9dtXE8g508OQn7EuBpx7g6A
1tuPNWvyYH7mK+1tJDIKKp5k7oH24dWcxlk9bColftpdBOMdN9JfMF7cKHKPDiH60YuU9Uk0isd1
T48OBD7suaN0kV47q00X9i7dDPUf//nfRPxvcs0osKKMiiYxrQ5smtScPP66bxdaE9jFbzGwNgFq
5JgpHjy6Z/MJOt8eHRELHs7Rfrpc3AB3qw7b8jEuOtm5tG0Pxt9+nuXzcVL9VqmU04qZg2nkKE0f
isJWZIj4Esz0Qcru2U+Vvet6cDqex5fpiLQPgInH3+fhBB5QQZWlbp7w8cD94/i/g/QyzdwiJB8o
7zvgn0F7ba6S8ZHIOoiu4sbHOBs79saDuJuvVNnPPyV4fW5Fi3QJ0Z74w8nqammHkdPoA818+Gse
LVPk3qzxMsf4cmRK34NMOaQ4IHOH9WFlHC6nSXrliuuBh9spNXAvo8uaYSSkdtrtexmdu5dQaOnU
g05rauBxu+Hxm71+EEDF6r/14PN/LePG+Hevr9NakQXckvrhj+L5yjm9pq+VdoGPk/O6VQADnv5r
j8GwLaeOcsHI9DBucl5bBR8VPifUE06ixagG4fChRohxpsulI4Sh2dEvxEk0i24cq6PloyyUYWuD
erjFJyjSUT3u5uFKnES5lGa5IDTT7kJ7LYqR67Eh0+JUPXR6K/K3Xl/pIz34JsHEt0dLNKhhRNd+
sBnV1UR0hbav2T5sUYjh5n6yWES5Hc58tY+i2/ef/5bPKeh3B/ZgmL/HM3Grjw3lonaVT+PVaBrP
ZjW01K6HLy4h5WvlBbAe2dXZfhdPJXrjhmbbPpJZp1LiEzWO47QWMRP6RfViE/etQ/d9gEFPIVlw
ThwoZv3XnqWul0ZfCv2gp5//I22cpZef/2YQIW+zz/85HyVuCYbhGNGuNcixpIbSJ/6jn8BZNL+t
C2iaUeoH/jBZu+A+8ofECS7A2zReRAvHLKLZhv6boRFJajY9vTn14x4ShxE2ADuSiOe29JPSnoq/
rPkgbR85s78kl+fR+Y1jbtHMUP+9hQxdv98+knH7SdY4w5hz8lvgEPVf/ex8FTt7N2jTxJpC4e5w
QDQZQf24P/Xt4rDw+u/9FgOxv0zwaoHquqrCg1p7RubqPEo+uQN7EC/PMlDRrgnowS0AwD2ZQbqy
mNqTbsSLh4U4WUUC63OG9fHB07y+aR5Eyz7xY/eWChuZVsASFj1Px+6e+VBjp1nSOAZ574QifEQM
gDC7EX8fevEVEe7Gkfzr9Nl7u6jGxxCadO0avwZVDOGIu8gtysJ8jFwf1cO1+DG6ckVDy0fFx9Eq
m6xu6+IMLaNfhiIbepTWAqw0m9ePXWj0DWN7OBhHFLFdTNeXxMO9Po7cnAQJVf1akG+O0rUr0vOw
yuT3SRDWzrIPy5RA1Ti5dr1lGrj4WItZtKrfaR+piDfxlesntwYetu5tBPdOPNuUdG8NvYx/sWaq
tHxAl9/C/5hcXa0xNgm1vFYwnwKFia4QG3YoY1j44CY8m0ZJHeNmKIi1n3wWfUrWVxpz3U5h+xDN
WZQQs7LjFDaWB0l0hkMrZmFdzNFJwr5r+2/+cHseb1gOH+DSj0m8nEcuTsqHqPuJ4rv0uvF6CSDg
qvHHxiF5x3SZlzfTLokxPnpeGOPKFx7l82gxxYf8Y8P+Z7LppbR39GBDnF6R25+tNskbuBB82D4n
yXgMxOowWiyri1YU3H9ZNCy+Mn1drtrpNLmAY2HOqt39Z0HfWX0pTClQLXgIKkm6ZhWxQVky+59/
/ffFhfz0MluReOILXpE7hc1x06LCKNLv+MicnSXgGZrk5dxk1B2XuFaAEQi+iC7scV/88XkSpSv8
paTxDnxM5MS8aCowgFrdrvT2YuJ5ejFOWcCz6AI3MrmM7JByzfYGQjviYfOOojzJEqdIrLVL5etA
uu5p1+1t1JwlzRH1V83FIrfjGTFRvMNDHOgUT3vDyB6UwHF0tZzWzJrisx9VAt8wsGQYtrQQv+r3
ywmGoKr6R4d+uDviWXLrmjEeztxBitIWslTnvvgwyw9njdNodg19sxN98cEy+RIkT0zexvnmdSar
/MkAZ4IEY6EScm+Ih2v3hgXOIki4nZEfJHf7SiX2FliMK+xM/4qHZdGm0/nAmfXIyWgYx7T37YG6
9m/F2LaRXo0WYna/v6TYvt1OCLngbzKonmN913O6PipuCEH9ks4uNhjUfRD/tBjYo2l6izYpUMo9
qk+/3b4X7HG/wSuYTUTouZFjH17IPlGrWhmpj/qO/Sy6dRN9PpL5B8RSHCPBh8NwkM7SOlDUh598
OIJp3zUPfDDDvqAtwGgqKN8aZNRHivZFNLv4Ym2LBw/jZU7GyjUTvMTBcDcxFJyjYZqGPWwoPA6h
lagjds3KKjrjrkgXbvXAcZbbUYpBHxWqj3/thyyvf2zbxw35CPbpFvZhZ+MgMLQTCE/9b6L7/A0q
hYJUGYqn6DJ1NscHMm0fbox6Mx0Pua5TEbfpxvYCPlJpB6n0ZPj9UYxDOZ/8YVOoyQeS2mTshF0L
AnkRxJve46OS/yBNrU3m+G0+yvlfJJ8Se4VFBvlI07ygWlm48CyhuKkgTUbZev6YnlVqKVrqQsrx
V2v5aR/uZzm+SaHKZkvV5x3XtMADxs6m+FAMeP9OyN4HveKrmMr08oSaOZyMnsMQMbN/5kwCwjX9
xhwRRzwHUWdHMipOOrlp9ebBNCMRQ2erDY5KywdR1pv4pnEQzTaUJfuo1X6T1NoN+aih+hjNCRm5
5oSPDiJvKDtwR/VxZ2WB/xIT3qoRaAw9nI63yXJE55eNygWWbP3xextd0WpOprChuMpPlHxWLxLw
cB1RUgui15uz5z5Ci0W7ilfxjJZl/9B4thhBxkNRghE2NGWS1GmDDNBBPp86dgrk5fpNOUsvsE2d
k9r2YUqcgelwv9YHHucshyqk9rEeTuaf2N6k6Ev1Il+SKrXrKqIXLnX745ds9ce9izUjs+0j53Qg
4AjpaWYvrf1Q+e4eBOkDmvd2enA37JLl8kHe86Ha8KRxAsdM1vgpJ9eLvbjRjBtIfm0XytQhUTD6
BzxeTvvt4l/9DR0ItI5PdTaPJ4Cqf/uwmhvyGGff1P7g7zvL4rpIPOqut6v9gIco6l/GKb3VnLvp
A7z0Pl/UkFxtaZutNbbOPv83tRyr2I5kRMnjRtamE/D3yb9s6lNht8XsVXl82b37tXG7Xq1RB1dn
E8bp39Qg4zc4yw3dOX57s9zUDCSwWVYvwAaBXsIBRjOczB/+FwAA//8=</cx:binary>
              </cx:geoCache>
            </cx:geography>
          </cx:layoutPr>
          <cx:valueColors>
            <cx:minColor>
              <a:schemeClr val="bg1">
                <a:lumMod val="95000"/>
              </a:schemeClr>
            </cx:minColor>
            <cx:maxColor>
              <a:srgbClr val="FF0000"/>
            </cx:maxColor>
          </cx:valueColors>
        </cx:series>
      </cx:plotAreaRegion>
    </cx:plotArea>
  </cx:chart>
  <cx:spPr>
    <a:ln>
      <a:noFill/>
    </a:ln>
  </cx:spPr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748</cdr:x>
      <cdr:y>0.0171</cdr:y>
    </cdr:from>
    <cdr:to>
      <cdr:x>0.15315</cdr:x>
      <cdr:y>0.17963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95475C13-1CB4-5B0E-DF9D-4218E5C90DE6}"/>
            </a:ext>
          </a:extLst>
        </cdr:cNvPr>
        <cdr:cNvSpPr txBox="1"/>
      </cdr:nvSpPr>
      <cdr:spPr>
        <a:xfrm xmlns:a="http://schemas.openxmlformats.org/drawingml/2006/main">
          <a:off x="771283" y="65784"/>
          <a:ext cx="979208" cy="6254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800" dirty="0"/>
            <a:t>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5504</cdr:x>
      <cdr:y>0.69307</cdr:y>
    </cdr:from>
    <cdr:to>
      <cdr:x>0.91643</cdr:x>
      <cdr:y>0.81724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D23A466F-529E-073E-96DA-9D1D1A919364}"/>
            </a:ext>
          </a:extLst>
        </cdr:cNvPr>
        <cdr:cNvSpPr/>
      </cdr:nvSpPr>
      <cdr:spPr>
        <a:xfrm xmlns:a="http://schemas.openxmlformats.org/drawingml/2006/main">
          <a:off x="9773093" y="2667000"/>
          <a:ext cx="701749" cy="477838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7167</cdr:x>
      <cdr:y>0.26809</cdr:y>
    </cdr:from>
    <cdr:to>
      <cdr:x>0.93313</cdr:x>
      <cdr:y>0.26809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63914325-FD14-19A9-01A8-52581F37BCA4}"/>
            </a:ext>
          </a:extLst>
        </cdr:cNvPr>
        <cdr:cNvCxnSpPr/>
      </cdr:nvCxnSpPr>
      <cdr:spPr>
        <a:xfrm xmlns:a="http://schemas.openxmlformats.org/drawingml/2006/main">
          <a:off x="819150" y="1031645"/>
          <a:ext cx="9846488" cy="0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chemeClr val="accent3"/>
          </a:solidFill>
          <a:prstDash val="dash"/>
        </a:ln>
      </cdr:spPr>
      <cdr:style>
        <a:lnRef xmlns:a="http://schemas.openxmlformats.org/drawingml/2006/main" idx="1">
          <a:schemeClr val="accent3"/>
        </a:lnRef>
        <a:fillRef xmlns:a="http://schemas.openxmlformats.org/drawingml/2006/main" idx="0">
          <a:schemeClr val="accent3"/>
        </a:fillRef>
        <a:effectRef xmlns:a="http://schemas.openxmlformats.org/drawingml/2006/main" idx="0">
          <a:schemeClr val="accent3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7167</cdr:x>
      <cdr:y>0.19295</cdr:y>
    </cdr:from>
    <cdr:to>
      <cdr:x>0.35667</cdr:x>
      <cdr:y>0.28893</cdr:y>
    </cdr:to>
    <cdr:sp macro="" textlink="">
      <cdr:nvSpPr>
        <cdr:cNvPr id="7" name="TextBox 6">
          <a:extLst xmlns:a="http://schemas.openxmlformats.org/drawingml/2006/main">
            <a:ext uri="{FF2B5EF4-FFF2-40B4-BE49-F238E27FC236}">
              <a16:creationId xmlns:a16="http://schemas.microsoft.com/office/drawing/2014/main" id="{7BBA5B72-26BF-B392-8680-A897285D0A94}"/>
            </a:ext>
          </a:extLst>
        </cdr:cNvPr>
        <cdr:cNvSpPr txBox="1"/>
      </cdr:nvSpPr>
      <cdr:spPr>
        <a:xfrm xmlns:a="http://schemas.openxmlformats.org/drawingml/2006/main">
          <a:off x="409594" y="742491"/>
          <a:ext cx="1628756" cy="36934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FAC832"/>
              </a:solidFill>
            </a:rPr>
            <a:t>average</a:t>
          </a:r>
        </a:p>
      </cdr:txBody>
    </cdr:sp>
  </cdr:relSizeAnchor>
  <cdr:relSizeAnchor xmlns:cdr="http://schemas.openxmlformats.org/drawingml/2006/chartDrawing">
    <cdr:from>
      <cdr:x>0.81641</cdr:x>
      <cdr:y>0.08561</cdr:y>
    </cdr:from>
    <cdr:to>
      <cdr:x>1</cdr:x>
      <cdr:y>0.15331</cdr:y>
    </cdr:to>
    <cdr:sp macro="" textlink="">
      <cdr:nvSpPr>
        <cdr:cNvPr id="11" name="TextBox 10">
          <a:extLst xmlns:a="http://schemas.openxmlformats.org/drawingml/2006/main">
            <a:ext uri="{FF2B5EF4-FFF2-40B4-BE49-F238E27FC236}">
              <a16:creationId xmlns:a16="http://schemas.microsoft.com/office/drawing/2014/main" id="{3D425D27-B3E3-A211-3F2A-A80D43AC3BB3}"/>
            </a:ext>
          </a:extLst>
        </cdr:cNvPr>
        <cdr:cNvSpPr txBox="1"/>
      </cdr:nvSpPr>
      <cdr:spPr>
        <a:xfrm xmlns:a="http://schemas.openxmlformats.org/drawingml/2006/main">
          <a:off x="4665783" y="329449"/>
          <a:ext cx="1049217" cy="26051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400" dirty="0"/>
            <a:t>+17%</a:t>
          </a:r>
        </a:p>
      </cdr:txBody>
    </cdr:sp>
  </cdr:relSizeAnchor>
  <cdr:relSizeAnchor xmlns:cdr="http://schemas.openxmlformats.org/drawingml/2006/chartDrawing">
    <cdr:from>
      <cdr:x>0.92833</cdr:x>
      <cdr:y>0.17309</cdr:y>
    </cdr:from>
    <cdr:to>
      <cdr:x>0.92833</cdr:x>
      <cdr:y>0.2688</cdr:y>
    </cdr:to>
    <cdr:cxnSp macro="">
      <cdr:nvCxnSpPr>
        <cdr:cNvPr id="13" name="Straight Arrow Connector 12">
          <a:extLst xmlns:a="http://schemas.openxmlformats.org/drawingml/2006/main">
            <a:ext uri="{FF2B5EF4-FFF2-40B4-BE49-F238E27FC236}">
              <a16:creationId xmlns:a16="http://schemas.microsoft.com/office/drawing/2014/main" id="{CAD3AC88-AE22-DD70-B99F-311207EF051A}"/>
            </a:ext>
          </a:extLst>
        </cdr:cNvPr>
        <cdr:cNvCxnSpPr/>
      </cdr:nvCxnSpPr>
      <cdr:spPr>
        <a:xfrm xmlns:a="http://schemas.openxmlformats.org/drawingml/2006/main" flipV="1">
          <a:off x="10610812" y="666073"/>
          <a:ext cx="0" cy="368302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accent3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18376</cdr:x>
      <cdr:y>0.09364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3AB7AE59-1A5A-D78E-718B-0F66C56E671E}"/>
            </a:ext>
          </a:extLst>
        </cdr:cNvPr>
        <cdr:cNvSpPr txBox="1"/>
      </cdr:nvSpPr>
      <cdr:spPr>
        <a:xfrm xmlns:a="http://schemas.openxmlformats.org/drawingml/2006/main">
          <a:off x="0" y="0"/>
          <a:ext cx="2093553" cy="3958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800" dirty="0"/>
            <a:t>No of aircraft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13</cdr:x>
      <cdr:y>0.15799</cdr:y>
    </cdr:from>
    <cdr:to>
      <cdr:x>0.42019</cdr:x>
      <cdr:y>0.2520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FFD8FD74-68BF-BA88-BBC9-C6E9755DBAA7}"/>
            </a:ext>
          </a:extLst>
        </cdr:cNvPr>
        <cdr:cNvSpPr txBox="1"/>
      </cdr:nvSpPr>
      <cdr:spPr>
        <a:xfrm xmlns:a="http://schemas.openxmlformats.org/drawingml/2006/main">
          <a:off x="2434563" y="607955"/>
          <a:ext cx="2368230" cy="3618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pl-PL" sz="1800" dirty="0">
              <a:solidFill>
                <a:srgbClr val="FF0000"/>
              </a:solidFill>
            </a:rPr>
            <a:t>Average: 13.6 years</a:t>
          </a:r>
          <a:endParaRPr lang="en-US" sz="1800" dirty="0">
            <a:solidFill>
              <a:srgbClr val="FF0000"/>
            </a:solidFill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</cdr:x>
      <cdr:y>0.92626</cdr:y>
    </cdr:from>
    <cdr:to>
      <cdr:x>0.68821</cdr:x>
      <cdr:y>0.96804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98CC6636-CB8E-E124-8237-46DA9956F3F9}"/>
            </a:ext>
          </a:extLst>
        </cdr:cNvPr>
        <cdr:cNvSpPr txBox="1"/>
      </cdr:nvSpPr>
      <cdr:spPr>
        <a:xfrm xmlns:a="http://schemas.openxmlformats.org/drawingml/2006/main">
          <a:off x="0" y="2540907"/>
          <a:ext cx="3146493" cy="11460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endParaRPr lang="en-US" sz="600"/>
        </a:p>
      </cdr:txBody>
    </cdr:sp>
  </cdr:relSizeAnchor>
  <cdr:relSizeAnchor xmlns:cdr="http://schemas.openxmlformats.org/drawingml/2006/chartDrawing">
    <cdr:from>
      <cdr:x>0.06092</cdr:x>
      <cdr:y>0.03107</cdr:y>
    </cdr:from>
    <cdr:to>
      <cdr:x>0.12105</cdr:x>
      <cdr:y>0.12788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3AB7AE59-1A5A-D78E-718B-0F66C56E671E}"/>
            </a:ext>
          </a:extLst>
        </cdr:cNvPr>
        <cdr:cNvSpPr txBox="1"/>
      </cdr:nvSpPr>
      <cdr:spPr>
        <a:xfrm xmlns:a="http://schemas.openxmlformats.org/drawingml/2006/main">
          <a:off x="696351" y="119575"/>
          <a:ext cx="687286" cy="37253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800" dirty="0"/>
            <a:t>%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06891</cdr:x>
      <cdr:y>0</cdr:y>
    </cdr:from>
    <cdr:to>
      <cdr:x>0.11833</cdr:x>
      <cdr:y>0.0810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0628A603-6EBB-B120-73BF-3806F095BC75}"/>
            </a:ext>
          </a:extLst>
        </cdr:cNvPr>
        <cdr:cNvSpPr txBox="1"/>
      </cdr:nvSpPr>
      <cdr:spPr>
        <a:xfrm xmlns:a="http://schemas.openxmlformats.org/drawingml/2006/main">
          <a:off x="787641" y="0"/>
          <a:ext cx="564871" cy="31172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700" dirty="0"/>
            <a:t>%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08845</cdr:x>
      <cdr:y>0.55446</cdr:y>
    </cdr:from>
    <cdr:to>
      <cdr:x>0.34655</cdr:x>
      <cdr:y>0.55446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BB103FE9-ECEA-658C-1239-A06F8F90D612}"/>
            </a:ext>
          </a:extLst>
        </cdr:cNvPr>
        <cdr:cNvCxnSpPr/>
      </cdr:nvCxnSpPr>
      <cdr:spPr>
        <a:xfrm xmlns:a="http://schemas.openxmlformats.org/drawingml/2006/main">
          <a:off x="488645" y="2133600"/>
          <a:ext cx="1425880" cy="0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chemeClr val="bg1">
              <a:lumMod val="65000"/>
            </a:schemeClr>
          </a:solidFill>
          <a:prstDash val="sys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0224</cdr:x>
      <cdr:y>0.79455</cdr:y>
    </cdr:from>
    <cdr:to>
      <cdr:x>0.66034</cdr:x>
      <cdr:y>0.79455</cdr:y>
    </cdr:to>
    <cdr:cxnSp macro="">
      <cdr:nvCxnSpPr>
        <cdr:cNvPr id="7" name="Straight Connector 6">
          <a:extLst xmlns:a="http://schemas.openxmlformats.org/drawingml/2006/main">
            <a:ext uri="{FF2B5EF4-FFF2-40B4-BE49-F238E27FC236}">
              <a16:creationId xmlns:a16="http://schemas.microsoft.com/office/drawing/2014/main" id="{56132063-58DE-021A-5E48-CC41517C6376}"/>
            </a:ext>
          </a:extLst>
        </cdr:cNvPr>
        <cdr:cNvCxnSpPr/>
      </cdr:nvCxnSpPr>
      <cdr:spPr>
        <a:xfrm xmlns:a="http://schemas.openxmlformats.org/drawingml/2006/main">
          <a:off x="2222195" y="3057525"/>
          <a:ext cx="1425880" cy="0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chemeClr val="bg1">
              <a:lumMod val="65000"/>
            </a:schemeClr>
          </a:solidFill>
          <a:prstDash val="sys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8673</cdr:x>
      <cdr:y>0.63366</cdr:y>
    </cdr:from>
    <cdr:to>
      <cdr:x>0.94483</cdr:x>
      <cdr:y>0.63366</cdr:y>
    </cdr:to>
    <cdr:cxnSp macro="">
      <cdr:nvCxnSpPr>
        <cdr:cNvPr id="8" name="Straight Connector 7">
          <a:extLst xmlns:a="http://schemas.openxmlformats.org/drawingml/2006/main">
            <a:ext uri="{FF2B5EF4-FFF2-40B4-BE49-F238E27FC236}">
              <a16:creationId xmlns:a16="http://schemas.microsoft.com/office/drawing/2014/main" id="{0C3D7B7A-D52E-4714-CA18-7F842610C395}"/>
            </a:ext>
          </a:extLst>
        </cdr:cNvPr>
        <cdr:cNvCxnSpPr/>
      </cdr:nvCxnSpPr>
      <cdr:spPr>
        <a:xfrm xmlns:a="http://schemas.openxmlformats.org/drawingml/2006/main">
          <a:off x="3793820" y="2438400"/>
          <a:ext cx="1425880" cy="0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chemeClr val="bg1">
              <a:lumMod val="65000"/>
            </a:schemeClr>
          </a:solidFill>
          <a:prstDash val="sys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2638</cdr:x>
      <cdr:y>0.31436</cdr:y>
    </cdr:from>
    <cdr:to>
      <cdr:x>0.37586</cdr:x>
      <cdr:y>0.31436</cdr:y>
    </cdr:to>
    <cdr:cxnSp macro="">
      <cdr:nvCxnSpPr>
        <cdr:cNvPr id="9" name="Straight Connector 8">
          <a:extLst xmlns:a="http://schemas.openxmlformats.org/drawingml/2006/main">
            <a:ext uri="{FF2B5EF4-FFF2-40B4-BE49-F238E27FC236}">
              <a16:creationId xmlns:a16="http://schemas.microsoft.com/office/drawing/2014/main" id="{4D208A7D-40A0-E942-69CF-806556713C0D}"/>
            </a:ext>
          </a:extLst>
        </cdr:cNvPr>
        <cdr:cNvCxnSpPr/>
      </cdr:nvCxnSpPr>
      <cdr:spPr>
        <a:xfrm xmlns:a="http://schemas.openxmlformats.org/drawingml/2006/main">
          <a:off x="1803095" y="1209675"/>
          <a:ext cx="273355" cy="0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chemeClr val="bg1">
              <a:lumMod val="65000"/>
            </a:schemeClr>
          </a:solidFill>
          <a:prstDash val="sys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7138</cdr:x>
      <cdr:y>0.27827</cdr:y>
    </cdr:from>
    <cdr:to>
      <cdr:x>0.6231</cdr:x>
      <cdr:y>0.33767</cdr:y>
    </cdr:to>
    <cdr:sp macro="" textlink="">
      <cdr:nvSpPr>
        <cdr:cNvPr id="11" name="TextBox 10">
          <a:extLst xmlns:a="http://schemas.openxmlformats.org/drawingml/2006/main">
            <a:ext uri="{FF2B5EF4-FFF2-40B4-BE49-F238E27FC236}">
              <a16:creationId xmlns:a16="http://schemas.microsoft.com/office/drawing/2014/main" id="{0505EF1B-2273-A86B-57C6-5430BFFC5D62}"/>
            </a:ext>
          </a:extLst>
        </cdr:cNvPr>
        <cdr:cNvSpPr txBox="1"/>
      </cdr:nvSpPr>
      <cdr:spPr>
        <a:xfrm xmlns:a="http://schemas.openxmlformats.org/drawingml/2006/main">
          <a:off x="2051685" y="1070805"/>
          <a:ext cx="1390650" cy="2286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100" dirty="0" err="1"/>
            <a:t>RoW</a:t>
          </a:r>
          <a:r>
            <a:rPr lang="en-US" sz="1100" dirty="0"/>
            <a:t> </a:t>
          </a:r>
          <a:r>
            <a:rPr lang="en-US" sz="1050" dirty="0"/>
            <a:t>average</a:t>
          </a:r>
          <a:endParaRPr lang="en-US" sz="1100" dirty="0"/>
        </a:p>
      </cdr:txBody>
    </cdr:sp>
  </cdr:relSizeAnchor>
  <cdr:relSizeAnchor xmlns:cdr="http://schemas.openxmlformats.org/drawingml/2006/chartDrawing">
    <cdr:from>
      <cdr:x>0.66069</cdr:x>
      <cdr:y>0.36337</cdr:y>
    </cdr:from>
    <cdr:to>
      <cdr:x>0.70207</cdr:x>
      <cdr:y>0.59703</cdr:y>
    </cdr:to>
    <cdr:sp macro="" textlink="">
      <cdr:nvSpPr>
        <cdr:cNvPr id="12" name="TextBox 11">
          <a:extLst xmlns:a="http://schemas.openxmlformats.org/drawingml/2006/main">
            <a:ext uri="{FF2B5EF4-FFF2-40B4-BE49-F238E27FC236}">
              <a16:creationId xmlns:a16="http://schemas.microsoft.com/office/drawing/2014/main" id="{A60AC8E0-75C3-A08B-320E-9FA463584D7C}"/>
            </a:ext>
          </a:extLst>
        </cdr:cNvPr>
        <cdr:cNvSpPr txBox="1"/>
      </cdr:nvSpPr>
      <cdr:spPr>
        <a:xfrm xmlns:a="http://schemas.openxmlformats.org/drawingml/2006/main" rot="16200000">
          <a:off x="3314700" y="1733550"/>
          <a:ext cx="899159" cy="2286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900" dirty="0"/>
            <a:t>+124%</a:t>
          </a:r>
        </a:p>
      </cdr:txBody>
    </cdr:sp>
  </cdr:relSizeAnchor>
  <cdr:relSizeAnchor xmlns:cdr="http://schemas.openxmlformats.org/drawingml/2006/chartDrawing">
    <cdr:from>
      <cdr:x>0.36328</cdr:x>
      <cdr:y>0.68044</cdr:y>
    </cdr:from>
    <cdr:to>
      <cdr:x>0.40466</cdr:x>
      <cdr:y>0.82574</cdr:y>
    </cdr:to>
    <cdr:sp macro="" textlink="">
      <cdr:nvSpPr>
        <cdr:cNvPr id="13" name="TextBox 12">
          <a:extLst xmlns:a="http://schemas.openxmlformats.org/drawingml/2006/main">
            <a:ext uri="{FF2B5EF4-FFF2-40B4-BE49-F238E27FC236}">
              <a16:creationId xmlns:a16="http://schemas.microsoft.com/office/drawing/2014/main" id="{8FE4EBD8-9ABA-BCE2-4BEA-1FDC2630574A}"/>
            </a:ext>
          </a:extLst>
        </cdr:cNvPr>
        <cdr:cNvSpPr txBox="1"/>
      </cdr:nvSpPr>
      <cdr:spPr>
        <a:xfrm xmlns:a="http://schemas.openxmlformats.org/drawingml/2006/main" rot="16200000">
          <a:off x="1841667" y="2783677"/>
          <a:ext cx="559127" cy="2286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900" dirty="0"/>
            <a:t>+50%</a:t>
          </a:r>
        </a:p>
      </cdr:txBody>
    </cdr:sp>
  </cdr:relSizeAnchor>
  <cdr:relSizeAnchor xmlns:cdr="http://schemas.openxmlformats.org/drawingml/2006/chartDrawing">
    <cdr:from>
      <cdr:x>0.08845</cdr:x>
      <cdr:y>0.26139</cdr:y>
    </cdr:from>
    <cdr:to>
      <cdr:x>0.12983</cdr:x>
      <cdr:y>0.44993</cdr:y>
    </cdr:to>
    <cdr:sp macro="" textlink="">
      <cdr:nvSpPr>
        <cdr:cNvPr id="14" name="TextBox 13">
          <a:extLst xmlns:a="http://schemas.openxmlformats.org/drawingml/2006/main">
            <a:ext uri="{FF2B5EF4-FFF2-40B4-BE49-F238E27FC236}">
              <a16:creationId xmlns:a16="http://schemas.microsoft.com/office/drawing/2014/main" id="{F43CD8F8-E597-13D1-5114-61DD50AE8B3F}"/>
            </a:ext>
          </a:extLst>
        </cdr:cNvPr>
        <cdr:cNvSpPr txBox="1"/>
      </cdr:nvSpPr>
      <cdr:spPr>
        <a:xfrm xmlns:a="http://schemas.openxmlformats.org/drawingml/2006/main" rot="16200000">
          <a:off x="240182" y="1254304"/>
          <a:ext cx="725529" cy="2286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900" dirty="0"/>
            <a:t>+105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FD0FF8E-AD6C-48C6-BCA2-9941E1E3A20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94799" y="0"/>
            <a:ext cx="2882747" cy="470895"/>
          </a:xfrm>
          <a:prstGeom prst="rect">
            <a:avLst/>
          </a:prstGeom>
        </p:spPr>
        <p:txBody>
          <a:bodyPr vert="horz" lIns="94192" tIns="47096" rIns="94192" bIns="47096" rtlCol="0" anchor="b" anchorCtr="0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7AE2D18-DC98-444A-8A8A-7D09977137A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721758" y="0"/>
            <a:ext cx="2882745" cy="470895"/>
          </a:xfrm>
          <a:prstGeom prst="rect">
            <a:avLst/>
          </a:prstGeom>
        </p:spPr>
        <p:txBody>
          <a:bodyPr vert="horz" lIns="94192" tIns="47096" rIns="94192" bIns="47096" rtlCol="0" anchor="b" anchorCtr="0"/>
          <a:lstStyle>
            <a:lvl1pPr algn="r">
              <a:defRPr sz="1200"/>
            </a:lvl1pPr>
          </a:lstStyle>
          <a:p>
            <a:fld id="{C742B7D5-EC82-44F6-A7E1-F7BEEB78D862}" type="datetimeFigureOut">
              <a:rPr lang="en-US" sz="1000"/>
              <a:t>6/14/2025</a:t>
            </a:fld>
            <a:endParaRPr lang="en-US" sz="10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38B8B2-A215-46EA-ACE8-421665D33BA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226243" y="8914407"/>
            <a:ext cx="4399414" cy="470894"/>
          </a:xfrm>
          <a:prstGeom prst="rect">
            <a:avLst/>
          </a:prstGeom>
        </p:spPr>
        <p:txBody>
          <a:bodyPr vert="horz" lIns="94192" tIns="47096" rIns="94192" bIns="47096" rtlCol="0" anchor="t" anchorCtr="0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B1F3DC-01D1-4439-A13F-6E96C67139A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94800" y="8914407"/>
            <a:ext cx="505555" cy="470894"/>
          </a:xfrm>
          <a:prstGeom prst="rect">
            <a:avLst/>
          </a:prstGeom>
        </p:spPr>
        <p:txBody>
          <a:bodyPr vert="horz" lIns="94192" tIns="47096" rIns="94192" bIns="47096" rtlCol="0" anchor="t" anchorCtr="0"/>
          <a:lstStyle>
            <a:lvl1pPr algn="r">
              <a:defRPr sz="1200"/>
            </a:lvl1pPr>
          </a:lstStyle>
          <a:p>
            <a:pPr algn="l"/>
            <a:fld id="{9D865D99-2DA9-452F-AC6C-1E9B05A5072B}" type="slidenum">
              <a:rPr lang="en-US" sz="1000"/>
              <a:pPr algn="l"/>
              <a:t>‹#›</a:t>
            </a:fld>
            <a:endParaRPr lang="en-US" sz="100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58AB3F47-462C-4908-95C9-67DEF5E02D9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46114" y="8591963"/>
            <a:ext cx="758386" cy="47089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4192" tIns="47096" rIns="94192" bIns="47096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50329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09929" y="0"/>
            <a:ext cx="3603434" cy="470895"/>
          </a:xfrm>
          <a:prstGeom prst="rect">
            <a:avLst/>
          </a:prstGeom>
        </p:spPr>
        <p:txBody>
          <a:bodyPr vert="horz" lIns="94192" tIns="47096" rIns="94192" bIns="47096" rtlCol="0" anchor="b" anchorCtr="0"/>
          <a:lstStyle>
            <a:lvl1pPr algn="l">
              <a:defRPr sz="10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636059" y="0"/>
            <a:ext cx="1751669" cy="470895"/>
          </a:xfrm>
          <a:prstGeom prst="rect">
            <a:avLst/>
          </a:prstGeom>
        </p:spPr>
        <p:txBody>
          <a:bodyPr vert="horz" lIns="94192" tIns="47096" rIns="94192" bIns="47096" rtlCol="0" anchor="b" anchorCtr="0"/>
          <a:lstStyle>
            <a:lvl1pPr algn="r">
              <a:defRPr sz="1000"/>
            </a:lvl1pPr>
          </a:lstStyle>
          <a:p>
            <a:fld id="{E79CEAD0-6B03-44FC-A844-68ECB8F6C6E8}" type="datetimeFigureOut">
              <a:rPr lang="en-US" smtClean="0"/>
              <a:pPr/>
              <a:t>6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29275" cy="31670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192" tIns="47096" rIns="94192" bIns="4709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516676"/>
            <a:ext cx="5679440" cy="369546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538182" y="8914407"/>
            <a:ext cx="4851188" cy="470894"/>
          </a:xfrm>
          <a:prstGeom prst="rect">
            <a:avLst/>
          </a:prstGeom>
        </p:spPr>
        <p:txBody>
          <a:bodyPr vert="horz" lIns="94192" tIns="47096" rIns="94192" bIns="47096" rtlCol="0" anchor="t" anchorCtr="0"/>
          <a:lstStyle>
            <a:lvl1pPr algn="l">
              <a:defRPr sz="10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709930" y="8914407"/>
            <a:ext cx="539468" cy="470894"/>
          </a:xfrm>
          <a:prstGeom prst="rect">
            <a:avLst/>
          </a:prstGeom>
        </p:spPr>
        <p:txBody>
          <a:bodyPr vert="horz" lIns="94192" tIns="47096" rIns="94192" bIns="47096" rtlCol="0" anchor="t" anchorCtr="0"/>
          <a:lstStyle>
            <a:lvl1pPr algn="l">
              <a:defRPr sz="1000"/>
            </a:lvl1pPr>
          </a:lstStyle>
          <a:p>
            <a:fld id="{F17EFD21-3E0D-4ED5-96F2-31052EE08DB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5179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300"/>
      </a:spcAft>
      <a:buFont typeface="Arial" panose="020B0604020202020204" pitchFamily="34" charset="0"/>
      <a:buNone/>
      <a:defRPr sz="1100" kern="1200">
        <a:solidFill>
          <a:schemeClr val="tx1"/>
        </a:solidFill>
        <a:latin typeface="+mj-lt"/>
        <a:ea typeface="+mn-ea"/>
        <a:cs typeface="+mn-cs"/>
      </a:defRPr>
    </a:lvl1pPr>
    <a:lvl2pPr marL="341313" indent="-168275" algn="l" defTabSz="914400" rtl="0" eaLnBrk="1" latinLnBrk="0" hangingPunct="1">
      <a:buFont typeface="Aktiv Grotesk" panose="020B05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514350" indent="-171450" algn="l" defTabSz="914400" rtl="0" eaLnBrk="1" latinLnBrk="0" hangingPunct="1">
      <a:buFont typeface="Aktiv Grotesk" panose="020B0504020202020204" pitchFamily="34" charset="0"/>
      <a:buChar char="−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628650" indent="-171450" algn="l" defTabSz="914400" rtl="0" eaLnBrk="1" latinLnBrk="0" hangingPunct="1">
      <a:buFont typeface="Aktiv Grotesk" panose="020B0504020202020204" pitchFamily="34" charset="0"/>
      <a:buChar char="▪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0" indent="0" algn="l" defTabSz="914400" rtl="0" eaLnBrk="1" latinLnBrk="0" hangingPunct="1">
      <a:defRPr sz="1100" kern="1200">
        <a:solidFill>
          <a:srgbClr val="1E32FA"/>
        </a:solidFill>
        <a:latin typeface="+mj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56" userDrawn="1">
          <p15:clr>
            <a:srgbClr val="F26B43"/>
          </p15:clr>
        </p15:guide>
        <p15:guide id="2" pos="2236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est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5219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100" dirty="0">
                <a:effectLst/>
                <a:latin typeface="Aktiv Grotesk" panose="020B05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The relatively slower YoY increase in Available Seat-</a:t>
            </a:r>
            <a:r>
              <a:rPr lang="en-GB" sz="1100" dirty="0" err="1">
                <a:effectLst/>
                <a:latin typeface="Aktiv Grotesk" panose="020B05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Kilometers</a:t>
            </a:r>
            <a:r>
              <a:rPr lang="en-GB" sz="1100" dirty="0">
                <a:effectLst/>
                <a:latin typeface="Aktiv Grotesk" panose="020B05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 (ASK) of </a:t>
            </a:r>
            <a:r>
              <a:rPr lang="pl-PL" sz="1100" dirty="0">
                <a:effectLst/>
                <a:latin typeface="Aktiv Grotesk" panose="020B05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5.0%. </a:t>
            </a:r>
            <a:r>
              <a:rPr lang="en-GB" sz="1100" dirty="0">
                <a:effectLst/>
                <a:latin typeface="Aktiv Grotesk" panose="020B05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- Persistent supply chain issues faced by aircraft manufacturers curbed industry's ability to increase capacity to meet the higher demand. Consequently, PLF reached a new high in Q</a:t>
            </a:r>
            <a:r>
              <a:rPr lang="pl-PL" sz="1100" dirty="0">
                <a:effectLst/>
                <a:latin typeface="Aktiv Grotesk" panose="020B05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1</a:t>
            </a:r>
            <a:r>
              <a:rPr lang="en-GB" sz="1100" dirty="0">
                <a:effectLst/>
                <a:latin typeface="Aktiv Grotesk" panose="020B05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 at 8</a:t>
            </a:r>
            <a:r>
              <a:rPr lang="en-US" sz="1100" dirty="0">
                <a:effectLst/>
                <a:latin typeface="Aktiv Grotesk" panose="020B05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1</a:t>
            </a:r>
            <a:r>
              <a:rPr lang="en-GB" sz="1100" dirty="0">
                <a:effectLst/>
                <a:latin typeface="Aktiv Grotesk" panose="020B05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.</a:t>
            </a:r>
            <a:r>
              <a:rPr lang="en-US" sz="1100" dirty="0">
                <a:effectLst/>
                <a:latin typeface="Aktiv Grotesk" panose="020B05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2</a:t>
            </a:r>
            <a:r>
              <a:rPr lang="en-GB" sz="1100" dirty="0">
                <a:effectLst/>
                <a:latin typeface="Aktiv Grotesk" panose="020B05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%, an increase of </a:t>
            </a:r>
            <a:r>
              <a:rPr lang="pl-PL" sz="1100" dirty="0">
                <a:effectLst/>
                <a:latin typeface="Aktiv Grotesk" panose="020B05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0</a:t>
            </a:r>
            <a:r>
              <a:rPr lang="en-GB" sz="1100" dirty="0">
                <a:effectLst/>
                <a:latin typeface="Aktiv Grotesk" panose="020B05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.</a:t>
            </a:r>
            <a:r>
              <a:rPr lang="pl-PL" sz="1100" dirty="0">
                <a:effectLst/>
                <a:latin typeface="Aktiv Grotesk" panose="020B05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3</a:t>
            </a:r>
            <a:r>
              <a:rPr lang="en-GB" sz="1100" dirty="0">
                <a:effectLst/>
                <a:latin typeface="Aktiv Grotesk" panose="020B05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ppt. This pattern was observed across multiple regions</a:t>
            </a:r>
            <a:r>
              <a:rPr lang="pl-PL" sz="1100" dirty="0">
                <a:effectLst/>
                <a:latin typeface="Aktiv Grotesk" panose="020B05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 apart from Americas</a:t>
            </a:r>
            <a:r>
              <a:rPr lang="en-US" sz="1100" dirty="0">
                <a:effectLst/>
                <a:latin typeface="Aktiv Grotesk" panose="020B05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>
                <a:effectLst/>
                <a:latin typeface="Aktiv Grotesk" panose="020B05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Aircraft supply-demand imbalance</a:t>
            </a:r>
            <a:endParaRPr lang="en-GB" sz="1100" dirty="0">
              <a:effectLst/>
              <a:latin typeface="Aktiv Grotesk" panose="020B0504020202020204" pitchFamily="34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8617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8284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3200"/>
              <a:t>Air passenger demand grew strongly in </a:t>
            </a:r>
            <a:r>
              <a:rPr lang="en-US" sz="3200" b="1"/>
              <a:t>2023, with RPKs increasing by 37% YoY</a:t>
            </a:r>
            <a:r>
              <a:rPr lang="en-US" sz="3200"/>
              <a:t>. With capacity not quite keeping pace, </a:t>
            </a:r>
            <a:r>
              <a:rPr lang="en-US" sz="3200" b="1"/>
              <a:t>airlines benefited from a sharp increase in the load factor to 82.2%, </a:t>
            </a:r>
            <a:r>
              <a:rPr lang="en-US" sz="3200"/>
              <a:t>up from 78.7% in 2022. This underpinned another year of recovery in the financial performance of the airline industry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3200"/>
              <a:t>Demand has stayed strong in the face of </a:t>
            </a:r>
            <a:r>
              <a:rPr lang="en-US" sz="3200" b="1"/>
              <a:t>higher passenger yields, suggesting a rather immutable need for air transportation and a limited price elasticity </a:t>
            </a:r>
            <a:r>
              <a:rPr lang="en-US" sz="3200"/>
              <a:t>of demand for air travel. It needs to be noted, that despite high growth, the real fare (incl. ancillaries) is significantly below pre-Covid levels (15% below 2019 and 32% below 2013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3200"/>
              <a:t>Growth in traffic is expected to decelerate in 2024, after two years of a vigorous catching up from the pandemic lows. Together with stabilizing passenger yields, this should translate to a </a:t>
            </a:r>
            <a:r>
              <a:rPr lang="en-US" sz="3200" b="1"/>
              <a:t>15% YoY increase in passenger revenues </a:t>
            </a:r>
            <a:r>
              <a:rPr lang="en-US" sz="3200"/>
              <a:t>(ticket revenue only)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3200"/>
              <a:t>Total passenger revenue (including ancillaries and other) should grow at a slightly slower pace, by 14% YoY, as ancillary revenue keeps being diluted by the recovering average distance traveled to pre-Covid levels. Ancillary revenues per passenger will therefore drop closer to pre-Covid levels following the temporarily change in the à la carte buying behavior of travelers during the pandemic years. </a:t>
            </a:r>
            <a:endParaRPr lang="en-GB" sz="1800">
              <a:effectLst/>
              <a:latin typeface="Aktiv Grotesk" panose="020B05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ea typeface="Aktiv Grotesk Medium"/>
                <a:cs typeface="Aktiv Grotesk Medium"/>
              </a:rPr>
              <a:t>( Global Outlook, p.15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7EFD21-3E0D-4ED5-96F2-31052EE08DB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30555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very region has improved from 2022. Regionally, North America is in the lead with USD 11.5 billion in 2023, followed by Europe and the Middle East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7EFD21-3E0D-4ED5-96F2-31052EE08DB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56081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6611" indent="-176611">
              <a:buFont typeface="Wingdings" panose="05000000000000000000" pitchFamily="2" charset="2"/>
              <a:buChar char="n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4489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1559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1616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4D599-8961-4485-8B96-B828C0329545}" type="slidenum">
              <a:rPr lang="en-GB" smtClean="0"/>
              <a:pPr/>
              <a:t>3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00732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5177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8986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9038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57831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en-US"/>
            </a:b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246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8405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0285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>
              <a:ea typeface="Aktiv Grotesk Medium"/>
              <a:cs typeface="Aktiv Grotesk Medium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2144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92F1FE82-96FF-C40A-C768-39E433CA36C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60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0" y="1485900"/>
            <a:ext cx="55245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[title]</a:t>
            </a:r>
            <a:br>
              <a:rPr lang="en-US"/>
            </a:br>
            <a:r>
              <a:rPr lang="en-US"/>
              <a:t>[title]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EE11BD8-6580-41DD-940E-B1D1B8B2E21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81000" y="6162324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AF0F796-7503-636F-E641-728DB476D3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4472247"/>
            <a:ext cx="5524500" cy="128085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527910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plus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263EF67-71D6-425F-9F93-AD2BCA30BD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0" y="358401"/>
            <a:ext cx="5524500" cy="47307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6500" y="1899696"/>
            <a:ext cx="5524500" cy="385340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01B53C58-B30A-40A9-B349-19A78BB7BB78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DDB539-55B0-4F25-BA28-339645F57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>
                <a:solidFill>
                  <a:srgbClr val="1E32FA"/>
                </a:solidFill>
              </a:rPr>
              <a:t>IATA Sustainability and Economic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9718B2F2-5726-48B1-8DC8-614E01AE8BC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08A85AB6-32E4-513B-5E56-36B1C300857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6500" y="1485901"/>
            <a:ext cx="5524500" cy="419100"/>
          </a:xfrm>
        </p:spPr>
        <p:txBody>
          <a:bodyPr anchor="b" anchorCtr="0"/>
          <a:lstStyle>
            <a:lvl1pPr>
              <a:defRPr sz="1600" b="1"/>
            </a:lvl1pPr>
          </a:lstStyle>
          <a:p>
            <a:r>
              <a:rPr lang="en-US"/>
              <a:t>Chart title</a:t>
            </a:r>
          </a:p>
        </p:txBody>
      </p:sp>
      <p:sp>
        <p:nvSpPr>
          <p:cNvPr id="6" name="Content Placeholder 19">
            <a:extLst>
              <a:ext uri="{FF2B5EF4-FFF2-40B4-BE49-F238E27FC236}">
                <a16:creationId xmlns:a16="http://schemas.microsoft.com/office/drawing/2014/main" id="{2D084A09-AA62-B5BD-2520-F5E7582C006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86500" y="844924"/>
            <a:ext cx="5524500" cy="432547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64642187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911"/>
            <a:ext cx="11429324" cy="47307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5" y="1485900"/>
            <a:ext cx="3383280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E12FA-2958-4BD2-846B-0E828DE720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04022" y="1485900"/>
            <a:ext cx="3383280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20FF154-2AE1-4B3E-B265-E0D9818B3448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>
                <a:solidFill>
                  <a:srgbClr val="1E32FA"/>
                </a:solidFill>
              </a:rPr>
              <a:t>IATA Sustainability and Economic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C9A967D-8A0B-4436-A012-333049F84F2E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427720" y="1485900"/>
            <a:ext cx="3383280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3E986B7D-6841-4184-9EDF-E789B044A56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Content Placeholder 19">
            <a:extLst>
              <a:ext uri="{FF2B5EF4-FFF2-40B4-BE49-F238E27FC236}">
                <a16:creationId xmlns:a16="http://schemas.microsoft.com/office/drawing/2014/main" id="{0365366F-A534-D013-929D-5B091871FAEC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81000" y="844924"/>
            <a:ext cx="11430000" cy="432547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408534936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lus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58401"/>
            <a:ext cx="5524500" cy="47307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897026"/>
            <a:ext cx="5523824" cy="385607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EC404C-FCAF-4A3C-80A4-3DE6A653483D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>
                <a:solidFill>
                  <a:srgbClr val="1E32FA"/>
                </a:solidFill>
              </a:rPr>
              <a:t>IATA Sustainability and Economic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2BD715A7-CDAB-4300-87D7-26DDB8999B0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-1"/>
            <a:ext cx="6096001" cy="6111545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D2A12F29-966B-41CC-8056-66C3A0CE56A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Content Placeholder 19">
            <a:extLst>
              <a:ext uri="{FF2B5EF4-FFF2-40B4-BE49-F238E27FC236}">
                <a16:creationId xmlns:a16="http://schemas.microsoft.com/office/drawing/2014/main" id="{74DDC529-0C60-8021-449A-CAC57EC1D74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81000" y="844924"/>
            <a:ext cx="5524500" cy="432547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316614851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lus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IATA Sustainability and Econom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6375DDD-61B4-4459-A66A-CEC3372C4C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CB5CFF4-A7D5-477F-B201-BBCD0B64C3A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5" y="1485900"/>
            <a:ext cx="5523825" cy="426719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>
                <a:solidFill>
                  <a:schemeClr val="accent1"/>
                </a:solidFill>
              </a:defRPr>
            </a:lvl5pPr>
            <a:lvl6pPr>
              <a:defRPr sz="2000">
                <a:solidFill>
                  <a:schemeClr val="accent1"/>
                </a:solidFill>
              </a:defRPr>
            </a:lvl6pPr>
            <a:lvl7pPr>
              <a:defRPr sz="2000">
                <a:solidFill>
                  <a:schemeClr val="accent1"/>
                </a:solidFill>
              </a:defRPr>
            </a:lvl7pPr>
            <a:lvl8pPr>
              <a:defRPr sz="2000">
                <a:solidFill>
                  <a:schemeClr val="accent1"/>
                </a:solidFill>
              </a:defRPr>
            </a:lvl8pPr>
            <a:lvl9pPr>
              <a:defRPr sz="2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4">
            <a:extLst>
              <a:ext uri="{FF2B5EF4-FFF2-40B4-BE49-F238E27FC236}">
                <a16:creationId xmlns:a16="http://schemas.microsoft.com/office/drawing/2014/main" id="{60DA7A70-5A0C-16F3-292B-92642C89705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5DF4899E-801B-43F7-8BBF-004C0C7C7053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D897C3B-D8A0-CB87-D784-EEAF82F99C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58401"/>
            <a:ext cx="5524500" cy="47307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9" name="Content Placeholder 19">
            <a:extLst>
              <a:ext uri="{FF2B5EF4-FFF2-40B4-BE49-F238E27FC236}">
                <a16:creationId xmlns:a16="http://schemas.microsoft.com/office/drawing/2014/main" id="{3AE275A2-CF84-A643-2D12-31287E600BC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81000" y="844924"/>
            <a:ext cx="5524500" cy="432547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382602404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plus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1485900"/>
            <a:ext cx="5524500" cy="1943100"/>
          </a:xfrm>
        </p:spPr>
        <p:txBody>
          <a:bodyPr/>
          <a:lstStyle>
            <a:lvl1pPr>
              <a:defRPr sz="16600">
                <a:solidFill>
                  <a:schemeClr val="accent1"/>
                </a:solidFill>
              </a:defRPr>
            </a:lvl1pPr>
          </a:lstStyle>
          <a:p>
            <a:r>
              <a:rPr lang="en-US"/>
              <a:t>XX%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676" y="3568439"/>
            <a:ext cx="5523824" cy="218466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5DF4899E-801B-43F7-8BBF-004C0C7C7053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>
                <a:solidFill>
                  <a:srgbClr val="1E32FA"/>
                </a:solidFill>
              </a:rPr>
              <a:t>IATA Sustainability and Economic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2BD715A7-CDAB-4300-87D7-26DDB8999B0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-1"/>
            <a:ext cx="6096001" cy="6111545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86FBDC1F-BBEC-45A3-B377-2DA8754728D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074361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plus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C50021B-C9F5-4E6B-A44C-6F5230C2C788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>
                <a:solidFill>
                  <a:srgbClr val="1E32FA"/>
                </a:solidFill>
              </a:rPr>
              <a:t>IATA Sustainability and Econom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869E21B-A703-4EDF-B4FA-B5E512E463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9B35DB1-D7AC-4FA8-B932-26B3A103D00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81000" y="3799539"/>
            <a:ext cx="11430000" cy="1768289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5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big quote styl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7426538-B659-460A-A700-D799FA6E6BA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413576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plus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547513D5-8313-4D89-8E49-067C97135D8A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>
                <a:solidFill>
                  <a:srgbClr val="1E32FA"/>
                </a:solidFill>
              </a:rPr>
              <a:t>IATA Sustainability and Econom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53721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big quote styl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6375DDD-61B4-4459-A66A-CEC3372C4C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780508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82CEB40-7C69-47E5-9106-E566935D3F53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EA34B-ADB0-4A9B-A944-DB4F9AB7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7594714-7312-45C6-A549-3DA221DC5A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441448" y="979883"/>
            <a:ext cx="2441448" cy="2441448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7C11AF2-310B-4204-B2B1-110CB3C4D1F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80686"/>
            <a:ext cx="2441448" cy="1216152"/>
          </a:xfrm>
          <a:solidFill>
            <a:schemeClr val="accent1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#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F2DFAA84-7D74-4EE4-9969-36EFE36B05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175845"/>
            <a:ext cx="2441448" cy="1245485"/>
          </a:xfrm>
          <a:solidFill>
            <a:schemeClr val="accent1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Description text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B03F17E-7AF3-4D23-B27C-C7ECDC0C2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09104" y="979883"/>
            <a:ext cx="2441448" cy="2441448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AFFF8B4F-3FD7-4B75-8C5E-4217FE099B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73752" y="980686"/>
            <a:ext cx="2441448" cy="1216152"/>
          </a:xfrm>
          <a:solidFill>
            <a:schemeClr val="bg2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XX #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E4C3776-3746-4C7E-8CE4-81499EA159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73752" y="2175845"/>
            <a:ext cx="2441448" cy="1245485"/>
          </a:xfrm>
          <a:solidFill>
            <a:schemeClr val="bg2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Description tex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6F1A06FF-2DAD-45EE-B79A-D1C90C6304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50552" y="980686"/>
            <a:ext cx="2441448" cy="1216152"/>
          </a:xfrm>
          <a:solidFill>
            <a:schemeClr val="accent2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XX #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DD4ABBA-1287-4173-AFCE-D780F806F25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50552" y="2175845"/>
            <a:ext cx="2441448" cy="1245485"/>
          </a:xfrm>
          <a:solidFill>
            <a:schemeClr val="accent2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escription text</a:t>
            </a:r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89160501-DF8F-4B68-8C79-9357C943CBB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19856"/>
            <a:ext cx="2441448" cy="2441448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5F926C80-9D0E-41BC-B569-E9864391C4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438591" y="3422135"/>
            <a:ext cx="2441448" cy="1216152"/>
          </a:xfrm>
          <a:solidFill>
            <a:schemeClr val="accent2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XX #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6ADE918-5C3F-4868-93EC-C8EC1B5D18E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38591" y="4622052"/>
            <a:ext cx="2441448" cy="1234440"/>
          </a:xfrm>
          <a:solidFill>
            <a:schemeClr val="accent2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escription text</a:t>
            </a:r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3A0ED033-3CA7-4E89-B087-7D1F9375160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869562" y="3419856"/>
            <a:ext cx="2441448" cy="2441448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B3A7DCB-6B48-4D1F-8FFD-9F94245D17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08153" y="3421330"/>
            <a:ext cx="2441448" cy="2441448"/>
          </a:xfrm>
          <a:solidFill>
            <a:schemeClr val="accent3"/>
          </a:solidFill>
        </p:spPr>
        <p:txBody>
          <a:bodyPr lIns="91440" rIns="91440" anchor="ctr" anchorCtr="0"/>
          <a:lstStyle>
            <a:lvl1pPr algn="ctr">
              <a:spcBef>
                <a:spcPts val="0"/>
              </a:spcBef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Description text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23600A98-D578-41EE-A99C-7BFD3707C1F8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750552" y="3419856"/>
            <a:ext cx="2441448" cy="2441448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Freeform 5">
            <a:extLst>
              <a:ext uri="{FF2B5EF4-FFF2-40B4-BE49-F238E27FC236}">
                <a16:creationId xmlns:a16="http://schemas.microsoft.com/office/drawing/2014/main" id="{5E1D2665-DAD1-47EB-A11D-E9D5E114FAF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417462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plu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82CEB40-7C69-47E5-9106-E566935D3F53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EA34B-ADB0-4A9B-A944-DB4F9AB7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IATA Sustainability and Econom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7465508-B728-4E30-BD7A-365E47525C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5250" y="979364"/>
            <a:ext cx="4061737" cy="609398"/>
          </a:xfrm>
        </p:spPr>
        <p:txBody>
          <a:bodyPr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4B0D480A-BB95-4292-9A5D-3AB93D1711F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715926" y="2328863"/>
            <a:ext cx="4061737" cy="353867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B3230E92-8E74-4F7F-AA07-FB45DDDBFB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441448" y="979883"/>
            <a:ext cx="2441448" cy="2441448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ECEAD2B-425C-44E5-B592-0B09E9F420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80686"/>
            <a:ext cx="2441448" cy="1216152"/>
          </a:xfrm>
          <a:solidFill>
            <a:schemeClr val="accent1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#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3E982D24-E43A-465C-A6EC-1B2673B5E9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175845"/>
            <a:ext cx="2441448" cy="1245485"/>
          </a:xfrm>
          <a:solidFill>
            <a:schemeClr val="accent1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Description text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87841388-2F1F-4301-9336-EDF501EB36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73752" y="980686"/>
            <a:ext cx="2441448" cy="1216152"/>
          </a:xfrm>
          <a:solidFill>
            <a:schemeClr val="bg2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XX #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4ACC47D9-56A5-461D-A467-D22DB6798E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73752" y="2175845"/>
            <a:ext cx="2441448" cy="1245485"/>
          </a:xfrm>
          <a:solidFill>
            <a:schemeClr val="bg2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Description text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940485CD-E642-4C78-BA9D-13410EA4B5F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19856"/>
            <a:ext cx="2441448" cy="2441448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225F0C27-11A6-4545-9064-7B5FF41BE60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438591" y="3422135"/>
            <a:ext cx="2441448" cy="1216152"/>
          </a:xfrm>
          <a:solidFill>
            <a:schemeClr val="accent2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XX #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8E24B1A2-83A6-4358-8CD4-0ADA79FA751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38591" y="4622052"/>
            <a:ext cx="2441448" cy="1234440"/>
          </a:xfrm>
          <a:solidFill>
            <a:schemeClr val="accent2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escription text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EC5BC8C6-D017-4A79-AFC8-620DFE283A1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869562" y="3419856"/>
            <a:ext cx="2441448" cy="2441448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id="{AE611DF2-34C1-4AB1-91C8-DE82893217E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288283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plus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82CEB40-7C69-47E5-9106-E566935D3F53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B3230E92-8E74-4F7F-AA07-FB45DDDBFB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54829" y="0"/>
            <a:ext cx="2286000" cy="2286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ECEAD2B-425C-44E5-B592-0B09E9F420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68829" y="0"/>
            <a:ext cx="2286000" cy="1143000"/>
          </a:xfrm>
          <a:solidFill>
            <a:schemeClr val="accent1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#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3E982D24-E43A-465C-A6EC-1B2673B5E9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829" y="1143000"/>
            <a:ext cx="2286000" cy="1143000"/>
          </a:xfrm>
          <a:solidFill>
            <a:schemeClr val="accent1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Description text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62263C34-604E-43AD-A4BA-E124354E1F2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68829" y="2286000"/>
            <a:ext cx="2286000" cy="2286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CB4AB61E-8F2A-4C5D-8C50-C2B81CCB3E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54829" y="2286000"/>
            <a:ext cx="2286000" cy="1143000"/>
          </a:xfrm>
          <a:solidFill>
            <a:schemeClr val="accent2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XX #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12A70373-ECE2-43DE-B382-33B196617DE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54829" y="3429000"/>
            <a:ext cx="2286000" cy="1143000"/>
          </a:xfrm>
          <a:solidFill>
            <a:schemeClr val="accent2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escription text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A8C5C012-0818-4E83-8BAF-78A346065AF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254829" y="4572000"/>
            <a:ext cx="2286000" cy="2286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7A0DF7B6-674F-4387-B3AC-D4BF3B305B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8829" y="4572000"/>
            <a:ext cx="2286000" cy="1143000"/>
          </a:xfrm>
          <a:solidFill>
            <a:schemeClr val="accent3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#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2581D674-05BE-4243-8623-2D9D3A35F4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8829" y="5715000"/>
            <a:ext cx="2286000" cy="1143000"/>
          </a:xfrm>
          <a:solidFill>
            <a:schemeClr val="accent3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Description text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6CC3D1C5-1295-44F1-A9C4-E84E95706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0" y="365125"/>
            <a:ext cx="5524500" cy="61264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11C465FF-571A-4758-ADF4-EBF2C1FF47C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6500" y="1899696"/>
            <a:ext cx="5524500" cy="385340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6" name="Slide Number Placeholder 4">
            <a:extLst>
              <a:ext uri="{FF2B5EF4-FFF2-40B4-BE49-F238E27FC236}">
                <a16:creationId xmlns:a16="http://schemas.microsoft.com/office/drawing/2014/main" id="{A6ADF8A5-A452-45A5-973C-FDBC9FF0F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" y="6162324"/>
            <a:ext cx="457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DB589E50-3132-407B-A23E-AC6E3F5B7E7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035377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92F1FE82-96FF-C40A-C768-39E433CA36C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86500" y="381000"/>
            <a:ext cx="5524500" cy="34925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[title]</a:t>
            </a:r>
            <a:br>
              <a:rPr lang="en-US"/>
            </a:br>
            <a:r>
              <a:rPr lang="en-US"/>
              <a:t>[title]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86500" y="3965575"/>
            <a:ext cx="5524500" cy="1655762"/>
          </a:xfrm>
        </p:spPr>
        <p:txBody>
          <a:bodyPr anchor="t" anchorCtr="0"/>
          <a:lstStyle>
            <a:lvl1pPr marL="457200" indent="-45720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Font typeface="+mj-lt"/>
              <a:buAutoNum type="arabicPeriod"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agenda points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EE11BD8-6580-41DD-940E-B1D1B8B2E21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81000" y="6162324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518041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A33D383-98C3-40EB-8FCB-C0B373AAFF8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65125"/>
            <a:ext cx="11429324" cy="609398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big quot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2CEB40-7C69-47E5-9106-E566935D3F53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EA34B-ADB0-4A9B-A944-DB4F9AB7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A530C12F-5F3E-460C-8164-7A1A8B1114B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36148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half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2B5F127-4E3B-48EA-B6F5-E3D5675A9CD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5260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5260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C8877799-5BE2-4BEB-8D62-4346F454842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81000" y="6162324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46298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hoto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4F625A51-3CBC-47CF-A686-2AA2245DF09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21950" y="0"/>
            <a:ext cx="7271425" cy="6858000"/>
          </a:xfrm>
          <a:custGeom>
            <a:avLst/>
            <a:gdLst>
              <a:gd name="connsiteX0" fmla="*/ 0 w 7632000"/>
              <a:gd name="connsiteY0" fmla="*/ 0 h 6858000"/>
              <a:gd name="connsiteX1" fmla="*/ 7632000 w 7632000"/>
              <a:gd name="connsiteY1" fmla="*/ 0 h 6858000"/>
              <a:gd name="connsiteX2" fmla="*/ 7632000 w 7632000"/>
              <a:gd name="connsiteY2" fmla="*/ 6858000 h 6858000"/>
              <a:gd name="connsiteX3" fmla="*/ 2291650 w 7632000"/>
              <a:gd name="connsiteY3" fmla="*/ 6858000 h 6858000"/>
              <a:gd name="connsiteX4" fmla="*/ 2291650 w 7632000"/>
              <a:gd name="connsiteY4" fmla="*/ 6444218 h 6858000"/>
              <a:gd name="connsiteX5" fmla="*/ 2291650 w 7632000"/>
              <a:gd name="connsiteY5" fmla="*/ 2287588 h 6858000"/>
              <a:gd name="connsiteX6" fmla="*/ 7767 w 7632000"/>
              <a:gd name="connsiteY6" fmla="*/ 1588 h 6858000"/>
              <a:gd name="connsiteX7" fmla="*/ 0 w 7632000"/>
              <a:gd name="connsiteY7" fmla="*/ 1588 h 6858000"/>
              <a:gd name="connsiteX0" fmla="*/ 0 w 7632000"/>
              <a:gd name="connsiteY0" fmla="*/ 0 h 6858000"/>
              <a:gd name="connsiteX1" fmla="*/ 7632000 w 7632000"/>
              <a:gd name="connsiteY1" fmla="*/ 0 h 6858000"/>
              <a:gd name="connsiteX2" fmla="*/ 7241475 w 7632000"/>
              <a:gd name="connsiteY2" fmla="*/ 6853238 h 6858000"/>
              <a:gd name="connsiteX3" fmla="*/ 2291650 w 7632000"/>
              <a:gd name="connsiteY3" fmla="*/ 6858000 h 6858000"/>
              <a:gd name="connsiteX4" fmla="*/ 2291650 w 7632000"/>
              <a:gd name="connsiteY4" fmla="*/ 6444218 h 6858000"/>
              <a:gd name="connsiteX5" fmla="*/ 2291650 w 7632000"/>
              <a:gd name="connsiteY5" fmla="*/ 2287588 h 6858000"/>
              <a:gd name="connsiteX6" fmla="*/ 7767 w 7632000"/>
              <a:gd name="connsiteY6" fmla="*/ 1588 h 6858000"/>
              <a:gd name="connsiteX7" fmla="*/ 0 w 7632000"/>
              <a:gd name="connsiteY7" fmla="*/ 1588 h 6858000"/>
              <a:gd name="connsiteX8" fmla="*/ 0 w 7632000"/>
              <a:gd name="connsiteY8" fmla="*/ 0 h 6858000"/>
              <a:gd name="connsiteX0" fmla="*/ 0 w 7270050"/>
              <a:gd name="connsiteY0" fmla="*/ 0 h 6858000"/>
              <a:gd name="connsiteX1" fmla="*/ 7270050 w 7270050"/>
              <a:gd name="connsiteY1" fmla="*/ 0 h 6858000"/>
              <a:gd name="connsiteX2" fmla="*/ 7241475 w 7270050"/>
              <a:gd name="connsiteY2" fmla="*/ 6853238 h 6858000"/>
              <a:gd name="connsiteX3" fmla="*/ 2291650 w 7270050"/>
              <a:gd name="connsiteY3" fmla="*/ 6858000 h 6858000"/>
              <a:gd name="connsiteX4" fmla="*/ 2291650 w 7270050"/>
              <a:gd name="connsiteY4" fmla="*/ 6444218 h 6858000"/>
              <a:gd name="connsiteX5" fmla="*/ 2291650 w 7270050"/>
              <a:gd name="connsiteY5" fmla="*/ 2287588 h 6858000"/>
              <a:gd name="connsiteX6" fmla="*/ 7767 w 7270050"/>
              <a:gd name="connsiteY6" fmla="*/ 1588 h 6858000"/>
              <a:gd name="connsiteX7" fmla="*/ 0 w 7270050"/>
              <a:gd name="connsiteY7" fmla="*/ 1588 h 6858000"/>
              <a:gd name="connsiteX8" fmla="*/ 0 w 7270050"/>
              <a:gd name="connsiteY8" fmla="*/ 0 h 6858000"/>
              <a:gd name="connsiteX0" fmla="*/ 0 w 7270050"/>
              <a:gd name="connsiteY0" fmla="*/ 0 h 6858001"/>
              <a:gd name="connsiteX1" fmla="*/ 7270050 w 7270050"/>
              <a:gd name="connsiteY1" fmla="*/ 0 h 6858001"/>
              <a:gd name="connsiteX2" fmla="*/ 7255763 w 7270050"/>
              <a:gd name="connsiteY2" fmla="*/ 6858001 h 6858001"/>
              <a:gd name="connsiteX3" fmla="*/ 2291650 w 7270050"/>
              <a:gd name="connsiteY3" fmla="*/ 6858000 h 6858001"/>
              <a:gd name="connsiteX4" fmla="*/ 2291650 w 7270050"/>
              <a:gd name="connsiteY4" fmla="*/ 6444218 h 6858001"/>
              <a:gd name="connsiteX5" fmla="*/ 2291650 w 7270050"/>
              <a:gd name="connsiteY5" fmla="*/ 2287588 h 6858001"/>
              <a:gd name="connsiteX6" fmla="*/ 7767 w 7270050"/>
              <a:gd name="connsiteY6" fmla="*/ 1588 h 6858001"/>
              <a:gd name="connsiteX7" fmla="*/ 0 w 7270050"/>
              <a:gd name="connsiteY7" fmla="*/ 1588 h 6858001"/>
              <a:gd name="connsiteX8" fmla="*/ 0 w 7270050"/>
              <a:gd name="connsiteY8" fmla="*/ 0 h 6858001"/>
              <a:gd name="connsiteX0" fmla="*/ 0 w 7270050"/>
              <a:gd name="connsiteY0" fmla="*/ 0 h 6858001"/>
              <a:gd name="connsiteX1" fmla="*/ 7270050 w 7270050"/>
              <a:gd name="connsiteY1" fmla="*/ 0 h 6858001"/>
              <a:gd name="connsiteX2" fmla="*/ 6931913 w 7270050"/>
              <a:gd name="connsiteY2" fmla="*/ 6858001 h 6858001"/>
              <a:gd name="connsiteX3" fmla="*/ 2291650 w 7270050"/>
              <a:gd name="connsiteY3" fmla="*/ 6858000 h 6858001"/>
              <a:gd name="connsiteX4" fmla="*/ 2291650 w 7270050"/>
              <a:gd name="connsiteY4" fmla="*/ 6444218 h 6858001"/>
              <a:gd name="connsiteX5" fmla="*/ 2291650 w 7270050"/>
              <a:gd name="connsiteY5" fmla="*/ 2287588 h 6858001"/>
              <a:gd name="connsiteX6" fmla="*/ 7767 w 7270050"/>
              <a:gd name="connsiteY6" fmla="*/ 1588 h 6858001"/>
              <a:gd name="connsiteX7" fmla="*/ 0 w 7270050"/>
              <a:gd name="connsiteY7" fmla="*/ 1588 h 6858001"/>
              <a:gd name="connsiteX8" fmla="*/ 0 w 7270050"/>
              <a:gd name="connsiteY8" fmla="*/ 0 h 6858001"/>
              <a:gd name="connsiteX0" fmla="*/ 0 w 7271425"/>
              <a:gd name="connsiteY0" fmla="*/ 0 h 6858000"/>
              <a:gd name="connsiteX1" fmla="*/ 7270050 w 7271425"/>
              <a:gd name="connsiteY1" fmla="*/ 0 h 6858000"/>
              <a:gd name="connsiteX2" fmla="*/ 7270051 w 7271425"/>
              <a:gd name="connsiteY2" fmla="*/ 6848476 h 6858000"/>
              <a:gd name="connsiteX3" fmla="*/ 2291650 w 7271425"/>
              <a:gd name="connsiteY3" fmla="*/ 6858000 h 6858000"/>
              <a:gd name="connsiteX4" fmla="*/ 2291650 w 7271425"/>
              <a:gd name="connsiteY4" fmla="*/ 6444218 h 6858000"/>
              <a:gd name="connsiteX5" fmla="*/ 2291650 w 7271425"/>
              <a:gd name="connsiteY5" fmla="*/ 2287588 h 6858000"/>
              <a:gd name="connsiteX6" fmla="*/ 7767 w 7271425"/>
              <a:gd name="connsiteY6" fmla="*/ 1588 h 6858000"/>
              <a:gd name="connsiteX7" fmla="*/ 0 w 7271425"/>
              <a:gd name="connsiteY7" fmla="*/ 1588 h 6858000"/>
              <a:gd name="connsiteX8" fmla="*/ 0 w 7271425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271425" h="6858000">
                <a:moveTo>
                  <a:pt x="0" y="0"/>
                </a:moveTo>
                <a:lnTo>
                  <a:pt x="7270050" y="0"/>
                </a:lnTo>
                <a:cubicBezTo>
                  <a:pt x="7265288" y="2286000"/>
                  <a:pt x="7274813" y="4562476"/>
                  <a:pt x="7270051" y="6848476"/>
                </a:cubicBezTo>
                <a:lnTo>
                  <a:pt x="2291650" y="6858000"/>
                </a:lnTo>
                <a:lnTo>
                  <a:pt x="2291650" y="6444218"/>
                </a:lnTo>
                <a:lnTo>
                  <a:pt x="2291650" y="2287588"/>
                </a:lnTo>
                <a:cubicBezTo>
                  <a:pt x="1030756" y="2287588"/>
                  <a:pt x="7767" y="1263651"/>
                  <a:pt x="7767" y="1588"/>
                </a:cubicBezTo>
                <a:lnTo>
                  <a:pt x="0" y="1588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5245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4472247"/>
            <a:ext cx="5524500" cy="128085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28916-E41E-452F-9B34-7E89E62D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162324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AF095C-C76A-4E25-91B7-CED24E009531}" type="datetime3">
              <a:rPr lang="en-US" smtClean="0"/>
              <a:t>14 June 2025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789227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hoto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20EFA51F-38AE-4D7F-AF20-2BCABCCD61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06079" y="-2"/>
            <a:ext cx="6507275" cy="6863318"/>
          </a:xfrm>
          <a:custGeom>
            <a:avLst/>
            <a:gdLst>
              <a:gd name="connsiteX0" fmla="*/ 0 w 4597199"/>
              <a:gd name="connsiteY0" fmla="*/ 0 h 4593599"/>
              <a:gd name="connsiteX1" fmla="*/ 4597199 w 4597199"/>
              <a:gd name="connsiteY1" fmla="*/ 0 h 4593599"/>
              <a:gd name="connsiteX2" fmla="*/ 4597199 w 4597199"/>
              <a:gd name="connsiteY2" fmla="*/ 4593599 h 4593599"/>
              <a:gd name="connsiteX3" fmla="*/ 761399 w 4597199"/>
              <a:gd name="connsiteY3" fmla="*/ 4593599 h 4593599"/>
              <a:gd name="connsiteX4" fmla="*/ 0 w 4597199"/>
              <a:gd name="connsiteY4" fmla="*/ 3833781 h 4593599"/>
              <a:gd name="connsiteX5" fmla="*/ 0 w 4597199"/>
              <a:gd name="connsiteY5" fmla="*/ 3828704 h 4593599"/>
              <a:gd name="connsiteX6" fmla="*/ 761400 w 4597199"/>
              <a:gd name="connsiteY6" fmla="*/ 3828704 h 4593599"/>
              <a:gd name="connsiteX7" fmla="*/ 0 w 4597199"/>
              <a:gd name="connsiteY7" fmla="*/ 3068885 h 4593599"/>
              <a:gd name="connsiteX8" fmla="*/ 0 w 4597199"/>
              <a:gd name="connsiteY8" fmla="*/ 3063809 h 4593599"/>
              <a:gd name="connsiteX9" fmla="*/ 761400 w 4597199"/>
              <a:gd name="connsiteY9" fmla="*/ 3063809 h 4593599"/>
              <a:gd name="connsiteX10" fmla="*/ 0 w 4597199"/>
              <a:gd name="connsiteY10" fmla="*/ 2301191 h 4593599"/>
              <a:gd name="connsiteX11" fmla="*/ 0 w 4597199"/>
              <a:gd name="connsiteY11" fmla="*/ 2296096 h 4593599"/>
              <a:gd name="connsiteX12" fmla="*/ 761400 w 4597199"/>
              <a:gd name="connsiteY12" fmla="*/ 2296096 h 4593599"/>
              <a:gd name="connsiteX13" fmla="*/ 0 w 4597199"/>
              <a:gd name="connsiteY13" fmla="*/ 1536277 h 4593599"/>
              <a:gd name="connsiteX14" fmla="*/ 0 w 4597199"/>
              <a:gd name="connsiteY14" fmla="*/ 1531200 h 4593599"/>
              <a:gd name="connsiteX15" fmla="*/ 761400 w 4597199"/>
              <a:gd name="connsiteY15" fmla="*/ 1531200 h 4593599"/>
              <a:gd name="connsiteX16" fmla="*/ 0 w 4597199"/>
              <a:gd name="connsiteY16" fmla="*/ 771381 h 4593599"/>
              <a:gd name="connsiteX17" fmla="*/ 0 w 4597199"/>
              <a:gd name="connsiteY17" fmla="*/ 766304 h 4593599"/>
              <a:gd name="connsiteX18" fmla="*/ 761400 w 4597199"/>
              <a:gd name="connsiteY18" fmla="*/ 766304 h 4593599"/>
              <a:gd name="connsiteX19" fmla="*/ 0 w 4597199"/>
              <a:gd name="connsiteY19" fmla="*/ 5086 h 4593599"/>
              <a:gd name="connsiteX0" fmla="*/ 0 w 4597199"/>
              <a:gd name="connsiteY0" fmla="*/ 0 h 4593599"/>
              <a:gd name="connsiteX1" fmla="*/ 4340812 w 4597199"/>
              <a:gd name="connsiteY1" fmla="*/ 0 h 4593599"/>
              <a:gd name="connsiteX2" fmla="*/ 4597199 w 4597199"/>
              <a:gd name="connsiteY2" fmla="*/ 4593599 h 4593599"/>
              <a:gd name="connsiteX3" fmla="*/ 761399 w 4597199"/>
              <a:gd name="connsiteY3" fmla="*/ 4593599 h 4593599"/>
              <a:gd name="connsiteX4" fmla="*/ 0 w 4597199"/>
              <a:gd name="connsiteY4" fmla="*/ 3833781 h 4593599"/>
              <a:gd name="connsiteX5" fmla="*/ 0 w 4597199"/>
              <a:gd name="connsiteY5" fmla="*/ 3828704 h 4593599"/>
              <a:gd name="connsiteX6" fmla="*/ 761400 w 4597199"/>
              <a:gd name="connsiteY6" fmla="*/ 3828704 h 4593599"/>
              <a:gd name="connsiteX7" fmla="*/ 0 w 4597199"/>
              <a:gd name="connsiteY7" fmla="*/ 3068885 h 4593599"/>
              <a:gd name="connsiteX8" fmla="*/ 0 w 4597199"/>
              <a:gd name="connsiteY8" fmla="*/ 3063809 h 4593599"/>
              <a:gd name="connsiteX9" fmla="*/ 761400 w 4597199"/>
              <a:gd name="connsiteY9" fmla="*/ 3063809 h 4593599"/>
              <a:gd name="connsiteX10" fmla="*/ 0 w 4597199"/>
              <a:gd name="connsiteY10" fmla="*/ 2301191 h 4593599"/>
              <a:gd name="connsiteX11" fmla="*/ 0 w 4597199"/>
              <a:gd name="connsiteY11" fmla="*/ 2296096 h 4593599"/>
              <a:gd name="connsiteX12" fmla="*/ 761400 w 4597199"/>
              <a:gd name="connsiteY12" fmla="*/ 2296096 h 4593599"/>
              <a:gd name="connsiteX13" fmla="*/ 0 w 4597199"/>
              <a:gd name="connsiteY13" fmla="*/ 1536277 h 4593599"/>
              <a:gd name="connsiteX14" fmla="*/ 0 w 4597199"/>
              <a:gd name="connsiteY14" fmla="*/ 1531200 h 4593599"/>
              <a:gd name="connsiteX15" fmla="*/ 761400 w 4597199"/>
              <a:gd name="connsiteY15" fmla="*/ 1531200 h 4593599"/>
              <a:gd name="connsiteX16" fmla="*/ 0 w 4597199"/>
              <a:gd name="connsiteY16" fmla="*/ 771381 h 4593599"/>
              <a:gd name="connsiteX17" fmla="*/ 0 w 4597199"/>
              <a:gd name="connsiteY17" fmla="*/ 766304 h 4593599"/>
              <a:gd name="connsiteX18" fmla="*/ 761400 w 4597199"/>
              <a:gd name="connsiteY18" fmla="*/ 766304 h 4593599"/>
              <a:gd name="connsiteX19" fmla="*/ 0 w 4597199"/>
              <a:gd name="connsiteY19" fmla="*/ 5086 h 4593599"/>
              <a:gd name="connsiteX20" fmla="*/ 0 w 4597199"/>
              <a:gd name="connsiteY20" fmla="*/ 0 h 4593599"/>
              <a:gd name="connsiteX0" fmla="*/ 0 w 4344374"/>
              <a:gd name="connsiteY0" fmla="*/ 0 h 4597160"/>
              <a:gd name="connsiteX1" fmla="*/ 4340812 w 4344374"/>
              <a:gd name="connsiteY1" fmla="*/ 0 h 4597160"/>
              <a:gd name="connsiteX2" fmla="*/ 4344374 w 4344374"/>
              <a:gd name="connsiteY2" fmla="*/ 4597160 h 4597160"/>
              <a:gd name="connsiteX3" fmla="*/ 761399 w 4344374"/>
              <a:gd name="connsiteY3" fmla="*/ 4593599 h 4597160"/>
              <a:gd name="connsiteX4" fmla="*/ 0 w 4344374"/>
              <a:gd name="connsiteY4" fmla="*/ 3833781 h 4597160"/>
              <a:gd name="connsiteX5" fmla="*/ 0 w 4344374"/>
              <a:gd name="connsiteY5" fmla="*/ 3828704 h 4597160"/>
              <a:gd name="connsiteX6" fmla="*/ 761400 w 4344374"/>
              <a:gd name="connsiteY6" fmla="*/ 3828704 h 4597160"/>
              <a:gd name="connsiteX7" fmla="*/ 0 w 4344374"/>
              <a:gd name="connsiteY7" fmla="*/ 3068885 h 4597160"/>
              <a:gd name="connsiteX8" fmla="*/ 0 w 4344374"/>
              <a:gd name="connsiteY8" fmla="*/ 3063809 h 4597160"/>
              <a:gd name="connsiteX9" fmla="*/ 761400 w 4344374"/>
              <a:gd name="connsiteY9" fmla="*/ 3063809 h 4597160"/>
              <a:gd name="connsiteX10" fmla="*/ 0 w 4344374"/>
              <a:gd name="connsiteY10" fmla="*/ 2301191 h 4597160"/>
              <a:gd name="connsiteX11" fmla="*/ 0 w 4344374"/>
              <a:gd name="connsiteY11" fmla="*/ 2296096 h 4597160"/>
              <a:gd name="connsiteX12" fmla="*/ 761400 w 4344374"/>
              <a:gd name="connsiteY12" fmla="*/ 2296096 h 4597160"/>
              <a:gd name="connsiteX13" fmla="*/ 0 w 4344374"/>
              <a:gd name="connsiteY13" fmla="*/ 1536277 h 4597160"/>
              <a:gd name="connsiteX14" fmla="*/ 0 w 4344374"/>
              <a:gd name="connsiteY14" fmla="*/ 1531200 h 4597160"/>
              <a:gd name="connsiteX15" fmla="*/ 761400 w 4344374"/>
              <a:gd name="connsiteY15" fmla="*/ 1531200 h 4597160"/>
              <a:gd name="connsiteX16" fmla="*/ 0 w 4344374"/>
              <a:gd name="connsiteY16" fmla="*/ 771381 h 4597160"/>
              <a:gd name="connsiteX17" fmla="*/ 0 w 4344374"/>
              <a:gd name="connsiteY17" fmla="*/ 766304 h 4597160"/>
              <a:gd name="connsiteX18" fmla="*/ 761400 w 4344374"/>
              <a:gd name="connsiteY18" fmla="*/ 766304 h 4597160"/>
              <a:gd name="connsiteX19" fmla="*/ 0 w 4344374"/>
              <a:gd name="connsiteY19" fmla="*/ 5086 h 4597160"/>
              <a:gd name="connsiteX20" fmla="*/ 0 w 4344374"/>
              <a:gd name="connsiteY20" fmla="*/ 0 h 4597160"/>
              <a:gd name="connsiteX0" fmla="*/ 0 w 4344374"/>
              <a:gd name="connsiteY0" fmla="*/ 0 h 4597160"/>
              <a:gd name="connsiteX1" fmla="*/ 4233984 w 4344374"/>
              <a:gd name="connsiteY1" fmla="*/ 0 h 4597160"/>
              <a:gd name="connsiteX2" fmla="*/ 4344374 w 4344374"/>
              <a:gd name="connsiteY2" fmla="*/ 4597160 h 4597160"/>
              <a:gd name="connsiteX3" fmla="*/ 761399 w 4344374"/>
              <a:gd name="connsiteY3" fmla="*/ 4593599 h 4597160"/>
              <a:gd name="connsiteX4" fmla="*/ 0 w 4344374"/>
              <a:gd name="connsiteY4" fmla="*/ 3833781 h 4597160"/>
              <a:gd name="connsiteX5" fmla="*/ 0 w 4344374"/>
              <a:gd name="connsiteY5" fmla="*/ 3828704 h 4597160"/>
              <a:gd name="connsiteX6" fmla="*/ 761400 w 4344374"/>
              <a:gd name="connsiteY6" fmla="*/ 3828704 h 4597160"/>
              <a:gd name="connsiteX7" fmla="*/ 0 w 4344374"/>
              <a:gd name="connsiteY7" fmla="*/ 3068885 h 4597160"/>
              <a:gd name="connsiteX8" fmla="*/ 0 w 4344374"/>
              <a:gd name="connsiteY8" fmla="*/ 3063809 h 4597160"/>
              <a:gd name="connsiteX9" fmla="*/ 761400 w 4344374"/>
              <a:gd name="connsiteY9" fmla="*/ 3063809 h 4597160"/>
              <a:gd name="connsiteX10" fmla="*/ 0 w 4344374"/>
              <a:gd name="connsiteY10" fmla="*/ 2301191 h 4597160"/>
              <a:gd name="connsiteX11" fmla="*/ 0 w 4344374"/>
              <a:gd name="connsiteY11" fmla="*/ 2296096 h 4597160"/>
              <a:gd name="connsiteX12" fmla="*/ 761400 w 4344374"/>
              <a:gd name="connsiteY12" fmla="*/ 2296096 h 4597160"/>
              <a:gd name="connsiteX13" fmla="*/ 0 w 4344374"/>
              <a:gd name="connsiteY13" fmla="*/ 1536277 h 4597160"/>
              <a:gd name="connsiteX14" fmla="*/ 0 w 4344374"/>
              <a:gd name="connsiteY14" fmla="*/ 1531200 h 4597160"/>
              <a:gd name="connsiteX15" fmla="*/ 761400 w 4344374"/>
              <a:gd name="connsiteY15" fmla="*/ 1531200 h 4597160"/>
              <a:gd name="connsiteX16" fmla="*/ 0 w 4344374"/>
              <a:gd name="connsiteY16" fmla="*/ 771381 h 4597160"/>
              <a:gd name="connsiteX17" fmla="*/ 0 w 4344374"/>
              <a:gd name="connsiteY17" fmla="*/ 766304 h 4597160"/>
              <a:gd name="connsiteX18" fmla="*/ 761400 w 4344374"/>
              <a:gd name="connsiteY18" fmla="*/ 766304 h 4597160"/>
              <a:gd name="connsiteX19" fmla="*/ 0 w 4344374"/>
              <a:gd name="connsiteY19" fmla="*/ 5086 h 4597160"/>
              <a:gd name="connsiteX20" fmla="*/ 0 w 4344374"/>
              <a:gd name="connsiteY20" fmla="*/ 0 h 4597160"/>
              <a:gd name="connsiteX0" fmla="*/ 0 w 4358677"/>
              <a:gd name="connsiteY0" fmla="*/ 0 h 4597160"/>
              <a:gd name="connsiteX1" fmla="*/ 4358617 w 4358677"/>
              <a:gd name="connsiteY1" fmla="*/ 0 h 4597160"/>
              <a:gd name="connsiteX2" fmla="*/ 4344374 w 4358677"/>
              <a:gd name="connsiteY2" fmla="*/ 4597160 h 4597160"/>
              <a:gd name="connsiteX3" fmla="*/ 761399 w 4358677"/>
              <a:gd name="connsiteY3" fmla="*/ 4593599 h 4597160"/>
              <a:gd name="connsiteX4" fmla="*/ 0 w 4358677"/>
              <a:gd name="connsiteY4" fmla="*/ 3833781 h 4597160"/>
              <a:gd name="connsiteX5" fmla="*/ 0 w 4358677"/>
              <a:gd name="connsiteY5" fmla="*/ 3828704 h 4597160"/>
              <a:gd name="connsiteX6" fmla="*/ 761400 w 4358677"/>
              <a:gd name="connsiteY6" fmla="*/ 3828704 h 4597160"/>
              <a:gd name="connsiteX7" fmla="*/ 0 w 4358677"/>
              <a:gd name="connsiteY7" fmla="*/ 3068885 h 4597160"/>
              <a:gd name="connsiteX8" fmla="*/ 0 w 4358677"/>
              <a:gd name="connsiteY8" fmla="*/ 3063809 h 4597160"/>
              <a:gd name="connsiteX9" fmla="*/ 761400 w 4358677"/>
              <a:gd name="connsiteY9" fmla="*/ 3063809 h 4597160"/>
              <a:gd name="connsiteX10" fmla="*/ 0 w 4358677"/>
              <a:gd name="connsiteY10" fmla="*/ 2301191 h 4597160"/>
              <a:gd name="connsiteX11" fmla="*/ 0 w 4358677"/>
              <a:gd name="connsiteY11" fmla="*/ 2296096 h 4597160"/>
              <a:gd name="connsiteX12" fmla="*/ 761400 w 4358677"/>
              <a:gd name="connsiteY12" fmla="*/ 2296096 h 4597160"/>
              <a:gd name="connsiteX13" fmla="*/ 0 w 4358677"/>
              <a:gd name="connsiteY13" fmla="*/ 1536277 h 4597160"/>
              <a:gd name="connsiteX14" fmla="*/ 0 w 4358677"/>
              <a:gd name="connsiteY14" fmla="*/ 1531200 h 4597160"/>
              <a:gd name="connsiteX15" fmla="*/ 761400 w 4358677"/>
              <a:gd name="connsiteY15" fmla="*/ 1531200 h 4597160"/>
              <a:gd name="connsiteX16" fmla="*/ 0 w 4358677"/>
              <a:gd name="connsiteY16" fmla="*/ 771381 h 4597160"/>
              <a:gd name="connsiteX17" fmla="*/ 0 w 4358677"/>
              <a:gd name="connsiteY17" fmla="*/ 766304 h 4597160"/>
              <a:gd name="connsiteX18" fmla="*/ 761400 w 4358677"/>
              <a:gd name="connsiteY18" fmla="*/ 766304 h 4597160"/>
              <a:gd name="connsiteX19" fmla="*/ 0 w 4358677"/>
              <a:gd name="connsiteY19" fmla="*/ 5086 h 4597160"/>
              <a:gd name="connsiteX20" fmla="*/ 0 w 4358677"/>
              <a:gd name="connsiteY20" fmla="*/ 0 h 4597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358677" h="4597160">
                <a:moveTo>
                  <a:pt x="0" y="0"/>
                </a:moveTo>
                <a:lnTo>
                  <a:pt x="4358617" y="0"/>
                </a:lnTo>
                <a:cubicBezTo>
                  <a:pt x="4359804" y="1532387"/>
                  <a:pt x="4343187" y="3064773"/>
                  <a:pt x="4344374" y="4597160"/>
                </a:cubicBezTo>
                <a:lnTo>
                  <a:pt x="761399" y="4593599"/>
                </a:lnTo>
                <a:lnTo>
                  <a:pt x="0" y="3833781"/>
                </a:lnTo>
                <a:lnTo>
                  <a:pt x="0" y="3828704"/>
                </a:lnTo>
                <a:lnTo>
                  <a:pt x="761400" y="3828704"/>
                </a:lnTo>
                <a:lnTo>
                  <a:pt x="0" y="3068885"/>
                </a:lnTo>
                <a:lnTo>
                  <a:pt x="0" y="3063809"/>
                </a:lnTo>
                <a:lnTo>
                  <a:pt x="761400" y="3063809"/>
                </a:lnTo>
                <a:lnTo>
                  <a:pt x="0" y="2301191"/>
                </a:lnTo>
                <a:lnTo>
                  <a:pt x="0" y="2296096"/>
                </a:lnTo>
                <a:lnTo>
                  <a:pt x="761400" y="2296096"/>
                </a:lnTo>
                <a:lnTo>
                  <a:pt x="0" y="1536277"/>
                </a:lnTo>
                <a:lnTo>
                  <a:pt x="0" y="1531200"/>
                </a:lnTo>
                <a:lnTo>
                  <a:pt x="761400" y="1531200"/>
                </a:lnTo>
                <a:lnTo>
                  <a:pt x="0" y="771381"/>
                </a:lnTo>
                <a:lnTo>
                  <a:pt x="0" y="766304"/>
                </a:lnTo>
                <a:lnTo>
                  <a:pt x="761400" y="766304"/>
                </a:lnTo>
                <a:lnTo>
                  <a:pt x="0" y="5086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325079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28916-E41E-452F-9B34-7E89E62D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162324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2A6CD6-AEE7-4DAB-901D-E8FCAE16BD68}" type="datetime3">
              <a:rPr lang="en-US" smtClean="0"/>
              <a:t>14 June 2025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44B2C99-63BF-4262-C88C-5A9140C545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4472247"/>
            <a:ext cx="5524500" cy="128085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7343444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hoto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6DB0D1E-5482-40C9-8316-5D1A8160F2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7038" y="0"/>
            <a:ext cx="5714962" cy="6858000"/>
          </a:xfrm>
          <a:custGeom>
            <a:avLst/>
            <a:gdLst>
              <a:gd name="connsiteX0" fmla="*/ 0 w 6091200"/>
              <a:gd name="connsiteY0" fmla="*/ 0 h 6858000"/>
              <a:gd name="connsiteX1" fmla="*/ 6091200 w 6091200"/>
              <a:gd name="connsiteY1" fmla="*/ 0 h 6858000"/>
              <a:gd name="connsiteX2" fmla="*/ 6091200 w 6091200"/>
              <a:gd name="connsiteY2" fmla="*/ 6858000 h 6858000"/>
              <a:gd name="connsiteX3" fmla="*/ 2286000 w 6091200"/>
              <a:gd name="connsiteY3" fmla="*/ 6858000 h 6858000"/>
              <a:gd name="connsiteX4" fmla="*/ 2286000 w 6091200"/>
              <a:gd name="connsiteY4" fmla="*/ 3429000 h 6858000"/>
              <a:gd name="connsiteX5" fmla="*/ 0 w 6091200"/>
              <a:gd name="connsiteY5" fmla="*/ 3429000 h 6858000"/>
              <a:gd name="connsiteX0" fmla="*/ 0 w 6091200"/>
              <a:gd name="connsiteY0" fmla="*/ 0 h 6858000"/>
              <a:gd name="connsiteX1" fmla="*/ 5714962 w 6091200"/>
              <a:gd name="connsiteY1" fmla="*/ 0 h 6858000"/>
              <a:gd name="connsiteX2" fmla="*/ 6091200 w 6091200"/>
              <a:gd name="connsiteY2" fmla="*/ 6858000 h 6858000"/>
              <a:gd name="connsiteX3" fmla="*/ 2286000 w 6091200"/>
              <a:gd name="connsiteY3" fmla="*/ 6858000 h 6858000"/>
              <a:gd name="connsiteX4" fmla="*/ 2286000 w 6091200"/>
              <a:gd name="connsiteY4" fmla="*/ 3429000 h 6858000"/>
              <a:gd name="connsiteX5" fmla="*/ 0 w 6091200"/>
              <a:gd name="connsiteY5" fmla="*/ 3429000 h 6858000"/>
              <a:gd name="connsiteX6" fmla="*/ 0 w 6091200"/>
              <a:gd name="connsiteY6" fmla="*/ 0 h 6858000"/>
              <a:gd name="connsiteX0" fmla="*/ 0 w 5714962"/>
              <a:gd name="connsiteY0" fmla="*/ 0 h 6858000"/>
              <a:gd name="connsiteX1" fmla="*/ 5714962 w 5714962"/>
              <a:gd name="connsiteY1" fmla="*/ 0 h 6858000"/>
              <a:gd name="connsiteX2" fmla="*/ 5705438 w 5714962"/>
              <a:gd name="connsiteY2" fmla="*/ 6858000 h 6858000"/>
              <a:gd name="connsiteX3" fmla="*/ 2286000 w 5714962"/>
              <a:gd name="connsiteY3" fmla="*/ 6858000 h 6858000"/>
              <a:gd name="connsiteX4" fmla="*/ 2286000 w 5714962"/>
              <a:gd name="connsiteY4" fmla="*/ 3429000 h 6858000"/>
              <a:gd name="connsiteX5" fmla="*/ 0 w 5714962"/>
              <a:gd name="connsiteY5" fmla="*/ 3429000 h 6858000"/>
              <a:gd name="connsiteX6" fmla="*/ 0 w 571496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14962" h="6858000">
                <a:moveTo>
                  <a:pt x="0" y="0"/>
                </a:moveTo>
                <a:lnTo>
                  <a:pt x="5714962" y="0"/>
                </a:lnTo>
                <a:cubicBezTo>
                  <a:pt x="5711787" y="2286000"/>
                  <a:pt x="5708613" y="4572000"/>
                  <a:pt x="5705438" y="6858000"/>
                </a:cubicBezTo>
                <a:lnTo>
                  <a:pt x="2286000" y="6858000"/>
                </a:lnTo>
                <a:lnTo>
                  <a:pt x="2286000" y="3429000"/>
                </a:lnTo>
                <a:lnTo>
                  <a:pt x="0" y="3429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9055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28916-E41E-452F-9B34-7E89E62D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162324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C85CB51-89C6-41DB-9D8D-B9BEE1163975}" type="datetime3">
              <a:rPr lang="en-US" smtClean="0"/>
              <a:t>14 June 2025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B86D9B9-00AD-250B-67DE-493E0EB304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4472247"/>
            <a:ext cx="5524500" cy="128085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0676255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hoto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4EA61C3-6457-497D-B7AF-E9C3300860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19057" y="0"/>
            <a:ext cx="6849789" cy="6858000"/>
          </a:xfrm>
          <a:custGeom>
            <a:avLst/>
            <a:gdLst>
              <a:gd name="connsiteX0" fmla="*/ 3424894 w 6849789"/>
              <a:gd name="connsiteY0" fmla="*/ 0 h 6858000"/>
              <a:gd name="connsiteX1" fmla="*/ 6849789 w 6849789"/>
              <a:gd name="connsiteY1" fmla="*/ 3429000 h 6858000"/>
              <a:gd name="connsiteX2" fmla="*/ 3424894 w 6849789"/>
              <a:gd name="connsiteY2" fmla="*/ 6858000 h 6858000"/>
              <a:gd name="connsiteX3" fmla="*/ 4456 w 6849789"/>
              <a:gd name="connsiteY3" fmla="*/ 3605456 h 6858000"/>
              <a:gd name="connsiteX4" fmla="*/ 0 w 6849789"/>
              <a:gd name="connsiteY4" fmla="*/ 3429041 h 6858000"/>
              <a:gd name="connsiteX5" fmla="*/ 0 w 6849789"/>
              <a:gd name="connsiteY5" fmla="*/ 3428960 h 6858000"/>
              <a:gd name="connsiteX6" fmla="*/ 4456 w 6849789"/>
              <a:gd name="connsiteY6" fmla="*/ 3252544 h 6858000"/>
              <a:gd name="connsiteX7" fmla="*/ 3424894 w 6849789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49789" h="6858000">
                <a:moveTo>
                  <a:pt x="3424894" y="0"/>
                </a:moveTo>
                <a:cubicBezTo>
                  <a:pt x="5316411" y="0"/>
                  <a:pt x="6849789" y="1535216"/>
                  <a:pt x="6849789" y="3429000"/>
                </a:cubicBezTo>
                <a:cubicBezTo>
                  <a:pt x="6849789" y="5322784"/>
                  <a:pt x="5316411" y="6858000"/>
                  <a:pt x="3424894" y="6858000"/>
                </a:cubicBezTo>
                <a:cubicBezTo>
                  <a:pt x="1592487" y="6858000"/>
                  <a:pt x="96185" y="5417236"/>
                  <a:pt x="4456" y="3605456"/>
                </a:cubicBezTo>
                <a:lnTo>
                  <a:pt x="0" y="3429041"/>
                </a:lnTo>
                <a:lnTo>
                  <a:pt x="0" y="3428960"/>
                </a:lnTo>
                <a:lnTo>
                  <a:pt x="4456" y="3252544"/>
                </a:lnTo>
                <a:cubicBezTo>
                  <a:pt x="96185" y="1440764"/>
                  <a:pt x="1592487" y="0"/>
                  <a:pt x="3424894" y="0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4238057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C87EBB0-E191-4AB0-8198-01AF97E851A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81000" y="6162324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88A68FD1-6624-9244-8C0D-0B1DC87518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4472247"/>
            <a:ext cx="4240876" cy="128085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981902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CB619C81-35D4-47E6-B206-D3D7C3B0A5E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221224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221224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4F4B239-3E08-43E7-8D12-AA3A386F553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2EDF6F5-2F89-477C-B965-23EC3ACBAE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6B32D2-D82B-499E-8683-3366BDE289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03633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WHITE_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82CEB40-7C69-47E5-9106-E566935D3F53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EA34B-ADB0-4A9B-A944-DB4F9AB7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E037E20-29EF-410F-AA70-D50FAE88B30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492305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4EA61C3-6457-497D-B7AF-E9C3300860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19057" y="0"/>
            <a:ext cx="6849789" cy="6858000"/>
          </a:xfrm>
          <a:custGeom>
            <a:avLst/>
            <a:gdLst>
              <a:gd name="connsiteX0" fmla="*/ 3424894 w 6849789"/>
              <a:gd name="connsiteY0" fmla="*/ 0 h 6858000"/>
              <a:gd name="connsiteX1" fmla="*/ 6849789 w 6849789"/>
              <a:gd name="connsiteY1" fmla="*/ 3429000 h 6858000"/>
              <a:gd name="connsiteX2" fmla="*/ 3424894 w 6849789"/>
              <a:gd name="connsiteY2" fmla="*/ 6858000 h 6858000"/>
              <a:gd name="connsiteX3" fmla="*/ 4456 w 6849789"/>
              <a:gd name="connsiteY3" fmla="*/ 3605456 h 6858000"/>
              <a:gd name="connsiteX4" fmla="*/ 0 w 6849789"/>
              <a:gd name="connsiteY4" fmla="*/ 3429041 h 6858000"/>
              <a:gd name="connsiteX5" fmla="*/ 0 w 6849789"/>
              <a:gd name="connsiteY5" fmla="*/ 3428960 h 6858000"/>
              <a:gd name="connsiteX6" fmla="*/ 4456 w 6849789"/>
              <a:gd name="connsiteY6" fmla="*/ 3252544 h 6858000"/>
              <a:gd name="connsiteX7" fmla="*/ 3424894 w 6849789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49789" h="6858000">
                <a:moveTo>
                  <a:pt x="3424894" y="0"/>
                </a:moveTo>
                <a:cubicBezTo>
                  <a:pt x="5316411" y="0"/>
                  <a:pt x="6849789" y="1535216"/>
                  <a:pt x="6849789" y="3429000"/>
                </a:cubicBezTo>
                <a:cubicBezTo>
                  <a:pt x="6849789" y="5322784"/>
                  <a:pt x="5316411" y="6858000"/>
                  <a:pt x="3424894" y="6858000"/>
                </a:cubicBezTo>
                <a:cubicBezTo>
                  <a:pt x="1592487" y="6858000"/>
                  <a:pt x="96185" y="5417236"/>
                  <a:pt x="4456" y="3605456"/>
                </a:cubicBezTo>
                <a:lnTo>
                  <a:pt x="0" y="3429041"/>
                </a:lnTo>
                <a:lnTo>
                  <a:pt x="0" y="3428960"/>
                </a:lnTo>
                <a:lnTo>
                  <a:pt x="4456" y="3252544"/>
                </a:lnTo>
                <a:cubicBezTo>
                  <a:pt x="96185" y="1440764"/>
                  <a:pt x="1592487" y="0"/>
                  <a:pt x="3424894" y="0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0999" y="1485900"/>
            <a:ext cx="42120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C87EBB0-E191-4AB0-8198-01AF97E851A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81000" y="6162324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88A68FD1-6624-9244-8C0D-0B1DC87518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0" y="4472247"/>
            <a:ext cx="4212000" cy="1280852"/>
          </a:xfrm>
        </p:spPr>
        <p:txBody>
          <a:bodyPr anchor="t" anchorCtr="0"/>
          <a:lstStyle>
            <a:lvl1pPr marL="514350" indent="-514350" algn="l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2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points</a:t>
            </a:r>
          </a:p>
        </p:txBody>
      </p:sp>
    </p:spTree>
    <p:extLst>
      <p:ext uri="{BB962C8B-B14F-4D97-AF65-F5344CB8AC3E}">
        <p14:creationId xmlns:p14="http://schemas.microsoft.com/office/powerpoint/2010/main" val="320457900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4D5EE-B9EC-4B8B-B697-CD3B955461A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0999" y="1905000"/>
            <a:ext cx="11429325" cy="384809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sz="2000" b="0">
                <a:solidFill>
                  <a:schemeClr val="tx1"/>
                </a:solidFill>
              </a:defRPr>
            </a:lvl5pPr>
            <a:lvl6pPr>
              <a:defRPr b="0">
                <a:solidFill>
                  <a:schemeClr val="accent1"/>
                </a:solidFill>
              </a:defRPr>
            </a:lvl6pPr>
            <a:lvl7pPr>
              <a:defRPr b="0">
                <a:solidFill>
                  <a:schemeClr val="accent1"/>
                </a:solidFill>
              </a:defRPr>
            </a:lvl7pPr>
            <a:lvl8pPr>
              <a:defRPr b="0">
                <a:solidFill>
                  <a:schemeClr val="accent1"/>
                </a:solidFill>
              </a:defRPr>
            </a:lvl8pPr>
            <a:lvl9pPr>
              <a:defRPr b="0">
                <a:solidFill>
                  <a:schemeClr val="accent1"/>
                </a:solidFill>
              </a:defRPr>
            </a:lvl9pPr>
          </a:lstStyle>
          <a:p>
            <a:pPr lvl="4"/>
            <a:r>
              <a:rPr lang="en-US"/>
              <a:t>Paste chart her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D518933-C06B-479E-8487-1189C2548F6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EB29568F-7E0A-71E1-1DFF-599EDA199233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88714" y="5762964"/>
            <a:ext cx="11422286" cy="263143"/>
          </a:xfrm>
        </p:spPr>
        <p:txBody>
          <a:bodyPr anchor="t" anchorCtr="0"/>
          <a:lstStyle>
            <a:lvl1pPr>
              <a:defRPr sz="1400"/>
            </a:lvl1pPr>
          </a:lstStyle>
          <a:p>
            <a:r>
              <a:rPr lang="en-US"/>
              <a:t>Source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84C74F38-0A51-2F3D-D4D7-351D8D69E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2C710D95-D30A-9CE2-3F2F-D042FBED915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E3AB1E5B-1C8B-717B-5BBD-870D021D6A1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1E32FA"/>
                </a:solidFill>
              </a:rPr>
              <a:t>IATA Sustainability </a:t>
            </a:r>
            <a:r>
              <a:rPr lang="pl-PL">
                <a:solidFill>
                  <a:srgbClr val="1E32FA"/>
                </a:solidFill>
              </a:rPr>
              <a:t>and</a:t>
            </a:r>
            <a:r>
              <a:rPr lang="en-US">
                <a:solidFill>
                  <a:srgbClr val="1E32FA"/>
                </a:solidFill>
              </a:rPr>
              <a:t> Economics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BFBFE152-4E33-861F-9761-AA98E1252F9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AF1C20CF-D8F4-9F2F-00A8-F73A8406B34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81000" y="844924"/>
            <a:ext cx="11430000" cy="432547"/>
          </a:xfrm>
        </p:spPr>
        <p:txBody>
          <a:bodyPr/>
          <a:lstStyle>
            <a:lvl1pPr>
              <a:defRPr sz="2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" name="Content Placeholder 6">
            <a:extLst>
              <a:ext uri="{FF2B5EF4-FFF2-40B4-BE49-F238E27FC236}">
                <a16:creationId xmlns:a16="http://schemas.microsoft.com/office/drawing/2014/main" id="{9D923A49-479F-6E41-B321-A81CEB404A7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1000" y="1295401"/>
            <a:ext cx="11430000" cy="419100"/>
          </a:xfrm>
        </p:spPr>
        <p:txBody>
          <a:bodyPr anchor="b" anchorCtr="0"/>
          <a:lstStyle>
            <a:lvl1pPr>
              <a:defRPr sz="2000" b="1"/>
            </a:lvl1pPr>
          </a:lstStyle>
          <a:p>
            <a:r>
              <a:rPr lang="en-US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200511152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4D5EE-B9EC-4B8B-B697-CD3B955461A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0999" y="1905000"/>
            <a:ext cx="11429325" cy="384809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sz="2000" b="0">
                <a:solidFill>
                  <a:schemeClr val="tx1"/>
                </a:solidFill>
              </a:defRPr>
            </a:lvl5pPr>
            <a:lvl6pPr>
              <a:defRPr b="0">
                <a:solidFill>
                  <a:schemeClr val="accent1"/>
                </a:solidFill>
              </a:defRPr>
            </a:lvl6pPr>
            <a:lvl7pPr>
              <a:defRPr b="0">
                <a:solidFill>
                  <a:schemeClr val="accent1"/>
                </a:solidFill>
              </a:defRPr>
            </a:lvl7pPr>
            <a:lvl8pPr>
              <a:defRPr b="0">
                <a:solidFill>
                  <a:schemeClr val="accent1"/>
                </a:solidFill>
              </a:defRPr>
            </a:lvl8pPr>
            <a:lvl9pPr>
              <a:defRPr b="0">
                <a:solidFill>
                  <a:schemeClr val="accent1"/>
                </a:solidFill>
              </a:defRPr>
            </a:lvl9pPr>
          </a:lstStyle>
          <a:p>
            <a:pPr lvl="4"/>
            <a:r>
              <a:rPr lang="en-US"/>
              <a:t>Paste chart her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D518933-C06B-479E-8487-1189C2548F6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EB29568F-7E0A-71E1-1DFF-599EDA199233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88714" y="5881349"/>
            <a:ext cx="11422286" cy="272699"/>
          </a:xfrm>
        </p:spPr>
        <p:txBody>
          <a:bodyPr anchor="t" anchorCtr="0"/>
          <a:lstStyle>
            <a:lvl1pPr>
              <a:defRPr sz="1000"/>
            </a:lvl1pPr>
          </a:lstStyle>
          <a:p>
            <a:r>
              <a:rPr lang="en-US"/>
              <a:t>Source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84C74F38-0A51-2F3D-D4D7-351D8D69E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2C710D95-D30A-9CE2-3F2F-D042FBED915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E3AB1E5B-1C8B-717B-5BBD-870D021D6A1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1E32FA"/>
                </a:solidFill>
              </a:rPr>
              <a:t>IATA Sustainability and Economics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BFBFE152-4E33-861F-9761-AA98E1252F9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6">
            <a:extLst>
              <a:ext uri="{FF2B5EF4-FFF2-40B4-BE49-F238E27FC236}">
                <a16:creationId xmlns:a16="http://schemas.microsoft.com/office/drawing/2014/main" id="{9D923A49-479F-6E41-B321-A81CEB404A7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1000" y="1066800"/>
            <a:ext cx="11430000" cy="419100"/>
          </a:xfrm>
        </p:spPr>
        <p:txBody>
          <a:bodyPr anchor="b" anchorCtr="0"/>
          <a:lstStyle>
            <a:lvl1pPr>
              <a:defRPr sz="1600" b="1"/>
            </a:lvl1pPr>
          </a:lstStyle>
          <a:p>
            <a:r>
              <a:rPr lang="en-US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346481135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4D5EE-B9EC-4B8B-B697-CD3B955461A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0999" y="1905000"/>
            <a:ext cx="11429325" cy="384809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sz="2000" b="0">
                <a:solidFill>
                  <a:schemeClr val="tx1"/>
                </a:solidFill>
              </a:defRPr>
            </a:lvl5pPr>
            <a:lvl6pPr>
              <a:defRPr b="0">
                <a:solidFill>
                  <a:schemeClr val="accent1"/>
                </a:solidFill>
              </a:defRPr>
            </a:lvl6pPr>
            <a:lvl7pPr>
              <a:defRPr b="0">
                <a:solidFill>
                  <a:schemeClr val="accent1"/>
                </a:solidFill>
              </a:defRPr>
            </a:lvl7pPr>
            <a:lvl8pPr>
              <a:defRPr b="0">
                <a:solidFill>
                  <a:schemeClr val="accent1"/>
                </a:solidFill>
              </a:defRPr>
            </a:lvl8pPr>
            <a:lvl9pPr>
              <a:defRPr b="0">
                <a:solidFill>
                  <a:schemeClr val="accent1"/>
                </a:solidFill>
              </a:defRPr>
            </a:lvl9pPr>
          </a:lstStyle>
          <a:p>
            <a:pPr lvl="4"/>
            <a:r>
              <a:rPr lang="en-US"/>
              <a:t>Paste chart her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D518933-C06B-479E-8487-1189C2548F6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EB29568F-7E0A-71E1-1DFF-599EDA199233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88714" y="5762964"/>
            <a:ext cx="11422286" cy="263143"/>
          </a:xfrm>
        </p:spPr>
        <p:txBody>
          <a:bodyPr anchor="t" anchorCtr="0"/>
          <a:lstStyle>
            <a:lvl1pPr>
              <a:defRPr sz="1400"/>
            </a:lvl1pPr>
          </a:lstStyle>
          <a:p>
            <a:r>
              <a:rPr lang="en-US"/>
              <a:t>Source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84C74F38-0A51-2F3D-D4D7-351D8D69E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2C710D95-D30A-9CE2-3F2F-D042FBED915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E3AB1E5B-1C8B-717B-5BBD-870D021D6A1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1E32FA"/>
                </a:solidFill>
              </a:rPr>
              <a:t>IATA Sustainability and Economics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BFBFE152-4E33-861F-9761-AA98E1252F9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6">
            <a:extLst>
              <a:ext uri="{FF2B5EF4-FFF2-40B4-BE49-F238E27FC236}">
                <a16:creationId xmlns:a16="http://schemas.microsoft.com/office/drawing/2014/main" id="{9D923A49-479F-6E41-B321-A81CEB404A7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1000" y="1295401"/>
            <a:ext cx="11430000" cy="419100"/>
          </a:xfrm>
        </p:spPr>
        <p:txBody>
          <a:bodyPr anchor="b" anchorCtr="0"/>
          <a:lstStyle>
            <a:lvl1pPr>
              <a:defRPr sz="2000" b="1"/>
            </a:lvl1pPr>
          </a:lstStyle>
          <a:p>
            <a:r>
              <a:rPr lang="en-US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306141980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WHITE_TextSlide_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821CC-265E-473E-BD96-BC93B6A49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4D5EE-B9EC-4B8B-B697-CD3B955461AE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>
                <a:solidFill>
                  <a:schemeClr val="accent1"/>
                </a:solidFill>
              </a:defRPr>
            </a:lvl5pPr>
            <a:lvl6pPr>
              <a:defRPr sz="1800">
                <a:solidFill>
                  <a:schemeClr val="accent1"/>
                </a:solidFill>
              </a:defRPr>
            </a:lvl6pPr>
            <a:lvl7pPr>
              <a:defRPr sz="1800">
                <a:solidFill>
                  <a:schemeClr val="accent1"/>
                </a:solidFill>
              </a:defRPr>
            </a:lvl7pPr>
            <a:lvl8pPr>
              <a:defRPr sz="1800">
                <a:solidFill>
                  <a:schemeClr val="accent1"/>
                </a:solidFill>
              </a:defRPr>
            </a:lvl8pPr>
            <a:lvl9pPr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98937FE-5C9B-40C9-8C55-48EB04CA346C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D518933-C06B-479E-8487-1189C2548F6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269626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59187"/>
            <a:ext cx="11429324" cy="47307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905000"/>
            <a:ext cx="5523824" cy="38481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4"/>
            <a:r>
              <a:rPr lang="en-US"/>
              <a:t>Paste chart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E12FA-2958-4BD2-846B-0E828DE720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7176" y="1905000"/>
            <a:ext cx="5523824" cy="38481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4"/>
            <a:r>
              <a:rPr lang="en-US"/>
              <a:t>Paste chart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7C326BA-A1F7-4E33-88FC-B76359D35FF4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>
                <a:solidFill>
                  <a:srgbClr val="1E32FA"/>
                </a:solidFill>
              </a:rPr>
              <a:t>IATA Sustainability and Economic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5B7B4106-2F1F-45B9-9A64-FAC3DF7E09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BFDEFD52-6C89-28A8-9C71-DC032A5DD643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88714" y="5880105"/>
            <a:ext cx="5516785" cy="272699"/>
          </a:xfrm>
        </p:spPr>
        <p:txBody>
          <a:bodyPr anchor="t" anchorCtr="0"/>
          <a:lstStyle>
            <a:lvl1pPr>
              <a:defRPr sz="1000"/>
            </a:lvl1pPr>
          </a:lstStyle>
          <a:p>
            <a:r>
              <a:rPr lang="en-US"/>
              <a:t>Source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3720D386-9199-0F02-E037-1589C7130DA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94215" y="5876547"/>
            <a:ext cx="5516785" cy="272699"/>
          </a:xfrm>
        </p:spPr>
        <p:txBody>
          <a:bodyPr anchor="t" anchorCtr="0"/>
          <a:lstStyle>
            <a:lvl1pPr>
              <a:defRPr sz="1000"/>
            </a:lvl1pPr>
          </a:lstStyle>
          <a:p>
            <a:r>
              <a:rPr lang="en-US"/>
              <a:t>Source</a:t>
            </a:r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282ED4AE-9561-31F9-D5A0-CD5CECBE51C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1000" y="1076326"/>
            <a:ext cx="5524500" cy="419100"/>
          </a:xfrm>
        </p:spPr>
        <p:txBody>
          <a:bodyPr anchor="b" anchorCtr="0"/>
          <a:lstStyle>
            <a:lvl1pPr>
              <a:defRPr sz="1600" b="1"/>
            </a:lvl1pPr>
          </a:lstStyle>
          <a:p>
            <a:r>
              <a:rPr lang="en-US"/>
              <a:t>Chart title</a:t>
            </a: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02E18AD0-30F5-960E-091B-4A35F1D46BF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286500" y="1076326"/>
            <a:ext cx="5524500" cy="419100"/>
          </a:xfrm>
        </p:spPr>
        <p:txBody>
          <a:bodyPr anchor="b" anchorCtr="0"/>
          <a:lstStyle>
            <a:lvl1pPr>
              <a:defRPr sz="1600" b="1"/>
            </a:lvl1pPr>
          </a:lstStyle>
          <a:p>
            <a:r>
              <a:rPr lang="en-US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105810659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821CC-265E-473E-BD96-BC93B6A49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4D5EE-B9EC-4B8B-B697-CD3B955461AE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98937FE-5C9B-40C9-8C55-48EB04CA346C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IATA Sustainability and Econom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D518933-C06B-479E-8487-1189C2548F6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Content Placeholder 19">
            <a:extLst>
              <a:ext uri="{FF2B5EF4-FFF2-40B4-BE49-F238E27FC236}">
                <a16:creationId xmlns:a16="http://schemas.microsoft.com/office/drawing/2014/main" id="{BD358071-04AB-D7A1-4BDE-2129286ADE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81000" y="844924"/>
            <a:ext cx="11430000" cy="432547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405022287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485900"/>
            <a:ext cx="5523824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E12FA-2958-4BD2-846B-0E828DE720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7176" y="1485900"/>
            <a:ext cx="5523824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7C326BA-A1F7-4E33-88FC-B76359D35FF4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IATA Sustainability and Economic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5B7B4106-2F1F-45B9-9A64-FAC3DF7E09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109B5EE-2E46-7FCE-FD81-8EAE99FD6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59187"/>
            <a:ext cx="11429324" cy="47307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19">
            <a:extLst>
              <a:ext uri="{FF2B5EF4-FFF2-40B4-BE49-F238E27FC236}">
                <a16:creationId xmlns:a16="http://schemas.microsoft.com/office/drawing/2014/main" id="{FA1F35F7-A8D7-2378-F21E-C1B5A6FED71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81000" y="844924"/>
            <a:ext cx="11430000" cy="432547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96978399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lus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59187"/>
            <a:ext cx="11429324" cy="47307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485900"/>
            <a:ext cx="5523824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sz="3200"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4"/>
            <a:r>
              <a:rPr lang="en-US"/>
              <a:t>Paste text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E12FA-2958-4BD2-846B-0E828DE720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7176" y="1905000"/>
            <a:ext cx="5523824" cy="38481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4"/>
            <a:r>
              <a:rPr lang="en-US"/>
              <a:t>Paste chart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7C326BA-A1F7-4E33-88FC-B76359D35FF4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>
                <a:solidFill>
                  <a:srgbClr val="1E32FA"/>
                </a:solidFill>
              </a:rPr>
              <a:t>IATA Sustainability and Economic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5B7B4106-2F1F-45B9-9A64-FAC3DF7E09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3720D386-9199-0F02-E037-1589C7130DA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94215" y="5891644"/>
            <a:ext cx="5516785" cy="272699"/>
          </a:xfrm>
        </p:spPr>
        <p:txBody>
          <a:bodyPr anchor="t" anchorCtr="0"/>
          <a:lstStyle>
            <a:lvl1pPr>
              <a:defRPr sz="1000"/>
            </a:lvl1pPr>
          </a:lstStyle>
          <a:p>
            <a:r>
              <a:rPr lang="en-US"/>
              <a:t>Source</a:t>
            </a:r>
          </a:p>
        </p:txBody>
      </p:sp>
      <p:sp>
        <p:nvSpPr>
          <p:cNvPr id="14" name="Content Placeholder 19">
            <a:extLst>
              <a:ext uri="{FF2B5EF4-FFF2-40B4-BE49-F238E27FC236}">
                <a16:creationId xmlns:a16="http://schemas.microsoft.com/office/drawing/2014/main" id="{788930CB-0A6B-52F1-B925-8C9ADBC00D2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81000" y="844924"/>
            <a:ext cx="11430000" cy="432547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9AF4AD05-CDFA-D391-BB2E-236FAA2967E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86500" y="1485901"/>
            <a:ext cx="5524500" cy="419100"/>
          </a:xfrm>
        </p:spPr>
        <p:txBody>
          <a:bodyPr anchor="b" anchorCtr="0"/>
          <a:lstStyle>
            <a:lvl1pPr>
              <a:defRPr sz="1600" b="1"/>
            </a:lvl1pPr>
          </a:lstStyle>
          <a:p>
            <a:r>
              <a:rPr lang="en-US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73108673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harts,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FD74FC4-6EF4-4B89-840F-93E75041C2DB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905501" y="-4558"/>
            <a:ext cx="6286499" cy="68625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58401"/>
            <a:ext cx="5111325" cy="47307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895124"/>
            <a:ext cx="5523824" cy="38579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D453D0-CFD4-4E7D-AACE-01F5700D1366}" type="datetime3">
              <a:rPr lang="en-US" smtClean="0"/>
              <a:t>14 June 2025</a:t>
            </a:fld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32E7365A-63AF-47B0-967F-AB95F8EF34E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1CD6511-AE09-4A89-A3A2-408EC0D458F5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87176" y="1895124"/>
            <a:ext cx="5523824" cy="38579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09E20E3-6C3E-4148-8F5D-27D6B62EFA1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86500" y="365760"/>
            <a:ext cx="5524500" cy="47244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4400" b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3EEDC6-03CB-4142-A87F-671B5026FF3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>
                <a:solidFill>
                  <a:srgbClr val="1E32FA"/>
                </a:solidFill>
              </a:rPr>
              <a:t>IATA Sustainability and Economics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351E5AE3-5C3B-A231-CE21-E205C2C30A6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88714" y="5895203"/>
            <a:ext cx="5516785" cy="272699"/>
          </a:xfrm>
        </p:spPr>
        <p:txBody>
          <a:bodyPr anchor="t" anchorCtr="0"/>
          <a:lstStyle>
            <a:lvl1pPr>
              <a:defRPr sz="1000"/>
            </a:lvl1pPr>
          </a:lstStyle>
          <a:p>
            <a:r>
              <a:rPr lang="en-US"/>
              <a:t>Source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39CA59F6-145F-AF7F-5EFF-434085525F4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94215" y="5895203"/>
            <a:ext cx="5516785" cy="272699"/>
          </a:xfrm>
        </p:spPr>
        <p:txBody>
          <a:bodyPr anchor="t" anchorCtr="0"/>
          <a:lstStyle>
            <a:lvl1pPr>
              <a:defRPr sz="1000"/>
            </a:lvl1pPr>
          </a:lstStyle>
          <a:p>
            <a:r>
              <a:rPr lang="en-US"/>
              <a:t>Source</a:t>
            </a:r>
          </a:p>
        </p:txBody>
      </p:sp>
      <p:sp>
        <p:nvSpPr>
          <p:cNvPr id="16" name="Content Placeholder 19">
            <a:extLst>
              <a:ext uri="{FF2B5EF4-FFF2-40B4-BE49-F238E27FC236}">
                <a16:creationId xmlns:a16="http://schemas.microsoft.com/office/drawing/2014/main" id="{4E9C182E-483B-3BB8-2E13-166669135BE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81000" y="844924"/>
            <a:ext cx="5118847" cy="432547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</a:t>
            </a:r>
          </a:p>
        </p:txBody>
      </p:sp>
      <p:sp>
        <p:nvSpPr>
          <p:cNvPr id="17" name="Content Placeholder 19">
            <a:extLst>
              <a:ext uri="{FF2B5EF4-FFF2-40B4-BE49-F238E27FC236}">
                <a16:creationId xmlns:a16="http://schemas.microsoft.com/office/drawing/2014/main" id="{AC7BA4C9-6FEC-1D2E-861E-4BD7764238D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86500" y="844924"/>
            <a:ext cx="5118847" cy="432547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</a:t>
            </a:r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AA9FDD31-B3BA-147E-5417-0B9E917341A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81000" y="1485901"/>
            <a:ext cx="5524500" cy="419100"/>
          </a:xfrm>
        </p:spPr>
        <p:txBody>
          <a:bodyPr anchor="b" anchorCtr="0"/>
          <a:lstStyle>
            <a:lvl1pPr>
              <a:defRPr sz="1600" b="1"/>
            </a:lvl1pPr>
          </a:lstStyle>
          <a:p>
            <a:r>
              <a:rPr lang="en-US"/>
              <a:t>Chart title</a:t>
            </a:r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2D23CC7F-FB8F-2DD5-ABF1-3F3F098D711B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86500" y="1485901"/>
            <a:ext cx="5524500" cy="419100"/>
          </a:xfrm>
        </p:spPr>
        <p:txBody>
          <a:bodyPr anchor="b" anchorCtr="0"/>
          <a:lstStyle>
            <a:lvl1pPr>
              <a:defRPr sz="1600" b="1"/>
            </a:lvl1pPr>
          </a:lstStyle>
          <a:p>
            <a:r>
              <a:rPr lang="en-US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193384848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plus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263EF67-71D6-425F-9F93-AD2BCA30BD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58401"/>
            <a:ext cx="5340724" cy="47307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1895228"/>
            <a:ext cx="5524500" cy="385340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01B53C58-B30A-40A9-B349-19A78BB7BB78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9247D218-D62C-4742-ACE7-429AA3B6153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A9C1ED-C0A8-4B58-BF6C-89AA3F9BA0F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>
                <a:solidFill>
                  <a:srgbClr val="1E32FA"/>
                </a:solidFill>
              </a:rPr>
              <a:t>IATA Sustainability and Economic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58F254B-DE81-8B00-4B1C-7CAC0884241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88715" y="5895205"/>
            <a:ext cx="5516785" cy="272699"/>
          </a:xfrm>
        </p:spPr>
        <p:txBody>
          <a:bodyPr anchor="t" anchorCtr="0"/>
          <a:lstStyle>
            <a:lvl1pPr>
              <a:defRPr sz="1000"/>
            </a:lvl1pPr>
          </a:lstStyle>
          <a:p>
            <a:r>
              <a:rPr lang="en-US"/>
              <a:t>Source</a:t>
            </a:r>
          </a:p>
        </p:txBody>
      </p:sp>
      <p:sp>
        <p:nvSpPr>
          <p:cNvPr id="12" name="Content Placeholder 19">
            <a:extLst>
              <a:ext uri="{FF2B5EF4-FFF2-40B4-BE49-F238E27FC236}">
                <a16:creationId xmlns:a16="http://schemas.microsoft.com/office/drawing/2014/main" id="{C464D054-EC6A-DEEE-EDA8-DC7614DC77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81000" y="844924"/>
            <a:ext cx="5360894" cy="432547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44337C94-3041-AFEF-5D18-1A9FF5BA5A0D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81000" y="1485901"/>
            <a:ext cx="5524500" cy="419100"/>
          </a:xfrm>
        </p:spPr>
        <p:txBody>
          <a:bodyPr anchor="b" anchorCtr="0"/>
          <a:lstStyle>
            <a:lvl1pPr>
              <a:defRPr sz="1600" b="1"/>
            </a:lvl1pPr>
          </a:lstStyle>
          <a:p>
            <a:r>
              <a:rPr lang="en-US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115662921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71DE7C4-EADF-49A5-94C9-295DA7102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59187"/>
            <a:ext cx="11429324" cy="4730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15A1F1-8128-4C7E-90C2-0A9DA95A35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0999" y="1485900"/>
            <a:ext cx="11429325" cy="426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5D38B6-3878-4DD8-B8F9-92C491ABF8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>
                <a:solidFill>
                  <a:schemeClr val="accent1"/>
                </a:solidFill>
              </a:defRPr>
            </a:lvl1pPr>
          </a:lstStyle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054503-8F56-486A-BEEB-415EA4A643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259C21-CE9A-4D3A-AB80-ABF8F4D8A7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1000" y="6162324"/>
            <a:ext cx="4572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4873ECA-CD59-50FE-46D3-CAFD7A35F5D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052175" y="63500"/>
            <a:ext cx="110490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ATA - Public content</a:t>
            </a:r>
          </a:p>
        </p:txBody>
      </p:sp>
    </p:spTree>
    <p:extLst>
      <p:ext uri="{BB962C8B-B14F-4D97-AF65-F5344CB8AC3E}">
        <p14:creationId xmlns:p14="http://schemas.microsoft.com/office/powerpoint/2010/main" val="1350191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  <p:sldLayoutId id="2147483915" r:id="rId10"/>
    <p:sldLayoutId id="2147483916" r:id="rId11"/>
    <p:sldLayoutId id="2147483917" r:id="rId12"/>
    <p:sldLayoutId id="2147483918" r:id="rId13"/>
    <p:sldLayoutId id="2147483919" r:id="rId14"/>
    <p:sldLayoutId id="2147483920" r:id="rId15"/>
    <p:sldLayoutId id="2147483921" r:id="rId16"/>
    <p:sldLayoutId id="2147483922" r:id="rId17"/>
    <p:sldLayoutId id="2147483923" r:id="rId18"/>
    <p:sldLayoutId id="2147483924" r:id="rId19"/>
    <p:sldLayoutId id="2147483925" r:id="rId20"/>
    <p:sldLayoutId id="2147483926" r:id="rId21"/>
    <p:sldLayoutId id="2147483927" r:id="rId22"/>
    <p:sldLayoutId id="2147483928" r:id="rId23"/>
    <p:sldLayoutId id="2147483929" r:id="rId24"/>
    <p:sldLayoutId id="2147483930" r:id="rId25"/>
    <p:sldLayoutId id="2147483931" r:id="rId26"/>
    <p:sldLayoutId id="2147483935" r:id="rId27"/>
    <p:sldLayoutId id="2147483936" r:id="rId28"/>
    <p:sldLayoutId id="2147483937" r:id="rId29"/>
    <p:sldLayoutId id="2147483938" r:id="rId30"/>
    <p:sldLayoutId id="2147483939" r:id="rId31"/>
  </p:sldLayoutIdLst>
  <p:transition>
    <p:fade/>
  </p:transition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98513" indent="-228600" algn="l" defTabSz="914400" rtl="0" eaLnBrk="1" latinLnBrk="0" hangingPunct="1">
        <a:lnSpc>
          <a:spcPct val="90000"/>
        </a:lnSpc>
        <a:spcBef>
          <a:spcPts val="500"/>
        </a:spcBef>
        <a:buFont typeface="Aktiv Grotesk Medium" panose="020B05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228600" algn="l" defTabSz="914400" rtl="0" eaLnBrk="1" latinLnBrk="0" hangingPunct="1">
        <a:lnSpc>
          <a:spcPct val="90000"/>
        </a:lnSpc>
        <a:spcBef>
          <a:spcPts val="500"/>
        </a:spcBef>
        <a:buFont typeface="Aktiv Grotesk Medium" panose="020B0504020202020204" pitchFamily="34" charset="0"/>
        <a:buChar char="▪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40">
          <p15:clr>
            <a:srgbClr val="5ACBF0"/>
          </p15:clr>
        </p15:guide>
        <p15:guide id="4" pos="240">
          <p15:clr>
            <a:srgbClr val="5ACBF0"/>
          </p15:clr>
        </p15:guide>
        <p15:guide id="5" pos="7440">
          <p15:clr>
            <a:srgbClr val="5ACBF0"/>
          </p15:clr>
        </p15:guide>
        <p15:guide id="6" pos="3720">
          <p15:clr>
            <a:srgbClr val="5ACBF0"/>
          </p15:clr>
        </p15:guide>
        <p15:guide id="7" pos="3960">
          <p15:clr>
            <a:srgbClr val="5ACBF0"/>
          </p15:clr>
        </p15:guide>
        <p15:guide id="8" orient="horz" pos="528">
          <p15:clr>
            <a:srgbClr val="5ACBF0"/>
          </p15:clr>
        </p15:guide>
        <p15:guide id="9" orient="horz" pos="936">
          <p15:clr>
            <a:srgbClr val="5ACBF0"/>
          </p15:clr>
        </p15:guide>
        <p15:guide id="10" orient="horz" pos="3624">
          <p15:clr>
            <a:srgbClr val="5ACBF0"/>
          </p15:clr>
        </p15:guide>
        <p15:guide id="11" orient="horz" pos="4080">
          <p15:clr>
            <a:srgbClr val="5ACBF0"/>
          </p15:clr>
        </p15:guide>
        <p15:guide id="12" orient="horz" pos="1200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.xml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oleObject" Target="../embeddings/oleObject2.bin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7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chart" Target="../charts/char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3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3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Relationship Id="rId4" Type="http://schemas.openxmlformats.org/officeDocument/2006/relationships/chart" Target="../charts/chart1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1.xml"/><Relationship Id="rId4" Type="http://schemas.openxmlformats.org/officeDocument/2006/relationships/chart" Target="../charts/char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.xml"/><Relationship Id="rId6" Type="http://schemas.openxmlformats.org/officeDocument/2006/relationships/chart" Target="../charts/chart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.png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FD25FC5-F159-A4EA-CD63-35BFAEE58B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0999" y="691623"/>
            <a:ext cx="5606143" cy="3193016"/>
          </a:xfrm>
        </p:spPr>
        <p:txBody>
          <a:bodyPr/>
          <a:lstStyle/>
          <a:p>
            <a:r>
              <a:rPr lang="en-US" sz="4800" dirty="0"/>
              <a:t>Leveraging Aviation Data to Drive Hospitality ROI</a:t>
            </a:r>
            <a:endParaRPr lang="en-US" b="1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06D8225A-5F6D-6B00-845B-8839FF23125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4239060"/>
            <a:ext cx="6578066" cy="128085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000" b="1" dirty="0">
                <a:solidFill>
                  <a:schemeClr val="bg1"/>
                </a:solidFill>
              </a:rPr>
              <a:t>Alex Stancu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Head, South &amp; East Africa</a:t>
            </a:r>
          </a:p>
          <a:p>
            <a:pPr>
              <a:lnSpc>
                <a:spcPct val="100000"/>
              </a:lnSpc>
            </a:pPr>
            <a:r>
              <a:rPr lang="en-US" sz="2000" dirty="0">
                <a:solidFill>
                  <a:schemeClr val="bg1"/>
                </a:solidFill>
              </a:rPr>
              <a:t>IATA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9DF1B42B-C63F-00F6-D673-574D6EAF4E88}"/>
              </a:ext>
            </a:extLst>
          </p:cNvPr>
          <p:cNvSpPr txBox="1">
            <a:spLocks/>
          </p:cNvSpPr>
          <p:nvPr/>
        </p:nvSpPr>
        <p:spPr>
          <a:xfrm>
            <a:off x="2547062" y="62713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5C180A53-FC66-9146-8EF6-8780C185EA6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529063" y="5674200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6B73E92A-5C06-3473-6E00-240BEBBD61A0}"/>
              </a:ext>
            </a:extLst>
          </p:cNvPr>
          <p:cNvSpPr txBox="1">
            <a:spLocks/>
          </p:cNvSpPr>
          <p:nvPr/>
        </p:nvSpPr>
        <p:spPr>
          <a:xfrm>
            <a:off x="288638" y="6208505"/>
            <a:ext cx="2743200" cy="365125"/>
          </a:xfrm>
          <a:prstGeom prst="rect">
            <a:avLst/>
          </a:prstGeom>
        </p:spPr>
        <p:txBody>
          <a:bodyPr anchor="b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D8F5EBA1-C1C2-4F6F-970D-CFE4A81E1DB0}" type="datetime3">
              <a:rPr lang="en-US" sz="1400" smtClean="0">
                <a:solidFill>
                  <a:schemeClr val="bg1"/>
                </a:solidFill>
              </a:rPr>
              <a:pPr>
                <a:spcAft>
                  <a:spcPts val="600"/>
                </a:spcAft>
              </a:pPr>
              <a:t>14 June 2025</a:t>
            </a:fld>
            <a:endParaRPr lang="en-US" sz="1400">
              <a:solidFill>
                <a:schemeClr val="bg1"/>
              </a:solidFill>
            </a:endParaRPr>
          </a:p>
        </p:txBody>
      </p:sp>
      <p:pic>
        <p:nvPicPr>
          <p:cNvPr id="15" name="Picture Placeholder 6">
            <a:extLst>
              <a:ext uri="{FF2B5EF4-FFF2-40B4-BE49-F238E27FC236}">
                <a16:creationId xmlns:a16="http://schemas.microsoft.com/office/drawing/2014/main" id="{1E52E1A3-BC56-0CC3-6997-31C22FC03231}"/>
              </a:ext>
            </a:extLst>
          </p:cNvPr>
          <p:cNvPicPr>
            <a:picLocks noGrp="1" noChangeAspect="1"/>
          </p:cNvPicPr>
          <p:nvPr>
            <p:ph type="pic" sz="quarter" idx="13"/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3" r="21071"/>
          <a:stretch/>
        </p:blipFill>
        <p:spPr>
          <a:xfrm>
            <a:off x="4921950" y="0"/>
            <a:ext cx="7271425" cy="6858000"/>
          </a:xfrm>
        </p:spPr>
      </p:pic>
    </p:spTree>
    <p:extLst>
      <p:ext uri="{BB962C8B-B14F-4D97-AF65-F5344CB8AC3E}">
        <p14:creationId xmlns:p14="http://schemas.microsoft.com/office/powerpoint/2010/main" val="307033812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4B207EE-7A5B-00D8-EB87-D970D734CEF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88714" y="5881349"/>
            <a:ext cx="5707286" cy="272699"/>
          </a:xfrm>
        </p:spPr>
        <p:txBody>
          <a:bodyPr/>
          <a:lstStyle/>
          <a:p>
            <a:r>
              <a:rPr lang="en-US" dirty="0"/>
              <a:t>Source: IATA Sustainability &amp; Economics using data from Bloomberg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9D2D70F-5AA2-F5BD-5D4E-AFB5A820E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59187"/>
            <a:ext cx="11429324" cy="473075"/>
          </a:xfrm>
        </p:spPr>
        <p:txBody>
          <a:bodyPr/>
          <a:lstStyle/>
          <a:p>
            <a:r>
              <a:rPr lang="en-US" dirty="0"/>
              <a:t>Goods and services in USD become more expensiv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B9EB5D-8337-7235-BF69-17BF54A7F19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6286500" y="6162324"/>
            <a:ext cx="2743200" cy="365125"/>
          </a:xfrm>
        </p:spPr>
        <p:txBody>
          <a:bodyPr/>
          <a:lstStyle/>
          <a:p>
            <a:fld id="{198937FE-5C9B-40C9-8C55-48EB04CA346C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D6A1BA86-D541-2B51-AC19-A13AB3A800B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55370" y="6162324"/>
            <a:ext cx="4950130" cy="365125"/>
          </a:xfrm>
        </p:spPr>
        <p:txBody>
          <a:bodyPr/>
          <a:lstStyle/>
          <a:p>
            <a:r>
              <a:rPr lang="en-US"/>
              <a:t>IATA Sustainability and Econom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067368-EF87-DBA4-883F-DD895F7286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81000" y="6162324"/>
            <a:ext cx="457200" cy="365125"/>
          </a:xfrm>
        </p:spPr>
        <p:txBody>
          <a:bodyPr/>
          <a:lstStyle/>
          <a:p>
            <a:fld id="{1A9E565A-6679-4A67-8FB7-14EA342FD6E1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F33ABD6E-8113-7012-9FF6-D566FC4DE143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81414" y="1221885"/>
            <a:ext cx="11430000" cy="365126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Exchange Rate Index vs USD, Jan 2022 = 100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US" sz="400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38A2AC2-B481-4332-9B73-76948C33F792}"/>
              </a:ext>
            </a:extLst>
          </p:cNvPr>
          <p:cNvGraphicFramePr>
            <a:graphicFrameLocks/>
          </p:cNvGraphicFramePr>
          <p:nvPr/>
        </p:nvGraphicFramePr>
        <p:xfrm>
          <a:off x="381000" y="1652587"/>
          <a:ext cx="11429324" cy="4100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38356206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3A676F6-DC51-7AA9-8B57-DD37CB1F562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88714" y="5881349"/>
            <a:ext cx="11422286" cy="272699"/>
          </a:xfrm>
        </p:spPr>
        <p:txBody>
          <a:bodyPr/>
          <a:lstStyle/>
          <a:p>
            <a:r>
              <a:rPr lang="en-US"/>
              <a:t>Source: IMF LIC DSF, as of April 30, 2024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218EA-58EB-4870-7FA2-C11B577525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59187"/>
            <a:ext cx="11429324" cy="473075"/>
          </a:xfrm>
        </p:spPr>
        <p:txBody>
          <a:bodyPr/>
          <a:lstStyle/>
          <a:p>
            <a:r>
              <a:rPr lang="en-US"/>
              <a:t>Most countries in debt distress are in Afric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229DD6-2671-EF3D-7478-EBBFEBEC10E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6286500" y="6162324"/>
            <a:ext cx="2743200" cy="365125"/>
          </a:xfrm>
        </p:spPr>
        <p:txBody>
          <a:bodyPr/>
          <a:lstStyle/>
          <a:p>
            <a:fld id="{198937FE-5C9B-40C9-8C55-48EB04CA346C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794FEF-9C5F-32CE-0C70-7E6C6DC3FFC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55370" y="6162324"/>
            <a:ext cx="4950130" cy="365125"/>
          </a:xfrm>
        </p:spPr>
        <p:txBody>
          <a:bodyPr/>
          <a:lstStyle/>
          <a:p>
            <a:r>
              <a:rPr lang="en-US"/>
              <a:t>IATA Sustainability and Econom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142B13-38C2-E0F6-6A7F-D8B1ECE92CA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81000" y="6162324"/>
            <a:ext cx="457200" cy="365125"/>
          </a:xfrm>
        </p:spPr>
        <p:txBody>
          <a:bodyPr/>
          <a:lstStyle/>
          <a:p>
            <a:fld id="{1A9E565A-6679-4A67-8FB7-14EA342FD6E1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F6C9741-F496-42A1-7EB8-7152A6108CD4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81000" y="1066800"/>
            <a:ext cx="11430000" cy="419100"/>
          </a:xfrm>
        </p:spPr>
        <p:txBody>
          <a:bodyPr/>
          <a:lstStyle/>
          <a:p>
            <a:r>
              <a:rPr lang="en-US" dirty="0"/>
              <a:t>Number of countries at different levels of risk of external debt distress, as of March 2025</a:t>
            </a:r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3DC4346F-934E-A0C4-54B5-1D3780F1218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114300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8537339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F24F86B-9273-8DE6-B14F-69877B3B59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0999" y="1485900"/>
            <a:ext cx="4212000" cy="2387600"/>
          </a:xfrm>
        </p:spPr>
        <p:txBody>
          <a:bodyPr/>
          <a:lstStyle/>
          <a:p>
            <a:r>
              <a:rPr lang="en-US" sz="4400" dirty="0"/>
              <a:t>3. </a:t>
            </a:r>
            <a:r>
              <a:rPr lang="pl-PL" sz="4400" dirty="0"/>
              <a:t>Jet fuel and crude oi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A17E79-00B5-15AF-3D5C-C0CBCFEA4BF4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81000" y="6162324"/>
            <a:ext cx="2743200" cy="365125"/>
          </a:xfrm>
        </p:spPr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21AD03D-D4F3-2FF2-1269-DB09C951F0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4472247"/>
            <a:ext cx="4212000" cy="1280852"/>
          </a:xfrm>
        </p:spPr>
        <p:txBody>
          <a:bodyPr/>
          <a:lstStyle/>
          <a:p>
            <a:endParaRPr lang="en-US"/>
          </a:p>
        </p:txBody>
      </p:sp>
      <p:pic>
        <p:nvPicPr>
          <p:cNvPr id="13" name="Picture Placeholder 10">
            <a:extLst>
              <a:ext uri="{FF2B5EF4-FFF2-40B4-BE49-F238E27FC236}">
                <a16:creationId xmlns:a16="http://schemas.microsoft.com/office/drawing/2014/main" id="{CD10A44F-188C-6347-9627-2F7A7FF2FA1D}"/>
              </a:ext>
            </a:extLst>
          </p:cNvPr>
          <p:cNvPicPr>
            <a:picLocks noGrp="1" noChangeAspect="1"/>
          </p:cNvPicPr>
          <p:nvPr>
            <p:ph type="pic" sz="quarter" idx="13"/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2" r="31764"/>
          <a:stretch/>
        </p:blipFill>
        <p:spPr>
          <a:xfrm>
            <a:off x="4619057" y="0"/>
            <a:ext cx="6849789" cy="6858000"/>
          </a:xfrm>
        </p:spPr>
      </p:pic>
    </p:spTree>
    <p:extLst>
      <p:ext uri="{BB962C8B-B14F-4D97-AF65-F5344CB8AC3E}">
        <p14:creationId xmlns:p14="http://schemas.microsoft.com/office/powerpoint/2010/main" val="422271549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Content Placeholder 15">
            <a:extLst>
              <a:ext uri="{FF2B5EF4-FFF2-40B4-BE49-F238E27FC236}">
                <a16:creationId xmlns:a16="http://schemas.microsoft.com/office/drawing/2014/main" id="{74BED995-D403-B21F-471A-90AABAA01553}"/>
              </a:ext>
            </a:extLst>
          </p:cNvPr>
          <p:cNvGraphicFramePr>
            <a:graphicFrameLocks noGrp="1" noChangeAspect="1"/>
          </p:cNvGraphicFramePr>
          <p:nvPr>
            <p:ph idx="1"/>
          </p:nvPr>
        </p:nvGraphicFramePr>
        <p:xfrm>
          <a:off x="393440" y="1898779"/>
          <a:ext cx="8974149" cy="3848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8995833" imgH="3857523" progId="Mbnd.mbnd">
                  <p:embed/>
                </p:oleObj>
              </mc:Choice>
              <mc:Fallback>
                <p:oleObj name="Macrobond document" r:id="rId2" imgW="8995833" imgH="3857523" progId="Mbnd.mbnd">
                  <p:embed/>
                  <p:pic>
                    <p:nvPicPr>
                      <p:cNvPr id="16" name="Content Placeholder 15">
                        <a:extLst>
                          <a:ext uri="{FF2B5EF4-FFF2-40B4-BE49-F238E27FC236}">
                            <a16:creationId xmlns:a16="http://schemas.microsoft.com/office/drawing/2014/main" id="{74BED995-D403-B21F-471A-90AABAA01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93440" y="1898779"/>
                        <a:ext cx="8974149" cy="38481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B79F300-0C48-0220-A1E2-EBE4FA03380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88714" y="5762964"/>
            <a:ext cx="11422286" cy="263143"/>
          </a:xfrm>
        </p:spPr>
        <p:txBody>
          <a:bodyPr/>
          <a:lstStyle/>
          <a:p>
            <a:r>
              <a:rPr lang="en-US" dirty="0"/>
              <a:t>Source: IATA Sustainability and Economics</a:t>
            </a:r>
            <a:r>
              <a:rPr lang="pl-PL" dirty="0"/>
              <a:t>,</a:t>
            </a:r>
            <a:r>
              <a:rPr lang="en-US" dirty="0"/>
              <a:t> </a:t>
            </a:r>
            <a:r>
              <a:rPr lang="pl-PL" dirty="0"/>
              <a:t>ICE, US Bureau of Labor Statistics, Macrobond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BD888BE-07CE-7D1A-78DD-22164D5C82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59187"/>
            <a:ext cx="11543522" cy="473075"/>
          </a:xfrm>
        </p:spPr>
        <p:txBody>
          <a:bodyPr/>
          <a:lstStyle/>
          <a:p>
            <a:r>
              <a:rPr lang="en-US"/>
              <a:t>Good that lower oil prices can now support GDP growth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23B83F-CF1E-47E2-DFCB-A8515551AB1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6286500" y="6162324"/>
            <a:ext cx="2743200" cy="365125"/>
          </a:xfrm>
        </p:spPr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91B5BC-8ACE-8D99-9B8A-72A3EE4319C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55370" y="6162324"/>
            <a:ext cx="4950130" cy="365125"/>
          </a:xfrm>
        </p:spPr>
        <p:txBody>
          <a:bodyPr/>
          <a:lstStyle/>
          <a:p>
            <a:r>
              <a:rPr lang="en-US"/>
              <a:t>IATA Sustainability and Economic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D95898-5F84-FAB5-9FB3-CE7BBC9712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81000" y="6162324"/>
            <a:ext cx="457200" cy="365125"/>
          </a:xfrm>
        </p:spPr>
        <p:txBody>
          <a:bodyPr/>
          <a:lstStyle/>
          <a:p>
            <a:fld id="{1A9E565A-6679-4A67-8FB7-14EA342FD6E1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9A4BBF4-0F46-922B-8164-4DDC3FF17BA1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81000" y="1295401"/>
            <a:ext cx="11430000" cy="419100"/>
          </a:xfrm>
        </p:spPr>
        <p:txBody>
          <a:bodyPr/>
          <a:lstStyle/>
          <a:p>
            <a:r>
              <a:rPr lang="en-US"/>
              <a:t>Nominal and real crude oil price, USD per barr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9486E9-A929-5A87-C74D-82E59CFBB357}"/>
              </a:ext>
            </a:extLst>
          </p:cNvPr>
          <p:cNvSpPr txBox="1"/>
          <p:nvPr/>
        </p:nvSpPr>
        <p:spPr>
          <a:xfrm>
            <a:off x="9059861" y="2674888"/>
            <a:ext cx="27432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/>
              <a:t>Brent price </a:t>
            </a:r>
            <a:r>
              <a:rPr lang="en-US" b="1" dirty="0">
                <a:solidFill>
                  <a:schemeClr val="accent1"/>
                </a:solidFill>
              </a:rPr>
              <a:t>USD </a:t>
            </a:r>
            <a:r>
              <a:rPr lang="pl-PL" b="1" dirty="0">
                <a:solidFill>
                  <a:schemeClr val="accent1"/>
                </a:solidFill>
              </a:rPr>
              <a:t>64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on </a:t>
            </a:r>
            <a:r>
              <a:rPr lang="pl-PL" dirty="0"/>
              <a:t>30 May</a:t>
            </a:r>
            <a:endParaRPr lang="en-US" dirty="0"/>
          </a:p>
          <a:p>
            <a:pPr>
              <a:buClr>
                <a:schemeClr val="accent1"/>
              </a:buClr>
            </a:pPr>
            <a:endParaRPr lang="en-US" dirty="0"/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/>
              <a:t>2024 high: </a:t>
            </a:r>
            <a:r>
              <a:rPr lang="en-US" b="1" dirty="0">
                <a:solidFill>
                  <a:schemeClr val="accent1"/>
                </a:solidFill>
              </a:rPr>
              <a:t>USD 91.2 </a:t>
            </a:r>
            <a:r>
              <a:rPr lang="en-US" dirty="0"/>
              <a:t>on 5 April 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dirty="0">
              <a:solidFill>
                <a:schemeClr val="accent3"/>
              </a:solidFill>
            </a:endParaRPr>
          </a:p>
          <a:p>
            <a:pPr>
              <a:buClr>
                <a:schemeClr val="accent1"/>
              </a:buClr>
            </a:pPr>
            <a:r>
              <a:rPr lang="en-US" b="1" dirty="0">
                <a:solidFill>
                  <a:schemeClr val="accent3"/>
                </a:solidFill>
              </a:rPr>
              <a:t>Real oil price using CPI as a deflator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1E842FAD-C3CA-7D3D-5798-A545CED97638}"/>
              </a:ext>
            </a:extLst>
          </p:cNvPr>
          <p:cNvCxnSpPr>
            <a:cxnSpLocks/>
          </p:cNvCxnSpPr>
          <p:nvPr/>
        </p:nvCxnSpPr>
        <p:spPr>
          <a:xfrm>
            <a:off x="8242041" y="2942253"/>
            <a:ext cx="703472" cy="852196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070851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ontent Placeholder 1">
            <a:extLst>
              <a:ext uri="{FF2B5EF4-FFF2-40B4-BE49-F238E27FC236}">
                <a16:creationId xmlns:a16="http://schemas.microsoft.com/office/drawing/2014/main" id="{16CCE741-27C2-F4CD-2768-43BF12008A5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114300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BCD7017-1F8D-C94A-B98E-1DA607D9DA9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88714" y="5762964"/>
            <a:ext cx="11422286" cy="263143"/>
          </a:xfrm>
        </p:spPr>
        <p:txBody>
          <a:bodyPr/>
          <a:lstStyle/>
          <a:p>
            <a:r>
              <a:rPr lang="en-US" dirty="0"/>
              <a:t>Source: IATA Sustainability and Economics</a:t>
            </a:r>
            <a:r>
              <a:rPr lang="pl-PL" dirty="0"/>
              <a:t>,</a:t>
            </a:r>
            <a:r>
              <a:rPr lang="en-US" dirty="0"/>
              <a:t> Platts – Global Commodity Insights</a:t>
            </a:r>
            <a:r>
              <a:rPr lang="pl-PL" dirty="0"/>
              <a:t>, IC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2C064D-4330-CB29-3614-C51E2F0ACD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59187"/>
            <a:ext cx="11429324" cy="473075"/>
          </a:xfrm>
        </p:spPr>
        <p:txBody>
          <a:bodyPr/>
          <a:lstStyle/>
          <a:p>
            <a:r>
              <a:rPr lang="pl-PL" dirty="0"/>
              <a:t>Lower crude oil price will help</a:t>
            </a:r>
            <a:r>
              <a:rPr lang="en-US" dirty="0"/>
              <a:t> support GDP growth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7020DB-E131-C7B1-3AFB-D3BD99A1CAE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6286500" y="6162324"/>
            <a:ext cx="2743200" cy="365125"/>
          </a:xfrm>
        </p:spPr>
        <p:txBody>
          <a:bodyPr/>
          <a:lstStyle/>
          <a:p>
            <a:fld id="{198937FE-5C9B-40C9-8C55-48EB04CA346C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E11934-CF75-52D0-1A3D-95F0F9ECE0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55370" y="6162324"/>
            <a:ext cx="4950130" cy="365125"/>
          </a:xfrm>
        </p:spPr>
        <p:txBody>
          <a:bodyPr/>
          <a:lstStyle/>
          <a:p>
            <a:r>
              <a:rPr lang="en-US"/>
              <a:t>IATA Sustainability and Econom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4D558D-5B48-E9D9-8974-73C96C649C5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81000" y="6162324"/>
            <a:ext cx="457200" cy="365125"/>
          </a:xfrm>
        </p:spPr>
        <p:txBody>
          <a:bodyPr/>
          <a:lstStyle/>
          <a:p>
            <a:fld id="{1A9E565A-6679-4A67-8FB7-14EA342FD6E1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0C53809-7A9A-F046-D10A-5E512C9F2E16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81000" y="1295401"/>
            <a:ext cx="11430000" cy="419100"/>
          </a:xfrm>
        </p:spPr>
        <p:txBody>
          <a:bodyPr/>
          <a:lstStyle/>
          <a:p>
            <a:endParaRPr lang="en-US"/>
          </a:p>
          <a:p>
            <a:r>
              <a:rPr lang="en-US"/>
              <a:t>Jet Fuel Price vs Crude Oil Price, USD per barr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7C8FF16-C501-CE61-B077-269CEE49F522}"/>
              </a:ext>
            </a:extLst>
          </p:cNvPr>
          <p:cNvSpPr txBox="1"/>
          <p:nvPr/>
        </p:nvSpPr>
        <p:spPr>
          <a:xfrm>
            <a:off x="9513244" y="3032636"/>
            <a:ext cx="2304106" cy="196977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r"/>
            <a:r>
              <a:rPr lang="pl-PL" dirty="0"/>
              <a:t>15 May</a:t>
            </a:r>
            <a:r>
              <a:rPr lang="en-US" dirty="0"/>
              <a:t>:</a:t>
            </a:r>
            <a:endParaRPr lang="pl-PL" dirty="0"/>
          </a:p>
          <a:p>
            <a:pPr algn="r"/>
            <a:endParaRPr lang="en-US" sz="1100" dirty="0">
              <a:solidFill>
                <a:schemeClr val="accent1"/>
              </a:solidFill>
            </a:endParaRPr>
          </a:p>
          <a:p>
            <a:pPr algn="r"/>
            <a:r>
              <a:rPr lang="en-US" dirty="0">
                <a:solidFill>
                  <a:schemeClr val="accent3"/>
                </a:solidFill>
              </a:rPr>
              <a:t>USD </a:t>
            </a:r>
            <a:r>
              <a:rPr lang="pl-PL" dirty="0">
                <a:solidFill>
                  <a:schemeClr val="accent3"/>
                </a:solidFill>
              </a:rPr>
              <a:t>82</a:t>
            </a:r>
            <a:endParaRPr lang="en-US" dirty="0">
              <a:solidFill>
                <a:schemeClr val="accent3"/>
              </a:solidFill>
              <a:ea typeface="Aktiv Grotesk"/>
              <a:cs typeface="Aktiv Grotesk"/>
            </a:endParaRPr>
          </a:p>
          <a:p>
            <a:pPr algn="r"/>
            <a:r>
              <a:rPr lang="en-US" dirty="0">
                <a:solidFill>
                  <a:schemeClr val="accent1"/>
                </a:solidFill>
              </a:rPr>
              <a:t>USD </a:t>
            </a:r>
            <a:r>
              <a:rPr lang="pl-PL" dirty="0">
                <a:solidFill>
                  <a:schemeClr val="accent1"/>
                </a:solidFill>
              </a:rPr>
              <a:t>64</a:t>
            </a:r>
            <a:endParaRPr lang="en-US" dirty="0">
              <a:solidFill>
                <a:schemeClr val="accent1"/>
              </a:solidFill>
              <a:ea typeface="Aktiv Grotesk"/>
              <a:cs typeface="Aktiv Grotesk"/>
            </a:endParaRPr>
          </a:p>
          <a:p>
            <a:pPr algn="r"/>
            <a:endParaRPr lang="en-US" sz="600" dirty="0">
              <a:solidFill>
                <a:schemeClr val="accent2"/>
              </a:solidFill>
            </a:endParaRPr>
          </a:p>
          <a:p>
            <a:pPr algn="r"/>
            <a:endParaRPr lang="en-US" sz="3200" dirty="0">
              <a:solidFill>
                <a:schemeClr val="accent2"/>
              </a:solidFill>
            </a:endParaRPr>
          </a:p>
          <a:p>
            <a:pPr algn="r"/>
            <a:r>
              <a:rPr lang="en-US" dirty="0">
                <a:solidFill>
                  <a:schemeClr val="accent2"/>
                </a:solidFill>
              </a:rPr>
              <a:t>USD </a:t>
            </a:r>
            <a:r>
              <a:rPr lang="pl-PL" dirty="0">
                <a:solidFill>
                  <a:schemeClr val="accent2"/>
                </a:solidFill>
              </a:rPr>
              <a:t>18</a:t>
            </a:r>
            <a:endParaRPr lang="en-US" dirty="0">
              <a:solidFill>
                <a:schemeClr val="accent2"/>
              </a:solidFill>
              <a:ea typeface="Aktiv Grotesk"/>
              <a:cs typeface="Aktiv Grotesk"/>
            </a:endParaRPr>
          </a:p>
        </p:txBody>
      </p:sp>
    </p:spTree>
    <p:extLst>
      <p:ext uri="{BB962C8B-B14F-4D97-AF65-F5344CB8AC3E}">
        <p14:creationId xmlns:p14="http://schemas.microsoft.com/office/powerpoint/2010/main" val="2652591042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784525-2CB6-2F4D-6BCD-4BD39AAEABA1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dirty="0"/>
              <a:t> Source: IATA Sustainability and Economics using data from S&amp;P Global Commodity Insigh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AB7B5E-0E25-FE0A-7A30-B60BFB883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ded price of jet fuel in Africa at par with </a:t>
            </a:r>
            <a:r>
              <a:rPr lang="en-US" dirty="0" err="1"/>
              <a:t>RoW</a:t>
            </a:r>
            <a:r>
              <a:rPr lang="en-US" dirty="0"/>
              <a:t> but…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772992-42F9-85D7-271F-60409B4C2B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4D4EDF-872E-7C91-8CF9-2BB653268D7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1E32FA"/>
                </a:solidFill>
              </a:rPr>
              <a:t>IATA Sustainability and Economic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01D301-507A-B846-6E54-3B29F5AB239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C967630-DF1B-EA9D-DF3C-9ED4B46775B2}"/>
              </a:ext>
            </a:extLst>
          </p:cNvPr>
          <p:cNvSpPr>
            <a:spLocks noGrp="1"/>
          </p:cNvSpPr>
          <p:nvPr>
            <p:ph idx="19"/>
          </p:nvPr>
        </p:nvSpPr>
        <p:spPr/>
        <p:txBody>
          <a:bodyPr/>
          <a:lstStyle/>
          <a:p>
            <a:r>
              <a:rPr lang="en-US" dirty="0"/>
              <a:t>Jet fuel price, USD/BBL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41B0133E-C7C8-041C-01A4-7F4CA2AA7328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114300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49567755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500B6255-2B83-2B2F-C77C-F5C9C063D83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57150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735337A2-BF85-78AC-E047-331BA7A1DE51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/>
              <a:t>Source: IATA Sustainability and Economics, IATA Jet fuel price survey for fuel uplift, 2022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F187C-815F-5C5E-6603-5A4E5ACA19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… into-wing price is far high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019727-512A-5561-1010-EB5AE74AE0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30C1566D-3F82-810C-4518-65FBD3A51B55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81000" y="838200"/>
            <a:ext cx="11430000" cy="432547"/>
          </a:xfrm>
        </p:spPr>
        <p:txBody>
          <a:bodyPr/>
          <a:lstStyle/>
          <a:p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F4DC7CAD-B55E-AD39-A9DD-C78C17D38C4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81000" y="1477766"/>
            <a:ext cx="11430000" cy="419100"/>
          </a:xfrm>
        </p:spPr>
        <p:txBody>
          <a:bodyPr/>
          <a:lstStyle/>
          <a:p>
            <a:r>
              <a:rPr lang="en-US"/>
              <a:t>Jet fuel price index by region, regional average = 1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5A7224C5-47C5-113F-9A6D-FCBDCFDEA62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6286500" y="6162324"/>
            <a:ext cx="2743200" cy="365125"/>
          </a:xfrm>
        </p:spPr>
        <p:txBody>
          <a:bodyPr/>
          <a:lstStyle/>
          <a:p>
            <a:fld id="{198937FE-5C9B-40C9-8C55-48EB04CA346C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537620CE-F9A9-6777-94FA-1EA64075C81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55370" y="6162324"/>
            <a:ext cx="4950130" cy="365125"/>
          </a:xfrm>
        </p:spPr>
        <p:txBody>
          <a:bodyPr/>
          <a:lstStyle/>
          <a:p>
            <a:r>
              <a:rPr lang="en-US">
                <a:solidFill>
                  <a:srgbClr val="1E32FA"/>
                </a:solidFill>
              </a:rPr>
              <a:t>IATA Sustainability and Economic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22DF620-2C58-1671-58C1-D49579ABEB6F}"/>
              </a:ext>
            </a:extLst>
          </p:cNvPr>
          <p:cNvSpPr txBox="1"/>
          <p:nvPr/>
        </p:nvSpPr>
        <p:spPr>
          <a:xfrm>
            <a:off x="381000" y="5482789"/>
            <a:ext cx="5524500" cy="36933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/>
            </a:lvl1pPr>
            <a:lvl2pPr marL="51435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798513" indent="-228600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/>
            </a:lvl3pPr>
            <a:lvl4pPr marL="1201738" indent="-228600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/>
            </a:lvl4pPr>
            <a:lvl5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+mj-lt"/>
              </a:defRPr>
            </a:lvl6pPr>
            <a:lvl7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+mj-lt"/>
              </a:defRPr>
            </a:lvl7pPr>
            <a:lvl8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+mj-lt"/>
              </a:defRPr>
            </a:lvl8pPr>
            <a:lvl9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solidFill>
                  <a:schemeClr val="accent1"/>
                </a:solidFill>
                <a:latin typeface="+mj-lt"/>
              </a:defRPr>
            </a:lvl9pPr>
          </a:lstStyle>
          <a:p>
            <a:r>
              <a:rPr lang="en-US" dirty="0"/>
              <a:t>Notes:</a:t>
            </a:r>
            <a:r>
              <a:rPr lang="en-US" b="1" dirty="0"/>
              <a:t>  </a:t>
            </a:r>
            <a:r>
              <a:rPr lang="en-US" dirty="0"/>
              <a:t>Data is based on one particular month in a year and averaged over 4 years (from 2019 to 2022), regional averages are based on major airports covered in the airline survey. </a:t>
            </a:r>
          </a:p>
        </p:txBody>
      </p:sp>
      <p:sp>
        <p:nvSpPr>
          <p:cNvPr id="3" name="Content Placeholder 10">
            <a:extLst>
              <a:ext uri="{FF2B5EF4-FFF2-40B4-BE49-F238E27FC236}">
                <a16:creationId xmlns:a16="http://schemas.microsoft.com/office/drawing/2014/main" id="{4E884E1F-A4C0-8212-BFDC-7089FA63A31B}"/>
              </a:ext>
            </a:extLst>
          </p:cNvPr>
          <p:cNvSpPr txBox="1">
            <a:spLocks/>
          </p:cNvSpPr>
          <p:nvPr/>
        </p:nvSpPr>
        <p:spPr>
          <a:xfrm>
            <a:off x="6286500" y="1905000"/>
            <a:ext cx="5516786" cy="40005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en-US" sz="1500" dirty="0"/>
              <a:t>The market price of the jet fuel traded in Africa does not reflect the real cost that African airlines pay. The into-wing price of jet fuel is far higher because of factors such a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lack of competition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high logistics costs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marginal leverage because of volu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other charges. </a:t>
            </a:r>
          </a:p>
        </p:txBody>
      </p:sp>
    </p:spTree>
    <p:extLst>
      <p:ext uri="{BB962C8B-B14F-4D97-AF65-F5344CB8AC3E}">
        <p14:creationId xmlns:p14="http://schemas.microsoft.com/office/powerpoint/2010/main" val="2565601153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D90E945E-7004-07E9-9B99-2CB3AA04687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l="20370" r="20370"/>
          <a:stretch/>
        </p:blipFill>
        <p:spPr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EAA57E7-C848-0B8E-E8A4-64885DFDF9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802086" cy="2387600"/>
          </a:xfrm>
        </p:spPr>
        <p:txBody>
          <a:bodyPr/>
          <a:lstStyle/>
          <a:p>
            <a:r>
              <a:rPr lang="en-US" sz="4400" dirty="0"/>
              <a:t>4. </a:t>
            </a:r>
            <a:r>
              <a:rPr lang="pl-PL" sz="4400" dirty="0"/>
              <a:t>Capacity constraints</a:t>
            </a:r>
            <a:endParaRPr lang="en-US" sz="44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9F7E66-4FE1-A595-7DDD-229F4B7C7B5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EDA381CE-263E-406B-FF78-351411F029D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15937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Content Placeholder 10">
            <a:extLst>
              <a:ext uri="{FF2B5EF4-FFF2-40B4-BE49-F238E27FC236}">
                <a16:creationId xmlns:a16="http://schemas.microsoft.com/office/drawing/2014/main" id="{F1F6570D-7A2A-A1F9-24CD-4C407DF8B086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114300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24C89BE-3A3A-422C-8976-F36F5B8788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24C89BE-3A3A-422C-8976-F36F5B8788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D07D0C6-ED93-5A23-4385-3E95A1C878C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88714" y="5762964"/>
            <a:ext cx="11422286" cy="263143"/>
          </a:xfrm>
        </p:spPr>
        <p:txBody>
          <a:bodyPr/>
          <a:lstStyle/>
          <a:p>
            <a:r>
              <a:rPr lang="en-US" dirty="0"/>
              <a:t>Source: IATA Sustainability and Economics</a:t>
            </a:r>
            <a:r>
              <a:rPr lang="pl-PL" dirty="0"/>
              <a:t>,</a:t>
            </a:r>
            <a:r>
              <a:rPr lang="en-US" dirty="0"/>
              <a:t> Cirium Fleets Analyzer</a:t>
            </a:r>
            <a:r>
              <a:rPr lang="pl-PL" dirty="0"/>
              <a:t> 	* May 2025 updat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D568E5-3F20-421B-8186-E7BEAFFAAC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59187"/>
            <a:ext cx="11429324" cy="473075"/>
          </a:xfrm>
        </p:spPr>
        <p:txBody>
          <a:bodyPr vert="horz"/>
          <a:lstStyle/>
          <a:p>
            <a:r>
              <a:rPr lang="en-US"/>
              <a:t>Capacity constraints will persist in 2025 and beyond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530414-B194-4C9D-B01E-C3B3D51FAC96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6286500" y="6162324"/>
            <a:ext cx="2743200" cy="365125"/>
          </a:xfrm>
        </p:spPr>
        <p:txBody>
          <a:bodyPr/>
          <a:lstStyle/>
          <a:p>
            <a:fld id="{198937FE-5C9B-40C9-8C55-48EB04CA346C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D2D9D62-DF2B-91C8-0D70-06B1416B282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55370" y="6162324"/>
            <a:ext cx="4950130" cy="365125"/>
          </a:xfrm>
        </p:spPr>
        <p:txBody>
          <a:bodyPr/>
          <a:lstStyle/>
          <a:p>
            <a:pPr lvl="0"/>
            <a:r>
              <a:rPr lang="en-US" noProof="0"/>
              <a:t>IATA Sustainability and Econom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3CBA0A-8C23-4CBD-9FBB-28E48A162D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81000" y="6162324"/>
            <a:ext cx="457200" cy="365125"/>
          </a:xfrm>
        </p:spPr>
        <p:txBody>
          <a:bodyPr/>
          <a:lstStyle/>
          <a:p>
            <a:fld id="{1A9E565A-6679-4A67-8FB7-14EA342FD6E1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9F6108A0-6815-4D2C-B005-034AF8B1D52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81000" y="1295401"/>
            <a:ext cx="11430000" cy="419100"/>
          </a:xfrm>
        </p:spPr>
        <p:txBody>
          <a:bodyPr/>
          <a:lstStyle/>
          <a:p>
            <a:r>
              <a:rPr lang="en-US"/>
              <a:t>Aircraft deliveries by region</a:t>
            </a:r>
          </a:p>
        </p:txBody>
      </p:sp>
      <p:sp>
        <p:nvSpPr>
          <p:cNvPr id="3" name="TextBox 1">
            <a:extLst>
              <a:ext uri="{FF2B5EF4-FFF2-40B4-BE49-F238E27FC236}">
                <a16:creationId xmlns:a16="http://schemas.microsoft.com/office/drawing/2014/main" id="{22E89EB5-33AE-6DC2-050C-16532E9EF905}"/>
              </a:ext>
            </a:extLst>
          </p:cNvPr>
          <p:cNvSpPr txBox="1"/>
          <p:nvPr/>
        </p:nvSpPr>
        <p:spPr>
          <a:xfrm>
            <a:off x="473773" y="5676099"/>
            <a:ext cx="5812727" cy="32598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effectLst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372DB74-F0AD-3A47-0578-AAB0E638E446}"/>
              </a:ext>
            </a:extLst>
          </p:cNvPr>
          <p:cNvSpPr txBox="1"/>
          <p:nvPr/>
        </p:nvSpPr>
        <p:spPr>
          <a:xfrm rot="20829769">
            <a:off x="10830025" y="1404611"/>
            <a:ext cx="1221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No Way!</a:t>
            </a:r>
          </a:p>
        </p:txBody>
      </p:sp>
    </p:spTree>
    <p:extLst>
      <p:ext uri="{BB962C8B-B14F-4D97-AF65-F5344CB8AC3E}">
        <p14:creationId xmlns:p14="http://schemas.microsoft.com/office/powerpoint/2010/main" val="2598523447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FEBAD3-65FE-EE64-9008-4535F3F13AAA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dirty="0"/>
              <a:t>Source: IATA Sustainability and Economics</a:t>
            </a:r>
            <a:r>
              <a:rPr lang="pl-PL" dirty="0"/>
              <a:t>,</a:t>
            </a:r>
            <a:r>
              <a:rPr lang="en-US" dirty="0"/>
              <a:t> Cirium Fleets Analyzer</a:t>
            </a:r>
            <a:r>
              <a:rPr lang="pl-PL" dirty="0"/>
              <a:t> 	* March 2025 update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429F6EF-845A-8A25-3F97-6E93478BD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Expectations towards 2025 deliveries are falling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459467-6B84-DD56-3EB5-F7951A569D4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E006FE-92FC-52BA-B762-DCB32F8977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1E32FA"/>
                </a:solidFill>
              </a:rPr>
              <a:t>IATA Sustainability </a:t>
            </a:r>
            <a:r>
              <a:rPr lang="pl-PL" dirty="0">
                <a:solidFill>
                  <a:srgbClr val="1E32FA"/>
                </a:solidFill>
              </a:rPr>
              <a:t>and</a:t>
            </a:r>
            <a:r>
              <a:rPr lang="en-US" dirty="0">
                <a:solidFill>
                  <a:srgbClr val="1E32FA"/>
                </a:solidFill>
              </a:rPr>
              <a:t> Economic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2A005D-351C-D1EF-8CE3-042BB8FA484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83ED324-5A4B-DAFA-58C6-7269AAC94604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18119C5-3AA4-2ACB-7C59-80E961533896}"/>
              </a:ext>
            </a:extLst>
          </p:cNvPr>
          <p:cNvSpPr>
            <a:spLocks noGrp="1"/>
          </p:cNvSpPr>
          <p:nvPr>
            <p:ph idx="19"/>
          </p:nvPr>
        </p:nvSpPr>
        <p:spPr/>
        <p:txBody>
          <a:bodyPr/>
          <a:lstStyle/>
          <a:p>
            <a:r>
              <a:rPr lang="pl-PL"/>
              <a:t>Revision of scheduled aircraft deliveries</a:t>
            </a:r>
            <a:endParaRPr lang="en-US"/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6FCE8789-AD97-B8E8-6046-C7FF318132F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114300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1450417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1">
            <a:extLst>
              <a:ext uri="{FF2B5EF4-FFF2-40B4-BE49-F238E27FC236}">
                <a16:creationId xmlns:a16="http://schemas.microsoft.com/office/drawing/2014/main" id="{C1922873-6D1C-F46E-70CB-DA493F2E3DB0}"/>
              </a:ext>
            </a:extLst>
          </p:cNvPr>
          <p:cNvPicPr>
            <a:picLocks noGrp="1" noChangeAspect="1"/>
          </p:cNvPicPr>
          <p:nvPr>
            <p:ph type="pic" sz="quarter" idx="13"/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1" r="16661"/>
          <a:stretch/>
        </p:blipFill>
        <p:spPr>
          <a:xfrm>
            <a:off x="4619057" y="0"/>
            <a:ext cx="6849789" cy="68580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0E28705-DCDC-E486-C781-F198ED70F9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0999" y="1485900"/>
            <a:ext cx="4539344" cy="2387600"/>
          </a:xfrm>
        </p:spPr>
        <p:txBody>
          <a:bodyPr/>
          <a:lstStyle/>
          <a:p>
            <a:r>
              <a:rPr lang="en-US" dirty="0"/>
              <a:t>1. </a:t>
            </a:r>
            <a:r>
              <a:rPr lang="pl-PL" dirty="0"/>
              <a:t>Macro outlook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A589ED-AF92-722E-7852-3E84FF91400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81000" y="6162324"/>
            <a:ext cx="2743200" cy="365125"/>
          </a:xfrm>
        </p:spPr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F9255A5B-FA6A-CCB6-3427-283C4582FC5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452004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9D0397-ABA6-CB46-B367-F4558F9B58A5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dirty="0"/>
              <a:t>Source: IATA Sustainability and Economics</a:t>
            </a:r>
            <a:r>
              <a:rPr lang="pl-PL" dirty="0"/>
              <a:t>,</a:t>
            </a:r>
            <a:r>
              <a:rPr lang="en-US" dirty="0"/>
              <a:t> Cirium Fleets Analyz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4ECE7D-BD8C-CF96-E9E0-FD5A2A135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global backlog is at record high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C1F530-17E9-576B-70AE-953B85F756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68BFF4-76E8-4BA3-B1DE-04AD27C887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1E32FA"/>
                </a:solidFill>
              </a:rPr>
              <a:t>IATA Sustainability and Economic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345D77-568B-C447-114F-504B5CD846E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7F1EB57-B991-FC3F-FE1E-A7402E0E7817}"/>
              </a:ext>
            </a:extLst>
          </p:cNvPr>
          <p:cNvSpPr>
            <a:spLocks noGrp="1"/>
          </p:cNvSpPr>
          <p:nvPr>
            <p:ph idx="19"/>
          </p:nvPr>
        </p:nvSpPr>
        <p:spPr/>
        <p:txBody>
          <a:bodyPr/>
          <a:lstStyle/>
          <a:p>
            <a:r>
              <a:rPr lang="en-US"/>
              <a:t>Global aircraft backlog</a:t>
            </a:r>
            <a:r>
              <a:rPr lang="pl-PL"/>
              <a:t> (total number of outstanding orders)</a:t>
            </a:r>
            <a:endParaRPr lang="en-US"/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368CB7DE-7182-479E-BA1C-480CDD7B478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114300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2126096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2AB7D6-83DC-1C43-A65F-D839AD187316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dirty="0"/>
              <a:t>Source: IATA Sustainability and Economics</a:t>
            </a:r>
            <a:r>
              <a:rPr lang="pl-PL" dirty="0"/>
              <a:t>,</a:t>
            </a:r>
            <a:r>
              <a:rPr lang="en-US" dirty="0"/>
              <a:t> Cirium Fleets Analyz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2C2F20-C129-B5BE-7E85-A032FC29F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lower deliveries halt decline in fuel consumptio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BAE600-A2F8-0B55-9407-B88244024FB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1D6387-641D-FB7D-2580-AE7CADB1BC8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1E32FA"/>
                </a:solidFill>
              </a:rPr>
              <a:t>IATA Sustainability and Economic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BDA68E-23D3-09CA-7F20-11930B09C1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BD8F334-451C-2A8D-30F3-16C62AE702AE}"/>
              </a:ext>
            </a:extLst>
          </p:cNvPr>
          <p:cNvSpPr>
            <a:spLocks noGrp="1"/>
          </p:cNvSpPr>
          <p:nvPr>
            <p:ph idx="19"/>
          </p:nvPr>
        </p:nvSpPr>
        <p:spPr/>
        <p:txBody>
          <a:bodyPr/>
          <a:lstStyle/>
          <a:p>
            <a:r>
              <a:rPr lang="pl-PL"/>
              <a:t>Average age of global fleet and average fuel consumption per ATK, USD cents</a:t>
            </a:r>
            <a:endParaRPr lang="en-US"/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F5B4D52E-95F9-0ACD-7D7D-CF117959800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114300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B291F17-2C2B-D495-D5F7-5EF3DE9A7E51}"/>
              </a:ext>
            </a:extLst>
          </p:cNvPr>
          <p:cNvSpPr txBox="1"/>
          <p:nvPr/>
        </p:nvSpPr>
        <p:spPr>
          <a:xfrm>
            <a:off x="9111108" y="1813998"/>
            <a:ext cx="1421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FF0000"/>
                </a:solidFill>
              </a:rPr>
              <a:t>14.8 years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1A2877D4-6642-2A18-796B-336A32A5D779}"/>
              </a:ext>
            </a:extLst>
          </p:cNvPr>
          <p:cNvCxnSpPr>
            <a:cxnSpLocks/>
          </p:cNvCxnSpPr>
          <p:nvPr/>
        </p:nvCxnSpPr>
        <p:spPr>
          <a:xfrm>
            <a:off x="10380742" y="2098515"/>
            <a:ext cx="571510" cy="439202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7F1C6F8-4711-21EC-9600-B55C0353C1CD}"/>
              </a:ext>
            </a:extLst>
          </p:cNvPr>
          <p:cNvCxnSpPr/>
          <p:nvPr/>
        </p:nvCxnSpPr>
        <p:spPr>
          <a:xfrm>
            <a:off x="1343025" y="2921000"/>
            <a:ext cx="9756775" cy="0"/>
          </a:xfrm>
          <a:prstGeom prst="line">
            <a:avLst/>
          </a:prstGeom>
          <a:ln w="1905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9641985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EEE094-ED88-334F-99BC-AB4A92FE05E3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dirty="0"/>
              <a:t>Source: IATA Sustainability and Economics using data from Ciriu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DBEBB54-391B-1F6A-E1AE-9A40A9BA96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frica operates the oldest fleet in the worl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F17F11-4D49-7356-030A-E745F7D8C80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9C109E-0155-A04D-B48C-28ADB9B49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1E32FA"/>
                </a:solidFill>
              </a:rPr>
              <a:t>IATA Sustainability and Economic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54EFE7-C5D3-4D4B-A6D4-2BAF8BCA0AE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7D7080C-44C6-FC7E-B12B-A6C915093CB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81000" y="1066800"/>
            <a:ext cx="5524500" cy="419100"/>
          </a:xfrm>
        </p:spPr>
        <p:txBody>
          <a:bodyPr/>
          <a:lstStyle/>
          <a:p>
            <a:r>
              <a:rPr lang="en-US" dirty="0"/>
              <a:t>Average age of commercial fleet, years</a:t>
            </a:r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2868DC75-607D-74A1-BE83-46B7F64E1DA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55245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A7648330-0CDB-5EE5-EDEB-91335A6F9241}"/>
              </a:ext>
            </a:extLst>
          </p:cNvPr>
          <p:cNvSpPr txBox="1">
            <a:spLocks/>
          </p:cNvSpPr>
          <p:nvPr/>
        </p:nvSpPr>
        <p:spPr>
          <a:xfrm>
            <a:off x="6287176" y="1485900"/>
            <a:ext cx="5523824" cy="42672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en-US" sz="1500" dirty="0"/>
              <a:t>The African fleet is the oldest among all regions, with an average age that is 5 years older than the industry standard. This gap continues to widen, presenting several challenges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500" b="1" dirty="0"/>
              <a:t>Increased Fuel Consumption: </a:t>
            </a:r>
            <a:r>
              <a:rPr lang="en-US" sz="1500" dirty="0"/>
              <a:t>Older aircraft are generally less fuel-efficient, leading to higher operational costs and greater environmental impact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500" b="1" dirty="0"/>
              <a:t>Higher Maintenance Costs: </a:t>
            </a:r>
            <a:r>
              <a:rPr lang="en-US" sz="1500" dirty="0"/>
              <a:t>Aging aircraft require more frequent and extensive maintenance, driving up costs and potentially leading to longer downtimes.</a:t>
            </a:r>
            <a:endParaRPr lang="en-US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1" dirty="0"/>
              <a:t>Supply chain challenge:</a:t>
            </a:r>
            <a:r>
              <a:rPr lang="en-US" sz="1400" dirty="0"/>
              <a:t> Aircraft parts are more difficult to get in Africa and more expensive. </a:t>
            </a:r>
            <a:endParaRPr lang="en-US" sz="1500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471ADF7F-1864-188F-AA6B-E0E009C817C1}"/>
              </a:ext>
            </a:extLst>
          </p:cNvPr>
          <p:cNvCxnSpPr>
            <a:cxnSpLocks/>
          </p:cNvCxnSpPr>
          <p:nvPr/>
        </p:nvCxnSpPr>
        <p:spPr>
          <a:xfrm>
            <a:off x="5819775" y="2901950"/>
            <a:ext cx="0" cy="527050"/>
          </a:xfrm>
          <a:prstGeom prst="straightConnector1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1"/>
                </a:gs>
              </a:gsLst>
              <a:lin ang="5400000" scaled="1"/>
            </a:gra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59479CF4-34B6-A99B-CC90-78C4FBF7C852}"/>
              </a:ext>
            </a:extLst>
          </p:cNvPr>
          <p:cNvSpPr txBox="1"/>
          <p:nvPr/>
        </p:nvSpPr>
        <p:spPr>
          <a:xfrm>
            <a:off x="5074933" y="3045638"/>
            <a:ext cx="8394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5.0 years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3D16D35-3F42-8145-CBDE-E1F437B820F4}"/>
              </a:ext>
            </a:extLst>
          </p:cNvPr>
          <p:cNvCxnSpPr>
            <a:cxnSpLocks/>
          </p:cNvCxnSpPr>
          <p:nvPr/>
        </p:nvCxnSpPr>
        <p:spPr>
          <a:xfrm>
            <a:off x="955370" y="3130550"/>
            <a:ext cx="0" cy="384175"/>
          </a:xfrm>
          <a:prstGeom prst="straightConnector1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1"/>
                </a:gs>
              </a:gsLst>
              <a:lin ang="5400000" scaled="1"/>
            </a:gra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AD59EE21-A3AF-E0AB-118F-E710A76367CE}"/>
              </a:ext>
            </a:extLst>
          </p:cNvPr>
          <p:cNvSpPr txBox="1"/>
          <p:nvPr/>
        </p:nvSpPr>
        <p:spPr>
          <a:xfrm>
            <a:off x="913182" y="3184137"/>
            <a:ext cx="8394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3.7 years</a:t>
            </a:r>
          </a:p>
        </p:txBody>
      </p:sp>
    </p:spTree>
    <p:extLst>
      <p:ext uri="{BB962C8B-B14F-4D97-AF65-F5344CB8AC3E}">
        <p14:creationId xmlns:p14="http://schemas.microsoft.com/office/powerpoint/2010/main" val="1685565442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Placeholder 20">
            <a:extLst>
              <a:ext uri="{FF2B5EF4-FFF2-40B4-BE49-F238E27FC236}">
                <a16:creationId xmlns:a16="http://schemas.microsoft.com/office/drawing/2014/main" id="{8D76DEB5-2D21-96B6-7379-49B30760D5A3}"/>
              </a:ext>
            </a:extLst>
          </p:cNvPr>
          <p:cNvPicPr>
            <a:picLocks noGrp="1" noChangeAspect="1"/>
          </p:cNvPicPr>
          <p:nvPr>
            <p:ph type="pic" sz="quarter" idx="13"/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68" r="19168"/>
          <a:stretch/>
        </p:blipFill>
        <p:spPr>
          <a:xfrm>
            <a:off x="4619057" y="0"/>
            <a:ext cx="6849789" cy="68580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EAA57E7-C848-0B8E-E8A4-64885DFDF9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0999" y="1485900"/>
            <a:ext cx="4212000" cy="2387600"/>
          </a:xfrm>
        </p:spPr>
        <p:txBody>
          <a:bodyPr/>
          <a:lstStyle/>
          <a:p>
            <a:r>
              <a:rPr lang="en-US" dirty="0"/>
              <a:t>5. </a:t>
            </a:r>
            <a:r>
              <a:rPr lang="pl-PL" dirty="0"/>
              <a:t>Traffic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9F7E66-4FE1-A595-7DDD-229F4B7C7B52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81000" y="6162324"/>
            <a:ext cx="2743200" cy="365125"/>
          </a:xfrm>
        </p:spPr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27" name="Subtitle 26">
            <a:extLst>
              <a:ext uri="{FF2B5EF4-FFF2-40B4-BE49-F238E27FC236}">
                <a16:creationId xmlns:a16="http://schemas.microsoft.com/office/drawing/2014/main" id="{AE5429A6-C4A9-238C-C78B-9723D802DA4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624319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69ECA36-A52B-17CF-D886-0036ACBE9964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00"/>
                </a:solidFill>
                <a:effectLst/>
                <a:latin typeface="Aktiv Grotesk" panose="020B050402020202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  <a:t>Source: IATA Sustainability and Economics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D1FB4CE-B649-6D68-CFF9-B4C4A9C5E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frica’s higher than average traffic growth in 2025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6753FB-AC34-6967-B8CB-FB562C50EC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82DB1E2-82C3-F54E-241D-602369C8244F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CDA5BDC-3A0D-43A8-E941-8A6667D654F1}"/>
              </a:ext>
            </a:extLst>
          </p:cNvPr>
          <p:cNvSpPr>
            <a:spLocks noGrp="1"/>
          </p:cNvSpPr>
          <p:nvPr>
            <p:ph idx="19"/>
          </p:nvPr>
        </p:nvSpPr>
        <p:spPr/>
        <p:txBody>
          <a:bodyPr/>
          <a:lstStyle/>
          <a:p>
            <a:r>
              <a:rPr lang="en-US" sz="1800" b="1" dirty="0">
                <a:effectLst/>
                <a:latin typeface="Aktiv Grotesk" panose="020B0504020202020204" pitchFamily="34" charset="0"/>
                <a:ea typeface="MS Gothic" panose="020B0609070205080204" pitchFamily="49" charset="-128"/>
                <a:cs typeface="Aktiv Grotesk" panose="020B0504020202020204" pitchFamily="34" charset="0"/>
              </a:rPr>
              <a:t>Passenger and cargo growth rates, % and corresponding load factors. %</a:t>
            </a:r>
            <a:endParaRPr lang="en-US" sz="1800" dirty="0">
              <a:effectLst/>
              <a:latin typeface="Aktiv Grotesk" panose="020B0504020202020204" pitchFamily="34" charset="0"/>
              <a:ea typeface="MS Gothic" panose="020B0609070205080204" pitchFamily="49" charset="-128"/>
              <a:cs typeface="Times New Roman" panose="02020603050405020304" pitchFamily="18" charset="0"/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3049EC9C-3353-5039-6EB0-12F5ADCD2B8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114300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3171342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Content Placeholder 16">
            <a:extLst>
              <a:ext uri="{FF2B5EF4-FFF2-40B4-BE49-F238E27FC236}">
                <a16:creationId xmlns:a16="http://schemas.microsoft.com/office/drawing/2014/main" id="{9B97E55F-7664-4E9F-9B87-C24164CD541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114300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046C433-B4C0-8CE9-945B-613FB4A45DFC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dirty="0"/>
              <a:t>Source: IATA Sustainability and Economics, </a:t>
            </a:r>
            <a:r>
              <a:rPr lang="pl-PL" dirty="0"/>
              <a:t>IATA</a:t>
            </a:r>
            <a:r>
              <a:rPr lang="en-US" dirty="0"/>
              <a:t> Information and Data – Monthly Statistic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281D55-5FF3-69FE-6278-5839231D38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stry load factors continue to grow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C158AA-B870-E2B1-DF59-C146C88D7C0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88675E-3A94-2A1D-FA9E-24B7D965D2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1E32FA"/>
                </a:solidFill>
              </a:rPr>
              <a:t>IATA Sustainability </a:t>
            </a:r>
            <a:r>
              <a:rPr lang="pl-PL" dirty="0">
                <a:solidFill>
                  <a:srgbClr val="1E32FA"/>
                </a:solidFill>
              </a:rPr>
              <a:t>and</a:t>
            </a:r>
            <a:r>
              <a:rPr lang="en-US" dirty="0">
                <a:solidFill>
                  <a:srgbClr val="1E32FA"/>
                </a:solidFill>
              </a:rPr>
              <a:t> Econom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9254F3-69E7-8F73-53F5-A6974F688F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C98F205-58F2-5256-5E84-7BA25D35625A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8042B62-BA19-5430-68C0-ECD9C830F40F}"/>
              </a:ext>
            </a:extLst>
          </p:cNvPr>
          <p:cNvSpPr>
            <a:spLocks noGrp="1"/>
          </p:cNvSpPr>
          <p:nvPr>
            <p:ph idx="19"/>
          </p:nvPr>
        </p:nvSpPr>
        <p:spPr/>
        <p:txBody>
          <a:bodyPr/>
          <a:lstStyle/>
          <a:p>
            <a:r>
              <a:rPr lang="en-US" dirty="0"/>
              <a:t>Passenger load factors by region, Q1 2024 vs Q1 2025, %</a:t>
            </a:r>
          </a:p>
        </p:txBody>
      </p:sp>
    </p:spTree>
    <p:extLst>
      <p:ext uri="{BB962C8B-B14F-4D97-AF65-F5344CB8AC3E}">
        <p14:creationId xmlns:p14="http://schemas.microsoft.com/office/powerpoint/2010/main" val="3339672739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7C8128C-D28B-2006-7D0B-9A8A19C19C4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88714" y="5762964"/>
            <a:ext cx="11422286" cy="263143"/>
          </a:xfrm>
        </p:spPr>
        <p:txBody>
          <a:bodyPr/>
          <a:lstStyle/>
          <a:p>
            <a:r>
              <a:rPr lang="en-US"/>
              <a:t>Source: IATA Sustainability and Economic, DD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03A172-CC3C-2797-72ED-B1BE9A9813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59187"/>
            <a:ext cx="11429324" cy="473075"/>
          </a:xfrm>
        </p:spPr>
        <p:txBody>
          <a:bodyPr/>
          <a:lstStyle/>
          <a:p>
            <a:r>
              <a:rPr lang="pl-PL"/>
              <a:t>Resilient demand in established market</a:t>
            </a:r>
            <a:r>
              <a:rPr lang="en-US"/>
              <a:t>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9C77AC-7FBD-1EDE-6128-7E6715901EC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6286500" y="6162324"/>
            <a:ext cx="2743200" cy="365125"/>
          </a:xfrm>
        </p:spPr>
        <p:txBody>
          <a:bodyPr/>
          <a:lstStyle/>
          <a:p>
            <a:fld id="{198937FE-5C9B-40C9-8C55-48EB04CA346C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FA3B99-4803-DBAF-FDC6-5A9685E13D2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55370" y="6162324"/>
            <a:ext cx="4950130" cy="365125"/>
          </a:xfrm>
        </p:spPr>
        <p:txBody>
          <a:bodyPr/>
          <a:lstStyle/>
          <a:p>
            <a:r>
              <a:rPr lang="en-US"/>
              <a:t>IATA Sustainability and Econom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59129C-632E-C4DD-47C4-EB37597069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81000" y="6162324"/>
            <a:ext cx="457200" cy="365125"/>
          </a:xfrm>
        </p:spPr>
        <p:txBody>
          <a:bodyPr/>
          <a:lstStyle/>
          <a:p>
            <a:fld id="{1A9E565A-6679-4A67-8FB7-14EA342FD6E1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C6B45B81-CC22-264D-894D-68784C18F19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844924"/>
            <a:ext cx="11430000" cy="432547"/>
          </a:xfrm>
        </p:spPr>
        <p:txBody>
          <a:bodyPr/>
          <a:lstStyle/>
          <a:p>
            <a:r>
              <a:rPr lang="en-US" dirty="0"/>
              <a:t>Southern and Eastern Africa have decreased in Q1 2025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3504D9-6F87-4475-579E-46C7B32A337A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81000" y="1295401"/>
            <a:ext cx="11430000" cy="419100"/>
          </a:xfrm>
        </p:spPr>
        <p:txBody>
          <a:bodyPr/>
          <a:lstStyle/>
          <a:p>
            <a:r>
              <a:rPr lang="pl-PL" dirty="0"/>
              <a:t>Passenger </a:t>
            </a:r>
            <a:r>
              <a:rPr lang="en-US" dirty="0"/>
              <a:t>growth rate by sub-region of traffic segment origin, </a:t>
            </a:r>
            <a:r>
              <a:rPr lang="en-GB" sz="1800" b="1" dirty="0">
                <a:solidFill>
                  <a:srgbClr val="000000"/>
                </a:solidFill>
                <a:effectLst/>
                <a:latin typeface="Aktiv Grotesk" panose="020B050402020202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  <a:t>Q1 2025, </a:t>
            </a:r>
            <a:r>
              <a:rPr lang="pl-PL" sz="1800" b="1" dirty="0">
                <a:solidFill>
                  <a:srgbClr val="000000"/>
                </a:solidFill>
                <a:effectLst/>
                <a:latin typeface="Aktiv Grotesk" panose="020B050402020202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  <a:t>YoY, </a:t>
            </a:r>
            <a:r>
              <a:rPr lang="en-GB" sz="1800" b="1" dirty="0">
                <a:solidFill>
                  <a:srgbClr val="000000"/>
                </a:solidFill>
                <a:effectLst/>
                <a:latin typeface="Aktiv Grotesk" panose="020B050402020202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  <a:t>% </a:t>
            </a:r>
            <a:endParaRPr lang="en-US" sz="1800" b="1" dirty="0">
              <a:solidFill>
                <a:srgbClr val="000000"/>
              </a:solidFill>
              <a:effectLst/>
              <a:latin typeface="Aktiv Grotesk" panose="020B0504020202020204" pitchFamily="34" charset="0"/>
              <a:ea typeface="MS Gothic" panose="020B0609070205080204" pitchFamily="49" charset="-128"/>
              <a:cs typeface="Times New Roman" panose="02020603050405020304" pitchFamily="18" charset="0"/>
            </a:endParaRPr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235C9628-5C2A-45F5-81C1-2F38716A44A2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114300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44056318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1">
            <a:extLst>
              <a:ext uri="{FF2B5EF4-FFF2-40B4-BE49-F238E27FC236}">
                <a16:creationId xmlns:a16="http://schemas.microsoft.com/office/drawing/2014/main" id="{6227619B-5690-33C1-24BF-1E8FA8E2159A}"/>
              </a:ext>
            </a:extLst>
          </p:cNvPr>
          <p:cNvPicPr>
            <a:picLocks noGrp="1" noChangeAspect="1"/>
          </p:cNvPicPr>
          <p:nvPr>
            <p:ph type="pic" sz="quarter" idx="13"/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78" r="12578"/>
          <a:stretch/>
        </p:blipFill>
        <p:spPr>
          <a:xfrm>
            <a:off x="4619057" y="0"/>
            <a:ext cx="6849789" cy="68580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C9B096F-11E0-A527-A780-45EA1EF987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0999" y="1485900"/>
            <a:ext cx="4212000" cy="2387600"/>
          </a:xfrm>
        </p:spPr>
        <p:txBody>
          <a:bodyPr/>
          <a:lstStyle/>
          <a:p>
            <a:r>
              <a:rPr lang="en-US" dirty="0"/>
              <a:t>6. </a:t>
            </a:r>
            <a:r>
              <a:rPr lang="pl-PL" dirty="0"/>
              <a:t>Financial performanc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5C3DDF-65B4-E770-D74E-2E7BAACD966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81000" y="6162324"/>
            <a:ext cx="2743200" cy="365125"/>
          </a:xfrm>
        </p:spPr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54E20663-E347-22FB-3611-F880EC8E01D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129981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BBD0C3DF-ACAE-4053-B85A-262887651625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114300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8B520E-1B8E-10F0-A509-BBCBB6FFF187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 anchor="t" anchorCtr="0"/>
          <a:lstStyle/>
          <a:p>
            <a:r>
              <a:rPr lang="en-US" sz="1400" dirty="0"/>
              <a:t>Source: IATA Sustainability and Economics using data from Airfinance Glob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8FE42-6BC2-BEF7-5A95-17EE2C79E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enue growth is on the passenger side</a:t>
            </a:r>
          </a:p>
        </p:txBody>
      </p:sp>
      <p:sp>
        <p:nvSpPr>
          <p:cNvPr id="5" name="Date Placeholder 2">
            <a:extLst>
              <a:ext uri="{FF2B5EF4-FFF2-40B4-BE49-F238E27FC236}">
                <a16:creationId xmlns:a16="http://schemas.microsoft.com/office/drawing/2014/main" id="{288C6900-E07E-5555-6288-753717DC3A5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82CEB40-7C69-47E5-9106-E566935D3F53}" type="datetime3">
              <a:rPr lang="en-US" smtClean="0"/>
              <a:pPr/>
              <a:t>14 June 2025</a:t>
            </a:fld>
            <a:endParaRPr lang="en-US" dirty="0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D4C80855-31AC-388F-9F31-CAD9989DA1B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5B6782-6479-70CD-1809-5B546C91B47F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7BE32E8-CACC-582B-86EE-A27ACBC4C99A}"/>
              </a:ext>
            </a:extLst>
          </p:cNvPr>
          <p:cNvSpPr>
            <a:spLocks noGrp="1"/>
          </p:cNvSpPr>
          <p:nvPr>
            <p:ph idx="19"/>
          </p:nvPr>
        </p:nvSpPr>
        <p:spPr/>
        <p:txBody>
          <a:bodyPr/>
          <a:lstStyle/>
          <a:p>
            <a:r>
              <a:rPr lang="en-US" b="1" dirty="0"/>
              <a:t>Airline passenger, cargo, and ancillary and other revenue, USD billion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D43F0E7-16E7-D684-C3BB-139998319F05}"/>
              </a:ext>
            </a:extLst>
          </p:cNvPr>
          <p:cNvGraphicFramePr>
            <a:graphicFrameLocks/>
          </p:cNvGraphicFramePr>
          <p:nvPr/>
        </p:nvGraphicFramePr>
        <p:xfrm>
          <a:off x="189914" y="1905000"/>
          <a:ext cx="11339624" cy="3686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0EC3507-4738-2779-8B39-6E1410B90FE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55370" y="6162324"/>
            <a:ext cx="4950130" cy="365125"/>
          </a:xfrm>
        </p:spPr>
        <p:txBody>
          <a:bodyPr/>
          <a:lstStyle/>
          <a:p>
            <a:pPr lvl="0"/>
            <a:r>
              <a:rPr lang="en-US" noProof="0" dirty="0"/>
              <a:t>IATA Sustainability and Economics</a:t>
            </a:r>
          </a:p>
        </p:txBody>
      </p:sp>
    </p:spTree>
    <p:extLst>
      <p:ext uri="{BB962C8B-B14F-4D97-AF65-F5344CB8AC3E}">
        <p14:creationId xmlns:p14="http://schemas.microsoft.com/office/powerpoint/2010/main" val="2958547816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D2B651E-E29B-A836-DBBB-8E8E01FE24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680"/>
            <a:ext cx="12192000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0AA3F73-2749-1B35-DB25-F42F006F2BF4}"/>
              </a:ext>
            </a:extLst>
          </p:cNvPr>
          <p:cNvSpPr txBox="1"/>
          <p:nvPr/>
        </p:nvSpPr>
        <p:spPr>
          <a:xfrm>
            <a:off x="381000" y="381000"/>
            <a:ext cx="11038114" cy="646331"/>
          </a:xfrm>
          <a:prstGeom prst="rect">
            <a:avLst/>
          </a:prstGeom>
          <a:solidFill>
            <a:schemeClr val="bg1">
              <a:alpha val="82000"/>
            </a:schemeClr>
          </a:solidFill>
          <a:effectLst>
            <a:softEdge rad="127000"/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2025 Net Profits </a:t>
            </a:r>
            <a:r>
              <a:rPr lang="en-US" sz="3600" b="1" dirty="0">
                <a:solidFill>
                  <a:schemeClr val="accent1"/>
                </a:solidFill>
                <a:latin typeface="Aktiv Grotesk"/>
              </a:rPr>
              <a:t>at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 36 USD billion = 3.7% margi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2D5E27B-5F3E-DE39-87A8-D5A56842EE00}"/>
              </a:ext>
            </a:extLst>
          </p:cNvPr>
          <p:cNvSpPr txBox="1"/>
          <p:nvPr/>
        </p:nvSpPr>
        <p:spPr>
          <a:xfrm>
            <a:off x="290683" y="5681258"/>
            <a:ext cx="89837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Photo: </a:t>
            </a:r>
            <a:r>
              <a:rPr lang="en-US" sz="1400" dirty="0" err="1">
                <a:solidFill>
                  <a:schemeClr val="bg1"/>
                </a:solidFill>
              </a:rPr>
              <a:t>NohKaliKai</a:t>
            </a:r>
            <a:r>
              <a:rPr lang="en-US" sz="1400" dirty="0">
                <a:solidFill>
                  <a:schemeClr val="bg1"/>
                </a:solidFill>
              </a:rPr>
              <a:t> Falls, Meghalaya, India, by </a:t>
            </a:r>
            <a:r>
              <a:rPr lang="en-US" sz="1400" dirty="0" err="1">
                <a:solidFill>
                  <a:schemeClr val="bg1"/>
                </a:solidFill>
              </a:rPr>
              <a:t>travelmelodies</a:t>
            </a:r>
            <a:r>
              <a:rPr lang="en-US" sz="14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5ED8B5EA-DBBA-FB3B-5515-E13F46C14DC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AF54CEC5-0E8F-191A-7DC1-C2FA83E2B5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57593"/>
            <a:ext cx="2743200" cy="365125"/>
          </a:xfrm>
        </p:spPr>
        <p:txBody>
          <a:bodyPr/>
          <a:lstStyle/>
          <a:p>
            <a:fld id="{F82CEB40-7C69-47E5-9106-E566935D3F53}" type="datetime3">
              <a:rPr lang="en-US" smtClean="0">
                <a:solidFill>
                  <a:schemeClr val="bg1"/>
                </a:solidFill>
              </a:rPr>
              <a:pPr/>
              <a:t>14 June 2025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FEDD3FA5-CD75-BC14-B9FB-887D2E0417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" y="6157592"/>
            <a:ext cx="457200" cy="365125"/>
          </a:xfrm>
        </p:spPr>
        <p:txBody>
          <a:bodyPr/>
          <a:lstStyle/>
          <a:p>
            <a:fld id="{1A9E565A-6679-4A67-8FB7-14EA342FD6E1}" type="slidenum">
              <a:rPr lang="en-US" smtClean="0">
                <a:solidFill>
                  <a:schemeClr val="bg1"/>
                </a:solidFill>
              </a:rPr>
              <a:pPr/>
              <a:t>29</a:t>
            </a:fld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6EF22738-653C-55F1-30BE-026ADEAED61C}"/>
              </a:ext>
            </a:extLst>
          </p:cNvPr>
          <p:cNvGraphicFramePr>
            <a:graphicFrameLocks/>
          </p:cNvGraphicFramePr>
          <p:nvPr/>
        </p:nvGraphicFramePr>
        <p:xfrm>
          <a:off x="2237509" y="1485900"/>
          <a:ext cx="6223000" cy="4072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58071144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ontent Placeholder 12">
            <a:extLst>
              <a:ext uri="{FF2B5EF4-FFF2-40B4-BE49-F238E27FC236}">
                <a16:creationId xmlns:a16="http://schemas.microsoft.com/office/drawing/2014/main" id="{4D7F1D61-0D3B-8C0F-95D8-0E5A78E12BE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114300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95DF3221-D531-5762-79AE-2C0706FD0D6E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88714" y="5762964"/>
            <a:ext cx="11422286" cy="263143"/>
          </a:xfrm>
        </p:spPr>
        <p:txBody>
          <a:bodyPr/>
          <a:lstStyle/>
          <a:p>
            <a:r>
              <a:rPr lang="en-US" dirty="0"/>
              <a:t>Source: IATA Sustainability and Economics</a:t>
            </a:r>
            <a:r>
              <a:rPr lang="pl-PL" dirty="0"/>
              <a:t>,</a:t>
            </a:r>
            <a:r>
              <a:rPr lang="en-US" dirty="0"/>
              <a:t> IMF World Economic Outlook, </a:t>
            </a:r>
            <a:r>
              <a:rPr lang="pl-PL" dirty="0"/>
              <a:t>April</a:t>
            </a:r>
            <a:r>
              <a:rPr lang="en-US" dirty="0"/>
              <a:t> 202</a:t>
            </a:r>
            <a:r>
              <a:rPr lang="pl-PL" dirty="0"/>
              <a:t>5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DA8A7E0-F33A-6EBB-321D-4BE82B8093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59187"/>
            <a:ext cx="11429324" cy="473075"/>
          </a:xfrm>
        </p:spPr>
        <p:txBody>
          <a:bodyPr/>
          <a:lstStyle/>
          <a:p>
            <a:r>
              <a:rPr lang="en-US" dirty="0"/>
              <a:t>Global GDP Growth – a new way down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FBC2134-1781-720C-FC51-B8152E28567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6286500" y="6162324"/>
            <a:ext cx="2743200" cy="365125"/>
          </a:xfrm>
        </p:spPr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6E1FC27-968C-653B-C707-89C41D3B0B8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55370" y="6162324"/>
            <a:ext cx="4950130" cy="365125"/>
          </a:xfrm>
        </p:spPr>
        <p:txBody>
          <a:bodyPr/>
          <a:lstStyle/>
          <a:p>
            <a:r>
              <a:rPr lang="en-US"/>
              <a:t>IATA Sustainability and Economic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EFB60D5-3BA0-EE5F-F0F2-8D8517F61A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81000" y="6162324"/>
            <a:ext cx="457200" cy="365125"/>
          </a:xfrm>
        </p:spPr>
        <p:txBody>
          <a:bodyPr/>
          <a:lstStyle/>
          <a:p>
            <a:fld id="{1A9E565A-6679-4A67-8FB7-14EA342FD6E1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4535F0A9-D93E-7E09-EC99-DEAACCB368F8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D7560D9-D6E9-CC92-F3E7-8763CA069759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81000" y="1295400"/>
            <a:ext cx="11430000" cy="419100"/>
          </a:xfrm>
        </p:spPr>
        <p:txBody>
          <a:bodyPr/>
          <a:lstStyle/>
          <a:p>
            <a:r>
              <a:rPr lang="en-US"/>
              <a:t>World RPK and GDP Growth Rat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E4C0231-6F13-DA11-D105-CC4B76F6A7C4}"/>
              </a:ext>
            </a:extLst>
          </p:cNvPr>
          <p:cNvSpPr/>
          <p:nvPr/>
        </p:nvSpPr>
        <p:spPr>
          <a:xfrm>
            <a:off x="10093569" y="2457450"/>
            <a:ext cx="1187206" cy="2592388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2362A59-C5C2-96B4-B225-389596A2C311}"/>
              </a:ext>
            </a:extLst>
          </p:cNvPr>
          <p:cNvSpPr txBox="1"/>
          <p:nvPr/>
        </p:nvSpPr>
        <p:spPr>
          <a:xfrm>
            <a:off x="10175601" y="2545847"/>
            <a:ext cx="11051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/>
              <a:t>foreca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985414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79F9CF-7073-C479-0FB2-E7CE647D090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88714" y="5881349"/>
            <a:ext cx="5715000" cy="272699"/>
          </a:xfrm>
        </p:spPr>
        <p:txBody>
          <a:bodyPr/>
          <a:lstStyle/>
          <a:p>
            <a:r>
              <a:rPr lang="en-US" dirty="0"/>
              <a:t>Source: IATA Sustainability and Economics, based on a sample of 12 African airlines excluding Ethiopia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CA3EA40-ACEF-DB48-0BEE-65986AC1F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frica has higher unit cost of operation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023695-914D-818E-690D-82AC448AB45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731041-CCC7-BDD1-2910-737FF2A52E7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1E32FA"/>
                </a:solidFill>
              </a:rPr>
              <a:t>IATA Sustainability and Economic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9ECBFB-CAD4-9BA9-0213-EA2D6CA4E0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5F5F7D6-B6EC-93FA-B11A-36ACD25848B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81000" y="1066800"/>
            <a:ext cx="5715000" cy="419100"/>
          </a:xfrm>
        </p:spPr>
        <p:txBody>
          <a:bodyPr/>
          <a:lstStyle/>
          <a:p>
            <a:r>
              <a:rPr lang="en-US" dirty="0"/>
              <a:t>Cost category per ATK, as of 2023, USD cents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44CBC2BB-164C-F5CE-7456-606C18CCDF24}"/>
              </a:ext>
            </a:extLst>
          </p:cNvPr>
          <p:cNvSpPr txBox="1">
            <a:spLocks/>
          </p:cNvSpPr>
          <p:nvPr/>
        </p:nvSpPr>
        <p:spPr>
          <a:xfrm>
            <a:off x="6287176" y="1905000"/>
            <a:ext cx="5523824" cy="38481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2B9C302D-02DC-1DE2-AD0E-900C6DF087B4}"/>
              </a:ext>
            </a:extLst>
          </p:cNvPr>
          <p:cNvSpPr txBox="1">
            <a:spLocks/>
          </p:cNvSpPr>
          <p:nvPr/>
        </p:nvSpPr>
        <p:spPr>
          <a:xfrm>
            <a:off x="6286500" y="1905000"/>
            <a:ext cx="5516786" cy="40005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African airlines face significantly higher operational costs compared to the global aver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African airlines often operate with limited economies of scale due to smaller market sizes, less frequent flights and shorter distances. This leads to higher per-unit costs for various operational categories, including flight equipment maintenance and overhaul, and flight crew salaries and expenses.</a:t>
            </a:r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8CE446C0-1BB9-1051-E6B5-C19348BDD9A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55245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609D424-35D8-9D3E-E363-A7D9A6C45704}"/>
              </a:ext>
            </a:extLst>
          </p:cNvPr>
          <p:cNvCxnSpPr/>
          <p:nvPr/>
        </p:nvCxnSpPr>
        <p:spPr>
          <a:xfrm flipV="1">
            <a:off x="1039190" y="2689860"/>
            <a:ext cx="0" cy="13487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583600D-6863-8F25-4B06-78E93F3DCD79}"/>
              </a:ext>
            </a:extLst>
          </p:cNvPr>
          <p:cNvCxnSpPr>
            <a:cxnSpLocks/>
          </p:cNvCxnSpPr>
          <p:nvPr/>
        </p:nvCxnSpPr>
        <p:spPr>
          <a:xfrm flipV="1">
            <a:off x="2616530" y="4716780"/>
            <a:ext cx="0" cy="2286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4BDCC3E-F1FB-1B69-B828-F18992DA3DCB}"/>
              </a:ext>
            </a:extLst>
          </p:cNvPr>
          <p:cNvCxnSpPr>
            <a:cxnSpLocks/>
          </p:cNvCxnSpPr>
          <p:nvPr/>
        </p:nvCxnSpPr>
        <p:spPr>
          <a:xfrm flipV="1">
            <a:off x="4216730" y="3169920"/>
            <a:ext cx="0" cy="11658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6702526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3EFD463C-2636-1E63-80AB-EA478A41B7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88714" y="5881349"/>
            <a:ext cx="11422286" cy="272699"/>
          </a:xfrm>
        </p:spPr>
        <p:txBody>
          <a:bodyPr/>
          <a:lstStyle/>
          <a:p>
            <a:r>
              <a:rPr lang="en-US" dirty="0"/>
              <a:t>Source: IATA Sustainability and Economics, using data from Bloomberg as of June 2025, *) 20 year bond yiel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D603FE-CB6D-B064-E901-E98089B66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59187"/>
            <a:ext cx="11429324" cy="473075"/>
          </a:xfrm>
        </p:spPr>
        <p:txBody>
          <a:bodyPr/>
          <a:lstStyle/>
          <a:p>
            <a:r>
              <a:rPr lang="en-US"/>
              <a:t>Borrowing costs are higher in Afric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B52812-D0B1-9F0E-DC39-907BA9FA7CC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6286500" y="6162324"/>
            <a:ext cx="2743200" cy="365125"/>
          </a:xfrm>
        </p:spPr>
        <p:txBody>
          <a:bodyPr/>
          <a:lstStyle/>
          <a:p>
            <a:fld id="{198937FE-5C9B-40C9-8C55-48EB04CA346C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1E7251F-0917-4F85-3F0E-D750A2F931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55370" y="6162324"/>
            <a:ext cx="4950130" cy="365125"/>
          </a:xfrm>
        </p:spPr>
        <p:txBody>
          <a:bodyPr/>
          <a:lstStyle/>
          <a:p>
            <a:r>
              <a:rPr lang="en-US" noProof="0"/>
              <a:t>IATA Sustainability and Econom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94189-FC11-FA16-2737-0B52B90E020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81000" y="6162324"/>
            <a:ext cx="457200" cy="365125"/>
          </a:xfrm>
        </p:spPr>
        <p:txBody>
          <a:bodyPr/>
          <a:lstStyle/>
          <a:p>
            <a:fld id="{1A9E565A-6679-4A67-8FB7-14EA342FD6E1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4451FD9-9F0B-408D-218C-560BA01F85DF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81000" y="1066800"/>
            <a:ext cx="11430000" cy="419100"/>
          </a:xfrm>
        </p:spPr>
        <p:txBody>
          <a:bodyPr/>
          <a:lstStyle/>
          <a:p>
            <a:r>
              <a:rPr lang="en-US" dirty="0"/>
              <a:t>10-year government bond yields, %, inflation, %, as of June 2025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169FCD7E-3BD1-73EF-04A6-EAD08D458E2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114300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93502634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88C4168C-14FE-C9F0-E257-94AD32E1F931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sz="1000" dirty="0"/>
              <a:t>Source: IATA Sustainability and Economics, IATA TTBS, xe.co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5051CD-D172-2B56-4C60-88CA1CB84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Ticket taxes &amp; charges vary widely across Africa</a:t>
            </a:r>
            <a:br>
              <a:rPr lang="en-US" sz="3600"/>
            </a:br>
            <a:r>
              <a:rPr lang="en-US" sz="2800"/>
              <a:t>Adding significantly to travel costs in some countries</a:t>
            </a:r>
            <a:endParaRPr lang="en-US" sz="36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D839D2-0A02-4543-D85F-4E93570C02C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82CEB40-7C69-47E5-9106-E566935D3F53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AB1E5F-17FB-6673-6BA2-BA855D20B47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ATA Sustainability and Econom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706E4-2A2C-7ADA-ACF5-E7246D06F07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616CBC12-DA66-FE08-2C83-78BAE0CEBC6B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81000" y="1485900"/>
            <a:ext cx="11430000" cy="419100"/>
          </a:xfrm>
        </p:spPr>
        <p:txBody>
          <a:bodyPr/>
          <a:lstStyle/>
          <a:p>
            <a:r>
              <a:rPr lang="en-US" sz="1600" b="1"/>
              <a:t>International passenger ticket taxes and charges (economy cabin, highest applicable rate), USD per ticket, 2024</a:t>
            </a:r>
          </a:p>
        </p:txBody>
      </p:sp>
      <p:graphicFrame>
        <p:nvGraphicFramePr>
          <p:cNvPr id="20" name="Content Placeholder 19">
            <a:extLst>
              <a:ext uri="{FF2B5EF4-FFF2-40B4-BE49-F238E27FC236}">
                <a16:creationId xmlns:a16="http://schemas.microsoft.com/office/drawing/2014/main" id="{C7101D72-A5E2-754B-27AE-F084D13CD23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401424"/>
              </p:ext>
            </p:extLst>
          </p:nvPr>
        </p:nvGraphicFramePr>
        <p:xfrm>
          <a:off x="381000" y="1905000"/>
          <a:ext cx="114300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69508802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BD1702B-A1D5-2E37-0781-30C664C68D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88714" y="5762964"/>
            <a:ext cx="11422286" cy="263143"/>
          </a:xfrm>
        </p:spPr>
        <p:txBody>
          <a:bodyPr/>
          <a:lstStyle/>
          <a:p>
            <a:r>
              <a:rPr lang="en-US" dirty="0"/>
              <a:t>Source:</a:t>
            </a:r>
            <a:r>
              <a:rPr lang="pl-PL" dirty="0"/>
              <a:t> </a:t>
            </a:r>
            <a:r>
              <a:rPr lang="en-US" dirty="0"/>
              <a:t>IATA Sustainability and Economics using data from Airfinance Glob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8FE42-6BC2-BEF7-5A95-17EE2C79E2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59187"/>
            <a:ext cx="11429324" cy="473075"/>
          </a:xfrm>
        </p:spPr>
        <p:txBody>
          <a:bodyPr/>
          <a:lstStyle/>
          <a:p>
            <a:r>
              <a:rPr lang="en-US" dirty="0"/>
              <a:t>Profits vary across regions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E789A1B6-1B11-CB58-B40D-8F139F32863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6286500" y="6162324"/>
            <a:ext cx="2743200" cy="365125"/>
          </a:xfrm>
        </p:spPr>
        <p:txBody>
          <a:bodyPr/>
          <a:lstStyle/>
          <a:p>
            <a:fld id="{198937FE-5C9B-40C9-8C55-48EB04CA346C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2F20E66-EE42-B05A-17B0-A505522B182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55370" y="6162324"/>
            <a:ext cx="4950130" cy="365125"/>
          </a:xfrm>
        </p:spPr>
        <p:txBody>
          <a:bodyPr/>
          <a:lstStyle/>
          <a:p>
            <a:pPr lvl="0"/>
            <a:r>
              <a:rPr lang="en-US" noProof="0"/>
              <a:t>IATA Sustainability and Econom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1D7B2A-B683-62C7-173D-4D3C7ACF8E2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81000" y="6162324"/>
            <a:ext cx="457200" cy="365125"/>
          </a:xfrm>
        </p:spPr>
        <p:txBody>
          <a:bodyPr/>
          <a:lstStyle/>
          <a:p>
            <a:fld id="{1A9E565A-6679-4A67-8FB7-14EA342FD6E1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A96C844-D7A0-1F21-A272-243FF3CB269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844924"/>
            <a:ext cx="11430000" cy="432547"/>
          </a:xfrm>
        </p:spPr>
        <p:txBody>
          <a:bodyPr/>
          <a:lstStyle/>
          <a:p>
            <a:r>
              <a:rPr lang="en-US" dirty="0"/>
              <a:t>Africa</a:t>
            </a:r>
            <a:r>
              <a:rPr lang="pl-PL" dirty="0"/>
              <a:t> keeps lagging other regions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74716D4-95B8-9A70-5DB5-8BE3C349AC89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81000" y="1295401"/>
            <a:ext cx="11430000" cy="419100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Net </a:t>
            </a:r>
            <a:r>
              <a:rPr lang="pl-PL" dirty="0"/>
              <a:t>margin</a:t>
            </a:r>
            <a:r>
              <a:rPr lang="en-US" dirty="0"/>
              <a:t> by region</a:t>
            </a:r>
          </a:p>
        </p:txBody>
      </p:sp>
      <p:sp>
        <p:nvSpPr>
          <p:cNvPr id="13" name="TextBox 1">
            <a:extLst>
              <a:ext uri="{FF2B5EF4-FFF2-40B4-BE49-F238E27FC236}">
                <a16:creationId xmlns:a16="http://schemas.microsoft.com/office/drawing/2014/main" id="{B939956D-B643-276A-76DD-C9F1DB930CB9}"/>
              </a:ext>
            </a:extLst>
          </p:cNvPr>
          <p:cNvSpPr txBox="1"/>
          <p:nvPr/>
        </p:nvSpPr>
        <p:spPr>
          <a:xfrm>
            <a:off x="473773" y="5676099"/>
            <a:ext cx="5812727" cy="32598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effectLst/>
            </a:endParaRP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A9383F2A-C80C-4408-9DDC-537C9CBF405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114300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056821732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2B64042-24DC-EF4B-28BF-2ADEA1AFE3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FA52FCC-E8F3-5CF0-1CD7-6CE32C778CB5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sz="1400" dirty="0">
                <a:solidFill>
                  <a:schemeClr val="bg1"/>
                </a:solidFill>
              </a:rPr>
              <a:t>Source: IATA Sustainability and Economic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B9086-7C31-2B8F-6C38-B5D5AC0FF8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dirty="0">
                <a:solidFill>
                  <a:schemeClr val="bg1"/>
                </a:solidFill>
              </a:rPr>
              <a:t>USD 7</a:t>
            </a:r>
            <a:r>
              <a:rPr lang="pl-PL" sz="3600" b="1" dirty="0">
                <a:solidFill>
                  <a:schemeClr val="bg1"/>
                </a:solidFill>
              </a:rPr>
              <a:t>.2</a:t>
            </a:r>
            <a:r>
              <a:rPr lang="en-US" sz="3600" b="1" dirty="0">
                <a:solidFill>
                  <a:schemeClr val="bg1"/>
                </a:solidFill>
              </a:rPr>
              <a:t> per passenger in 2025</a:t>
            </a:r>
            <a:br>
              <a:rPr lang="en-US" b="1" dirty="0">
                <a:solidFill>
                  <a:schemeClr val="bg1"/>
                </a:solidFill>
              </a:rPr>
            </a:br>
            <a:br>
              <a:rPr lang="en-US" b="1" dirty="0">
                <a:solidFill>
                  <a:schemeClr val="bg1"/>
                </a:solidFill>
              </a:rPr>
            </a:b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DF0958E1-71CA-E20E-F91C-1366F1C4DC9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81000" y="1385667"/>
            <a:ext cx="7532077" cy="328833"/>
          </a:xfrm>
          <a:solidFill>
            <a:schemeClr val="accent2">
              <a:lumMod val="50000"/>
            </a:schemeClr>
          </a:solidFill>
          <a:effectLst>
            <a:softEdge rad="63500"/>
          </a:effectLst>
        </p:spPr>
        <p:txBody>
          <a:bodyPr/>
          <a:lstStyle/>
          <a:p>
            <a:r>
              <a:rPr lang="pl-PL" sz="2000" b="1" dirty="0">
                <a:solidFill>
                  <a:schemeClr val="bg1"/>
                </a:solidFill>
              </a:rPr>
              <a:t>Net profit per passenger by regions, USD per passenger, 2025 </a:t>
            </a:r>
            <a:endParaRPr lang="en-US" sz="2000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AACB86C-98B3-6C8E-8AC3-92F15F1D5FDD}"/>
              </a:ext>
            </a:extLst>
          </p:cNvPr>
          <p:cNvGraphicFramePr>
            <a:graphicFrameLocks noGrp="1"/>
          </p:cNvGraphicFramePr>
          <p:nvPr/>
        </p:nvGraphicFramePr>
        <p:xfrm>
          <a:off x="380999" y="1905000"/>
          <a:ext cx="10899775" cy="3848104"/>
        </p:xfrm>
        <a:graphic>
          <a:graphicData uri="http://schemas.openxmlformats.org/drawingml/2006/table">
            <a:tbl>
              <a:tblPr firstRow="1" bandRow="1">
                <a:solidFill>
                  <a:srgbClr val="080808">
                    <a:alpha val="16863"/>
                  </a:srgbClr>
                </a:solidFill>
                <a:tableStyleId>{5C22544A-7EE6-4342-B048-85BDC9FD1C3A}</a:tableStyleId>
              </a:tblPr>
              <a:tblGrid>
                <a:gridCol w="4155894">
                  <a:extLst>
                    <a:ext uri="{9D8B030D-6E8A-4147-A177-3AD203B41FA5}">
                      <a16:colId xmlns:a16="http://schemas.microsoft.com/office/drawing/2014/main" val="3579755608"/>
                    </a:ext>
                  </a:extLst>
                </a:gridCol>
                <a:gridCol w="3110623">
                  <a:extLst>
                    <a:ext uri="{9D8B030D-6E8A-4147-A177-3AD203B41FA5}">
                      <a16:colId xmlns:a16="http://schemas.microsoft.com/office/drawing/2014/main" val="723530997"/>
                    </a:ext>
                  </a:extLst>
                </a:gridCol>
                <a:gridCol w="3633258">
                  <a:extLst>
                    <a:ext uri="{9D8B030D-6E8A-4147-A177-3AD203B41FA5}">
                      <a16:colId xmlns:a16="http://schemas.microsoft.com/office/drawing/2014/main" val="2189603535"/>
                    </a:ext>
                  </a:extLst>
                </a:gridCol>
              </a:tblGrid>
              <a:tr h="481013">
                <a:tc>
                  <a:txBody>
                    <a:bodyPr/>
                    <a:lstStyle/>
                    <a:p>
                      <a:pPr algn="l" fontAlgn="ctr"/>
                      <a:r>
                        <a:rPr lang="pl-PL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 </a:t>
                      </a:r>
                      <a:r>
                        <a:rPr lang="nb-NO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USD</a:t>
                      </a:r>
                    </a:p>
                  </a:txBody>
                  <a:tcPr marL="178408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20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2000" b="1" i="0" u="none" strike="noStrike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2025</a:t>
                      </a:r>
                    </a:p>
                  </a:txBody>
                  <a:tcPr marL="0" marR="8920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3794966"/>
                  </a:ext>
                </a:extLst>
              </a:tr>
              <a:tr h="481013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0" i="0" u="none" strike="noStrike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 Middle East</a:t>
                      </a:r>
                    </a:p>
                  </a:txBody>
                  <a:tcPr marL="178408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2</a:t>
                      </a:r>
                      <a:r>
                        <a:rPr lang="pl-PL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8</a:t>
                      </a:r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.</a:t>
                      </a:r>
                      <a:r>
                        <a:rPr lang="pl-PL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5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Aktiv Grotesk" panose="020B05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2</a:t>
                      </a:r>
                      <a:r>
                        <a:rPr lang="pl-PL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7</a:t>
                      </a:r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.</a:t>
                      </a:r>
                      <a:r>
                        <a:rPr lang="pl-PL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2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Aktiv Grotesk" panose="020B0504020202020204" pitchFamily="34" charset="0"/>
                      </a:endParaRPr>
                    </a:p>
                  </a:txBody>
                  <a:tcPr marL="0" marR="8920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866929"/>
                  </a:ext>
                </a:extLst>
              </a:tr>
              <a:tr h="481013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0" i="0" u="none" strike="noStrike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 North America</a:t>
                      </a:r>
                    </a:p>
                  </a:txBody>
                  <a:tcPr marL="178408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10.</a:t>
                      </a:r>
                      <a:r>
                        <a:rPr lang="pl-PL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1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Aktiv Grotesk" panose="020B05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11.</a:t>
                      </a:r>
                      <a:r>
                        <a:rPr lang="pl-PL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1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Aktiv Grotesk" panose="020B0504020202020204" pitchFamily="34" charset="0"/>
                      </a:endParaRPr>
                    </a:p>
                  </a:txBody>
                  <a:tcPr marL="0" marR="8920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781561"/>
                  </a:ext>
                </a:extLst>
              </a:tr>
              <a:tr h="481013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 Europe</a:t>
                      </a:r>
                    </a:p>
                  </a:txBody>
                  <a:tcPr marL="178408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8.</a:t>
                      </a:r>
                      <a:r>
                        <a:rPr lang="pl-PL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0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Aktiv Grotesk" panose="020B05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l-PL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8</a:t>
                      </a:r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.</a:t>
                      </a:r>
                      <a:r>
                        <a:rPr lang="pl-PL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9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Aktiv Grotesk" panose="020B0504020202020204" pitchFamily="34" charset="0"/>
                      </a:endParaRPr>
                    </a:p>
                  </a:txBody>
                  <a:tcPr marL="0" marR="8920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6755650"/>
                  </a:ext>
                </a:extLst>
              </a:tr>
              <a:tr h="481013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0" i="0" u="none" strike="noStrike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 Latin America</a:t>
                      </a:r>
                    </a:p>
                  </a:txBody>
                  <a:tcPr marL="178408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l-PL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4</a:t>
                      </a:r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.</a:t>
                      </a:r>
                      <a:r>
                        <a:rPr lang="pl-PL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1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Aktiv Grotesk" panose="020B05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3.</a:t>
                      </a:r>
                      <a:r>
                        <a:rPr lang="pl-PL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4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Aktiv Grotesk" panose="020B0504020202020204" pitchFamily="34" charset="0"/>
                      </a:endParaRPr>
                    </a:p>
                  </a:txBody>
                  <a:tcPr marL="0" marR="8920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1820683"/>
                  </a:ext>
                </a:extLst>
              </a:tr>
              <a:tr h="481013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0" i="0" u="none" strike="noStrike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 Asia Pacific</a:t>
                      </a:r>
                    </a:p>
                  </a:txBody>
                  <a:tcPr marL="178408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l-PL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2</a:t>
                      </a:r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.</a:t>
                      </a:r>
                      <a:r>
                        <a:rPr lang="pl-PL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3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Aktiv Grotesk" panose="020B05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l-PL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2</a:t>
                      </a:r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.</a:t>
                      </a:r>
                      <a:r>
                        <a:rPr lang="pl-PL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6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Aktiv Grotesk" panose="020B0504020202020204" pitchFamily="34" charset="0"/>
                      </a:endParaRPr>
                    </a:p>
                  </a:txBody>
                  <a:tcPr marL="0" marR="8920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7188109"/>
                  </a:ext>
                </a:extLst>
              </a:tr>
              <a:tr h="481013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0" i="0" u="none" strike="noStrike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 Africa</a:t>
                      </a:r>
                    </a:p>
                  </a:txBody>
                  <a:tcPr marL="178408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l-PL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1</a:t>
                      </a:r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.</a:t>
                      </a:r>
                      <a:r>
                        <a:rPr lang="pl-PL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2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Aktiv Grotesk" panose="020B05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1.</a:t>
                      </a:r>
                      <a:r>
                        <a:rPr lang="pl-PL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3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Aktiv Grotesk" panose="020B0504020202020204" pitchFamily="34" charset="0"/>
                      </a:endParaRPr>
                    </a:p>
                  </a:txBody>
                  <a:tcPr marL="0" marR="8920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9943201"/>
                  </a:ext>
                </a:extLst>
              </a:tr>
              <a:tr h="481013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 Industry</a:t>
                      </a:r>
                    </a:p>
                  </a:txBody>
                  <a:tcPr marL="178408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6.</a:t>
                      </a:r>
                      <a:r>
                        <a:rPr lang="pl-PL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8</a:t>
                      </a:r>
                      <a:endParaRPr lang="en-US" sz="2000" b="1" i="0" u="none" strike="noStrike" dirty="0">
                        <a:solidFill>
                          <a:schemeClr val="bg1"/>
                        </a:solidFill>
                        <a:effectLst/>
                        <a:latin typeface="Aktiv Grotesk" panose="020B05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7.</a:t>
                      </a:r>
                      <a:r>
                        <a:rPr lang="pl-PL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Aktiv Grotesk" panose="020B0504020202020204" pitchFamily="34" charset="0"/>
                        </a:rPr>
                        <a:t>2</a:t>
                      </a:r>
                      <a:endParaRPr lang="en-US" sz="2000" b="1" i="0" u="none" strike="noStrike" dirty="0">
                        <a:solidFill>
                          <a:schemeClr val="bg1"/>
                        </a:solidFill>
                        <a:effectLst/>
                        <a:latin typeface="Aktiv Grotesk" panose="020B0504020202020204" pitchFamily="34" charset="0"/>
                      </a:endParaRPr>
                    </a:p>
                  </a:txBody>
                  <a:tcPr marL="0" marR="8920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alpha val="34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9210682"/>
                  </a:ext>
                </a:extLst>
              </a:tr>
            </a:tbl>
          </a:graphicData>
        </a:graphic>
      </p:graphicFrame>
      <p:sp>
        <p:nvSpPr>
          <p:cNvPr id="12" name="Date Placeholder 2">
            <a:extLst>
              <a:ext uri="{FF2B5EF4-FFF2-40B4-BE49-F238E27FC236}">
                <a16:creationId xmlns:a16="http://schemas.microsoft.com/office/drawing/2014/main" id="{A5BA7A6F-54BC-2788-D820-2E52C0CA7E8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6286500" y="6162324"/>
            <a:ext cx="2743200" cy="365125"/>
          </a:xfrm>
        </p:spPr>
        <p:txBody>
          <a:bodyPr/>
          <a:lstStyle/>
          <a:p>
            <a:fld id="{F82CEB40-7C69-47E5-9106-E566935D3F53}" type="datetime3">
              <a:rPr lang="en-US" smtClean="0">
                <a:solidFill>
                  <a:schemeClr val="bg1"/>
                </a:solidFill>
              </a:rPr>
              <a:pPr/>
              <a:t>14 June 2025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3FC11A02-956F-6E75-BBC5-1E10939A5F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55370" y="6162324"/>
            <a:ext cx="4950130" cy="365125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ATA Sustainability and Economics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EFD7B5D1-5390-D970-62D3-E48F9D73A8C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81000" y="6162324"/>
            <a:ext cx="457200" cy="365125"/>
          </a:xfrm>
        </p:spPr>
        <p:txBody>
          <a:bodyPr/>
          <a:lstStyle/>
          <a:p>
            <a:fld id="{1A9E565A-6679-4A67-8FB7-14EA342FD6E1}" type="slidenum">
              <a:rPr lang="en-US" smtClean="0">
                <a:solidFill>
                  <a:schemeClr val="bg1"/>
                </a:solidFill>
              </a:rPr>
              <a:pPr/>
              <a:t>34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325941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B007B903-4224-CD2D-8405-308D9F2904E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 l="20334" r="20332" b="-1"/>
          <a:stretch/>
        </p:blipFill>
        <p:spPr>
          <a:xfrm>
            <a:off x="6096001" y="10"/>
            <a:ext cx="6096000" cy="6857990"/>
          </a:xfrm>
          <a:prstGeom prst="rect">
            <a:avLst/>
          </a:prstGeom>
          <a:noFill/>
        </p:spPr>
      </p:pic>
      <p:sp>
        <p:nvSpPr>
          <p:cNvPr id="2" name="Subtitle 1">
            <a:extLst>
              <a:ext uri="{FF2B5EF4-FFF2-40B4-BE49-F238E27FC236}">
                <a16:creationId xmlns:a16="http://schemas.microsoft.com/office/drawing/2014/main" id="{CC7FA4F5-5C4B-284F-126C-698A7C2AB0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4472247"/>
            <a:ext cx="5524500" cy="1280852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47163711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62F6F6-2C5A-CC27-13BB-1423822893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62F6F6-2C5A-CC27-13BB-142382289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4ABC08D7-B527-728B-00EB-EA6292A91F8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114300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E58D535-B78B-FC5E-997D-DBEC1BDB64E5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dirty="0"/>
              <a:t>Source: IATA Sustainability and Economics</a:t>
            </a:r>
            <a:r>
              <a:rPr lang="pl-PL" dirty="0"/>
              <a:t>, </a:t>
            </a:r>
            <a:r>
              <a:rPr lang="en-US" dirty="0"/>
              <a:t>UNCT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04FFB7-C93B-A6B9-6B45-0BCB2CE050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ur world is now 67% servic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0D386B-9E24-D544-629F-ECFAA4DD9D5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98937FE-5C9B-40C9-8C55-48EB04CA346C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969A702D-B564-5EC0-AAA0-23E41DE18EB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IATA Sustainability &amp; Econom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8C69C4-CC64-F27B-9A4F-3136C47DD20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2E5E686-9FC5-604D-8413-6789ED12C8D7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1998130-F1BD-BCD8-E595-11BAFA6BDB9A}"/>
              </a:ext>
            </a:extLst>
          </p:cNvPr>
          <p:cNvSpPr>
            <a:spLocks noGrp="1"/>
          </p:cNvSpPr>
          <p:nvPr>
            <p:ph idx="19"/>
          </p:nvPr>
        </p:nvSpPr>
        <p:spPr/>
        <p:txBody>
          <a:bodyPr/>
          <a:lstStyle/>
          <a:p>
            <a:r>
              <a:rPr lang="pl-PL"/>
              <a:t>Share of global GDP by sector, 1970 – 2022, %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8EF79A1-CE3E-05AC-5CBE-529BB4B147BD}"/>
              </a:ext>
            </a:extLst>
          </p:cNvPr>
          <p:cNvSpPr txBox="1"/>
          <p:nvPr/>
        </p:nvSpPr>
        <p:spPr>
          <a:xfrm>
            <a:off x="9436359" y="2168143"/>
            <a:ext cx="256280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2022:</a:t>
            </a:r>
          </a:p>
          <a:p>
            <a:r>
              <a:rPr lang="en-US"/>
              <a:t>Agri: 4.6%</a:t>
            </a:r>
          </a:p>
          <a:p>
            <a:r>
              <a:rPr lang="en-US"/>
              <a:t>Industry: 28.8%</a:t>
            </a:r>
          </a:p>
          <a:p>
            <a:r>
              <a:rPr lang="en-US"/>
              <a:t>Services: </a:t>
            </a:r>
            <a:r>
              <a:rPr lang="en-US" b="1">
                <a:solidFill>
                  <a:schemeClr val="accent1"/>
                </a:solidFill>
              </a:rPr>
              <a:t>66.6%</a:t>
            </a:r>
          </a:p>
          <a:p>
            <a:endParaRPr lang="en-US"/>
          </a:p>
          <a:p>
            <a:r>
              <a:rPr lang="en-US" b="1">
                <a:solidFill>
                  <a:schemeClr val="accent1"/>
                </a:solidFill>
              </a:rPr>
              <a:t>1970:</a:t>
            </a:r>
          </a:p>
          <a:p>
            <a:r>
              <a:rPr lang="en-US"/>
              <a:t>Agri: 9.4%</a:t>
            </a:r>
          </a:p>
          <a:p>
            <a:r>
              <a:rPr lang="en-US"/>
              <a:t>Industry: 37.3%</a:t>
            </a:r>
          </a:p>
          <a:p>
            <a:r>
              <a:rPr lang="en-US"/>
              <a:t>Services: </a:t>
            </a:r>
            <a:r>
              <a:rPr lang="en-US" b="1">
                <a:solidFill>
                  <a:schemeClr val="accent1"/>
                </a:solidFill>
              </a:rPr>
              <a:t>53.3%</a:t>
            </a:r>
          </a:p>
        </p:txBody>
      </p:sp>
    </p:spTree>
    <p:extLst>
      <p:ext uri="{BB962C8B-B14F-4D97-AF65-F5344CB8AC3E}">
        <p14:creationId xmlns:p14="http://schemas.microsoft.com/office/powerpoint/2010/main" val="246048178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ontent Placeholder 9">
            <a:extLst>
              <a:ext uri="{FF2B5EF4-FFF2-40B4-BE49-F238E27FC236}">
                <a16:creationId xmlns:a16="http://schemas.microsoft.com/office/drawing/2014/main" id="{8042697E-0200-7189-873C-864BB6EA1CA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114300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942AA1-08D5-5954-6647-9CC843803302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dirty="0"/>
              <a:t>Source: IATA Sustainability and Economics</a:t>
            </a:r>
            <a:r>
              <a:rPr lang="pl-PL" dirty="0"/>
              <a:t>,</a:t>
            </a:r>
            <a:r>
              <a:rPr lang="en-US" dirty="0"/>
              <a:t> World Bank, World Development Indicators, </a:t>
            </a:r>
            <a:r>
              <a:rPr lang="pl-PL" dirty="0"/>
              <a:t>Macrobond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458B0E-038F-BBC8-2DBA-3C4201B7B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world</a:t>
            </a:r>
            <a:r>
              <a:rPr lang="pl-PL"/>
              <a:t> now</a:t>
            </a:r>
            <a:r>
              <a:rPr lang="en-US"/>
              <a:t> is a service economy</a:t>
            </a:r>
          </a:p>
        </p:txBody>
      </p:sp>
      <p:sp>
        <p:nvSpPr>
          <p:cNvPr id="14" name="Date Placeholder 5">
            <a:extLst>
              <a:ext uri="{FF2B5EF4-FFF2-40B4-BE49-F238E27FC236}">
                <a16:creationId xmlns:a16="http://schemas.microsoft.com/office/drawing/2014/main" id="{DAF33DF3-34EC-8F81-CECC-8642CEF045D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82CDAE-C093-AF80-2602-1F0D6FD36C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ATA Sustainability and Economic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A64CA2-E0E8-A027-AC46-633F63E83FD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DD07374-4DD5-59C9-5834-1D5D53F2D8C4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F4D77AE-EAEC-7648-164B-939F2DA033A0}"/>
              </a:ext>
            </a:extLst>
          </p:cNvPr>
          <p:cNvSpPr>
            <a:spLocks noGrp="1"/>
          </p:cNvSpPr>
          <p:nvPr>
            <p:ph idx="19"/>
          </p:nvPr>
        </p:nvSpPr>
        <p:spPr/>
        <p:txBody>
          <a:bodyPr/>
          <a:lstStyle/>
          <a:p>
            <a:r>
              <a:rPr lang="en-US"/>
              <a:t>Services, % of GDP, latest year available</a:t>
            </a:r>
          </a:p>
        </p:txBody>
      </p:sp>
    </p:spTree>
    <p:extLst>
      <p:ext uri="{BB962C8B-B14F-4D97-AF65-F5344CB8AC3E}">
        <p14:creationId xmlns:p14="http://schemas.microsoft.com/office/powerpoint/2010/main" val="6406582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A27FC437-5D4E-4BB2-83D0-94FF866BB220}"/>
                  </a:ext>
                </a:extLst>
              </p:cNvPr>
              <p:cNvGraphicFramePr/>
              <p:nvPr/>
            </p:nvGraphicFramePr>
            <p:xfrm>
              <a:off x="-1143001" y="938551"/>
              <a:ext cx="7981951" cy="5514975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8" name="Chart 7">
                <a:extLst>
                  <a:ext uri="{FF2B5EF4-FFF2-40B4-BE49-F238E27FC236}">
                    <a16:creationId xmlns:a16="http://schemas.microsoft.com/office/drawing/2014/main" id="{A27FC437-5D4E-4BB2-83D0-94FF866BB22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1143001" y="938551"/>
                <a:ext cx="7981951" cy="5514975"/>
              </a:xfrm>
              <a:prstGeom prst="rect">
                <a:avLst/>
              </a:prstGeom>
            </p:spPr>
          </p:pic>
        </mc:Fallback>
      </mc:AlternateContent>
      <p:sp>
        <p:nvSpPr>
          <p:cNvPr id="9" name="Rectangle 8">
            <a:extLst>
              <a:ext uri="{FF2B5EF4-FFF2-40B4-BE49-F238E27FC236}">
                <a16:creationId xmlns:a16="http://schemas.microsoft.com/office/drawing/2014/main" id="{F5BC4C93-F8FF-823B-58A3-366962717F0A}"/>
              </a:ext>
            </a:extLst>
          </p:cNvPr>
          <p:cNvSpPr/>
          <p:nvPr/>
        </p:nvSpPr>
        <p:spPr>
          <a:xfrm>
            <a:off x="0" y="6017698"/>
            <a:ext cx="8370665" cy="8403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5891373-49D3-35E6-FD3E-48A27A914E9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88714" y="5881349"/>
            <a:ext cx="11422286" cy="272699"/>
          </a:xfrm>
        </p:spPr>
        <p:txBody>
          <a:bodyPr/>
          <a:lstStyle/>
          <a:p>
            <a:r>
              <a:rPr lang="en-US" dirty="0"/>
              <a:t>Source: IATA Sustainability and Economics, World Bank, World Development Indicator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FE962E-317D-68B1-ACBA-F308F22065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59187"/>
            <a:ext cx="11429324" cy="473075"/>
          </a:xfrm>
        </p:spPr>
        <p:txBody>
          <a:bodyPr/>
          <a:lstStyle/>
          <a:p>
            <a:r>
              <a:rPr lang="en-US"/>
              <a:t>Unemployment is a big concern in Africa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97D00CC7-66F1-73E7-9E33-FA427ACEE85E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6286500" y="6162324"/>
            <a:ext cx="2743200" cy="365125"/>
          </a:xfrm>
        </p:spPr>
        <p:txBody>
          <a:bodyPr/>
          <a:lstStyle/>
          <a:p>
            <a:fld id="{198937FE-5C9B-40C9-8C55-48EB04CA346C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C6D6F98F-1BF2-EB29-A99D-DC7942B0F07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55370" y="6162324"/>
            <a:ext cx="4950130" cy="365125"/>
          </a:xfrm>
        </p:spPr>
        <p:txBody>
          <a:bodyPr/>
          <a:lstStyle/>
          <a:p>
            <a:r>
              <a:rPr lang="en-US" noProof="0" dirty="0"/>
              <a:t>IATA Sustainability and Econom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F9C4A9-4C09-CEA4-25D6-683987A405E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81000" y="6162324"/>
            <a:ext cx="457200" cy="365125"/>
          </a:xfrm>
        </p:spPr>
        <p:txBody>
          <a:bodyPr/>
          <a:lstStyle/>
          <a:p>
            <a:fld id="{1A9E565A-6679-4A67-8FB7-14EA342FD6E1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9E16C29-1D54-1CAD-973B-121C2562BC44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89155" y="1064101"/>
            <a:ext cx="11430000" cy="419100"/>
          </a:xfrm>
        </p:spPr>
        <p:txBody>
          <a:bodyPr/>
          <a:lstStyle/>
          <a:p>
            <a:r>
              <a:rPr lang="en-US" dirty="0"/>
              <a:t>Unemployment rate, % of labor force, 2024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DF26413-8487-2203-83BD-F5EC60FEA9F7}"/>
              </a:ext>
            </a:extLst>
          </p:cNvPr>
          <p:cNvSpPr txBox="1">
            <a:spLocks/>
          </p:cNvSpPr>
          <p:nvPr/>
        </p:nvSpPr>
        <p:spPr>
          <a:xfrm>
            <a:off x="6287176" y="1200150"/>
            <a:ext cx="5523824" cy="4552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en-US" sz="1400" b="1" dirty="0"/>
              <a:t>High unemployment rates </a:t>
            </a:r>
            <a:r>
              <a:rPr lang="en-US" sz="1400" dirty="0"/>
              <a:t>can significantly impact airlines operating in the region in several way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ith high unemployment, many people have </a:t>
            </a:r>
            <a:r>
              <a:rPr lang="en-US" sz="1400" b="1" dirty="0"/>
              <a:t>less disposable income</a:t>
            </a:r>
            <a:r>
              <a:rPr lang="en-US" sz="1400" dirty="0"/>
              <a:t>, leading to </a:t>
            </a:r>
            <a:r>
              <a:rPr lang="en-US" sz="1400" b="1" dirty="0"/>
              <a:t>decreased demand for air travel</a:t>
            </a:r>
            <a:r>
              <a:rPr lang="en-US" sz="1400" dirty="0"/>
              <a:t>. This can result in lower passenger numbers and reduced revenue for airlin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igh unemployment often correlates with economic activity, which can </a:t>
            </a:r>
            <a:r>
              <a:rPr lang="en-US" sz="1400" b="1" dirty="0"/>
              <a:t>reduce business travel</a:t>
            </a:r>
            <a:r>
              <a:rPr lang="en-US" sz="1400" dirty="0"/>
              <a:t>. Business class and premium services, which are higher-margin products, sell less, impacting the margi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igh unemployment can </a:t>
            </a:r>
            <a:r>
              <a:rPr lang="en-US" sz="1400" b="1" dirty="0"/>
              <a:t>deter foreign investment </a:t>
            </a:r>
            <a:r>
              <a:rPr lang="en-US" sz="1400" dirty="0"/>
              <a:t>in the aviation sector, limiting airlines' growth and expansion opportunit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irlines might need to invest more in training and development programs to raise employees’ skill leve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espite high unemployment, there can be a </a:t>
            </a:r>
            <a:r>
              <a:rPr lang="en-US" sz="1400" b="1" dirty="0"/>
              <a:t>shortage of skilled workers </a:t>
            </a:r>
            <a:r>
              <a:rPr lang="en-US" sz="1400" dirty="0"/>
              <a:t>in specific areas such as aviation, engineering, and technical roles. This mismatch can make it challenging for airlines to find qualified tal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o fill the skill gap, airlines might need to rely on expatriates, which can be more costly and logistically challenging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E60A70F-3757-F492-AD4A-6E39D6894A3C}"/>
              </a:ext>
            </a:extLst>
          </p:cNvPr>
          <p:cNvSpPr/>
          <p:nvPr/>
        </p:nvSpPr>
        <p:spPr>
          <a:xfrm>
            <a:off x="381000" y="5067300"/>
            <a:ext cx="5524500" cy="5459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BD1883C-465D-4F26-C4A2-0EE27B130D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43190" y="4330683"/>
            <a:ext cx="1143160" cy="1247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85779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F24F86B-9273-8DE6-B14F-69877B3B59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0999" y="1485900"/>
            <a:ext cx="4212000" cy="2387600"/>
          </a:xfrm>
        </p:spPr>
        <p:txBody>
          <a:bodyPr/>
          <a:lstStyle/>
          <a:p>
            <a:r>
              <a:rPr lang="en-US" sz="4400" dirty="0"/>
              <a:t>2. </a:t>
            </a:r>
            <a:r>
              <a:rPr lang="pl-PL" sz="4400" dirty="0"/>
              <a:t>Tariff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A17E79-00B5-15AF-3D5C-C0CBCFEA4BF4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81000" y="6162324"/>
            <a:ext cx="2743200" cy="365125"/>
          </a:xfrm>
        </p:spPr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21AD03D-D4F3-2FF2-1269-DB09C951F0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4472247"/>
            <a:ext cx="4212000" cy="1280852"/>
          </a:xfrm>
        </p:spPr>
        <p:txBody>
          <a:bodyPr/>
          <a:lstStyle/>
          <a:p>
            <a:endParaRPr lang="en-US"/>
          </a:p>
        </p:txBody>
      </p:sp>
      <p:pic>
        <p:nvPicPr>
          <p:cNvPr id="13" name="Picture Placeholder 10">
            <a:extLst>
              <a:ext uri="{FF2B5EF4-FFF2-40B4-BE49-F238E27FC236}">
                <a16:creationId xmlns:a16="http://schemas.microsoft.com/office/drawing/2014/main" id="{CD10A44F-188C-6347-9627-2F7A7FF2FA1D}"/>
              </a:ext>
            </a:extLst>
          </p:cNvPr>
          <p:cNvPicPr>
            <a:picLocks noGrp="1" noChangeAspect="1"/>
          </p:cNvPicPr>
          <p:nvPr>
            <p:ph type="pic" sz="quarter" idx="13"/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2" r="31764"/>
          <a:stretch/>
        </p:blipFill>
        <p:spPr>
          <a:xfrm>
            <a:off x="4619057" y="0"/>
            <a:ext cx="6849789" cy="6858000"/>
          </a:xfrm>
        </p:spPr>
      </p:pic>
    </p:spTree>
    <p:extLst>
      <p:ext uri="{BB962C8B-B14F-4D97-AF65-F5344CB8AC3E}">
        <p14:creationId xmlns:p14="http://schemas.microsoft.com/office/powerpoint/2010/main" val="60241450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B674E06A-E210-E54F-C3C8-C4772687563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286500" y="1968880"/>
            <a:ext cx="5524500" cy="372034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DDA8A7E0-F33A-6EBB-321D-4BE82B8093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ariff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95DF3221-D531-5762-79AE-2C0706FD0D6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Trade facts</a:t>
            </a:r>
          </a:p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6E1FC27-968C-653B-C707-89C41D3B0B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ATA Sustainability and Economic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EFB60D5-3BA0-EE5F-F0F2-8D8517F61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6BE3830-A3D2-F68A-BDF8-A0B5A5A1B5F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94215" y="5779490"/>
            <a:ext cx="4865621" cy="257176"/>
          </a:xfrm>
        </p:spPr>
        <p:txBody>
          <a:bodyPr/>
          <a:lstStyle/>
          <a:p>
            <a:r>
              <a:rPr lang="en-US"/>
              <a:t>Source: IATA Sustainability and Economics, “Global Trade Update”, UNCTAD, March 2025 (left), WTO (right)</a:t>
            </a:r>
          </a:p>
          <a:p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BF74A2D-78F2-D2B6-803F-B145E2B05926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9B5004E-C764-C0B6-CB5A-0675B57C177D}"/>
              </a:ext>
            </a:extLst>
          </p:cNvPr>
          <p:cNvSpPr>
            <a:spLocks noGrp="1"/>
          </p:cNvSpPr>
          <p:nvPr>
            <p:ph idx="19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World Trade, Value Added, Share of total, %, 2018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DACB085-31E9-DD95-4894-2580C14C4809}"/>
              </a:ext>
            </a:extLst>
          </p:cNvPr>
          <p:cNvSpPr txBox="1"/>
          <p:nvPr/>
        </p:nvSpPr>
        <p:spPr>
          <a:xfrm>
            <a:off x="552290" y="1927632"/>
            <a:ext cx="5543710" cy="3866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600"/>
              <a:t>Global trade represented a record USD 33 trillion in 2024, adding 3.7% from 2023. 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600"/>
              <a:t>Trade in services grew by 9% in 2024, or USD 700 billion, while merchandise trade grew by 2%, and USD 500 billion. 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600"/>
              <a:t>2/3 of international trade is not subject to tariff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95FD1BAD-C23C-D704-BA5D-C18B3098A346}"/>
              </a:ext>
            </a:extLst>
          </p:cNvPr>
          <p:cNvSpPr txBox="1">
            <a:spLocks/>
          </p:cNvSpPr>
          <p:nvPr/>
        </p:nvSpPr>
        <p:spPr>
          <a:xfrm>
            <a:off x="5758328" y="1295401"/>
            <a:ext cx="6052671" cy="419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accent1"/>
              </a:solidFill>
            </a:endParaRP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9CBFFF70-7041-2248-C214-150738B7B2E1}"/>
              </a:ext>
            </a:extLst>
          </p:cNvPr>
          <p:cNvSpPr txBox="1">
            <a:spLocks/>
          </p:cNvSpPr>
          <p:nvPr/>
        </p:nvSpPr>
        <p:spPr>
          <a:xfrm>
            <a:off x="552290" y="1295401"/>
            <a:ext cx="6052671" cy="419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accent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E4EBA845-56AA-1CE4-C497-5E9BCA889C24}"/>
              </a:ext>
            </a:extLst>
          </p:cNvPr>
          <p:cNvSpPr/>
          <p:nvPr/>
        </p:nvSpPr>
        <p:spPr>
          <a:xfrm>
            <a:off x="8564401" y="3259987"/>
            <a:ext cx="1222048" cy="888762"/>
          </a:xfrm>
          <a:prstGeom prst="ellipse">
            <a:avLst/>
          </a:prstGeom>
          <a:noFill/>
          <a:ln w="158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17360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3084C6B6-791D-7D68-0B74-3CB08AD7D6E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88714" y="5762964"/>
            <a:ext cx="11422286" cy="263143"/>
          </a:xfrm>
        </p:spPr>
        <p:txBody>
          <a:bodyPr/>
          <a:lstStyle/>
          <a:p>
            <a:r>
              <a:rPr lang="en-US" dirty="0"/>
              <a:t>Source: IATA Sustainability and Economics, World Bank World Integrated Trade Solution (WITS) and Global Trade</a:t>
            </a:r>
            <a:r>
              <a:rPr lang="pl-PL" dirty="0"/>
              <a:t> </a:t>
            </a:r>
            <a:r>
              <a:rPr lang="en-US" dirty="0"/>
              <a:t>Tracker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F43C397-556B-1A37-1E2D-4C88A27F9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59187"/>
            <a:ext cx="11429324" cy="473075"/>
          </a:xfrm>
        </p:spPr>
        <p:txBody>
          <a:bodyPr/>
          <a:lstStyle/>
          <a:p>
            <a:r>
              <a:rPr lang="en-US" sz="3200"/>
              <a:t>Higher tariff could increase costs across all shipping method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7E854C-CE93-843A-C391-0500D7A323A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6286500" y="6162324"/>
            <a:ext cx="2743200" cy="365125"/>
          </a:xfrm>
        </p:spPr>
        <p:txBody>
          <a:bodyPr/>
          <a:lstStyle/>
          <a:p>
            <a:fld id="{D8F5EBA1-C1C2-4F6F-970D-CFE4A81E1DB0}" type="datetime3">
              <a:rPr lang="en-US" smtClean="0"/>
              <a:pPr/>
              <a:t>14 June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DC24EF-2AEB-7B6E-56FE-D55BDED055D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55370" y="6162324"/>
            <a:ext cx="4950130" cy="365125"/>
          </a:xfrm>
        </p:spPr>
        <p:txBody>
          <a:bodyPr/>
          <a:lstStyle/>
          <a:p>
            <a:r>
              <a:rPr lang="en-US"/>
              <a:t>IATA Sustainability </a:t>
            </a:r>
            <a:r>
              <a:rPr lang="pl-PL"/>
              <a:t>and</a:t>
            </a:r>
            <a:r>
              <a:rPr lang="en-US"/>
              <a:t> Economic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9A7A92-D1AC-34DC-F738-F48B8F570F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81000" y="6162324"/>
            <a:ext cx="457200" cy="365125"/>
          </a:xfrm>
        </p:spPr>
        <p:txBody>
          <a:bodyPr/>
          <a:lstStyle/>
          <a:p>
            <a:fld id="{1A9E565A-6679-4A67-8FB7-14EA342FD6E1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0DBFB1A-2242-4596-1498-95293B24965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844924"/>
            <a:ext cx="11430000" cy="432547"/>
          </a:xfrm>
        </p:spPr>
        <p:txBody>
          <a:bodyPr/>
          <a:lstStyle/>
          <a:p>
            <a:r>
              <a:rPr lang="en-US"/>
              <a:t>And reduce the value-to-weight ratio</a:t>
            </a:r>
          </a:p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F99AD47-A322-927E-2E41-1DE93E68C3D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81000" y="1295401"/>
            <a:ext cx="11430000" cy="419100"/>
          </a:xfrm>
        </p:spPr>
        <p:txBody>
          <a:bodyPr/>
          <a:lstStyle/>
          <a:p>
            <a:r>
              <a:rPr lang="en-US" sz="1900"/>
              <a:t>Tariff rates and air transport share by merchandise category for US imports from China in 2023</a:t>
            </a:r>
          </a:p>
        </p:txBody>
      </p:sp>
      <p:graphicFrame>
        <p:nvGraphicFramePr>
          <p:cNvPr id="15" name="Content Placeholder 11">
            <a:extLst>
              <a:ext uri="{FF2B5EF4-FFF2-40B4-BE49-F238E27FC236}">
                <a16:creationId xmlns:a16="http://schemas.microsoft.com/office/drawing/2014/main" id="{CEB171C9-4B7F-42E7-0341-BEE2E768A8A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905000"/>
          <a:ext cx="11430000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4846929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otrebskib\AppData\Local\Temp\Templafy\PowerPointVsto\Assets\83b0d8e2-176e-4524-af7e-08e7f752234f.jp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wardejnm\AppData\Local\Temp\Templafy\PowerPointVsto\Assets\31c77faa-54df-428b-b9e6-bcbe377d2a44.jp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wardejnm\AppData\Local\Temp\Templafy\PowerPointVsto\Assets\7236ca66-34c3-46ca-bae1-5d3f0dadee91.jp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wardejnm\AppData\Local\Temp\Templafy\PowerPointVsto\Assets\7236ca66-34c3-46ca-bae1-5d3f0dadee91.jp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wardejnm\AppData\Local\Temp\Templafy\PowerPointVsto\Assets\e0007bfe-e6a4-4c29-b2a9-2a8acec0540d.jp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wardejnm\AppData\Local\Temp\Templafy\PowerPointVsto\Assets\5d57d343-5ec1-4d0e-ad07-1e1e0bc7654f.jpeg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Overrid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Overrid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Overrid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Overrid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Overrid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Override15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Override16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Override17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Override18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Override19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Overrid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Override2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Overrid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Overrid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Overrid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Overrid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Overrid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Overrid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Overrid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theme1.xml><?xml version="1.0" encoding="utf-8"?>
<a:theme xmlns:a="http://schemas.openxmlformats.org/drawingml/2006/main" name="1_IATA_Master">
  <a:themeElements>
    <a:clrScheme name="IATA">
      <a:dk1>
        <a:sysClr val="windowText" lastClr="000000"/>
      </a:dk1>
      <a:lt1>
        <a:sysClr val="window" lastClr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ATA_Master.potx" id="{1CE0BA84-D5C2-4CD9-B5EF-243AC7689F57}" vid="{08549F90-7BF0-4A77-9573-203BE325657E}"/>
    </a:ext>
  </a:extLst>
</a:theme>
</file>

<file path=ppt/theme/theme2.xml><?xml version="1.0" encoding="utf-8"?>
<a:theme xmlns:a="http://schemas.openxmlformats.org/drawingml/2006/main" name="Office Theme">
  <a:themeElements>
    <a:clrScheme name="IATA">
      <a:dk1>
        <a:sysClr val="windowText" lastClr="000000"/>
      </a:dk1>
      <a:lt1>
        <a:sysClr val="window" lastClr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 Notes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ATA">
      <a:dk1>
        <a:sysClr val="windowText" lastClr="000000"/>
      </a:dk1>
      <a:lt1>
        <a:sysClr val="window" lastClr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 Handouts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IATA colou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E6E6E6"/>
    </a:accent4>
    <a:accent5>
      <a:srgbClr val="000000"/>
    </a:accent5>
    <a:accent6>
      <a:srgbClr val="289632"/>
    </a:accent6>
    <a:hlink>
      <a:srgbClr val="0415B4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ppt/theme/themeOverride10.xml><?xml version="1.0" encoding="utf-8"?>
<a:themeOverride xmlns:a="http://schemas.openxmlformats.org/drawingml/2006/main">
  <a:clrScheme name="IATA colo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5A14A0"/>
    </a:accent4>
    <a:accent5>
      <a:srgbClr val="F046C8"/>
    </a:accent5>
    <a:accent6>
      <a:srgbClr val="289632"/>
    </a:accent6>
    <a:hlink>
      <a:srgbClr val="5A14A0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ppt/theme/themeOverride11.xml><?xml version="1.0" encoding="utf-8"?>
<a:themeOverride xmlns:a="http://schemas.openxmlformats.org/drawingml/2006/main">
  <a:clrScheme name="IATA colou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E6E6E6"/>
    </a:accent4>
    <a:accent5>
      <a:srgbClr val="000000"/>
    </a:accent5>
    <a:accent6>
      <a:srgbClr val="289632"/>
    </a:accent6>
    <a:hlink>
      <a:srgbClr val="0415B4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ppt/theme/themeOverride12.xml><?xml version="1.0" encoding="utf-8"?>
<a:themeOverride xmlns:a="http://schemas.openxmlformats.org/drawingml/2006/main">
  <a:clrScheme name="IATA colou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E6E6E6"/>
    </a:accent4>
    <a:accent5>
      <a:srgbClr val="000000"/>
    </a:accent5>
    <a:accent6>
      <a:srgbClr val="289632"/>
    </a:accent6>
    <a:hlink>
      <a:srgbClr val="0415B4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ppt/theme/themeOverride13.xml><?xml version="1.0" encoding="utf-8"?>
<a:themeOverride xmlns:a="http://schemas.openxmlformats.org/drawingml/2006/main">
  <a:clrScheme name="IATA colou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E6E6E6"/>
    </a:accent4>
    <a:accent5>
      <a:srgbClr val="000000"/>
    </a:accent5>
    <a:accent6>
      <a:srgbClr val="289632"/>
    </a:accent6>
    <a:hlink>
      <a:srgbClr val="0415B4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ppt/theme/themeOverride14.xml><?xml version="1.0" encoding="utf-8"?>
<a:themeOverride xmlns:a="http://schemas.openxmlformats.org/drawingml/2006/main">
  <a:clrScheme name="IATA colou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E6E6E6"/>
    </a:accent4>
    <a:accent5>
      <a:srgbClr val="000000"/>
    </a:accent5>
    <a:accent6>
      <a:srgbClr val="289632"/>
    </a:accent6>
    <a:hlink>
      <a:srgbClr val="0415B4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ppt/theme/themeOverride15.xml><?xml version="1.0" encoding="utf-8"?>
<a:themeOverride xmlns:a="http://schemas.openxmlformats.org/drawingml/2006/main">
  <a:clrScheme name="IATA colou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E6E6E6"/>
    </a:accent4>
    <a:accent5>
      <a:srgbClr val="000000"/>
    </a:accent5>
    <a:accent6>
      <a:srgbClr val="289632"/>
    </a:accent6>
    <a:hlink>
      <a:srgbClr val="0415B4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ppt/theme/themeOverride16.xml><?xml version="1.0" encoding="utf-8"?>
<a:themeOverride xmlns:a="http://schemas.openxmlformats.org/drawingml/2006/main">
  <a:clrScheme name="IATA colou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E6E6E6"/>
    </a:accent4>
    <a:accent5>
      <a:srgbClr val="000000"/>
    </a:accent5>
    <a:accent6>
      <a:srgbClr val="289632"/>
    </a:accent6>
    <a:hlink>
      <a:srgbClr val="0415B4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ppt/theme/themeOverride17.xml><?xml version="1.0" encoding="utf-8"?>
<a:themeOverride xmlns:a="http://schemas.openxmlformats.org/drawingml/2006/main">
  <a:clrScheme name="IATA colo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5A14A0"/>
    </a:accent4>
    <a:accent5>
      <a:srgbClr val="F046C8"/>
    </a:accent5>
    <a:accent6>
      <a:srgbClr val="289632"/>
    </a:accent6>
    <a:hlink>
      <a:srgbClr val="5A14A0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ppt/theme/themeOverride18.xml><?xml version="1.0" encoding="utf-8"?>
<a:themeOverride xmlns:a="http://schemas.openxmlformats.org/drawingml/2006/main">
  <a:clrScheme name="IATA colou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E6E6E6"/>
    </a:accent4>
    <a:accent5>
      <a:srgbClr val="000000"/>
    </a:accent5>
    <a:accent6>
      <a:srgbClr val="289632"/>
    </a:accent6>
    <a:hlink>
      <a:srgbClr val="0415B4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ppt/theme/themeOverride19.xml><?xml version="1.0" encoding="utf-8"?>
<a:themeOverride xmlns:a="http://schemas.openxmlformats.org/drawingml/2006/main">
  <a:clrScheme name="IATA colou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E6E6E6"/>
    </a:accent4>
    <a:accent5>
      <a:srgbClr val="000000"/>
    </a:accent5>
    <a:accent6>
      <a:srgbClr val="289632"/>
    </a:accent6>
    <a:hlink>
      <a:srgbClr val="0415B4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ppt/theme/themeOverride2.xml><?xml version="1.0" encoding="utf-8"?>
<a:themeOverride xmlns:a="http://schemas.openxmlformats.org/drawingml/2006/main">
  <a:clrScheme name="IATA colou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E6E6E6"/>
    </a:accent4>
    <a:accent5>
      <a:srgbClr val="000000"/>
    </a:accent5>
    <a:accent6>
      <a:srgbClr val="289632"/>
    </a:accent6>
    <a:hlink>
      <a:srgbClr val="0415B4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ppt/theme/themeOverride20.xml><?xml version="1.0" encoding="utf-8"?>
<a:themeOverride xmlns:a="http://schemas.openxmlformats.org/drawingml/2006/main">
  <a:clrScheme name="IATA colors">
    <a:dk1>
      <a:srgbClr val="000000"/>
    </a:dk1>
    <a:lt1>
      <a:srgbClr val="FFFFFF"/>
    </a:lt1>
    <a:dk2>
      <a:srgbClr val="000000"/>
    </a:dk2>
    <a:lt2>
      <a:srgbClr val="FFFFFF"/>
    </a:lt2>
    <a:accent1>
      <a:srgbClr val="1E32FA"/>
    </a:accent1>
    <a:accent2>
      <a:srgbClr val="F04632"/>
    </a:accent2>
    <a:accent3>
      <a:srgbClr val="FAC832"/>
    </a:accent3>
    <a:accent4>
      <a:srgbClr val="000000"/>
    </a:accent4>
    <a:accent5>
      <a:srgbClr val="289632"/>
    </a:accent5>
    <a:accent6>
      <a:srgbClr val="F046C8"/>
    </a:accent6>
    <a:hlink>
      <a:srgbClr val="1E32FA"/>
    </a:hlink>
    <a:folHlink>
      <a:srgbClr val="FAC83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IATA colou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E6E6E6"/>
    </a:accent4>
    <a:accent5>
      <a:srgbClr val="000000"/>
    </a:accent5>
    <a:accent6>
      <a:srgbClr val="289632"/>
    </a:accent6>
    <a:hlink>
      <a:srgbClr val="0415B4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ppt/theme/themeOverride3.xml><?xml version="1.0" encoding="utf-8"?>
<a:themeOverride xmlns:a="http://schemas.openxmlformats.org/drawingml/2006/main">
  <a:clrScheme name="IATA colou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E6E6E6"/>
    </a:accent4>
    <a:accent5>
      <a:srgbClr val="000000"/>
    </a:accent5>
    <a:accent6>
      <a:srgbClr val="289632"/>
    </a:accent6>
    <a:hlink>
      <a:srgbClr val="0415B4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ppt/theme/themeOverride4.xml><?xml version="1.0" encoding="utf-8"?>
<a:themeOverride xmlns:a="http://schemas.openxmlformats.org/drawingml/2006/main">
  <a:clrScheme name="IATA colou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E6E6E6"/>
    </a:accent4>
    <a:accent5>
      <a:srgbClr val="000000"/>
    </a:accent5>
    <a:accent6>
      <a:srgbClr val="289632"/>
    </a:accent6>
    <a:hlink>
      <a:srgbClr val="0415B4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ppt/theme/themeOverride5.xml><?xml version="1.0" encoding="utf-8"?>
<a:themeOverride xmlns:a="http://schemas.openxmlformats.org/drawingml/2006/main">
  <a:clrScheme name="IATA colou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E6E6E6"/>
    </a:accent4>
    <a:accent5>
      <a:srgbClr val="000000"/>
    </a:accent5>
    <a:accent6>
      <a:srgbClr val="289632"/>
    </a:accent6>
    <a:hlink>
      <a:srgbClr val="0415B4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ppt/theme/themeOverride6.xml><?xml version="1.0" encoding="utf-8"?>
<a:themeOverride xmlns:a="http://schemas.openxmlformats.org/drawingml/2006/main">
  <a:clrScheme name="IATA colou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E6E6E6"/>
    </a:accent4>
    <a:accent5>
      <a:srgbClr val="000000"/>
    </a:accent5>
    <a:accent6>
      <a:srgbClr val="289632"/>
    </a:accent6>
    <a:hlink>
      <a:srgbClr val="0415B4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ppt/theme/themeOverride7.xml><?xml version="1.0" encoding="utf-8"?>
<a:themeOverride xmlns:a="http://schemas.openxmlformats.org/drawingml/2006/main">
  <a:clrScheme name="IATA colou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E6E6E6"/>
    </a:accent4>
    <a:accent5>
      <a:srgbClr val="000000"/>
    </a:accent5>
    <a:accent6>
      <a:srgbClr val="289632"/>
    </a:accent6>
    <a:hlink>
      <a:srgbClr val="0415B4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ppt/theme/themeOverride8.xml><?xml version="1.0" encoding="utf-8"?>
<a:themeOverride xmlns:a="http://schemas.openxmlformats.org/drawingml/2006/main">
  <a:clrScheme name="IATA colou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E6E6E6"/>
    </a:accent4>
    <a:accent5>
      <a:srgbClr val="000000"/>
    </a:accent5>
    <a:accent6>
      <a:srgbClr val="289632"/>
    </a:accent6>
    <a:hlink>
      <a:srgbClr val="0415B4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ppt/theme/themeOverride9.xml><?xml version="1.0" encoding="utf-8"?>
<a:themeOverride xmlns:a="http://schemas.openxmlformats.org/drawingml/2006/main">
  <a:clrScheme name="IATA colours">
    <a:dk1>
      <a:sysClr val="windowText" lastClr="000000"/>
    </a:dk1>
    <a:lt1>
      <a:sysClr val="window" lastClr="FFFFFF"/>
    </a:lt1>
    <a:dk2>
      <a:srgbClr val="030F88"/>
    </a:dk2>
    <a:lt2>
      <a:srgbClr val="E6E8FE"/>
    </a:lt2>
    <a:accent1>
      <a:srgbClr val="1E32FA"/>
    </a:accent1>
    <a:accent2>
      <a:srgbClr val="F04632"/>
    </a:accent2>
    <a:accent3>
      <a:srgbClr val="FAC832"/>
    </a:accent3>
    <a:accent4>
      <a:srgbClr val="E6E6E6"/>
    </a:accent4>
    <a:accent5>
      <a:srgbClr val="000000"/>
    </a:accent5>
    <a:accent6>
      <a:srgbClr val="289632"/>
    </a:accent6>
    <a:hlink>
      <a:srgbClr val="0415B4"/>
    </a:hlink>
    <a:folHlink>
      <a:srgbClr val="A3A9FB"/>
    </a:folHlink>
  </a:clrScheme>
  <a:fontScheme name="IATA Fonts">
    <a:majorFont>
      <a:latin typeface="Aktiv Grotesk"/>
      <a:ea typeface=""/>
      <a:cs typeface=""/>
    </a:majorFont>
    <a:minorFont>
      <a:latin typeface="Aktiv Grotesk"/>
      <a:ea typeface=""/>
      <a:cs typeface=""/>
    </a:minorFont>
  </a:fontScheme>
  <a:fmtScheme name="Integral">
    <a:fillStyleLst>
      <a:solidFill>
        <a:schemeClr val="phClr"/>
      </a:solidFill>
      <a:gradFill rotWithShape="1">
        <a:gsLst>
          <a:gs pos="0">
            <a:schemeClr val="phClr">
              <a:tint val="83000"/>
              <a:satMod val="100000"/>
              <a:lumMod val="100000"/>
            </a:schemeClr>
          </a:gs>
          <a:gs pos="100000">
            <a:schemeClr val="phClr">
              <a:tint val="61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tint val="100000"/>
              <a:shade val="85000"/>
              <a:satMod val="100000"/>
              <a:lumMod val="100000"/>
            </a:schemeClr>
          </a:gs>
          <a:gs pos="100000">
            <a:schemeClr val="phClr">
              <a:tint val="90000"/>
              <a:shade val="100000"/>
              <a:satMod val="150000"/>
              <a:lum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587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50800" dist="12700" dir="5400000" algn="ctr" rotWithShape="0">
            <a:srgbClr val="000000">
              <a:alpha val="50000"/>
            </a:srgbClr>
          </a:outerShdw>
        </a:effectLst>
      </a:effectStyle>
      <a:effectStyle>
        <a:effectLst>
          <a:outerShdw blurRad="76200" dist="25400" dir="5400000" algn="ct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flat" dir="t">
            <a:rot lat="0" lon="0" rev="3600000"/>
          </a:lightRig>
        </a:scene3d>
        <a:sp3d contourW="12700" prstMaterial="flat">
          <a:bevelT w="38100" h="44450" prst="angle"/>
          <a:contourClr>
            <a:schemeClr val="phClr">
              <a:shade val="35000"/>
              <a:satMod val="16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hade val="85000"/>
          <a:satMod val="125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  <a:shade val="74000"/>
              <a:satMod val="230000"/>
            </a:schemeClr>
            <a:schemeClr val="phClr">
              <a:tint val="92000"/>
              <a:shade val="69000"/>
              <a:satMod val="250000"/>
            </a:schemeClr>
          </a:duotone>
        </a:blip>
        <a:tile tx="0" ty="0" sx="40000" sy="40000" flip="none" algn="tl"/>
      </a:blip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0585f71-0b21-4afb-ac27-83fbdb851c7d" xsi:nil="true"/>
    <lcf76f155ced4ddcb4097134ff3c332f xmlns="e9a2dc1f-33cd-415f-8137-a0514d935797">
      <Terms xmlns="http://schemas.microsoft.com/office/infopath/2007/PartnerControls"/>
    </lcf76f155ced4ddcb4097134ff3c332f>
    <SharedWithUsers xmlns="20585f71-0b21-4afb-ac27-83fbdb851c7d">
      <UserInfo>
        <DisplayName>Sustainability &amp; Economics Visitors</DisplayName>
        <AccountId>4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2F21E8289C3F6409073D2DC791538A1" ma:contentTypeVersion="19" ma:contentTypeDescription="Create a new document." ma:contentTypeScope="" ma:versionID="f8921ffbc5950ffb363b9159b858664c">
  <xsd:schema xmlns:xsd="http://www.w3.org/2001/XMLSchema" xmlns:xs="http://www.w3.org/2001/XMLSchema" xmlns:p="http://schemas.microsoft.com/office/2006/metadata/properties" xmlns:ns2="e9a2dc1f-33cd-415f-8137-a0514d935797" xmlns:ns3="20585f71-0b21-4afb-ac27-83fbdb851c7d" targetNamespace="http://schemas.microsoft.com/office/2006/metadata/properties" ma:root="true" ma:fieldsID="47cacca7e42f8b588765413a26800d5d" ns2:_="" ns3:_="">
    <xsd:import namespace="e9a2dc1f-33cd-415f-8137-a0514d935797"/>
    <xsd:import namespace="20585f71-0b21-4afb-ac27-83fbdb851c7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ObjectDetectorVersion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a2dc1f-33cd-415f-8137-a0514d93579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e4f3aee1-b7c6-4d19-91f4-08853246322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BillingMetadata" ma:index="2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585f71-0b21-4afb-ac27-83fbdb851c7d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4e4dc0d0-6240-46cc-9bd4-fdaad832a532}" ma:internalName="TaxCatchAll" ma:showField="CatchAllData" ma:web="20585f71-0b21-4afb-ac27-83fbdb851c7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35D6DF8-E8F3-4903-A553-824D19ECD5A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CD7E85B-5268-4E61-B9AE-CCC9313F915D}">
  <ds:schemaRefs>
    <ds:schemaRef ds:uri="da655568-1247-43c7-b5ce-0d71de2fb494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d198f567-6f49-4d54-bc9d-927743382507"/>
    <ds:schemaRef ds:uri="http://schemas.openxmlformats.org/package/2006/metadata/core-properties"/>
    <ds:schemaRef ds:uri="http://purl.org/dc/terms/"/>
    <ds:schemaRef ds:uri="ce4f6313-4462-4a85-a8cf-1f22a324a4b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C1B137C-0C03-4071-8787-18F5A56487D1}"/>
</file>

<file path=docMetadata/LabelInfo.xml><?xml version="1.0" encoding="utf-8"?>
<clbl:labelList xmlns:clbl="http://schemas.microsoft.com/office/2020/mipLabelMetadata">
  <clbl:label id="{44ae014c-8170-484b-8a8e-3a6b842e2604}" enabled="1" method="Privileged" siteId="{ad221784-72a8-4263-ac86-0ccc6b152cd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000</TotalTime>
  <Words>2176</Words>
  <Application>Microsoft Office PowerPoint</Application>
  <PresentationFormat>Widescreen</PresentationFormat>
  <Paragraphs>362</Paragraphs>
  <Slides>35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5</vt:i4>
      </vt:variant>
    </vt:vector>
  </HeadingPairs>
  <TitlesOfParts>
    <vt:vector size="43" baseType="lpstr">
      <vt:lpstr>Calibri</vt:lpstr>
      <vt:lpstr>Aktiv Grotesk Medium</vt:lpstr>
      <vt:lpstr>Wingdings</vt:lpstr>
      <vt:lpstr>Arial</vt:lpstr>
      <vt:lpstr>Aktiv Grotesk</vt:lpstr>
      <vt:lpstr>1_IATA_Master</vt:lpstr>
      <vt:lpstr>think-cell Slide</vt:lpstr>
      <vt:lpstr>Macrobond document</vt:lpstr>
      <vt:lpstr>Leveraging Aviation Data to Drive Hospitality ROI</vt:lpstr>
      <vt:lpstr>1. Macro outlook</vt:lpstr>
      <vt:lpstr>Global GDP Growth – a new way down</vt:lpstr>
      <vt:lpstr>Our world is now 67% services</vt:lpstr>
      <vt:lpstr>The world now is a service economy</vt:lpstr>
      <vt:lpstr>Unemployment is a big concern in Africa</vt:lpstr>
      <vt:lpstr>2. Tariffs</vt:lpstr>
      <vt:lpstr>Tariffs</vt:lpstr>
      <vt:lpstr>Higher tariff could increase costs across all shipping methods</vt:lpstr>
      <vt:lpstr>Goods and services in USD become more expensive</vt:lpstr>
      <vt:lpstr>Most countries in debt distress are in Africa</vt:lpstr>
      <vt:lpstr>3. Jet fuel and crude oil</vt:lpstr>
      <vt:lpstr>Good that lower oil prices can now support GDP growth</vt:lpstr>
      <vt:lpstr>Lower crude oil price will help support GDP growth</vt:lpstr>
      <vt:lpstr>Traded price of jet fuel in Africa at par with RoW but…</vt:lpstr>
      <vt:lpstr>… into-wing price is far higher</vt:lpstr>
      <vt:lpstr>4. Capacity constraints</vt:lpstr>
      <vt:lpstr>Capacity constraints will persist in 2025 and beyond</vt:lpstr>
      <vt:lpstr>Expectations towards 2025 deliveries are falling</vt:lpstr>
      <vt:lpstr>The global backlog is at record high </vt:lpstr>
      <vt:lpstr>Slower deliveries halt decline in fuel consumption</vt:lpstr>
      <vt:lpstr>Africa operates the oldest fleet in the world</vt:lpstr>
      <vt:lpstr>5. Traffic</vt:lpstr>
      <vt:lpstr>Africa’s higher than average traffic growth in 2025</vt:lpstr>
      <vt:lpstr>Industry load factors continue to grow</vt:lpstr>
      <vt:lpstr>Resilient demand in established markets</vt:lpstr>
      <vt:lpstr>6. Financial performance</vt:lpstr>
      <vt:lpstr>Revenue growth is on the passenger side</vt:lpstr>
      <vt:lpstr>PowerPoint Presentation</vt:lpstr>
      <vt:lpstr>Africa has higher unit cost of operations</vt:lpstr>
      <vt:lpstr>Borrowing costs are higher in Africa</vt:lpstr>
      <vt:lpstr>Ticket taxes &amp; charges vary widely across Africa Adding significantly to travel costs in some countries</vt:lpstr>
      <vt:lpstr>Profits vary across regions</vt:lpstr>
      <vt:lpstr>USD 7.2 per passenger in 2025 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ustry Outlook</dc:title>
  <dc:subject>IATA PowerPoint Master Theme</dc:subject>
  <dc:creator>Kyu-Bin Lim</dc:creator>
  <cp:lastModifiedBy>Alex Stancu</cp:lastModifiedBy>
  <cp:revision>8</cp:revision>
  <cp:lastPrinted>2024-06-30T18:18:27Z</cp:lastPrinted>
  <dcterms:created xsi:type="dcterms:W3CDTF">2023-02-22T14:50:42Z</dcterms:created>
  <dcterms:modified xsi:type="dcterms:W3CDTF">2025-06-15T07:01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 Version">
    <vt:lpwstr>1.0.0</vt:lpwstr>
  </property>
  <property fmtid="{D5CDD505-2E9C-101B-9397-08002B2CF9AE}" pid="3" name="TemplafyTimeStamp">
    <vt:lpwstr>2019-06-27T04:47:42.2676291Z</vt:lpwstr>
  </property>
  <property fmtid="{D5CDD505-2E9C-101B-9397-08002B2CF9AE}" pid="4" name="ContentTypeId">
    <vt:lpwstr>0x010100F2F21E8289C3F6409073D2DC791538A1</vt:lpwstr>
  </property>
  <property fmtid="{D5CDD505-2E9C-101B-9397-08002B2CF9AE}" pid="5" name="MediaServiceImageTags">
    <vt:lpwstr/>
  </property>
  <property fmtid="{D5CDD505-2E9C-101B-9397-08002B2CF9AE}" pid="6" name="Production type">
    <vt:lpwstr/>
  </property>
  <property fmtid="{D5CDD505-2E9C-101B-9397-08002B2CF9AE}" pid="7" name="_ExtendedDescription">
    <vt:lpwstr/>
  </property>
  <property fmtid="{D5CDD505-2E9C-101B-9397-08002B2CF9AE}" pid="8" name="Production_x0020_type">
    <vt:lpwstr/>
  </property>
  <property fmtid="{D5CDD505-2E9C-101B-9397-08002B2CF9AE}" pid="9" name="ClassificationContentMarkingHeaderLocations">
    <vt:lpwstr>1_IATA_Master:8</vt:lpwstr>
  </property>
  <property fmtid="{D5CDD505-2E9C-101B-9397-08002B2CF9AE}" pid="10" name="ClassificationContentMarkingHeaderText">
    <vt:lpwstr>IATA - Public content</vt:lpwstr>
  </property>
</Properties>
</file>